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heme/theme3.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drawings/drawing1.xml" ContentType="application/vnd.openxmlformats-officedocument.drawingml.chartshape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2.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3.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drawings/drawing2.xml" ContentType="application/vnd.openxmlformats-officedocument.drawingml.chartshapes+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drawings/drawing3.xml" ContentType="application/vnd.openxmlformats-officedocument.drawingml.chartshapes+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drawings/drawing4.xml" ContentType="application/vnd.openxmlformats-officedocument.drawingml.chartshapes+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drawings/drawing5.xml" ContentType="application/vnd.openxmlformats-officedocument.drawingml.chartshapes+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4.xml" ContentType="application/vnd.openxmlformats-officedocument.presentationml.notesSl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drawings/drawing6.xml" ContentType="application/vnd.openxmlformats-officedocument.drawingml.chartshapes+xml"/>
  <Override PartName="/ppt/notesSlides/notesSlide5.xml" ContentType="application/vnd.openxmlformats-officedocument.presentationml.notesSlid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notesSlides/notesSlide6.xml" ContentType="application/vnd.openxmlformats-officedocument.presentationml.notesSlid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drawings/drawing7.xml" ContentType="application/vnd.openxmlformats-officedocument.drawingml.chartshapes+xml"/>
  <Override PartName="/ppt/notesSlides/notesSlide7.xml" ContentType="application/vnd.openxmlformats-officedocument.presentationml.notesSlid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drawings/drawing8.xml" ContentType="application/vnd.openxmlformats-officedocument.drawingml.chartshapes+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drawings/drawing9.xml" ContentType="application/vnd.openxmlformats-officedocument.drawingml.chartshapes+xml"/>
  <Override PartName="/ppt/notesSlides/notesSlide8.xml" ContentType="application/vnd.openxmlformats-officedocument.presentationml.notesSlid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theme/themeOverride2.xml" ContentType="application/vnd.openxmlformats-officedocument.themeOverride+xml"/>
  <Override PartName="/ppt/drawings/drawing10.xml" ContentType="application/vnd.openxmlformats-officedocument.drawingml.chartshapes+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notesSlides/notesSlide9.xml" ContentType="application/vnd.openxmlformats-officedocument.presentationml.notesSlid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notesSlides/notesSlide10.xml" ContentType="application/vnd.openxmlformats-officedocument.presentationml.notesSlide+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notesSlides/notesSlide11.xml" ContentType="application/vnd.openxmlformats-officedocument.presentationml.notesSlide+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151.xml" ContentType="application/vnd.openxmlformats-officedocument.presentationml.tags+xml"/>
  <Override PartName="/ppt/tags/tag152.xml" ContentType="application/vnd.openxmlformats-officedocument.presentationml.tags+xml"/>
  <Override PartName="/ppt/notesSlides/notesSlide20.xml" ContentType="application/vnd.openxmlformats-officedocument.presentationml.notesSlide+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notesSlides/notesSlide21.xml" ContentType="application/vnd.openxmlformats-officedocument.presentationml.notesSlide+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notesSlides/notesSlide22.xml" ContentType="application/vnd.openxmlformats-officedocument.presentationml.notesSlide+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5" r:id="rId5"/>
  </p:sldMasterIdLst>
  <p:notesMasterIdLst>
    <p:notesMasterId r:id="rId89"/>
  </p:notesMasterIdLst>
  <p:sldIdLst>
    <p:sldId id="272" r:id="rId6"/>
    <p:sldId id="273" r:id="rId7"/>
    <p:sldId id="257" r:id="rId8"/>
    <p:sldId id="278" r:id="rId9"/>
    <p:sldId id="279" r:id="rId10"/>
    <p:sldId id="280" r:id="rId11"/>
    <p:sldId id="281" r:id="rId12"/>
    <p:sldId id="282" r:id="rId13"/>
    <p:sldId id="283" r:id="rId14"/>
    <p:sldId id="270" r:id="rId15"/>
    <p:sldId id="258" r:id="rId16"/>
    <p:sldId id="259" r:id="rId17"/>
    <p:sldId id="429" r:id="rId18"/>
    <p:sldId id="428" r:id="rId19"/>
    <p:sldId id="260" r:id="rId20"/>
    <p:sldId id="430" r:id="rId21"/>
    <p:sldId id="261" r:id="rId22"/>
    <p:sldId id="431" r:id="rId23"/>
    <p:sldId id="274" r:id="rId24"/>
    <p:sldId id="262" r:id="rId25"/>
    <p:sldId id="289" r:id="rId26"/>
    <p:sldId id="290" r:id="rId27"/>
    <p:sldId id="340" r:id="rId28"/>
    <p:sldId id="410" r:id="rId29"/>
    <p:sldId id="342" r:id="rId30"/>
    <p:sldId id="341" r:id="rId31"/>
    <p:sldId id="411" r:id="rId32"/>
    <p:sldId id="412" r:id="rId33"/>
    <p:sldId id="413" r:id="rId34"/>
    <p:sldId id="414" r:id="rId35"/>
    <p:sldId id="291" r:id="rId36"/>
    <p:sldId id="415" r:id="rId37"/>
    <p:sldId id="416" r:id="rId38"/>
    <p:sldId id="417" r:id="rId39"/>
    <p:sldId id="418" r:id="rId40"/>
    <p:sldId id="419" r:id="rId41"/>
    <p:sldId id="420" r:id="rId42"/>
    <p:sldId id="421" r:id="rId43"/>
    <p:sldId id="432" r:id="rId44"/>
    <p:sldId id="263" r:id="rId45"/>
    <p:sldId id="433" r:id="rId46"/>
    <p:sldId id="276" r:id="rId47"/>
    <p:sldId id="268" r:id="rId48"/>
    <p:sldId id="434" r:id="rId49"/>
    <p:sldId id="266" r:id="rId50"/>
    <p:sldId id="422" r:id="rId51"/>
    <p:sldId id="370" r:id="rId52"/>
    <p:sldId id="264" r:id="rId53"/>
    <p:sldId id="423" r:id="rId54"/>
    <p:sldId id="361" r:id="rId55"/>
    <p:sldId id="304" r:id="rId56"/>
    <p:sldId id="305" r:id="rId57"/>
    <p:sldId id="362" r:id="rId58"/>
    <p:sldId id="369" r:id="rId59"/>
    <p:sldId id="351" r:id="rId60"/>
    <p:sldId id="352" r:id="rId61"/>
    <p:sldId id="353" r:id="rId62"/>
    <p:sldId id="354" r:id="rId63"/>
    <p:sldId id="355" r:id="rId64"/>
    <p:sldId id="364" r:id="rId65"/>
    <p:sldId id="321" r:id="rId66"/>
    <p:sldId id="323" r:id="rId67"/>
    <p:sldId id="324" r:id="rId68"/>
    <p:sldId id="365" r:id="rId69"/>
    <p:sldId id="366" r:id="rId70"/>
    <p:sldId id="303" r:id="rId71"/>
    <p:sldId id="367" r:id="rId72"/>
    <p:sldId id="371" r:id="rId73"/>
    <p:sldId id="368" r:id="rId74"/>
    <p:sldId id="435" r:id="rId75"/>
    <p:sldId id="269" r:id="rId76"/>
    <p:sldId id="439" r:id="rId77"/>
    <p:sldId id="438" r:id="rId78"/>
    <p:sldId id="436" r:id="rId79"/>
    <p:sldId id="275" r:id="rId80"/>
    <p:sldId id="271" r:id="rId81"/>
    <p:sldId id="437" r:id="rId82"/>
    <p:sldId id="277" r:id="rId83"/>
    <p:sldId id="284" r:id="rId84"/>
    <p:sldId id="285" r:id="rId85"/>
    <p:sldId id="286" r:id="rId86"/>
    <p:sldId id="287" r:id="rId87"/>
    <p:sldId id="288" r:id="rId88"/>
  </p:sldIdLst>
  <p:sldSz cx="12192000" cy="6858000"/>
  <p:notesSz cx="6858000" cy="9144000"/>
  <p:custDataLst>
    <p:tags r:id="rId9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25A9EF0-486A-4AAC-94A1-2112C10A08A5}" v="566" dt="2024-10-22T01:51:39.34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4660"/>
  </p:normalViewPr>
  <p:slideViewPr>
    <p:cSldViewPr snapToGrid="0">
      <p:cViewPr varScale="1">
        <p:scale>
          <a:sx n="59" d="100"/>
          <a:sy n="59" d="100"/>
        </p:scale>
        <p:origin x="148" y="5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84" Type="http://schemas.openxmlformats.org/officeDocument/2006/relationships/slide" Target="slides/slide79.xml"/><Relationship Id="rId89" Type="http://schemas.openxmlformats.org/officeDocument/2006/relationships/notesMaster" Target="notesMasters/notesMaster1.xml"/><Relationship Id="rId16" Type="http://schemas.openxmlformats.org/officeDocument/2006/relationships/slide" Target="slides/slide11.xml"/><Relationship Id="rId11" Type="http://schemas.openxmlformats.org/officeDocument/2006/relationships/slide" Target="slides/slide6.xml"/><Relationship Id="rId32" Type="http://schemas.openxmlformats.org/officeDocument/2006/relationships/slide" Target="slides/slide27.xml"/><Relationship Id="rId37" Type="http://schemas.openxmlformats.org/officeDocument/2006/relationships/slide" Target="slides/slide32.xml"/><Relationship Id="rId53" Type="http://schemas.openxmlformats.org/officeDocument/2006/relationships/slide" Target="slides/slide48.xml"/><Relationship Id="rId58" Type="http://schemas.openxmlformats.org/officeDocument/2006/relationships/slide" Target="slides/slide53.xml"/><Relationship Id="rId74" Type="http://schemas.openxmlformats.org/officeDocument/2006/relationships/slide" Target="slides/slide69.xml"/><Relationship Id="rId79" Type="http://schemas.openxmlformats.org/officeDocument/2006/relationships/slide" Target="slides/slide74.xml"/><Relationship Id="rId5" Type="http://schemas.openxmlformats.org/officeDocument/2006/relationships/slideMaster" Target="slideMasters/slideMaster2.xml"/><Relationship Id="rId90" Type="http://schemas.openxmlformats.org/officeDocument/2006/relationships/tags" Target="tags/tag1.xml"/><Relationship Id="rId95" Type="http://schemas.microsoft.com/office/2016/11/relationships/changesInfo" Target="changesInfos/changesInfo1.xml"/><Relationship Id="rId22" Type="http://schemas.openxmlformats.org/officeDocument/2006/relationships/slide" Target="slides/slide17.xml"/><Relationship Id="rId27" Type="http://schemas.openxmlformats.org/officeDocument/2006/relationships/slide" Target="slides/slide22.xml"/><Relationship Id="rId43" Type="http://schemas.openxmlformats.org/officeDocument/2006/relationships/slide" Target="slides/slide38.xml"/><Relationship Id="rId48" Type="http://schemas.openxmlformats.org/officeDocument/2006/relationships/slide" Target="slides/slide43.xml"/><Relationship Id="rId64" Type="http://schemas.openxmlformats.org/officeDocument/2006/relationships/slide" Target="slides/slide59.xml"/><Relationship Id="rId69" Type="http://schemas.openxmlformats.org/officeDocument/2006/relationships/slide" Target="slides/slide64.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80" Type="http://schemas.openxmlformats.org/officeDocument/2006/relationships/slide" Target="slides/slide75.xml"/><Relationship Id="rId85" Type="http://schemas.openxmlformats.org/officeDocument/2006/relationships/slide" Target="slides/slide80.xml"/><Relationship Id="rId93"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slide" Target="slides/slide70.xml"/><Relationship Id="rId83" Type="http://schemas.openxmlformats.org/officeDocument/2006/relationships/slide" Target="slides/slide78.xml"/><Relationship Id="rId88" Type="http://schemas.openxmlformats.org/officeDocument/2006/relationships/slide" Target="slides/slide83.xml"/><Relationship Id="rId91" Type="http://schemas.openxmlformats.org/officeDocument/2006/relationships/presProps" Target="presProps.xml"/><Relationship Id="rId96"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slide" Target="slides/slide73.xml"/><Relationship Id="rId81" Type="http://schemas.openxmlformats.org/officeDocument/2006/relationships/slide" Target="slides/slide76.xml"/><Relationship Id="rId86" Type="http://schemas.openxmlformats.org/officeDocument/2006/relationships/slide" Target="slides/slide81.xml"/><Relationship Id="rId9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viewProps" Target="viewProps.xml"/><Relationship Id="rId2" Type="http://schemas.openxmlformats.org/officeDocument/2006/relationships/customXml" Target="../customXml/item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slide" Target="slides/slide82.xml"/><Relationship Id="rId61" Type="http://schemas.openxmlformats.org/officeDocument/2006/relationships/slide" Target="slides/slide56.xml"/><Relationship Id="rId82" Type="http://schemas.openxmlformats.org/officeDocument/2006/relationships/slide" Target="slides/slide77.xml"/><Relationship Id="rId19" Type="http://schemas.openxmlformats.org/officeDocument/2006/relationships/slide" Target="slides/slide14.xml"/><Relationship Id="rId14" Type="http://schemas.openxmlformats.org/officeDocument/2006/relationships/slide" Target="slides/slide9.xml"/><Relationship Id="rId30" Type="http://schemas.openxmlformats.org/officeDocument/2006/relationships/slide" Target="slides/slide25.xml"/><Relationship Id="rId35" Type="http://schemas.openxmlformats.org/officeDocument/2006/relationships/slide" Target="slides/slide30.xml"/><Relationship Id="rId56" Type="http://schemas.openxmlformats.org/officeDocument/2006/relationships/slide" Target="slides/slide51.xml"/><Relationship Id="rId77" Type="http://schemas.openxmlformats.org/officeDocument/2006/relationships/slide" Target="slides/slide7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uthrie, Jadon" userId="026ca56f-2682-44e1-afd5-db9f65bf0106" providerId="ADAL" clId="{A25A9EF0-486A-4AAC-94A1-2112C10A08A5}"/>
    <pc:docChg chg="undo custSel addSld delSld modSld sldOrd">
      <pc:chgData name="Guthrie, Jadon" userId="026ca56f-2682-44e1-afd5-db9f65bf0106" providerId="ADAL" clId="{A25A9EF0-486A-4AAC-94A1-2112C10A08A5}" dt="2024-10-22T01:51:40.899" v="604"/>
      <pc:docMkLst>
        <pc:docMk/>
      </pc:docMkLst>
      <pc:sldChg chg="modSp add del mod">
        <pc:chgData name="Guthrie, Jadon" userId="026ca56f-2682-44e1-afd5-db9f65bf0106" providerId="ADAL" clId="{A25A9EF0-486A-4AAC-94A1-2112C10A08A5}" dt="2024-10-22T01:04:24.075" v="18"/>
        <pc:sldMkLst>
          <pc:docMk/>
          <pc:sldMk cId="1777295071" sldId="264"/>
        </pc:sldMkLst>
        <pc:spChg chg="mod">
          <ac:chgData name="Guthrie, Jadon" userId="026ca56f-2682-44e1-afd5-db9f65bf0106" providerId="ADAL" clId="{A25A9EF0-486A-4AAC-94A1-2112C10A08A5}" dt="2024-10-22T01:04:24.075" v="18"/>
          <ac:spMkLst>
            <pc:docMk/>
            <pc:sldMk cId="1777295071" sldId="264"/>
            <ac:spMk id="10" creationId="{00000000-0000-0000-0000-000000000000}"/>
          </ac:spMkLst>
        </pc:spChg>
      </pc:sldChg>
      <pc:sldChg chg="modSp add del mod">
        <pc:chgData name="Guthrie, Jadon" userId="026ca56f-2682-44e1-afd5-db9f65bf0106" providerId="ADAL" clId="{A25A9EF0-486A-4AAC-94A1-2112C10A08A5}" dt="2024-10-22T01:04:24.075" v="18"/>
        <pc:sldMkLst>
          <pc:docMk/>
          <pc:sldMk cId="443638274" sldId="303"/>
        </pc:sldMkLst>
        <pc:spChg chg="mod">
          <ac:chgData name="Guthrie, Jadon" userId="026ca56f-2682-44e1-afd5-db9f65bf0106" providerId="ADAL" clId="{A25A9EF0-486A-4AAC-94A1-2112C10A08A5}" dt="2024-10-22T01:04:24.075" v="18"/>
          <ac:spMkLst>
            <pc:docMk/>
            <pc:sldMk cId="443638274" sldId="303"/>
            <ac:spMk id="7" creationId="{00000000-0000-0000-0000-000000000000}"/>
          </ac:spMkLst>
        </pc:spChg>
        <pc:spChg chg="mod">
          <ac:chgData name="Guthrie, Jadon" userId="026ca56f-2682-44e1-afd5-db9f65bf0106" providerId="ADAL" clId="{A25A9EF0-486A-4AAC-94A1-2112C10A08A5}" dt="2024-10-22T01:04:24.075" v="18"/>
          <ac:spMkLst>
            <pc:docMk/>
            <pc:sldMk cId="443638274" sldId="303"/>
            <ac:spMk id="8" creationId="{00000000-0000-0000-0000-000000000000}"/>
          </ac:spMkLst>
        </pc:spChg>
      </pc:sldChg>
      <pc:sldChg chg="add del modNotes">
        <pc:chgData name="Guthrie, Jadon" userId="026ca56f-2682-44e1-afd5-db9f65bf0106" providerId="ADAL" clId="{A25A9EF0-486A-4AAC-94A1-2112C10A08A5}" dt="2024-10-22T01:35:21.833" v="19"/>
        <pc:sldMkLst>
          <pc:docMk/>
          <pc:sldMk cId="2539558414" sldId="304"/>
        </pc:sldMkLst>
      </pc:sldChg>
      <pc:sldChg chg="modSp add del mod modNotes">
        <pc:chgData name="Guthrie, Jadon" userId="026ca56f-2682-44e1-afd5-db9f65bf0106" providerId="ADAL" clId="{A25A9EF0-486A-4AAC-94A1-2112C10A08A5}" dt="2024-10-22T01:35:21.833" v="19"/>
        <pc:sldMkLst>
          <pc:docMk/>
          <pc:sldMk cId="307190714" sldId="305"/>
        </pc:sldMkLst>
        <pc:spChg chg="mod">
          <ac:chgData name="Guthrie, Jadon" userId="026ca56f-2682-44e1-afd5-db9f65bf0106" providerId="ADAL" clId="{A25A9EF0-486A-4AAC-94A1-2112C10A08A5}" dt="2024-10-22T01:04:24.075" v="18"/>
          <ac:spMkLst>
            <pc:docMk/>
            <pc:sldMk cId="307190714" sldId="305"/>
            <ac:spMk id="5" creationId="{4009C70C-4758-125B-DB3F-103D3994BC61}"/>
          </ac:spMkLst>
        </pc:spChg>
      </pc:sldChg>
      <pc:sldChg chg="modSp add del mod">
        <pc:chgData name="Guthrie, Jadon" userId="026ca56f-2682-44e1-afd5-db9f65bf0106" providerId="ADAL" clId="{A25A9EF0-486A-4AAC-94A1-2112C10A08A5}" dt="2024-10-22T01:04:24.075" v="18"/>
        <pc:sldMkLst>
          <pc:docMk/>
          <pc:sldMk cId="1519311399" sldId="321"/>
        </pc:sldMkLst>
        <pc:spChg chg="mod">
          <ac:chgData name="Guthrie, Jadon" userId="026ca56f-2682-44e1-afd5-db9f65bf0106" providerId="ADAL" clId="{A25A9EF0-486A-4AAC-94A1-2112C10A08A5}" dt="2024-10-22T01:04:24.075" v="18"/>
          <ac:spMkLst>
            <pc:docMk/>
            <pc:sldMk cId="1519311399" sldId="321"/>
            <ac:spMk id="2" creationId="{00000000-0000-0000-0000-000000000000}"/>
          </ac:spMkLst>
        </pc:spChg>
      </pc:sldChg>
      <pc:sldChg chg="modSp add del mod">
        <pc:chgData name="Guthrie, Jadon" userId="026ca56f-2682-44e1-afd5-db9f65bf0106" providerId="ADAL" clId="{A25A9EF0-486A-4AAC-94A1-2112C10A08A5}" dt="2024-10-22T01:04:24.075" v="18"/>
        <pc:sldMkLst>
          <pc:docMk/>
          <pc:sldMk cId="342506822" sldId="323"/>
        </pc:sldMkLst>
        <pc:spChg chg="mod">
          <ac:chgData name="Guthrie, Jadon" userId="026ca56f-2682-44e1-afd5-db9f65bf0106" providerId="ADAL" clId="{A25A9EF0-486A-4AAC-94A1-2112C10A08A5}" dt="2024-10-22T01:04:24.075" v="18"/>
          <ac:spMkLst>
            <pc:docMk/>
            <pc:sldMk cId="342506822" sldId="323"/>
            <ac:spMk id="2" creationId="{00000000-0000-0000-0000-000000000000}"/>
          </ac:spMkLst>
        </pc:spChg>
      </pc:sldChg>
      <pc:sldChg chg="modSp add del mod">
        <pc:chgData name="Guthrie, Jadon" userId="026ca56f-2682-44e1-afd5-db9f65bf0106" providerId="ADAL" clId="{A25A9EF0-486A-4AAC-94A1-2112C10A08A5}" dt="2024-10-22T01:04:24.075" v="18"/>
        <pc:sldMkLst>
          <pc:docMk/>
          <pc:sldMk cId="4191243333" sldId="324"/>
        </pc:sldMkLst>
        <pc:spChg chg="mod">
          <ac:chgData name="Guthrie, Jadon" userId="026ca56f-2682-44e1-afd5-db9f65bf0106" providerId="ADAL" clId="{A25A9EF0-486A-4AAC-94A1-2112C10A08A5}" dt="2024-10-22T01:04:24.075" v="18"/>
          <ac:spMkLst>
            <pc:docMk/>
            <pc:sldMk cId="4191243333" sldId="324"/>
            <ac:spMk id="2" creationId="{00000000-0000-0000-0000-000000000000}"/>
          </ac:spMkLst>
        </pc:spChg>
      </pc:sldChg>
      <pc:sldChg chg="modSp add del mod">
        <pc:chgData name="Guthrie, Jadon" userId="026ca56f-2682-44e1-afd5-db9f65bf0106" providerId="ADAL" clId="{A25A9EF0-486A-4AAC-94A1-2112C10A08A5}" dt="2024-10-22T01:04:24.075" v="18"/>
        <pc:sldMkLst>
          <pc:docMk/>
          <pc:sldMk cId="1245810034" sldId="351"/>
        </pc:sldMkLst>
        <pc:spChg chg="mod">
          <ac:chgData name="Guthrie, Jadon" userId="026ca56f-2682-44e1-afd5-db9f65bf0106" providerId="ADAL" clId="{A25A9EF0-486A-4AAC-94A1-2112C10A08A5}" dt="2024-10-22T01:04:24.075" v="18"/>
          <ac:spMkLst>
            <pc:docMk/>
            <pc:sldMk cId="1245810034" sldId="351"/>
            <ac:spMk id="13" creationId="{00000000-0000-0000-0000-000000000000}"/>
          </ac:spMkLst>
        </pc:spChg>
      </pc:sldChg>
      <pc:sldChg chg="modSp add del mod">
        <pc:chgData name="Guthrie, Jadon" userId="026ca56f-2682-44e1-afd5-db9f65bf0106" providerId="ADAL" clId="{A25A9EF0-486A-4AAC-94A1-2112C10A08A5}" dt="2024-10-22T01:04:24.075" v="18"/>
        <pc:sldMkLst>
          <pc:docMk/>
          <pc:sldMk cId="3605529670" sldId="352"/>
        </pc:sldMkLst>
        <pc:spChg chg="mod">
          <ac:chgData name="Guthrie, Jadon" userId="026ca56f-2682-44e1-afd5-db9f65bf0106" providerId="ADAL" clId="{A25A9EF0-486A-4AAC-94A1-2112C10A08A5}" dt="2024-10-22T01:04:24.075" v="18"/>
          <ac:spMkLst>
            <pc:docMk/>
            <pc:sldMk cId="3605529670" sldId="352"/>
            <ac:spMk id="13" creationId="{00000000-0000-0000-0000-000000000000}"/>
          </ac:spMkLst>
        </pc:spChg>
      </pc:sldChg>
      <pc:sldChg chg="modSp add del mod">
        <pc:chgData name="Guthrie, Jadon" userId="026ca56f-2682-44e1-afd5-db9f65bf0106" providerId="ADAL" clId="{A25A9EF0-486A-4AAC-94A1-2112C10A08A5}" dt="2024-10-22T01:04:24.075" v="18"/>
        <pc:sldMkLst>
          <pc:docMk/>
          <pc:sldMk cId="2715091517" sldId="353"/>
        </pc:sldMkLst>
        <pc:spChg chg="mod">
          <ac:chgData name="Guthrie, Jadon" userId="026ca56f-2682-44e1-afd5-db9f65bf0106" providerId="ADAL" clId="{A25A9EF0-486A-4AAC-94A1-2112C10A08A5}" dt="2024-10-22T01:04:24.075" v="18"/>
          <ac:spMkLst>
            <pc:docMk/>
            <pc:sldMk cId="2715091517" sldId="353"/>
            <ac:spMk id="13" creationId="{00000000-0000-0000-0000-000000000000}"/>
          </ac:spMkLst>
        </pc:spChg>
      </pc:sldChg>
      <pc:sldChg chg="modSp add del mod">
        <pc:chgData name="Guthrie, Jadon" userId="026ca56f-2682-44e1-afd5-db9f65bf0106" providerId="ADAL" clId="{A25A9EF0-486A-4AAC-94A1-2112C10A08A5}" dt="2024-10-22T01:04:24.075" v="18"/>
        <pc:sldMkLst>
          <pc:docMk/>
          <pc:sldMk cId="1994993504" sldId="354"/>
        </pc:sldMkLst>
        <pc:spChg chg="mod">
          <ac:chgData name="Guthrie, Jadon" userId="026ca56f-2682-44e1-afd5-db9f65bf0106" providerId="ADAL" clId="{A25A9EF0-486A-4AAC-94A1-2112C10A08A5}" dt="2024-10-22T01:04:24.075" v="18"/>
          <ac:spMkLst>
            <pc:docMk/>
            <pc:sldMk cId="1994993504" sldId="354"/>
            <ac:spMk id="13" creationId="{00000000-0000-0000-0000-000000000000}"/>
          </ac:spMkLst>
        </pc:spChg>
      </pc:sldChg>
      <pc:sldChg chg="modSp add del mod">
        <pc:chgData name="Guthrie, Jadon" userId="026ca56f-2682-44e1-afd5-db9f65bf0106" providerId="ADAL" clId="{A25A9EF0-486A-4AAC-94A1-2112C10A08A5}" dt="2024-10-22T01:04:24.075" v="18"/>
        <pc:sldMkLst>
          <pc:docMk/>
          <pc:sldMk cId="201173606" sldId="355"/>
        </pc:sldMkLst>
        <pc:spChg chg="mod">
          <ac:chgData name="Guthrie, Jadon" userId="026ca56f-2682-44e1-afd5-db9f65bf0106" providerId="ADAL" clId="{A25A9EF0-486A-4AAC-94A1-2112C10A08A5}" dt="2024-10-22T01:04:24.075" v="18"/>
          <ac:spMkLst>
            <pc:docMk/>
            <pc:sldMk cId="201173606" sldId="355"/>
            <ac:spMk id="8" creationId="{00000000-0000-0000-0000-000000000000}"/>
          </ac:spMkLst>
        </pc:spChg>
      </pc:sldChg>
      <pc:sldChg chg="add del">
        <pc:chgData name="Guthrie, Jadon" userId="026ca56f-2682-44e1-afd5-db9f65bf0106" providerId="ADAL" clId="{A25A9EF0-486A-4AAC-94A1-2112C10A08A5}" dt="2024-10-22T01:04:24.075" v="18"/>
        <pc:sldMkLst>
          <pc:docMk/>
          <pc:sldMk cId="2223930266" sldId="361"/>
        </pc:sldMkLst>
      </pc:sldChg>
      <pc:sldChg chg="add del modNotes">
        <pc:chgData name="Guthrie, Jadon" userId="026ca56f-2682-44e1-afd5-db9f65bf0106" providerId="ADAL" clId="{A25A9EF0-486A-4AAC-94A1-2112C10A08A5}" dt="2024-10-22T01:35:21.833" v="19"/>
        <pc:sldMkLst>
          <pc:docMk/>
          <pc:sldMk cId="2716021453" sldId="362"/>
        </pc:sldMkLst>
      </pc:sldChg>
      <pc:sldChg chg="add del modNotes">
        <pc:chgData name="Guthrie, Jadon" userId="026ca56f-2682-44e1-afd5-db9f65bf0106" providerId="ADAL" clId="{A25A9EF0-486A-4AAC-94A1-2112C10A08A5}" dt="2024-10-22T01:35:21.833" v="19"/>
        <pc:sldMkLst>
          <pc:docMk/>
          <pc:sldMk cId="1835199929" sldId="364"/>
        </pc:sldMkLst>
      </pc:sldChg>
      <pc:sldChg chg="add del modNotes">
        <pc:chgData name="Guthrie, Jadon" userId="026ca56f-2682-44e1-afd5-db9f65bf0106" providerId="ADAL" clId="{A25A9EF0-486A-4AAC-94A1-2112C10A08A5}" dt="2024-10-22T01:35:21.833" v="19"/>
        <pc:sldMkLst>
          <pc:docMk/>
          <pc:sldMk cId="217712862" sldId="365"/>
        </pc:sldMkLst>
      </pc:sldChg>
      <pc:sldChg chg="add del modNotes">
        <pc:chgData name="Guthrie, Jadon" userId="026ca56f-2682-44e1-afd5-db9f65bf0106" providerId="ADAL" clId="{A25A9EF0-486A-4AAC-94A1-2112C10A08A5}" dt="2024-10-22T01:35:21.833" v="19"/>
        <pc:sldMkLst>
          <pc:docMk/>
          <pc:sldMk cId="3982616114" sldId="366"/>
        </pc:sldMkLst>
      </pc:sldChg>
      <pc:sldChg chg="modSp add del mod modNotes">
        <pc:chgData name="Guthrie, Jadon" userId="026ca56f-2682-44e1-afd5-db9f65bf0106" providerId="ADAL" clId="{A25A9EF0-486A-4AAC-94A1-2112C10A08A5}" dt="2024-10-22T01:35:21.833" v="19"/>
        <pc:sldMkLst>
          <pc:docMk/>
          <pc:sldMk cId="2390662110" sldId="367"/>
        </pc:sldMkLst>
        <pc:spChg chg="mod">
          <ac:chgData name="Guthrie, Jadon" userId="026ca56f-2682-44e1-afd5-db9f65bf0106" providerId="ADAL" clId="{A25A9EF0-486A-4AAC-94A1-2112C10A08A5}" dt="2024-10-22T01:04:24.075" v="18"/>
          <ac:spMkLst>
            <pc:docMk/>
            <pc:sldMk cId="2390662110" sldId="367"/>
            <ac:spMk id="5" creationId="{B4AC91BF-6F06-640E-ABD9-472F15294E6D}"/>
          </ac:spMkLst>
        </pc:spChg>
      </pc:sldChg>
      <pc:sldChg chg="modSp add del mod modNotes">
        <pc:chgData name="Guthrie, Jadon" userId="026ca56f-2682-44e1-afd5-db9f65bf0106" providerId="ADAL" clId="{A25A9EF0-486A-4AAC-94A1-2112C10A08A5}" dt="2024-10-22T01:35:21.833" v="19"/>
        <pc:sldMkLst>
          <pc:docMk/>
          <pc:sldMk cId="1245709273" sldId="368"/>
        </pc:sldMkLst>
        <pc:spChg chg="mod">
          <ac:chgData name="Guthrie, Jadon" userId="026ca56f-2682-44e1-afd5-db9f65bf0106" providerId="ADAL" clId="{A25A9EF0-486A-4AAC-94A1-2112C10A08A5}" dt="2024-10-22T01:04:24.075" v="18"/>
          <ac:spMkLst>
            <pc:docMk/>
            <pc:sldMk cId="1245709273" sldId="368"/>
            <ac:spMk id="7" creationId="{568E03D5-690B-F3CF-8AE1-736A085CD8D1}"/>
          </ac:spMkLst>
        </pc:spChg>
      </pc:sldChg>
      <pc:sldChg chg="add del">
        <pc:chgData name="Guthrie, Jadon" userId="026ca56f-2682-44e1-afd5-db9f65bf0106" providerId="ADAL" clId="{A25A9EF0-486A-4AAC-94A1-2112C10A08A5}" dt="2024-10-22T01:04:24.075" v="18"/>
        <pc:sldMkLst>
          <pc:docMk/>
          <pc:sldMk cId="54989032" sldId="369"/>
        </pc:sldMkLst>
      </pc:sldChg>
      <pc:sldChg chg="modSp add del mod modNotes">
        <pc:chgData name="Guthrie, Jadon" userId="026ca56f-2682-44e1-afd5-db9f65bf0106" providerId="ADAL" clId="{A25A9EF0-486A-4AAC-94A1-2112C10A08A5}" dt="2024-10-22T01:35:21.833" v="19"/>
        <pc:sldMkLst>
          <pc:docMk/>
          <pc:sldMk cId="2798715260" sldId="370"/>
        </pc:sldMkLst>
        <pc:spChg chg="mod">
          <ac:chgData name="Guthrie, Jadon" userId="026ca56f-2682-44e1-afd5-db9f65bf0106" providerId="ADAL" clId="{A25A9EF0-486A-4AAC-94A1-2112C10A08A5}" dt="2024-10-22T01:04:24.075" v="18"/>
          <ac:spMkLst>
            <pc:docMk/>
            <pc:sldMk cId="2798715260" sldId="370"/>
            <ac:spMk id="149" creationId="{00834834-BC26-D20F-83CA-B830F76B384D}"/>
          </ac:spMkLst>
        </pc:spChg>
      </pc:sldChg>
      <pc:sldChg chg="add del">
        <pc:chgData name="Guthrie, Jadon" userId="026ca56f-2682-44e1-afd5-db9f65bf0106" providerId="ADAL" clId="{A25A9EF0-486A-4AAC-94A1-2112C10A08A5}" dt="2024-10-22T01:04:24.075" v="18"/>
        <pc:sldMkLst>
          <pc:docMk/>
          <pc:sldMk cId="3115426093" sldId="371"/>
        </pc:sldMkLst>
      </pc:sldChg>
      <pc:sldChg chg="modSp add del mod">
        <pc:chgData name="Guthrie, Jadon" userId="026ca56f-2682-44e1-afd5-db9f65bf0106" providerId="ADAL" clId="{A25A9EF0-486A-4AAC-94A1-2112C10A08A5}" dt="2024-10-22T01:04:24.075" v="18"/>
        <pc:sldMkLst>
          <pc:docMk/>
          <pc:sldMk cId="2436026967" sldId="422"/>
        </pc:sldMkLst>
        <pc:spChg chg="mod">
          <ac:chgData name="Guthrie, Jadon" userId="026ca56f-2682-44e1-afd5-db9f65bf0106" providerId="ADAL" clId="{A25A9EF0-486A-4AAC-94A1-2112C10A08A5}" dt="2024-10-22T01:04:24.075" v="18"/>
          <ac:spMkLst>
            <pc:docMk/>
            <pc:sldMk cId="2436026967" sldId="422"/>
            <ac:spMk id="6" creationId="{6F890B0C-F6F6-DDE6-99F6-5389123F0A8C}"/>
          </ac:spMkLst>
        </pc:spChg>
      </pc:sldChg>
      <pc:sldChg chg="add del modNotes">
        <pc:chgData name="Guthrie, Jadon" userId="026ca56f-2682-44e1-afd5-db9f65bf0106" providerId="ADAL" clId="{A25A9EF0-486A-4AAC-94A1-2112C10A08A5}" dt="2024-10-22T01:35:21.833" v="19"/>
        <pc:sldMkLst>
          <pc:docMk/>
          <pc:sldMk cId="2508934476" sldId="423"/>
        </pc:sldMkLst>
      </pc:sldChg>
      <pc:sldChg chg="addSp modSp add del mod setBg">
        <pc:chgData name="Guthrie, Jadon" userId="026ca56f-2682-44e1-afd5-db9f65bf0106" providerId="ADAL" clId="{A25A9EF0-486A-4AAC-94A1-2112C10A08A5}" dt="2024-10-22T01:48:51.268" v="523" actId="2696"/>
        <pc:sldMkLst>
          <pc:docMk/>
          <pc:sldMk cId="3565720743" sldId="424"/>
        </pc:sldMkLst>
        <pc:spChg chg="add mod">
          <ac:chgData name="Guthrie, Jadon" userId="026ca56f-2682-44e1-afd5-db9f65bf0106" providerId="ADAL" clId="{A25A9EF0-486A-4AAC-94A1-2112C10A08A5}" dt="2024-10-22T01:35:21.873" v="32"/>
          <ac:spMkLst>
            <pc:docMk/>
            <pc:sldMk cId="3565720743" sldId="424"/>
            <ac:spMk id="2" creationId="{8FB6C5FA-73D0-C4E6-928C-83275F44DAB0}"/>
          </ac:spMkLst>
        </pc:spChg>
        <pc:spChg chg="add mod">
          <ac:chgData name="Guthrie, Jadon" userId="026ca56f-2682-44e1-afd5-db9f65bf0106" providerId="ADAL" clId="{A25A9EF0-486A-4AAC-94A1-2112C10A08A5}" dt="2024-10-22T01:35:29.175" v="46"/>
          <ac:spMkLst>
            <pc:docMk/>
            <pc:sldMk cId="3565720743" sldId="424"/>
            <ac:spMk id="9" creationId="{8FC577C9-C428-4056-9CC8-C6953C9979B6}"/>
          </ac:spMkLst>
        </pc:spChg>
        <pc:spChg chg="add mod">
          <ac:chgData name="Guthrie, Jadon" userId="026ca56f-2682-44e1-afd5-db9f65bf0106" providerId="ADAL" clId="{A25A9EF0-486A-4AAC-94A1-2112C10A08A5}" dt="2024-10-22T01:35:29.204" v="56"/>
          <ac:spMkLst>
            <pc:docMk/>
            <pc:sldMk cId="3565720743" sldId="424"/>
            <ac:spMk id="10" creationId="{0CA20E4D-1681-D802-9A70-D27516D76D1B}"/>
          </ac:spMkLst>
        </pc:spChg>
        <pc:picChg chg="add mod">
          <ac:chgData name="Guthrie, Jadon" userId="026ca56f-2682-44e1-afd5-db9f65bf0106" providerId="ADAL" clId="{A25A9EF0-486A-4AAC-94A1-2112C10A08A5}" dt="2024-10-22T01:35:26.109" v="34"/>
          <ac:picMkLst>
            <pc:docMk/>
            <pc:sldMk cId="3565720743" sldId="424"/>
            <ac:picMk id="4" creationId="{4FB26A15-85A4-3AE0-044E-F52AD8AA2290}"/>
          </ac:picMkLst>
        </pc:picChg>
        <pc:picChg chg="add mod">
          <ac:chgData name="Guthrie, Jadon" userId="026ca56f-2682-44e1-afd5-db9f65bf0106" providerId="ADAL" clId="{A25A9EF0-486A-4AAC-94A1-2112C10A08A5}" dt="2024-10-22T01:35:26.926" v="36"/>
          <ac:picMkLst>
            <pc:docMk/>
            <pc:sldMk cId="3565720743" sldId="424"/>
            <ac:picMk id="6" creationId="{E4AB60D3-2343-628A-BD17-706AE77AB977}"/>
          </ac:picMkLst>
        </pc:picChg>
        <pc:picChg chg="add mod">
          <ac:chgData name="Guthrie, Jadon" userId="026ca56f-2682-44e1-afd5-db9f65bf0106" providerId="ADAL" clId="{A25A9EF0-486A-4AAC-94A1-2112C10A08A5}" dt="2024-10-22T01:35:29.158" v="38"/>
          <ac:picMkLst>
            <pc:docMk/>
            <pc:sldMk cId="3565720743" sldId="424"/>
            <ac:picMk id="8" creationId="{4C746308-ECF7-9D9B-D81E-6E7AD740574F}"/>
          </ac:picMkLst>
        </pc:picChg>
      </pc:sldChg>
      <pc:sldChg chg="addSp modSp add del mod setBg">
        <pc:chgData name="Guthrie, Jadon" userId="026ca56f-2682-44e1-afd5-db9f65bf0106" providerId="ADAL" clId="{A25A9EF0-486A-4AAC-94A1-2112C10A08A5}" dt="2024-10-22T01:48:51.281" v="524" actId="2696"/>
        <pc:sldMkLst>
          <pc:docMk/>
          <pc:sldMk cId="3149592987" sldId="425"/>
        </pc:sldMkLst>
        <pc:spChg chg="add mod">
          <ac:chgData name="Guthrie, Jadon" userId="026ca56f-2682-44e1-afd5-db9f65bf0106" providerId="ADAL" clId="{A25A9EF0-486A-4AAC-94A1-2112C10A08A5}" dt="2024-10-22T01:36:59.685" v="70"/>
          <ac:spMkLst>
            <pc:docMk/>
            <pc:sldMk cId="3149592987" sldId="425"/>
            <ac:spMk id="2" creationId="{7671CF0D-8C13-0A42-6C94-4B4F62D49C68}"/>
          </ac:spMkLst>
        </pc:spChg>
        <pc:spChg chg="add mod">
          <ac:chgData name="Guthrie, Jadon" userId="026ca56f-2682-44e1-afd5-db9f65bf0106" providerId="ADAL" clId="{A25A9EF0-486A-4AAC-94A1-2112C10A08A5}" dt="2024-10-22T01:37:05.066" v="84"/>
          <ac:spMkLst>
            <pc:docMk/>
            <pc:sldMk cId="3149592987" sldId="425"/>
            <ac:spMk id="9" creationId="{9026AC89-CBA0-8124-64A8-73D52FE0F2F8}"/>
          </ac:spMkLst>
        </pc:spChg>
        <pc:spChg chg="add mod">
          <ac:chgData name="Guthrie, Jadon" userId="026ca56f-2682-44e1-afd5-db9f65bf0106" providerId="ADAL" clId="{A25A9EF0-486A-4AAC-94A1-2112C10A08A5}" dt="2024-10-22T01:37:05.074" v="94"/>
          <ac:spMkLst>
            <pc:docMk/>
            <pc:sldMk cId="3149592987" sldId="425"/>
            <ac:spMk id="10" creationId="{47A85826-CDC3-764B-449F-ECB251ACBFB5}"/>
          </ac:spMkLst>
        </pc:spChg>
        <pc:picChg chg="add mod">
          <ac:chgData name="Guthrie, Jadon" userId="026ca56f-2682-44e1-afd5-db9f65bf0106" providerId="ADAL" clId="{A25A9EF0-486A-4AAC-94A1-2112C10A08A5}" dt="2024-10-22T01:37:02.412" v="72"/>
          <ac:picMkLst>
            <pc:docMk/>
            <pc:sldMk cId="3149592987" sldId="425"/>
            <ac:picMk id="4" creationId="{E61B9731-4DBB-6965-0252-AF9612EF229D}"/>
          </ac:picMkLst>
        </pc:picChg>
        <pc:picChg chg="add mod">
          <ac:chgData name="Guthrie, Jadon" userId="026ca56f-2682-44e1-afd5-db9f65bf0106" providerId="ADAL" clId="{A25A9EF0-486A-4AAC-94A1-2112C10A08A5}" dt="2024-10-22T01:37:03.203" v="74"/>
          <ac:picMkLst>
            <pc:docMk/>
            <pc:sldMk cId="3149592987" sldId="425"/>
            <ac:picMk id="6" creationId="{FB05B398-F42F-9F70-E662-135DA39E34E5}"/>
          </ac:picMkLst>
        </pc:picChg>
        <pc:picChg chg="add mod">
          <ac:chgData name="Guthrie, Jadon" userId="026ca56f-2682-44e1-afd5-db9f65bf0106" providerId="ADAL" clId="{A25A9EF0-486A-4AAC-94A1-2112C10A08A5}" dt="2024-10-22T01:37:05.061" v="76"/>
          <ac:picMkLst>
            <pc:docMk/>
            <pc:sldMk cId="3149592987" sldId="425"/>
            <ac:picMk id="8" creationId="{8AC3F5F5-BE57-FD78-855E-93ACC50CA8BD}"/>
          </ac:picMkLst>
        </pc:picChg>
      </pc:sldChg>
      <pc:sldChg chg="addSp modSp add del mod setBg">
        <pc:chgData name="Guthrie, Jadon" userId="026ca56f-2682-44e1-afd5-db9f65bf0106" providerId="ADAL" clId="{A25A9EF0-486A-4AAC-94A1-2112C10A08A5}" dt="2024-10-22T01:48:51.300" v="525" actId="2696"/>
        <pc:sldMkLst>
          <pc:docMk/>
          <pc:sldMk cId="2973245920" sldId="426"/>
        </pc:sldMkLst>
        <pc:spChg chg="add mod">
          <ac:chgData name="Guthrie, Jadon" userId="026ca56f-2682-44e1-afd5-db9f65bf0106" providerId="ADAL" clId="{A25A9EF0-486A-4AAC-94A1-2112C10A08A5}" dt="2024-10-22T01:37:40.213" v="108"/>
          <ac:spMkLst>
            <pc:docMk/>
            <pc:sldMk cId="2973245920" sldId="426"/>
            <ac:spMk id="2" creationId="{506F89C7-BFF8-C82B-6222-7B78D08DA5BE}"/>
          </ac:spMkLst>
        </pc:spChg>
        <pc:spChg chg="add mod">
          <ac:chgData name="Guthrie, Jadon" userId="026ca56f-2682-44e1-afd5-db9f65bf0106" providerId="ADAL" clId="{A25A9EF0-486A-4AAC-94A1-2112C10A08A5}" dt="2024-10-22T01:37:43.380" v="122"/>
          <ac:spMkLst>
            <pc:docMk/>
            <pc:sldMk cId="2973245920" sldId="426"/>
            <ac:spMk id="9" creationId="{D0BB0440-7333-D620-4654-A166F31FB978}"/>
          </ac:spMkLst>
        </pc:spChg>
        <pc:spChg chg="add mod">
          <ac:chgData name="Guthrie, Jadon" userId="026ca56f-2682-44e1-afd5-db9f65bf0106" providerId="ADAL" clId="{A25A9EF0-486A-4AAC-94A1-2112C10A08A5}" dt="2024-10-22T01:37:43.386" v="132"/>
          <ac:spMkLst>
            <pc:docMk/>
            <pc:sldMk cId="2973245920" sldId="426"/>
            <ac:spMk id="10" creationId="{CBC2F539-5319-B261-ABB8-5604DE6CEC34}"/>
          </ac:spMkLst>
        </pc:spChg>
        <pc:picChg chg="add mod">
          <ac:chgData name="Guthrie, Jadon" userId="026ca56f-2682-44e1-afd5-db9f65bf0106" providerId="ADAL" clId="{A25A9EF0-486A-4AAC-94A1-2112C10A08A5}" dt="2024-10-22T01:37:41.104" v="110"/>
          <ac:picMkLst>
            <pc:docMk/>
            <pc:sldMk cId="2973245920" sldId="426"/>
            <ac:picMk id="4" creationId="{F3BE3B13-23C7-39D7-DECB-674573D38A1B}"/>
          </ac:picMkLst>
        </pc:picChg>
        <pc:picChg chg="add mod">
          <ac:chgData name="Guthrie, Jadon" userId="026ca56f-2682-44e1-afd5-db9f65bf0106" providerId="ADAL" clId="{A25A9EF0-486A-4AAC-94A1-2112C10A08A5}" dt="2024-10-22T01:37:41.732" v="112"/>
          <ac:picMkLst>
            <pc:docMk/>
            <pc:sldMk cId="2973245920" sldId="426"/>
            <ac:picMk id="6" creationId="{CE76D871-5376-534C-D142-80B86AED5C62}"/>
          </ac:picMkLst>
        </pc:picChg>
        <pc:picChg chg="add mod">
          <ac:chgData name="Guthrie, Jadon" userId="026ca56f-2682-44e1-afd5-db9f65bf0106" providerId="ADAL" clId="{A25A9EF0-486A-4AAC-94A1-2112C10A08A5}" dt="2024-10-22T01:37:43.371" v="114"/>
          <ac:picMkLst>
            <pc:docMk/>
            <pc:sldMk cId="2973245920" sldId="426"/>
            <ac:picMk id="8" creationId="{BB243C78-848E-68D3-7013-5547FDBF766C}"/>
          </ac:picMkLst>
        </pc:picChg>
      </pc:sldChg>
      <pc:sldChg chg="addSp modSp add del mod setBg">
        <pc:chgData name="Guthrie, Jadon" userId="026ca56f-2682-44e1-afd5-db9f65bf0106" providerId="ADAL" clId="{A25A9EF0-486A-4AAC-94A1-2112C10A08A5}" dt="2024-10-22T01:48:51.308" v="526" actId="2696"/>
        <pc:sldMkLst>
          <pc:docMk/>
          <pc:sldMk cId="2844140484" sldId="427"/>
        </pc:sldMkLst>
        <pc:spChg chg="add mod">
          <ac:chgData name="Guthrie, Jadon" userId="026ca56f-2682-44e1-afd5-db9f65bf0106" providerId="ADAL" clId="{A25A9EF0-486A-4AAC-94A1-2112C10A08A5}" dt="2024-10-22T01:37:48.794" v="146"/>
          <ac:spMkLst>
            <pc:docMk/>
            <pc:sldMk cId="2844140484" sldId="427"/>
            <ac:spMk id="2" creationId="{28A11E48-161F-9A10-83C5-2271263CE17C}"/>
          </ac:spMkLst>
        </pc:spChg>
        <pc:spChg chg="add mod">
          <ac:chgData name="Guthrie, Jadon" userId="026ca56f-2682-44e1-afd5-db9f65bf0106" providerId="ADAL" clId="{A25A9EF0-486A-4AAC-94A1-2112C10A08A5}" dt="2024-10-22T01:37:51.994" v="160"/>
          <ac:spMkLst>
            <pc:docMk/>
            <pc:sldMk cId="2844140484" sldId="427"/>
            <ac:spMk id="9" creationId="{A4643CED-517B-EADB-2F3B-9A57F2500637}"/>
          </ac:spMkLst>
        </pc:spChg>
        <pc:spChg chg="add mod">
          <ac:chgData name="Guthrie, Jadon" userId="026ca56f-2682-44e1-afd5-db9f65bf0106" providerId="ADAL" clId="{A25A9EF0-486A-4AAC-94A1-2112C10A08A5}" dt="2024-10-22T01:37:51.999" v="170"/>
          <ac:spMkLst>
            <pc:docMk/>
            <pc:sldMk cId="2844140484" sldId="427"/>
            <ac:spMk id="10" creationId="{6AC89B08-FAA1-4373-D881-9F3F4C2859BC}"/>
          </ac:spMkLst>
        </pc:spChg>
        <pc:picChg chg="add mod">
          <ac:chgData name="Guthrie, Jadon" userId="026ca56f-2682-44e1-afd5-db9f65bf0106" providerId="ADAL" clId="{A25A9EF0-486A-4AAC-94A1-2112C10A08A5}" dt="2024-10-22T01:37:49.656" v="148"/>
          <ac:picMkLst>
            <pc:docMk/>
            <pc:sldMk cId="2844140484" sldId="427"/>
            <ac:picMk id="4" creationId="{360AB17C-BB84-DBA7-BC4B-BEBCC6724A34}"/>
          </ac:picMkLst>
        </pc:picChg>
        <pc:picChg chg="add mod">
          <ac:chgData name="Guthrie, Jadon" userId="026ca56f-2682-44e1-afd5-db9f65bf0106" providerId="ADAL" clId="{A25A9EF0-486A-4AAC-94A1-2112C10A08A5}" dt="2024-10-22T01:37:50.308" v="150"/>
          <ac:picMkLst>
            <pc:docMk/>
            <pc:sldMk cId="2844140484" sldId="427"/>
            <ac:picMk id="6" creationId="{C43E1556-F748-475D-15BC-5BCFC5EB765F}"/>
          </ac:picMkLst>
        </pc:picChg>
        <pc:picChg chg="add mod">
          <ac:chgData name="Guthrie, Jadon" userId="026ca56f-2682-44e1-afd5-db9f65bf0106" providerId="ADAL" clId="{A25A9EF0-486A-4AAC-94A1-2112C10A08A5}" dt="2024-10-22T01:37:51.977" v="152"/>
          <ac:picMkLst>
            <pc:docMk/>
            <pc:sldMk cId="2844140484" sldId="427"/>
            <ac:picMk id="8" creationId="{8C32DC83-D4C7-3E4A-4B1C-9C51AD20EDB2}"/>
          </ac:picMkLst>
        </pc:picChg>
      </pc:sldChg>
      <pc:sldChg chg="addSp modSp add mod setBg">
        <pc:chgData name="Guthrie, Jadon" userId="026ca56f-2682-44e1-afd5-db9f65bf0106" providerId="ADAL" clId="{A25A9EF0-486A-4AAC-94A1-2112C10A08A5}" dt="2024-10-22T01:38:21.949" v="209" actId="27636"/>
        <pc:sldMkLst>
          <pc:docMk/>
          <pc:sldMk cId="3074771597" sldId="428"/>
        </pc:sldMkLst>
        <pc:spChg chg="add mod">
          <ac:chgData name="Guthrie, Jadon" userId="026ca56f-2682-44e1-afd5-db9f65bf0106" providerId="ADAL" clId="{A25A9EF0-486A-4AAC-94A1-2112C10A08A5}" dt="2024-10-22T01:38:18.253" v="184"/>
          <ac:spMkLst>
            <pc:docMk/>
            <pc:sldMk cId="3074771597" sldId="428"/>
            <ac:spMk id="2" creationId="{47B888C7-45D3-7BDC-69B5-8B690D5FEC37}"/>
          </ac:spMkLst>
        </pc:spChg>
        <pc:spChg chg="add mod">
          <ac:chgData name="Guthrie, Jadon" userId="026ca56f-2682-44e1-afd5-db9f65bf0106" providerId="ADAL" clId="{A25A9EF0-486A-4AAC-94A1-2112C10A08A5}" dt="2024-10-22T01:38:21.917" v="198"/>
          <ac:spMkLst>
            <pc:docMk/>
            <pc:sldMk cId="3074771597" sldId="428"/>
            <ac:spMk id="9" creationId="{3F108704-443C-123D-9763-407514992810}"/>
          </ac:spMkLst>
        </pc:spChg>
        <pc:spChg chg="add mod">
          <ac:chgData name="Guthrie, Jadon" userId="026ca56f-2682-44e1-afd5-db9f65bf0106" providerId="ADAL" clId="{A25A9EF0-486A-4AAC-94A1-2112C10A08A5}" dt="2024-10-22T01:38:21.949" v="209" actId="27636"/>
          <ac:spMkLst>
            <pc:docMk/>
            <pc:sldMk cId="3074771597" sldId="428"/>
            <ac:spMk id="10" creationId="{C1328970-0EB1-9EDC-430C-81ECEDE9C4B6}"/>
          </ac:spMkLst>
        </pc:spChg>
        <pc:picChg chg="add mod">
          <ac:chgData name="Guthrie, Jadon" userId="026ca56f-2682-44e1-afd5-db9f65bf0106" providerId="ADAL" clId="{A25A9EF0-486A-4AAC-94A1-2112C10A08A5}" dt="2024-10-22T01:38:19.524" v="186"/>
          <ac:picMkLst>
            <pc:docMk/>
            <pc:sldMk cId="3074771597" sldId="428"/>
            <ac:picMk id="4" creationId="{6D119A6B-905D-EC64-CE12-90DDC5362829}"/>
          </ac:picMkLst>
        </pc:picChg>
        <pc:picChg chg="add mod">
          <ac:chgData name="Guthrie, Jadon" userId="026ca56f-2682-44e1-afd5-db9f65bf0106" providerId="ADAL" clId="{A25A9EF0-486A-4AAC-94A1-2112C10A08A5}" dt="2024-10-22T01:38:20.187" v="188"/>
          <ac:picMkLst>
            <pc:docMk/>
            <pc:sldMk cId="3074771597" sldId="428"/>
            <ac:picMk id="6" creationId="{F296137A-99FC-3021-4A18-43740A082E16}"/>
          </ac:picMkLst>
        </pc:picChg>
        <pc:picChg chg="add mod">
          <ac:chgData name="Guthrie, Jadon" userId="026ca56f-2682-44e1-afd5-db9f65bf0106" providerId="ADAL" clId="{A25A9EF0-486A-4AAC-94A1-2112C10A08A5}" dt="2024-10-22T01:38:21.910" v="190"/>
          <ac:picMkLst>
            <pc:docMk/>
            <pc:sldMk cId="3074771597" sldId="428"/>
            <ac:picMk id="8" creationId="{1550FF7D-FB52-100E-01EF-55B44225F29B}"/>
          </ac:picMkLst>
        </pc:picChg>
      </pc:sldChg>
      <pc:sldChg chg="add">
        <pc:chgData name="Guthrie, Jadon" userId="026ca56f-2682-44e1-afd5-db9f65bf0106" providerId="ADAL" clId="{A25A9EF0-486A-4AAC-94A1-2112C10A08A5}" dt="2024-10-22T01:38:26.863" v="210"/>
        <pc:sldMkLst>
          <pc:docMk/>
          <pc:sldMk cId="1845374499" sldId="429"/>
        </pc:sldMkLst>
      </pc:sldChg>
      <pc:sldChg chg="addSp modSp add mod setBg">
        <pc:chgData name="Guthrie, Jadon" userId="026ca56f-2682-44e1-afd5-db9f65bf0106" providerId="ADAL" clId="{A25A9EF0-486A-4AAC-94A1-2112C10A08A5}" dt="2024-10-22T01:38:51.192" v="249" actId="27636"/>
        <pc:sldMkLst>
          <pc:docMk/>
          <pc:sldMk cId="1014609499" sldId="430"/>
        </pc:sldMkLst>
        <pc:spChg chg="add mod">
          <ac:chgData name="Guthrie, Jadon" userId="026ca56f-2682-44e1-afd5-db9f65bf0106" providerId="ADAL" clId="{A25A9EF0-486A-4AAC-94A1-2112C10A08A5}" dt="2024-10-22T01:38:48.106" v="224"/>
          <ac:spMkLst>
            <pc:docMk/>
            <pc:sldMk cId="1014609499" sldId="430"/>
            <ac:spMk id="2" creationId="{4387FDE0-4C8E-7053-1A19-F09BEDF13AA8}"/>
          </ac:spMkLst>
        </pc:spChg>
        <pc:spChg chg="add mod">
          <ac:chgData name="Guthrie, Jadon" userId="026ca56f-2682-44e1-afd5-db9f65bf0106" providerId="ADAL" clId="{A25A9EF0-486A-4AAC-94A1-2112C10A08A5}" dt="2024-10-22T01:38:51.144" v="238"/>
          <ac:spMkLst>
            <pc:docMk/>
            <pc:sldMk cId="1014609499" sldId="430"/>
            <ac:spMk id="9" creationId="{2473DFDE-BA17-B684-8C7B-AE25FD33F6F9}"/>
          </ac:spMkLst>
        </pc:spChg>
        <pc:spChg chg="add mod">
          <ac:chgData name="Guthrie, Jadon" userId="026ca56f-2682-44e1-afd5-db9f65bf0106" providerId="ADAL" clId="{A25A9EF0-486A-4AAC-94A1-2112C10A08A5}" dt="2024-10-22T01:38:51.192" v="249" actId="27636"/>
          <ac:spMkLst>
            <pc:docMk/>
            <pc:sldMk cId="1014609499" sldId="430"/>
            <ac:spMk id="10" creationId="{CECFC3CE-843A-AFFB-9766-E3D145F9F4E3}"/>
          </ac:spMkLst>
        </pc:spChg>
        <pc:picChg chg="add mod">
          <ac:chgData name="Guthrie, Jadon" userId="026ca56f-2682-44e1-afd5-db9f65bf0106" providerId="ADAL" clId="{A25A9EF0-486A-4AAC-94A1-2112C10A08A5}" dt="2024-10-22T01:38:49.057" v="226"/>
          <ac:picMkLst>
            <pc:docMk/>
            <pc:sldMk cId="1014609499" sldId="430"/>
            <ac:picMk id="4" creationId="{0319A48F-D59E-E1A4-D3FB-8CE85CF4D9C7}"/>
          </ac:picMkLst>
        </pc:picChg>
        <pc:picChg chg="add mod">
          <ac:chgData name="Guthrie, Jadon" userId="026ca56f-2682-44e1-afd5-db9f65bf0106" providerId="ADAL" clId="{A25A9EF0-486A-4AAC-94A1-2112C10A08A5}" dt="2024-10-22T01:38:49.735" v="228"/>
          <ac:picMkLst>
            <pc:docMk/>
            <pc:sldMk cId="1014609499" sldId="430"/>
            <ac:picMk id="6" creationId="{8B6DAC5C-B28B-8E05-B2FA-987485270EC1}"/>
          </ac:picMkLst>
        </pc:picChg>
        <pc:picChg chg="add mod">
          <ac:chgData name="Guthrie, Jadon" userId="026ca56f-2682-44e1-afd5-db9f65bf0106" providerId="ADAL" clId="{A25A9EF0-486A-4AAC-94A1-2112C10A08A5}" dt="2024-10-22T01:38:51.136" v="230"/>
          <ac:picMkLst>
            <pc:docMk/>
            <pc:sldMk cId="1014609499" sldId="430"/>
            <ac:picMk id="8" creationId="{CC52DCCF-F79D-D1F5-48F5-2807825F7C1D}"/>
          </ac:picMkLst>
        </pc:picChg>
      </pc:sldChg>
      <pc:sldChg chg="addSp modSp add mod setBg">
        <pc:chgData name="Guthrie, Jadon" userId="026ca56f-2682-44e1-afd5-db9f65bf0106" providerId="ADAL" clId="{A25A9EF0-486A-4AAC-94A1-2112C10A08A5}" dt="2024-10-22T01:38:58.636" v="288" actId="27636"/>
        <pc:sldMkLst>
          <pc:docMk/>
          <pc:sldMk cId="2668608056" sldId="431"/>
        </pc:sldMkLst>
        <pc:spChg chg="add mod">
          <ac:chgData name="Guthrie, Jadon" userId="026ca56f-2682-44e1-afd5-db9f65bf0106" providerId="ADAL" clId="{A25A9EF0-486A-4AAC-94A1-2112C10A08A5}" dt="2024-10-22T01:38:55.436" v="263"/>
          <ac:spMkLst>
            <pc:docMk/>
            <pc:sldMk cId="2668608056" sldId="431"/>
            <ac:spMk id="2" creationId="{039C556B-C8D1-ED3E-0A67-E3F686B8EDD4}"/>
          </ac:spMkLst>
        </pc:spChg>
        <pc:spChg chg="add mod">
          <ac:chgData name="Guthrie, Jadon" userId="026ca56f-2682-44e1-afd5-db9f65bf0106" providerId="ADAL" clId="{A25A9EF0-486A-4AAC-94A1-2112C10A08A5}" dt="2024-10-22T01:38:58.597" v="277"/>
          <ac:spMkLst>
            <pc:docMk/>
            <pc:sldMk cId="2668608056" sldId="431"/>
            <ac:spMk id="9" creationId="{B11BA8B5-7C78-B48F-E7FC-2F8469FF5F7C}"/>
          </ac:spMkLst>
        </pc:spChg>
        <pc:spChg chg="add mod">
          <ac:chgData name="Guthrie, Jadon" userId="026ca56f-2682-44e1-afd5-db9f65bf0106" providerId="ADAL" clId="{A25A9EF0-486A-4AAC-94A1-2112C10A08A5}" dt="2024-10-22T01:38:58.636" v="288" actId="27636"/>
          <ac:spMkLst>
            <pc:docMk/>
            <pc:sldMk cId="2668608056" sldId="431"/>
            <ac:spMk id="10" creationId="{42B46261-EB59-236D-BB6A-923207239E09}"/>
          </ac:spMkLst>
        </pc:spChg>
        <pc:picChg chg="add mod">
          <ac:chgData name="Guthrie, Jadon" userId="026ca56f-2682-44e1-afd5-db9f65bf0106" providerId="ADAL" clId="{A25A9EF0-486A-4AAC-94A1-2112C10A08A5}" dt="2024-10-22T01:38:56.292" v="265"/>
          <ac:picMkLst>
            <pc:docMk/>
            <pc:sldMk cId="2668608056" sldId="431"/>
            <ac:picMk id="4" creationId="{0DEFA6BD-165D-3640-064B-0322D24C59E0}"/>
          </ac:picMkLst>
        </pc:picChg>
        <pc:picChg chg="add mod">
          <ac:chgData name="Guthrie, Jadon" userId="026ca56f-2682-44e1-afd5-db9f65bf0106" providerId="ADAL" clId="{A25A9EF0-486A-4AAC-94A1-2112C10A08A5}" dt="2024-10-22T01:38:56.917" v="267"/>
          <ac:picMkLst>
            <pc:docMk/>
            <pc:sldMk cId="2668608056" sldId="431"/>
            <ac:picMk id="6" creationId="{92D60249-1CD7-B621-36B0-AFB7AABA1213}"/>
          </ac:picMkLst>
        </pc:picChg>
        <pc:picChg chg="add mod">
          <ac:chgData name="Guthrie, Jadon" userId="026ca56f-2682-44e1-afd5-db9f65bf0106" providerId="ADAL" clId="{A25A9EF0-486A-4AAC-94A1-2112C10A08A5}" dt="2024-10-22T01:38:58.591" v="269"/>
          <ac:picMkLst>
            <pc:docMk/>
            <pc:sldMk cId="2668608056" sldId="431"/>
            <ac:picMk id="8" creationId="{806C70A6-7BC7-47BA-06A8-151C212AF444}"/>
          </ac:picMkLst>
        </pc:picChg>
      </pc:sldChg>
      <pc:sldChg chg="addSp modSp add mod setBg">
        <pc:chgData name="Guthrie, Jadon" userId="026ca56f-2682-44e1-afd5-db9f65bf0106" providerId="ADAL" clId="{A25A9EF0-486A-4AAC-94A1-2112C10A08A5}" dt="2024-10-22T01:39:10.371" v="327" actId="27636"/>
        <pc:sldMkLst>
          <pc:docMk/>
          <pc:sldMk cId="4200707645" sldId="432"/>
        </pc:sldMkLst>
        <pc:spChg chg="add mod">
          <ac:chgData name="Guthrie, Jadon" userId="026ca56f-2682-44e1-afd5-db9f65bf0106" providerId="ADAL" clId="{A25A9EF0-486A-4AAC-94A1-2112C10A08A5}" dt="2024-10-22T01:39:06.927" v="302"/>
          <ac:spMkLst>
            <pc:docMk/>
            <pc:sldMk cId="4200707645" sldId="432"/>
            <ac:spMk id="2" creationId="{6F30EBFC-AD29-44FB-CDA2-44C61003A932}"/>
          </ac:spMkLst>
        </pc:spChg>
        <pc:spChg chg="add mod">
          <ac:chgData name="Guthrie, Jadon" userId="026ca56f-2682-44e1-afd5-db9f65bf0106" providerId="ADAL" clId="{A25A9EF0-486A-4AAC-94A1-2112C10A08A5}" dt="2024-10-22T01:39:10.056" v="316"/>
          <ac:spMkLst>
            <pc:docMk/>
            <pc:sldMk cId="4200707645" sldId="432"/>
            <ac:spMk id="9" creationId="{B3B31F56-729F-D9AE-5F96-6A59C6B42D88}"/>
          </ac:spMkLst>
        </pc:spChg>
        <pc:spChg chg="add mod">
          <ac:chgData name="Guthrie, Jadon" userId="026ca56f-2682-44e1-afd5-db9f65bf0106" providerId="ADAL" clId="{A25A9EF0-486A-4AAC-94A1-2112C10A08A5}" dt="2024-10-22T01:39:10.371" v="327" actId="27636"/>
          <ac:spMkLst>
            <pc:docMk/>
            <pc:sldMk cId="4200707645" sldId="432"/>
            <ac:spMk id="10" creationId="{1504B280-B353-68A8-FD1F-0ECBBD6D23FD}"/>
          </ac:spMkLst>
        </pc:spChg>
        <pc:picChg chg="add mod">
          <ac:chgData name="Guthrie, Jadon" userId="026ca56f-2682-44e1-afd5-db9f65bf0106" providerId="ADAL" clId="{A25A9EF0-486A-4AAC-94A1-2112C10A08A5}" dt="2024-10-22T01:39:07.787" v="304"/>
          <ac:picMkLst>
            <pc:docMk/>
            <pc:sldMk cId="4200707645" sldId="432"/>
            <ac:picMk id="4" creationId="{DF43850C-1CF2-C866-AAFB-2368DB856895}"/>
          </ac:picMkLst>
        </pc:picChg>
        <pc:picChg chg="add mod">
          <ac:chgData name="Guthrie, Jadon" userId="026ca56f-2682-44e1-afd5-db9f65bf0106" providerId="ADAL" clId="{A25A9EF0-486A-4AAC-94A1-2112C10A08A5}" dt="2024-10-22T01:39:08.422" v="306"/>
          <ac:picMkLst>
            <pc:docMk/>
            <pc:sldMk cId="4200707645" sldId="432"/>
            <ac:picMk id="6" creationId="{27CC4F3F-74BF-82E8-9B2C-EC58806B9D3C}"/>
          </ac:picMkLst>
        </pc:picChg>
        <pc:picChg chg="add mod">
          <ac:chgData name="Guthrie, Jadon" userId="026ca56f-2682-44e1-afd5-db9f65bf0106" providerId="ADAL" clId="{A25A9EF0-486A-4AAC-94A1-2112C10A08A5}" dt="2024-10-22T01:39:10.053" v="308"/>
          <ac:picMkLst>
            <pc:docMk/>
            <pc:sldMk cId="4200707645" sldId="432"/>
            <ac:picMk id="8" creationId="{1413FA94-6866-3FF8-A75D-AA9E6D0EAA4E}"/>
          </ac:picMkLst>
        </pc:picChg>
      </pc:sldChg>
      <pc:sldChg chg="addSp modSp add mod setBg">
        <pc:chgData name="Guthrie, Jadon" userId="026ca56f-2682-44e1-afd5-db9f65bf0106" providerId="ADAL" clId="{A25A9EF0-486A-4AAC-94A1-2112C10A08A5}" dt="2024-10-22T01:39:15.527" v="366" actId="27636"/>
        <pc:sldMkLst>
          <pc:docMk/>
          <pc:sldMk cId="2128910036" sldId="433"/>
        </pc:sldMkLst>
        <pc:spChg chg="add mod">
          <ac:chgData name="Guthrie, Jadon" userId="026ca56f-2682-44e1-afd5-db9f65bf0106" providerId="ADAL" clId="{A25A9EF0-486A-4AAC-94A1-2112C10A08A5}" dt="2024-10-22T01:39:12.343" v="341"/>
          <ac:spMkLst>
            <pc:docMk/>
            <pc:sldMk cId="2128910036" sldId="433"/>
            <ac:spMk id="2" creationId="{71136C54-61AA-B95F-5BE6-28B8B2FA0722}"/>
          </ac:spMkLst>
        </pc:spChg>
        <pc:spChg chg="add mod">
          <ac:chgData name="Guthrie, Jadon" userId="026ca56f-2682-44e1-afd5-db9f65bf0106" providerId="ADAL" clId="{A25A9EF0-486A-4AAC-94A1-2112C10A08A5}" dt="2024-10-22T01:39:15.482" v="355"/>
          <ac:spMkLst>
            <pc:docMk/>
            <pc:sldMk cId="2128910036" sldId="433"/>
            <ac:spMk id="9" creationId="{0E23354F-60D8-E10B-CE2E-2BFF0C445714}"/>
          </ac:spMkLst>
        </pc:spChg>
        <pc:spChg chg="add mod">
          <ac:chgData name="Guthrie, Jadon" userId="026ca56f-2682-44e1-afd5-db9f65bf0106" providerId="ADAL" clId="{A25A9EF0-486A-4AAC-94A1-2112C10A08A5}" dt="2024-10-22T01:39:15.527" v="366" actId="27636"/>
          <ac:spMkLst>
            <pc:docMk/>
            <pc:sldMk cId="2128910036" sldId="433"/>
            <ac:spMk id="10" creationId="{A916FD6F-4B5B-802C-F51A-98EDBE27D6FF}"/>
          </ac:spMkLst>
        </pc:spChg>
        <pc:picChg chg="add mod">
          <ac:chgData name="Guthrie, Jadon" userId="026ca56f-2682-44e1-afd5-db9f65bf0106" providerId="ADAL" clId="{A25A9EF0-486A-4AAC-94A1-2112C10A08A5}" dt="2024-10-22T01:39:13.202" v="343"/>
          <ac:picMkLst>
            <pc:docMk/>
            <pc:sldMk cId="2128910036" sldId="433"/>
            <ac:picMk id="4" creationId="{5DAAA9A6-2F5F-00E7-5CCE-27FE71307C08}"/>
          </ac:picMkLst>
        </pc:picChg>
        <pc:picChg chg="add mod">
          <ac:chgData name="Guthrie, Jadon" userId="026ca56f-2682-44e1-afd5-db9f65bf0106" providerId="ADAL" clId="{A25A9EF0-486A-4AAC-94A1-2112C10A08A5}" dt="2024-10-22T01:39:13.872" v="345"/>
          <ac:picMkLst>
            <pc:docMk/>
            <pc:sldMk cId="2128910036" sldId="433"/>
            <ac:picMk id="6" creationId="{099B111F-E19E-BF7A-711E-1D692FFBDDF3}"/>
          </ac:picMkLst>
        </pc:picChg>
        <pc:picChg chg="add mod">
          <ac:chgData name="Guthrie, Jadon" userId="026ca56f-2682-44e1-afd5-db9f65bf0106" providerId="ADAL" clId="{A25A9EF0-486A-4AAC-94A1-2112C10A08A5}" dt="2024-10-22T01:39:15.477" v="347"/>
          <ac:picMkLst>
            <pc:docMk/>
            <pc:sldMk cId="2128910036" sldId="433"/>
            <ac:picMk id="8" creationId="{D89412C1-1739-E961-8E6F-023A30A1B020}"/>
          </ac:picMkLst>
        </pc:picChg>
      </pc:sldChg>
      <pc:sldChg chg="addSp modSp add mod setBg">
        <pc:chgData name="Guthrie, Jadon" userId="026ca56f-2682-44e1-afd5-db9f65bf0106" providerId="ADAL" clId="{A25A9EF0-486A-4AAC-94A1-2112C10A08A5}" dt="2024-10-22T01:39:32.678" v="407" actId="27636"/>
        <pc:sldMkLst>
          <pc:docMk/>
          <pc:sldMk cId="2938958150" sldId="434"/>
        </pc:sldMkLst>
        <pc:spChg chg="add mod">
          <ac:chgData name="Guthrie, Jadon" userId="026ca56f-2682-44e1-afd5-db9f65bf0106" providerId="ADAL" clId="{A25A9EF0-486A-4AAC-94A1-2112C10A08A5}" dt="2024-10-22T01:39:29.495" v="382"/>
          <ac:spMkLst>
            <pc:docMk/>
            <pc:sldMk cId="2938958150" sldId="434"/>
            <ac:spMk id="2" creationId="{1D26FFBB-0A9C-63F1-F970-789B0D00CBE7}"/>
          </ac:spMkLst>
        </pc:spChg>
        <pc:spChg chg="add mod">
          <ac:chgData name="Guthrie, Jadon" userId="026ca56f-2682-44e1-afd5-db9f65bf0106" providerId="ADAL" clId="{A25A9EF0-486A-4AAC-94A1-2112C10A08A5}" dt="2024-10-22T01:39:32.638" v="396"/>
          <ac:spMkLst>
            <pc:docMk/>
            <pc:sldMk cId="2938958150" sldId="434"/>
            <ac:spMk id="9" creationId="{253CAAC3-B72C-6161-031B-3E60FEB5C008}"/>
          </ac:spMkLst>
        </pc:spChg>
        <pc:spChg chg="add mod">
          <ac:chgData name="Guthrie, Jadon" userId="026ca56f-2682-44e1-afd5-db9f65bf0106" providerId="ADAL" clId="{A25A9EF0-486A-4AAC-94A1-2112C10A08A5}" dt="2024-10-22T01:39:32.678" v="407" actId="27636"/>
          <ac:spMkLst>
            <pc:docMk/>
            <pc:sldMk cId="2938958150" sldId="434"/>
            <ac:spMk id="10" creationId="{4CC47F03-010A-E486-1B67-7129CFD75B50}"/>
          </ac:spMkLst>
        </pc:spChg>
        <pc:picChg chg="add mod">
          <ac:chgData name="Guthrie, Jadon" userId="026ca56f-2682-44e1-afd5-db9f65bf0106" providerId="ADAL" clId="{A25A9EF0-486A-4AAC-94A1-2112C10A08A5}" dt="2024-10-22T01:39:30.373" v="384"/>
          <ac:picMkLst>
            <pc:docMk/>
            <pc:sldMk cId="2938958150" sldId="434"/>
            <ac:picMk id="4" creationId="{321B0ED3-0E13-30F5-63AC-4C5C64AB7D49}"/>
          </ac:picMkLst>
        </pc:picChg>
        <pc:picChg chg="add mod">
          <ac:chgData name="Guthrie, Jadon" userId="026ca56f-2682-44e1-afd5-db9f65bf0106" providerId="ADAL" clId="{A25A9EF0-486A-4AAC-94A1-2112C10A08A5}" dt="2024-10-22T01:39:30.980" v="386"/>
          <ac:picMkLst>
            <pc:docMk/>
            <pc:sldMk cId="2938958150" sldId="434"/>
            <ac:picMk id="6" creationId="{8C110494-2A9D-DEFF-8EE7-EFDD0DCE37C3}"/>
          </ac:picMkLst>
        </pc:picChg>
        <pc:picChg chg="add mod">
          <ac:chgData name="Guthrie, Jadon" userId="026ca56f-2682-44e1-afd5-db9f65bf0106" providerId="ADAL" clId="{A25A9EF0-486A-4AAC-94A1-2112C10A08A5}" dt="2024-10-22T01:39:32.631" v="388"/>
          <ac:picMkLst>
            <pc:docMk/>
            <pc:sldMk cId="2938958150" sldId="434"/>
            <ac:picMk id="8" creationId="{9FC47EF2-C474-3749-3BAB-D088B09ADC22}"/>
          </ac:picMkLst>
        </pc:picChg>
      </pc:sldChg>
      <pc:sldChg chg="add del">
        <pc:chgData name="Guthrie, Jadon" userId="026ca56f-2682-44e1-afd5-db9f65bf0106" providerId="ADAL" clId="{A25A9EF0-486A-4AAC-94A1-2112C10A08A5}" dt="2024-10-22T01:39:27.009" v="368" actId="47"/>
        <pc:sldMkLst>
          <pc:docMk/>
          <pc:sldMk cId="3914240583" sldId="434"/>
        </pc:sldMkLst>
      </pc:sldChg>
      <pc:sldChg chg="addSp modSp add mod setBg">
        <pc:chgData name="Guthrie, Jadon" userId="026ca56f-2682-44e1-afd5-db9f65bf0106" providerId="ADAL" clId="{A25A9EF0-486A-4AAC-94A1-2112C10A08A5}" dt="2024-10-22T01:39:42.523" v="444" actId="27636"/>
        <pc:sldMkLst>
          <pc:docMk/>
          <pc:sldMk cId="646925197" sldId="435"/>
        </pc:sldMkLst>
        <pc:spChg chg="add mod">
          <ac:chgData name="Guthrie, Jadon" userId="026ca56f-2682-44e1-afd5-db9f65bf0106" providerId="ADAL" clId="{A25A9EF0-486A-4AAC-94A1-2112C10A08A5}" dt="2024-10-22T01:39:39.378" v="420" actId="139"/>
          <ac:spMkLst>
            <pc:docMk/>
            <pc:sldMk cId="646925197" sldId="435"/>
            <ac:spMk id="5" creationId="{82FBEE4B-45A2-3E31-5341-36FBE5832F87}"/>
          </ac:spMkLst>
        </pc:spChg>
        <pc:spChg chg="add mod">
          <ac:chgData name="Guthrie, Jadon" userId="026ca56f-2682-44e1-afd5-db9f65bf0106" providerId="ADAL" clId="{A25A9EF0-486A-4AAC-94A1-2112C10A08A5}" dt="2024-10-22T01:39:42.423" v="434"/>
          <ac:spMkLst>
            <pc:docMk/>
            <pc:sldMk cId="646925197" sldId="435"/>
            <ac:spMk id="12" creationId="{9A4F47BB-FA1C-1FAF-85EE-EF62569FA185}"/>
          </ac:spMkLst>
        </pc:spChg>
        <pc:spChg chg="add mod">
          <ac:chgData name="Guthrie, Jadon" userId="026ca56f-2682-44e1-afd5-db9f65bf0106" providerId="ADAL" clId="{A25A9EF0-486A-4AAC-94A1-2112C10A08A5}" dt="2024-10-22T01:39:42.523" v="444" actId="27636"/>
          <ac:spMkLst>
            <pc:docMk/>
            <pc:sldMk cId="646925197" sldId="435"/>
            <ac:spMk id="13" creationId="{423F79F6-B23D-691B-9A62-079E72C48AD1}"/>
          </ac:spMkLst>
        </pc:spChg>
        <pc:picChg chg="add mod">
          <ac:chgData name="Guthrie, Jadon" userId="026ca56f-2682-44e1-afd5-db9f65bf0106" providerId="ADAL" clId="{A25A9EF0-486A-4AAC-94A1-2112C10A08A5}" dt="2024-10-22T01:39:40.223" v="422"/>
          <ac:picMkLst>
            <pc:docMk/>
            <pc:sldMk cId="646925197" sldId="435"/>
            <ac:picMk id="7" creationId="{C18F01DE-94EC-9A7E-336E-8A8A897734B4}"/>
          </ac:picMkLst>
        </pc:picChg>
        <pc:picChg chg="add mod">
          <ac:chgData name="Guthrie, Jadon" userId="026ca56f-2682-44e1-afd5-db9f65bf0106" providerId="ADAL" clId="{A25A9EF0-486A-4AAC-94A1-2112C10A08A5}" dt="2024-10-22T01:39:40.880" v="424"/>
          <ac:picMkLst>
            <pc:docMk/>
            <pc:sldMk cId="646925197" sldId="435"/>
            <ac:picMk id="9" creationId="{7265FAFF-174A-2959-7185-DDAF3384BCED}"/>
          </ac:picMkLst>
        </pc:picChg>
        <pc:picChg chg="add mod">
          <ac:chgData name="Guthrie, Jadon" userId="026ca56f-2682-44e1-afd5-db9f65bf0106" providerId="ADAL" clId="{A25A9EF0-486A-4AAC-94A1-2112C10A08A5}" dt="2024-10-22T01:39:42.419" v="426"/>
          <ac:picMkLst>
            <pc:docMk/>
            <pc:sldMk cId="646925197" sldId="435"/>
            <ac:picMk id="11" creationId="{29195D0C-C289-FB80-8F1E-65FFF6DCF8C2}"/>
          </ac:picMkLst>
        </pc:picChg>
      </pc:sldChg>
      <pc:sldChg chg="addSp modSp add mod setBg">
        <pc:chgData name="Guthrie, Jadon" userId="026ca56f-2682-44e1-afd5-db9f65bf0106" providerId="ADAL" clId="{A25A9EF0-486A-4AAC-94A1-2112C10A08A5}" dt="2024-10-22T01:39:49.188" v="483" actId="27636"/>
        <pc:sldMkLst>
          <pc:docMk/>
          <pc:sldMk cId="2728970109" sldId="436"/>
        </pc:sldMkLst>
        <pc:spChg chg="add mod">
          <ac:chgData name="Guthrie, Jadon" userId="026ca56f-2682-44e1-afd5-db9f65bf0106" providerId="ADAL" clId="{A25A9EF0-486A-4AAC-94A1-2112C10A08A5}" dt="2024-10-22T01:39:46.200" v="458"/>
          <ac:spMkLst>
            <pc:docMk/>
            <pc:sldMk cId="2728970109" sldId="436"/>
            <ac:spMk id="2" creationId="{27FFCCC1-3C94-3BE6-29DE-A50CF3324D97}"/>
          </ac:spMkLst>
        </pc:spChg>
        <pc:spChg chg="add mod">
          <ac:chgData name="Guthrie, Jadon" userId="026ca56f-2682-44e1-afd5-db9f65bf0106" providerId="ADAL" clId="{A25A9EF0-486A-4AAC-94A1-2112C10A08A5}" dt="2024-10-22T01:39:49.132" v="472"/>
          <ac:spMkLst>
            <pc:docMk/>
            <pc:sldMk cId="2728970109" sldId="436"/>
            <ac:spMk id="9" creationId="{5932FB99-076E-D86F-84C0-5B68331168F9}"/>
          </ac:spMkLst>
        </pc:spChg>
        <pc:spChg chg="add mod">
          <ac:chgData name="Guthrie, Jadon" userId="026ca56f-2682-44e1-afd5-db9f65bf0106" providerId="ADAL" clId="{A25A9EF0-486A-4AAC-94A1-2112C10A08A5}" dt="2024-10-22T01:39:49.188" v="483" actId="27636"/>
          <ac:spMkLst>
            <pc:docMk/>
            <pc:sldMk cId="2728970109" sldId="436"/>
            <ac:spMk id="10" creationId="{CCC64E8E-487A-970C-683B-437D349A0EFE}"/>
          </ac:spMkLst>
        </pc:spChg>
        <pc:picChg chg="add mod">
          <ac:chgData name="Guthrie, Jadon" userId="026ca56f-2682-44e1-afd5-db9f65bf0106" providerId="ADAL" clId="{A25A9EF0-486A-4AAC-94A1-2112C10A08A5}" dt="2024-10-22T01:39:47.077" v="460"/>
          <ac:picMkLst>
            <pc:docMk/>
            <pc:sldMk cId="2728970109" sldId="436"/>
            <ac:picMk id="4" creationId="{3162A251-215F-51EB-A6A0-7BE9413DBAF2}"/>
          </ac:picMkLst>
        </pc:picChg>
        <pc:picChg chg="add mod">
          <ac:chgData name="Guthrie, Jadon" userId="026ca56f-2682-44e1-afd5-db9f65bf0106" providerId="ADAL" clId="{A25A9EF0-486A-4AAC-94A1-2112C10A08A5}" dt="2024-10-22T01:39:47.698" v="462"/>
          <ac:picMkLst>
            <pc:docMk/>
            <pc:sldMk cId="2728970109" sldId="436"/>
            <ac:picMk id="6" creationId="{D714D2DB-6080-1A9E-EFD8-7F9EA0CAFF1D}"/>
          </ac:picMkLst>
        </pc:picChg>
        <pc:picChg chg="add mod">
          <ac:chgData name="Guthrie, Jadon" userId="026ca56f-2682-44e1-afd5-db9f65bf0106" providerId="ADAL" clId="{A25A9EF0-486A-4AAC-94A1-2112C10A08A5}" dt="2024-10-22T01:39:49.122" v="464"/>
          <ac:picMkLst>
            <pc:docMk/>
            <pc:sldMk cId="2728970109" sldId="436"/>
            <ac:picMk id="8" creationId="{7BD7C96C-11DA-617C-1482-0A55792DCAA2}"/>
          </ac:picMkLst>
        </pc:picChg>
      </pc:sldChg>
      <pc:sldChg chg="addSp modSp add mod setBg">
        <pc:chgData name="Guthrie, Jadon" userId="026ca56f-2682-44e1-afd5-db9f65bf0106" providerId="ADAL" clId="{A25A9EF0-486A-4AAC-94A1-2112C10A08A5}" dt="2024-10-22T01:39:55.537" v="522" actId="27636"/>
        <pc:sldMkLst>
          <pc:docMk/>
          <pc:sldMk cId="842306396" sldId="437"/>
        </pc:sldMkLst>
        <pc:spChg chg="add mod">
          <ac:chgData name="Guthrie, Jadon" userId="026ca56f-2682-44e1-afd5-db9f65bf0106" providerId="ADAL" clId="{A25A9EF0-486A-4AAC-94A1-2112C10A08A5}" dt="2024-10-22T01:39:52.269" v="497"/>
          <ac:spMkLst>
            <pc:docMk/>
            <pc:sldMk cId="842306396" sldId="437"/>
            <ac:spMk id="2" creationId="{CB98AEDE-EB64-F2E8-7F6A-4BD9CB526905}"/>
          </ac:spMkLst>
        </pc:spChg>
        <pc:spChg chg="add mod">
          <ac:chgData name="Guthrie, Jadon" userId="026ca56f-2682-44e1-afd5-db9f65bf0106" providerId="ADAL" clId="{A25A9EF0-486A-4AAC-94A1-2112C10A08A5}" dt="2024-10-22T01:39:55.477" v="511"/>
          <ac:spMkLst>
            <pc:docMk/>
            <pc:sldMk cId="842306396" sldId="437"/>
            <ac:spMk id="9" creationId="{7181FE08-165B-2D59-A7D9-F6CBE7671DA4}"/>
          </ac:spMkLst>
        </pc:spChg>
        <pc:spChg chg="add mod">
          <ac:chgData name="Guthrie, Jadon" userId="026ca56f-2682-44e1-afd5-db9f65bf0106" providerId="ADAL" clId="{A25A9EF0-486A-4AAC-94A1-2112C10A08A5}" dt="2024-10-22T01:39:55.537" v="522" actId="27636"/>
          <ac:spMkLst>
            <pc:docMk/>
            <pc:sldMk cId="842306396" sldId="437"/>
            <ac:spMk id="10" creationId="{A10731AD-8C09-4EC5-B893-B0E7864E492D}"/>
          </ac:spMkLst>
        </pc:spChg>
        <pc:picChg chg="add mod">
          <ac:chgData name="Guthrie, Jadon" userId="026ca56f-2682-44e1-afd5-db9f65bf0106" providerId="ADAL" clId="{A25A9EF0-486A-4AAC-94A1-2112C10A08A5}" dt="2024-10-22T01:39:53.128" v="499"/>
          <ac:picMkLst>
            <pc:docMk/>
            <pc:sldMk cId="842306396" sldId="437"/>
            <ac:picMk id="4" creationId="{5FA7B963-BA0E-AD14-4E17-C4EE73CE0912}"/>
          </ac:picMkLst>
        </pc:picChg>
        <pc:picChg chg="add mod">
          <ac:chgData name="Guthrie, Jadon" userId="026ca56f-2682-44e1-afd5-db9f65bf0106" providerId="ADAL" clId="{A25A9EF0-486A-4AAC-94A1-2112C10A08A5}" dt="2024-10-22T01:39:53.823" v="501"/>
          <ac:picMkLst>
            <pc:docMk/>
            <pc:sldMk cId="842306396" sldId="437"/>
            <ac:picMk id="6" creationId="{338530F7-FDCA-F837-A300-5A37B55C2B18}"/>
          </ac:picMkLst>
        </pc:picChg>
        <pc:picChg chg="add mod">
          <ac:chgData name="Guthrie, Jadon" userId="026ca56f-2682-44e1-afd5-db9f65bf0106" providerId="ADAL" clId="{A25A9EF0-486A-4AAC-94A1-2112C10A08A5}" dt="2024-10-22T01:39:55.471" v="503"/>
          <ac:picMkLst>
            <pc:docMk/>
            <pc:sldMk cId="842306396" sldId="437"/>
            <ac:picMk id="8" creationId="{09895F08-C7A1-5398-352A-1FE40B2ED4FC}"/>
          </ac:picMkLst>
        </pc:picChg>
      </pc:sldChg>
      <pc:sldChg chg="addSp modSp add mod setBg">
        <pc:chgData name="Guthrie, Jadon" userId="026ca56f-2682-44e1-afd5-db9f65bf0106" providerId="ADAL" clId="{A25A9EF0-486A-4AAC-94A1-2112C10A08A5}" dt="2024-10-22T01:51:26.038" v="564"/>
        <pc:sldMkLst>
          <pc:docMk/>
          <pc:sldMk cId="1322029151" sldId="438"/>
        </pc:sldMkLst>
        <pc:spChg chg="add mod">
          <ac:chgData name="Guthrie, Jadon" userId="026ca56f-2682-44e1-afd5-db9f65bf0106" providerId="ADAL" clId="{A25A9EF0-486A-4AAC-94A1-2112C10A08A5}" dt="2024-10-22T01:51:21.160" v="540"/>
          <ac:spMkLst>
            <pc:docMk/>
            <pc:sldMk cId="1322029151" sldId="438"/>
            <ac:spMk id="2" creationId="{B435398C-DA23-9E5F-A716-B753FC3E70B9}"/>
          </ac:spMkLst>
        </pc:spChg>
        <pc:spChg chg="add mod">
          <ac:chgData name="Guthrie, Jadon" userId="026ca56f-2682-44e1-afd5-db9f65bf0106" providerId="ADAL" clId="{A25A9EF0-486A-4AAC-94A1-2112C10A08A5}" dt="2024-10-22T01:51:26.032" v="554"/>
          <ac:spMkLst>
            <pc:docMk/>
            <pc:sldMk cId="1322029151" sldId="438"/>
            <ac:spMk id="9" creationId="{A54592A5-FE00-AC4A-93A4-072E3417B21D}"/>
          </ac:spMkLst>
        </pc:spChg>
        <pc:spChg chg="add mod">
          <ac:chgData name="Guthrie, Jadon" userId="026ca56f-2682-44e1-afd5-db9f65bf0106" providerId="ADAL" clId="{A25A9EF0-486A-4AAC-94A1-2112C10A08A5}" dt="2024-10-22T01:51:26.038" v="564"/>
          <ac:spMkLst>
            <pc:docMk/>
            <pc:sldMk cId="1322029151" sldId="438"/>
            <ac:spMk id="10" creationId="{5559AFC5-28D7-D20C-0D4C-81C4CCCE3011}"/>
          </ac:spMkLst>
        </pc:spChg>
        <pc:picChg chg="add mod">
          <ac:chgData name="Guthrie, Jadon" userId="026ca56f-2682-44e1-afd5-db9f65bf0106" providerId="ADAL" clId="{A25A9EF0-486A-4AAC-94A1-2112C10A08A5}" dt="2024-10-22T01:51:23.840" v="542"/>
          <ac:picMkLst>
            <pc:docMk/>
            <pc:sldMk cId="1322029151" sldId="438"/>
            <ac:picMk id="4" creationId="{4817B3B7-3F5A-3B97-09DD-B9C28FAE036A}"/>
          </ac:picMkLst>
        </pc:picChg>
        <pc:picChg chg="add mod">
          <ac:chgData name="Guthrie, Jadon" userId="026ca56f-2682-44e1-afd5-db9f65bf0106" providerId="ADAL" clId="{A25A9EF0-486A-4AAC-94A1-2112C10A08A5}" dt="2024-10-22T01:51:24.507" v="544"/>
          <ac:picMkLst>
            <pc:docMk/>
            <pc:sldMk cId="1322029151" sldId="438"/>
            <ac:picMk id="6" creationId="{DD842A9E-556E-81B1-1980-43B9811B3944}"/>
          </ac:picMkLst>
        </pc:picChg>
        <pc:picChg chg="add mod">
          <ac:chgData name="Guthrie, Jadon" userId="026ca56f-2682-44e1-afd5-db9f65bf0106" providerId="ADAL" clId="{A25A9EF0-486A-4AAC-94A1-2112C10A08A5}" dt="2024-10-22T01:51:26.026" v="546"/>
          <ac:picMkLst>
            <pc:docMk/>
            <pc:sldMk cId="1322029151" sldId="438"/>
            <ac:picMk id="8" creationId="{D534FA2E-36C5-B79E-7371-50F5F058C631}"/>
          </ac:picMkLst>
        </pc:picChg>
      </pc:sldChg>
      <pc:sldChg chg="addSp modSp add mod ord setBg">
        <pc:chgData name="Guthrie, Jadon" userId="026ca56f-2682-44e1-afd5-db9f65bf0106" providerId="ADAL" clId="{A25A9EF0-486A-4AAC-94A1-2112C10A08A5}" dt="2024-10-22T01:51:40.899" v="604"/>
        <pc:sldMkLst>
          <pc:docMk/>
          <pc:sldMk cId="1527372096" sldId="439"/>
        </pc:sldMkLst>
        <pc:spChg chg="add mod">
          <ac:chgData name="Guthrie, Jadon" userId="026ca56f-2682-44e1-afd5-db9f65bf0106" providerId="ADAL" clId="{A25A9EF0-486A-4AAC-94A1-2112C10A08A5}" dt="2024-10-22T01:51:35.416" v="578"/>
          <ac:spMkLst>
            <pc:docMk/>
            <pc:sldMk cId="1527372096" sldId="439"/>
            <ac:spMk id="2" creationId="{4B13595E-0E83-5AA2-8C62-46FC6407A454}"/>
          </ac:spMkLst>
        </pc:spChg>
        <pc:spChg chg="add mod">
          <ac:chgData name="Guthrie, Jadon" userId="026ca56f-2682-44e1-afd5-db9f65bf0106" providerId="ADAL" clId="{A25A9EF0-486A-4AAC-94A1-2112C10A08A5}" dt="2024-10-22T01:51:39.334" v="592"/>
          <ac:spMkLst>
            <pc:docMk/>
            <pc:sldMk cId="1527372096" sldId="439"/>
            <ac:spMk id="9" creationId="{8DDDE5D6-FF63-80A9-F791-E0D5B6E84975}"/>
          </ac:spMkLst>
        </pc:spChg>
        <pc:spChg chg="add mod">
          <ac:chgData name="Guthrie, Jadon" userId="026ca56f-2682-44e1-afd5-db9f65bf0106" providerId="ADAL" clId="{A25A9EF0-486A-4AAC-94A1-2112C10A08A5}" dt="2024-10-22T01:51:39.345" v="602"/>
          <ac:spMkLst>
            <pc:docMk/>
            <pc:sldMk cId="1527372096" sldId="439"/>
            <ac:spMk id="10" creationId="{BCAB9F1A-A15C-8234-3BCB-83F1989957D6}"/>
          </ac:spMkLst>
        </pc:spChg>
        <pc:picChg chg="add mod">
          <ac:chgData name="Guthrie, Jadon" userId="026ca56f-2682-44e1-afd5-db9f65bf0106" providerId="ADAL" clId="{A25A9EF0-486A-4AAC-94A1-2112C10A08A5}" dt="2024-10-22T01:51:36.436" v="580"/>
          <ac:picMkLst>
            <pc:docMk/>
            <pc:sldMk cId="1527372096" sldId="439"/>
            <ac:picMk id="4" creationId="{4F5CF41F-EC56-C08B-5098-757C8C34FE4F}"/>
          </ac:picMkLst>
        </pc:picChg>
        <pc:picChg chg="add mod">
          <ac:chgData name="Guthrie, Jadon" userId="026ca56f-2682-44e1-afd5-db9f65bf0106" providerId="ADAL" clId="{A25A9EF0-486A-4AAC-94A1-2112C10A08A5}" dt="2024-10-22T01:51:37.470" v="582"/>
          <ac:picMkLst>
            <pc:docMk/>
            <pc:sldMk cId="1527372096" sldId="439"/>
            <ac:picMk id="6" creationId="{4869E6A7-3DD9-4118-58E8-2C853E6B414F}"/>
          </ac:picMkLst>
        </pc:picChg>
        <pc:picChg chg="add mod">
          <ac:chgData name="Guthrie, Jadon" userId="026ca56f-2682-44e1-afd5-db9f65bf0106" providerId="ADAL" clId="{A25A9EF0-486A-4AAC-94A1-2112C10A08A5}" dt="2024-10-22T01:51:39.332" v="584"/>
          <ac:picMkLst>
            <pc:docMk/>
            <pc:sldMk cId="1527372096" sldId="439"/>
            <ac:picMk id="8" creationId="{5340ACFD-381F-14FB-AE76-13B54323E2E1}"/>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5" Type="http://schemas.openxmlformats.org/officeDocument/2006/relationships/chartUserShapes" Target="../drawings/drawing1.xml"/><Relationship Id="rId4" Type="http://schemas.openxmlformats.org/officeDocument/2006/relationships/oleObject" Target="https://orennia.sharepoint.com/sites/analytics.team/Shared%20Documents/General/Reports/2024.08_Denver_Lunch/electricity_consumption.xlsx" TargetMode="Externa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chartUserShapes" Target="../drawings/drawing4.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chartUserShapes" Target="../drawings/drawing5.xml"/></Relationships>
</file>

<file path=ppt/charts/_rels/chart12.xml.rels><?xml version="1.0" encoding="UTF-8" standalone="yes"?>
<Relationships xmlns="http://schemas.openxmlformats.org/package/2006/relationships"><Relationship Id="rId3" Type="http://schemas.openxmlformats.org/officeDocument/2006/relationships/oleObject" Target="file:///C:\Users\KeatonHorner\Downloads\Average_Revenue_Through_Time_($_kW-month).csv" TargetMode="External"/><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oleObject" Target="../embeddings/oleObject2.bin"/><Relationship Id="rId2" Type="http://schemas.microsoft.com/office/2011/relationships/chartColorStyle" Target="colors13.xml"/><Relationship Id="rId1" Type="http://schemas.microsoft.com/office/2011/relationships/chartStyle" Target="style13.xml"/><Relationship Id="rId4" Type="http://schemas.openxmlformats.org/officeDocument/2006/relationships/chartUserShapes" Target="../drawings/drawing6.xml"/></Relationships>
</file>

<file path=ppt/charts/_rels/chart14.xml.rels><?xml version="1.0" encoding="UTF-8" standalone="yes"?>
<Relationships xmlns="http://schemas.openxmlformats.org/package/2006/relationships"><Relationship Id="rId3" Type="http://schemas.openxmlformats.org/officeDocument/2006/relationships/oleObject" Target="../embeddings/oleObject3.bin"/><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oleObject" Target="../embeddings/oleObject4.bin"/><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oleObject" Target="../embeddings/oleObject5.bin"/><Relationship Id="rId2" Type="http://schemas.microsoft.com/office/2011/relationships/chartColorStyle" Target="colors16.xml"/><Relationship Id="rId1" Type="http://schemas.microsoft.com/office/2011/relationships/chartStyle" Target="style16.xml"/><Relationship Id="rId4" Type="http://schemas.openxmlformats.org/officeDocument/2006/relationships/chartUserShapes" Target="../drawings/drawing7.xml"/></Relationships>
</file>

<file path=ppt/charts/_rels/chart17.xml.rels><?xml version="1.0" encoding="UTF-8" standalone="yes"?>
<Relationships xmlns="http://schemas.openxmlformats.org/package/2006/relationships"><Relationship Id="rId3" Type="http://schemas.openxmlformats.org/officeDocument/2006/relationships/oleObject" Target="../embeddings/oleObject6.bin"/><Relationship Id="rId2" Type="http://schemas.microsoft.com/office/2011/relationships/chartColorStyle" Target="colors17.xml"/><Relationship Id="rId1" Type="http://schemas.microsoft.com/office/2011/relationships/chartStyle" Target="style17.xml"/><Relationship Id="rId4" Type="http://schemas.openxmlformats.org/officeDocument/2006/relationships/chartUserShapes" Target="../drawings/drawing8.xml"/></Relationships>
</file>

<file path=ppt/charts/_rels/chart18.xml.rels><?xml version="1.0" encoding="UTF-8" standalone="yes"?>
<Relationships xmlns="http://schemas.openxmlformats.org/package/2006/relationships"><Relationship Id="rId3" Type="http://schemas.openxmlformats.org/officeDocument/2006/relationships/oleObject" Target="../embeddings/oleObject7.bin"/><Relationship Id="rId2" Type="http://schemas.microsoft.com/office/2011/relationships/chartColorStyle" Target="colors18.xml"/><Relationship Id="rId1" Type="http://schemas.microsoft.com/office/2011/relationships/chartStyle" Target="style18.xml"/><Relationship Id="rId4" Type="http://schemas.openxmlformats.org/officeDocument/2006/relationships/chartUserShapes" Target="../drawings/drawing9.xml"/></Relationships>
</file>

<file path=ppt/charts/_rels/chart19.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19.xml"/><Relationship Id="rId1" Type="http://schemas.microsoft.com/office/2011/relationships/chartStyle" Target="style19.xml"/><Relationship Id="rId5" Type="http://schemas.openxmlformats.org/officeDocument/2006/relationships/chartUserShapes" Target="../drawings/drawing10.xml"/><Relationship Id="rId4" Type="http://schemas.openxmlformats.org/officeDocument/2006/relationships/oleObject" Target="../embeddings/oleObject8.bin"/></Relationships>
</file>

<file path=ppt/charts/_rels/chart2.xml.rels><?xml version="1.0" encoding="UTF-8" standalone="yes"?>
<Relationships xmlns="http://schemas.openxmlformats.org/package/2006/relationships"><Relationship Id="rId3" Type="http://schemas.openxmlformats.org/officeDocument/2006/relationships/oleObject" Target="https://orennia-my.sharepoint.com/personal/michelle_musson_orennia_com/Documents/Microsoft%20Teams%20Chat%20Files/Time%20Spent%20in%20Queue%202024-09-23.xlsx" TargetMode="External"/><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20.xml"/><Relationship Id="rId1" Type="http://schemas.microsoft.com/office/2011/relationships/chartStyle" Target="style20.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C:\Users\KeatonHorner\Downloads\chart15_table_2024-01-13T10-26-12.csv"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C:\Users\KeatonHorner\Downloads\chart15_table_2024-01-13T10-26-12.csv"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C:\Users\KeatonHorner\Downloads\chart15_table_2024-01-13T10-26-12.csv"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https://orennia-my.sharepoint.com/personal/jeremy_burleton_orennia_com/Documents/Documents/Analyst%20Projects/2024/5%20-%20May/Infocast%20Storage%20Presentation%20-%20Keaton/Slide%2011%20-%20Top%20Storage%20Operators.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chartUserShapes" Target="../drawings/drawing2.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chartUserShapes" Target="../drawings/drawing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stacked"/>
        <c:varyColors val="0"/>
        <c:ser>
          <c:idx val="0"/>
          <c:order val="0"/>
          <c:spPr>
            <a:solidFill>
              <a:schemeClr val="accent1">
                <a:alpha val="50000"/>
              </a:schemeClr>
            </a:solidFill>
            <a:ln>
              <a:noFill/>
            </a:ln>
            <a:effectLst/>
          </c:spPr>
          <c:invertIfNegative val="0"/>
          <c:cat>
            <c:numRef>
              <c:f>chart!$B$37:$B$87</c:f>
              <c:numCache>
                <c:formatCode>General</c:formatCode>
                <c:ptCount val="51"/>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pt idx="36">
                  <c:v>2036</c:v>
                </c:pt>
                <c:pt idx="37">
                  <c:v>2037</c:v>
                </c:pt>
                <c:pt idx="38">
                  <c:v>2038</c:v>
                </c:pt>
                <c:pt idx="39">
                  <c:v>2039</c:v>
                </c:pt>
                <c:pt idx="40">
                  <c:v>2040</c:v>
                </c:pt>
                <c:pt idx="41">
                  <c:v>2041</c:v>
                </c:pt>
                <c:pt idx="42">
                  <c:v>2042</c:v>
                </c:pt>
                <c:pt idx="43">
                  <c:v>2043</c:v>
                </c:pt>
                <c:pt idx="44">
                  <c:v>2044</c:v>
                </c:pt>
                <c:pt idx="45">
                  <c:v>2045</c:v>
                </c:pt>
                <c:pt idx="46">
                  <c:v>2046</c:v>
                </c:pt>
                <c:pt idx="47">
                  <c:v>2047</c:v>
                </c:pt>
                <c:pt idx="48">
                  <c:v>2048</c:v>
                </c:pt>
                <c:pt idx="49">
                  <c:v>2049</c:v>
                </c:pt>
                <c:pt idx="50">
                  <c:v>2050</c:v>
                </c:pt>
              </c:numCache>
            </c:numRef>
          </c:cat>
          <c:val>
            <c:numRef>
              <c:f>chart!$C$37:$C$87</c:f>
              <c:numCache>
                <c:formatCode>General</c:formatCode>
                <c:ptCount val="51"/>
                <c:pt idx="0">
                  <c:v>3.5899999999999994</c:v>
                </c:pt>
                <c:pt idx="1">
                  <c:v>3.5599999999999996</c:v>
                </c:pt>
                <c:pt idx="2">
                  <c:v>3.6399999999999997</c:v>
                </c:pt>
                <c:pt idx="3">
                  <c:v>3.67</c:v>
                </c:pt>
                <c:pt idx="4">
                  <c:v>3.7199999999999998</c:v>
                </c:pt>
                <c:pt idx="5">
                  <c:v>3.82</c:v>
                </c:pt>
                <c:pt idx="6">
                  <c:v>3.82</c:v>
                </c:pt>
                <c:pt idx="7">
                  <c:v>3.8999999999999995</c:v>
                </c:pt>
                <c:pt idx="8">
                  <c:v>3.8699999999999997</c:v>
                </c:pt>
                <c:pt idx="9">
                  <c:v>3.7299999999999995</c:v>
                </c:pt>
                <c:pt idx="10">
                  <c:v>3.8899999999999997</c:v>
                </c:pt>
                <c:pt idx="11">
                  <c:v>3.88</c:v>
                </c:pt>
                <c:pt idx="12">
                  <c:v>3.8400000000000003</c:v>
                </c:pt>
                <c:pt idx="13">
                  <c:v>3.8699999999999997</c:v>
                </c:pt>
                <c:pt idx="14">
                  <c:v>3.9099999999999997</c:v>
                </c:pt>
                <c:pt idx="15">
                  <c:v>3.9</c:v>
                </c:pt>
                <c:pt idx="16">
                  <c:v>3.9099999999999997</c:v>
                </c:pt>
                <c:pt idx="17">
                  <c:v>3.86</c:v>
                </c:pt>
                <c:pt idx="18">
                  <c:v>3.9999999999999996</c:v>
                </c:pt>
                <c:pt idx="19">
                  <c:v>3.95</c:v>
                </c:pt>
                <c:pt idx="20">
                  <c:v>3.86</c:v>
                </c:pt>
                <c:pt idx="21">
                  <c:v>3.9499999999999997</c:v>
                </c:pt>
                <c:pt idx="22">
                  <c:v>4.05</c:v>
                </c:pt>
                <c:pt idx="23">
                  <c:v>4.2272460000000001</c:v>
                </c:pt>
                <c:pt idx="24">
                  <c:v>#N/A</c:v>
                </c:pt>
                <c:pt idx="25">
                  <c:v>#N/A</c:v>
                </c:pt>
                <c:pt idx="26">
                  <c:v>#N/A</c:v>
                </c:pt>
                <c:pt idx="27">
                  <c:v>#N/A</c:v>
                </c:pt>
                <c:pt idx="28">
                  <c:v>#N/A</c:v>
                </c:pt>
                <c:pt idx="29">
                  <c:v>#N/A</c:v>
                </c:pt>
                <c:pt idx="30">
                  <c:v>#N/A</c:v>
                </c:pt>
                <c:pt idx="31">
                  <c:v>#N/A</c:v>
                </c:pt>
                <c:pt idx="32">
                  <c:v>#N/A</c:v>
                </c:pt>
                <c:pt idx="33">
                  <c:v>#N/A</c:v>
                </c:pt>
                <c:pt idx="34">
                  <c:v>#N/A</c:v>
                </c:pt>
                <c:pt idx="35">
                  <c:v>#N/A</c:v>
                </c:pt>
                <c:pt idx="36">
                  <c:v>#N/A</c:v>
                </c:pt>
                <c:pt idx="37">
                  <c:v>#N/A</c:v>
                </c:pt>
                <c:pt idx="38">
                  <c:v>#N/A</c:v>
                </c:pt>
                <c:pt idx="39">
                  <c:v>#N/A</c:v>
                </c:pt>
                <c:pt idx="40">
                  <c:v>#N/A</c:v>
                </c:pt>
                <c:pt idx="41">
                  <c:v>#N/A</c:v>
                </c:pt>
                <c:pt idx="42">
                  <c:v>#N/A</c:v>
                </c:pt>
                <c:pt idx="43">
                  <c:v>#N/A</c:v>
                </c:pt>
                <c:pt idx="44">
                  <c:v>#N/A</c:v>
                </c:pt>
                <c:pt idx="45">
                  <c:v>#N/A</c:v>
                </c:pt>
                <c:pt idx="46">
                  <c:v>#N/A</c:v>
                </c:pt>
                <c:pt idx="47">
                  <c:v>#N/A</c:v>
                </c:pt>
                <c:pt idx="48">
                  <c:v>#N/A</c:v>
                </c:pt>
                <c:pt idx="49">
                  <c:v>#N/A</c:v>
                </c:pt>
                <c:pt idx="50">
                  <c:v>#N/A</c:v>
                </c:pt>
              </c:numCache>
            </c:numRef>
          </c:val>
          <c:extLst>
            <c:ext xmlns:c16="http://schemas.microsoft.com/office/drawing/2014/chart" uri="{C3380CC4-5D6E-409C-BE32-E72D297353CC}">
              <c16:uniqueId val="{00000000-B5FD-4564-9D9A-88AA1360BB00}"/>
            </c:ext>
          </c:extLst>
        </c:ser>
        <c:ser>
          <c:idx val="1"/>
          <c:order val="1"/>
          <c:spPr>
            <a:solidFill>
              <a:schemeClr val="accent1"/>
            </a:solidFill>
            <a:ln>
              <a:noFill/>
            </a:ln>
            <a:effectLst/>
          </c:spPr>
          <c:invertIfNegative val="0"/>
          <c:cat>
            <c:numRef>
              <c:f>chart!$B$37:$B$87</c:f>
              <c:numCache>
                <c:formatCode>General</c:formatCode>
                <c:ptCount val="51"/>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pt idx="36">
                  <c:v>2036</c:v>
                </c:pt>
                <c:pt idx="37">
                  <c:v>2037</c:v>
                </c:pt>
                <c:pt idx="38">
                  <c:v>2038</c:v>
                </c:pt>
                <c:pt idx="39">
                  <c:v>2039</c:v>
                </c:pt>
                <c:pt idx="40">
                  <c:v>2040</c:v>
                </c:pt>
                <c:pt idx="41">
                  <c:v>2041</c:v>
                </c:pt>
                <c:pt idx="42">
                  <c:v>2042</c:v>
                </c:pt>
                <c:pt idx="43">
                  <c:v>2043</c:v>
                </c:pt>
                <c:pt idx="44">
                  <c:v>2044</c:v>
                </c:pt>
                <c:pt idx="45">
                  <c:v>2045</c:v>
                </c:pt>
                <c:pt idx="46">
                  <c:v>2046</c:v>
                </c:pt>
                <c:pt idx="47">
                  <c:v>2047</c:v>
                </c:pt>
                <c:pt idx="48">
                  <c:v>2048</c:v>
                </c:pt>
                <c:pt idx="49">
                  <c:v>2049</c:v>
                </c:pt>
                <c:pt idx="50">
                  <c:v>2050</c:v>
                </c:pt>
              </c:numCache>
            </c:numRef>
          </c:cat>
          <c:val>
            <c:numRef>
              <c:f>chart!$D$37:$D$87</c:f>
              <c:numCache>
                <c:formatCode>General</c:formatCode>
                <c:ptCount val="51"/>
                <c:pt idx="0">
                  <c:v>#N/A</c:v>
                </c:pt>
                <c:pt idx="1">
                  <c:v>#N/A</c:v>
                </c:pt>
                <c:pt idx="2">
                  <c:v>#N/A</c:v>
                </c:pt>
                <c:pt idx="3">
                  <c:v>#N/A</c:v>
                </c:pt>
                <c:pt idx="4">
                  <c:v>#N/A</c:v>
                </c:pt>
                <c:pt idx="5">
                  <c:v>#N/A</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4.3563082513000015</c:v>
                </c:pt>
                <c:pt idx="25">
                  <c:v>4.4449957330999963</c:v>
                </c:pt>
                <c:pt idx="26">
                  <c:v>4.5603619202000045</c:v>
                </c:pt>
                <c:pt idx="27">
                  <c:v>4.6820505508000023</c:v>
                </c:pt>
                <c:pt idx="28">
                  <c:v>4.8017907843000041</c:v>
                </c:pt>
                <c:pt idx="29">
                  <c:v>4.9089838535999997</c:v>
                </c:pt>
                <c:pt idx="30">
                  <c:v>5.021783604899996</c:v>
                </c:pt>
                <c:pt idx="31">
                  <c:v>5.1299577624999984</c:v>
                </c:pt>
                <c:pt idx="32">
                  <c:v>5.2390271472000016</c:v>
                </c:pt>
                <c:pt idx="33">
                  <c:v>5.3363975232000032</c:v>
                </c:pt>
                <c:pt idx="34">
                  <c:v>5.4469535985999995</c:v>
                </c:pt>
                <c:pt idx="35">
                  <c:v>5.5510052353999999</c:v>
                </c:pt>
                <c:pt idx="36">
                  <c:v>5.6617150996000039</c:v>
                </c:pt>
                <c:pt idx="37">
                  <c:v>5.7655520266000018</c:v>
                </c:pt>
                <c:pt idx="38">
                  <c:v>5.8737457412999969</c:v>
                </c:pt>
                <c:pt idx="39">
                  <c:v>5.9872388772999958</c:v>
                </c:pt>
                <c:pt idx="40">
                  <c:v>6.1025304051999987</c:v>
                </c:pt>
                <c:pt idx="41">
                  <c:v>6.1921153604999954</c:v>
                </c:pt>
                <c:pt idx="42">
                  <c:v>6.2831830903999943</c:v>
                </c:pt>
                <c:pt idx="43">
                  <c:v>6.3732365311999963</c:v>
                </c:pt>
                <c:pt idx="44">
                  <c:v>6.4658213953000025</c:v>
                </c:pt>
                <c:pt idx="45">
                  <c:v>6.5561923152999917</c:v>
                </c:pt>
                <c:pt idx="46">
                  <c:v>6.6480343495999907</c:v>
                </c:pt>
                <c:pt idx="47">
                  <c:v>6.7391997557000032</c:v>
                </c:pt>
                <c:pt idx="48">
                  <c:v>6.832554349000004</c:v>
                </c:pt>
                <c:pt idx="49">
                  <c:v>6.9243807812999965</c:v>
                </c:pt>
                <c:pt idx="50">
                  <c:v>7.0176915004999891</c:v>
                </c:pt>
              </c:numCache>
            </c:numRef>
          </c:val>
          <c:extLst>
            <c:ext xmlns:c16="http://schemas.microsoft.com/office/drawing/2014/chart" uri="{C3380CC4-5D6E-409C-BE32-E72D297353CC}">
              <c16:uniqueId val="{00000001-B5FD-4564-9D9A-88AA1360BB00}"/>
            </c:ext>
          </c:extLst>
        </c:ser>
        <c:dLbls>
          <c:showLegendKey val="0"/>
          <c:showVal val="0"/>
          <c:showCatName val="0"/>
          <c:showSerName val="0"/>
          <c:showPercent val="0"/>
          <c:showBubbleSize val="0"/>
        </c:dLbls>
        <c:gapWidth val="50"/>
        <c:overlap val="100"/>
        <c:axId val="525051903"/>
        <c:axId val="525052383"/>
      </c:barChart>
      <c:catAx>
        <c:axId val="52505190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1200" b="1" i="0" u="none" strike="noStrike" kern="1200" baseline="0">
                <a:solidFill>
                  <a:sysClr val="windowText" lastClr="000000"/>
                </a:solidFill>
                <a:latin typeface="Manrope" pitchFamily="2" charset="0"/>
                <a:ea typeface="+mn-ea"/>
                <a:cs typeface="+mn-cs"/>
              </a:defRPr>
            </a:pPr>
            <a:endParaRPr lang="en-US"/>
          </a:p>
        </c:txPr>
        <c:crossAx val="525052383"/>
        <c:crosses val="autoZero"/>
        <c:auto val="1"/>
        <c:lblAlgn val="ctr"/>
        <c:lblOffset val="100"/>
        <c:noMultiLvlLbl val="0"/>
      </c:catAx>
      <c:valAx>
        <c:axId val="525052383"/>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200" b="1" i="0" u="none" strike="noStrike" kern="1200" baseline="0">
                    <a:solidFill>
                      <a:sysClr val="windowText" lastClr="000000"/>
                    </a:solidFill>
                    <a:latin typeface="Manrope" pitchFamily="2" charset="0"/>
                    <a:ea typeface="+mn-ea"/>
                    <a:cs typeface="+mn-cs"/>
                  </a:defRPr>
                </a:pPr>
                <a:r>
                  <a:rPr lang="en-CA"/>
                  <a:t>US Demand</a:t>
                </a:r>
                <a:r>
                  <a:rPr lang="en-CA" baseline="0"/>
                  <a:t> (</a:t>
                </a:r>
                <a:r>
                  <a:rPr lang="en-CA"/>
                  <a:t>Million GWh)</a:t>
                </a:r>
              </a:p>
            </c:rich>
          </c:tx>
          <c:overlay val="0"/>
          <c:spPr>
            <a:noFill/>
            <a:ln>
              <a:noFill/>
            </a:ln>
            <a:effectLst/>
          </c:spPr>
          <c:txPr>
            <a:bodyPr rot="-5400000" spcFirstLastPara="1" vertOverflow="ellipsis" vert="horz" wrap="square" anchor="ctr" anchorCtr="1"/>
            <a:lstStyle/>
            <a:p>
              <a:pPr>
                <a:defRPr sz="1200" b="1" i="0" u="none" strike="noStrike" kern="1200" baseline="0">
                  <a:solidFill>
                    <a:sysClr val="windowText" lastClr="000000"/>
                  </a:solidFill>
                  <a:latin typeface="Manrope" pitchFamily="2" charset="0"/>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ysClr val="windowText" lastClr="000000"/>
                </a:solidFill>
                <a:latin typeface="Manrope" pitchFamily="2" charset="0"/>
                <a:ea typeface="+mn-ea"/>
                <a:cs typeface="+mn-cs"/>
              </a:defRPr>
            </a:pPr>
            <a:endParaRPr lang="en-US"/>
          </a:p>
        </c:txPr>
        <c:crossAx val="52505190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sz="1200" b="1">
          <a:solidFill>
            <a:sysClr val="windowText" lastClr="000000"/>
          </a:solidFill>
          <a:latin typeface="Manrope" pitchFamily="2" charset="0"/>
        </a:defRPr>
      </a:pPr>
      <a:endParaRPr lang="en-US"/>
    </a:p>
  </c:txPr>
  <c:externalData r:id="rId4">
    <c:autoUpdate val="0"/>
  </c:externalData>
  <c:userShapes r:id="rId5"/>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Average_Revenue_Through_Time_($'!$R$33</c:f>
              <c:strCache>
                <c:ptCount val="1"/>
                <c:pt idx="0">
                  <c:v>Capacity</c:v>
                </c:pt>
              </c:strCache>
            </c:strRef>
          </c:tx>
          <c:spPr>
            <a:solidFill>
              <a:schemeClr val="accent1"/>
            </a:solidFill>
            <a:ln>
              <a:noFill/>
            </a:ln>
            <a:effectLst/>
          </c:spPr>
          <c:invertIfNegative val="0"/>
          <c:cat>
            <c:numRef>
              <c:f>'Average_Revenue_Through_Time_($'!$A$34:$A$63</c:f>
              <c:numCache>
                <c:formatCode>m/d/yyyy</c:formatCode>
                <c:ptCount val="30"/>
                <c:pt idx="0">
                  <c:v>44562</c:v>
                </c:pt>
                <c:pt idx="1">
                  <c:v>44593</c:v>
                </c:pt>
                <c:pt idx="2">
                  <c:v>44621</c:v>
                </c:pt>
                <c:pt idx="3">
                  <c:v>44652</c:v>
                </c:pt>
                <c:pt idx="4">
                  <c:v>44682</c:v>
                </c:pt>
                <c:pt idx="5">
                  <c:v>44713</c:v>
                </c:pt>
                <c:pt idx="6">
                  <c:v>44743</c:v>
                </c:pt>
                <c:pt idx="7">
                  <c:v>44774</c:v>
                </c:pt>
                <c:pt idx="8">
                  <c:v>44805</c:v>
                </c:pt>
                <c:pt idx="9">
                  <c:v>44835</c:v>
                </c:pt>
                <c:pt idx="10">
                  <c:v>44866</c:v>
                </c:pt>
                <c:pt idx="11">
                  <c:v>44896</c:v>
                </c:pt>
                <c:pt idx="12">
                  <c:v>44927</c:v>
                </c:pt>
                <c:pt idx="13">
                  <c:v>44958</c:v>
                </c:pt>
                <c:pt idx="14">
                  <c:v>44986</c:v>
                </c:pt>
                <c:pt idx="15">
                  <c:v>45017</c:v>
                </c:pt>
                <c:pt idx="16">
                  <c:v>45047</c:v>
                </c:pt>
                <c:pt idx="17">
                  <c:v>45078</c:v>
                </c:pt>
                <c:pt idx="18">
                  <c:v>45108</c:v>
                </c:pt>
                <c:pt idx="19">
                  <c:v>45139</c:v>
                </c:pt>
                <c:pt idx="20">
                  <c:v>45170</c:v>
                </c:pt>
                <c:pt idx="21">
                  <c:v>45200</c:v>
                </c:pt>
                <c:pt idx="22">
                  <c:v>45231</c:v>
                </c:pt>
                <c:pt idx="23">
                  <c:v>45261</c:v>
                </c:pt>
                <c:pt idx="24">
                  <c:v>45292</c:v>
                </c:pt>
                <c:pt idx="25">
                  <c:v>45323</c:v>
                </c:pt>
                <c:pt idx="26">
                  <c:v>45352</c:v>
                </c:pt>
                <c:pt idx="27">
                  <c:v>45383</c:v>
                </c:pt>
                <c:pt idx="28">
                  <c:v>45413</c:v>
                </c:pt>
                <c:pt idx="29">
                  <c:v>45444</c:v>
                </c:pt>
              </c:numCache>
            </c:numRef>
          </c:cat>
          <c:val>
            <c:numRef>
              <c:f>'Average_Revenue_Through_Time_($'!$R$34:$R$63</c:f>
              <c:numCache>
                <c:formatCode>General</c:formatCode>
                <c:ptCount val="30"/>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numCache>
            </c:numRef>
          </c:val>
          <c:extLst>
            <c:ext xmlns:c16="http://schemas.microsoft.com/office/drawing/2014/chart" uri="{C3380CC4-5D6E-409C-BE32-E72D297353CC}">
              <c16:uniqueId val="{00000000-ECCA-4C49-8A24-FF66B5655560}"/>
            </c:ext>
          </c:extLst>
        </c:ser>
        <c:ser>
          <c:idx val="1"/>
          <c:order val="1"/>
          <c:tx>
            <c:strRef>
              <c:f>'Average_Revenue_Through_Time_($'!$S$33</c:f>
              <c:strCache>
                <c:ptCount val="1"/>
                <c:pt idx="0">
                  <c:v>Energy</c:v>
                </c:pt>
              </c:strCache>
            </c:strRef>
          </c:tx>
          <c:spPr>
            <a:solidFill>
              <a:schemeClr val="accent2"/>
            </a:solidFill>
            <a:ln>
              <a:noFill/>
            </a:ln>
            <a:effectLst/>
          </c:spPr>
          <c:invertIfNegative val="0"/>
          <c:cat>
            <c:numRef>
              <c:f>'Average_Revenue_Through_Time_($'!$A$34:$A$63</c:f>
              <c:numCache>
                <c:formatCode>m/d/yyyy</c:formatCode>
                <c:ptCount val="30"/>
                <c:pt idx="0">
                  <c:v>44562</c:v>
                </c:pt>
                <c:pt idx="1">
                  <c:v>44593</c:v>
                </c:pt>
                <c:pt idx="2">
                  <c:v>44621</c:v>
                </c:pt>
                <c:pt idx="3">
                  <c:v>44652</c:v>
                </c:pt>
                <c:pt idx="4">
                  <c:v>44682</c:v>
                </c:pt>
                <c:pt idx="5">
                  <c:v>44713</c:v>
                </c:pt>
                <c:pt idx="6">
                  <c:v>44743</c:v>
                </c:pt>
                <c:pt idx="7">
                  <c:v>44774</c:v>
                </c:pt>
                <c:pt idx="8">
                  <c:v>44805</c:v>
                </c:pt>
                <c:pt idx="9">
                  <c:v>44835</c:v>
                </c:pt>
                <c:pt idx="10">
                  <c:v>44866</c:v>
                </c:pt>
                <c:pt idx="11">
                  <c:v>44896</c:v>
                </c:pt>
                <c:pt idx="12">
                  <c:v>44927</c:v>
                </c:pt>
                <c:pt idx="13">
                  <c:v>44958</c:v>
                </c:pt>
                <c:pt idx="14">
                  <c:v>44986</c:v>
                </c:pt>
                <c:pt idx="15">
                  <c:v>45017</c:v>
                </c:pt>
                <c:pt idx="16">
                  <c:v>45047</c:v>
                </c:pt>
                <c:pt idx="17">
                  <c:v>45078</c:v>
                </c:pt>
                <c:pt idx="18">
                  <c:v>45108</c:v>
                </c:pt>
                <c:pt idx="19">
                  <c:v>45139</c:v>
                </c:pt>
                <c:pt idx="20">
                  <c:v>45170</c:v>
                </c:pt>
                <c:pt idx="21">
                  <c:v>45200</c:v>
                </c:pt>
                <c:pt idx="22">
                  <c:v>45231</c:v>
                </c:pt>
                <c:pt idx="23">
                  <c:v>45261</c:v>
                </c:pt>
                <c:pt idx="24">
                  <c:v>45292</c:v>
                </c:pt>
                <c:pt idx="25">
                  <c:v>45323</c:v>
                </c:pt>
                <c:pt idx="26">
                  <c:v>45352</c:v>
                </c:pt>
                <c:pt idx="27">
                  <c:v>45383</c:v>
                </c:pt>
                <c:pt idx="28">
                  <c:v>45413</c:v>
                </c:pt>
                <c:pt idx="29">
                  <c:v>45444</c:v>
                </c:pt>
              </c:numCache>
            </c:numRef>
          </c:cat>
          <c:val>
            <c:numRef>
              <c:f>'Average_Revenue_Through_Time_($'!$S$34:$S$63</c:f>
              <c:numCache>
                <c:formatCode>General</c:formatCode>
                <c:ptCount val="30"/>
                <c:pt idx="0">
                  <c:v>1.73</c:v>
                </c:pt>
                <c:pt idx="1">
                  <c:v>0.51</c:v>
                </c:pt>
                <c:pt idx="2">
                  <c:v>0.4</c:v>
                </c:pt>
                <c:pt idx="3">
                  <c:v>0.66</c:v>
                </c:pt>
                <c:pt idx="4">
                  <c:v>1.1100000000000001</c:v>
                </c:pt>
                <c:pt idx="5">
                  <c:v>2.2799999999999998</c:v>
                </c:pt>
                <c:pt idx="6">
                  <c:v>1.98</c:v>
                </c:pt>
                <c:pt idx="7">
                  <c:v>2.2599999999999998</c:v>
                </c:pt>
                <c:pt idx="8">
                  <c:v>0.81</c:v>
                </c:pt>
                <c:pt idx="9">
                  <c:v>0.61</c:v>
                </c:pt>
                <c:pt idx="10">
                  <c:v>0.43</c:v>
                </c:pt>
                <c:pt idx="11">
                  <c:v>3.01</c:v>
                </c:pt>
                <c:pt idx="12">
                  <c:v>0.37</c:v>
                </c:pt>
                <c:pt idx="13">
                  <c:v>0.26</c:v>
                </c:pt>
                <c:pt idx="14">
                  <c:v>0.32</c:v>
                </c:pt>
                <c:pt idx="15">
                  <c:v>0.37</c:v>
                </c:pt>
                <c:pt idx="16">
                  <c:v>0.49</c:v>
                </c:pt>
                <c:pt idx="17">
                  <c:v>0.44</c:v>
                </c:pt>
                <c:pt idx="18">
                  <c:v>0.78</c:v>
                </c:pt>
                <c:pt idx="19">
                  <c:v>0.52</c:v>
                </c:pt>
                <c:pt idx="20">
                  <c:v>0.64</c:v>
                </c:pt>
                <c:pt idx="21">
                  <c:v>0.52</c:v>
                </c:pt>
                <c:pt idx="22">
                  <c:v>0.34</c:v>
                </c:pt>
                <c:pt idx="23">
                  <c:v>0.28999999999999998</c:v>
                </c:pt>
                <c:pt idx="24">
                  <c:v>0.66</c:v>
                </c:pt>
                <c:pt idx="25">
                  <c:v>0.27</c:v>
                </c:pt>
                <c:pt idx="26">
                  <c:v>0.34</c:v>
                </c:pt>
                <c:pt idx="27">
                  <c:v>0.38</c:v>
                </c:pt>
                <c:pt idx="28">
                  <c:v>0.63</c:v>
                </c:pt>
                <c:pt idx="29">
                  <c:v>0.62</c:v>
                </c:pt>
              </c:numCache>
            </c:numRef>
          </c:val>
          <c:extLst>
            <c:ext xmlns:c16="http://schemas.microsoft.com/office/drawing/2014/chart" uri="{C3380CC4-5D6E-409C-BE32-E72D297353CC}">
              <c16:uniqueId val="{00000001-ECCA-4C49-8A24-FF66B5655560}"/>
            </c:ext>
          </c:extLst>
        </c:ser>
        <c:ser>
          <c:idx val="2"/>
          <c:order val="2"/>
          <c:tx>
            <c:strRef>
              <c:f>'Average_Revenue_Through_Time_($'!$T$33</c:f>
              <c:strCache>
                <c:ptCount val="1"/>
                <c:pt idx="0">
                  <c:v>Frequency Regulation</c:v>
                </c:pt>
              </c:strCache>
            </c:strRef>
          </c:tx>
          <c:spPr>
            <a:solidFill>
              <a:schemeClr val="accent3"/>
            </a:solidFill>
            <a:ln>
              <a:noFill/>
            </a:ln>
            <a:effectLst/>
          </c:spPr>
          <c:invertIfNegative val="0"/>
          <c:cat>
            <c:numRef>
              <c:f>'Average_Revenue_Through_Time_($'!$A$34:$A$63</c:f>
              <c:numCache>
                <c:formatCode>m/d/yyyy</c:formatCode>
                <c:ptCount val="30"/>
                <c:pt idx="0">
                  <c:v>44562</c:v>
                </c:pt>
                <c:pt idx="1">
                  <c:v>44593</c:v>
                </c:pt>
                <c:pt idx="2">
                  <c:v>44621</c:v>
                </c:pt>
                <c:pt idx="3">
                  <c:v>44652</c:v>
                </c:pt>
                <c:pt idx="4">
                  <c:v>44682</c:v>
                </c:pt>
                <c:pt idx="5">
                  <c:v>44713</c:v>
                </c:pt>
                <c:pt idx="6">
                  <c:v>44743</c:v>
                </c:pt>
                <c:pt idx="7">
                  <c:v>44774</c:v>
                </c:pt>
                <c:pt idx="8">
                  <c:v>44805</c:v>
                </c:pt>
                <c:pt idx="9">
                  <c:v>44835</c:v>
                </c:pt>
                <c:pt idx="10">
                  <c:v>44866</c:v>
                </c:pt>
                <c:pt idx="11">
                  <c:v>44896</c:v>
                </c:pt>
                <c:pt idx="12">
                  <c:v>44927</c:v>
                </c:pt>
                <c:pt idx="13">
                  <c:v>44958</c:v>
                </c:pt>
                <c:pt idx="14">
                  <c:v>44986</c:v>
                </c:pt>
                <c:pt idx="15">
                  <c:v>45017</c:v>
                </c:pt>
                <c:pt idx="16">
                  <c:v>45047</c:v>
                </c:pt>
                <c:pt idx="17">
                  <c:v>45078</c:v>
                </c:pt>
                <c:pt idx="18">
                  <c:v>45108</c:v>
                </c:pt>
                <c:pt idx="19">
                  <c:v>45139</c:v>
                </c:pt>
                <c:pt idx="20">
                  <c:v>45170</c:v>
                </c:pt>
                <c:pt idx="21">
                  <c:v>45200</c:v>
                </c:pt>
                <c:pt idx="22">
                  <c:v>45231</c:v>
                </c:pt>
                <c:pt idx="23">
                  <c:v>45261</c:v>
                </c:pt>
                <c:pt idx="24">
                  <c:v>45292</c:v>
                </c:pt>
                <c:pt idx="25">
                  <c:v>45323</c:v>
                </c:pt>
                <c:pt idx="26">
                  <c:v>45352</c:v>
                </c:pt>
                <c:pt idx="27">
                  <c:v>45383</c:v>
                </c:pt>
                <c:pt idx="28">
                  <c:v>45413</c:v>
                </c:pt>
                <c:pt idx="29">
                  <c:v>45444</c:v>
                </c:pt>
              </c:numCache>
            </c:numRef>
          </c:cat>
          <c:val>
            <c:numRef>
              <c:f>'Average_Revenue_Through_Time_($'!$T$34:$T$63</c:f>
              <c:numCache>
                <c:formatCode>General</c:formatCode>
                <c:ptCount val="30"/>
                <c:pt idx="0">
                  <c:v>37.49</c:v>
                </c:pt>
                <c:pt idx="1">
                  <c:v>16.14</c:v>
                </c:pt>
                <c:pt idx="2">
                  <c:v>16.46</c:v>
                </c:pt>
                <c:pt idx="3">
                  <c:v>26.92</c:v>
                </c:pt>
                <c:pt idx="4">
                  <c:v>22.85</c:v>
                </c:pt>
                <c:pt idx="5">
                  <c:v>29.59</c:v>
                </c:pt>
                <c:pt idx="6">
                  <c:v>27.79</c:v>
                </c:pt>
                <c:pt idx="7">
                  <c:v>35.270000000000003</c:v>
                </c:pt>
                <c:pt idx="8">
                  <c:v>22.79</c:v>
                </c:pt>
                <c:pt idx="9">
                  <c:v>17.43</c:v>
                </c:pt>
                <c:pt idx="10">
                  <c:v>9.7799999999999994</c:v>
                </c:pt>
                <c:pt idx="11">
                  <c:v>44.03</c:v>
                </c:pt>
                <c:pt idx="12">
                  <c:v>9.9700000000000006</c:v>
                </c:pt>
                <c:pt idx="13">
                  <c:v>7.07</c:v>
                </c:pt>
                <c:pt idx="14">
                  <c:v>8.8000000000000007</c:v>
                </c:pt>
                <c:pt idx="15">
                  <c:v>10.69</c:v>
                </c:pt>
                <c:pt idx="16">
                  <c:v>11.42</c:v>
                </c:pt>
                <c:pt idx="17">
                  <c:v>10.5</c:v>
                </c:pt>
                <c:pt idx="18">
                  <c:v>10.68</c:v>
                </c:pt>
                <c:pt idx="19">
                  <c:v>9.6</c:v>
                </c:pt>
                <c:pt idx="20">
                  <c:v>11.65</c:v>
                </c:pt>
                <c:pt idx="21">
                  <c:v>14.13</c:v>
                </c:pt>
                <c:pt idx="22">
                  <c:v>8.65</c:v>
                </c:pt>
                <c:pt idx="23">
                  <c:v>9.24</c:v>
                </c:pt>
                <c:pt idx="24">
                  <c:v>15.56</c:v>
                </c:pt>
                <c:pt idx="25">
                  <c:v>6.57</c:v>
                </c:pt>
                <c:pt idx="26">
                  <c:v>9.0399999999999991</c:v>
                </c:pt>
                <c:pt idx="27">
                  <c:v>7.96</c:v>
                </c:pt>
                <c:pt idx="28">
                  <c:v>13.57</c:v>
                </c:pt>
                <c:pt idx="29">
                  <c:v>9.36</c:v>
                </c:pt>
              </c:numCache>
            </c:numRef>
          </c:val>
          <c:extLst>
            <c:ext xmlns:c16="http://schemas.microsoft.com/office/drawing/2014/chart" uri="{C3380CC4-5D6E-409C-BE32-E72D297353CC}">
              <c16:uniqueId val="{00000002-ECCA-4C49-8A24-FF66B5655560}"/>
            </c:ext>
          </c:extLst>
        </c:ser>
        <c:ser>
          <c:idx val="3"/>
          <c:order val="3"/>
          <c:tx>
            <c:strRef>
              <c:f>'Average_Revenue_Through_Time_($'!$U$33</c:f>
              <c:strCache>
                <c:ptCount val="1"/>
                <c:pt idx="0">
                  <c:v>Other</c:v>
                </c:pt>
              </c:strCache>
            </c:strRef>
          </c:tx>
          <c:spPr>
            <a:solidFill>
              <a:schemeClr val="accent4"/>
            </a:solidFill>
            <a:ln>
              <a:noFill/>
            </a:ln>
            <a:effectLst/>
          </c:spPr>
          <c:invertIfNegative val="0"/>
          <c:cat>
            <c:numRef>
              <c:f>'Average_Revenue_Through_Time_($'!$A$34:$A$63</c:f>
              <c:numCache>
                <c:formatCode>m/d/yyyy</c:formatCode>
                <c:ptCount val="30"/>
                <c:pt idx="0">
                  <c:v>44562</c:v>
                </c:pt>
                <c:pt idx="1">
                  <c:v>44593</c:v>
                </c:pt>
                <c:pt idx="2">
                  <c:v>44621</c:v>
                </c:pt>
                <c:pt idx="3">
                  <c:v>44652</c:v>
                </c:pt>
                <c:pt idx="4">
                  <c:v>44682</c:v>
                </c:pt>
                <c:pt idx="5">
                  <c:v>44713</c:v>
                </c:pt>
                <c:pt idx="6">
                  <c:v>44743</c:v>
                </c:pt>
                <c:pt idx="7">
                  <c:v>44774</c:v>
                </c:pt>
                <c:pt idx="8">
                  <c:v>44805</c:v>
                </c:pt>
                <c:pt idx="9">
                  <c:v>44835</c:v>
                </c:pt>
                <c:pt idx="10">
                  <c:v>44866</c:v>
                </c:pt>
                <c:pt idx="11">
                  <c:v>44896</c:v>
                </c:pt>
                <c:pt idx="12">
                  <c:v>44927</c:v>
                </c:pt>
                <c:pt idx="13">
                  <c:v>44958</c:v>
                </c:pt>
                <c:pt idx="14">
                  <c:v>44986</c:v>
                </c:pt>
                <c:pt idx="15">
                  <c:v>45017</c:v>
                </c:pt>
                <c:pt idx="16">
                  <c:v>45047</c:v>
                </c:pt>
                <c:pt idx="17">
                  <c:v>45078</c:v>
                </c:pt>
                <c:pt idx="18">
                  <c:v>45108</c:v>
                </c:pt>
                <c:pt idx="19">
                  <c:v>45139</c:v>
                </c:pt>
                <c:pt idx="20">
                  <c:v>45170</c:v>
                </c:pt>
                <c:pt idx="21">
                  <c:v>45200</c:v>
                </c:pt>
                <c:pt idx="22">
                  <c:v>45231</c:v>
                </c:pt>
                <c:pt idx="23">
                  <c:v>45261</c:v>
                </c:pt>
                <c:pt idx="24">
                  <c:v>45292</c:v>
                </c:pt>
                <c:pt idx="25">
                  <c:v>45323</c:v>
                </c:pt>
                <c:pt idx="26">
                  <c:v>45352</c:v>
                </c:pt>
                <c:pt idx="27">
                  <c:v>45383</c:v>
                </c:pt>
                <c:pt idx="28">
                  <c:v>45413</c:v>
                </c:pt>
                <c:pt idx="29">
                  <c:v>45444</c:v>
                </c:pt>
              </c:numCache>
            </c:numRef>
          </c:cat>
          <c:val>
            <c:numRef>
              <c:f>'Average_Revenue_Through_Time_($'!$U$34:$U$63</c:f>
              <c:numCache>
                <c:formatCode>General</c:formatCode>
                <c:ptCount val="30"/>
                <c:pt idx="0">
                  <c:v>0.26</c:v>
                </c:pt>
                <c:pt idx="1">
                  <c:v>0.35</c:v>
                </c:pt>
                <c:pt idx="2">
                  <c:v>0.35</c:v>
                </c:pt>
                <c:pt idx="3">
                  <c:v>0.35</c:v>
                </c:pt>
                <c:pt idx="4">
                  <c:v>0.39</c:v>
                </c:pt>
                <c:pt idx="5">
                  <c:v>0.39</c:v>
                </c:pt>
                <c:pt idx="6">
                  <c:v>0.39</c:v>
                </c:pt>
                <c:pt idx="7">
                  <c:v>0.35</c:v>
                </c:pt>
                <c:pt idx="8">
                  <c:v>0.32</c:v>
                </c:pt>
                <c:pt idx="9">
                  <c:v>0</c:v>
                </c:pt>
                <c:pt idx="10">
                  <c:v>-0.12</c:v>
                </c:pt>
                <c:pt idx="11">
                  <c:v>0</c:v>
                </c:pt>
                <c:pt idx="12">
                  <c:v>0.32</c:v>
                </c:pt>
                <c:pt idx="13">
                  <c:v>0.32</c:v>
                </c:pt>
                <c:pt idx="14">
                  <c:v>0.39</c:v>
                </c:pt>
                <c:pt idx="15">
                  <c:v>0.32</c:v>
                </c:pt>
                <c:pt idx="16">
                  <c:v>0.32</c:v>
                </c:pt>
                <c:pt idx="17">
                  <c:v>7.0000000000000007E-2</c:v>
                </c:pt>
                <c:pt idx="18">
                  <c:v>0.08</c:v>
                </c:pt>
                <c:pt idx="19">
                  <c:v>0.11</c:v>
                </c:pt>
                <c:pt idx="20">
                  <c:v>0.11</c:v>
                </c:pt>
                <c:pt idx="21">
                  <c:v>0.09</c:v>
                </c:pt>
                <c:pt idx="22">
                  <c:v>7.0000000000000007E-2</c:v>
                </c:pt>
                <c:pt idx="23">
                  <c:v>0.1</c:v>
                </c:pt>
                <c:pt idx="24">
                  <c:v>0.1</c:v>
                </c:pt>
                <c:pt idx="25">
                  <c:v>0.1</c:v>
                </c:pt>
                <c:pt idx="26">
                  <c:v>0.1</c:v>
                </c:pt>
                <c:pt idx="27">
                  <c:v>0.1</c:v>
                </c:pt>
                <c:pt idx="28">
                  <c:v>0.1</c:v>
                </c:pt>
                <c:pt idx="29">
                  <c:v>0.1</c:v>
                </c:pt>
              </c:numCache>
            </c:numRef>
          </c:val>
          <c:extLst>
            <c:ext xmlns:c16="http://schemas.microsoft.com/office/drawing/2014/chart" uri="{C3380CC4-5D6E-409C-BE32-E72D297353CC}">
              <c16:uniqueId val="{00000003-ECCA-4C49-8A24-FF66B5655560}"/>
            </c:ext>
          </c:extLst>
        </c:ser>
        <c:ser>
          <c:idx val="4"/>
          <c:order val="4"/>
          <c:tx>
            <c:strRef>
              <c:f>'Average_Revenue_Through_Time_($'!$V$33</c:f>
              <c:strCache>
                <c:ptCount val="1"/>
                <c:pt idx="0">
                  <c:v>Spinning Reserves</c:v>
                </c:pt>
              </c:strCache>
            </c:strRef>
          </c:tx>
          <c:spPr>
            <a:solidFill>
              <a:schemeClr val="accent5"/>
            </a:solidFill>
            <a:ln>
              <a:noFill/>
            </a:ln>
            <a:effectLst/>
          </c:spPr>
          <c:invertIfNegative val="0"/>
          <c:cat>
            <c:numRef>
              <c:f>'Average_Revenue_Through_Time_($'!$A$34:$A$63</c:f>
              <c:numCache>
                <c:formatCode>m/d/yyyy</c:formatCode>
                <c:ptCount val="30"/>
                <c:pt idx="0">
                  <c:v>44562</c:v>
                </c:pt>
                <c:pt idx="1">
                  <c:v>44593</c:v>
                </c:pt>
                <c:pt idx="2">
                  <c:v>44621</c:v>
                </c:pt>
                <c:pt idx="3">
                  <c:v>44652</c:v>
                </c:pt>
                <c:pt idx="4">
                  <c:v>44682</c:v>
                </c:pt>
                <c:pt idx="5">
                  <c:v>44713</c:v>
                </c:pt>
                <c:pt idx="6">
                  <c:v>44743</c:v>
                </c:pt>
                <c:pt idx="7">
                  <c:v>44774</c:v>
                </c:pt>
                <c:pt idx="8">
                  <c:v>44805</c:v>
                </c:pt>
                <c:pt idx="9">
                  <c:v>44835</c:v>
                </c:pt>
                <c:pt idx="10">
                  <c:v>44866</c:v>
                </c:pt>
                <c:pt idx="11">
                  <c:v>44896</c:v>
                </c:pt>
                <c:pt idx="12">
                  <c:v>44927</c:v>
                </c:pt>
                <c:pt idx="13">
                  <c:v>44958</c:v>
                </c:pt>
                <c:pt idx="14">
                  <c:v>44986</c:v>
                </c:pt>
                <c:pt idx="15">
                  <c:v>45017</c:v>
                </c:pt>
                <c:pt idx="16">
                  <c:v>45047</c:v>
                </c:pt>
                <c:pt idx="17">
                  <c:v>45078</c:v>
                </c:pt>
                <c:pt idx="18">
                  <c:v>45108</c:v>
                </c:pt>
                <c:pt idx="19">
                  <c:v>45139</c:v>
                </c:pt>
                <c:pt idx="20">
                  <c:v>45170</c:v>
                </c:pt>
                <c:pt idx="21">
                  <c:v>45200</c:v>
                </c:pt>
                <c:pt idx="22">
                  <c:v>45231</c:v>
                </c:pt>
                <c:pt idx="23">
                  <c:v>45261</c:v>
                </c:pt>
                <c:pt idx="24">
                  <c:v>45292</c:v>
                </c:pt>
                <c:pt idx="25">
                  <c:v>45323</c:v>
                </c:pt>
                <c:pt idx="26">
                  <c:v>45352</c:v>
                </c:pt>
                <c:pt idx="27">
                  <c:v>45383</c:v>
                </c:pt>
                <c:pt idx="28">
                  <c:v>45413</c:v>
                </c:pt>
                <c:pt idx="29">
                  <c:v>45444</c:v>
                </c:pt>
              </c:numCache>
            </c:numRef>
          </c:cat>
          <c:val>
            <c:numRef>
              <c:f>'Average_Revenue_Through_Time_($'!$V$34:$V$63</c:f>
              <c:numCache>
                <c:formatCode>General</c:formatCode>
                <c:ptCount val="30"/>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numCache>
            </c:numRef>
          </c:val>
          <c:extLst>
            <c:ext xmlns:c16="http://schemas.microsoft.com/office/drawing/2014/chart" uri="{C3380CC4-5D6E-409C-BE32-E72D297353CC}">
              <c16:uniqueId val="{00000004-ECCA-4C49-8A24-FF66B5655560}"/>
            </c:ext>
          </c:extLst>
        </c:ser>
        <c:dLbls>
          <c:showLegendKey val="0"/>
          <c:showVal val="0"/>
          <c:showCatName val="0"/>
          <c:showSerName val="0"/>
          <c:showPercent val="0"/>
          <c:showBubbleSize val="0"/>
        </c:dLbls>
        <c:gapWidth val="50"/>
        <c:overlap val="100"/>
        <c:axId val="21329583"/>
        <c:axId val="21327183"/>
      </c:barChart>
      <c:dateAx>
        <c:axId val="21329583"/>
        <c:scaling>
          <c:orientation val="minMax"/>
        </c:scaling>
        <c:delete val="0"/>
        <c:axPos val="b"/>
        <c:numFmt formatCode="m/d/yy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solidFill>
                <a:latin typeface="Manrope" pitchFamily="2" charset="0"/>
                <a:ea typeface="+mn-ea"/>
                <a:cs typeface="+mn-cs"/>
              </a:defRPr>
            </a:pPr>
            <a:endParaRPr lang="en-US"/>
          </a:p>
        </c:txPr>
        <c:crossAx val="21327183"/>
        <c:crosses val="autoZero"/>
        <c:auto val="1"/>
        <c:lblOffset val="100"/>
        <c:baseTimeUnit val="months"/>
        <c:majorUnit val="6"/>
        <c:majorTimeUnit val="months"/>
      </c:dateAx>
      <c:valAx>
        <c:axId val="21327183"/>
        <c:scaling>
          <c:orientation val="minMax"/>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1" i="0" u="none" strike="noStrike" kern="1200" baseline="0">
                    <a:solidFill>
                      <a:schemeClr val="tx1"/>
                    </a:solidFill>
                    <a:latin typeface="Manrope" pitchFamily="2" charset="0"/>
                    <a:ea typeface="+mn-ea"/>
                    <a:cs typeface="+mn-cs"/>
                  </a:defRPr>
                </a:pPr>
                <a:r>
                  <a:rPr lang="en-US"/>
                  <a:t>$/kW-mo</a:t>
                </a:r>
              </a:p>
            </c:rich>
          </c:tx>
          <c:overlay val="0"/>
          <c:spPr>
            <a:noFill/>
            <a:ln>
              <a:noFill/>
            </a:ln>
            <a:effectLst/>
          </c:spPr>
          <c:txPr>
            <a:bodyPr rot="-5400000" spcFirstLastPara="1" vertOverflow="ellipsis" vert="horz" wrap="square" anchor="ctr" anchorCtr="1"/>
            <a:lstStyle/>
            <a:p>
              <a:pPr>
                <a:defRPr sz="1000" b="1" i="0" u="none" strike="noStrike" kern="1200" baseline="0">
                  <a:solidFill>
                    <a:schemeClr val="tx1"/>
                  </a:solidFill>
                  <a:latin typeface="Manrope" pitchFamily="2" charset="0"/>
                  <a:ea typeface="+mn-ea"/>
                  <a:cs typeface="+mn-cs"/>
                </a:defRPr>
              </a:pPr>
              <a:endParaRPr lang="en-US"/>
            </a:p>
          </c:txPr>
        </c:title>
        <c:numFmt formatCode="&quot;$&quot;#,##0" sourceLinked="0"/>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solidFill>
                <a:latin typeface="Manrope" pitchFamily="2" charset="0"/>
                <a:ea typeface="+mn-ea"/>
                <a:cs typeface="+mn-cs"/>
              </a:defRPr>
            </a:pPr>
            <a:endParaRPr lang="en-US"/>
          </a:p>
        </c:txPr>
        <c:crossAx val="2132958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b="1">
          <a:solidFill>
            <a:schemeClr val="tx1"/>
          </a:solidFill>
          <a:latin typeface="Manrope" pitchFamily="2" charset="0"/>
        </a:defRPr>
      </a:pPr>
      <a:endParaRPr lang="en-US"/>
    </a:p>
  </c:txPr>
  <c:externalData r:id="rId3">
    <c:autoUpdate val="0"/>
  </c:externalData>
  <c:userShapes r:id="rId4"/>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Average_Revenue_Through_Time_($'!$Y$33</c:f>
              <c:strCache>
                <c:ptCount val="1"/>
                <c:pt idx="0">
                  <c:v>Capacity</c:v>
                </c:pt>
              </c:strCache>
            </c:strRef>
          </c:tx>
          <c:spPr>
            <a:solidFill>
              <a:schemeClr val="accent1"/>
            </a:solidFill>
            <a:ln>
              <a:noFill/>
            </a:ln>
            <a:effectLst/>
          </c:spPr>
          <c:invertIfNegative val="0"/>
          <c:cat>
            <c:numRef>
              <c:f>'Average_Revenue_Through_Time_($'!$A$34:$A$63</c:f>
              <c:numCache>
                <c:formatCode>m/d/yyyy</c:formatCode>
                <c:ptCount val="30"/>
                <c:pt idx="0">
                  <c:v>44562</c:v>
                </c:pt>
                <c:pt idx="1">
                  <c:v>44593</c:v>
                </c:pt>
                <c:pt idx="2">
                  <c:v>44621</c:v>
                </c:pt>
                <c:pt idx="3">
                  <c:v>44652</c:v>
                </c:pt>
                <c:pt idx="4">
                  <c:v>44682</c:v>
                </c:pt>
                <c:pt idx="5">
                  <c:v>44713</c:v>
                </c:pt>
                <c:pt idx="6">
                  <c:v>44743</c:v>
                </c:pt>
                <c:pt idx="7">
                  <c:v>44774</c:v>
                </c:pt>
                <c:pt idx="8">
                  <c:v>44805</c:v>
                </c:pt>
                <c:pt idx="9">
                  <c:v>44835</c:v>
                </c:pt>
                <c:pt idx="10">
                  <c:v>44866</c:v>
                </c:pt>
                <c:pt idx="11">
                  <c:v>44896</c:v>
                </c:pt>
                <c:pt idx="12">
                  <c:v>44927</c:v>
                </c:pt>
                <c:pt idx="13">
                  <c:v>44958</c:v>
                </c:pt>
                <c:pt idx="14">
                  <c:v>44986</c:v>
                </c:pt>
                <c:pt idx="15">
                  <c:v>45017</c:v>
                </c:pt>
                <c:pt idx="16">
                  <c:v>45047</c:v>
                </c:pt>
                <c:pt idx="17">
                  <c:v>45078</c:v>
                </c:pt>
                <c:pt idx="18">
                  <c:v>45108</c:v>
                </c:pt>
                <c:pt idx="19">
                  <c:v>45139</c:v>
                </c:pt>
                <c:pt idx="20">
                  <c:v>45170</c:v>
                </c:pt>
                <c:pt idx="21">
                  <c:v>45200</c:v>
                </c:pt>
                <c:pt idx="22">
                  <c:v>45231</c:v>
                </c:pt>
                <c:pt idx="23">
                  <c:v>45261</c:v>
                </c:pt>
                <c:pt idx="24">
                  <c:v>45292</c:v>
                </c:pt>
                <c:pt idx="25">
                  <c:v>45323</c:v>
                </c:pt>
                <c:pt idx="26">
                  <c:v>45352</c:v>
                </c:pt>
                <c:pt idx="27">
                  <c:v>45383</c:v>
                </c:pt>
                <c:pt idx="28">
                  <c:v>45413</c:v>
                </c:pt>
                <c:pt idx="29">
                  <c:v>45444</c:v>
                </c:pt>
              </c:numCache>
            </c:numRef>
          </c:cat>
          <c:val>
            <c:numRef>
              <c:f>'Average_Revenue_Through_Time_($'!$Y$34:$Y$63</c:f>
              <c:numCache>
                <c:formatCode>General</c:formatCode>
                <c:ptCount val="30"/>
                <c:pt idx="0">
                  <c:v>0.51</c:v>
                </c:pt>
                <c:pt idx="1">
                  <c:v>0.51</c:v>
                </c:pt>
                <c:pt idx="2">
                  <c:v>0.51</c:v>
                </c:pt>
                <c:pt idx="3">
                  <c:v>0.51</c:v>
                </c:pt>
                <c:pt idx="4">
                  <c:v>0.51</c:v>
                </c:pt>
                <c:pt idx="5">
                  <c:v>1.29</c:v>
                </c:pt>
                <c:pt idx="6">
                  <c:v>1.29</c:v>
                </c:pt>
                <c:pt idx="7">
                  <c:v>0.97</c:v>
                </c:pt>
                <c:pt idx="8">
                  <c:v>0.97</c:v>
                </c:pt>
                <c:pt idx="9">
                  <c:v>0.96</c:v>
                </c:pt>
                <c:pt idx="10">
                  <c:v>0.96</c:v>
                </c:pt>
                <c:pt idx="11">
                  <c:v>1.28</c:v>
                </c:pt>
                <c:pt idx="12">
                  <c:v>1.28</c:v>
                </c:pt>
                <c:pt idx="13">
                  <c:v>0.96</c:v>
                </c:pt>
                <c:pt idx="14">
                  <c:v>0.96</c:v>
                </c:pt>
                <c:pt idx="15">
                  <c:v>0.96</c:v>
                </c:pt>
                <c:pt idx="16">
                  <c:v>0.96</c:v>
                </c:pt>
                <c:pt idx="17">
                  <c:v>1.1000000000000001</c:v>
                </c:pt>
                <c:pt idx="18">
                  <c:v>1.18</c:v>
                </c:pt>
                <c:pt idx="19">
                  <c:v>1.1000000000000001</c:v>
                </c:pt>
                <c:pt idx="20">
                  <c:v>1.1000000000000001</c:v>
                </c:pt>
                <c:pt idx="21">
                  <c:v>1.0900000000000001</c:v>
                </c:pt>
                <c:pt idx="22">
                  <c:v>1.0900000000000001</c:v>
                </c:pt>
                <c:pt idx="23">
                  <c:v>1.0900000000000001</c:v>
                </c:pt>
                <c:pt idx="24">
                  <c:v>1.0900000000000001</c:v>
                </c:pt>
                <c:pt idx="25">
                  <c:v>1.0900000000000001</c:v>
                </c:pt>
                <c:pt idx="26">
                  <c:v>1.0900000000000001</c:v>
                </c:pt>
                <c:pt idx="27">
                  <c:v>1.44</c:v>
                </c:pt>
                <c:pt idx="28">
                  <c:v>1.44</c:v>
                </c:pt>
                <c:pt idx="29">
                  <c:v>1.98</c:v>
                </c:pt>
              </c:numCache>
            </c:numRef>
          </c:val>
          <c:extLst>
            <c:ext xmlns:c16="http://schemas.microsoft.com/office/drawing/2014/chart" uri="{C3380CC4-5D6E-409C-BE32-E72D297353CC}">
              <c16:uniqueId val="{00000000-CD71-46F4-8E80-B3AE5EFB1DF9}"/>
            </c:ext>
          </c:extLst>
        </c:ser>
        <c:ser>
          <c:idx val="1"/>
          <c:order val="1"/>
          <c:tx>
            <c:strRef>
              <c:f>'Average_Revenue_Through_Time_($'!$Z$33</c:f>
              <c:strCache>
                <c:ptCount val="1"/>
                <c:pt idx="0">
                  <c:v>Energy</c:v>
                </c:pt>
              </c:strCache>
            </c:strRef>
          </c:tx>
          <c:spPr>
            <a:solidFill>
              <a:schemeClr val="accent2"/>
            </a:solidFill>
            <a:ln>
              <a:noFill/>
            </a:ln>
            <a:effectLst/>
          </c:spPr>
          <c:invertIfNegative val="0"/>
          <c:cat>
            <c:numRef>
              <c:f>'Average_Revenue_Through_Time_($'!$A$34:$A$63</c:f>
              <c:numCache>
                <c:formatCode>m/d/yyyy</c:formatCode>
                <c:ptCount val="30"/>
                <c:pt idx="0">
                  <c:v>44562</c:v>
                </c:pt>
                <c:pt idx="1">
                  <c:v>44593</c:v>
                </c:pt>
                <c:pt idx="2">
                  <c:v>44621</c:v>
                </c:pt>
                <c:pt idx="3">
                  <c:v>44652</c:v>
                </c:pt>
                <c:pt idx="4">
                  <c:v>44682</c:v>
                </c:pt>
                <c:pt idx="5">
                  <c:v>44713</c:v>
                </c:pt>
                <c:pt idx="6">
                  <c:v>44743</c:v>
                </c:pt>
                <c:pt idx="7">
                  <c:v>44774</c:v>
                </c:pt>
                <c:pt idx="8">
                  <c:v>44805</c:v>
                </c:pt>
                <c:pt idx="9">
                  <c:v>44835</c:v>
                </c:pt>
                <c:pt idx="10">
                  <c:v>44866</c:v>
                </c:pt>
                <c:pt idx="11">
                  <c:v>44896</c:v>
                </c:pt>
                <c:pt idx="12">
                  <c:v>44927</c:v>
                </c:pt>
                <c:pt idx="13">
                  <c:v>44958</c:v>
                </c:pt>
                <c:pt idx="14">
                  <c:v>44986</c:v>
                </c:pt>
                <c:pt idx="15">
                  <c:v>45017</c:v>
                </c:pt>
                <c:pt idx="16">
                  <c:v>45047</c:v>
                </c:pt>
                <c:pt idx="17">
                  <c:v>45078</c:v>
                </c:pt>
                <c:pt idx="18">
                  <c:v>45108</c:v>
                </c:pt>
                <c:pt idx="19">
                  <c:v>45139</c:v>
                </c:pt>
                <c:pt idx="20">
                  <c:v>45170</c:v>
                </c:pt>
                <c:pt idx="21">
                  <c:v>45200</c:v>
                </c:pt>
                <c:pt idx="22">
                  <c:v>45231</c:v>
                </c:pt>
                <c:pt idx="23">
                  <c:v>45261</c:v>
                </c:pt>
                <c:pt idx="24">
                  <c:v>45292</c:v>
                </c:pt>
                <c:pt idx="25">
                  <c:v>45323</c:v>
                </c:pt>
                <c:pt idx="26">
                  <c:v>45352</c:v>
                </c:pt>
                <c:pt idx="27">
                  <c:v>45383</c:v>
                </c:pt>
                <c:pt idx="28">
                  <c:v>45413</c:v>
                </c:pt>
                <c:pt idx="29">
                  <c:v>45444</c:v>
                </c:pt>
              </c:numCache>
            </c:numRef>
          </c:cat>
          <c:val>
            <c:numRef>
              <c:f>'Average_Revenue_Through_Time_($'!$Z$34:$Z$63</c:f>
              <c:numCache>
                <c:formatCode>General</c:formatCode>
                <c:ptCount val="30"/>
                <c:pt idx="0">
                  <c:v>2.78</c:v>
                </c:pt>
                <c:pt idx="1">
                  <c:v>3.39</c:v>
                </c:pt>
                <c:pt idx="2">
                  <c:v>2.3199999999999998</c:v>
                </c:pt>
                <c:pt idx="3">
                  <c:v>1.22</c:v>
                </c:pt>
                <c:pt idx="4">
                  <c:v>1.75</c:v>
                </c:pt>
                <c:pt idx="5">
                  <c:v>0.54</c:v>
                </c:pt>
                <c:pt idx="6">
                  <c:v>2.4300000000000002</c:v>
                </c:pt>
                <c:pt idx="7">
                  <c:v>1.1299999999999999</c:v>
                </c:pt>
                <c:pt idx="8">
                  <c:v>0.95</c:v>
                </c:pt>
                <c:pt idx="9">
                  <c:v>0.6</c:v>
                </c:pt>
                <c:pt idx="10">
                  <c:v>1.19</c:v>
                </c:pt>
                <c:pt idx="11">
                  <c:v>3.46</c:v>
                </c:pt>
                <c:pt idx="12">
                  <c:v>1.03</c:v>
                </c:pt>
                <c:pt idx="13">
                  <c:v>1.17</c:v>
                </c:pt>
                <c:pt idx="14">
                  <c:v>0.38</c:v>
                </c:pt>
                <c:pt idx="15">
                  <c:v>0.3</c:v>
                </c:pt>
                <c:pt idx="16">
                  <c:v>0.24</c:v>
                </c:pt>
                <c:pt idx="17">
                  <c:v>0.3</c:v>
                </c:pt>
                <c:pt idx="18">
                  <c:v>0.48</c:v>
                </c:pt>
                <c:pt idx="19">
                  <c:v>0.24</c:v>
                </c:pt>
                <c:pt idx="20">
                  <c:v>0.68</c:v>
                </c:pt>
                <c:pt idx="21">
                  <c:v>0.42</c:v>
                </c:pt>
                <c:pt idx="22">
                  <c:v>0.47</c:v>
                </c:pt>
                <c:pt idx="23">
                  <c:v>-0.01</c:v>
                </c:pt>
                <c:pt idx="24">
                  <c:v>0.64</c:v>
                </c:pt>
                <c:pt idx="25">
                  <c:v>0.37</c:v>
                </c:pt>
                <c:pt idx="26">
                  <c:v>0.26</c:v>
                </c:pt>
                <c:pt idx="27">
                  <c:v>0.22</c:v>
                </c:pt>
                <c:pt idx="28">
                  <c:v>0.11</c:v>
                </c:pt>
                <c:pt idx="29">
                  <c:v>0.47</c:v>
                </c:pt>
              </c:numCache>
            </c:numRef>
          </c:val>
          <c:extLst>
            <c:ext xmlns:c16="http://schemas.microsoft.com/office/drawing/2014/chart" uri="{C3380CC4-5D6E-409C-BE32-E72D297353CC}">
              <c16:uniqueId val="{00000001-CD71-46F4-8E80-B3AE5EFB1DF9}"/>
            </c:ext>
          </c:extLst>
        </c:ser>
        <c:ser>
          <c:idx val="2"/>
          <c:order val="2"/>
          <c:tx>
            <c:strRef>
              <c:f>'Average_Revenue_Through_Time_($'!$AA$33</c:f>
              <c:strCache>
                <c:ptCount val="1"/>
                <c:pt idx="0">
                  <c:v>Frequency Regulation</c:v>
                </c:pt>
              </c:strCache>
            </c:strRef>
          </c:tx>
          <c:spPr>
            <a:solidFill>
              <a:schemeClr val="accent3"/>
            </a:solidFill>
            <a:ln>
              <a:noFill/>
            </a:ln>
            <a:effectLst/>
          </c:spPr>
          <c:invertIfNegative val="0"/>
          <c:cat>
            <c:numRef>
              <c:f>'Average_Revenue_Through_Time_($'!$A$34:$A$63</c:f>
              <c:numCache>
                <c:formatCode>m/d/yyyy</c:formatCode>
                <c:ptCount val="30"/>
                <c:pt idx="0">
                  <c:v>44562</c:v>
                </c:pt>
                <c:pt idx="1">
                  <c:v>44593</c:v>
                </c:pt>
                <c:pt idx="2">
                  <c:v>44621</c:v>
                </c:pt>
                <c:pt idx="3">
                  <c:v>44652</c:v>
                </c:pt>
                <c:pt idx="4">
                  <c:v>44682</c:v>
                </c:pt>
                <c:pt idx="5">
                  <c:v>44713</c:v>
                </c:pt>
                <c:pt idx="6">
                  <c:v>44743</c:v>
                </c:pt>
                <c:pt idx="7">
                  <c:v>44774</c:v>
                </c:pt>
                <c:pt idx="8">
                  <c:v>44805</c:v>
                </c:pt>
                <c:pt idx="9">
                  <c:v>44835</c:v>
                </c:pt>
                <c:pt idx="10">
                  <c:v>44866</c:v>
                </c:pt>
                <c:pt idx="11">
                  <c:v>44896</c:v>
                </c:pt>
                <c:pt idx="12">
                  <c:v>44927</c:v>
                </c:pt>
                <c:pt idx="13">
                  <c:v>44958</c:v>
                </c:pt>
                <c:pt idx="14">
                  <c:v>44986</c:v>
                </c:pt>
                <c:pt idx="15">
                  <c:v>45017</c:v>
                </c:pt>
                <c:pt idx="16">
                  <c:v>45047</c:v>
                </c:pt>
                <c:pt idx="17">
                  <c:v>45078</c:v>
                </c:pt>
                <c:pt idx="18">
                  <c:v>45108</c:v>
                </c:pt>
                <c:pt idx="19">
                  <c:v>45139</c:v>
                </c:pt>
                <c:pt idx="20">
                  <c:v>45170</c:v>
                </c:pt>
                <c:pt idx="21">
                  <c:v>45200</c:v>
                </c:pt>
                <c:pt idx="22">
                  <c:v>45231</c:v>
                </c:pt>
                <c:pt idx="23">
                  <c:v>45261</c:v>
                </c:pt>
                <c:pt idx="24">
                  <c:v>45292</c:v>
                </c:pt>
                <c:pt idx="25">
                  <c:v>45323</c:v>
                </c:pt>
                <c:pt idx="26">
                  <c:v>45352</c:v>
                </c:pt>
                <c:pt idx="27">
                  <c:v>45383</c:v>
                </c:pt>
                <c:pt idx="28">
                  <c:v>45413</c:v>
                </c:pt>
                <c:pt idx="29">
                  <c:v>45444</c:v>
                </c:pt>
              </c:numCache>
            </c:numRef>
          </c:cat>
          <c:val>
            <c:numRef>
              <c:f>'Average_Revenue_Through_Time_($'!$AA$34:$AA$63</c:f>
              <c:numCache>
                <c:formatCode>General</c:formatCode>
                <c:ptCount val="30"/>
                <c:pt idx="0">
                  <c:v>42.95</c:v>
                </c:pt>
                <c:pt idx="1">
                  <c:v>30.63</c:v>
                </c:pt>
                <c:pt idx="2">
                  <c:v>21.69</c:v>
                </c:pt>
                <c:pt idx="3">
                  <c:v>15.31</c:v>
                </c:pt>
                <c:pt idx="4">
                  <c:v>20.5</c:v>
                </c:pt>
                <c:pt idx="5">
                  <c:v>11.19</c:v>
                </c:pt>
                <c:pt idx="6">
                  <c:v>30.43</c:v>
                </c:pt>
                <c:pt idx="7">
                  <c:v>24.87</c:v>
                </c:pt>
                <c:pt idx="8">
                  <c:v>12.83</c:v>
                </c:pt>
                <c:pt idx="9">
                  <c:v>15.26</c:v>
                </c:pt>
                <c:pt idx="10">
                  <c:v>23.75</c:v>
                </c:pt>
                <c:pt idx="11">
                  <c:v>38.22</c:v>
                </c:pt>
                <c:pt idx="12">
                  <c:v>19</c:v>
                </c:pt>
                <c:pt idx="13">
                  <c:v>16.52</c:v>
                </c:pt>
                <c:pt idx="14">
                  <c:v>13.51</c:v>
                </c:pt>
                <c:pt idx="15">
                  <c:v>10.66</c:v>
                </c:pt>
                <c:pt idx="16">
                  <c:v>12.47</c:v>
                </c:pt>
                <c:pt idx="17">
                  <c:v>11.18</c:v>
                </c:pt>
                <c:pt idx="18">
                  <c:v>17.399999999999999</c:v>
                </c:pt>
                <c:pt idx="19">
                  <c:v>17.07</c:v>
                </c:pt>
                <c:pt idx="20">
                  <c:v>15.85</c:v>
                </c:pt>
                <c:pt idx="21">
                  <c:v>14.57</c:v>
                </c:pt>
                <c:pt idx="22">
                  <c:v>13.76</c:v>
                </c:pt>
                <c:pt idx="23">
                  <c:v>15.24</c:v>
                </c:pt>
                <c:pt idx="24">
                  <c:v>17.13</c:v>
                </c:pt>
                <c:pt idx="25">
                  <c:v>8.17</c:v>
                </c:pt>
                <c:pt idx="26">
                  <c:v>5.33</c:v>
                </c:pt>
                <c:pt idx="27">
                  <c:v>5.96</c:v>
                </c:pt>
                <c:pt idx="28">
                  <c:v>3.85</c:v>
                </c:pt>
                <c:pt idx="29">
                  <c:v>6.05</c:v>
                </c:pt>
              </c:numCache>
            </c:numRef>
          </c:val>
          <c:extLst>
            <c:ext xmlns:c16="http://schemas.microsoft.com/office/drawing/2014/chart" uri="{C3380CC4-5D6E-409C-BE32-E72D297353CC}">
              <c16:uniqueId val="{00000002-CD71-46F4-8E80-B3AE5EFB1DF9}"/>
            </c:ext>
          </c:extLst>
        </c:ser>
        <c:ser>
          <c:idx val="3"/>
          <c:order val="3"/>
          <c:tx>
            <c:strRef>
              <c:f>'Average_Revenue_Through_Time_($'!$AB$33</c:f>
              <c:strCache>
                <c:ptCount val="1"/>
                <c:pt idx="0">
                  <c:v>Other</c:v>
                </c:pt>
              </c:strCache>
            </c:strRef>
          </c:tx>
          <c:spPr>
            <a:solidFill>
              <a:schemeClr val="accent4"/>
            </a:solidFill>
            <a:ln>
              <a:noFill/>
            </a:ln>
            <a:effectLst/>
          </c:spPr>
          <c:invertIfNegative val="0"/>
          <c:cat>
            <c:numRef>
              <c:f>'Average_Revenue_Through_Time_($'!$A$34:$A$63</c:f>
              <c:numCache>
                <c:formatCode>m/d/yyyy</c:formatCode>
                <c:ptCount val="30"/>
                <c:pt idx="0">
                  <c:v>44562</c:v>
                </c:pt>
                <c:pt idx="1">
                  <c:v>44593</c:v>
                </c:pt>
                <c:pt idx="2">
                  <c:v>44621</c:v>
                </c:pt>
                <c:pt idx="3">
                  <c:v>44652</c:v>
                </c:pt>
                <c:pt idx="4">
                  <c:v>44682</c:v>
                </c:pt>
                <c:pt idx="5">
                  <c:v>44713</c:v>
                </c:pt>
                <c:pt idx="6">
                  <c:v>44743</c:v>
                </c:pt>
                <c:pt idx="7">
                  <c:v>44774</c:v>
                </c:pt>
                <c:pt idx="8">
                  <c:v>44805</c:v>
                </c:pt>
                <c:pt idx="9">
                  <c:v>44835</c:v>
                </c:pt>
                <c:pt idx="10">
                  <c:v>44866</c:v>
                </c:pt>
                <c:pt idx="11">
                  <c:v>44896</c:v>
                </c:pt>
                <c:pt idx="12">
                  <c:v>44927</c:v>
                </c:pt>
                <c:pt idx="13">
                  <c:v>44958</c:v>
                </c:pt>
                <c:pt idx="14">
                  <c:v>44986</c:v>
                </c:pt>
                <c:pt idx="15">
                  <c:v>45017</c:v>
                </c:pt>
                <c:pt idx="16">
                  <c:v>45047</c:v>
                </c:pt>
                <c:pt idx="17">
                  <c:v>45078</c:v>
                </c:pt>
                <c:pt idx="18">
                  <c:v>45108</c:v>
                </c:pt>
                <c:pt idx="19">
                  <c:v>45139</c:v>
                </c:pt>
                <c:pt idx="20">
                  <c:v>45170</c:v>
                </c:pt>
                <c:pt idx="21">
                  <c:v>45200</c:v>
                </c:pt>
                <c:pt idx="22">
                  <c:v>45231</c:v>
                </c:pt>
                <c:pt idx="23">
                  <c:v>45261</c:v>
                </c:pt>
                <c:pt idx="24">
                  <c:v>45292</c:v>
                </c:pt>
                <c:pt idx="25">
                  <c:v>45323</c:v>
                </c:pt>
                <c:pt idx="26">
                  <c:v>45352</c:v>
                </c:pt>
                <c:pt idx="27">
                  <c:v>45383</c:v>
                </c:pt>
                <c:pt idx="28">
                  <c:v>45413</c:v>
                </c:pt>
                <c:pt idx="29">
                  <c:v>45444</c:v>
                </c:pt>
              </c:numCache>
            </c:numRef>
          </c:cat>
          <c:val>
            <c:numRef>
              <c:f>'Average_Revenue_Through_Time_($'!$AB$34:$AB$63</c:f>
              <c:numCache>
                <c:formatCode>General</c:formatCode>
                <c:ptCount val="30"/>
                <c:pt idx="0">
                  <c:v>0.47</c:v>
                </c:pt>
                <c:pt idx="1">
                  <c:v>0.45</c:v>
                </c:pt>
                <c:pt idx="2">
                  <c:v>0.49</c:v>
                </c:pt>
                <c:pt idx="3">
                  <c:v>0.71</c:v>
                </c:pt>
                <c:pt idx="4">
                  <c:v>0.74</c:v>
                </c:pt>
                <c:pt idx="5">
                  <c:v>5.25</c:v>
                </c:pt>
                <c:pt idx="6">
                  <c:v>4.07</c:v>
                </c:pt>
                <c:pt idx="7">
                  <c:v>3.77</c:v>
                </c:pt>
                <c:pt idx="8">
                  <c:v>3.69</c:v>
                </c:pt>
                <c:pt idx="9">
                  <c:v>0.78</c:v>
                </c:pt>
                <c:pt idx="10">
                  <c:v>0.87</c:v>
                </c:pt>
                <c:pt idx="11">
                  <c:v>1</c:v>
                </c:pt>
                <c:pt idx="12">
                  <c:v>0.87</c:v>
                </c:pt>
                <c:pt idx="13">
                  <c:v>0.69</c:v>
                </c:pt>
                <c:pt idx="14">
                  <c:v>0.15</c:v>
                </c:pt>
                <c:pt idx="15">
                  <c:v>0.36</c:v>
                </c:pt>
                <c:pt idx="16">
                  <c:v>0.47</c:v>
                </c:pt>
                <c:pt idx="17">
                  <c:v>1.62</c:v>
                </c:pt>
                <c:pt idx="18">
                  <c:v>2.0299999999999998</c:v>
                </c:pt>
                <c:pt idx="19">
                  <c:v>4</c:v>
                </c:pt>
                <c:pt idx="20">
                  <c:v>3.5</c:v>
                </c:pt>
                <c:pt idx="21">
                  <c:v>1.27</c:v>
                </c:pt>
                <c:pt idx="22">
                  <c:v>1.4</c:v>
                </c:pt>
                <c:pt idx="23">
                  <c:v>1.46</c:v>
                </c:pt>
                <c:pt idx="24">
                  <c:v>1.72</c:v>
                </c:pt>
                <c:pt idx="25">
                  <c:v>1.63</c:v>
                </c:pt>
                <c:pt idx="26">
                  <c:v>1.8</c:v>
                </c:pt>
                <c:pt idx="27">
                  <c:v>1.66</c:v>
                </c:pt>
                <c:pt idx="28">
                  <c:v>1.68</c:v>
                </c:pt>
                <c:pt idx="29">
                  <c:v>1.1100000000000001</c:v>
                </c:pt>
              </c:numCache>
            </c:numRef>
          </c:val>
          <c:extLst>
            <c:ext xmlns:c16="http://schemas.microsoft.com/office/drawing/2014/chart" uri="{C3380CC4-5D6E-409C-BE32-E72D297353CC}">
              <c16:uniqueId val="{00000003-CD71-46F4-8E80-B3AE5EFB1DF9}"/>
            </c:ext>
          </c:extLst>
        </c:ser>
        <c:ser>
          <c:idx val="4"/>
          <c:order val="4"/>
          <c:tx>
            <c:strRef>
              <c:f>'Average_Revenue_Through_Time_($'!$AC$33</c:f>
              <c:strCache>
                <c:ptCount val="1"/>
                <c:pt idx="0">
                  <c:v>Spinning Reserves</c:v>
                </c:pt>
              </c:strCache>
            </c:strRef>
          </c:tx>
          <c:spPr>
            <a:solidFill>
              <a:schemeClr val="accent5"/>
            </a:solidFill>
            <a:ln>
              <a:noFill/>
            </a:ln>
            <a:effectLst/>
          </c:spPr>
          <c:invertIfNegative val="0"/>
          <c:cat>
            <c:numRef>
              <c:f>'Average_Revenue_Through_Time_($'!$A$34:$A$63</c:f>
              <c:numCache>
                <c:formatCode>m/d/yyyy</c:formatCode>
                <c:ptCount val="30"/>
                <c:pt idx="0">
                  <c:v>44562</c:v>
                </c:pt>
                <c:pt idx="1">
                  <c:v>44593</c:v>
                </c:pt>
                <c:pt idx="2">
                  <c:v>44621</c:v>
                </c:pt>
                <c:pt idx="3">
                  <c:v>44652</c:v>
                </c:pt>
                <c:pt idx="4">
                  <c:v>44682</c:v>
                </c:pt>
                <c:pt idx="5">
                  <c:v>44713</c:v>
                </c:pt>
                <c:pt idx="6">
                  <c:v>44743</c:v>
                </c:pt>
                <c:pt idx="7">
                  <c:v>44774</c:v>
                </c:pt>
                <c:pt idx="8">
                  <c:v>44805</c:v>
                </c:pt>
                <c:pt idx="9">
                  <c:v>44835</c:v>
                </c:pt>
                <c:pt idx="10">
                  <c:v>44866</c:v>
                </c:pt>
                <c:pt idx="11">
                  <c:v>44896</c:v>
                </c:pt>
                <c:pt idx="12">
                  <c:v>44927</c:v>
                </c:pt>
                <c:pt idx="13">
                  <c:v>44958</c:v>
                </c:pt>
                <c:pt idx="14">
                  <c:v>44986</c:v>
                </c:pt>
                <c:pt idx="15">
                  <c:v>45017</c:v>
                </c:pt>
                <c:pt idx="16">
                  <c:v>45047</c:v>
                </c:pt>
                <c:pt idx="17">
                  <c:v>45078</c:v>
                </c:pt>
                <c:pt idx="18">
                  <c:v>45108</c:v>
                </c:pt>
                <c:pt idx="19">
                  <c:v>45139</c:v>
                </c:pt>
                <c:pt idx="20">
                  <c:v>45170</c:v>
                </c:pt>
                <c:pt idx="21">
                  <c:v>45200</c:v>
                </c:pt>
                <c:pt idx="22">
                  <c:v>45231</c:v>
                </c:pt>
                <c:pt idx="23">
                  <c:v>45261</c:v>
                </c:pt>
                <c:pt idx="24">
                  <c:v>45292</c:v>
                </c:pt>
                <c:pt idx="25">
                  <c:v>45323</c:v>
                </c:pt>
                <c:pt idx="26">
                  <c:v>45352</c:v>
                </c:pt>
                <c:pt idx="27">
                  <c:v>45383</c:v>
                </c:pt>
                <c:pt idx="28">
                  <c:v>45413</c:v>
                </c:pt>
                <c:pt idx="29">
                  <c:v>45444</c:v>
                </c:pt>
              </c:numCache>
            </c:numRef>
          </c:cat>
          <c:val>
            <c:numRef>
              <c:f>'Average_Revenue_Through_Time_($'!$AC$34:$AC$63</c:f>
              <c:numCache>
                <c:formatCode>General</c:formatCode>
                <c:ptCount val="30"/>
                <c:pt idx="0">
                  <c:v>0.92</c:v>
                </c:pt>
                <c:pt idx="1">
                  <c:v>0.89</c:v>
                </c:pt>
                <c:pt idx="2">
                  <c:v>1.43</c:v>
                </c:pt>
                <c:pt idx="3">
                  <c:v>0.89</c:v>
                </c:pt>
                <c:pt idx="4">
                  <c:v>2.14</c:v>
                </c:pt>
                <c:pt idx="5">
                  <c:v>0.75</c:v>
                </c:pt>
                <c:pt idx="6">
                  <c:v>3.19</c:v>
                </c:pt>
                <c:pt idx="7">
                  <c:v>0.5</c:v>
                </c:pt>
                <c:pt idx="8">
                  <c:v>0.2</c:v>
                </c:pt>
                <c:pt idx="9">
                  <c:v>0.28999999999999998</c:v>
                </c:pt>
                <c:pt idx="10">
                  <c:v>0.33</c:v>
                </c:pt>
                <c:pt idx="11">
                  <c:v>1.69</c:v>
                </c:pt>
                <c:pt idx="12">
                  <c:v>0.47</c:v>
                </c:pt>
                <c:pt idx="13">
                  <c:v>0.09</c:v>
                </c:pt>
                <c:pt idx="14">
                  <c:v>0.1</c:v>
                </c:pt>
                <c:pt idx="15">
                  <c:v>0.24</c:v>
                </c:pt>
                <c:pt idx="16">
                  <c:v>0.09</c:v>
                </c:pt>
                <c:pt idx="17">
                  <c:v>0.15</c:v>
                </c:pt>
                <c:pt idx="18">
                  <c:v>0.53</c:v>
                </c:pt>
                <c:pt idx="19">
                  <c:v>0.18</c:v>
                </c:pt>
                <c:pt idx="20">
                  <c:v>0.9</c:v>
                </c:pt>
                <c:pt idx="21">
                  <c:v>0.95</c:v>
                </c:pt>
                <c:pt idx="22">
                  <c:v>0.92</c:v>
                </c:pt>
                <c:pt idx="23">
                  <c:v>0.62</c:v>
                </c:pt>
                <c:pt idx="24">
                  <c:v>0.32</c:v>
                </c:pt>
                <c:pt idx="25">
                  <c:v>0.24</c:v>
                </c:pt>
                <c:pt idx="26">
                  <c:v>0.19</c:v>
                </c:pt>
                <c:pt idx="27">
                  <c:v>0.21</c:v>
                </c:pt>
                <c:pt idx="28">
                  <c:v>0.19</c:v>
                </c:pt>
                <c:pt idx="29">
                  <c:v>0.87</c:v>
                </c:pt>
              </c:numCache>
            </c:numRef>
          </c:val>
          <c:extLst>
            <c:ext xmlns:c16="http://schemas.microsoft.com/office/drawing/2014/chart" uri="{C3380CC4-5D6E-409C-BE32-E72D297353CC}">
              <c16:uniqueId val="{00000004-CD71-46F4-8E80-B3AE5EFB1DF9}"/>
            </c:ext>
          </c:extLst>
        </c:ser>
        <c:dLbls>
          <c:showLegendKey val="0"/>
          <c:showVal val="0"/>
          <c:showCatName val="0"/>
          <c:showSerName val="0"/>
          <c:showPercent val="0"/>
          <c:showBubbleSize val="0"/>
        </c:dLbls>
        <c:gapWidth val="50"/>
        <c:overlap val="100"/>
        <c:axId val="21329583"/>
        <c:axId val="21327183"/>
      </c:barChart>
      <c:dateAx>
        <c:axId val="21329583"/>
        <c:scaling>
          <c:orientation val="minMax"/>
        </c:scaling>
        <c:delete val="0"/>
        <c:axPos val="b"/>
        <c:numFmt formatCode="m/d/yy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solidFill>
                <a:latin typeface="Manrope" pitchFamily="2" charset="0"/>
                <a:ea typeface="+mn-ea"/>
                <a:cs typeface="+mn-cs"/>
              </a:defRPr>
            </a:pPr>
            <a:endParaRPr lang="en-US"/>
          </a:p>
        </c:txPr>
        <c:crossAx val="21327183"/>
        <c:crosses val="autoZero"/>
        <c:auto val="1"/>
        <c:lblOffset val="100"/>
        <c:baseTimeUnit val="months"/>
        <c:majorUnit val="6"/>
        <c:majorTimeUnit val="months"/>
      </c:dateAx>
      <c:valAx>
        <c:axId val="21327183"/>
        <c:scaling>
          <c:orientation val="minMax"/>
          <c:max val="50"/>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1" i="0" u="none" strike="noStrike" kern="1200" baseline="0">
                    <a:solidFill>
                      <a:schemeClr val="tx1"/>
                    </a:solidFill>
                    <a:latin typeface="Manrope" pitchFamily="2" charset="0"/>
                    <a:ea typeface="+mn-ea"/>
                    <a:cs typeface="+mn-cs"/>
                  </a:defRPr>
                </a:pPr>
                <a:r>
                  <a:rPr lang="en-US"/>
                  <a:t>$/kW-mo</a:t>
                </a:r>
              </a:p>
            </c:rich>
          </c:tx>
          <c:overlay val="0"/>
          <c:spPr>
            <a:noFill/>
            <a:ln>
              <a:noFill/>
            </a:ln>
            <a:effectLst/>
          </c:spPr>
          <c:txPr>
            <a:bodyPr rot="-5400000" spcFirstLastPara="1" vertOverflow="ellipsis" vert="horz" wrap="square" anchor="ctr" anchorCtr="1"/>
            <a:lstStyle/>
            <a:p>
              <a:pPr>
                <a:defRPr sz="1000" b="1" i="0" u="none" strike="noStrike" kern="1200" baseline="0">
                  <a:solidFill>
                    <a:schemeClr val="tx1"/>
                  </a:solidFill>
                  <a:latin typeface="Manrope" pitchFamily="2" charset="0"/>
                  <a:ea typeface="+mn-ea"/>
                  <a:cs typeface="+mn-cs"/>
                </a:defRPr>
              </a:pPr>
              <a:endParaRPr lang="en-US"/>
            </a:p>
          </c:txPr>
        </c:title>
        <c:numFmt formatCode="&quot;$&quot;#,##0" sourceLinked="0"/>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solidFill>
                <a:latin typeface="Manrope" pitchFamily="2" charset="0"/>
                <a:ea typeface="+mn-ea"/>
                <a:cs typeface="+mn-cs"/>
              </a:defRPr>
            </a:pPr>
            <a:endParaRPr lang="en-US"/>
          </a:p>
        </c:txPr>
        <c:crossAx val="2132958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b="1">
          <a:solidFill>
            <a:schemeClr val="tx1"/>
          </a:solidFill>
          <a:latin typeface="Manrope" pitchFamily="2" charset="0"/>
        </a:defRPr>
      </a:pPr>
      <a:endParaRPr lang="en-US"/>
    </a:p>
  </c:txPr>
  <c:externalData r:id="rId3">
    <c:autoUpdate val="0"/>
  </c:externalData>
  <c:userShapes r:id="rId4"/>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3333333333333333E-2"/>
          <c:y val="5.086705202312139E-2"/>
          <c:w val="0.93333333333333335"/>
          <c:h val="1.4954257885394383E-2"/>
        </c:manualLayout>
      </c:layout>
      <c:barChart>
        <c:barDir val="col"/>
        <c:grouping val="stacked"/>
        <c:varyColors val="0"/>
        <c:ser>
          <c:idx val="0"/>
          <c:order val="0"/>
          <c:tx>
            <c:strRef>
              <c:f>'Average_Revenue_Through_Time_($'!$B$33</c:f>
              <c:strCache>
                <c:ptCount val="1"/>
                <c:pt idx="0">
                  <c:v>Capacity</c:v>
                </c:pt>
              </c:strCache>
            </c:strRef>
          </c:tx>
          <c:spPr>
            <a:solidFill>
              <a:schemeClr val="accent1"/>
            </a:solidFill>
            <a:ln>
              <a:noFill/>
            </a:ln>
            <a:effectLst/>
          </c:spPr>
          <c:invertIfNegative val="0"/>
          <c:cat>
            <c:numRef>
              <c:f>'Average_Revenue_Through_Time_($'!$A$34:$A$63</c:f>
              <c:numCache>
                <c:formatCode>m/d/yyyy</c:formatCode>
                <c:ptCount val="30"/>
                <c:pt idx="0">
                  <c:v>44562</c:v>
                </c:pt>
                <c:pt idx="1">
                  <c:v>44593</c:v>
                </c:pt>
                <c:pt idx="2">
                  <c:v>44621</c:v>
                </c:pt>
                <c:pt idx="3">
                  <c:v>44652</c:v>
                </c:pt>
                <c:pt idx="4">
                  <c:v>44682</c:v>
                </c:pt>
                <c:pt idx="5">
                  <c:v>44713</c:v>
                </c:pt>
                <c:pt idx="6">
                  <c:v>44743</c:v>
                </c:pt>
                <c:pt idx="7">
                  <c:v>44774</c:v>
                </c:pt>
                <c:pt idx="8">
                  <c:v>44805</c:v>
                </c:pt>
                <c:pt idx="9">
                  <c:v>44835</c:v>
                </c:pt>
                <c:pt idx="10">
                  <c:v>44866</c:v>
                </c:pt>
                <c:pt idx="11">
                  <c:v>44896</c:v>
                </c:pt>
                <c:pt idx="12">
                  <c:v>44927</c:v>
                </c:pt>
                <c:pt idx="13">
                  <c:v>44958</c:v>
                </c:pt>
                <c:pt idx="14">
                  <c:v>44986</c:v>
                </c:pt>
                <c:pt idx="15">
                  <c:v>45017</c:v>
                </c:pt>
                <c:pt idx="16">
                  <c:v>45047</c:v>
                </c:pt>
                <c:pt idx="17">
                  <c:v>45078</c:v>
                </c:pt>
                <c:pt idx="18">
                  <c:v>45108</c:v>
                </c:pt>
                <c:pt idx="19">
                  <c:v>45139</c:v>
                </c:pt>
                <c:pt idx="20">
                  <c:v>45170</c:v>
                </c:pt>
                <c:pt idx="21">
                  <c:v>45200</c:v>
                </c:pt>
                <c:pt idx="22">
                  <c:v>45231</c:v>
                </c:pt>
                <c:pt idx="23">
                  <c:v>45261</c:v>
                </c:pt>
                <c:pt idx="24">
                  <c:v>45292</c:v>
                </c:pt>
                <c:pt idx="25">
                  <c:v>45323</c:v>
                </c:pt>
                <c:pt idx="26">
                  <c:v>45352</c:v>
                </c:pt>
                <c:pt idx="27">
                  <c:v>45383</c:v>
                </c:pt>
                <c:pt idx="28">
                  <c:v>45413</c:v>
                </c:pt>
                <c:pt idx="29">
                  <c:v>45444</c:v>
                </c:pt>
              </c:numCache>
            </c:numRef>
          </c:cat>
          <c:val>
            <c:numRef>
              <c:f>'Average_Revenue_Through_Time_($'!$B$34:$B$63</c:f>
              <c:numCache>
                <c:formatCode>General</c:formatCode>
                <c:ptCount val="30"/>
                <c:pt idx="0">
                  <c:v>6.54</c:v>
                </c:pt>
                <c:pt idx="1">
                  <c:v>6.34</c:v>
                </c:pt>
                <c:pt idx="2">
                  <c:v>6.76</c:v>
                </c:pt>
                <c:pt idx="3">
                  <c:v>6.04</c:v>
                </c:pt>
                <c:pt idx="4">
                  <c:v>6.86</c:v>
                </c:pt>
                <c:pt idx="5">
                  <c:v>5.95</c:v>
                </c:pt>
                <c:pt idx="6">
                  <c:v>7.05</c:v>
                </c:pt>
                <c:pt idx="7">
                  <c:v>7.68</c:v>
                </c:pt>
                <c:pt idx="8">
                  <c:v>6.56</c:v>
                </c:pt>
                <c:pt idx="9">
                  <c:v>6.56</c:v>
                </c:pt>
                <c:pt idx="10">
                  <c:v>7.12</c:v>
                </c:pt>
                <c:pt idx="11">
                  <c:v>6.59</c:v>
                </c:pt>
                <c:pt idx="12">
                  <c:v>7.65</c:v>
                </c:pt>
                <c:pt idx="13">
                  <c:v>6.21</c:v>
                </c:pt>
                <c:pt idx="14">
                  <c:v>6.35</c:v>
                </c:pt>
                <c:pt idx="15">
                  <c:v>7.97</c:v>
                </c:pt>
                <c:pt idx="16">
                  <c:v>6.17</c:v>
                </c:pt>
                <c:pt idx="17">
                  <c:v>6.81</c:v>
                </c:pt>
                <c:pt idx="18">
                  <c:v>9.77</c:v>
                </c:pt>
                <c:pt idx="19">
                  <c:v>7.39</c:v>
                </c:pt>
                <c:pt idx="20">
                  <c:v>7.33</c:v>
                </c:pt>
                <c:pt idx="21">
                  <c:v>6.95</c:v>
                </c:pt>
                <c:pt idx="22">
                  <c:v>7.03</c:v>
                </c:pt>
                <c:pt idx="23">
                  <c:v>7.65</c:v>
                </c:pt>
                <c:pt idx="24">
                  <c:v>7.99</c:v>
                </c:pt>
                <c:pt idx="25">
                  <c:v>7.51</c:v>
                </c:pt>
                <c:pt idx="26">
                  <c:v>7.59</c:v>
                </c:pt>
                <c:pt idx="27">
                  <c:v>7.74</c:v>
                </c:pt>
                <c:pt idx="28">
                  <c:v>7.31</c:v>
                </c:pt>
                <c:pt idx="29">
                  <c:v>7.82</c:v>
                </c:pt>
              </c:numCache>
            </c:numRef>
          </c:val>
          <c:extLst>
            <c:ext xmlns:c16="http://schemas.microsoft.com/office/drawing/2014/chart" uri="{C3380CC4-5D6E-409C-BE32-E72D297353CC}">
              <c16:uniqueId val="{00000000-458A-4FC3-8C01-455B48980300}"/>
            </c:ext>
          </c:extLst>
        </c:ser>
        <c:ser>
          <c:idx val="1"/>
          <c:order val="1"/>
          <c:tx>
            <c:strRef>
              <c:f>'Average_Revenue_Through_Time_($'!$C$33</c:f>
              <c:strCache>
                <c:ptCount val="1"/>
                <c:pt idx="0">
                  <c:v>Energy</c:v>
                </c:pt>
              </c:strCache>
            </c:strRef>
          </c:tx>
          <c:spPr>
            <a:solidFill>
              <a:schemeClr val="accent2"/>
            </a:solidFill>
            <a:ln>
              <a:noFill/>
            </a:ln>
            <a:effectLst/>
          </c:spPr>
          <c:invertIfNegative val="0"/>
          <c:cat>
            <c:numRef>
              <c:f>'Average_Revenue_Through_Time_($'!$A$34:$A$63</c:f>
              <c:numCache>
                <c:formatCode>m/d/yyyy</c:formatCode>
                <c:ptCount val="30"/>
                <c:pt idx="0">
                  <c:v>44562</c:v>
                </c:pt>
                <c:pt idx="1">
                  <c:v>44593</c:v>
                </c:pt>
                <c:pt idx="2">
                  <c:v>44621</c:v>
                </c:pt>
                <c:pt idx="3">
                  <c:v>44652</c:v>
                </c:pt>
                <c:pt idx="4">
                  <c:v>44682</c:v>
                </c:pt>
                <c:pt idx="5">
                  <c:v>44713</c:v>
                </c:pt>
                <c:pt idx="6">
                  <c:v>44743</c:v>
                </c:pt>
                <c:pt idx="7">
                  <c:v>44774</c:v>
                </c:pt>
                <c:pt idx="8">
                  <c:v>44805</c:v>
                </c:pt>
                <c:pt idx="9">
                  <c:v>44835</c:v>
                </c:pt>
                <c:pt idx="10">
                  <c:v>44866</c:v>
                </c:pt>
                <c:pt idx="11">
                  <c:v>44896</c:v>
                </c:pt>
                <c:pt idx="12">
                  <c:v>44927</c:v>
                </c:pt>
                <c:pt idx="13">
                  <c:v>44958</c:v>
                </c:pt>
                <c:pt idx="14">
                  <c:v>44986</c:v>
                </c:pt>
                <c:pt idx="15">
                  <c:v>45017</c:v>
                </c:pt>
                <c:pt idx="16">
                  <c:v>45047</c:v>
                </c:pt>
                <c:pt idx="17">
                  <c:v>45078</c:v>
                </c:pt>
                <c:pt idx="18">
                  <c:v>45108</c:v>
                </c:pt>
                <c:pt idx="19">
                  <c:v>45139</c:v>
                </c:pt>
                <c:pt idx="20">
                  <c:v>45170</c:v>
                </c:pt>
                <c:pt idx="21">
                  <c:v>45200</c:v>
                </c:pt>
                <c:pt idx="22">
                  <c:v>45231</c:v>
                </c:pt>
                <c:pt idx="23">
                  <c:v>45261</c:v>
                </c:pt>
                <c:pt idx="24">
                  <c:v>45292</c:v>
                </c:pt>
                <c:pt idx="25">
                  <c:v>45323</c:v>
                </c:pt>
                <c:pt idx="26">
                  <c:v>45352</c:v>
                </c:pt>
                <c:pt idx="27">
                  <c:v>45383</c:v>
                </c:pt>
                <c:pt idx="28">
                  <c:v>45413</c:v>
                </c:pt>
                <c:pt idx="29">
                  <c:v>45444</c:v>
                </c:pt>
              </c:numCache>
            </c:numRef>
          </c:cat>
          <c:val>
            <c:numRef>
              <c:f>'Average_Revenue_Through_Time_($'!$C$34:$C$63</c:f>
              <c:numCache>
                <c:formatCode>General</c:formatCode>
                <c:ptCount val="30"/>
                <c:pt idx="0">
                  <c:v>2.91</c:v>
                </c:pt>
                <c:pt idx="1">
                  <c:v>3.67</c:v>
                </c:pt>
                <c:pt idx="2">
                  <c:v>3.95</c:v>
                </c:pt>
                <c:pt idx="3">
                  <c:v>5.31</c:v>
                </c:pt>
                <c:pt idx="4">
                  <c:v>5.91</c:v>
                </c:pt>
                <c:pt idx="5">
                  <c:v>5.33</c:v>
                </c:pt>
                <c:pt idx="6">
                  <c:v>3.12</c:v>
                </c:pt>
                <c:pt idx="7">
                  <c:v>4.6500000000000004</c:v>
                </c:pt>
                <c:pt idx="8">
                  <c:v>7.33</c:v>
                </c:pt>
                <c:pt idx="9">
                  <c:v>2.81</c:v>
                </c:pt>
                <c:pt idx="10">
                  <c:v>4.58</c:v>
                </c:pt>
                <c:pt idx="11">
                  <c:v>9.9600000000000009</c:v>
                </c:pt>
                <c:pt idx="12">
                  <c:v>6.09</c:v>
                </c:pt>
                <c:pt idx="13">
                  <c:v>3.88</c:v>
                </c:pt>
                <c:pt idx="14">
                  <c:v>7.01</c:v>
                </c:pt>
                <c:pt idx="15">
                  <c:v>6.55</c:v>
                </c:pt>
                <c:pt idx="16">
                  <c:v>2.8</c:v>
                </c:pt>
                <c:pt idx="17">
                  <c:v>2.2000000000000002</c:v>
                </c:pt>
                <c:pt idx="18">
                  <c:v>5.33</c:v>
                </c:pt>
                <c:pt idx="19">
                  <c:v>6.73</c:v>
                </c:pt>
                <c:pt idx="20">
                  <c:v>2.38</c:v>
                </c:pt>
                <c:pt idx="21">
                  <c:v>3.94</c:v>
                </c:pt>
                <c:pt idx="22">
                  <c:v>2.76</c:v>
                </c:pt>
                <c:pt idx="23">
                  <c:v>1.75</c:v>
                </c:pt>
                <c:pt idx="24">
                  <c:v>2.93</c:v>
                </c:pt>
                <c:pt idx="25">
                  <c:v>2.57</c:v>
                </c:pt>
                <c:pt idx="26">
                  <c:v>2.84</c:v>
                </c:pt>
                <c:pt idx="27">
                  <c:v>2.5499999999999998</c:v>
                </c:pt>
                <c:pt idx="28">
                  <c:v>1.84</c:v>
                </c:pt>
                <c:pt idx="29">
                  <c:v>1.98</c:v>
                </c:pt>
              </c:numCache>
            </c:numRef>
          </c:val>
          <c:extLst>
            <c:ext xmlns:c16="http://schemas.microsoft.com/office/drawing/2014/chart" uri="{C3380CC4-5D6E-409C-BE32-E72D297353CC}">
              <c16:uniqueId val="{00000001-458A-4FC3-8C01-455B48980300}"/>
            </c:ext>
          </c:extLst>
        </c:ser>
        <c:ser>
          <c:idx val="2"/>
          <c:order val="2"/>
          <c:tx>
            <c:strRef>
              <c:f>'Average_Revenue_Through_Time_($'!$D$33</c:f>
              <c:strCache>
                <c:ptCount val="1"/>
                <c:pt idx="0">
                  <c:v>Frequency Regulation</c:v>
                </c:pt>
              </c:strCache>
            </c:strRef>
          </c:tx>
          <c:spPr>
            <a:solidFill>
              <a:schemeClr val="accent3"/>
            </a:solidFill>
            <a:ln>
              <a:noFill/>
            </a:ln>
            <a:effectLst/>
          </c:spPr>
          <c:invertIfNegative val="0"/>
          <c:cat>
            <c:numRef>
              <c:f>'Average_Revenue_Through_Time_($'!$A$34:$A$63</c:f>
              <c:numCache>
                <c:formatCode>m/d/yyyy</c:formatCode>
                <c:ptCount val="30"/>
                <c:pt idx="0">
                  <c:v>44562</c:v>
                </c:pt>
                <c:pt idx="1">
                  <c:v>44593</c:v>
                </c:pt>
                <c:pt idx="2">
                  <c:v>44621</c:v>
                </c:pt>
                <c:pt idx="3">
                  <c:v>44652</c:v>
                </c:pt>
                <c:pt idx="4">
                  <c:v>44682</c:v>
                </c:pt>
                <c:pt idx="5">
                  <c:v>44713</c:v>
                </c:pt>
                <c:pt idx="6">
                  <c:v>44743</c:v>
                </c:pt>
                <c:pt idx="7">
                  <c:v>44774</c:v>
                </c:pt>
                <c:pt idx="8">
                  <c:v>44805</c:v>
                </c:pt>
                <c:pt idx="9">
                  <c:v>44835</c:v>
                </c:pt>
                <c:pt idx="10">
                  <c:v>44866</c:v>
                </c:pt>
                <c:pt idx="11">
                  <c:v>44896</c:v>
                </c:pt>
                <c:pt idx="12">
                  <c:v>44927</c:v>
                </c:pt>
                <c:pt idx="13">
                  <c:v>44958</c:v>
                </c:pt>
                <c:pt idx="14">
                  <c:v>44986</c:v>
                </c:pt>
                <c:pt idx="15">
                  <c:v>45017</c:v>
                </c:pt>
                <c:pt idx="16">
                  <c:v>45047</c:v>
                </c:pt>
                <c:pt idx="17">
                  <c:v>45078</c:v>
                </c:pt>
                <c:pt idx="18">
                  <c:v>45108</c:v>
                </c:pt>
                <c:pt idx="19">
                  <c:v>45139</c:v>
                </c:pt>
                <c:pt idx="20">
                  <c:v>45170</c:v>
                </c:pt>
                <c:pt idx="21">
                  <c:v>45200</c:v>
                </c:pt>
                <c:pt idx="22">
                  <c:v>45231</c:v>
                </c:pt>
                <c:pt idx="23">
                  <c:v>45261</c:v>
                </c:pt>
                <c:pt idx="24">
                  <c:v>45292</c:v>
                </c:pt>
                <c:pt idx="25">
                  <c:v>45323</c:v>
                </c:pt>
                <c:pt idx="26">
                  <c:v>45352</c:v>
                </c:pt>
                <c:pt idx="27">
                  <c:v>45383</c:v>
                </c:pt>
                <c:pt idx="28">
                  <c:v>45413</c:v>
                </c:pt>
                <c:pt idx="29">
                  <c:v>45444</c:v>
                </c:pt>
              </c:numCache>
            </c:numRef>
          </c:cat>
          <c:val>
            <c:numRef>
              <c:f>'Average_Revenue_Through_Time_($'!$D$34:$D$63</c:f>
              <c:numCache>
                <c:formatCode>General</c:formatCode>
                <c:ptCount val="30"/>
                <c:pt idx="0">
                  <c:v>1.25</c:v>
                </c:pt>
                <c:pt idx="1">
                  <c:v>1.67</c:v>
                </c:pt>
                <c:pt idx="2">
                  <c:v>2.73</c:v>
                </c:pt>
                <c:pt idx="3">
                  <c:v>1.85</c:v>
                </c:pt>
                <c:pt idx="4">
                  <c:v>1.87</c:v>
                </c:pt>
                <c:pt idx="5">
                  <c:v>1.58</c:v>
                </c:pt>
                <c:pt idx="6">
                  <c:v>1.76</c:v>
                </c:pt>
                <c:pt idx="7">
                  <c:v>2.3199999999999998</c:v>
                </c:pt>
                <c:pt idx="8">
                  <c:v>7.39</c:v>
                </c:pt>
                <c:pt idx="9">
                  <c:v>1.49</c:v>
                </c:pt>
                <c:pt idx="10">
                  <c:v>1.5</c:v>
                </c:pt>
                <c:pt idx="11">
                  <c:v>1.34</c:v>
                </c:pt>
                <c:pt idx="12">
                  <c:v>1.28</c:v>
                </c:pt>
                <c:pt idx="13">
                  <c:v>1.57</c:v>
                </c:pt>
                <c:pt idx="14">
                  <c:v>2.17</c:v>
                </c:pt>
                <c:pt idx="15">
                  <c:v>2.36</c:v>
                </c:pt>
                <c:pt idx="16">
                  <c:v>1.6</c:v>
                </c:pt>
                <c:pt idx="17">
                  <c:v>1.0900000000000001</c:v>
                </c:pt>
                <c:pt idx="18">
                  <c:v>1.57</c:v>
                </c:pt>
                <c:pt idx="19">
                  <c:v>2.04</c:v>
                </c:pt>
                <c:pt idx="20">
                  <c:v>0.54</c:v>
                </c:pt>
                <c:pt idx="21">
                  <c:v>0.67</c:v>
                </c:pt>
                <c:pt idx="22">
                  <c:v>0.5</c:v>
                </c:pt>
                <c:pt idx="23">
                  <c:v>0.4</c:v>
                </c:pt>
                <c:pt idx="24">
                  <c:v>0.48</c:v>
                </c:pt>
                <c:pt idx="25">
                  <c:v>0.38</c:v>
                </c:pt>
                <c:pt idx="26">
                  <c:v>0.57999999999999996</c:v>
                </c:pt>
                <c:pt idx="27">
                  <c:v>0.48</c:v>
                </c:pt>
                <c:pt idx="28">
                  <c:v>0.44</c:v>
                </c:pt>
                <c:pt idx="29">
                  <c:v>0.25</c:v>
                </c:pt>
              </c:numCache>
            </c:numRef>
          </c:val>
          <c:extLst>
            <c:ext xmlns:c16="http://schemas.microsoft.com/office/drawing/2014/chart" uri="{C3380CC4-5D6E-409C-BE32-E72D297353CC}">
              <c16:uniqueId val="{00000002-458A-4FC3-8C01-455B48980300}"/>
            </c:ext>
          </c:extLst>
        </c:ser>
        <c:ser>
          <c:idx val="3"/>
          <c:order val="3"/>
          <c:tx>
            <c:strRef>
              <c:f>'Average_Revenue_Through_Time_($'!$E$33</c:f>
              <c:strCache>
                <c:ptCount val="1"/>
                <c:pt idx="0">
                  <c:v>Other</c:v>
                </c:pt>
              </c:strCache>
            </c:strRef>
          </c:tx>
          <c:spPr>
            <a:solidFill>
              <a:schemeClr val="accent4"/>
            </a:solidFill>
            <a:ln>
              <a:noFill/>
            </a:ln>
            <a:effectLst/>
          </c:spPr>
          <c:invertIfNegative val="0"/>
          <c:cat>
            <c:numRef>
              <c:f>'Average_Revenue_Through_Time_($'!$A$34:$A$63</c:f>
              <c:numCache>
                <c:formatCode>m/d/yyyy</c:formatCode>
                <c:ptCount val="30"/>
                <c:pt idx="0">
                  <c:v>44562</c:v>
                </c:pt>
                <c:pt idx="1">
                  <c:v>44593</c:v>
                </c:pt>
                <c:pt idx="2">
                  <c:v>44621</c:v>
                </c:pt>
                <c:pt idx="3">
                  <c:v>44652</c:v>
                </c:pt>
                <c:pt idx="4">
                  <c:v>44682</c:v>
                </c:pt>
                <c:pt idx="5">
                  <c:v>44713</c:v>
                </c:pt>
                <c:pt idx="6">
                  <c:v>44743</c:v>
                </c:pt>
                <c:pt idx="7">
                  <c:v>44774</c:v>
                </c:pt>
                <c:pt idx="8">
                  <c:v>44805</c:v>
                </c:pt>
                <c:pt idx="9">
                  <c:v>44835</c:v>
                </c:pt>
                <c:pt idx="10">
                  <c:v>44866</c:v>
                </c:pt>
                <c:pt idx="11">
                  <c:v>44896</c:v>
                </c:pt>
                <c:pt idx="12">
                  <c:v>44927</c:v>
                </c:pt>
                <c:pt idx="13">
                  <c:v>44958</c:v>
                </c:pt>
                <c:pt idx="14">
                  <c:v>44986</c:v>
                </c:pt>
                <c:pt idx="15">
                  <c:v>45017</c:v>
                </c:pt>
                <c:pt idx="16">
                  <c:v>45047</c:v>
                </c:pt>
                <c:pt idx="17">
                  <c:v>45078</c:v>
                </c:pt>
                <c:pt idx="18">
                  <c:v>45108</c:v>
                </c:pt>
                <c:pt idx="19">
                  <c:v>45139</c:v>
                </c:pt>
                <c:pt idx="20">
                  <c:v>45170</c:v>
                </c:pt>
                <c:pt idx="21">
                  <c:v>45200</c:v>
                </c:pt>
                <c:pt idx="22">
                  <c:v>45231</c:v>
                </c:pt>
                <c:pt idx="23">
                  <c:v>45261</c:v>
                </c:pt>
                <c:pt idx="24">
                  <c:v>45292</c:v>
                </c:pt>
                <c:pt idx="25">
                  <c:v>45323</c:v>
                </c:pt>
                <c:pt idx="26">
                  <c:v>45352</c:v>
                </c:pt>
                <c:pt idx="27">
                  <c:v>45383</c:v>
                </c:pt>
                <c:pt idx="28">
                  <c:v>45413</c:v>
                </c:pt>
                <c:pt idx="29">
                  <c:v>45444</c:v>
                </c:pt>
              </c:numCache>
            </c:numRef>
          </c:cat>
          <c:val>
            <c:numRef>
              <c:f>'Average_Revenue_Through_Time_($'!$E$34:$E$63</c:f>
              <c:numCache>
                <c:formatCode>General</c:formatCode>
                <c:ptCount val="30"/>
                <c:pt idx="0">
                  <c:v>0.52</c:v>
                </c:pt>
                <c:pt idx="1">
                  <c:v>0.69</c:v>
                </c:pt>
                <c:pt idx="2">
                  <c:v>0.99</c:v>
                </c:pt>
                <c:pt idx="3">
                  <c:v>0.13</c:v>
                </c:pt>
                <c:pt idx="4">
                  <c:v>0.3</c:v>
                </c:pt>
                <c:pt idx="5">
                  <c:v>0.34</c:v>
                </c:pt>
                <c:pt idx="6">
                  <c:v>0.63</c:v>
                </c:pt>
                <c:pt idx="7">
                  <c:v>0.72</c:v>
                </c:pt>
                <c:pt idx="8">
                  <c:v>0.97</c:v>
                </c:pt>
                <c:pt idx="9">
                  <c:v>0.34</c:v>
                </c:pt>
                <c:pt idx="10">
                  <c:v>0.5</c:v>
                </c:pt>
                <c:pt idx="11">
                  <c:v>0.45</c:v>
                </c:pt>
                <c:pt idx="12">
                  <c:v>0.19</c:v>
                </c:pt>
                <c:pt idx="13">
                  <c:v>0.25</c:v>
                </c:pt>
                <c:pt idx="14">
                  <c:v>0.6</c:v>
                </c:pt>
                <c:pt idx="15">
                  <c:v>0.51</c:v>
                </c:pt>
                <c:pt idx="16">
                  <c:v>0.13</c:v>
                </c:pt>
                <c:pt idx="17">
                  <c:v>0.27</c:v>
                </c:pt>
                <c:pt idx="18">
                  <c:v>0.24</c:v>
                </c:pt>
                <c:pt idx="19">
                  <c:v>0.43</c:v>
                </c:pt>
                <c:pt idx="20">
                  <c:v>0.43</c:v>
                </c:pt>
                <c:pt idx="21">
                  <c:v>0.19</c:v>
                </c:pt>
                <c:pt idx="22">
                  <c:v>0.21</c:v>
                </c:pt>
                <c:pt idx="23">
                  <c:v>0.1</c:v>
                </c:pt>
                <c:pt idx="24">
                  <c:v>0.08</c:v>
                </c:pt>
                <c:pt idx="25">
                  <c:v>0.08</c:v>
                </c:pt>
                <c:pt idx="26">
                  <c:v>0.03</c:v>
                </c:pt>
                <c:pt idx="27">
                  <c:v>0.11</c:v>
                </c:pt>
                <c:pt idx="28">
                  <c:v>0.01</c:v>
                </c:pt>
                <c:pt idx="29">
                  <c:v>0.01</c:v>
                </c:pt>
              </c:numCache>
            </c:numRef>
          </c:val>
          <c:extLst>
            <c:ext xmlns:c16="http://schemas.microsoft.com/office/drawing/2014/chart" uri="{C3380CC4-5D6E-409C-BE32-E72D297353CC}">
              <c16:uniqueId val="{00000003-458A-4FC3-8C01-455B48980300}"/>
            </c:ext>
          </c:extLst>
        </c:ser>
        <c:ser>
          <c:idx val="4"/>
          <c:order val="4"/>
          <c:tx>
            <c:strRef>
              <c:f>'Average_Revenue_Through_Time_($'!$F$33</c:f>
              <c:strCache>
                <c:ptCount val="1"/>
                <c:pt idx="0">
                  <c:v>Spinning Reserves</c:v>
                </c:pt>
              </c:strCache>
            </c:strRef>
          </c:tx>
          <c:spPr>
            <a:solidFill>
              <a:schemeClr val="accent5"/>
            </a:solidFill>
            <a:ln>
              <a:noFill/>
            </a:ln>
            <a:effectLst/>
          </c:spPr>
          <c:invertIfNegative val="0"/>
          <c:cat>
            <c:numRef>
              <c:f>'Average_Revenue_Through_Time_($'!$A$34:$A$63</c:f>
              <c:numCache>
                <c:formatCode>m/d/yyyy</c:formatCode>
                <c:ptCount val="30"/>
                <c:pt idx="0">
                  <c:v>44562</c:v>
                </c:pt>
                <c:pt idx="1">
                  <c:v>44593</c:v>
                </c:pt>
                <c:pt idx="2">
                  <c:v>44621</c:v>
                </c:pt>
                <c:pt idx="3">
                  <c:v>44652</c:v>
                </c:pt>
                <c:pt idx="4">
                  <c:v>44682</c:v>
                </c:pt>
                <c:pt idx="5">
                  <c:v>44713</c:v>
                </c:pt>
                <c:pt idx="6">
                  <c:v>44743</c:v>
                </c:pt>
                <c:pt idx="7">
                  <c:v>44774</c:v>
                </c:pt>
                <c:pt idx="8">
                  <c:v>44805</c:v>
                </c:pt>
                <c:pt idx="9">
                  <c:v>44835</c:v>
                </c:pt>
                <c:pt idx="10">
                  <c:v>44866</c:v>
                </c:pt>
                <c:pt idx="11">
                  <c:v>44896</c:v>
                </c:pt>
                <c:pt idx="12">
                  <c:v>44927</c:v>
                </c:pt>
                <c:pt idx="13">
                  <c:v>44958</c:v>
                </c:pt>
                <c:pt idx="14">
                  <c:v>44986</c:v>
                </c:pt>
                <c:pt idx="15">
                  <c:v>45017</c:v>
                </c:pt>
                <c:pt idx="16">
                  <c:v>45047</c:v>
                </c:pt>
                <c:pt idx="17">
                  <c:v>45078</c:v>
                </c:pt>
                <c:pt idx="18">
                  <c:v>45108</c:v>
                </c:pt>
                <c:pt idx="19">
                  <c:v>45139</c:v>
                </c:pt>
                <c:pt idx="20">
                  <c:v>45170</c:v>
                </c:pt>
                <c:pt idx="21">
                  <c:v>45200</c:v>
                </c:pt>
                <c:pt idx="22">
                  <c:v>45231</c:v>
                </c:pt>
                <c:pt idx="23">
                  <c:v>45261</c:v>
                </c:pt>
                <c:pt idx="24">
                  <c:v>45292</c:v>
                </c:pt>
                <c:pt idx="25">
                  <c:v>45323</c:v>
                </c:pt>
                <c:pt idx="26">
                  <c:v>45352</c:v>
                </c:pt>
                <c:pt idx="27">
                  <c:v>45383</c:v>
                </c:pt>
                <c:pt idx="28">
                  <c:v>45413</c:v>
                </c:pt>
                <c:pt idx="29">
                  <c:v>45444</c:v>
                </c:pt>
              </c:numCache>
            </c:numRef>
          </c:cat>
          <c:val>
            <c:numRef>
              <c:f>'Average_Revenue_Through_Time_($'!$F$34:$F$63</c:f>
              <c:numCache>
                <c:formatCode>General</c:formatCode>
                <c:ptCount val="30"/>
                <c:pt idx="0">
                  <c:v>0.04</c:v>
                </c:pt>
                <c:pt idx="1">
                  <c:v>0.03</c:v>
                </c:pt>
                <c:pt idx="2">
                  <c:v>0.04</c:v>
                </c:pt>
                <c:pt idx="3">
                  <c:v>0.03</c:v>
                </c:pt>
                <c:pt idx="4">
                  <c:v>0.04</c:v>
                </c:pt>
                <c:pt idx="5">
                  <c:v>0.05</c:v>
                </c:pt>
                <c:pt idx="6">
                  <c:v>0.01</c:v>
                </c:pt>
                <c:pt idx="7">
                  <c:v>0.01</c:v>
                </c:pt>
                <c:pt idx="8">
                  <c:v>0.92</c:v>
                </c:pt>
                <c:pt idx="9">
                  <c:v>0.01</c:v>
                </c:pt>
                <c:pt idx="10">
                  <c:v>0</c:v>
                </c:pt>
                <c:pt idx="11">
                  <c:v>0.01</c:v>
                </c:pt>
                <c:pt idx="12">
                  <c:v>0.09</c:v>
                </c:pt>
                <c:pt idx="13">
                  <c:v>0.06</c:v>
                </c:pt>
                <c:pt idx="14">
                  <c:v>0.03</c:v>
                </c:pt>
                <c:pt idx="15">
                  <c:v>0.03</c:v>
                </c:pt>
                <c:pt idx="16">
                  <c:v>0.01</c:v>
                </c:pt>
                <c:pt idx="17">
                  <c:v>0</c:v>
                </c:pt>
                <c:pt idx="18">
                  <c:v>0.06</c:v>
                </c:pt>
                <c:pt idx="19">
                  <c:v>0.56999999999999995</c:v>
                </c:pt>
                <c:pt idx="20">
                  <c:v>0</c:v>
                </c:pt>
                <c:pt idx="21">
                  <c:v>0</c:v>
                </c:pt>
                <c:pt idx="22">
                  <c:v>0</c:v>
                </c:pt>
                <c:pt idx="23">
                  <c:v>0</c:v>
                </c:pt>
                <c:pt idx="24">
                  <c:v>0</c:v>
                </c:pt>
                <c:pt idx="25">
                  <c:v>0</c:v>
                </c:pt>
                <c:pt idx="26">
                  <c:v>0</c:v>
                </c:pt>
                <c:pt idx="27">
                  <c:v>0</c:v>
                </c:pt>
                <c:pt idx="28">
                  <c:v>0</c:v>
                </c:pt>
                <c:pt idx="29">
                  <c:v>0</c:v>
                </c:pt>
              </c:numCache>
            </c:numRef>
          </c:val>
          <c:extLst>
            <c:ext xmlns:c16="http://schemas.microsoft.com/office/drawing/2014/chart" uri="{C3380CC4-5D6E-409C-BE32-E72D297353CC}">
              <c16:uniqueId val="{00000004-458A-4FC3-8C01-455B48980300}"/>
            </c:ext>
          </c:extLst>
        </c:ser>
        <c:dLbls>
          <c:showLegendKey val="0"/>
          <c:showVal val="0"/>
          <c:showCatName val="0"/>
          <c:showSerName val="0"/>
          <c:showPercent val="0"/>
          <c:showBubbleSize val="0"/>
        </c:dLbls>
        <c:gapWidth val="50"/>
        <c:overlap val="100"/>
        <c:axId val="21329583"/>
        <c:axId val="21327183"/>
      </c:barChart>
      <c:dateAx>
        <c:axId val="21329583"/>
        <c:scaling>
          <c:orientation val="minMax"/>
        </c:scaling>
        <c:delete val="1"/>
        <c:axPos val="b"/>
        <c:numFmt formatCode="m/d/yyyy" sourceLinked="1"/>
        <c:majorTickMark val="none"/>
        <c:minorTickMark val="none"/>
        <c:tickLblPos val="nextTo"/>
        <c:crossAx val="21327183"/>
        <c:crosses val="autoZero"/>
        <c:auto val="1"/>
        <c:lblOffset val="100"/>
        <c:baseTimeUnit val="months"/>
        <c:majorUnit val="6"/>
        <c:majorTimeUnit val="months"/>
      </c:dateAx>
      <c:valAx>
        <c:axId val="21327183"/>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21329583"/>
        <c:crosses val="autoZero"/>
        <c:crossBetween val="between"/>
      </c:valAx>
      <c:spPr>
        <a:noFill/>
        <a:ln>
          <a:noFill/>
        </a:ln>
        <a:effectLst/>
      </c:spPr>
    </c:plotArea>
    <c:legend>
      <c:legendPos val="b"/>
      <c:layout>
        <c:manualLayout>
          <c:xMode val="edge"/>
          <c:yMode val="edge"/>
          <c:x val="0"/>
          <c:y val="0"/>
          <c:w val="1"/>
          <c:h val="1"/>
        </c:manualLayout>
      </c:layout>
      <c:overlay val="0"/>
      <c:spPr>
        <a:solidFill>
          <a:schemeClr val="bg1"/>
        </a:solidFill>
        <a:ln>
          <a:noFill/>
        </a:ln>
        <a:effectLst/>
      </c:spPr>
      <c:txPr>
        <a:bodyPr rot="0" spcFirstLastPara="1" vertOverflow="ellipsis" vert="horz" wrap="square" anchor="ctr" anchorCtr="1"/>
        <a:lstStyle/>
        <a:p>
          <a:pPr>
            <a:defRPr sz="900" b="1" i="0" u="none" strike="noStrike" kern="1200" baseline="0">
              <a:solidFill>
                <a:schemeClr val="tx1"/>
              </a:solidFill>
              <a:latin typeface="Manrope"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b="1">
          <a:solidFill>
            <a:schemeClr val="tx1"/>
          </a:solidFill>
          <a:latin typeface="Manrope" pitchFamily="2" charset="0"/>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0587573354921778E-2"/>
          <c:y val="2.843744978306283E-2"/>
          <c:w val="0.86926214664242174"/>
          <c:h val="0.77221336237294969"/>
        </c:manualLayout>
      </c:layout>
      <c:barChart>
        <c:barDir val="col"/>
        <c:grouping val="stacked"/>
        <c:varyColors val="0"/>
        <c:ser>
          <c:idx val="0"/>
          <c:order val="0"/>
          <c:tx>
            <c:strRef>
              <c:f>'[POPF Charts.xlsx]Figure 2'!$AJ$1</c:f>
              <c:strCache>
                <c:ptCount val="1"/>
                <c:pt idx="0">
                  <c:v>Capacity</c:v>
                </c:pt>
              </c:strCache>
            </c:strRef>
          </c:tx>
          <c:spPr>
            <a:solidFill>
              <a:schemeClr val="accent1"/>
            </a:solidFill>
            <a:ln>
              <a:noFill/>
            </a:ln>
            <a:effectLst/>
          </c:spPr>
          <c:invertIfNegative val="0"/>
          <c:cat>
            <c:numRef>
              <c:f>'[POPF Charts.xlsx]Figure 2'!$AI$2:$AI$38</c:f>
              <c:numCache>
                <c:formatCode>General</c:formatCode>
                <c:ptCount val="37"/>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numCache>
            </c:numRef>
          </c:cat>
          <c:val>
            <c:numRef>
              <c:f>'[POPF Charts.xlsx]Figure 2'!$AJ$2:$AJ$38</c:f>
              <c:numCache>
                <c:formatCode>"$"#,##0.00_);[Red]\("$"#,##0.00\)</c:formatCode>
                <c:ptCount val="37"/>
                <c:pt idx="1">
                  <c:v>0</c:v>
                </c:pt>
                <c:pt idx="4">
                  <c:v>0</c:v>
                </c:pt>
                <c:pt idx="7">
                  <c:v>0</c:v>
                </c:pt>
                <c:pt idx="10">
                  <c:v>0</c:v>
                </c:pt>
                <c:pt idx="13">
                  <c:v>0</c:v>
                </c:pt>
                <c:pt idx="16">
                  <c:v>0</c:v>
                </c:pt>
                <c:pt idx="19">
                  <c:v>0</c:v>
                </c:pt>
                <c:pt idx="22">
                  <c:v>0</c:v>
                </c:pt>
                <c:pt idx="25">
                  <c:v>0</c:v>
                </c:pt>
                <c:pt idx="28">
                  <c:v>0</c:v>
                </c:pt>
                <c:pt idx="31">
                  <c:v>0</c:v>
                </c:pt>
                <c:pt idx="34">
                  <c:v>0</c:v>
                </c:pt>
              </c:numCache>
            </c:numRef>
          </c:val>
          <c:extLst>
            <c:ext xmlns:c16="http://schemas.microsoft.com/office/drawing/2014/chart" uri="{C3380CC4-5D6E-409C-BE32-E72D297353CC}">
              <c16:uniqueId val="{00000000-F980-4B9D-9539-F9086AB2C47F}"/>
            </c:ext>
          </c:extLst>
        </c:ser>
        <c:ser>
          <c:idx val="1"/>
          <c:order val="1"/>
          <c:tx>
            <c:strRef>
              <c:f>'[POPF Charts.xlsx]Figure 2'!$AK$1</c:f>
              <c:strCache>
                <c:ptCount val="1"/>
                <c:pt idx="0">
                  <c:v>Energy</c:v>
                </c:pt>
              </c:strCache>
            </c:strRef>
          </c:tx>
          <c:spPr>
            <a:solidFill>
              <a:schemeClr val="accent2"/>
            </a:solidFill>
            <a:ln>
              <a:noFill/>
            </a:ln>
            <a:effectLst/>
          </c:spPr>
          <c:invertIfNegative val="0"/>
          <c:cat>
            <c:numRef>
              <c:f>'[POPF Charts.xlsx]Figure 2'!$AI$2:$AI$38</c:f>
              <c:numCache>
                <c:formatCode>General</c:formatCode>
                <c:ptCount val="37"/>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numCache>
            </c:numRef>
          </c:cat>
          <c:val>
            <c:numRef>
              <c:f>'[POPF Charts.xlsx]Figure 2'!$AK$2:$AK$38</c:f>
              <c:numCache>
                <c:formatCode>"$"#,##0.00_);[Red]\("$"#,##0.00\)</c:formatCode>
                <c:ptCount val="37"/>
                <c:pt idx="1">
                  <c:v>0.54843352716216198</c:v>
                </c:pt>
                <c:pt idx="4">
                  <c:v>1.7790826367049251</c:v>
                </c:pt>
                <c:pt idx="7">
                  <c:v>1.5011257360912984</c:v>
                </c:pt>
                <c:pt idx="10">
                  <c:v>2.0793365352285011</c:v>
                </c:pt>
                <c:pt idx="13">
                  <c:v>1.2815216877122804</c:v>
                </c:pt>
                <c:pt idx="16">
                  <c:v>4.1566819713968055</c:v>
                </c:pt>
                <c:pt idx="19">
                  <c:v>0.6244190036916667</c:v>
                </c:pt>
                <c:pt idx="22">
                  <c:v>3.03085903859649</c:v>
                </c:pt>
                <c:pt idx="25">
                  <c:v>1.8032911333333332</c:v>
                </c:pt>
                <c:pt idx="28">
                  <c:v>1.3749135555555556</c:v>
                </c:pt>
                <c:pt idx="31">
                  <c:v>0.49098424756542908</c:v>
                </c:pt>
                <c:pt idx="34">
                  <c:v>2.1931680460526315</c:v>
                </c:pt>
              </c:numCache>
            </c:numRef>
          </c:val>
          <c:extLst>
            <c:ext xmlns:c16="http://schemas.microsoft.com/office/drawing/2014/chart" uri="{C3380CC4-5D6E-409C-BE32-E72D297353CC}">
              <c16:uniqueId val="{00000001-F980-4B9D-9539-F9086AB2C47F}"/>
            </c:ext>
          </c:extLst>
        </c:ser>
        <c:ser>
          <c:idx val="2"/>
          <c:order val="2"/>
          <c:tx>
            <c:strRef>
              <c:f>'[POPF Charts.xlsx]Figure 2'!$AL$1</c:f>
              <c:strCache>
                <c:ptCount val="1"/>
                <c:pt idx="0">
                  <c:v>Frequency Regulation</c:v>
                </c:pt>
              </c:strCache>
            </c:strRef>
          </c:tx>
          <c:spPr>
            <a:solidFill>
              <a:schemeClr val="accent3"/>
            </a:solidFill>
            <a:ln>
              <a:noFill/>
            </a:ln>
            <a:effectLst/>
          </c:spPr>
          <c:invertIfNegative val="0"/>
          <c:cat>
            <c:numRef>
              <c:f>'[POPF Charts.xlsx]Figure 2'!$AI$2:$AI$38</c:f>
              <c:numCache>
                <c:formatCode>General</c:formatCode>
                <c:ptCount val="37"/>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numCache>
            </c:numRef>
          </c:cat>
          <c:val>
            <c:numRef>
              <c:f>'[POPF Charts.xlsx]Figure 2'!$AL$2:$AL$38</c:f>
              <c:numCache>
                <c:formatCode>"$"#,##0.00_);[Red]\("$"#,##0.00\)</c:formatCode>
                <c:ptCount val="37"/>
                <c:pt idx="1">
                  <c:v>4.3198210165165163</c:v>
                </c:pt>
                <c:pt idx="4">
                  <c:v>10.499852457197512</c:v>
                </c:pt>
                <c:pt idx="7">
                  <c:v>3.9004712791250591</c:v>
                </c:pt>
                <c:pt idx="10">
                  <c:v>1.1013867385063365</c:v>
                </c:pt>
                <c:pt idx="13">
                  <c:v>1.8394294097667751E-2</c:v>
                </c:pt>
                <c:pt idx="16">
                  <c:v>0.27095357899989886</c:v>
                </c:pt>
                <c:pt idx="19">
                  <c:v>5.2002543055555552E-2</c:v>
                </c:pt>
                <c:pt idx="22">
                  <c:v>2.8448104678362562</c:v>
                </c:pt>
                <c:pt idx="25">
                  <c:v>0.72874804074074073</c:v>
                </c:pt>
                <c:pt idx="28">
                  <c:v>0.21542058888888893</c:v>
                </c:pt>
                <c:pt idx="31">
                  <c:v>0.141052682592818</c:v>
                </c:pt>
                <c:pt idx="34">
                  <c:v>6.8969600000000006E-2</c:v>
                </c:pt>
              </c:numCache>
            </c:numRef>
          </c:val>
          <c:extLst>
            <c:ext xmlns:c16="http://schemas.microsoft.com/office/drawing/2014/chart" uri="{C3380CC4-5D6E-409C-BE32-E72D297353CC}">
              <c16:uniqueId val="{00000002-F980-4B9D-9539-F9086AB2C47F}"/>
            </c:ext>
          </c:extLst>
        </c:ser>
        <c:ser>
          <c:idx val="3"/>
          <c:order val="3"/>
          <c:tx>
            <c:strRef>
              <c:f>'[POPF Charts.xlsx]Figure 2'!$AM$1</c:f>
              <c:strCache>
                <c:ptCount val="1"/>
                <c:pt idx="0">
                  <c:v>Spinning Reserve</c:v>
                </c:pt>
              </c:strCache>
            </c:strRef>
          </c:tx>
          <c:spPr>
            <a:solidFill>
              <a:schemeClr val="accent4"/>
            </a:solidFill>
            <a:ln>
              <a:noFill/>
            </a:ln>
            <a:effectLst/>
          </c:spPr>
          <c:invertIfNegative val="0"/>
          <c:cat>
            <c:numRef>
              <c:f>'[POPF Charts.xlsx]Figure 2'!$AI$2:$AI$38</c:f>
              <c:numCache>
                <c:formatCode>General</c:formatCode>
                <c:ptCount val="37"/>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numCache>
            </c:numRef>
          </c:cat>
          <c:val>
            <c:numRef>
              <c:f>'[POPF Charts.xlsx]Figure 2'!$AM$2:$AM$38</c:f>
              <c:numCache>
                <c:formatCode>"$"#,##0.00_);[Red]\("$"#,##0.00\)</c:formatCode>
                <c:ptCount val="37"/>
                <c:pt idx="1">
                  <c:v>2.6760489639639649</c:v>
                </c:pt>
                <c:pt idx="4">
                  <c:v>5.3411656582974629</c:v>
                </c:pt>
                <c:pt idx="7">
                  <c:v>0.93972038516405143</c:v>
                </c:pt>
                <c:pt idx="10">
                  <c:v>8.3191405524151989</c:v>
                </c:pt>
                <c:pt idx="13">
                  <c:v>4.1852956460864963</c:v>
                </c:pt>
                <c:pt idx="16">
                  <c:v>2.3342805208965025</c:v>
                </c:pt>
                <c:pt idx="19">
                  <c:v>8.9491871208333329</c:v>
                </c:pt>
                <c:pt idx="22">
                  <c:v>7.4230903391812841</c:v>
                </c:pt>
                <c:pt idx="25">
                  <c:v>9.4437702592592583</c:v>
                </c:pt>
                <c:pt idx="28">
                  <c:v>0.42351598888888892</c:v>
                </c:pt>
                <c:pt idx="31">
                  <c:v>1.2530704724589166</c:v>
                </c:pt>
                <c:pt idx="34">
                  <c:v>0.1949320394736842</c:v>
                </c:pt>
              </c:numCache>
            </c:numRef>
          </c:val>
          <c:extLst>
            <c:ext xmlns:c16="http://schemas.microsoft.com/office/drawing/2014/chart" uri="{C3380CC4-5D6E-409C-BE32-E72D297353CC}">
              <c16:uniqueId val="{00000003-F980-4B9D-9539-F9086AB2C47F}"/>
            </c:ext>
          </c:extLst>
        </c:ser>
        <c:ser>
          <c:idx val="4"/>
          <c:order val="4"/>
          <c:tx>
            <c:strRef>
              <c:f>'[POPF Charts.xlsx]Figure 2'!$AN$1</c:f>
              <c:strCache>
                <c:ptCount val="1"/>
                <c:pt idx="0">
                  <c:v>ECRS/Other</c:v>
                </c:pt>
              </c:strCache>
            </c:strRef>
          </c:tx>
          <c:spPr>
            <a:solidFill>
              <a:schemeClr val="accent5"/>
            </a:solidFill>
            <a:ln>
              <a:noFill/>
            </a:ln>
            <a:effectLst/>
          </c:spPr>
          <c:invertIfNegative val="0"/>
          <c:cat>
            <c:numRef>
              <c:f>'[POPF Charts.xlsx]Figure 2'!$AI$2:$AI$38</c:f>
              <c:numCache>
                <c:formatCode>General</c:formatCode>
                <c:ptCount val="37"/>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numCache>
            </c:numRef>
          </c:cat>
          <c:val>
            <c:numRef>
              <c:f>'[POPF Charts.xlsx]Figure 2'!$AN$2:$AN$38</c:f>
              <c:numCache>
                <c:formatCode>"$"#,##0.00_);[Red]\("$"#,##0.00\)</c:formatCode>
                <c:ptCount val="37"/>
                <c:pt idx="1">
                  <c:v>5.9482401591591572</c:v>
                </c:pt>
                <c:pt idx="4">
                  <c:v>1.03041306312769</c:v>
                </c:pt>
                <c:pt idx="7">
                  <c:v>2.1218389705183069</c:v>
                </c:pt>
                <c:pt idx="10">
                  <c:v>5.5836044848920769</c:v>
                </c:pt>
                <c:pt idx="13">
                  <c:v>7.7269118208544052</c:v>
                </c:pt>
                <c:pt idx="16">
                  <c:v>5.0776259395845962</c:v>
                </c:pt>
                <c:pt idx="19">
                  <c:v>2.573511622916667</c:v>
                </c:pt>
                <c:pt idx="22">
                  <c:v>0.18667212280701748</c:v>
                </c:pt>
                <c:pt idx="25">
                  <c:v>2.5931851851851853E-3</c:v>
                </c:pt>
                <c:pt idx="28">
                  <c:v>0.25113995555555557</c:v>
                </c:pt>
                <c:pt idx="31">
                  <c:v>1.9205215307364579E-2</c:v>
                </c:pt>
                <c:pt idx="34">
                  <c:v>5.1245921052631579E-2</c:v>
                </c:pt>
              </c:numCache>
            </c:numRef>
          </c:val>
          <c:extLst>
            <c:ext xmlns:c16="http://schemas.microsoft.com/office/drawing/2014/chart" uri="{C3380CC4-5D6E-409C-BE32-E72D297353CC}">
              <c16:uniqueId val="{00000004-F980-4B9D-9539-F9086AB2C47F}"/>
            </c:ext>
          </c:extLst>
        </c:ser>
        <c:ser>
          <c:idx val="5"/>
          <c:order val="5"/>
          <c:tx>
            <c:strRef>
              <c:f>'[POPF Charts.xlsx]Figure 2'!$AO$1</c:f>
              <c:strCache>
                <c:ptCount val="1"/>
                <c:pt idx="0">
                  <c:v>Capacity</c:v>
                </c:pt>
              </c:strCache>
            </c:strRef>
          </c:tx>
          <c:spPr>
            <a:solidFill>
              <a:schemeClr val="accent1"/>
            </a:solidFill>
            <a:ln>
              <a:noFill/>
            </a:ln>
            <a:effectLst/>
          </c:spPr>
          <c:invertIfNegative val="0"/>
          <c:cat>
            <c:numRef>
              <c:f>'[POPF Charts.xlsx]Figure 2'!$AI$2:$AI$38</c:f>
              <c:numCache>
                <c:formatCode>General</c:formatCode>
                <c:ptCount val="37"/>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numCache>
            </c:numRef>
          </c:cat>
          <c:val>
            <c:numRef>
              <c:f>'[POPF Charts.xlsx]Figure 2'!$AO$2:$AO$38</c:f>
              <c:numCache>
                <c:formatCode>General</c:formatCode>
                <c:ptCount val="37"/>
                <c:pt idx="2" formatCode="&quot;$&quot;#,##0.00_);[Red]\(&quot;$&quot;#,##0.00\)">
                  <c:v>0</c:v>
                </c:pt>
                <c:pt idx="5" formatCode="&quot;$&quot;#,##0.00_);[Red]\(&quot;$&quot;#,##0.00\)">
                  <c:v>0</c:v>
                </c:pt>
                <c:pt idx="8" formatCode="&quot;$&quot;#,##0.00_);[Red]\(&quot;$&quot;#,##0.00\)">
                  <c:v>0</c:v>
                </c:pt>
                <c:pt idx="11" formatCode="&quot;$&quot;#,##0.00_);[Red]\(&quot;$&quot;#,##0.00\)">
                  <c:v>0</c:v>
                </c:pt>
                <c:pt idx="14" formatCode="&quot;$&quot;#,##0.00_);[Red]\(&quot;$&quot;#,##0.00\)">
                  <c:v>0</c:v>
                </c:pt>
                <c:pt idx="17" formatCode="&quot;$&quot;#,##0.00_);[Red]\(&quot;$&quot;#,##0.00\)">
                  <c:v>0</c:v>
                </c:pt>
                <c:pt idx="20" formatCode="&quot;$&quot;#,##0.00_);[Red]\(&quot;$&quot;#,##0.00\)">
                  <c:v>0</c:v>
                </c:pt>
                <c:pt idx="23" formatCode="&quot;$&quot;#,##0.00_);[Red]\(&quot;$&quot;#,##0.00\)">
                  <c:v>0</c:v>
                </c:pt>
                <c:pt idx="26" formatCode="&quot;$&quot;#,##0.00_);[Red]\(&quot;$&quot;#,##0.00\)">
                  <c:v>0</c:v>
                </c:pt>
                <c:pt idx="29" formatCode="&quot;$&quot;#,##0.00_);[Red]\(&quot;$&quot;#,##0.00\)">
                  <c:v>0</c:v>
                </c:pt>
                <c:pt idx="32" formatCode="&quot;$&quot;#,##0.00_);[Red]\(&quot;$&quot;#,##0.00\)">
                  <c:v>0</c:v>
                </c:pt>
                <c:pt idx="35" formatCode="&quot;$&quot;#,##0.00_);[Red]\(&quot;$&quot;#,##0.00\)">
                  <c:v>0</c:v>
                </c:pt>
              </c:numCache>
            </c:numRef>
          </c:val>
          <c:extLst>
            <c:ext xmlns:c16="http://schemas.microsoft.com/office/drawing/2014/chart" uri="{C3380CC4-5D6E-409C-BE32-E72D297353CC}">
              <c16:uniqueId val="{00000005-F980-4B9D-9539-F9086AB2C47F}"/>
            </c:ext>
          </c:extLst>
        </c:ser>
        <c:ser>
          <c:idx val="6"/>
          <c:order val="6"/>
          <c:tx>
            <c:strRef>
              <c:f>'[POPF Charts.xlsx]Figure 2'!$AP$1</c:f>
              <c:strCache>
                <c:ptCount val="1"/>
                <c:pt idx="0">
                  <c:v>Energy</c:v>
                </c:pt>
              </c:strCache>
            </c:strRef>
          </c:tx>
          <c:spPr>
            <a:solidFill>
              <a:schemeClr val="accent2">
                <a:lumMod val="40000"/>
                <a:lumOff val="60000"/>
              </a:schemeClr>
            </a:solidFill>
            <a:ln>
              <a:noFill/>
            </a:ln>
            <a:effectLst/>
          </c:spPr>
          <c:invertIfNegative val="0"/>
          <c:cat>
            <c:numRef>
              <c:f>'[POPF Charts.xlsx]Figure 2'!$AI$2:$AI$38</c:f>
              <c:numCache>
                <c:formatCode>General</c:formatCode>
                <c:ptCount val="37"/>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numCache>
            </c:numRef>
          </c:cat>
          <c:val>
            <c:numRef>
              <c:f>'[POPF Charts.xlsx]Figure 2'!$AP$2:$AP$38</c:f>
              <c:numCache>
                <c:formatCode>General</c:formatCode>
                <c:ptCount val="37"/>
                <c:pt idx="2" formatCode="&quot;$&quot;#,##0.00_);[Red]\(&quot;$&quot;#,##0.00\)">
                  <c:v>1.7614069666880803</c:v>
                </c:pt>
                <c:pt idx="5" formatCode="&quot;$&quot;#,##0.00_);[Red]\(&quot;$&quot;#,##0.00\)">
                  <c:v>5.2876037146931534</c:v>
                </c:pt>
                <c:pt idx="8" formatCode="&quot;$&quot;#,##0.00_);[Red]\(&quot;$&quot;#,##0.00\)">
                  <c:v>3.0238081335388389</c:v>
                </c:pt>
                <c:pt idx="11" formatCode="&quot;$&quot;#,##0.00_);[Red]\(&quot;$&quot;#,##0.00\)">
                  <c:v>6.5562609199841022</c:v>
                </c:pt>
                <c:pt idx="14" formatCode="&quot;$&quot;#,##0.00_);[Red]\(&quot;$&quot;#,##0.00\)">
                  <c:v>4.1953683980394167</c:v>
                </c:pt>
                <c:pt idx="17" formatCode="&quot;$&quot;#,##0.00_);[Red]\(&quot;$&quot;#,##0.00\)">
                  <c:v>5.4257935705027389</c:v>
                </c:pt>
                <c:pt idx="20" formatCode="&quot;$&quot;#,##0.00_);[Red]\(&quot;$&quot;#,##0.00\)">
                  <c:v>3.9018317005793151</c:v>
                </c:pt>
                <c:pt idx="23" formatCode="&quot;$&quot;#,##0.00_);[Red]\(&quot;$&quot;#,##0.00\)">
                  <c:v>7.3694164639679061</c:v>
                </c:pt>
                <c:pt idx="26" formatCode="&quot;$&quot;#,##0.00_);[Red]\(&quot;$&quot;#,##0.00\)">
                  <c:v>3.4533360806348314</c:v>
                </c:pt>
                <c:pt idx="29" formatCode="&quot;$&quot;#,##0.00_);[Red]\(&quot;$&quot;#,##0.00\)">
                  <c:v>3.9649675892063687</c:v>
                </c:pt>
                <c:pt idx="32" formatCode="&quot;$&quot;#,##0.00_);[Red]\(&quot;$&quot;#,##0.00\)">
                  <c:v>2.4965437044408274</c:v>
                </c:pt>
                <c:pt idx="35" formatCode="&quot;$&quot;#,##0.00_);[Red]\(&quot;$&quot;#,##0.00\)">
                  <c:v>3.534769221410861</c:v>
                </c:pt>
              </c:numCache>
            </c:numRef>
          </c:val>
          <c:extLst>
            <c:ext xmlns:c16="http://schemas.microsoft.com/office/drawing/2014/chart" uri="{C3380CC4-5D6E-409C-BE32-E72D297353CC}">
              <c16:uniqueId val="{00000006-F980-4B9D-9539-F9086AB2C47F}"/>
            </c:ext>
          </c:extLst>
        </c:ser>
        <c:ser>
          <c:idx val="7"/>
          <c:order val="7"/>
          <c:tx>
            <c:strRef>
              <c:f>'[POPF Charts.xlsx]Figure 2'!$AQ$1</c:f>
              <c:strCache>
                <c:ptCount val="1"/>
                <c:pt idx="0">
                  <c:v>Frequency Regulation</c:v>
                </c:pt>
              </c:strCache>
            </c:strRef>
          </c:tx>
          <c:spPr>
            <a:solidFill>
              <a:schemeClr val="accent3">
                <a:lumMod val="40000"/>
                <a:lumOff val="60000"/>
              </a:schemeClr>
            </a:solidFill>
            <a:ln>
              <a:noFill/>
            </a:ln>
            <a:effectLst/>
          </c:spPr>
          <c:invertIfNegative val="0"/>
          <c:cat>
            <c:numRef>
              <c:f>'[POPF Charts.xlsx]Figure 2'!$AI$2:$AI$38</c:f>
              <c:numCache>
                <c:formatCode>General</c:formatCode>
                <c:ptCount val="37"/>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numCache>
            </c:numRef>
          </c:cat>
          <c:val>
            <c:numRef>
              <c:f>'[POPF Charts.xlsx]Figure 2'!$AQ$2:$AQ$38</c:f>
              <c:numCache>
                <c:formatCode>General</c:formatCode>
                <c:ptCount val="37"/>
                <c:pt idx="2" formatCode="&quot;$&quot;#,##0.00_);[Red]\(&quot;$&quot;#,##0.00\)">
                  <c:v>11.974115971682993</c:v>
                </c:pt>
                <c:pt idx="5" formatCode="&quot;$&quot;#,##0.00_);[Red]\(&quot;$&quot;#,##0.00\)">
                  <c:v>13.214197683601197</c:v>
                </c:pt>
                <c:pt idx="8" formatCode="&quot;$&quot;#,##0.00_);[Red]\(&quot;$&quot;#,##0.00\)">
                  <c:v>6.9390126355961881</c:v>
                </c:pt>
                <c:pt idx="11" formatCode="&quot;$&quot;#,##0.00_);[Red]\(&quot;$&quot;#,##0.00\)">
                  <c:v>12.655002200032669</c:v>
                </c:pt>
                <c:pt idx="14" formatCode="&quot;$&quot;#,##0.00_);[Red]\(&quot;$&quot;#,##0.00\)">
                  <c:v>14.053441480409532</c:v>
                </c:pt>
                <c:pt idx="17" formatCode="&quot;$&quot;#,##0.00_);[Red]\(&quot;$&quot;#,##0.00\)">
                  <c:v>11.276693826300223</c:v>
                </c:pt>
                <c:pt idx="20" formatCode="&quot;$&quot;#,##0.00_);[Red]\(&quot;$&quot;#,##0.00\)">
                  <c:v>13.329045132229291</c:v>
                </c:pt>
                <c:pt idx="23" formatCode="&quot;$&quot;#,##0.00_);[Red]\(&quot;$&quot;#,##0.00\)">
                  <c:v>13.440400770292193</c:v>
                </c:pt>
                <c:pt idx="26" formatCode="&quot;$&quot;#,##0.00_);[Red]\(&quot;$&quot;#,##0.00\)">
                  <c:v>15.239648981818929</c:v>
                </c:pt>
                <c:pt idx="29" formatCode="&quot;$&quot;#,##0.00_);[Red]\(&quot;$&quot;#,##0.00\)">
                  <c:v>2.1911480234967735</c:v>
                </c:pt>
                <c:pt idx="32" formatCode="&quot;$&quot;#,##0.00_);[Red]\(&quot;$&quot;#,##0.00\)">
                  <c:v>2.7600342190619398</c:v>
                </c:pt>
                <c:pt idx="35" formatCode="&quot;$&quot;#,##0.00_);[Red]\(&quot;$&quot;#,##0.00\)">
                  <c:v>12.068102260709814</c:v>
                </c:pt>
              </c:numCache>
            </c:numRef>
          </c:val>
          <c:extLst>
            <c:ext xmlns:c16="http://schemas.microsoft.com/office/drawing/2014/chart" uri="{C3380CC4-5D6E-409C-BE32-E72D297353CC}">
              <c16:uniqueId val="{00000007-F980-4B9D-9539-F9086AB2C47F}"/>
            </c:ext>
          </c:extLst>
        </c:ser>
        <c:ser>
          <c:idx val="8"/>
          <c:order val="8"/>
          <c:tx>
            <c:strRef>
              <c:f>'[POPF Charts.xlsx]Figure 2'!$AR$1</c:f>
              <c:strCache>
                <c:ptCount val="1"/>
                <c:pt idx="0">
                  <c:v>Spinning Reserve</c:v>
                </c:pt>
              </c:strCache>
            </c:strRef>
          </c:tx>
          <c:spPr>
            <a:solidFill>
              <a:schemeClr val="accent4">
                <a:lumMod val="40000"/>
                <a:lumOff val="60000"/>
              </a:schemeClr>
            </a:solidFill>
            <a:ln>
              <a:noFill/>
            </a:ln>
            <a:effectLst/>
          </c:spPr>
          <c:invertIfNegative val="0"/>
          <c:cat>
            <c:numRef>
              <c:f>'[POPF Charts.xlsx]Figure 2'!$AI$2:$AI$38</c:f>
              <c:numCache>
                <c:formatCode>General</c:formatCode>
                <c:ptCount val="37"/>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numCache>
            </c:numRef>
          </c:cat>
          <c:val>
            <c:numRef>
              <c:f>'[POPF Charts.xlsx]Figure 2'!$AR$2:$AR$38</c:f>
              <c:numCache>
                <c:formatCode>General</c:formatCode>
                <c:ptCount val="37"/>
                <c:pt idx="2" formatCode="&quot;$&quot;#,##0.00_);[Red]\(&quot;$&quot;#,##0.00\)">
                  <c:v>0.57938148807464618</c:v>
                </c:pt>
                <c:pt idx="5" formatCode="&quot;$&quot;#,##0.00_);[Red]\(&quot;$&quot;#,##0.00\)">
                  <c:v>4.2818687041628998</c:v>
                </c:pt>
                <c:pt idx="8" formatCode="&quot;$&quot;#,##0.00_);[Red]\(&quot;$&quot;#,##0.00\)">
                  <c:v>0.57870208383825994</c:v>
                </c:pt>
                <c:pt idx="11" formatCode="&quot;$&quot;#,##0.00_);[Red]\(&quot;$&quot;#,##0.00\)">
                  <c:v>4.420919153994201</c:v>
                </c:pt>
                <c:pt idx="14" formatCode="&quot;$&quot;#,##0.00_);[Red]\(&quot;$&quot;#,##0.00\)">
                  <c:v>2.2605938946701474</c:v>
                </c:pt>
                <c:pt idx="17" formatCode="&quot;$&quot;#,##0.00_);[Red]\(&quot;$&quot;#,##0.00\)">
                  <c:v>1.5890817677676674</c:v>
                </c:pt>
                <c:pt idx="20" formatCode="&quot;$&quot;#,##0.00_);[Red]\(&quot;$&quot;#,##0.00\)">
                  <c:v>4.3918608357720785</c:v>
                </c:pt>
                <c:pt idx="23" formatCode="&quot;$&quot;#,##0.00_);[Red]\(&quot;$&quot;#,##0.00\)">
                  <c:v>5.0327338123525607</c:v>
                </c:pt>
                <c:pt idx="26" formatCode="&quot;$&quot;#,##0.00_);[Red]\(&quot;$&quot;#,##0.00\)">
                  <c:v>4.69587155172304</c:v>
                </c:pt>
                <c:pt idx="29" formatCode="&quot;$&quot;#,##0.00_);[Red]\(&quot;$&quot;#,##0.00\)">
                  <c:v>0.63240280875504096</c:v>
                </c:pt>
                <c:pt idx="32" formatCode="&quot;$&quot;#,##0.00_);[Red]\(&quot;$&quot;#,##0.00\)">
                  <c:v>1.7881155593436924</c:v>
                </c:pt>
                <c:pt idx="35" formatCode="&quot;$&quot;#,##0.00_);[Red]\(&quot;$&quot;#,##0.00\)">
                  <c:v>1.2961039217236983</c:v>
                </c:pt>
              </c:numCache>
            </c:numRef>
          </c:val>
          <c:extLst>
            <c:ext xmlns:c16="http://schemas.microsoft.com/office/drawing/2014/chart" uri="{C3380CC4-5D6E-409C-BE32-E72D297353CC}">
              <c16:uniqueId val="{00000008-F980-4B9D-9539-F9086AB2C47F}"/>
            </c:ext>
          </c:extLst>
        </c:ser>
        <c:ser>
          <c:idx val="9"/>
          <c:order val="9"/>
          <c:tx>
            <c:strRef>
              <c:f>'[POPF Charts.xlsx]Figure 2'!$AS$1</c:f>
              <c:strCache>
                <c:ptCount val="1"/>
                <c:pt idx="0">
                  <c:v>ECRS/Other</c:v>
                </c:pt>
              </c:strCache>
            </c:strRef>
          </c:tx>
          <c:spPr>
            <a:solidFill>
              <a:schemeClr val="accent5">
                <a:lumMod val="40000"/>
                <a:lumOff val="60000"/>
              </a:schemeClr>
            </a:solidFill>
            <a:ln>
              <a:noFill/>
            </a:ln>
            <a:effectLst/>
          </c:spPr>
          <c:invertIfNegative val="0"/>
          <c:cat>
            <c:numRef>
              <c:f>'[POPF Charts.xlsx]Figure 2'!$AI$2:$AI$38</c:f>
              <c:numCache>
                <c:formatCode>General</c:formatCode>
                <c:ptCount val="37"/>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numCache>
            </c:numRef>
          </c:cat>
          <c:val>
            <c:numRef>
              <c:f>'[POPF Charts.xlsx]Figure 2'!$AS$2:$AS$38</c:f>
              <c:numCache>
                <c:formatCode>General</c:formatCode>
                <c:ptCount val="37"/>
                <c:pt idx="2" formatCode="&quot;$&quot;#,##0.00_);[Red]\(&quot;$&quot;#,##0.00\)">
                  <c:v>4.5727136926900549</c:v>
                </c:pt>
                <c:pt idx="5" formatCode="&quot;$&quot;#,##0.00_);[Red]\(&quot;$&quot;#,##0.00\)">
                  <c:v>4.0449383246979149</c:v>
                </c:pt>
                <c:pt idx="8" formatCode="&quot;$&quot;#,##0.00_);[Red]\(&quot;$&quot;#,##0.00\)">
                  <c:v>3.0719869513733871</c:v>
                </c:pt>
                <c:pt idx="11" formatCode="&quot;$&quot;#,##0.00_);[Red]\(&quot;$&quot;#,##0.00\)">
                  <c:v>4.0243743765250137</c:v>
                </c:pt>
                <c:pt idx="14" formatCode="&quot;$&quot;#,##0.00_);[Red]\(&quot;$&quot;#,##0.00\)">
                  <c:v>4.478353240385827</c:v>
                </c:pt>
                <c:pt idx="17" formatCode="&quot;$&quot;#,##0.00_);[Red]\(&quot;$&quot;#,##0.00\)">
                  <c:v>4.4147344041425125</c:v>
                </c:pt>
                <c:pt idx="20" formatCode="&quot;$&quot;#,##0.00_);[Red]\(&quot;$&quot;#,##0.00\)">
                  <c:v>4.0110620417462446</c:v>
                </c:pt>
                <c:pt idx="23" formatCode="&quot;$&quot;#,##0.00_);[Red]\(&quot;$&quot;#,##0.00\)">
                  <c:v>3.9594615707319667</c:v>
                </c:pt>
                <c:pt idx="26" formatCode="&quot;$&quot;#,##0.00_);[Red]\(&quot;$&quot;#,##0.00\)">
                  <c:v>4.7513950304977941</c:v>
                </c:pt>
                <c:pt idx="29" formatCode="&quot;$&quot;#,##0.00_);[Red]\(&quot;$&quot;#,##0.00\)">
                  <c:v>0.80735191030691666</c:v>
                </c:pt>
                <c:pt idx="32" formatCode="&quot;$&quot;#,##0.00_);[Red]\(&quot;$&quot;#,##0.00\)">
                  <c:v>0.96179174142667978</c:v>
                </c:pt>
                <c:pt idx="35" formatCode="&quot;$&quot;#,##0.00_);[Red]\(&quot;$&quot;#,##0.00\)">
                  <c:v>4.1121042363210814</c:v>
                </c:pt>
              </c:numCache>
            </c:numRef>
          </c:val>
          <c:extLst>
            <c:ext xmlns:c16="http://schemas.microsoft.com/office/drawing/2014/chart" uri="{C3380CC4-5D6E-409C-BE32-E72D297353CC}">
              <c16:uniqueId val="{00000009-F980-4B9D-9539-F9086AB2C47F}"/>
            </c:ext>
          </c:extLst>
        </c:ser>
        <c:dLbls>
          <c:showLegendKey val="0"/>
          <c:showVal val="0"/>
          <c:showCatName val="0"/>
          <c:showSerName val="0"/>
          <c:showPercent val="0"/>
          <c:showBubbleSize val="0"/>
        </c:dLbls>
        <c:gapWidth val="10"/>
        <c:overlap val="100"/>
        <c:axId val="1369291343"/>
        <c:axId val="1369291823"/>
      </c:barChart>
      <c:scatterChart>
        <c:scatterStyle val="lineMarker"/>
        <c:varyColors val="0"/>
        <c:ser>
          <c:idx val="10"/>
          <c:order val="10"/>
          <c:tx>
            <c:strRef>
              <c:f>'[POPF Charts.xlsx]Figure 2'!$T$1</c:f>
              <c:strCache>
                <c:ptCount val="1"/>
                <c:pt idx="0">
                  <c:v>POPF</c:v>
                </c:pt>
              </c:strCache>
            </c:strRef>
          </c:tx>
          <c:spPr>
            <a:ln w="25400" cap="rnd">
              <a:noFill/>
              <a:round/>
            </a:ln>
            <a:effectLst/>
          </c:spPr>
          <c:marker>
            <c:symbol val="dash"/>
            <c:size val="10"/>
            <c:spPr>
              <a:solidFill>
                <a:schemeClr val="tx1"/>
              </a:solidFill>
              <a:ln w="9525">
                <a:solidFill>
                  <a:schemeClr val="tx1"/>
                </a:solidFill>
              </a:ln>
              <a:effectLst/>
            </c:spPr>
          </c:marker>
          <c:xVal>
            <c:numRef>
              <c:f>'[POPF Charts.xlsx]Figure 2'!$X$10:$X$21</c:f>
              <c:numCache>
                <c:formatCode>General</c:formatCode>
                <c:ptCount val="12"/>
                <c:pt idx="0">
                  <c:v>20.5</c:v>
                </c:pt>
                <c:pt idx="1">
                  <c:v>14.5</c:v>
                </c:pt>
                <c:pt idx="2">
                  <c:v>23.5</c:v>
                </c:pt>
                <c:pt idx="3">
                  <c:v>5.5</c:v>
                </c:pt>
                <c:pt idx="4">
                  <c:v>17.5</c:v>
                </c:pt>
                <c:pt idx="5">
                  <c:v>11.5</c:v>
                </c:pt>
                <c:pt idx="6">
                  <c:v>8.5</c:v>
                </c:pt>
                <c:pt idx="7">
                  <c:v>2.5</c:v>
                </c:pt>
                <c:pt idx="8">
                  <c:v>26.5</c:v>
                </c:pt>
                <c:pt idx="9">
                  <c:v>35.5</c:v>
                </c:pt>
                <c:pt idx="10">
                  <c:v>32.5</c:v>
                </c:pt>
                <c:pt idx="11">
                  <c:v>29.5</c:v>
                </c:pt>
              </c:numCache>
            </c:numRef>
          </c:xVal>
          <c:yVal>
            <c:numRef>
              <c:f>'[POPF Charts.xlsx]Figure 2'!$T$10:$T$21</c:f>
              <c:numCache>
                <c:formatCode>0%</c:formatCode>
                <c:ptCount val="12"/>
                <c:pt idx="0">
                  <c:v>0.47589980527087594</c:v>
                </c:pt>
                <c:pt idx="1">
                  <c:v>0.52874387411443924</c:v>
                </c:pt>
                <c:pt idx="2">
                  <c:v>0.45250071334352088</c:v>
                </c:pt>
                <c:pt idx="3">
                  <c:v>0.69517261269690211</c:v>
                </c:pt>
                <c:pt idx="4">
                  <c:v>0.52142093384109545</c:v>
                </c:pt>
                <c:pt idx="5">
                  <c:v>0.61770047974179154</c:v>
                </c:pt>
                <c:pt idx="6">
                  <c:v>0.62167335922412204</c:v>
                </c:pt>
                <c:pt idx="7">
                  <c:v>0.71435919456312935</c:v>
                </c:pt>
                <c:pt idx="8">
                  <c:v>0.42566792826763422</c:v>
                </c:pt>
                <c:pt idx="9">
                  <c:v>0.11938061487254423</c:v>
                </c:pt>
                <c:pt idx="10">
                  <c:v>0.2378462664430146</c:v>
                </c:pt>
                <c:pt idx="11">
                  <c:v>0.29818703979410338</c:v>
                </c:pt>
              </c:numCache>
            </c:numRef>
          </c:yVal>
          <c:smooth val="0"/>
          <c:extLst>
            <c:ext xmlns:c16="http://schemas.microsoft.com/office/drawing/2014/chart" uri="{C3380CC4-5D6E-409C-BE32-E72D297353CC}">
              <c16:uniqueId val="{0000000A-F980-4B9D-9539-F9086AB2C47F}"/>
            </c:ext>
          </c:extLst>
        </c:ser>
        <c:ser>
          <c:idx val="13"/>
          <c:order val="11"/>
          <c:tx>
            <c:strRef>
              <c:f>'[POPF Charts.xlsx]Figure 2'!$AD$1</c:f>
              <c:strCache>
                <c:ptCount val="1"/>
                <c:pt idx="0">
                  <c:v>Owner Label</c:v>
                </c:pt>
              </c:strCache>
            </c:strRef>
          </c:tx>
          <c:spPr>
            <a:ln w="25400" cap="rnd">
              <a:noFill/>
              <a:round/>
            </a:ln>
            <a:effectLst/>
          </c:spPr>
          <c:marker>
            <c:symbol val="none"/>
          </c:marker>
          <c:dLbls>
            <c:dLbl>
              <c:idx val="0"/>
              <c:tx>
                <c:rich>
                  <a:bodyPr/>
                  <a:lstStyle/>
                  <a:p>
                    <a:fld id="{0D3414ED-DBD1-4A4E-980B-7963ECAA14F5}" type="CELLRANGE">
                      <a:rPr lang="en-GB"/>
                      <a:pPr/>
                      <a:t>[CELLRANGE]</a:t>
                    </a:fld>
                    <a:endParaRPr lang="en-GB"/>
                  </a:p>
                </c:rich>
              </c:tx>
              <c:dLblPos val="b"/>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F980-4B9D-9539-F9086AB2C47F}"/>
                </c:ext>
              </c:extLst>
            </c:dLbl>
            <c:dLbl>
              <c:idx val="1"/>
              <c:tx>
                <c:rich>
                  <a:bodyPr/>
                  <a:lstStyle/>
                  <a:p>
                    <a:fld id="{04ACCA65-DF5C-457B-83EB-B770C6C96900}" type="CELLRANGE">
                      <a:rPr lang="en-GB"/>
                      <a:pPr/>
                      <a:t>[CELLRANGE]</a:t>
                    </a:fld>
                    <a:endParaRPr lang="en-GB"/>
                  </a:p>
                </c:rich>
              </c:tx>
              <c:dLblPos val="b"/>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F980-4B9D-9539-F9086AB2C47F}"/>
                </c:ext>
              </c:extLst>
            </c:dLbl>
            <c:dLbl>
              <c:idx val="2"/>
              <c:tx>
                <c:rich>
                  <a:bodyPr/>
                  <a:lstStyle/>
                  <a:p>
                    <a:fld id="{AFE2F9B2-EB2A-4424-BF21-67913D5558E0}" type="CELLRANGE">
                      <a:rPr lang="en-GB"/>
                      <a:pPr/>
                      <a:t>[CELLRANGE]</a:t>
                    </a:fld>
                    <a:endParaRPr lang="en-GB"/>
                  </a:p>
                </c:rich>
              </c:tx>
              <c:dLblPos val="b"/>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F980-4B9D-9539-F9086AB2C47F}"/>
                </c:ext>
              </c:extLst>
            </c:dLbl>
            <c:dLbl>
              <c:idx val="3"/>
              <c:tx>
                <c:rich>
                  <a:bodyPr/>
                  <a:lstStyle/>
                  <a:p>
                    <a:fld id="{818F44C7-62A4-4B1B-9782-CF59678835DE}" type="CELLRANGE">
                      <a:rPr lang="en-GB"/>
                      <a:pPr/>
                      <a:t>[CELLRANGE]</a:t>
                    </a:fld>
                    <a:endParaRPr lang="en-GB"/>
                  </a:p>
                </c:rich>
              </c:tx>
              <c:dLblPos val="b"/>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F980-4B9D-9539-F9086AB2C47F}"/>
                </c:ext>
              </c:extLst>
            </c:dLbl>
            <c:dLbl>
              <c:idx val="4"/>
              <c:tx>
                <c:rich>
                  <a:bodyPr/>
                  <a:lstStyle/>
                  <a:p>
                    <a:fld id="{1673347E-C4F2-4DFE-B098-1A27F4860468}" type="CELLRANGE">
                      <a:rPr lang="en-GB"/>
                      <a:pPr/>
                      <a:t>[CELLRANGE]</a:t>
                    </a:fld>
                    <a:endParaRPr lang="en-GB"/>
                  </a:p>
                </c:rich>
              </c:tx>
              <c:dLblPos val="b"/>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F980-4B9D-9539-F9086AB2C47F}"/>
                </c:ext>
              </c:extLst>
            </c:dLbl>
            <c:dLbl>
              <c:idx val="5"/>
              <c:tx>
                <c:rich>
                  <a:bodyPr/>
                  <a:lstStyle/>
                  <a:p>
                    <a:fld id="{836E836A-0B78-4ECF-8AC5-A731649B51DF}" type="CELLRANGE">
                      <a:rPr lang="en-GB"/>
                      <a:pPr/>
                      <a:t>[CELLRANGE]</a:t>
                    </a:fld>
                    <a:endParaRPr lang="en-GB"/>
                  </a:p>
                </c:rich>
              </c:tx>
              <c:dLblPos val="b"/>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F980-4B9D-9539-F9086AB2C47F}"/>
                </c:ext>
              </c:extLst>
            </c:dLbl>
            <c:dLbl>
              <c:idx val="6"/>
              <c:tx>
                <c:rich>
                  <a:bodyPr/>
                  <a:lstStyle/>
                  <a:p>
                    <a:fld id="{4A96460A-3AB3-4186-A436-42D84DDF7077}" type="CELLRANGE">
                      <a:rPr lang="en-GB"/>
                      <a:pPr/>
                      <a:t>[CELLRANGE]</a:t>
                    </a:fld>
                    <a:endParaRPr lang="en-GB"/>
                  </a:p>
                </c:rich>
              </c:tx>
              <c:dLblPos val="b"/>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F980-4B9D-9539-F9086AB2C47F}"/>
                </c:ext>
              </c:extLst>
            </c:dLbl>
            <c:dLbl>
              <c:idx val="7"/>
              <c:tx>
                <c:rich>
                  <a:bodyPr/>
                  <a:lstStyle/>
                  <a:p>
                    <a:fld id="{A01B7F4F-C3FA-4EEA-8877-562A297F8A0C}" type="CELLRANGE">
                      <a:rPr lang="en-GB"/>
                      <a:pPr/>
                      <a:t>[CELLRANGE]</a:t>
                    </a:fld>
                    <a:endParaRPr lang="en-GB"/>
                  </a:p>
                </c:rich>
              </c:tx>
              <c:dLblPos val="b"/>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F980-4B9D-9539-F9086AB2C47F}"/>
                </c:ext>
              </c:extLst>
            </c:dLbl>
            <c:dLbl>
              <c:idx val="8"/>
              <c:tx>
                <c:rich>
                  <a:bodyPr/>
                  <a:lstStyle/>
                  <a:p>
                    <a:fld id="{7E3E7AC2-57F0-48D1-A62F-67174DB45B4A}" type="CELLRANGE">
                      <a:rPr lang="en-GB"/>
                      <a:pPr/>
                      <a:t>[CELLRANGE]</a:t>
                    </a:fld>
                    <a:endParaRPr lang="en-GB"/>
                  </a:p>
                </c:rich>
              </c:tx>
              <c:dLblPos val="b"/>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F980-4B9D-9539-F9086AB2C47F}"/>
                </c:ext>
              </c:extLst>
            </c:dLbl>
            <c:dLbl>
              <c:idx val="9"/>
              <c:tx>
                <c:rich>
                  <a:bodyPr/>
                  <a:lstStyle/>
                  <a:p>
                    <a:fld id="{2F7D1432-7918-4EBC-88D2-73F1ACDC53F8}" type="CELLRANGE">
                      <a:rPr lang="en-GB"/>
                      <a:pPr/>
                      <a:t>[CELLRANGE]</a:t>
                    </a:fld>
                    <a:endParaRPr lang="en-GB"/>
                  </a:p>
                </c:rich>
              </c:tx>
              <c:dLblPos val="b"/>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F980-4B9D-9539-F9086AB2C47F}"/>
                </c:ext>
              </c:extLst>
            </c:dLbl>
            <c:dLbl>
              <c:idx val="10"/>
              <c:tx>
                <c:rich>
                  <a:bodyPr/>
                  <a:lstStyle/>
                  <a:p>
                    <a:fld id="{55171C28-4726-4BA6-AB70-31260FCDDBE1}" type="CELLRANGE">
                      <a:rPr lang="en-GB"/>
                      <a:pPr/>
                      <a:t>[CELLRANGE]</a:t>
                    </a:fld>
                    <a:endParaRPr lang="en-GB"/>
                  </a:p>
                </c:rich>
              </c:tx>
              <c:dLblPos val="b"/>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F980-4B9D-9539-F9086AB2C47F}"/>
                </c:ext>
              </c:extLst>
            </c:dLbl>
            <c:dLbl>
              <c:idx val="11"/>
              <c:tx>
                <c:rich>
                  <a:bodyPr/>
                  <a:lstStyle/>
                  <a:p>
                    <a:fld id="{712B6EF2-B60E-4D7A-89A7-98228B118344}" type="CELLRANGE">
                      <a:rPr lang="en-GB"/>
                      <a:pPr/>
                      <a:t>[CELLRANGE]</a:t>
                    </a:fld>
                    <a:endParaRPr lang="en-GB"/>
                  </a:p>
                </c:rich>
              </c:tx>
              <c:dLblPos val="b"/>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F980-4B9D-9539-F9086AB2C47F}"/>
                </c:ext>
              </c:extLst>
            </c:dLbl>
            <c:spPr>
              <a:noFill/>
              <a:ln>
                <a:noFill/>
              </a:ln>
              <a:effectLst/>
            </c:spPr>
            <c:txPr>
              <a:bodyPr rot="-5400000" spcFirstLastPara="1" vertOverflow="ellipsis" wrap="square" anchor="ctr" anchorCtr="1"/>
              <a:lstStyle/>
              <a:p>
                <a:pPr>
                  <a:defRPr sz="900" b="1" i="0" u="none" strike="noStrike" kern="1200" baseline="0">
                    <a:solidFill>
                      <a:sysClr val="windowText" lastClr="000000"/>
                    </a:solidFill>
                    <a:latin typeface="Manrope" pitchFamily="2" charset="0"/>
                    <a:ea typeface="+mn-ea"/>
                    <a:cs typeface="+mn-cs"/>
                  </a:defRPr>
                </a:pPr>
                <a:endParaRPr lang="en-US"/>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POPF Charts.xlsx]Figure 2'!$X$10:$X$21</c:f>
              <c:numCache>
                <c:formatCode>General</c:formatCode>
                <c:ptCount val="12"/>
                <c:pt idx="0">
                  <c:v>20.5</c:v>
                </c:pt>
                <c:pt idx="1">
                  <c:v>14.5</c:v>
                </c:pt>
                <c:pt idx="2">
                  <c:v>23.5</c:v>
                </c:pt>
                <c:pt idx="3">
                  <c:v>5.5</c:v>
                </c:pt>
                <c:pt idx="4">
                  <c:v>17.5</c:v>
                </c:pt>
                <c:pt idx="5">
                  <c:v>11.5</c:v>
                </c:pt>
                <c:pt idx="6">
                  <c:v>8.5</c:v>
                </c:pt>
                <c:pt idx="7">
                  <c:v>2.5</c:v>
                </c:pt>
                <c:pt idx="8">
                  <c:v>26.5</c:v>
                </c:pt>
                <c:pt idx="9">
                  <c:v>35.5</c:v>
                </c:pt>
                <c:pt idx="10">
                  <c:v>32.5</c:v>
                </c:pt>
                <c:pt idx="11">
                  <c:v>29.5</c:v>
                </c:pt>
              </c:numCache>
            </c:numRef>
          </c:xVal>
          <c:yVal>
            <c:numRef>
              <c:f>'[POPF Charts.xlsx]Figure 2'!$AC$10:$AC$21</c:f>
              <c:numCache>
                <c:formatCode>General</c:formatCode>
                <c:ptCount val="12"/>
                <c:pt idx="0">
                  <c:v>0</c:v>
                </c:pt>
                <c:pt idx="1">
                  <c:v>0</c:v>
                </c:pt>
                <c:pt idx="2">
                  <c:v>0</c:v>
                </c:pt>
                <c:pt idx="3">
                  <c:v>0</c:v>
                </c:pt>
                <c:pt idx="4">
                  <c:v>0</c:v>
                </c:pt>
                <c:pt idx="5">
                  <c:v>0</c:v>
                </c:pt>
                <c:pt idx="6">
                  <c:v>0</c:v>
                </c:pt>
                <c:pt idx="7">
                  <c:v>0</c:v>
                </c:pt>
                <c:pt idx="8">
                  <c:v>0</c:v>
                </c:pt>
                <c:pt idx="9">
                  <c:v>0</c:v>
                </c:pt>
                <c:pt idx="10">
                  <c:v>0</c:v>
                </c:pt>
                <c:pt idx="11">
                  <c:v>0</c:v>
                </c:pt>
              </c:numCache>
            </c:numRef>
          </c:yVal>
          <c:smooth val="0"/>
          <c:extLst>
            <c:ext xmlns:c15="http://schemas.microsoft.com/office/drawing/2012/chart" uri="{02D57815-91ED-43cb-92C2-25804820EDAC}">
              <c15:datalabelsRange>
                <c15:f>'[POPF Charts.xlsx]Figure 2'!$AD$2:$AD$23</c15:f>
                <c15:dlblRangeCache>
                  <c:ptCount val="22"/>
                  <c:pt idx="0">
                    <c:v>Ormat</c:v>
                  </c:pt>
                  <c:pt idx="1">
                    <c:v>REV</c:v>
                  </c:pt>
                  <c:pt idx="2">
                    <c:v>Eolian</c:v>
                  </c:pt>
                  <c:pt idx="3">
                    <c:v>Arevon</c:v>
                  </c:pt>
                  <c:pt idx="4">
                    <c:v>Terra-Gen</c:v>
                  </c:pt>
                  <c:pt idx="5">
                    <c:v>Hecate Grid</c:v>
                  </c:pt>
                  <c:pt idx="6">
                    <c:v>Convergent</c:v>
                  </c:pt>
                  <c:pt idx="7">
                    <c:v>Wellhead</c:v>
                  </c:pt>
                  <c:pt idx="8">
                    <c:v>GlidePath</c:v>
                  </c:pt>
                  <c:pt idx="9">
                    <c:v>Key Capture</c:v>
                  </c:pt>
                  <c:pt idx="10">
                    <c:v>Ormat</c:v>
                  </c:pt>
                  <c:pt idx="11">
                    <c:v>ENGIE</c:v>
                  </c:pt>
                  <c:pt idx="12">
                    <c:v>Jupiter</c:v>
                  </c:pt>
                  <c:pt idx="13">
                    <c:v>Hunt</c:v>
                  </c:pt>
                  <c:pt idx="14">
                    <c:v>Plus Power</c:v>
                  </c:pt>
                  <c:pt idx="15">
                    <c:v>Eolian</c:v>
                  </c:pt>
                  <c:pt idx="16">
                    <c:v>Aypa Power</c:v>
                  </c:pt>
                  <c:pt idx="17">
                    <c:v>Acciona</c:v>
                  </c:pt>
                  <c:pt idx="18">
                    <c:v>SMT Energy</c:v>
                  </c:pt>
                  <c:pt idx="19">
                    <c:v>Spearmint</c:v>
                  </c:pt>
                </c15:dlblRangeCache>
              </c15:datalabelsRange>
            </c:ext>
            <c:ext xmlns:c16="http://schemas.microsoft.com/office/drawing/2014/chart" uri="{C3380CC4-5D6E-409C-BE32-E72D297353CC}">
              <c16:uniqueId val="{00000017-F980-4B9D-9539-F9086AB2C47F}"/>
            </c:ext>
          </c:extLst>
        </c:ser>
        <c:ser>
          <c:idx val="14"/>
          <c:order val="12"/>
          <c:tx>
            <c:strRef>
              <c:f>'[POPF Charts.xlsx]Figure 2'!$Y$1</c:f>
              <c:strCache>
                <c:ptCount val="1"/>
                <c:pt idx="0">
                  <c:v>Average Duration</c:v>
                </c:pt>
              </c:strCache>
            </c:strRef>
          </c:tx>
          <c:spPr>
            <a:ln w="25400" cap="rnd">
              <a:noFill/>
              <a:round/>
            </a:ln>
            <a:effectLst/>
          </c:spPr>
          <c:marker>
            <c:symbol val="none"/>
          </c:marker>
          <c:dLbls>
            <c:dLbl>
              <c:idx val="0"/>
              <c:tx>
                <c:rich>
                  <a:bodyPr/>
                  <a:lstStyle/>
                  <a:p>
                    <a:fld id="{B341B66C-AC4A-4C64-81BA-46AA4CCA8227}"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F980-4B9D-9539-F9086AB2C47F}"/>
                </c:ext>
              </c:extLst>
            </c:dLbl>
            <c:dLbl>
              <c:idx val="1"/>
              <c:tx>
                <c:rich>
                  <a:bodyPr/>
                  <a:lstStyle/>
                  <a:p>
                    <a:fld id="{616A8417-DC6E-4C67-BE1F-FE2DFED88EA5}"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F980-4B9D-9539-F9086AB2C47F}"/>
                </c:ext>
              </c:extLst>
            </c:dLbl>
            <c:dLbl>
              <c:idx val="2"/>
              <c:tx>
                <c:rich>
                  <a:bodyPr/>
                  <a:lstStyle/>
                  <a:p>
                    <a:fld id="{ED15AC6D-9800-44F1-9B24-D7D88779A1C0}"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F980-4B9D-9539-F9086AB2C47F}"/>
                </c:ext>
              </c:extLst>
            </c:dLbl>
            <c:dLbl>
              <c:idx val="3"/>
              <c:tx>
                <c:rich>
                  <a:bodyPr/>
                  <a:lstStyle/>
                  <a:p>
                    <a:fld id="{33D9E0EC-07FF-4FCD-93BA-C4D61A8112CB}"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F980-4B9D-9539-F9086AB2C47F}"/>
                </c:ext>
              </c:extLst>
            </c:dLbl>
            <c:dLbl>
              <c:idx val="4"/>
              <c:tx>
                <c:rich>
                  <a:bodyPr/>
                  <a:lstStyle/>
                  <a:p>
                    <a:fld id="{53568668-FD94-437F-86A8-06D900FCFE5A}"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F980-4B9D-9539-F9086AB2C47F}"/>
                </c:ext>
              </c:extLst>
            </c:dLbl>
            <c:dLbl>
              <c:idx val="5"/>
              <c:tx>
                <c:rich>
                  <a:bodyPr/>
                  <a:lstStyle/>
                  <a:p>
                    <a:fld id="{FB1785EF-264C-4D9E-B8C5-23E8DCDC96DF}"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F980-4B9D-9539-F9086AB2C47F}"/>
                </c:ext>
              </c:extLst>
            </c:dLbl>
            <c:dLbl>
              <c:idx val="6"/>
              <c:tx>
                <c:rich>
                  <a:bodyPr/>
                  <a:lstStyle/>
                  <a:p>
                    <a:fld id="{68126D73-C75F-4FF0-AB8A-175F201DB7D1}"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F980-4B9D-9539-F9086AB2C47F}"/>
                </c:ext>
              </c:extLst>
            </c:dLbl>
            <c:dLbl>
              <c:idx val="7"/>
              <c:tx>
                <c:rich>
                  <a:bodyPr/>
                  <a:lstStyle/>
                  <a:p>
                    <a:fld id="{8BBA081B-3648-4ABF-AE16-33185A74583A}"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F980-4B9D-9539-F9086AB2C47F}"/>
                </c:ext>
              </c:extLst>
            </c:dLbl>
            <c:dLbl>
              <c:idx val="8"/>
              <c:tx>
                <c:rich>
                  <a:bodyPr/>
                  <a:lstStyle/>
                  <a:p>
                    <a:fld id="{10EA60E2-09AA-4862-974C-297AFB8FA740}"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F980-4B9D-9539-F9086AB2C47F}"/>
                </c:ext>
              </c:extLst>
            </c:dLbl>
            <c:dLbl>
              <c:idx val="9"/>
              <c:tx>
                <c:rich>
                  <a:bodyPr/>
                  <a:lstStyle/>
                  <a:p>
                    <a:fld id="{96CE7F4B-43BE-4931-9ABF-34B1FD581674}"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F980-4B9D-9539-F9086AB2C47F}"/>
                </c:ext>
              </c:extLst>
            </c:dLbl>
            <c:dLbl>
              <c:idx val="10"/>
              <c:tx>
                <c:rich>
                  <a:bodyPr/>
                  <a:lstStyle/>
                  <a:p>
                    <a:fld id="{CE4DF303-B9A2-4B17-889C-4C32823C45C4}"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F980-4B9D-9539-F9086AB2C47F}"/>
                </c:ext>
              </c:extLst>
            </c:dLbl>
            <c:dLbl>
              <c:idx val="11"/>
              <c:tx>
                <c:rich>
                  <a:bodyPr/>
                  <a:lstStyle/>
                  <a:p>
                    <a:fld id="{604B9C40-0116-4944-9CE7-F2510D0B1475}"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F980-4B9D-9539-F9086AB2C47F}"/>
                </c:ext>
              </c:extLst>
            </c:dLbl>
            <c:spPr>
              <a:noFill/>
              <a:ln>
                <a:noFill/>
              </a:ln>
              <a:effectLst/>
            </c:spPr>
            <c:txPr>
              <a:bodyPr rot="0" spcFirstLastPara="1" vertOverflow="ellipsis" vert="horz" wrap="square" anchor="ctr" anchorCtr="1"/>
              <a:lstStyle/>
              <a:p>
                <a:pPr>
                  <a:defRPr sz="900" b="1" i="0" u="none" strike="noStrike" kern="1200" baseline="0">
                    <a:solidFill>
                      <a:sysClr val="windowText" lastClr="000000"/>
                    </a:solidFill>
                    <a:latin typeface="Manrope" pitchFamily="2" charset="0"/>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POPF Charts.xlsx]Figure 2'!$X$10:$X$21</c:f>
              <c:numCache>
                <c:formatCode>General</c:formatCode>
                <c:ptCount val="12"/>
                <c:pt idx="0">
                  <c:v>20.5</c:v>
                </c:pt>
                <c:pt idx="1">
                  <c:v>14.5</c:v>
                </c:pt>
                <c:pt idx="2">
                  <c:v>23.5</c:v>
                </c:pt>
                <c:pt idx="3">
                  <c:v>5.5</c:v>
                </c:pt>
                <c:pt idx="4">
                  <c:v>17.5</c:v>
                </c:pt>
                <c:pt idx="5">
                  <c:v>11.5</c:v>
                </c:pt>
                <c:pt idx="6">
                  <c:v>8.5</c:v>
                </c:pt>
                <c:pt idx="7">
                  <c:v>2.5</c:v>
                </c:pt>
                <c:pt idx="8">
                  <c:v>26.5</c:v>
                </c:pt>
                <c:pt idx="9">
                  <c:v>35.5</c:v>
                </c:pt>
                <c:pt idx="10">
                  <c:v>32.5</c:v>
                </c:pt>
                <c:pt idx="11">
                  <c:v>29.5</c:v>
                </c:pt>
              </c:numCache>
            </c:numRef>
          </c:xVal>
          <c:yVal>
            <c:numRef>
              <c:f>'[POPF Charts.xlsx]Figure 2'!$AA$10:$AA$21</c:f>
              <c:numCache>
                <c:formatCode>#,##0.00</c:formatCode>
                <c:ptCount val="12"/>
                <c:pt idx="0">
                  <c:v>1</c:v>
                </c:pt>
                <c:pt idx="1">
                  <c:v>1</c:v>
                </c:pt>
                <c:pt idx="2">
                  <c:v>1</c:v>
                </c:pt>
                <c:pt idx="3">
                  <c:v>1</c:v>
                </c:pt>
                <c:pt idx="4">
                  <c:v>1</c:v>
                </c:pt>
                <c:pt idx="5">
                  <c:v>1</c:v>
                </c:pt>
                <c:pt idx="6">
                  <c:v>1</c:v>
                </c:pt>
                <c:pt idx="7">
                  <c:v>1</c:v>
                </c:pt>
                <c:pt idx="8">
                  <c:v>1</c:v>
                </c:pt>
                <c:pt idx="9">
                  <c:v>1</c:v>
                </c:pt>
                <c:pt idx="10">
                  <c:v>1</c:v>
                </c:pt>
                <c:pt idx="11">
                  <c:v>1</c:v>
                </c:pt>
              </c:numCache>
            </c:numRef>
          </c:yVal>
          <c:smooth val="0"/>
          <c:extLst>
            <c:ext xmlns:c15="http://schemas.microsoft.com/office/drawing/2012/chart" uri="{02D57815-91ED-43cb-92C2-25804820EDAC}">
              <c15:datalabelsRange>
                <c15:f>'[POPF Charts.xlsx]Figure 2'!$Y$2:$Y$23</c15:f>
                <c15:dlblRangeCache>
                  <c:ptCount val="22"/>
                  <c:pt idx="0">
                    <c:v>2.5</c:v>
                  </c:pt>
                  <c:pt idx="1">
                    <c:v>2.4</c:v>
                  </c:pt>
                  <c:pt idx="2">
                    <c:v>4</c:v>
                  </c:pt>
                  <c:pt idx="3">
                    <c:v>4</c:v>
                  </c:pt>
                  <c:pt idx="4">
                    <c:v>4</c:v>
                  </c:pt>
                  <c:pt idx="5">
                    <c:v>4</c:v>
                  </c:pt>
                  <c:pt idx="6">
                    <c:v>4</c:v>
                  </c:pt>
                  <c:pt idx="7">
                    <c:v>4</c:v>
                  </c:pt>
                  <c:pt idx="8">
                    <c:v>1</c:v>
                  </c:pt>
                  <c:pt idx="9">
                    <c:v>1.6</c:v>
                  </c:pt>
                  <c:pt idx="10">
                    <c:v>1</c:v>
                  </c:pt>
                  <c:pt idx="11">
                    <c:v>1</c:v>
                  </c:pt>
                  <c:pt idx="12">
                    <c:v>1.8</c:v>
                  </c:pt>
                  <c:pt idx="13">
                    <c:v>1</c:v>
                  </c:pt>
                  <c:pt idx="14">
                    <c:v>2</c:v>
                  </c:pt>
                  <c:pt idx="15">
                    <c:v>1.9</c:v>
                  </c:pt>
                  <c:pt idx="16">
                    <c:v>1</c:v>
                  </c:pt>
                  <c:pt idx="17">
                    <c:v>2</c:v>
                  </c:pt>
                  <c:pt idx="18">
                    <c:v>1.2</c:v>
                  </c:pt>
                  <c:pt idx="19">
                    <c:v>2</c:v>
                  </c:pt>
                </c15:dlblRangeCache>
              </c15:datalabelsRange>
            </c:ext>
            <c:ext xmlns:c16="http://schemas.microsoft.com/office/drawing/2014/chart" uri="{C3380CC4-5D6E-409C-BE32-E72D297353CC}">
              <c16:uniqueId val="{00000024-F980-4B9D-9539-F9086AB2C47F}"/>
            </c:ext>
          </c:extLst>
        </c:ser>
        <c:ser>
          <c:idx val="15"/>
          <c:order val="13"/>
          <c:tx>
            <c:strRef>
              <c:f>'[POPF Charts.xlsx]Figure 2'!$Z$1</c:f>
              <c:strCache>
                <c:ptCount val="1"/>
                <c:pt idx="0">
                  <c:v>Average Daily Cycles</c:v>
                </c:pt>
              </c:strCache>
            </c:strRef>
          </c:tx>
          <c:spPr>
            <a:ln w="25400" cap="rnd">
              <a:noFill/>
              <a:round/>
            </a:ln>
            <a:effectLst/>
          </c:spPr>
          <c:marker>
            <c:symbol val="none"/>
          </c:marker>
          <c:dLbls>
            <c:dLbl>
              <c:idx val="0"/>
              <c:tx>
                <c:rich>
                  <a:bodyPr/>
                  <a:lstStyle/>
                  <a:p>
                    <a:fld id="{8CA509AB-6B54-419B-8752-C17C5103A5BC}"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F980-4B9D-9539-F9086AB2C47F}"/>
                </c:ext>
              </c:extLst>
            </c:dLbl>
            <c:dLbl>
              <c:idx val="1"/>
              <c:tx>
                <c:rich>
                  <a:bodyPr/>
                  <a:lstStyle/>
                  <a:p>
                    <a:fld id="{22D12676-4FD3-4E2F-9B7F-AC857FEE4EC2}"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F980-4B9D-9539-F9086AB2C47F}"/>
                </c:ext>
              </c:extLst>
            </c:dLbl>
            <c:dLbl>
              <c:idx val="2"/>
              <c:tx>
                <c:rich>
                  <a:bodyPr/>
                  <a:lstStyle/>
                  <a:p>
                    <a:fld id="{F4F82FA5-C50A-4786-B89A-DA71FE4AA225}"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F980-4B9D-9539-F9086AB2C47F}"/>
                </c:ext>
              </c:extLst>
            </c:dLbl>
            <c:dLbl>
              <c:idx val="3"/>
              <c:tx>
                <c:rich>
                  <a:bodyPr/>
                  <a:lstStyle/>
                  <a:p>
                    <a:fld id="{94AB08D4-54D9-4B7E-B061-2B38C4272EA8}"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F980-4B9D-9539-F9086AB2C47F}"/>
                </c:ext>
              </c:extLst>
            </c:dLbl>
            <c:dLbl>
              <c:idx val="4"/>
              <c:tx>
                <c:rich>
                  <a:bodyPr/>
                  <a:lstStyle/>
                  <a:p>
                    <a:fld id="{CC3B81F1-97EA-454E-82D4-EAFE246FF23D}"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F980-4B9D-9539-F9086AB2C47F}"/>
                </c:ext>
              </c:extLst>
            </c:dLbl>
            <c:dLbl>
              <c:idx val="5"/>
              <c:tx>
                <c:rich>
                  <a:bodyPr/>
                  <a:lstStyle/>
                  <a:p>
                    <a:fld id="{CF14ECFB-7B3C-43A9-B95A-35D6C8619490}"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F980-4B9D-9539-F9086AB2C47F}"/>
                </c:ext>
              </c:extLst>
            </c:dLbl>
            <c:dLbl>
              <c:idx val="6"/>
              <c:tx>
                <c:rich>
                  <a:bodyPr/>
                  <a:lstStyle/>
                  <a:p>
                    <a:fld id="{C4238B93-7162-453C-BE6B-94E870F91BCA}"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F980-4B9D-9539-F9086AB2C47F}"/>
                </c:ext>
              </c:extLst>
            </c:dLbl>
            <c:dLbl>
              <c:idx val="7"/>
              <c:tx>
                <c:rich>
                  <a:bodyPr/>
                  <a:lstStyle/>
                  <a:p>
                    <a:fld id="{91C14788-49E3-46B0-AEFB-5DCFC02B3FA0}"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F980-4B9D-9539-F9086AB2C47F}"/>
                </c:ext>
              </c:extLst>
            </c:dLbl>
            <c:dLbl>
              <c:idx val="8"/>
              <c:tx>
                <c:rich>
                  <a:bodyPr/>
                  <a:lstStyle/>
                  <a:p>
                    <a:fld id="{17E937A0-69E7-42CC-8C37-F6E113005EAD}"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F980-4B9D-9539-F9086AB2C47F}"/>
                </c:ext>
              </c:extLst>
            </c:dLbl>
            <c:dLbl>
              <c:idx val="9"/>
              <c:tx>
                <c:rich>
                  <a:bodyPr/>
                  <a:lstStyle/>
                  <a:p>
                    <a:fld id="{AFF65477-9A80-4642-A791-8B567A3F6E0B}"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F980-4B9D-9539-F9086AB2C47F}"/>
                </c:ext>
              </c:extLst>
            </c:dLbl>
            <c:dLbl>
              <c:idx val="10"/>
              <c:tx>
                <c:rich>
                  <a:bodyPr/>
                  <a:lstStyle/>
                  <a:p>
                    <a:fld id="{6FB1E087-348C-438C-BA18-85A28A0A7918}"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F980-4B9D-9539-F9086AB2C47F}"/>
                </c:ext>
              </c:extLst>
            </c:dLbl>
            <c:dLbl>
              <c:idx val="11"/>
              <c:tx>
                <c:rich>
                  <a:bodyPr/>
                  <a:lstStyle/>
                  <a:p>
                    <a:fld id="{69E45EE0-6779-4CFC-9374-876FDF4659FE}"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F980-4B9D-9539-F9086AB2C47F}"/>
                </c:ext>
              </c:extLst>
            </c:dLbl>
            <c:spPr>
              <a:noFill/>
              <a:ln>
                <a:noFill/>
              </a:ln>
              <a:effectLst/>
            </c:spPr>
            <c:txPr>
              <a:bodyPr rot="0" spcFirstLastPara="1" vertOverflow="ellipsis" vert="horz" wrap="square" anchor="ctr" anchorCtr="1"/>
              <a:lstStyle/>
              <a:p>
                <a:pPr>
                  <a:defRPr sz="900" b="1" i="0" u="none" strike="noStrike" kern="1200" baseline="0">
                    <a:solidFill>
                      <a:sysClr val="windowText" lastClr="000000"/>
                    </a:solidFill>
                    <a:latin typeface="Manrope" pitchFamily="2" charset="0"/>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POPF Charts.xlsx]Figure 2'!$X$10:$X$21</c:f>
              <c:numCache>
                <c:formatCode>General</c:formatCode>
                <c:ptCount val="12"/>
                <c:pt idx="0">
                  <c:v>20.5</c:v>
                </c:pt>
                <c:pt idx="1">
                  <c:v>14.5</c:v>
                </c:pt>
                <c:pt idx="2">
                  <c:v>23.5</c:v>
                </c:pt>
                <c:pt idx="3">
                  <c:v>5.5</c:v>
                </c:pt>
                <c:pt idx="4">
                  <c:v>17.5</c:v>
                </c:pt>
                <c:pt idx="5">
                  <c:v>11.5</c:v>
                </c:pt>
                <c:pt idx="6">
                  <c:v>8.5</c:v>
                </c:pt>
                <c:pt idx="7">
                  <c:v>2.5</c:v>
                </c:pt>
                <c:pt idx="8">
                  <c:v>26.5</c:v>
                </c:pt>
                <c:pt idx="9">
                  <c:v>35.5</c:v>
                </c:pt>
                <c:pt idx="10">
                  <c:v>32.5</c:v>
                </c:pt>
                <c:pt idx="11">
                  <c:v>29.5</c:v>
                </c:pt>
              </c:numCache>
            </c:numRef>
          </c:xVal>
          <c:yVal>
            <c:numRef>
              <c:f>'[POPF Charts.xlsx]Figure 2'!$AB$10:$AB$21</c:f>
              <c:numCache>
                <c:formatCode>#,##0.00</c:formatCode>
                <c:ptCount val="12"/>
                <c:pt idx="0">
                  <c:v>1.1499999999999999</c:v>
                </c:pt>
                <c:pt idx="1">
                  <c:v>1.1499999999999999</c:v>
                </c:pt>
                <c:pt idx="2">
                  <c:v>1.1499999999999999</c:v>
                </c:pt>
                <c:pt idx="3">
                  <c:v>1.1499999999999999</c:v>
                </c:pt>
                <c:pt idx="4">
                  <c:v>1.1499999999999999</c:v>
                </c:pt>
                <c:pt idx="5">
                  <c:v>1.1499999999999999</c:v>
                </c:pt>
                <c:pt idx="6">
                  <c:v>1.1499999999999999</c:v>
                </c:pt>
                <c:pt idx="7">
                  <c:v>1.1499999999999999</c:v>
                </c:pt>
                <c:pt idx="8">
                  <c:v>1.1499999999999999</c:v>
                </c:pt>
                <c:pt idx="9">
                  <c:v>1.1499999999999999</c:v>
                </c:pt>
                <c:pt idx="10">
                  <c:v>1.1499999999999999</c:v>
                </c:pt>
                <c:pt idx="11">
                  <c:v>1.1499999999999999</c:v>
                </c:pt>
              </c:numCache>
            </c:numRef>
          </c:yVal>
          <c:smooth val="0"/>
          <c:extLst>
            <c:ext xmlns:c15="http://schemas.microsoft.com/office/drawing/2012/chart" uri="{02D57815-91ED-43cb-92C2-25804820EDAC}">
              <c15:datalabelsRange>
                <c15:f>'[POPF Charts.xlsx]Figure 2'!$Z$2:$Z$21</c15:f>
                <c15:dlblRangeCache>
                  <c:ptCount val="20"/>
                  <c:pt idx="0">
                    <c:v>0.8</c:v>
                  </c:pt>
                  <c:pt idx="1">
                    <c:v>0.6</c:v>
                  </c:pt>
                  <c:pt idx="2">
                    <c:v>0.6</c:v>
                  </c:pt>
                  <c:pt idx="3">
                    <c:v>0.2</c:v>
                  </c:pt>
                  <c:pt idx="4">
                    <c:v>0.4</c:v>
                  </c:pt>
                  <c:pt idx="5">
                    <c:v>0.6</c:v>
                  </c:pt>
                  <c:pt idx="6">
                    <c:v>0.8</c:v>
                  </c:pt>
                  <c:pt idx="7">
                    <c:v>0.7</c:v>
                  </c:pt>
                  <c:pt idx="8">
                    <c:v>0.1</c:v>
                  </c:pt>
                  <c:pt idx="9">
                    <c:v>0.2</c:v>
                  </c:pt>
                  <c:pt idx="10">
                    <c:v>0.3</c:v>
                  </c:pt>
                  <c:pt idx="11">
                    <c:v>1.8</c:v>
                  </c:pt>
                  <c:pt idx="12">
                    <c:v>0.6</c:v>
                  </c:pt>
                  <c:pt idx="13">
                    <c:v>0.5</c:v>
                  </c:pt>
                  <c:pt idx="14">
                    <c:v>0.3</c:v>
                  </c:pt>
                  <c:pt idx="15">
                    <c:v>0.8</c:v>
                  </c:pt>
                  <c:pt idx="16">
                    <c:v>0.3</c:v>
                  </c:pt>
                  <c:pt idx="17">
                    <c:v>0.3</c:v>
                  </c:pt>
                  <c:pt idx="18">
                    <c:v>0.2</c:v>
                  </c:pt>
                  <c:pt idx="19">
                    <c:v>0.2</c:v>
                  </c:pt>
                </c15:dlblRangeCache>
              </c15:datalabelsRange>
            </c:ext>
            <c:ext xmlns:c16="http://schemas.microsoft.com/office/drawing/2014/chart" uri="{C3380CC4-5D6E-409C-BE32-E72D297353CC}">
              <c16:uniqueId val="{00000031-F980-4B9D-9539-F9086AB2C47F}"/>
            </c:ext>
          </c:extLst>
        </c:ser>
        <c:dLbls>
          <c:showLegendKey val="0"/>
          <c:showVal val="0"/>
          <c:showCatName val="0"/>
          <c:showSerName val="0"/>
          <c:showPercent val="0"/>
          <c:showBubbleSize val="0"/>
        </c:dLbls>
        <c:axId val="2052733360"/>
        <c:axId val="2052724720"/>
      </c:scatterChart>
      <c:catAx>
        <c:axId val="1369291343"/>
        <c:scaling>
          <c:orientation val="minMax"/>
        </c:scaling>
        <c:delete val="1"/>
        <c:axPos val="b"/>
        <c:numFmt formatCode="General" sourceLinked="1"/>
        <c:majorTickMark val="none"/>
        <c:minorTickMark val="none"/>
        <c:tickLblPos val="nextTo"/>
        <c:crossAx val="1369291823"/>
        <c:crosses val="autoZero"/>
        <c:auto val="1"/>
        <c:lblAlgn val="ctr"/>
        <c:lblOffset val="100"/>
        <c:noMultiLvlLbl val="0"/>
      </c:catAx>
      <c:valAx>
        <c:axId val="1369291823"/>
        <c:scaling>
          <c:orientation val="minMax"/>
          <c:max val="40"/>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1" i="0" u="none" strike="noStrike" kern="1200" baseline="0">
                    <a:solidFill>
                      <a:sysClr val="windowText" lastClr="000000"/>
                    </a:solidFill>
                    <a:latin typeface="Manrope" pitchFamily="2" charset="0"/>
                    <a:ea typeface="+mn-ea"/>
                    <a:cs typeface="+mn-cs"/>
                  </a:defRPr>
                </a:pPr>
                <a:r>
                  <a:rPr lang="en-US"/>
                  <a:t>Average Monthly Revenues ($/kWh Installed)</a:t>
                </a:r>
              </a:p>
            </c:rich>
          </c:tx>
          <c:overlay val="0"/>
          <c:spPr>
            <a:noFill/>
            <a:ln>
              <a:noFill/>
            </a:ln>
            <a:effectLst/>
          </c:spPr>
          <c:txPr>
            <a:bodyPr rot="-5400000" spcFirstLastPara="1" vertOverflow="ellipsis" vert="horz" wrap="square" anchor="ctr" anchorCtr="1"/>
            <a:lstStyle/>
            <a:p>
              <a:pPr>
                <a:defRPr sz="1000" b="1" i="0" u="none" strike="noStrike" kern="1200" baseline="0">
                  <a:solidFill>
                    <a:sysClr val="windowText" lastClr="000000"/>
                  </a:solidFill>
                  <a:latin typeface="Manrope" pitchFamily="2" charset="0"/>
                  <a:ea typeface="+mn-ea"/>
                  <a:cs typeface="+mn-cs"/>
                </a:defRPr>
              </a:pPr>
              <a:endParaRPr lang="en-US"/>
            </a:p>
          </c:txPr>
        </c:title>
        <c:numFmt formatCode="&quot;$&quot;#,##0" sourceLinked="0"/>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ysClr val="windowText" lastClr="000000"/>
                </a:solidFill>
                <a:latin typeface="Manrope" pitchFamily="2" charset="0"/>
                <a:ea typeface="+mn-ea"/>
                <a:cs typeface="+mn-cs"/>
              </a:defRPr>
            </a:pPr>
            <a:endParaRPr lang="en-US"/>
          </a:p>
        </c:txPr>
        <c:crossAx val="1369291343"/>
        <c:crosses val="autoZero"/>
        <c:crossBetween val="between"/>
      </c:valAx>
      <c:valAx>
        <c:axId val="2052724720"/>
        <c:scaling>
          <c:orientation val="minMax"/>
          <c:max val="1.2"/>
          <c:min val="0"/>
        </c:scaling>
        <c:delete val="0"/>
        <c:axPos val="r"/>
        <c:title>
          <c:tx>
            <c:rich>
              <a:bodyPr rot="5400000" spcFirstLastPara="1" vertOverflow="ellipsis" wrap="square" anchor="ctr" anchorCtr="1"/>
              <a:lstStyle/>
              <a:p>
                <a:pPr>
                  <a:defRPr sz="1000" b="1" i="0" u="none" strike="noStrike" kern="1200" baseline="0">
                    <a:solidFill>
                      <a:sysClr val="windowText" lastClr="000000"/>
                    </a:solidFill>
                    <a:latin typeface="Manrope" pitchFamily="2" charset="0"/>
                    <a:ea typeface="+mn-ea"/>
                    <a:cs typeface="+mn-cs"/>
                  </a:defRPr>
                </a:pPr>
                <a:r>
                  <a:rPr lang="en-US"/>
                  <a:t>Percent of Perfect Foresight Captured</a:t>
                </a:r>
              </a:p>
            </c:rich>
          </c:tx>
          <c:overlay val="0"/>
          <c:spPr>
            <a:noFill/>
            <a:ln>
              <a:noFill/>
            </a:ln>
            <a:effectLst/>
          </c:spPr>
          <c:txPr>
            <a:bodyPr rot="5400000" spcFirstLastPara="1" vertOverflow="ellipsis" wrap="square" anchor="ctr" anchorCtr="1"/>
            <a:lstStyle/>
            <a:p>
              <a:pPr>
                <a:defRPr sz="1000" b="1" i="0" u="none" strike="noStrike" kern="1200" baseline="0">
                  <a:solidFill>
                    <a:sysClr val="windowText" lastClr="000000"/>
                  </a:solidFill>
                  <a:latin typeface="Manrope" pitchFamily="2" charset="0"/>
                  <a:ea typeface="+mn-ea"/>
                  <a:cs typeface="+mn-cs"/>
                </a:defRPr>
              </a:pPr>
              <a:endParaRPr lang="en-US"/>
            </a:p>
          </c:txPr>
        </c:title>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ysClr val="windowText" lastClr="000000"/>
                </a:solidFill>
                <a:latin typeface="Manrope" pitchFamily="2" charset="0"/>
                <a:ea typeface="+mn-ea"/>
                <a:cs typeface="+mn-cs"/>
              </a:defRPr>
            </a:pPr>
            <a:endParaRPr lang="en-US"/>
          </a:p>
        </c:txPr>
        <c:crossAx val="2052733360"/>
        <c:crosses val="max"/>
        <c:crossBetween val="midCat"/>
        <c:majorUnit val="0.15000000000000002"/>
      </c:valAx>
      <c:valAx>
        <c:axId val="2052733360"/>
        <c:scaling>
          <c:orientation val="minMax"/>
        </c:scaling>
        <c:delete val="1"/>
        <c:axPos val="b"/>
        <c:numFmt formatCode="General" sourceLinked="1"/>
        <c:majorTickMark val="out"/>
        <c:minorTickMark val="none"/>
        <c:tickLblPos val="nextTo"/>
        <c:crossAx val="2052724720"/>
        <c:crosses val="autoZero"/>
        <c:crossBetween val="midCat"/>
      </c:valAx>
      <c:spPr>
        <a:noFill/>
        <a:ln>
          <a:noFill/>
        </a:ln>
        <a:effectLst/>
      </c:spPr>
    </c:plotArea>
    <c:legend>
      <c:legendPos val="b"/>
      <c:legendEntry>
        <c:idx val="5"/>
        <c:delete val="1"/>
      </c:legendEntry>
      <c:legendEntry>
        <c:idx val="6"/>
        <c:delete val="1"/>
      </c:legendEntry>
      <c:legendEntry>
        <c:idx val="7"/>
        <c:delete val="1"/>
      </c:legendEntry>
      <c:legendEntry>
        <c:idx val="8"/>
        <c:delete val="1"/>
      </c:legendEntry>
      <c:legendEntry>
        <c:idx val="9"/>
        <c:delete val="1"/>
      </c:legendEntry>
      <c:legendEntry>
        <c:idx val="11"/>
        <c:delete val="1"/>
      </c:legendEntry>
      <c:legendEntry>
        <c:idx val="12"/>
        <c:delete val="1"/>
      </c:legendEntry>
      <c:legendEntry>
        <c:idx val="13"/>
        <c:delete val="1"/>
      </c:legendEntry>
      <c:overlay val="0"/>
      <c:spPr>
        <a:noFill/>
        <a:ln>
          <a:noFill/>
        </a:ln>
        <a:effectLst/>
      </c:spPr>
      <c:txPr>
        <a:bodyPr rot="0" spcFirstLastPara="1" vertOverflow="ellipsis" vert="horz" wrap="square" anchor="ctr" anchorCtr="1"/>
        <a:lstStyle/>
        <a:p>
          <a:pPr>
            <a:defRPr sz="900" b="1" i="0" u="none" strike="noStrike" kern="1200" baseline="0">
              <a:solidFill>
                <a:sysClr val="windowText" lastClr="000000"/>
              </a:solidFill>
              <a:latin typeface="Manrope"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b="1">
          <a:solidFill>
            <a:sysClr val="windowText" lastClr="000000"/>
          </a:solidFill>
          <a:latin typeface="Manrope" pitchFamily="2" charset="0"/>
        </a:defRPr>
      </a:pPr>
      <a:endParaRPr lang="en-US"/>
    </a:p>
  </c:txPr>
  <c:externalData r:id="rId3">
    <c:autoUpdate val="0"/>
  </c:externalData>
  <c:userShapes r:id="rId4"/>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POPF Charts.xlsx]Figure 4'!$R$2</c:f>
              <c:strCache>
                <c:ptCount val="1"/>
                <c:pt idx="0">
                  <c:v>Arevon</c:v>
                </c:pt>
              </c:strCache>
            </c:strRef>
          </c:tx>
          <c:spPr>
            <a:ln w="19050" cap="rnd">
              <a:solidFill>
                <a:schemeClr val="accent1"/>
              </a:solidFill>
              <a:prstDash val="sysDash"/>
              <a:round/>
            </a:ln>
            <a:effectLst/>
          </c:spPr>
          <c:marker>
            <c:symbol val="none"/>
          </c:marker>
          <c:cat>
            <c:numRef>
              <c:f>'[POPF Charts.xlsx]Figure 4'!$Q$4:$Q$42</c:f>
              <c:numCache>
                <c:formatCode>m/d/yyyy</c:formatCode>
                <c:ptCount val="39"/>
                <c:pt idx="0">
                  <c:v>44197</c:v>
                </c:pt>
                <c:pt idx="1">
                  <c:v>44228</c:v>
                </c:pt>
                <c:pt idx="2">
                  <c:v>44256</c:v>
                </c:pt>
                <c:pt idx="3">
                  <c:v>44287</c:v>
                </c:pt>
                <c:pt idx="4">
                  <c:v>44317</c:v>
                </c:pt>
                <c:pt idx="5">
                  <c:v>44348</c:v>
                </c:pt>
                <c:pt idx="6">
                  <c:v>44378</c:v>
                </c:pt>
                <c:pt idx="7">
                  <c:v>44409</c:v>
                </c:pt>
                <c:pt idx="8">
                  <c:v>44440</c:v>
                </c:pt>
                <c:pt idx="9">
                  <c:v>44470</c:v>
                </c:pt>
                <c:pt idx="10">
                  <c:v>44501</c:v>
                </c:pt>
                <c:pt idx="11">
                  <c:v>44531</c:v>
                </c:pt>
                <c:pt idx="12">
                  <c:v>44562</c:v>
                </c:pt>
                <c:pt idx="13">
                  <c:v>44593</c:v>
                </c:pt>
                <c:pt idx="14">
                  <c:v>44621</c:v>
                </c:pt>
                <c:pt idx="15">
                  <c:v>44652</c:v>
                </c:pt>
                <c:pt idx="16">
                  <c:v>44682</c:v>
                </c:pt>
                <c:pt idx="17">
                  <c:v>44713</c:v>
                </c:pt>
                <c:pt idx="18">
                  <c:v>44743</c:v>
                </c:pt>
                <c:pt idx="19">
                  <c:v>44774</c:v>
                </c:pt>
                <c:pt idx="20">
                  <c:v>44805</c:v>
                </c:pt>
                <c:pt idx="21">
                  <c:v>44835</c:v>
                </c:pt>
                <c:pt idx="22">
                  <c:v>44866</c:v>
                </c:pt>
                <c:pt idx="23">
                  <c:v>44896</c:v>
                </c:pt>
                <c:pt idx="24">
                  <c:v>44927</c:v>
                </c:pt>
                <c:pt idx="25">
                  <c:v>44958</c:v>
                </c:pt>
                <c:pt idx="26">
                  <c:v>44986</c:v>
                </c:pt>
                <c:pt idx="27">
                  <c:v>45017</c:v>
                </c:pt>
                <c:pt idx="28">
                  <c:v>45047</c:v>
                </c:pt>
                <c:pt idx="29">
                  <c:v>45078</c:v>
                </c:pt>
                <c:pt idx="30">
                  <c:v>45108</c:v>
                </c:pt>
                <c:pt idx="31">
                  <c:v>45139</c:v>
                </c:pt>
                <c:pt idx="32">
                  <c:v>45170</c:v>
                </c:pt>
                <c:pt idx="33">
                  <c:v>45200</c:v>
                </c:pt>
                <c:pt idx="34">
                  <c:v>45231</c:v>
                </c:pt>
                <c:pt idx="35">
                  <c:v>45261</c:v>
                </c:pt>
                <c:pt idx="36">
                  <c:v>45292</c:v>
                </c:pt>
                <c:pt idx="37">
                  <c:v>45323</c:v>
                </c:pt>
                <c:pt idx="38">
                  <c:v>45352</c:v>
                </c:pt>
              </c:numCache>
            </c:numRef>
          </c:cat>
          <c:val>
            <c:numRef>
              <c:f>'[POPF Charts.xlsx]Figure 4'!$R$4:$R$42</c:f>
              <c:numCache>
                <c:formatCode>General</c:formatCode>
                <c:ptCount val="39"/>
                <c:pt idx="3" formatCode="0%">
                  <c:v>5.8528059093541238E-2</c:v>
                </c:pt>
                <c:pt idx="4" formatCode="0%">
                  <c:v>0.37307690477139216</c:v>
                </c:pt>
                <c:pt idx="5" formatCode="0%">
                  <c:v>0.54462865747604761</c:v>
                </c:pt>
                <c:pt idx="6" formatCode="0%">
                  <c:v>0.54462865747604761</c:v>
                </c:pt>
                <c:pt idx="7" formatCode="0%">
                  <c:v>0.54462865747604761</c:v>
                </c:pt>
                <c:pt idx="8" formatCode="0%">
                  <c:v>0.54462865747604761</c:v>
                </c:pt>
                <c:pt idx="9" formatCode="0%">
                  <c:v>0.54462865747604761</c:v>
                </c:pt>
                <c:pt idx="10" formatCode="0%">
                  <c:v>0.54462865747604761</c:v>
                </c:pt>
                <c:pt idx="11" formatCode="0%">
                  <c:v>0.54462865747604761</c:v>
                </c:pt>
                <c:pt idx="12" formatCode="0%">
                  <c:v>0.72066775086467305</c:v>
                </c:pt>
                <c:pt idx="13" formatCode="0%">
                  <c:v>0.93234995947484245</c:v>
                </c:pt>
                <c:pt idx="14" formatCode="0%">
                  <c:v>0.99422602724081599</c:v>
                </c:pt>
                <c:pt idx="15" formatCode="0%">
                  <c:v>1.1924811631878847</c:v>
                </c:pt>
                <c:pt idx="16" formatCode="0%">
                  <c:v>1.2804629075046285</c:v>
                </c:pt>
                <c:pt idx="17" formatCode="0%">
                  <c:v>1.3498162735293107</c:v>
                </c:pt>
                <c:pt idx="18" formatCode="0%">
                  <c:v>1.3498162735293107</c:v>
                </c:pt>
                <c:pt idx="19" formatCode="0%">
                  <c:v>1.3498162735293107</c:v>
                </c:pt>
                <c:pt idx="20" formatCode="0%">
                  <c:v>1.3498162735293107</c:v>
                </c:pt>
                <c:pt idx="21" formatCode="0%">
                  <c:v>1.3577968198585795</c:v>
                </c:pt>
                <c:pt idx="22" formatCode="0%">
                  <c:v>1.3937610681685859</c:v>
                </c:pt>
                <c:pt idx="23" formatCode="0%">
                  <c:v>1.4055759176159357</c:v>
                </c:pt>
                <c:pt idx="24" formatCode="0%">
                  <c:v>1.3698077022969213</c:v>
                </c:pt>
                <c:pt idx="25" formatCode="0%">
                  <c:v>1.2797142225104168</c:v>
                </c:pt>
                <c:pt idx="26" formatCode="0%">
                  <c:v>1.248405528729271</c:v>
                </c:pt>
                <c:pt idx="27" formatCode="0%">
                  <c:v>1.2171410724768983</c:v>
                </c:pt>
                <c:pt idx="28" formatCode="0%">
                  <c:v>1.1627797377083757</c:v>
                </c:pt>
                <c:pt idx="29" formatCode="0%">
                  <c:v>1.0860262768057185</c:v>
                </c:pt>
                <c:pt idx="30" formatCode="0%">
                  <c:v>1.0404663548077004</c:v>
                </c:pt>
                <c:pt idx="31" formatCode="0%">
                  <c:v>1.0171405447469015</c:v>
                </c:pt>
                <c:pt idx="32" formatCode="0%">
                  <c:v>0.98238579263605896</c:v>
                </c:pt>
                <c:pt idx="33" formatCode="0%">
                  <c:v>0.93777729371814156</c:v>
                </c:pt>
                <c:pt idx="34" formatCode="0%">
                  <c:v>0.85941206593109953</c:v>
                </c:pt>
                <c:pt idx="35" formatCode="0%">
                  <c:v>0.78852105177710408</c:v>
                </c:pt>
                <c:pt idx="36" formatCode="0%">
                  <c:v>0.77094407954842981</c:v>
                </c:pt>
                <c:pt idx="37" formatCode="0%">
                  <c:v>0.76136824966769667</c:v>
                </c:pt>
                <c:pt idx="38" formatCode="0%">
                  <c:v>0.73162835655214042</c:v>
                </c:pt>
              </c:numCache>
            </c:numRef>
          </c:val>
          <c:smooth val="0"/>
          <c:extLst xmlns:c15="http://schemas.microsoft.com/office/drawing/2012/chart">
            <c:ext xmlns:c16="http://schemas.microsoft.com/office/drawing/2014/chart" uri="{C3380CC4-5D6E-409C-BE32-E72D297353CC}">
              <c16:uniqueId val="{00000000-9719-4B29-AF48-75CD3F5599CC}"/>
            </c:ext>
          </c:extLst>
        </c:ser>
        <c:ser>
          <c:idx val="1"/>
          <c:order val="1"/>
          <c:tx>
            <c:strRef>
              <c:f>'[POPF Charts.xlsx]Figure 4'!$S$2</c:f>
              <c:strCache>
                <c:ptCount val="1"/>
                <c:pt idx="0">
                  <c:v>Convergent</c:v>
                </c:pt>
              </c:strCache>
            </c:strRef>
          </c:tx>
          <c:spPr>
            <a:ln w="19050" cap="rnd">
              <a:solidFill>
                <a:schemeClr val="accent3"/>
              </a:solidFill>
              <a:prstDash val="sysDash"/>
              <a:round/>
            </a:ln>
            <a:effectLst/>
          </c:spPr>
          <c:marker>
            <c:symbol val="none"/>
          </c:marker>
          <c:cat>
            <c:numRef>
              <c:f>'[POPF Charts.xlsx]Figure 4'!$Q$4:$Q$42</c:f>
              <c:numCache>
                <c:formatCode>m/d/yyyy</c:formatCode>
                <c:ptCount val="39"/>
                <c:pt idx="0">
                  <c:v>44197</c:v>
                </c:pt>
                <c:pt idx="1">
                  <c:v>44228</c:v>
                </c:pt>
                <c:pt idx="2">
                  <c:v>44256</c:v>
                </c:pt>
                <c:pt idx="3">
                  <c:v>44287</c:v>
                </c:pt>
                <c:pt idx="4">
                  <c:v>44317</c:v>
                </c:pt>
                <c:pt idx="5">
                  <c:v>44348</c:v>
                </c:pt>
                <c:pt idx="6">
                  <c:v>44378</c:v>
                </c:pt>
                <c:pt idx="7">
                  <c:v>44409</c:v>
                </c:pt>
                <c:pt idx="8">
                  <c:v>44440</c:v>
                </c:pt>
                <c:pt idx="9">
                  <c:v>44470</c:v>
                </c:pt>
                <c:pt idx="10">
                  <c:v>44501</c:v>
                </c:pt>
                <c:pt idx="11">
                  <c:v>44531</c:v>
                </c:pt>
                <c:pt idx="12">
                  <c:v>44562</c:v>
                </c:pt>
                <c:pt idx="13">
                  <c:v>44593</c:v>
                </c:pt>
                <c:pt idx="14">
                  <c:v>44621</c:v>
                </c:pt>
                <c:pt idx="15">
                  <c:v>44652</c:v>
                </c:pt>
                <c:pt idx="16">
                  <c:v>44682</c:v>
                </c:pt>
                <c:pt idx="17">
                  <c:v>44713</c:v>
                </c:pt>
                <c:pt idx="18">
                  <c:v>44743</c:v>
                </c:pt>
                <c:pt idx="19">
                  <c:v>44774</c:v>
                </c:pt>
                <c:pt idx="20">
                  <c:v>44805</c:v>
                </c:pt>
                <c:pt idx="21">
                  <c:v>44835</c:v>
                </c:pt>
                <c:pt idx="22">
                  <c:v>44866</c:v>
                </c:pt>
                <c:pt idx="23">
                  <c:v>44896</c:v>
                </c:pt>
                <c:pt idx="24">
                  <c:v>44927</c:v>
                </c:pt>
                <c:pt idx="25">
                  <c:v>44958</c:v>
                </c:pt>
                <c:pt idx="26">
                  <c:v>44986</c:v>
                </c:pt>
                <c:pt idx="27">
                  <c:v>45017</c:v>
                </c:pt>
                <c:pt idx="28">
                  <c:v>45047</c:v>
                </c:pt>
                <c:pt idx="29">
                  <c:v>45078</c:v>
                </c:pt>
                <c:pt idx="30">
                  <c:v>45108</c:v>
                </c:pt>
                <c:pt idx="31">
                  <c:v>45139</c:v>
                </c:pt>
                <c:pt idx="32">
                  <c:v>45170</c:v>
                </c:pt>
                <c:pt idx="33">
                  <c:v>45200</c:v>
                </c:pt>
                <c:pt idx="34">
                  <c:v>45231</c:v>
                </c:pt>
                <c:pt idx="35">
                  <c:v>45261</c:v>
                </c:pt>
                <c:pt idx="36">
                  <c:v>45292</c:v>
                </c:pt>
                <c:pt idx="37">
                  <c:v>45323</c:v>
                </c:pt>
                <c:pt idx="38">
                  <c:v>45352</c:v>
                </c:pt>
              </c:numCache>
            </c:numRef>
          </c:cat>
          <c:val>
            <c:numRef>
              <c:f>'[POPF Charts.xlsx]Figure 4'!$S$4:$S$42</c:f>
              <c:numCache>
                <c:formatCode>General</c:formatCode>
                <c:ptCount val="39"/>
                <c:pt idx="11" formatCode="0%">
                  <c:v>0.31703435034995237</c:v>
                </c:pt>
                <c:pt idx="12" formatCode="0%">
                  <c:v>0.54887425437934922</c:v>
                </c:pt>
                <c:pt idx="13" formatCode="0%">
                  <c:v>0.61557353974196349</c:v>
                </c:pt>
                <c:pt idx="14" formatCode="0%">
                  <c:v>0.64679963040091537</c:v>
                </c:pt>
                <c:pt idx="15" formatCode="0%">
                  <c:v>0.66715168622880316</c:v>
                </c:pt>
                <c:pt idx="16" formatCode="0%">
                  <c:v>0.67365963525998496</c:v>
                </c:pt>
                <c:pt idx="17" formatCode="0%">
                  <c:v>0.70459562014952615</c:v>
                </c:pt>
                <c:pt idx="18" formatCode="0%">
                  <c:v>0.71343528996178995</c:v>
                </c:pt>
                <c:pt idx="19" formatCode="0%">
                  <c:v>0.72186271881676012</c:v>
                </c:pt>
                <c:pt idx="20" formatCode="0%">
                  <c:v>0.73694454417414368</c:v>
                </c:pt>
                <c:pt idx="21" formatCode="0%">
                  <c:v>0.74254302267042505</c:v>
                </c:pt>
                <c:pt idx="22" formatCode="0%">
                  <c:v>0.74207103580020428</c:v>
                </c:pt>
                <c:pt idx="23" formatCode="0%">
                  <c:v>0.76834429746336397</c:v>
                </c:pt>
                <c:pt idx="24" formatCode="0%">
                  <c:v>0.7500049478738483</c:v>
                </c:pt>
                <c:pt idx="25" formatCode="0%">
                  <c:v>0.72843243176601102</c:v>
                </c:pt>
                <c:pt idx="26" formatCode="0%">
                  <c:v>0.729405984574793</c:v>
                </c:pt>
                <c:pt idx="27" formatCode="0%">
                  <c:v>0.73885628607133225</c:v>
                </c:pt>
                <c:pt idx="28" formatCode="0%">
                  <c:v>0.73519749084423702</c:v>
                </c:pt>
                <c:pt idx="29" formatCode="0%">
                  <c:v>0.72691210884408697</c:v>
                </c:pt>
                <c:pt idx="30" formatCode="0%">
                  <c:v>0.72397219663389123</c:v>
                </c:pt>
                <c:pt idx="31" formatCode="0%">
                  <c:v>0.7414929936812017</c:v>
                </c:pt>
                <c:pt idx="32" formatCode="0%">
                  <c:v>0.73640936425761749</c:v>
                </c:pt>
                <c:pt idx="33" formatCode="0%">
                  <c:v>0.74966308053591657</c:v>
                </c:pt>
                <c:pt idx="34" formatCode="0%">
                  <c:v>0.73317254485094219</c:v>
                </c:pt>
                <c:pt idx="35" formatCode="0%">
                  <c:v>0.72309052700535015</c:v>
                </c:pt>
                <c:pt idx="36" formatCode="0%">
                  <c:v>0.72344552540424634</c:v>
                </c:pt>
                <c:pt idx="37" formatCode="0%">
                  <c:v>0.71289277103921223</c:v>
                </c:pt>
                <c:pt idx="38" formatCode="0%">
                  <c:v>0.67354443135277409</c:v>
                </c:pt>
              </c:numCache>
            </c:numRef>
          </c:val>
          <c:smooth val="0"/>
          <c:extLst xmlns:c15="http://schemas.microsoft.com/office/drawing/2012/chart">
            <c:ext xmlns:c16="http://schemas.microsoft.com/office/drawing/2014/chart" uri="{C3380CC4-5D6E-409C-BE32-E72D297353CC}">
              <c16:uniqueId val="{00000001-9719-4B29-AF48-75CD3F5599CC}"/>
            </c:ext>
          </c:extLst>
        </c:ser>
        <c:ser>
          <c:idx val="2"/>
          <c:order val="2"/>
          <c:tx>
            <c:strRef>
              <c:f>'[POPF Charts.xlsx]Figure 4'!$T$2</c:f>
              <c:strCache>
                <c:ptCount val="1"/>
                <c:pt idx="0">
                  <c:v>Eolian</c:v>
                </c:pt>
              </c:strCache>
            </c:strRef>
          </c:tx>
          <c:spPr>
            <a:ln w="19050" cap="rnd">
              <a:solidFill>
                <a:schemeClr val="accent2"/>
              </a:solidFill>
              <a:prstDash val="sysDash"/>
              <a:round/>
            </a:ln>
            <a:effectLst/>
          </c:spPr>
          <c:marker>
            <c:symbol val="none"/>
          </c:marker>
          <c:cat>
            <c:numRef>
              <c:f>'[POPF Charts.xlsx]Figure 4'!$Q$4:$Q$42</c:f>
              <c:numCache>
                <c:formatCode>m/d/yyyy</c:formatCode>
                <c:ptCount val="39"/>
                <c:pt idx="0">
                  <c:v>44197</c:v>
                </c:pt>
                <c:pt idx="1">
                  <c:v>44228</c:v>
                </c:pt>
                <c:pt idx="2">
                  <c:v>44256</c:v>
                </c:pt>
                <c:pt idx="3">
                  <c:v>44287</c:v>
                </c:pt>
                <c:pt idx="4">
                  <c:v>44317</c:v>
                </c:pt>
                <c:pt idx="5">
                  <c:v>44348</c:v>
                </c:pt>
                <c:pt idx="6">
                  <c:v>44378</c:v>
                </c:pt>
                <c:pt idx="7">
                  <c:v>44409</c:v>
                </c:pt>
                <c:pt idx="8">
                  <c:v>44440</c:v>
                </c:pt>
                <c:pt idx="9">
                  <c:v>44470</c:v>
                </c:pt>
                <c:pt idx="10">
                  <c:v>44501</c:v>
                </c:pt>
                <c:pt idx="11">
                  <c:v>44531</c:v>
                </c:pt>
                <c:pt idx="12">
                  <c:v>44562</c:v>
                </c:pt>
                <c:pt idx="13">
                  <c:v>44593</c:v>
                </c:pt>
                <c:pt idx="14">
                  <c:v>44621</c:v>
                </c:pt>
                <c:pt idx="15">
                  <c:v>44652</c:v>
                </c:pt>
                <c:pt idx="16">
                  <c:v>44682</c:v>
                </c:pt>
                <c:pt idx="17">
                  <c:v>44713</c:v>
                </c:pt>
                <c:pt idx="18">
                  <c:v>44743</c:v>
                </c:pt>
                <c:pt idx="19">
                  <c:v>44774</c:v>
                </c:pt>
                <c:pt idx="20">
                  <c:v>44805</c:v>
                </c:pt>
                <c:pt idx="21">
                  <c:v>44835</c:v>
                </c:pt>
                <c:pt idx="22">
                  <c:v>44866</c:v>
                </c:pt>
                <c:pt idx="23">
                  <c:v>44896</c:v>
                </c:pt>
                <c:pt idx="24">
                  <c:v>44927</c:v>
                </c:pt>
                <c:pt idx="25">
                  <c:v>44958</c:v>
                </c:pt>
                <c:pt idx="26">
                  <c:v>44986</c:v>
                </c:pt>
                <c:pt idx="27">
                  <c:v>45017</c:v>
                </c:pt>
                <c:pt idx="28">
                  <c:v>45047</c:v>
                </c:pt>
                <c:pt idx="29">
                  <c:v>45078</c:v>
                </c:pt>
                <c:pt idx="30">
                  <c:v>45108</c:v>
                </c:pt>
                <c:pt idx="31">
                  <c:v>45139</c:v>
                </c:pt>
                <c:pt idx="32">
                  <c:v>45170</c:v>
                </c:pt>
                <c:pt idx="33">
                  <c:v>45200</c:v>
                </c:pt>
                <c:pt idx="34">
                  <c:v>45231</c:v>
                </c:pt>
                <c:pt idx="35">
                  <c:v>45261</c:v>
                </c:pt>
                <c:pt idx="36">
                  <c:v>45292</c:v>
                </c:pt>
                <c:pt idx="37">
                  <c:v>45323</c:v>
                </c:pt>
                <c:pt idx="38">
                  <c:v>45352</c:v>
                </c:pt>
              </c:numCache>
            </c:numRef>
          </c:cat>
          <c:val>
            <c:numRef>
              <c:f>'[POPF Charts.xlsx]Figure 4'!$T$4:$T$42</c:f>
              <c:numCache>
                <c:formatCode>General</c:formatCode>
                <c:ptCount val="39"/>
                <c:pt idx="3" formatCode="0%">
                  <c:v>0.22462543535983193</c:v>
                </c:pt>
                <c:pt idx="4" formatCode="0%">
                  <c:v>0.44622453611057378</c:v>
                </c:pt>
                <c:pt idx="5" formatCode="0%">
                  <c:v>0.49153097243258509</c:v>
                </c:pt>
                <c:pt idx="6" formatCode="0%">
                  <c:v>0.56094602140854954</c:v>
                </c:pt>
                <c:pt idx="7" formatCode="0%">
                  <c:v>0.62838796115104822</c:v>
                </c:pt>
                <c:pt idx="8" formatCode="0%">
                  <c:v>0.66454936308980661</c:v>
                </c:pt>
                <c:pt idx="9" formatCode="0%">
                  <c:v>0.67436904358945304</c:v>
                </c:pt>
                <c:pt idx="10" formatCode="0%">
                  <c:v>0.70879448612160734</c:v>
                </c:pt>
                <c:pt idx="11" formatCode="0%">
                  <c:v>0.76330351653693074</c:v>
                </c:pt>
                <c:pt idx="12" formatCode="0%">
                  <c:v>0.79940408855706502</c:v>
                </c:pt>
                <c:pt idx="13" formatCode="0%">
                  <c:v>0.8147280417852496</c:v>
                </c:pt>
                <c:pt idx="14" formatCode="0%">
                  <c:v>0.81469090337914096</c:v>
                </c:pt>
                <c:pt idx="15" formatCode="0%">
                  <c:v>0.87063221381179712</c:v>
                </c:pt>
                <c:pt idx="16" formatCode="0%">
                  <c:v>0.89805535999802188</c:v>
                </c:pt>
                <c:pt idx="17" formatCode="0%">
                  <c:v>0.93193405708841903</c:v>
                </c:pt>
                <c:pt idx="18" formatCode="0%">
                  <c:v>0.95562341991863375</c:v>
                </c:pt>
                <c:pt idx="19" formatCode="0%">
                  <c:v>0.97163949893888724</c:v>
                </c:pt>
                <c:pt idx="20" formatCode="0%">
                  <c:v>0.97771536165532613</c:v>
                </c:pt>
                <c:pt idx="21" formatCode="0%">
                  <c:v>0.99183795584314982</c:v>
                </c:pt>
                <c:pt idx="22" formatCode="0%">
                  <c:v>0.9621477174722054</c:v>
                </c:pt>
                <c:pt idx="23" formatCode="0%">
                  <c:v>0.91733129605050134</c:v>
                </c:pt>
                <c:pt idx="24" formatCode="0%">
                  <c:v>0.87880482505959578</c:v>
                </c:pt>
                <c:pt idx="25" formatCode="0%">
                  <c:v>0.85830676382093418</c:v>
                </c:pt>
                <c:pt idx="26" formatCode="0%">
                  <c:v>0.86344878922308144</c:v>
                </c:pt>
                <c:pt idx="27" formatCode="0%">
                  <c:v>0.85348608181967844</c:v>
                </c:pt>
                <c:pt idx="28" formatCode="0%">
                  <c:v>0.8150386818666927</c:v>
                </c:pt>
                <c:pt idx="29" formatCode="0%">
                  <c:v>0.80070823198616503</c:v>
                </c:pt>
                <c:pt idx="30" formatCode="0%">
                  <c:v>0.77060821746855279</c:v>
                </c:pt>
                <c:pt idx="31" formatCode="0%">
                  <c:v>0.75856196100326045</c:v>
                </c:pt>
                <c:pt idx="32" formatCode="0%">
                  <c:v>0.74650040858284183</c:v>
                </c:pt>
                <c:pt idx="33" formatCode="0%">
                  <c:v>0.71553807426536287</c:v>
                </c:pt>
                <c:pt idx="34" formatCode="0%">
                  <c:v>0.69519331441621224</c:v>
                </c:pt>
                <c:pt idx="35" formatCode="0%">
                  <c:v>0.64736475342243482</c:v>
                </c:pt>
                <c:pt idx="36" formatCode="0%">
                  <c:v>0.61542240515251845</c:v>
                </c:pt>
                <c:pt idx="37" formatCode="0%">
                  <c:v>0.59052085608738814</c:v>
                </c:pt>
                <c:pt idx="38" formatCode="0%">
                  <c:v>0.54724932272544424</c:v>
                </c:pt>
              </c:numCache>
            </c:numRef>
          </c:val>
          <c:smooth val="0"/>
          <c:extLst xmlns:c15="http://schemas.microsoft.com/office/drawing/2012/chart">
            <c:ext xmlns:c16="http://schemas.microsoft.com/office/drawing/2014/chart" uri="{C3380CC4-5D6E-409C-BE32-E72D297353CC}">
              <c16:uniqueId val="{00000002-9719-4B29-AF48-75CD3F5599CC}"/>
            </c:ext>
          </c:extLst>
        </c:ser>
        <c:ser>
          <c:idx val="3"/>
          <c:order val="3"/>
          <c:tx>
            <c:strRef>
              <c:f>'[POPF Charts.xlsx]Figure 4'!$U$2</c:f>
              <c:strCache>
                <c:ptCount val="1"/>
                <c:pt idx="0">
                  <c:v>Hecate Grid</c:v>
                </c:pt>
              </c:strCache>
            </c:strRef>
          </c:tx>
          <c:spPr>
            <a:ln w="19050" cap="rnd">
              <a:solidFill>
                <a:schemeClr val="accent5">
                  <a:lumMod val="40000"/>
                  <a:lumOff val="60000"/>
                </a:schemeClr>
              </a:solidFill>
              <a:prstDash val="sysDash"/>
              <a:round/>
            </a:ln>
            <a:effectLst/>
          </c:spPr>
          <c:marker>
            <c:symbol val="none"/>
          </c:marker>
          <c:cat>
            <c:numRef>
              <c:f>'[POPF Charts.xlsx]Figure 4'!$Q$4:$Q$42</c:f>
              <c:numCache>
                <c:formatCode>m/d/yyyy</c:formatCode>
                <c:ptCount val="39"/>
                <c:pt idx="0">
                  <c:v>44197</c:v>
                </c:pt>
                <c:pt idx="1">
                  <c:v>44228</c:v>
                </c:pt>
                <c:pt idx="2">
                  <c:v>44256</c:v>
                </c:pt>
                <c:pt idx="3">
                  <c:v>44287</c:v>
                </c:pt>
                <c:pt idx="4">
                  <c:v>44317</c:v>
                </c:pt>
                <c:pt idx="5">
                  <c:v>44348</c:v>
                </c:pt>
                <c:pt idx="6">
                  <c:v>44378</c:v>
                </c:pt>
                <c:pt idx="7">
                  <c:v>44409</c:v>
                </c:pt>
                <c:pt idx="8">
                  <c:v>44440</c:v>
                </c:pt>
                <c:pt idx="9">
                  <c:v>44470</c:v>
                </c:pt>
                <c:pt idx="10">
                  <c:v>44501</c:v>
                </c:pt>
                <c:pt idx="11">
                  <c:v>44531</c:v>
                </c:pt>
                <c:pt idx="12">
                  <c:v>44562</c:v>
                </c:pt>
                <c:pt idx="13">
                  <c:v>44593</c:v>
                </c:pt>
                <c:pt idx="14">
                  <c:v>44621</c:v>
                </c:pt>
                <c:pt idx="15">
                  <c:v>44652</c:v>
                </c:pt>
                <c:pt idx="16">
                  <c:v>44682</c:v>
                </c:pt>
                <c:pt idx="17">
                  <c:v>44713</c:v>
                </c:pt>
                <c:pt idx="18">
                  <c:v>44743</c:v>
                </c:pt>
                <c:pt idx="19">
                  <c:v>44774</c:v>
                </c:pt>
                <c:pt idx="20">
                  <c:v>44805</c:v>
                </c:pt>
                <c:pt idx="21">
                  <c:v>44835</c:v>
                </c:pt>
                <c:pt idx="22">
                  <c:v>44866</c:v>
                </c:pt>
                <c:pt idx="23">
                  <c:v>44896</c:v>
                </c:pt>
                <c:pt idx="24">
                  <c:v>44927</c:v>
                </c:pt>
                <c:pt idx="25">
                  <c:v>44958</c:v>
                </c:pt>
                <c:pt idx="26">
                  <c:v>44986</c:v>
                </c:pt>
                <c:pt idx="27">
                  <c:v>45017</c:v>
                </c:pt>
                <c:pt idx="28">
                  <c:v>45047</c:v>
                </c:pt>
                <c:pt idx="29">
                  <c:v>45078</c:v>
                </c:pt>
                <c:pt idx="30">
                  <c:v>45108</c:v>
                </c:pt>
                <c:pt idx="31">
                  <c:v>45139</c:v>
                </c:pt>
                <c:pt idx="32">
                  <c:v>45170</c:v>
                </c:pt>
                <c:pt idx="33">
                  <c:v>45200</c:v>
                </c:pt>
                <c:pt idx="34">
                  <c:v>45231</c:v>
                </c:pt>
                <c:pt idx="35">
                  <c:v>45261</c:v>
                </c:pt>
                <c:pt idx="36">
                  <c:v>45292</c:v>
                </c:pt>
                <c:pt idx="37">
                  <c:v>45323</c:v>
                </c:pt>
                <c:pt idx="38">
                  <c:v>45352</c:v>
                </c:pt>
              </c:numCache>
            </c:numRef>
          </c:cat>
          <c:val>
            <c:numRef>
              <c:f>'[POPF Charts.xlsx]Figure 4'!$U$4:$U$42</c:f>
              <c:numCache>
                <c:formatCode>General</c:formatCode>
                <c:ptCount val="39"/>
                <c:pt idx="9" formatCode="0%">
                  <c:v>3.3832426207855724E-2</c:v>
                </c:pt>
                <c:pt idx="10" formatCode="0%">
                  <c:v>3.487668215810269E-2</c:v>
                </c:pt>
                <c:pt idx="11" formatCode="0%">
                  <c:v>5.1053629653002107E-2</c:v>
                </c:pt>
                <c:pt idx="12" formatCode="0%">
                  <c:v>0.14866253263924489</c:v>
                </c:pt>
                <c:pt idx="13" formatCode="0%">
                  <c:v>0.23275592643220477</c:v>
                </c:pt>
                <c:pt idx="14" formatCode="0%">
                  <c:v>0.24097612813858224</c:v>
                </c:pt>
                <c:pt idx="15" formatCode="0%">
                  <c:v>0.277661469277175</c:v>
                </c:pt>
                <c:pt idx="16" formatCode="0%">
                  <c:v>0.29716561211821346</c:v>
                </c:pt>
                <c:pt idx="17" formatCode="0%">
                  <c:v>0.31179994449583032</c:v>
                </c:pt>
                <c:pt idx="18" formatCode="0%">
                  <c:v>0.32542597650070348</c:v>
                </c:pt>
                <c:pt idx="19" formatCode="0%">
                  <c:v>0.33953530314601627</c:v>
                </c:pt>
                <c:pt idx="20" formatCode="0%">
                  <c:v>0.33733761796568701</c:v>
                </c:pt>
                <c:pt idx="21" formatCode="0%">
                  <c:v>0.3739050477928289</c:v>
                </c:pt>
                <c:pt idx="22" formatCode="0%">
                  <c:v>0.4082614153408321</c:v>
                </c:pt>
                <c:pt idx="23" formatCode="0%">
                  <c:v>0.4278876966271819</c:v>
                </c:pt>
                <c:pt idx="24" formatCode="0%">
                  <c:v>0.4127547687497124</c:v>
                </c:pt>
                <c:pt idx="25" formatCode="0%">
                  <c:v>0.39934509435035143</c:v>
                </c:pt>
                <c:pt idx="26" formatCode="0%">
                  <c:v>0.41111125507243984</c:v>
                </c:pt>
                <c:pt idx="27" formatCode="0%">
                  <c:v>0.41202697657675363</c:v>
                </c:pt>
                <c:pt idx="28" formatCode="0%">
                  <c:v>0.40345107918964812</c:v>
                </c:pt>
                <c:pt idx="29" formatCode="0%">
                  <c:v>0.40061044140072477</c:v>
                </c:pt>
                <c:pt idx="30" formatCode="0%">
                  <c:v>0.42257889974024909</c:v>
                </c:pt>
                <c:pt idx="31" formatCode="0%">
                  <c:v>0.43816811398979838</c:v>
                </c:pt>
                <c:pt idx="32" formatCode="0%">
                  <c:v>0.46556216087361602</c:v>
                </c:pt>
                <c:pt idx="33" formatCode="0%">
                  <c:v>0.47541145280054864</c:v>
                </c:pt>
                <c:pt idx="34" formatCode="0%">
                  <c:v>0.47219491223248689</c:v>
                </c:pt>
                <c:pt idx="35" formatCode="0%">
                  <c:v>0.48589694405492762</c:v>
                </c:pt>
                <c:pt idx="36" formatCode="0%">
                  <c:v>0.50491202776190447</c:v>
                </c:pt>
                <c:pt idx="37" formatCode="0%">
                  <c:v>0.50565814468558357</c:v>
                </c:pt>
                <c:pt idx="38" formatCode="0%">
                  <c:v>0.49324372250414433</c:v>
                </c:pt>
              </c:numCache>
            </c:numRef>
          </c:val>
          <c:smooth val="0"/>
          <c:extLst xmlns:c15="http://schemas.microsoft.com/office/drawing/2012/chart">
            <c:ext xmlns:c16="http://schemas.microsoft.com/office/drawing/2014/chart" uri="{C3380CC4-5D6E-409C-BE32-E72D297353CC}">
              <c16:uniqueId val="{00000003-9719-4B29-AF48-75CD3F5599CC}"/>
            </c:ext>
          </c:extLst>
        </c:ser>
        <c:ser>
          <c:idx val="4"/>
          <c:order val="4"/>
          <c:tx>
            <c:strRef>
              <c:f>'[POPF Charts.xlsx]Figure 4'!$V$2</c:f>
              <c:strCache>
                <c:ptCount val="1"/>
                <c:pt idx="0">
                  <c:v>Ormat</c:v>
                </c:pt>
              </c:strCache>
            </c:strRef>
          </c:tx>
          <c:spPr>
            <a:ln w="19050" cap="rnd">
              <a:solidFill>
                <a:srgbClr val="F5498B"/>
              </a:solidFill>
              <a:prstDash val="sysDash"/>
              <a:round/>
            </a:ln>
            <a:effectLst/>
          </c:spPr>
          <c:marker>
            <c:symbol val="none"/>
          </c:marker>
          <c:cat>
            <c:numRef>
              <c:f>'[POPF Charts.xlsx]Figure 4'!$Q$4:$Q$42</c:f>
              <c:numCache>
                <c:formatCode>m/d/yyyy</c:formatCode>
                <c:ptCount val="39"/>
                <c:pt idx="0">
                  <c:v>44197</c:v>
                </c:pt>
                <c:pt idx="1">
                  <c:v>44228</c:v>
                </c:pt>
                <c:pt idx="2">
                  <c:v>44256</c:v>
                </c:pt>
                <c:pt idx="3">
                  <c:v>44287</c:v>
                </c:pt>
                <c:pt idx="4">
                  <c:v>44317</c:v>
                </c:pt>
                <c:pt idx="5">
                  <c:v>44348</c:v>
                </c:pt>
                <c:pt idx="6">
                  <c:v>44378</c:v>
                </c:pt>
                <c:pt idx="7">
                  <c:v>44409</c:v>
                </c:pt>
                <c:pt idx="8">
                  <c:v>44440</c:v>
                </c:pt>
                <c:pt idx="9">
                  <c:v>44470</c:v>
                </c:pt>
                <c:pt idx="10">
                  <c:v>44501</c:v>
                </c:pt>
                <c:pt idx="11">
                  <c:v>44531</c:v>
                </c:pt>
                <c:pt idx="12">
                  <c:v>44562</c:v>
                </c:pt>
                <c:pt idx="13">
                  <c:v>44593</c:v>
                </c:pt>
                <c:pt idx="14">
                  <c:v>44621</c:v>
                </c:pt>
                <c:pt idx="15">
                  <c:v>44652</c:v>
                </c:pt>
                <c:pt idx="16">
                  <c:v>44682</c:v>
                </c:pt>
                <c:pt idx="17">
                  <c:v>44713</c:v>
                </c:pt>
                <c:pt idx="18">
                  <c:v>44743</c:v>
                </c:pt>
                <c:pt idx="19">
                  <c:v>44774</c:v>
                </c:pt>
                <c:pt idx="20">
                  <c:v>44805</c:v>
                </c:pt>
                <c:pt idx="21">
                  <c:v>44835</c:v>
                </c:pt>
                <c:pt idx="22">
                  <c:v>44866</c:v>
                </c:pt>
                <c:pt idx="23">
                  <c:v>44896</c:v>
                </c:pt>
                <c:pt idx="24">
                  <c:v>44927</c:v>
                </c:pt>
                <c:pt idx="25">
                  <c:v>44958</c:v>
                </c:pt>
                <c:pt idx="26">
                  <c:v>44986</c:v>
                </c:pt>
                <c:pt idx="27">
                  <c:v>45017</c:v>
                </c:pt>
                <c:pt idx="28">
                  <c:v>45047</c:v>
                </c:pt>
                <c:pt idx="29">
                  <c:v>45078</c:v>
                </c:pt>
                <c:pt idx="30">
                  <c:v>45108</c:v>
                </c:pt>
                <c:pt idx="31">
                  <c:v>45139</c:v>
                </c:pt>
                <c:pt idx="32">
                  <c:v>45170</c:v>
                </c:pt>
                <c:pt idx="33">
                  <c:v>45200</c:v>
                </c:pt>
                <c:pt idx="34">
                  <c:v>45231</c:v>
                </c:pt>
                <c:pt idx="35">
                  <c:v>45261</c:v>
                </c:pt>
                <c:pt idx="36">
                  <c:v>45292</c:v>
                </c:pt>
                <c:pt idx="37">
                  <c:v>45323</c:v>
                </c:pt>
                <c:pt idx="38">
                  <c:v>45352</c:v>
                </c:pt>
              </c:numCache>
            </c:numRef>
          </c:cat>
          <c:val>
            <c:numRef>
              <c:f>'[POPF Charts.xlsx]Figure 4'!$V$4:$V$42</c:f>
              <c:numCache>
                <c:formatCode>0%</c:formatCode>
                <c:ptCount val="39"/>
                <c:pt idx="0">
                  <c:v>1.1673546030146988</c:v>
                </c:pt>
                <c:pt idx="1">
                  <c:v>1.105822253316938</c:v>
                </c:pt>
                <c:pt idx="2">
                  <c:v>1.1135557517315373</c:v>
                </c:pt>
                <c:pt idx="3">
                  <c:v>1.1331898495934767</c:v>
                </c:pt>
                <c:pt idx="4">
                  <c:v>1.1228982790470794</c:v>
                </c:pt>
                <c:pt idx="5">
                  <c:v>1.0942157957881402</c:v>
                </c:pt>
                <c:pt idx="6">
                  <c:v>1.0953785905793612</c:v>
                </c:pt>
                <c:pt idx="7">
                  <c:v>1.1023650832006722</c:v>
                </c:pt>
                <c:pt idx="8">
                  <c:v>1.1068169348177219</c:v>
                </c:pt>
                <c:pt idx="9">
                  <c:v>1.1230246856225441</c:v>
                </c:pt>
                <c:pt idx="10">
                  <c:v>1.1056161380047411</c:v>
                </c:pt>
                <c:pt idx="11">
                  <c:v>1.102816078378279</c:v>
                </c:pt>
                <c:pt idx="12">
                  <c:v>1.0913237311316819</c:v>
                </c:pt>
                <c:pt idx="13">
                  <c:v>1.1288913582658735</c:v>
                </c:pt>
                <c:pt idx="14">
                  <c:v>1.1219002947673105</c:v>
                </c:pt>
                <c:pt idx="15">
                  <c:v>1.0918327926597349</c:v>
                </c:pt>
                <c:pt idx="16">
                  <c:v>1.0853964772083586</c:v>
                </c:pt>
                <c:pt idx="17">
                  <c:v>1.0944434726686041</c:v>
                </c:pt>
                <c:pt idx="18">
                  <c:v>1.081078110542822</c:v>
                </c:pt>
                <c:pt idx="19">
                  <c:v>1.05395166047953</c:v>
                </c:pt>
                <c:pt idx="20">
                  <c:v>1.0285274287347306</c:v>
                </c:pt>
                <c:pt idx="21">
                  <c:v>0.99451419169404776</c:v>
                </c:pt>
                <c:pt idx="22">
                  <c:v>0.95434539214435476</c:v>
                </c:pt>
                <c:pt idx="23">
                  <c:v>0.92317260583754546</c:v>
                </c:pt>
                <c:pt idx="24">
                  <c:v>0.87152391442596722</c:v>
                </c:pt>
                <c:pt idx="25">
                  <c:v>0.83780349327682269</c:v>
                </c:pt>
                <c:pt idx="26">
                  <c:v>0.81794521742032378</c:v>
                </c:pt>
                <c:pt idx="27">
                  <c:v>0.82109224601749231</c:v>
                </c:pt>
                <c:pt idx="28">
                  <c:v>0.8044492586868639</c:v>
                </c:pt>
                <c:pt idx="29">
                  <c:v>0.77992304730024087</c:v>
                </c:pt>
                <c:pt idx="30">
                  <c:v>0.77137707274102552</c:v>
                </c:pt>
                <c:pt idx="31">
                  <c:v>0.75641940472986402</c:v>
                </c:pt>
                <c:pt idx="32">
                  <c:v>0.75903419589441112</c:v>
                </c:pt>
                <c:pt idx="33">
                  <c:v>0.75289326075947116</c:v>
                </c:pt>
                <c:pt idx="34">
                  <c:v>0.73031166561026539</c:v>
                </c:pt>
                <c:pt idx="35">
                  <c:v>0.71664767696056086</c:v>
                </c:pt>
                <c:pt idx="36">
                  <c:v>0.69932387707722243</c:v>
                </c:pt>
                <c:pt idx="37">
                  <c:v>0.65683184358178459</c:v>
                </c:pt>
                <c:pt idx="38">
                  <c:v>0.61375950630575071</c:v>
                </c:pt>
              </c:numCache>
            </c:numRef>
          </c:val>
          <c:smooth val="0"/>
          <c:extLst xmlns:c15="http://schemas.microsoft.com/office/drawing/2012/chart">
            <c:ext xmlns:c16="http://schemas.microsoft.com/office/drawing/2014/chart" uri="{C3380CC4-5D6E-409C-BE32-E72D297353CC}">
              <c16:uniqueId val="{00000004-9719-4B29-AF48-75CD3F5599CC}"/>
            </c:ext>
          </c:extLst>
        </c:ser>
        <c:ser>
          <c:idx val="5"/>
          <c:order val="5"/>
          <c:tx>
            <c:strRef>
              <c:f>'[POPF Charts.xlsx]Figure 4'!$W$2</c:f>
              <c:strCache>
                <c:ptCount val="1"/>
                <c:pt idx="0">
                  <c:v>REV</c:v>
                </c:pt>
              </c:strCache>
            </c:strRef>
          </c:tx>
          <c:spPr>
            <a:ln w="19050" cap="rnd">
              <a:solidFill>
                <a:schemeClr val="accent6"/>
              </a:solidFill>
              <a:prstDash val="sysDash"/>
              <a:round/>
            </a:ln>
            <a:effectLst/>
          </c:spPr>
          <c:marker>
            <c:symbol val="none"/>
          </c:marker>
          <c:cat>
            <c:numRef>
              <c:f>'[POPF Charts.xlsx]Figure 4'!$Q$4:$Q$42</c:f>
              <c:numCache>
                <c:formatCode>m/d/yyyy</c:formatCode>
                <c:ptCount val="39"/>
                <c:pt idx="0">
                  <c:v>44197</c:v>
                </c:pt>
                <c:pt idx="1">
                  <c:v>44228</c:v>
                </c:pt>
                <c:pt idx="2">
                  <c:v>44256</c:v>
                </c:pt>
                <c:pt idx="3">
                  <c:v>44287</c:v>
                </c:pt>
                <c:pt idx="4">
                  <c:v>44317</c:v>
                </c:pt>
                <c:pt idx="5">
                  <c:v>44348</c:v>
                </c:pt>
                <c:pt idx="6">
                  <c:v>44378</c:v>
                </c:pt>
                <c:pt idx="7">
                  <c:v>44409</c:v>
                </c:pt>
                <c:pt idx="8">
                  <c:v>44440</c:v>
                </c:pt>
                <c:pt idx="9">
                  <c:v>44470</c:v>
                </c:pt>
                <c:pt idx="10">
                  <c:v>44501</c:v>
                </c:pt>
                <c:pt idx="11">
                  <c:v>44531</c:v>
                </c:pt>
                <c:pt idx="12">
                  <c:v>44562</c:v>
                </c:pt>
                <c:pt idx="13">
                  <c:v>44593</c:v>
                </c:pt>
                <c:pt idx="14">
                  <c:v>44621</c:v>
                </c:pt>
                <c:pt idx="15">
                  <c:v>44652</c:v>
                </c:pt>
                <c:pt idx="16">
                  <c:v>44682</c:v>
                </c:pt>
                <c:pt idx="17">
                  <c:v>44713</c:v>
                </c:pt>
                <c:pt idx="18">
                  <c:v>44743</c:v>
                </c:pt>
                <c:pt idx="19">
                  <c:v>44774</c:v>
                </c:pt>
                <c:pt idx="20">
                  <c:v>44805</c:v>
                </c:pt>
                <c:pt idx="21">
                  <c:v>44835</c:v>
                </c:pt>
                <c:pt idx="22">
                  <c:v>44866</c:v>
                </c:pt>
                <c:pt idx="23">
                  <c:v>44896</c:v>
                </c:pt>
                <c:pt idx="24">
                  <c:v>44927</c:v>
                </c:pt>
                <c:pt idx="25">
                  <c:v>44958</c:v>
                </c:pt>
                <c:pt idx="26">
                  <c:v>44986</c:v>
                </c:pt>
                <c:pt idx="27">
                  <c:v>45017</c:v>
                </c:pt>
                <c:pt idx="28">
                  <c:v>45047</c:v>
                </c:pt>
                <c:pt idx="29">
                  <c:v>45078</c:v>
                </c:pt>
                <c:pt idx="30">
                  <c:v>45108</c:v>
                </c:pt>
                <c:pt idx="31">
                  <c:v>45139</c:v>
                </c:pt>
                <c:pt idx="32">
                  <c:v>45170</c:v>
                </c:pt>
                <c:pt idx="33">
                  <c:v>45200</c:v>
                </c:pt>
                <c:pt idx="34">
                  <c:v>45231</c:v>
                </c:pt>
                <c:pt idx="35">
                  <c:v>45261</c:v>
                </c:pt>
                <c:pt idx="36">
                  <c:v>45292</c:v>
                </c:pt>
                <c:pt idx="37">
                  <c:v>45323</c:v>
                </c:pt>
                <c:pt idx="38">
                  <c:v>45352</c:v>
                </c:pt>
              </c:numCache>
            </c:numRef>
          </c:cat>
          <c:val>
            <c:numRef>
              <c:f>'[POPF Charts.xlsx]Figure 4'!$W$4:$W$42</c:f>
              <c:numCache>
                <c:formatCode>0%</c:formatCode>
                <c:ptCount val="39"/>
                <c:pt idx="0">
                  <c:v>0.47301385554801373</c:v>
                </c:pt>
                <c:pt idx="1">
                  <c:v>0.47146635937024167</c:v>
                </c:pt>
                <c:pt idx="2">
                  <c:v>0.43147463813324799</c:v>
                </c:pt>
                <c:pt idx="3">
                  <c:v>0.36013712102746359</c:v>
                </c:pt>
                <c:pt idx="4">
                  <c:v>0.30979546870923752</c:v>
                </c:pt>
                <c:pt idx="5">
                  <c:v>0.26512109214001284</c:v>
                </c:pt>
                <c:pt idx="6">
                  <c:v>0.30805156451471594</c:v>
                </c:pt>
                <c:pt idx="7">
                  <c:v>0.32727541821371336</c:v>
                </c:pt>
                <c:pt idx="8">
                  <c:v>0.3569208708586849</c:v>
                </c:pt>
                <c:pt idx="9">
                  <c:v>0.38054992333687587</c:v>
                </c:pt>
                <c:pt idx="10">
                  <c:v>0.42822397858415706</c:v>
                </c:pt>
                <c:pt idx="11">
                  <c:v>0.46771702741339388</c:v>
                </c:pt>
                <c:pt idx="12">
                  <c:v>0.47502735427121573</c:v>
                </c:pt>
                <c:pt idx="13">
                  <c:v>0.45574926824295175</c:v>
                </c:pt>
                <c:pt idx="14">
                  <c:v>0.44283245451435521</c:v>
                </c:pt>
                <c:pt idx="15">
                  <c:v>0.45524352992482381</c:v>
                </c:pt>
                <c:pt idx="16">
                  <c:v>0.47869470962348709</c:v>
                </c:pt>
                <c:pt idx="17">
                  <c:v>0.48057727153219393</c:v>
                </c:pt>
                <c:pt idx="18">
                  <c:v>0.47771990810941894</c:v>
                </c:pt>
                <c:pt idx="19">
                  <c:v>0.49493275844781154</c:v>
                </c:pt>
                <c:pt idx="20">
                  <c:v>0.53229516831097934</c:v>
                </c:pt>
                <c:pt idx="21">
                  <c:v>0.52849488911505804</c:v>
                </c:pt>
                <c:pt idx="22">
                  <c:v>0.51809064096982105</c:v>
                </c:pt>
                <c:pt idx="23">
                  <c:v>0.5066815289220038</c:v>
                </c:pt>
                <c:pt idx="24">
                  <c:v>0.52987698188033128</c:v>
                </c:pt>
                <c:pt idx="25">
                  <c:v>0.56642830564814206</c:v>
                </c:pt>
                <c:pt idx="26">
                  <c:v>0.60573123406360407</c:v>
                </c:pt>
                <c:pt idx="27">
                  <c:v>0.63721396512029094</c:v>
                </c:pt>
                <c:pt idx="28">
                  <c:v>0.627847162781622</c:v>
                </c:pt>
                <c:pt idx="29">
                  <c:v>0.63546378007265669</c:v>
                </c:pt>
                <c:pt idx="30">
                  <c:v>0.65227846053666505</c:v>
                </c:pt>
                <c:pt idx="31">
                  <c:v>0.67273133585591538</c:v>
                </c:pt>
                <c:pt idx="32">
                  <c:v>0.65217622038407697</c:v>
                </c:pt>
                <c:pt idx="33">
                  <c:v>0.65994109867635431</c:v>
                </c:pt>
                <c:pt idx="34">
                  <c:v>0.65568254687972793</c:v>
                </c:pt>
                <c:pt idx="35">
                  <c:v>0.64993183796566634</c:v>
                </c:pt>
                <c:pt idx="36">
                  <c:v>0.63562600003623915</c:v>
                </c:pt>
                <c:pt idx="37">
                  <c:v>0.61053894126198571</c:v>
                </c:pt>
                <c:pt idx="38">
                  <c:v>0.58603693661449496</c:v>
                </c:pt>
              </c:numCache>
            </c:numRef>
          </c:val>
          <c:smooth val="0"/>
          <c:extLst xmlns:c15="http://schemas.microsoft.com/office/drawing/2012/chart">
            <c:ext xmlns:c16="http://schemas.microsoft.com/office/drawing/2014/chart" uri="{C3380CC4-5D6E-409C-BE32-E72D297353CC}">
              <c16:uniqueId val="{00000005-9719-4B29-AF48-75CD3F5599CC}"/>
            </c:ext>
          </c:extLst>
        </c:ser>
        <c:ser>
          <c:idx val="6"/>
          <c:order val="6"/>
          <c:tx>
            <c:strRef>
              <c:f>'[POPF Charts.xlsx]Figure 4'!$X$2</c:f>
              <c:strCache>
                <c:ptCount val="1"/>
                <c:pt idx="0">
                  <c:v>Terra-Gen</c:v>
                </c:pt>
              </c:strCache>
            </c:strRef>
          </c:tx>
          <c:spPr>
            <a:ln w="19050" cap="rnd">
              <a:solidFill>
                <a:schemeClr val="accent1">
                  <a:lumMod val="60000"/>
                </a:schemeClr>
              </a:solidFill>
              <a:prstDash val="sysDash"/>
              <a:round/>
            </a:ln>
            <a:effectLst/>
          </c:spPr>
          <c:marker>
            <c:symbol val="none"/>
          </c:marker>
          <c:cat>
            <c:numRef>
              <c:f>'[POPF Charts.xlsx]Figure 4'!$Q$4:$Q$42</c:f>
              <c:numCache>
                <c:formatCode>m/d/yyyy</c:formatCode>
                <c:ptCount val="39"/>
                <c:pt idx="0">
                  <c:v>44197</c:v>
                </c:pt>
                <c:pt idx="1">
                  <c:v>44228</c:v>
                </c:pt>
                <c:pt idx="2">
                  <c:v>44256</c:v>
                </c:pt>
                <c:pt idx="3">
                  <c:v>44287</c:v>
                </c:pt>
                <c:pt idx="4">
                  <c:v>44317</c:v>
                </c:pt>
                <c:pt idx="5">
                  <c:v>44348</c:v>
                </c:pt>
                <c:pt idx="6">
                  <c:v>44378</c:v>
                </c:pt>
                <c:pt idx="7">
                  <c:v>44409</c:v>
                </c:pt>
                <c:pt idx="8">
                  <c:v>44440</c:v>
                </c:pt>
                <c:pt idx="9">
                  <c:v>44470</c:v>
                </c:pt>
                <c:pt idx="10">
                  <c:v>44501</c:v>
                </c:pt>
                <c:pt idx="11">
                  <c:v>44531</c:v>
                </c:pt>
                <c:pt idx="12">
                  <c:v>44562</c:v>
                </c:pt>
                <c:pt idx="13">
                  <c:v>44593</c:v>
                </c:pt>
                <c:pt idx="14">
                  <c:v>44621</c:v>
                </c:pt>
                <c:pt idx="15">
                  <c:v>44652</c:v>
                </c:pt>
                <c:pt idx="16">
                  <c:v>44682</c:v>
                </c:pt>
                <c:pt idx="17">
                  <c:v>44713</c:v>
                </c:pt>
                <c:pt idx="18">
                  <c:v>44743</c:v>
                </c:pt>
                <c:pt idx="19">
                  <c:v>44774</c:v>
                </c:pt>
                <c:pt idx="20">
                  <c:v>44805</c:v>
                </c:pt>
                <c:pt idx="21">
                  <c:v>44835</c:v>
                </c:pt>
                <c:pt idx="22">
                  <c:v>44866</c:v>
                </c:pt>
                <c:pt idx="23">
                  <c:v>44896</c:v>
                </c:pt>
                <c:pt idx="24">
                  <c:v>44927</c:v>
                </c:pt>
                <c:pt idx="25">
                  <c:v>44958</c:v>
                </c:pt>
                <c:pt idx="26">
                  <c:v>44986</c:v>
                </c:pt>
                <c:pt idx="27">
                  <c:v>45017</c:v>
                </c:pt>
                <c:pt idx="28">
                  <c:v>45047</c:v>
                </c:pt>
                <c:pt idx="29">
                  <c:v>45078</c:v>
                </c:pt>
                <c:pt idx="30">
                  <c:v>45108</c:v>
                </c:pt>
                <c:pt idx="31">
                  <c:v>45139</c:v>
                </c:pt>
                <c:pt idx="32">
                  <c:v>45170</c:v>
                </c:pt>
                <c:pt idx="33">
                  <c:v>45200</c:v>
                </c:pt>
                <c:pt idx="34">
                  <c:v>45231</c:v>
                </c:pt>
                <c:pt idx="35">
                  <c:v>45261</c:v>
                </c:pt>
                <c:pt idx="36">
                  <c:v>45292</c:v>
                </c:pt>
                <c:pt idx="37">
                  <c:v>45323</c:v>
                </c:pt>
                <c:pt idx="38">
                  <c:v>45352</c:v>
                </c:pt>
              </c:numCache>
            </c:numRef>
          </c:cat>
          <c:val>
            <c:numRef>
              <c:f>'[POPF Charts.xlsx]Figure 4'!$X$4:$X$42</c:f>
              <c:numCache>
                <c:formatCode>General</c:formatCode>
                <c:ptCount val="39"/>
                <c:pt idx="12" formatCode="0%">
                  <c:v>0.55856845406832234</c:v>
                </c:pt>
                <c:pt idx="13" formatCode="0%">
                  <c:v>0.59000852408152671</c:v>
                </c:pt>
                <c:pt idx="14" formatCode="0%">
                  <c:v>0.50523205427332274</c:v>
                </c:pt>
                <c:pt idx="15" formatCode="0%">
                  <c:v>0.5515419950771292</c:v>
                </c:pt>
                <c:pt idx="16" formatCode="0%">
                  <c:v>0.54505977735280964</c:v>
                </c:pt>
                <c:pt idx="17" formatCode="0%">
                  <c:v>0.52474780480370542</c:v>
                </c:pt>
                <c:pt idx="18" formatCode="0%">
                  <c:v>0.52976741955435547</c:v>
                </c:pt>
                <c:pt idx="19" formatCode="0%">
                  <c:v>0.51272554198446074</c:v>
                </c:pt>
                <c:pt idx="20" formatCode="0%">
                  <c:v>0.51249952291411149</c:v>
                </c:pt>
                <c:pt idx="21" formatCode="0%">
                  <c:v>0.4983427172472335</c:v>
                </c:pt>
                <c:pt idx="22" formatCode="0%">
                  <c:v>0.47961943085881598</c:v>
                </c:pt>
                <c:pt idx="23" formatCode="0%">
                  <c:v>0.45824866868457037</c:v>
                </c:pt>
                <c:pt idx="24" formatCode="0%">
                  <c:v>0.43254639364887754</c:v>
                </c:pt>
                <c:pt idx="25" formatCode="0%">
                  <c:v>0.41910800315101682</c:v>
                </c:pt>
                <c:pt idx="26" formatCode="0%">
                  <c:v>0.43160589741017846</c:v>
                </c:pt>
                <c:pt idx="27" formatCode="0%">
                  <c:v>0.42003722470385224</c:v>
                </c:pt>
                <c:pt idx="28" formatCode="0%">
                  <c:v>0.42713726144685715</c:v>
                </c:pt>
                <c:pt idx="29" formatCode="0%">
                  <c:v>0.42442462493225563</c:v>
                </c:pt>
                <c:pt idx="30" formatCode="0%">
                  <c:v>0.43486381924012324</c:v>
                </c:pt>
                <c:pt idx="31" formatCode="0%">
                  <c:v>0.46481962686625461</c:v>
                </c:pt>
                <c:pt idx="32" formatCode="0%">
                  <c:v>0.46600899676115892</c:v>
                </c:pt>
                <c:pt idx="33" formatCode="0%">
                  <c:v>0.46085724660344285</c:v>
                </c:pt>
                <c:pt idx="34" formatCode="0%">
                  <c:v>0.46752553413779468</c:v>
                </c:pt>
                <c:pt idx="35" formatCode="0%">
                  <c:v>0.47441331974148926</c:v>
                </c:pt>
                <c:pt idx="36" formatCode="0%">
                  <c:v>0.47313258695994054</c:v>
                </c:pt>
                <c:pt idx="37" formatCode="0%">
                  <c:v>0.46356095901193584</c:v>
                </c:pt>
                <c:pt idx="38" formatCode="0%">
                  <c:v>0.45648442230498265</c:v>
                </c:pt>
              </c:numCache>
            </c:numRef>
          </c:val>
          <c:smooth val="0"/>
          <c:extLst xmlns:c15="http://schemas.microsoft.com/office/drawing/2012/chart">
            <c:ext xmlns:c16="http://schemas.microsoft.com/office/drawing/2014/chart" uri="{C3380CC4-5D6E-409C-BE32-E72D297353CC}">
              <c16:uniqueId val="{00000006-9719-4B29-AF48-75CD3F5599CC}"/>
            </c:ext>
          </c:extLst>
        </c:ser>
        <c:ser>
          <c:idx val="7"/>
          <c:order val="7"/>
          <c:tx>
            <c:strRef>
              <c:f>'[POPF Charts.xlsx]Figure 4'!$Y$2</c:f>
              <c:strCache>
                <c:ptCount val="1"/>
                <c:pt idx="0">
                  <c:v>Wellhead</c:v>
                </c:pt>
              </c:strCache>
            </c:strRef>
          </c:tx>
          <c:spPr>
            <a:ln w="19050" cap="rnd">
              <a:solidFill>
                <a:schemeClr val="accent2">
                  <a:lumMod val="60000"/>
                </a:schemeClr>
              </a:solidFill>
              <a:prstDash val="sysDash"/>
              <a:round/>
            </a:ln>
            <a:effectLst/>
          </c:spPr>
          <c:marker>
            <c:symbol val="none"/>
          </c:marker>
          <c:cat>
            <c:numRef>
              <c:f>'[POPF Charts.xlsx]Figure 4'!$Q$4:$Q$42</c:f>
              <c:numCache>
                <c:formatCode>m/d/yyyy</c:formatCode>
                <c:ptCount val="39"/>
                <c:pt idx="0">
                  <c:v>44197</c:v>
                </c:pt>
                <c:pt idx="1">
                  <c:v>44228</c:v>
                </c:pt>
                <c:pt idx="2">
                  <c:v>44256</c:v>
                </c:pt>
                <c:pt idx="3">
                  <c:v>44287</c:v>
                </c:pt>
                <c:pt idx="4">
                  <c:v>44317</c:v>
                </c:pt>
                <c:pt idx="5">
                  <c:v>44348</c:v>
                </c:pt>
                <c:pt idx="6">
                  <c:v>44378</c:v>
                </c:pt>
                <c:pt idx="7">
                  <c:v>44409</c:v>
                </c:pt>
                <c:pt idx="8">
                  <c:v>44440</c:v>
                </c:pt>
                <c:pt idx="9">
                  <c:v>44470</c:v>
                </c:pt>
                <c:pt idx="10">
                  <c:v>44501</c:v>
                </c:pt>
                <c:pt idx="11">
                  <c:v>44531</c:v>
                </c:pt>
                <c:pt idx="12">
                  <c:v>44562</c:v>
                </c:pt>
                <c:pt idx="13">
                  <c:v>44593</c:v>
                </c:pt>
                <c:pt idx="14">
                  <c:v>44621</c:v>
                </c:pt>
                <c:pt idx="15">
                  <c:v>44652</c:v>
                </c:pt>
                <c:pt idx="16">
                  <c:v>44682</c:v>
                </c:pt>
                <c:pt idx="17">
                  <c:v>44713</c:v>
                </c:pt>
                <c:pt idx="18">
                  <c:v>44743</c:v>
                </c:pt>
                <c:pt idx="19">
                  <c:v>44774</c:v>
                </c:pt>
                <c:pt idx="20">
                  <c:v>44805</c:v>
                </c:pt>
                <c:pt idx="21">
                  <c:v>44835</c:v>
                </c:pt>
                <c:pt idx="22">
                  <c:v>44866</c:v>
                </c:pt>
                <c:pt idx="23">
                  <c:v>44896</c:v>
                </c:pt>
                <c:pt idx="24">
                  <c:v>44927</c:v>
                </c:pt>
                <c:pt idx="25">
                  <c:v>44958</c:v>
                </c:pt>
                <c:pt idx="26">
                  <c:v>44986</c:v>
                </c:pt>
                <c:pt idx="27">
                  <c:v>45017</c:v>
                </c:pt>
                <c:pt idx="28">
                  <c:v>45047</c:v>
                </c:pt>
                <c:pt idx="29">
                  <c:v>45078</c:v>
                </c:pt>
                <c:pt idx="30">
                  <c:v>45108</c:v>
                </c:pt>
                <c:pt idx="31">
                  <c:v>45139</c:v>
                </c:pt>
                <c:pt idx="32">
                  <c:v>45170</c:v>
                </c:pt>
                <c:pt idx="33">
                  <c:v>45200</c:v>
                </c:pt>
                <c:pt idx="34">
                  <c:v>45231</c:v>
                </c:pt>
                <c:pt idx="35">
                  <c:v>45261</c:v>
                </c:pt>
                <c:pt idx="36">
                  <c:v>45292</c:v>
                </c:pt>
                <c:pt idx="37">
                  <c:v>45323</c:v>
                </c:pt>
                <c:pt idx="38">
                  <c:v>45352</c:v>
                </c:pt>
              </c:numCache>
            </c:numRef>
          </c:cat>
          <c:val>
            <c:numRef>
              <c:f>'[POPF Charts.xlsx]Figure 4'!$Y$4:$Y$42</c:f>
              <c:numCache>
                <c:formatCode>General</c:formatCode>
                <c:ptCount val="39"/>
                <c:pt idx="34" formatCode="0%">
                  <c:v>0.72044683710405877</c:v>
                </c:pt>
                <c:pt idx="35" formatCode="0%">
                  <c:v>0.66661778241117586</c:v>
                </c:pt>
                <c:pt idx="36" formatCode="0%">
                  <c:v>0.61853185873443506</c:v>
                </c:pt>
                <c:pt idx="37" formatCode="0%">
                  <c:v>0.62882607588606609</c:v>
                </c:pt>
                <c:pt idx="38" formatCode="0%">
                  <c:v>0.61904689453072115</c:v>
                </c:pt>
              </c:numCache>
            </c:numRef>
          </c:val>
          <c:smooth val="0"/>
          <c:extLst xmlns:c15="http://schemas.microsoft.com/office/drawing/2012/chart">
            <c:ext xmlns:c16="http://schemas.microsoft.com/office/drawing/2014/chart" uri="{C3380CC4-5D6E-409C-BE32-E72D297353CC}">
              <c16:uniqueId val="{00000007-9719-4B29-AF48-75CD3F5599CC}"/>
            </c:ext>
          </c:extLst>
        </c:ser>
        <c:ser>
          <c:idx val="8"/>
          <c:order val="8"/>
          <c:tx>
            <c:strRef>
              <c:f>'[POPF Charts.xlsx]Figure 4'!$Z$2</c:f>
              <c:strCache>
                <c:ptCount val="1"/>
                <c:pt idx="0">
                  <c:v>Acciona</c:v>
                </c:pt>
              </c:strCache>
            </c:strRef>
          </c:tx>
          <c:spPr>
            <a:ln w="19050" cap="rnd">
              <a:solidFill>
                <a:schemeClr val="accent3">
                  <a:lumMod val="60000"/>
                </a:schemeClr>
              </a:solidFill>
              <a:round/>
            </a:ln>
            <a:effectLst/>
          </c:spPr>
          <c:marker>
            <c:symbol val="none"/>
          </c:marker>
          <c:cat>
            <c:numRef>
              <c:f>'[POPF Charts.xlsx]Figure 4'!$Q$4:$Q$42</c:f>
              <c:numCache>
                <c:formatCode>m/d/yyyy</c:formatCode>
                <c:ptCount val="39"/>
                <c:pt idx="0">
                  <c:v>44197</c:v>
                </c:pt>
                <c:pt idx="1">
                  <c:v>44228</c:v>
                </c:pt>
                <c:pt idx="2">
                  <c:v>44256</c:v>
                </c:pt>
                <c:pt idx="3">
                  <c:v>44287</c:v>
                </c:pt>
                <c:pt idx="4">
                  <c:v>44317</c:v>
                </c:pt>
                <c:pt idx="5">
                  <c:v>44348</c:v>
                </c:pt>
                <c:pt idx="6">
                  <c:v>44378</c:v>
                </c:pt>
                <c:pt idx="7">
                  <c:v>44409</c:v>
                </c:pt>
                <c:pt idx="8">
                  <c:v>44440</c:v>
                </c:pt>
                <c:pt idx="9">
                  <c:v>44470</c:v>
                </c:pt>
                <c:pt idx="10">
                  <c:v>44501</c:v>
                </c:pt>
                <c:pt idx="11">
                  <c:v>44531</c:v>
                </c:pt>
                <c:pt idx="12">
                  <c:v>44562</c:v>
                </c:pt>
                <c:pt idx="13">
                  <c:v>44593</c:v>
                </c:pt>
                <c:pt idx="14">
                  <c:v>44621</c:v>
                </c:pt>
                <c:pt idx="15">
                  <c:v>44652</c:v>
                </c:pt>
                <c:pt idx="16">
                  <c:v>44682</c:v>
                </c:pt>
                <c:pt idx="17">
                  <c:v>44713</c:v>
                </c:pt>
                <c:pt idx="18">
                  <c:v>44743</c:v>
                </c:pt>
                <c:pt idx="19">
                  <c:v>44774</c:v>
                </c:pt>
                <c:pt idx="20">
                  <c:v>44805</c:v>
                </c:pt>
                <c:pt idx="21">
                  <c:v>44835</c:v>
                </c:pt>
                <c:pt idx="22">
                  <c:v>44866</c:v>
                </c:pt>
                <c:pt idx="23">
                  <c:v>44896</c:v>
                </c:pt>
                <c:pt idx="24">
                  <c:v>44927</c:v>
                </c:pt>
                <c:pt idx="25">
                  <c:v>44958</c:v>
                </c:pt>
                <c:pt idx="26">
                  <c:v>44986</c:v>
                </c:pt>
                <c:pt idx="27">
                  <c:v>45017</c:v>
                </c:pt>
                <c:pt idx="28">
                  <c:v>45047</c:v>
                </c:pt>
                <c:pt idx="29">
                  <c:v>45078</c:v>
                </c:pt>
                <c:pt idx="30">
                  <c:v>45108</c:v>
                </c:pt>
                <c:pt idx="31">
                  <c:v>45139</c:v>
                </c:pt>
                <c:pt idx="32">
                  <c:v>45170</c:v>
                </c:pt>
                <c:pt idx="33">
                  <c:v>45200</c:v>
                </c:pt>
                <c:pt idx="34">
                  <c:v>45231</c:v>
                </c:pt>
                <c:pt idx="35">
                  <c:v>45261</c:v>
                </c:pt>
                <c:pt idx="36">
                  <c:v>45292</c:v>
                </c:pt>
                <c:pt idx="37">
                  <c:v>45323</c:v>
                </c:pt>
                <c:pt idx="38">
                  <c:v>45352</c:v>
                </c:pt>
              </c:numCache>
            </c:numRef>
          </c:cat>
          <c:val>
            <c:numRef>
              <c:f>'[POPF Charts.xlsx]Figure 4'!$Z$4:$Z$42</c:f>
              <c:numCache>
                <c:formatCode>General</c:formatCode>
                <c:ptCount val="39"/>
                <c:pt idx="31" formatCode="0%">
                  <c:v>7.2606205573607627E-2</c:v>
                </c:pt>
                <c:pt idx="32" formatCode="0%">
                  <c:v>0.16751862773238999</c:v>
                </c:pt>
                <c:pt idx="33" formatCode="0%">
                  <c:v>0.17122737635222349</c:v>
                </c:pt>
                <c:pt idx="34" formatCode="0%">
                  <c:v>0.17186062365278887</c:v>
                </c:pt>
                <c:pt idx="35" formatCode="0%">
                  <c:v>0.17070527252804318</c:v>
                </c:pt>
                <c:pt idx="36" formatCode="0%">
                  <c:v>0.15854966893313138</c:v>
                </c:pt>
                <c:pt idx="37" formatCode="0%">
                  <c:v>0.16009675306877738</c:v>
                </c:pt>
                <c:pt idx="38" formatCode="0%">
                  <c:v>0.18047448967683483</c:v>
                </c:pt>
              </c:numCache>
            </c:numRef>
          </c:val>
          <c:smooth val="0"/>
          <c:extLst xmlns:c15="http://schemas.microsoft.com/office/drawing/2012/chart">
            <c:ext xmlns:c16="http://schemas.microsoft.com/office/drawing/2014/chart" uri="{C3380CC4-5D6E-409C-BE32-E72D297353CC}">
              <c16:uniqueId val="{00000008-9719-4B29-AF48-75CD3F5599CC}"/>
            </c:ext>
          </c:extLst>
        </c:ser>
        <c:ser>
          <c:idx val="9"/>
          <c:order val="9"/>
          <c:tx>
            <c:strRef>
              <c:f>'[POPF Charts.xlsx]Figure 4'!$AA$2</c:f>
              <c:strCache>
                <c:ptCount val="1"/>
                <c:pt idx="0">
                  <c:v>Aypa Power</c:v>
                </c:pt>
              </c:strCache>
            </c:strRef>
          </c:tx>
          <c:spPr>
            <a:ln w="19050" cap="rnd">
              <a:solidFill>
                <a:schemeClr val="accent4">
                  <a:lumMod val="60000"/>
                </a:schemeClr>
              </a:solidFill>
              <a:round/>
            </a:ln>
            <a:effectLst/>
          </c:spPr>
          <c:marker>
            <c:symbol val="none"/>
          </c:marker>
          <c:cat>
            <c:numRef>
              <c:f>'[POPF Charts.xlsx]Figure 4'!$Q$4:$Q$42</c:f>
              <c:numCache>
                <c:formatCode>m/d/yyyy</c:formatCode>
                <c:ptCount val="39"/>
                <c:pt idx="0">
                  <c:v>44197</c:v>
                </c:pt>
                <c:pt idx="1">
                  <c:v>44228</c:v>
                </c:pt>
                <c:pt idx="2">
                  <c:v>44256</c:v>
                </c:pt>
                <c:pt idx="3">
                  <c:v>44287</c:v>
                </c:pt>
                <c:pt idx="4">
                  <c:v>44317</c:v>
                </c:pt>
                <c:pt idx="5">
                  <c:v>44348</c:v>
                </c:pt>
                <c:pt idx="6">
                  <c:v>44378</c:v>
                </c:pt>
                <c:pt idx="7">
                  <c:v>44409</c:v>
                </c:pt>
                <c:pt idx="8">
                  <c:v>44440</c:v>
                </c:pt>
                <c:pt idx="9">
                  <c:v>44470</c:v>
                </c:pt>
                <c:pt idx="10">
                  <c:v>44501</c:v>
                </c:pt>
                <c:pt idx="11">
                  <c:v>44531</c:v>
                </c:pt>
                <c:pt idx="12">
                  <c:v>44562</c:v>
                </c:pt>
                <c:pt idx="13">
                  <c:v>44593</c:v>
                </c:pt>
                <c:pt idx="14">
                  <c:v>44621</c:v>
                </c:pt>
                <c:pt idx="15">
                  <c:v>44652</c:v>
                </c:pt>
                <c:pt idx="16">
                  <c:v>44682</c:v>
                </c:pt>
                <c:pt idx="17">
                  <c:v>44713</c:v>
                </c:pt>
                <c:pt idx="18">
                  <c:v>44743</c:v>
                </c:pt>
                <c:pt idx="19">
                  <c:v>44774</c:v>
                </c:pt>
                <c:pt idx="20">
                  <c:v>44805</c:v>
                </c:pt>
                <c:pt idx="21">
                  <c:v>44835</c:v>
                </c:pt>
                <c:pt idx="22">
                  <c:v>44866</c:v>
                </c:pt>
                <c:pt idx="23">
                  <c:v>44896</c:v>
                </c:pt>
                <c:pt idx="24">
                  <c:v>44927</c:v>
                </c:pt>
                <c:pt idx="25">
                  <c:v>44958</c:v>
                </c:pt>
                <c:pt idx="26">
                  <c:v>44986</c:v>
                </c:pt>
                <c:pt idx="27">
                  <c:v>45017</c:v>
                </c:pt>
                <c:pt idx="28">
                  <c:v>45047</c:v>
                </c:pt>
                <c:pt idx="29">
                  <c:v>45078</c:v>
                </c:pt>
                <c:pt idx="30">
                  <c:v>45108</c:v>
                </c:pt>
                <c:pt idx="31">
                  <c:v>45139</c:v>
                </c:pt>
                <c:pt idx="32">
                  <c:v>45170</c:v>
                </c:pt>
                <c:pt idx="33">
                  <c:v>45200</c:v>
                </c:pt>
                <c:pt idx="34">
                  <c:v>45231</c:v>
                </c:pt>
                <c:pt idx="35">
                  <c:v>45261</c:v>
                </c:pt>
                <c:pt idx="36">
                  <c:v>45292</c:v>
                </c:pt>
                <c:pt idx="37">
                  <c:v>45323</c:v>
                </c:pt>
                <c:pt idx="38">
                  <c:v>45352</c:v>
                </c:pt>
              </c:numCache>
            </c:numRef>
          </c:cat>
          <c:val>
            <c:numRef>
              <c:f>'[POPF Charts.xlsx]Figure 4'!$AA$4:$AA$42</c:f>
              <c:numCache>
                <c:formatCode>General</c:formatCode>
                <c:ptCount val="39"/>
                <c:pt idx="30" formatCode="0%">
                  <c:v>3.0812862874756354E-2</c:v>
                </c:pt>
                <c:pt idx="31" formatCode="0%">
                  <c:v>0.22303438039725074</c:v>
                </c:pt>
                <c:pt idx="32" formatCode="0%">
                  <c:v>0.32400408544544351</c:v>
                </c:pt>
                <c:pt idx="33" formatCode="0%">
                  <c:v>0.40812902288613406</c:v>
                </c:pt>
                <c:pt idx="34" formatCode="0%">
                  <c:v>0.46596914178064264</c:v>
                </c:pt>
                <c:pt idx="35" formatCode="0%">
                  <c:v>0.46683321598965805</c:v>
                </c:pt>
                <c:pt idx="36" formatCode="0%">
                  <c:v>0.45949183428854334</c:v>
                </c:pt>
                <c:pt idx="37" formatCode="0%">
                  <c:v>0.45960579235848031</c:v>
                </c:pt>
                <c:pt idx="38" formatCode="0%">
                  <c:v>0.46283533442963581</c:v>
                </c:pt>
              </c:numCache>
            </c:numRef>
          </c:val>
          <c:smooth val="0"/>
          <c:extLst xmlns:c15="http://schemas.microsoft.com/office/drawing/2012/chart">
            <c:ext xmlns:c16="http://schemas.microsoft.com/office/drawing/2014/chart" uri="{C3380CC4-5D6E-409C-BE32-E72D297353CC}">
              <c16:uniqueId val="{00000009-9719-4B29-AF48-75CD3F5599CC}"/>
            </c:ext>
          </c:extLst>
        </c:ser>
        <c:ser>
          <c:idx val="10"/>
          <c:order val="10"/>
          <c:tx>
            <c:strRef>
              <c:f>'[POPF Charts.xlsx]Figure 4'!$AB$2</c:f>
              <c:strCache>
                <c:ptCount val="1"/>
                <c:pt idx="0">
                  <c:v>ENGIE</c:v>
                </c:pt>
              </c:strCache>
            </c:strRef>
          </c:tx>
          <c:spPr>
            <a:ln w="19050" cap="rnd">
              <a:solidFill>
                <a:schemeClr val="accent1"/>
              </a:solidFill>
              <a:round/>
            </a:ln>
            <a:effectLst/>
          </c:spPr>
          <c:marker>
            <c:symbol val="none"/>
          </c:marker>
          <c:cat>
            <c:numRef>
              <c:f>'[POPF Charts.xlsx]Figure 4'!$Q$4:$Q$42</c:f>
              <c:numCache>
                <c:formatCode>m/d/yyyy</c:formatCode>
                <c:ptCount val="39"/>
                <c:pt idx="0">
                  <c:v>44197</c:v>
                </c:pt>
                <c:pt idx="1">
                  <c:v>44228</c:v>
                </c:pt>
                <c:pt idx="2">
                  <c:v>44256</c:v>
                </c:pt>
                <c:pt idx="3">
                  <c:v>44287</c:v>
                </c:pt>
                <c:pt idx="4">
                  <c:v>44317</c:v>
                </c:pt>
                <c:pt idx="5">
                  <c:v>44348</c:v>
                </c:pt>
                <c:pt idx="6">
                  <c:v>44378</c:v>
                </c:pt>
                <c:pt idx="7">
                  <c:v>44409</c:v>
                </c:pt>
                <c:pt idx="8">
                  <c:v>44440</c:v>
                </c:pt>
                <c:pt idx="9">
                  <c:v>44470</c:v>
                </c:pt>
                <c:pt idx="10">
                  <c:v>44501</c:v>
                </c:pt>
                <c:pt idx="11">
                  <c:v>44531</c:v>
                </c:pt>
                <c:pt idx="12">
                  <c:v>44562</c:v>
                </c:pt>
                <c:pt idx="13">
                  <c:v>44593</c:v>
                </c:pt>
                <c:pt idx="14">
                  <c:v>44621</c:v>
                </c:pt>
                <c:pt idx="15">
                  <c:v>44652</c:v>
                </c:pt>
                <c:pt idx="16">
                  <c:v>44682</c:v>
                </c:pt>
                <c:pt idx="17">
                  <c:v>44713</c:v>
                </c:pt>
                <c:pt idx="18">
                  <c:v>44743</c:v>
                </c:pt>
                <c:pt idx="19">
                  <c:v>44774</c:v>
                </c:pt>
                <c:pt idx="20">
                  <c:v>44805</c:v>
                </c:pt>
                <c:pt idx="21">
                  <c:v>44835</c:v>
                </c:pt>
                <c:pt idx="22">
                  <c:v>44866</c:v>
                </c:pt>
                <c:pt idx="23">
                  <c:v>44896</c:v>
                </c:pt>
                <c:pt idx="24">
                  <c:v>44927</c:v>
                </c:pt>
                <c:pt idx="25">
                  <c:v>44958</c:v>
                </c:pt>
                <c:pt idx="26">
                  <c:v>44986</c:v>
                </c:pt>
                <c:pt idx="27">
                  <c:v>45017</c:v>
                </c:pt>
                <c:pt idx="28">
                  <c:v>45047</c:v>
                </c:pt>
                <c:pt idx="29">
                  <c:v>45078</c:v>
                </c:pt>
                <c:pt idx="30">
                  <c:v>45108</c:v>
                </c:pt>
                <c:pt idx="31">
                  <c:v>45139</c:v>
                </c:pt>
                <c:pt idx="32">
                  <c:v>45170</c:v>
                </c:pt>
                <c:pt idx="33">
                  <c:v>45200</c:v>
                </c:pt>
                <c:pt idx="34">
                  <c:v>45231</c:v>
                </c:pt>
                <c:pt idx="35">
                  <c:v>45261</c:v>
                </c:pt>
                <c:pt idx="36">
                  <c:v>45292</c:v>
                </c:pt>
                <c:pt idx="37">
                  <c:v>45323</c:v>
                </c:pt>
                <c:pt idx="38">
                  <c:v>45352</c:v>
                </c:pt>
              </c:numCache>
            </c:numRef>
          </c:cat>
          <c:val>
            <c:numRef>
              <c:f>'[POPF Charts.xlsx]Figure 4'!$AB$4:$AB$42</c:f>
              <c:numCache>
                <c:formatCode>0%</c:formatCode>
                <c:ptCount val="39"/>
                <c:pt idx="0">
                  <c:v>0.56260118505853185</c:v>
                </c:pt>
                <c:pt idx="1">
                  <c:v>0.65844447444193466</c:v>
                </c:pt>
                <c:pt idx="2">
                  <c:v>0.67769458265142313</c:v>
                </c:pt>
                <c:pt idx="3">
                  <c:v>0.68467834893914636</c:v>
                </c:pt>
                <c:pt idx="4">
                  <c:v>0.68049416573402655</c:v>
                </c:pt>
                <c:pt idx="5">
                  <c:v>0.70030651055962101</c:v>
                </c:pt>
                <c:pt idx="6">
                  <c:v>0.72177903627214124</c:v>
                </c:pt>
                <c:pt idx="7">
                  <c:v>0.73231104826170845</c:v>
                </c:pt>
                <c:pt idx="8">
                  <c:v>0.74440506820699648</c:v>
                </c:pt>
                <c:pt idx="9">
                  <c:v>0.72278341671604629</c:v>
                </c:pt>
                <c:pt idx="10">
                  <c:v>0.71071901199651666</c:v>
                </c:pt>
                <c:pt idx="11">
                  <c:v>0.71075697510441238</c:v>
                </c:pt>
                <c:pt idx="12">
                  <c:v>0.70671255403668598</c:v>
                </c:pt>
                <c:pt idx="13">
                  <c:v>0.68668405940679966</c:v>
                </c:pt>
                <c:pt idx="14">
                  <c:v>0.66335051677494261</c:v>
                </c:pt>
                <c:pt idx="15">
                  <c:v>0.65447508496586837</c:v>
                </c:pt>
                <c:pt idx="16">
                  <c:v>0.66005762293895331</c:v>
                </c:pt>
                <c:pt idx="17">
                  <c:v>0.63249804458662162</c:v>
                </c:pt>
                <c:pt idx="18">
                  <c:v>0.61676684666939618</c:v>
                </c:pt>
                <c:pt idx="19">
                  <c:v>0.59995404156059207</c:v>
                </c:pt>
                <c:pt idx="20">
                  <c:v>0.57232288439490275</c:v>
                </c:pt>
                <c:pt idx="21">
                  <c:v>0.57978757180461316</c:v>
                </c:pt>
                <c:pt idx="22">
                  <c:v>0.59010631196103047</c:v>
                </c:pt>
                <c:pt idx="23">
                  <c:v>0.59053075073185668</c:v>
                </c:pt>
                <c:pt idx="24">
                  <c:v>0.57467543139932742</c:v>
                </c:pt>
                <c:pt idx="25">
                  <c:v>0.53333497052615575</c:v>
                </c:pt>
                <c:pt idx="26">
                  <c:v>0.55131741497675668</c:v>
                </c:pt>
                <c:pt idx="27">
                  <c:v>0.54815465979383371</c:v>
                </c:pt>
                <c:pt idx="28">
                  <c:v>0.5313248641726146</c:v>
                </c:pt>
                <c:pt idx="29">
                  <c:v>0.5542925969425011</c:v>
                </c:pt>
                <c:pt idx="30">
                  <c:v>0.54789103575311049</c:v>
                </c:pt>
                <c:pt idx="31">
                  <c:v>0.55662131099412637</c:v>
                </c:pt>
                <c:pt idx="32">
                  <c:v>0.56610693438509763</c:v>
                </c:pt>
                <c:pt idx="33">
                  <c:v>0.5691958949598811</c:v>
                </c:pt>
                <c:pt idx="34">
                  <c:v>0.59255659016194995</c:v>
                </c:pt>
                <c:pt idx="35">
                  <c:v>0.58588075667288786</c:v>
                </c:pt>
                <c:pt idx="36">
                  <c:v>0.61289707430791374</c:v>
                </c:pt>
                <c:pt idx="37">
                  <c:v>0.63040431563098442</c:v>
                </c:pt>
                <c:pt idx="38">
                  <c:v>0.61265149294800691</c:v>
                </c:pt>
              </c:numCache>
            </c:numRef>
          </c:val>
          <c:smooth val="0"/>
          <c:extLst>
            <c:ext xmlns:c16="http://schemas.microsoft.com/office/drawing/2014/chart" uri="{C3380CC4-5D6E-409C-BE32-E72D297353CC}">
              <c16:uniqueId val="{0000000A-9719-4B29-AF48-75CD3F5599CC}"/>
            </c:ext>
          </c:extLst>
        </c:ser>
        <c:ser>
          <c:idx val="11"/>
          <c:order val="11"/>
          <c:tx>
            <c:strRef>
              <c:f>'[POPF Charts.xlsx]Figure 4'!$AC$2</c:f>
              <c:strCache>
                <c:ptCount val="1"/>
                <c:pt idx="0">
                  <c:v>Eolian</c:v>
                </c:pt>
              </c:strCache>
            </c:strRef>
          </c:tx>
          <c:spPr>
            <a:ln w="19050" cap="rnd">
              <a:solidFill>
                <a:schemeClr val="accent2"/>
              </a:solidFill>
              <a:round/>
            </a:ln>
            <a:effectLst/>
          </c:spPr>
          <c:marker>
            <c:symbol val="none"/>
          </c:marker>
          <c:cat>
            <c:numRef>
              <c:f>'[POPF Charts.xlsx]Figure 4'!$Q$4:$Q$42</c:f>
              <c:numCache>
                <c:formatCode>m/d/yyyy</c:formatCode>
                <c:ptCount val="39"/>
                <c:pt idx="0">
                  <c:v>44197</c:v>
                </c:pt>
                <c:pt idx="1">
                  <c:v>44228</c:v>
                </c:pt>
                <c:pt idx="2">
                  <c:v>44256</c:v>
                </c:pt>
                <c:pt idx="3">
                  <c:v>44287</c:v>
                </c:pt>
                <c:pt idx="4">
                  <c:v>44317</c:v>
                </c:pt>
                <c:pt idx="5">
                  <c:v>44348</c:v>
                </c:pt>
                <c:pt idx="6">
                  <c:v>44378</c:v>
                </c:pt>
                <c:pt idx="7">
                  <c:v>44409</c:v>
                </c:pt>
                <c:pt idx="8">
                  <c:v>44440</c:v>
                </c:pt>
                <c:pt idx="9">
                  <c:v>44470</c:v>
                </c:pt>
                <c:pt idx="10">
                  <c:v>44501</c:v>
                </c:pt>
                <c:pt idx="11">
                  <c:v>44531</c:v>
                </c:pt>
                <c:pt idx="12">
                  <c:v>44562</c:v>
                </c:pt>
                <c:pt idx="13">
                  <c:v>44593</c:v>
                </c:pt>
                <c:pt idx="14">
                  <c:v>44621</c:v>
                </c:pt>
                <c:pt idx="15">
                  <c:v>44652</c:v>
                </c:pt>
                <c:pt idx="16">
                  <c:v>44682</c:v>
                </c:pt>
                <c:pt idx="17">
                  <c:v>44713</c:v>
                </c:pt>
                <c:pt idx="18">
                  <c:v>44743</c:v>
                </c:pt>
                <c:pt idx="19">
                  <c:v>44774</c:v>
                </c:pt>
                <c:pt idx="20">
                  <c:v>44805</c:v>
                </c:pt>
                <c:pt idx="21">
                  <c:v>44835</c:v>
                </c:pt>
                <c:pt idx="22">
                  <c:v>44866</c:v>
                </c:pt>
                <c:pt idx="23">
                  <c:v>44896</c:v>
                </c:pt>
                <c:pt idx="24">
                  <c:v>44927</c:v>
                </c:pt>
                <c:pt idx="25">
                  <c:v>44958</c:v>
                </c:pt>
                <c:pt idx="26">
                  <c:v>44986</c:v>
                </c:pt>
                <c:pt idx="27">
                  <c:v>45017</c:v>
                </c:pt>
                <c:pt idx="28">
                  <c:v>45047</c:v>
                </c:pt>
                <c:pt idx="29">
                  <c:v>45078</c:v>
                </c:pt>
                <c:pt idx="30">
                  <c:v>45108</c:v>
                </c:pt>
                <c:pt idx="31">
                  <c:v>45139</c:v>
                </c:pt>
                <c:pt idx="32">
                  <c:v>45170</c:v>
                </c:pt>
                <c:pt idx="33">
                  <c:v>45200</c:v>
                </c:pt>
                <c:pt idx="34">
                  <c:v>45231</c:v>
                </c:pt>
                <c:pt idx="35">
                  <c:v>45261</c:v>
                </c:pt>
                <c:pt idx="36">
                  <c:v>45292</c:v>
                </c:pt>
                <c:pt idx="37">
                  <c:v>45323</c:v>
                </c:pt>
                <c:pt idx="38">
                  <c:v>45352</c:v>
                </c:pt>
              </c:numCache>
            </c:numRef>
          </c:cat>
          <c:val>
            <c:numRef>
              <c:f>'[POPF Charts.xlsx]Figure 4'!$AC$4:$AC$42</c:f>
              <c:numCache>
                <c:formatCode>General</c:formatCode>
                <c:ptCount val="39"/>
                <c:pt idx="10" formatCode="0%">
                  <c:v>0.69525103891490758</c:v>
                </c:pt>
                <c:pt idx="11" formatCode="0%">
                  <c:v>0.72081754518383567</c:v>
                </c:pt>
                <c:pt idx="12" formatCode="0%">
                  <c:v>0.72110366888083066</c:v>
                </c:pt>
                <c:pt idx="13" formatCode="0%">
                  <c:v>0.7532301107601691</c:v>
                </c:pt>
                <c:pt idx="14" formatCode="0%">
                  <c:v>0.76515487516097402</c:v>
                </c:pt>
                <c:pt idx="15" formatCode="0%">
                  <c:v>0.79087719688169977</c:v>
                </c:pt>
                <c:pt idx="16" formatCode="0%">
                  <c:v>0.83557164910985304</c:v>
                </c:pt>
                <c:pt idx="17" formatCode="0%">
                  <c:v>0.85296131449945933</c:v>
                </c:pt>
                <c:pt idx="18" formatCode="0%">
                  <c:v>0.8706040190547274</c:v>
                </c:pt>
                <c:pt idx="19" formatCode="0%">
                  <c:v>0.8761761950416721</c:v>
                </c:pt>
                <c:pt idx="20" formatCode="0%">
                  <c:v>0.83537247781449142</c:v>
                </c:pt>
                <c:pt idx="21" formatCode="0%">
                  <c:v>0.82995542538738143</c:v>
                </c:pt>
                <c:pt idx="22" formatCode="0%">
                  <c:v>0.82946745170008807</c:v>
                </c:pt>
                <c:pt idx="23" formatCode="0%">
                  <c:v>0.83400982872251672</c:v>
                </c:pt>
                <c:pt idx="24" formatCode="0%">
                  <c:v>0.83173094699552352</c:v>
                </c:pt>
                <c:pt idx="25" formatCode="0%">
                  <c:v>0.82486101838890002</c:v>
                </c:pt>
                <c:pt idx="26" formatCode="0%">
                  <c:v>0.82125709796941126</c:v>
                </c:pt>
                <c:pt idx="27" formatCode="0%">
                  <c:v>0.76780955340580226</c:v>
                </c:pt>
                <c:pt idx="28" formatCode="0%">
                  <c:v>0.71735689844122585</c:v>
                </c:pt>
                <c:pt idx="29" formatCode="0%">
                  <c:v>0.70635634297184913</c:v>
                </c:pt>
                <c:pt idx="30" formatCode="0%">
                  <c:v>0.68945993616316337</c:v>
                </c:pt>
                <c:pt idx="31" formatCode="0%">
                  <c:v>0.67627601491189038</c:v>
                </c:pt>
                <c:pt idx="32" formatCode="0%">
                  <c:v>0.69640262364981165</c:v>
                </c:pt>
                <c:pt idx="33" formatCode="0%">
                  <c:v>0.67239573386516416</c:v>
                </c:pt>
                <c:pt idx="34" formatCode="0%">
                  <c:v>0.67036904904134731</c:v>
                </c:pt>
                <c:pt idx="35" formatCode="0%">
                  <c:v>0.63527399511694305</c:v>
                </c:pt>
                <c:pt idx="36" formatCode="0%">
                  <c:v>0.62826935344810508</c:v>
                </c:pt>
                <c:pt idx="37" formatCode="0%">
                  <c:v>0.5980837764564898</c:v>
                </c:pt>
                <c:pt idx="38" formatCode="0%">
                  <c:v>0.57513667157724846</c:v>
                </c:pt>
              </c:numCache>
            </c:numRef>
          </c:val>
          <c:smooth val="0"/>
          <c:extLst>
            <c:ext xmlns:c16="http://schemas.microsoft.com/office/drawing/2014/chart" uri="{C3380CC4-5D6E-409C-BE32-E72D297353CC}">
              <c16:uniqueId val="{0000000B-9719-4B29-AF48-75CD3F5599CC}"/>
            </c:ext>
          </c:extLst>
        </c:ser>
        <c:ser>
          <c:idx val="12"/>
          <c:order val="12"/>
          <c:tx>
            <c:strRef>
              <c:f>'[POPF Charts.xlsx]Figure 4'!$AD$2</c:f>
              <c:strCache>
                <c:ptCount val="1"/>
                <c:pt idx="0">
                  <c:v>GlidePath</c:v>
                </c:pt>
              </c:strCache>
            </c:strRef>
          </c:tx>
          <c:spPr>
            <a:ln w="19050" cap="rnd">
              <a:solidFill>
                <a:schemeClr val="accent1">
                  <a:lumMod val="80000"/>
                  <a:lumOff val="20000"/>
                </a:schemeClr>
              </a:solidFill>
              <a:round/>
            </a:ln>
            <a:effectLst/>
          </c:spPr>
          <c:marker>
            <c:symbol val="none"/>
          </c:marker>
          <c:cat>
            <c:numRef>
              <c:f>'[POPF Charts.xlsx]Figure 4'!$Q$4:$Q$42</c:f>
              <c:numCache>
                <c:formatCode>m/d/yyyy</c:formatCode>
                <c:ptCount val="39"/>
                <c:pt idx="0">
                  <c:v>44197</c:v>
                </c:pt>
                <c:pt idx="1">
                  <c:v>44228</c:v>
                </c:pt>
                <c:pt idx="2">
                  <c:v>44256</c:v>
                </c:pt>
                <c:pt idx="3">
                  <c:v>44287</c:v>
                </c:pt>
                <c:pt idx="4">
                  <c:v>44317</c:v>
                </c:pt>
                <c:pt idx="5">
                  <c:v>44348</c:v>
                </c:pt>
                <c:pt idx="6">
                  <c:v>44378</c:v>
                </c:pt>
                <c:pt idx="7">
                  <c:v>44409</c:v>
                </c:pt>
                <c:pt idx="8">
                  <c:v>44440</c:v>
                </c:pt>
                <c:pt idx="9">
                  <c:v>44470</c:v>
                </c:pt>
                <c:pt idx="10">
                  <c:v>44501</c:v>
                </c:pt>
                <c:pt idx="11">
                  <c:v>44531</c:v>
                </c:pt>
                <c:pt idx="12">
                  <c:v>44562</c:v>
                </c:pt>
                <c:pt idx="13">
                  <c:v>44593</c:v>
                </c:pt>
                <c:pt idx="14">
                  <c:v>44621</c:v>
                </c:pt>
                <c:pt idx="15">
                  <c:v>44652</c:v>
                </c:pt>
                <c:pt idx="16">
                  <c:v>44682</c:v>
                </c:pt>
                <c:pt idx="17">
                  <c:v>44713</c:v>
                </c:pt>
                <c:pt idx="18">
                  <c:v>44743</c:v>
                </c:pt>
                <c:pt idx="19">
                  <c:v>44774</c:v>
                </c:pt>
                <c:pt idx="20">
                  <c:v>44805</c:v>
                </c:pt>
                <c:pt idx="21">
                  <c:v>44835</c:v>
                </c:pt>
                <c:pt idx="22">
                  <c:v>44866</c:v>
                </c:pt>
                <c:pt idx="23">
                  <c:v>44896</c:v>
                </c:pt>
                <c:pt idx="24">
                  <c:v>44927</c:v>
                </c:pt>
                <c:pt idx="25">
                  <c:v>44958</c:v>
                </c:pt>
                <c:pt idx="26">
                  <c:v>44986</c:v>
                </c:pt>
                <c:pt idx="27">
                  <c:v>45017</c:v>
                </c:pt>
                <c:pt idx="28">
                  <c:v>45047</c:v>
                </c:pt>
                <c:pt idx="29">
                  <c:v>45078</c:v>
                </c:pt>
                <c:pt idx="30">
                  <c:v>45108</c:v>
                </c:pt>
                <c:pt idx="31">
                  <c:v>45139</c:v>
                </c:pt>
                <c:pt idx="32">
                  <c:v>45170</c:v>
                </c:pt>
                <c:pt idx="33">
                  <c:v>45200</c:v>
                </c:pt>
                <c:pt idx="34">
                  <c:v>45231</c:v>
                </c:pt>
                <c:pt idx="35">
                  <c:v>45261</c:v>
                </c:pt>
                <c:pt idx="36">
                  <c:v>45292</c:v>
                </c:pt>
                <c:pt idx="37">
                  <c:v>45323</c:v>
                </c:pt>
                <c:pt idx="38">
                  <c:v>45352</c:v>
                </c:pt>
              </c:numCache>
            </c:numRef>
          </c:cat>
          <c:val>
            <c:numRef>
              <c:f>'[POPF Charts.xlsx]Figure 4'!$AD$4:$AD$42</c:f>
              <c:numCache>
                <c:formatCode>0%</c:formatCode>
                <c:ptCount val="39"/>
                <c:pt idx="0">
                  <c:v>0.63037175187949279</c:v>
                </c:pt>
                <c:pt idx="1">
                  <c:v>0.63023885268238389</c:v>
                </c:pt>
                <c:pt idx="2">
                  <c:v>0.61767667546199967</c:v>
                </c:pt>
                <c:pt idx="3">
                  <c:v>0.62732597080090657</c:v>
                </c:pt>
                <c:pt idx="4">
                  <c:v>0.59703765003960663</c:v>
                </c:pt>
                <c:pt idx="5">
                  <c:v>0.62067606243523865</c:v>
                </c:pt>
                <c:pt idx="6">
                  <c:v>0.61669266653272681</c:v>
                </c:pt>
                <c:pt idx="7">
                  <c:v>0.60672765488572544</c:v>
                </c:pt>
                <c:pt idx="8">
                  <c:v>0.60457719093814244</c:v>
                </c:pt>
                <c:pt idx="9">
                  <c:v>0.64535467812234992</c:v>
                </c:pt>
                <c:pt idx="10">
                  <c:v>0.63195534566488432</c:v>
                </c:pt>
                <c:pt idx="11">
                  <c:v>0.68857103014791021</c:v>
                </c:pt>
                <c:pt idx="12">
                  <c:v>0.68993949962564327</c:v>
                </c:pt>
                <c:pt idx="13">
                  <c:v>0.69758091244885045</c:v>
                </c:pt>
                <c:pt idx="14">
                  <c:v>0.69803873087657986</c:v>
                </c:pt>
                <c:pt idx="15">
                  <c:v>0.70191979785900271</c:v>
                </c:pt>
                <c:pt idx="16">
                  <c:v>0.72539816565687776</c:v>
                </c:pt>
                <c:pt idx="17">
                  <c:v>0.72423321502868954</c:v>
                </c:pt>
                <c:pt idx="18">
                  <c:v>0.73725620797426894</c:v>
                </c:pt>
                <c:pt idx="19">
                  <c:v>0.7323374566695775</c:v>
                </c:pt>
                <c:pt idx="20">
                  <c:v>0.73998507840393424</c:v>
                </c:pt>
                <c:pt idx="21">
                  <c:v>0.72237814418159896</c:v>
                </c:pt>
                <c:pt idx="22">
                  <c:v>0.69076155810200035</c:v>
                </c:pt>
                <c:pt idx="23">
                  <c:v>0.63567572029313368</c:v>
                </c:pt>
                <c:pt idx="24">
                  <c:v>0.58307867387188017</c:v>
                </c:pt>
                <c:pt idx="25">
                  <c:v>0.52278116877282921</c:v>
                </c:pt>
                <c:pt idx="26">
                  <c:v>0.47638702620315249</c:v>
                </c:pt>
                <c:pt idx="27">
                  <c:v>0.41740943320444662</c:v>
                </c:pt>
                <c:pt idx="28">
                  <c:v>0.40289228562525597</c:v>
                </c:pt>
                <c:pt idx="29">
                  <c:v>0.35525603411815498</c:v>
                </c:pt>
                <c:pt idx="30">
                  <c:v>0.31659028266959705</c:v>
                </c:pt>
                <c:pt idx="31">
                  <c:v>0.3020772036964614</c:v>
                </c:pt>
                <c:pt idx="32">
                  <c:v>0.30073192677040467</c:v>
                </c:pt>
                <c:pt idx="33">
                  <c:v>0.27988694422469546</c:v>
                </c:pt>
                <c:pt idx="34">
                  <c:v>0.27333563134154298</c:v>
                </c:pt>
                <c:pt idx="35">
                  <c:v>0.28550203625709264</c:v>
                </c:pt>
                <c:pt idx="36">
                  <c:v>0.33461903874506704</c:v>
                </c:pt>
                <c:pt idx="37">
                  <c:v>0.34965258552452927</c:v>
                </c:pt>
                <c:pt idx="38">
                  <c:v>0.37733051363980991</c:v>
                </c:pt>
              </c:numCache>
            </c:numRef>
          </c:val>
          <c:smooth val="0"/>
          <c:extLst xmlns:c15="http://schemas.microsoft.com/office/drawing/2012/chart">
            <c:ext xmlns:c16="http://schemas.microsoft.com/office/drawing/2014/chart" uri="{C3380CC4-5D6E-409C-BE32-E72D297353CC}">
              <c16:uniqueId val="{0000000C-9719-4B29-AF48-75CD3F5599CC}"/>
            </c:ext>
          </c:extLst>
        </c:ser>
        <c:ser>
          <c:idx val="13"/>
          <c:order val="13"/>
          <c:tx>
            <c:strRef>
              <c:f>'[POPF Charts.xlsx]Figure 4'!$AE$2</c:f>
              <c:strCache>
                <c:ptCount val="1"/>
                <c:pt idx="0">
                  <c:v>Hunt</c:v>
                </c:pt>
              </c:strCache>
            </c:strRef>
          </c:tx>
          <c:spPr>
            <a:ln w="19050" cap="rnd">
              <a:solidFill>
                <a:schemeClr val="accent3"/>
              </a:solidFill>
              <a:round/>
            </a:ln>
            <a:effectLst/>
          </c:spPr>
          <c:marker>
            <c:symbol val="none"/>
          </c:marker>
          <c:cat>
            <c:numRef>
              <c:f>'[POPF Charts.xlsx]Figure 4'!$Q$4:$Q$42</c:f>
              <c:numCache>
                <c:formatCode>m/d/yyyy</c:formatCode>
                <c:ptCount val="39"/>
                <c:pt idx="0">
                  <c:v>44197</c:v>
                </c:pt>
                <c:pt idx="1">
                  <c:v>44228</c:v>
                </c:pt>
                <c:pt idx="2">
                  <c:v>44256</c:v>
                </c:pt>
                <c:pt idx="3">
                  <c:v>44287</c:v>
                </c:pt>
                <c:pt idx="4">
                  <c:v>44317</c:v>
                </c:pt>
                <c:pt idx="5">
                  <c:v>44348</c:v>
                </c:pt>
                <c:pt idx="6">
                  <c:v>44378</c:v>
                </c:pt>
                <c:pt idx="7">
                  <c:v>44409</c:v>
                </c:pt>
                <c:pt idx="8">
                  <c:v>44440</c:v>
                </c:pt>
                <c:pt idx="9">
                  <c:v>44470</c:v>
                </c:pt>
                <c:pt idx="10">
                  <c:v>44501</c:v>
                </c:pt>
                <c:pt idx="11">
                  <c:v>44531</c:v>
                </c:pt>
                <c:pt idx="12">
                  <c:v>44562</c:v>
                </c:pt>
                <c:pt idx="13">
                  <c:v>44593</c:v>
                </c:pt>
                <c:pt idx="14">
                  <c:v>44621</c:v>
                </c:pt>
                <c:pt idx="15">
                  <c:v>44652</c:v>
                </c:pt>
                <c:pt idx="16">
                  <c:v>44682</c:v>
                </c:pt>
                <c:pt idx="17">
                  <c:v>44713</c:v>
                </c:pt>
                <c:pt idx="18">
                  <c:v>44743</c:v>
                </c:pt>
                <c:pt idx="19">
                  <c:v>44774</c:v>
                </c:pt>
                <c:pt idx="20">
                  <c:v>44805</c:v>
                </c:pt>
                <c:pt idx="21">
                  <c:v>44835</c:v>
                </c:pt>
                <c:pt idx="22">
                  <c:v>44866</c:v>
                </c:pt>
                <c:pt idx="23">
                  <c:v>44896</c:v>
                </c:pt>
                <c:pt idx="24">
                  <c:v>44927</c:v>
                </c:pt>
                <c:pt idx="25">
                  <c:v>44958</c:v>
                </c:pt>
                <c:pt idx="26">
                  <c:v>44986</c:v>
                </c:pt>
                <c:pt idx="27">
                  <c:v>45017</c:v>
                </c:pt>
                <c:pt idx="28">
                  <c:v>45047</c:v>
                </c:pt>
                <c:pt idx="29">
                  <c:v>45078</c:v>
                </c:pt>
                <c:pt idx="30">
                  <c:v>45108</c:v>
                </c:pt>
                <c:pt idx="31">
                  <c:v>45139</c:v>
                </c:pt>
                <c:pt idx="32">
                  <c:v>45170</c:v>
                </c:pt>
                <c:pt idx="33">
                  <c:v>45200</c:v>
                </c:pt>
                <c:pt idx="34">
                  <c:v>45231</c:v>
                </c:pt>
                <c:pt idx="35">
                  <c:v>45261</c:v>
                </c:pt>
                <c:pt idx="36">
                  <c:v>45292</c:v>
                </c:pt>
                <c:pt idx="37">
                  <c:v>45323</c:v>
                </c:pt>
                <c:pt idx="38">
                  <c:v>45352</c:v>
                </c:pt>
              </c:numCache>
            </c:numRef>
          </c:cat>
          <c:val>
            <c:numRef>
              <c:f>'[POPF Charts.xlsx]Figure 4'!$AE$4:$AE$42</c:f>
              <c:numCache>
                <c:formatCode>General</c:formatCode>
                <c:ptCount val="39"/>
                <c:pt idx="4" formatCode="0%">
                  <c:v>2.6061979973761674E-2</c:v>
                </c:pt>
                <c:pt idx="5" formatCode="0%">
                  <c:v>0.3367990381523922</c:v>
                </c:pt>
                <c:pt idx="6" formatCode="0%">
                  <c:v>0.48114064287212982</c:v>
                </c:pt>
                <c:pt idx="7" formatCode="0%">
                  <c:v>0.47235923137937519</c:v>
                </c:pt>
                <c:pt idx="8" formatCode="0%">
                  <c:v>0.51047960611758969</c:v>
                </c:pt>
                <c:pt idx="9" formatCode="0%">
                  <c:v>0.52979853533411558</c:v>
                </c:pt>
                <c:pt idx="10" formatCode="0%">
                  <c:v>0.55233106811028032</c:v>
                </c:pt>
                <c:pt idx="11" formatCode="0%">
                  <c:v>0.57565065469424703</c:v>
                </c:pt>
                <c:pt idx="12" formatCode="0%">
                  <c:v>0.59410443351417497</c:v>
                </c:pt>
                <c:pt idx="13" formatCode="0%">
                  <c:v>0.61509035599371009</c:v>
                </c:pt>
                <c:pt idx="14" formatCode="0%">
                  <c:v>0.62087058338866086</c:v>
                </c:pt>
                <c:pt idx="15" formatCode="0%">
                  <c:v>0.58970626621244138</c:v>
                </c:pt>
                <c:pt idx="16" formatCode="0%">
                  <c:v>0.61471709995403867</c:v>
                </c:pt>
                <c:pt idx="17" formatCode="0%">
                  <c:v>0.59680489822171701</c:v>
                </c:pt>
                <c:pt idx="18" formatCode="0%">
                  <c:v>0.59619949013566653</c:v>
                </c:pt>
                <c:pt idx="19" formatCode="0%">
                  <c:v>0.61593031240488239</c:v>
                </c:pt>
                <c:pt idx="20" formatCode="0%">
                  <c:v>0.6017617207068211</c:v>
                </c:pt>
                <c:pt idx="21" formatCode="0%">
                  <c:v>0.58695121345655821</c:v>
                </c:pt>
                <c:pt idx="22" formatCode="0%">
                  <c:v>0.56026173819891756</c:v>
                </c:pt>
                <c:pt idx="23" formatCode="0%">
                  <c:v>0.53257820735283035</c:v>
                </c:pt>
                <c:pt idx="24" formatCode="0%">
                  <c:v>0.49223725993109602</c:v>
                </c:pt>
                <c:pt idx="25" formatCode="0%">
                  <c:v>0.43968770397024604</c:v>
                </c:pt>
                <c:pt idx="26" formatCode="0%">
                  <c:v>0.4081036298369714</c:v>
                </c:pt>
                <c:pt idx="27" formatCode="0%">
                  <c:v>0.40904305158714677</c:v>
                </c:pt>
                <c:pt idx="28" formatCode="0%">
                  <c:v>0.40745056367435478</c:v>
                </c:pt>
                <c:pt idx="29" formatCode="0%">
                  <c:v>0.42541983870257033</c:v>
                </c:pt>
                <c:pt idx="30" formatCode="0%">
                  <c:v>0.41183485110946383</c:v>
                </c:pt>
                <c:pt idx="31" formatCode="0%">
                  <c:v>0.41189179069532789</c:v>
                </c:pt>
                <c:pt idx="32" formatCode="0%">
                  <c:v>0.42359739133433333</c:v>
                </c:pt>
                <c:pt idx="33" formatCode="0%">
                  <c:v>0.42906434344038508</c:v>
                </c:pt>
                <c:pt idx="34" formatCode="0%">
                  <c:v>0.45082564061798619</c:v>
                </c:pt>
                <c:pt idx="35" formatCode="0%">
                  <c:v>0.44563097799494877</c:v>
                </c:pt>
                <c:pt idx="36" formatCode="0%">
                  <c:v>0.48569140460332666</c:v>
                </c:pt>
                <c:pt idx="37" formatCode="0%">
                  <c:v>0.49493438308749393</c:v>
                </c:pt>
                <c:pt idx="38" formatCode="0%">
                  <c:v>0.50149641703005954</c:v>
                </c:pt>
              </c:numCache>
            </c:numRef>
          </c:val>
          <c:smooth val="0"/>
          <c:extLst>
            <c:ext xmlns:c16="http://schemas.microsoft.com/office/drawing/2014/chart" uri="{C3380CC4-5D6E-409C-BE32-E72D297353CC}">
              <c16:uniqueId val="{0000000D-9719-4B29-AF48-75CD3F5599CC}"/>
            </c:ext>
          </c:extLst>
        </c:ser>
        <c:ser>
          <c:idx val="14"/>
          <c:order val="14"/>
          <c:tx>
            <c:strRef>
              <c:f>'[POPF Charts.xlsx]Figure 4'!$AF$2</c:f>
              <c:strCache>
                <c:ptCount val="1"/>
                <c:pt idx="0">
                  <c:v>Jupiter</c:v>
                </c:pt>
              </c:strCache>
            </c:strRef>
          </c:tx>
          <c:spPr>
            <a:ln w="19050" cap="rnd">
              <a:solidFill>
                <a:schemeClr val="accent4"/>
              </a:solidFill>
              <a:round/>
            </a:ln>
            <a:effectLst/>
          </c:spPr>
          <c:marker>
            <c:symbol val="none"/>
          </c:marker>
          <c:cat>
            <c:numRef>
              <c:f>'[POPF Charts.xlsx]Figure 4'!$Q$4:$Q$42</c:f>
              <c:numCache>
                <c:formatCode>m/d/yyyy</c:formatCode>
                <c:ptCount val="39"/>
                <c:pt idx="0">
                  <c:v>44197</c:v>
                </c:pt>
                <c:pt idx="1">
                  <c:v>44228</c:v>
                </c:pt>
                <c:pt idx="2">
                  <c:v>44256</c:v>
                </c:pt>
                <c:pt idx="3">
                  <c:v>44287</c:v>
                </c:pt>
                <c:pt idx="4">
                  <c:v>44317</c:v>
                </c:pt>
                <c:pt idx="5">
                  <c:v>44348</c:v>
                </c:pt>
                <c:pt idx="6">
                  <c:v>44378</c:v>
                </c:pt>
                <c:pt idx="7">
                  <c:v>44409</c:v>
                </c:pt>
                <c:pt idx="8">
                  <c:v>44440</c:v>
                </c:pt>
                <c:pt idx="9">
                  <c:v>44470</c:v>
                </c:pt>
                <c:pt idx="10">
                  <c:v>44501</c:v>
                </c:pt>
                <c:pt idx="11">
                  <c:v>44531</c:v>
                </c:pt>
                <c:pt idx="12">
                  <c:v>44562</c:v>
                </c:pt>
                <c:pt idx="13">
                  <c:v>44593</c:v>
                </c:pt>
                <c:pt idx="14">
                  <c:v>44621</c:v>
                </c:pt>
                <c:pt idx="15">
                  <c:v>44652</c:v>
                </c:pt>
                <c:pt idx="16">
                  <c:v>44682</c:v>
                </c:pt>
                <c:pt idx="17">
                  <c:v>44713</c:v>
                </c:pt>
                <c:pt idx="18">
                  <c:v>44743</c:v>
                </c:pt>
                <c:pt idx="19">
                  <c:v>44774</c:v>
                </c:pt>
                <c:pt idx="20">
                  <c:v>44805</c:v>
                </c:pt>
                <c:pt idx="21">
                  <c:v>44835</c:v>
                </c:pt>
                <c:pt idx="22">
                  <c:v>44866</c:v>
                </c:pt>
                <c:pt idx="23">
                  <c:v>44896</c:v>
                </c:pt>
                <c:pt idx="24">
                  <c:v>44927</c:v>
                </c:pt>
                <c:pt idx="25">
                  <c:v>44958</c:v>
                </c:pt>
                <c:pt idx="26">
                  <c:v>44986</c:v>
                </c:pt>
                <c:pt idx="27">
                  <c:v>45017</c:v>
                </c:pt>
                <c:pt idx="28">
                  <c:v>45047</c:v>
                </c:pt>
                <c:pt idx="29">
                  <c:v>45078</c:v>
                </c:pt>
                <c:pt idx="30">
                  <c:v>45108</c:v>
                </c:pt>
                <c:pt idx="31">
                  <c:v>45139</c:v>
                </c:pt>
                <c:pt idx="32">
                  <c:v>45170</c:v>
                </c:pt>
                <c:pt idx="33">
                  <c:v>45200</c:v>
                </c:pt>
                <c:pt idx="34">
                  <c:v>45231</c:v>
                </c:pt>
                <c:pt idx="35">
                  <c:v>45261</c:v>
                </c:pt>
                <c:pt idx="36">
                  <c:v>45292</c:v>
                </c:pt>
                <c:pt idx="37">
                  <c:v>45323</c:v>
                </c:pt>
                <c:pt idx="38">
                  <c:v>45352</c:v>
                </c:pt>
              </c:numCache>
            </c:numRef>
          </c:cat>
          <c:val>
            <c:numRef>
              <c:f>'[POPF Charts.xlsx]Figure 4'!$AF$4:$AF$42</c:f>
              <c:numCache>
                <c:formatCode>General</c:formatCode>
                <c:ptCount val="39"/>
                <c:pt idx="4" formatCode="0%">
                  <c:v>1.0729856488214057E-3</c:v>
                </c:pt>
                <c:pt idx="5" formatCode="0%">
                  <c:v>0.16640515902828887</c:v>
                </c:pt>
                <c:pt idx="6" formatCode="0%">
                  <c:v>0.35415600777447692</c:v>
                </c:pt>
                <c:pt idx="7" formatCode="0%">
                  <c:v>0.43413182812431533</c:v>
                </c:pt>
                <c:pt idx="8" formatCode="0%">
                  <c:v>0.47224780327648652</c:v>
                </c:pt>
                <c:pt idx="9" formatCode="0%">
                  <c:v>0.5170313642397687</c:v>
                </c:pt>
                <c:pt idx="10" formatCode="0%">
                  <c:v>0.52956485004794085</c:v>
                </c:pt>
                <c:pt idx="11" formatCode="0%">
                  <c:v>0.53969639891488308</c:v>
                </c:pt>
                <c:pt idx="12" formatCode="0%">
                  <c:v>0.55333979789744758</c:v>
                </c:pt>
                <c:pt idx="13" formatCode="0%">
                  <c:v>0.55060212269092634</c:v>
                </c:pt>
                <c:pt idx="14" formatCode="0%">
                  <c:v>0.55886746215136163</c:v>
                </c:pt>
                <c:pt idx="15" formatCode="0%">
                  <c:v>0.56894374723891783</c:v>
                </c:pt>
                <c:pt idx="16" formatCode="0%">
                  <c:v>0.61627832626415258</c:v>
                </c:pt>
                <c:pt idx="17" formatCode="0%">
                  <c:v>0.64139651834228162</c:v>
                </c:pt>
                <c:pt idx="18" formatCode="0%">
                  <c:v>0.63471850095437066</c:v>
                </c:pt>
                <c:pt idx="19" formatCode="0%">
                  <c:v>0.62359518292056515</c:v>
                </c:pt>
                <c:pt idx="20" formatCode="0%">
                  <c:v>0.60538373443739546</c:v>
                </c:pt>
                <c:pt idx="21" formatCode="0%">
                  <c:v>0.58448396837168426</c:v>
                </c:pt>
                <c:pt idx="22" formatCode="0%">
                  <c:v>0.56415328030675738</c:v>
                </c:pt>
                <c:pt idx="23" formatCode="0%">
                  <c:v>0.54968327630158398</c:v>
                </c:pt>
                <c:pt idx="24" formatCode="0%">
                  <c:v>0.52483905359403737</c:v>
                </c:pt>
                <c:pt idx="25" formatCode="0%">
                  <c:v>0.507079336059717</c:v>
                </c:pt>
                <c:pt idx="26" formatCode="0%">
                  <c:v>0.48014483693624838</c:v>
                </c:pt>
                <c:pt idx="27" formatCode="0%">
                  <c:v>0.45261844182431127</c:v>
                </c:pt>
                <c:pt idx="28" formatCode="0%">
                  <c:v>0.43882945335922274</c:v>
                </c:pt>
                <c:pt idx="29" formatCode="0%">
                  <c:v>0.43484200361255509</c:v>
                </c:pt>
                <c:pt idx="30" formatCode="0%">
                  <c:v>0.43665010350494421</c:v>
                </c:pt>
                <c:pt idx="31" formatCode="0%">
                  <c:v>0.43451750414009765</c:v>
                </c:pt>
                <c:pt idx="32" formatCode="0%">
                  <c:v>0.44892542040661115</c:v>
                </c:pt>
                <c:pt idx="33" formatCode="0%">
                  <c:v>0.44336906957149153</c:v>
                </c:pt>
                <c:pt idx="34" formatCode="0%">
                  <c:v>0.45267026786279202</c:v>
                </c:pt>
                <c:pt idx="35" formatCode="0%">
                  <c:v>0.44710068922116464</c:v>
                </c:pt>
                <c:pt idx="36" formatCode="0%">
                  <c:v>0.46425082439789483</c:v>
                </c:pt>
                <c:pt idx="37" formatCode="0%">
                  <c:v>0.47586281873881903</c:v>
                </c:pt>
                <c:pt idx="38" formatCode="0%">
                  <c:v>0.48855309035807221</c:v>
                </c:pt>
              </c:numCache>
            </c:numRef>
          </c:val>
          <c:smooth val="0"/>
          <c:extLst>
            <c:ext xmlns:c16="http://schemas.microsoft.com/office/drawing/2014/chart" uri="{C3380CC4-5D6E-409C-BE32-E72D297353CC}">
              <c16:uniqueId val="{0000000E-9719-4B29-AF48-75CD3F5599CC}"/>
            </c:ext>
          </c:extLst>
        </c:ser>
        <c:ser>
          <c:idx val="15"/>
          <c:order val="15"/>
          <c:tx>
            <c:strRef>
              <c:f>'[POPF Charts.xlsx]Figure 4'!$AG$2</c:f>
              <c:strCache>
                <c:ptCount val="1"/>
                <c:pt idx="0">
                  <c:v>Key Capture</c:v>
                </c:pt>
              </c:strCache>
            </c:strRef>
          </c:tx>
          <c:spPr>
            <a:ln w="19050" cap="rnd">
              <a:solidFill>
                <a:schemeClr val="accent5"/>
              </a:solidFill>
              <a:round/>
            </a:ln>
            <a:effectLst/>
          </c:spPr>
          <c:marker>
            <c:symbol val="none"/>
          </c:marker>
          <c:cat>
            <c:numRef>
              <c:f>'[POPF Charts.xlsx]Figure 4'!$Q$4:$Q$42</c:f>
              <c:numCache>
                <c:formatCode>m/d/yyyy</c:formatCode>
                <c:ptCount val="39"/>
                <c:pt idx="0">
                  <c:v>44197</c:v>
                </c:pt>
                <c:pt idx="1">
                  <c:v>44228</c:v>
                </c:pt>
                <c:pt idx="2">
                  <c:v>44256</c:v>
                </c:pt>
                <c:pt idx="3">
                  <c:v>44287</c:v>
                </c:pt>
                <c:pt idx="4">
                  <c:v>44317</c:v>
                </c:pt>
                <c:pt idx="5">
                  <c:v>44348</c:v>
                </c:pt>
                <c:pt idx="6">
                  <c:v>44378</c:v>
                </c:pt>
                <c:pt idx="7">
                  <c:v>44409</c:v>
                </c:pt>
                <c:pt idx="8">
                  <c:v>44440</c:v>
                </c:pt>
                <c:pt idx="9">
                  <c:v>44470</c:v>
                </c:pt>
                <c:pt idx="10">
                  <c:v>44501</c:v>
                </c:pt>
                <c:pt idx="11">
                  <c:v>44531</c:v>
                </c:pt>
                <c:pt idx="12">
                  <c:v>44562</c:v>
                </c:pt>
                <c:pt idx="13">
                  <c:v>44593</c:v>
                </c:pt>
                <c:pt idx="14">
                  <c:v>44621</c:v>
                </c:pt>
                <c:pt idx="15">
                  <c:v>44652</c:v>
                </c:pt>
                <c:pt idx="16">
                  <c:v>44682</c:v>
                </c:pt>
                <c:pt idx="17">
                  <c:v>44713</c:v>
                </c:pt>
                <c:pt idx="18">
                  <c:v>44743</c:v>
                </c:pt>
                <c:pt idx="19">
                  <c:v>44774</c:v>
                </c:pt>
                <c:pt idx="20">
                  <c:v>44805</c:v>
                </c:pt>
                <c:pt idx="21">
                  <c:v>44835</c:v>
                </c:pt>
                <c:pt idx="22">
                  <c:v>44866</c:v>
                </c:pt>
                <c:pt idx="23">
                  <c:v>44896</c:v>
                </c:pt>
                <c:pt idx="24">
                  <c:v>44927</c:v>
                </c:pt>
                <c:pt idx="25">
                  <c:v>44958</c:v>
                </c:pt>
                <c:pt idx="26">
                  <c:v>44986</c:v>
                </c:pt>
                <c:pt idx="27">
                  <c:v>45017</c:v>
                </c:pt>
                <c:pt idx="28">
                  <c:v>45047</c:v>
                </c:pt>
                <c:pt idx="29">
                  <c:v>45078</c:v>
                </c:pt>
                <c:pt idx="30">
                  <c:v>45108</c:v>
                </c:pt>
                <c:pt idx="31">
                  <c:v>45139</c:v>
                </c:pt>
                <c:pt idx="32">
                  <c:v>45170</c:v>
                </c:pt>
                <c:pt idx="33">
                  <c:v>45200</c:v>
                </c:pt>
                <c:pt idx="34">
                  <c:v>45231</c:v>
                </c:pt>
                <c:pt idx="35">
                  <c:v>45261</c:v>
                </c:pt>
                <c:pt idx="36">
                  <c:v>45292</c:v>
                </c:pt>
                <c:pt idx="37">
                  <c:v>45323</c:v>
                </c:pt>
                <c:pt idx="38">
                  <c:v>45352</c:v>
                </c:pt>
              </c:numCache>
            </c:numRef>
          </c:cat>
          <c:val>
            <c:numRef>
              <c:f>'[POPF Charts.xlsx]Figure 4'!$AG$4:$AG$42</c:f>
              <c:numCache>
                <c:formatCode>0%</c:formatCode>
                <c:ptCount val="39"/>
                <c:pt idx="0">
                  <c:v>0.36967421899392039</c:v>
                </c:pt>
                <c:pt idx="1">
                  <c:v>0.34322145080525407</c:v>
                </c:pt>
                <c:pt idx="2">
                  <c:v>0.35212720623610011</c:v>
                </c:pt>
                <c:pt idx="3">
                  <c:v>0.36051780440309095</c:v>
                </c:pt>
                <c:pt idx="4">
                  <c:v>0.36385360691044299</c:v>
                </c:pt>
                <c:pt idx="5">
                  <c:v>0.3746403963967963</c:v>
                </c:pt>
                <c:pt idx="6">
                  <c:v>0.39617615217570523</c:v>
                </c:pt>
                <c:pt idx="7">
                  <c:v>0.38216499341163529</c:v>
                </c:pt>
                <c:pt idx="8">
                  <c:v>0.39282563762451583</c:v>
                </c:pt>
                <c:pt idx="9">
                  <c:v>0.40631564130046988</c:v>
                </c:pt>
                <c:pt idx="10">
                  <c:v>0.40671682203368414</c:v>
                </c:pt>
                <c:pt idx="11">
                  <c:v>0.42848787888105511</c:v>
                </c:pt>
                <c:pt idx="12">
                  <c:v>0.4457822848181367</c:v>
                </c:pt>
                <c:pt idx="13">
                  <c:v>0.48335511288063215</c:v>
                </c:pt>
                <c:pt idx="14">
                  <c:v>0.48844349349932065</c:v>
                </c:pt>
                <c:pt idx="15">
                  <c:v>0.4925030360946871</c:v>
                </c:pt>
                <c:pt idx="16">
                  <c:v>0.52436783372553264</c:v>
                </c:pt>
                <c:pt idx="17">
                  <c:v>0.51911033119323902</c:v>
                </c:pt>
                <c:pt idx="18">
                  <c:v>0.48916867180358231</c:v>
                </c:pt>
                <c:pt idx="19">
                  <c:v>0.48745116264713206</c:v>
                </c:pt>
                <c:pt idx="20">
                  <c:v>0.48654045265349494</c:v>
                </c:pt>
                <c:pt idx="21">
                  <c:v>0.47864331881626848</c:v>
                </c:pt>
                <c:pt idx="22">
                  <c:v>0.45002093903504875</c:v>
                </c:pt>
                <c:pt idx="23">
                  <c:v>0.43198215701952686</c:v>
                </c:pt>
                <c:pt idx="24">
                  <c:v>0.41124673047742699</c:v>
                </c:pt>
                <c:pt idx="25">
                  <c:v>0.37785884305747625</c:v>
                </c:pt>
                <c:pt idx="26">
                  <c:v>0.35506462465134114</c:v>
                </c:pt>
                <c:pt idx="27">
                  <c:v>0.32586548066043686</c:v>
                </c:pt>
                <c:pt idx="28">
                  <c:v>0.28931496284376707</c:v>
                </c:pt>
                <c:pt idx="29">
                  <c:v>0.3086175948086643</c:v>
                </c:pt>
                <c:pt idx="30">
                  <c:v>0.32919227932020445</c:v>
                </c:pt>
                <c:pt idx="31">
                  <c:v>0.33345549076301628</c:v>
                </c:pt>
                <c:pt idx="32">
                  <c:v>0.33825952729150721</c:v>
                </c:pt>
                <c:pt idx="33">
                  <c:v>0.34336724083260184</c:v>
                </c:pt>
                <c:pt idx="34">
                  <c:v>0.38380425163725801</c:v>
                </c:pt>
                <c:pt idx="35">
                  <c:v>0.39129364255913468</c:v>
                </c:pt>
                <c:pt idx="36">
                  <c:v>0.42292426601014799</c:v>
                </c:pt>
                <c:pt idx="37">
                  <c:v>0.44027384802193542</c:v>
                </c:pt>
                <c:pt idx="38">
                  <c:v>0.46232124226399124</c:v>
                </c:pt>
              </c:numCache>
            </c:numRef>
          </c:val>
          <c:smooth val="0"/>
          <c:extLst>
            <c:ext xmlns:c16="http://schemas.microsoft.com/office/drawing/2014/chart" uri="{C3380CC4-5D6E-409C-BE32-E72D297353CC}">
              <c16:uniqueId val="{0000000F-9719-4B29-AF48-75CD3F5599CC}"/>
            </c:ext>
          </c:extLst>
        </c:ser>
        <c:ser>
          <c:idx val="17"/>
          <c:order val="16"/>
          <c:tx>
            <c:strRef>
              <c:f>'[POPF Charts.xlsx]Figure 4'!$AH$2</c:f>
              <c:strCache>
                <c:ptCount val="1"/>
                <c:pt idx="0">
                  <c:v>Ormat</c:v>
                </c:pt>
              </c:strCache>
            </c:strRef>
          </c:tx>
          <c:spPr>
            <a:ln w="19050" cap="rnd">
              <a:solidFill>
                <a:srgbClr val="F5498B"/>
              </a:solidFill>
              <a:round/>
            </a:ln>
            <a:effectLst/>
          </c:spPr>
          <c:marker>
            <c:symbol val="none"/>
          </c:marker>
          <c:cat>
            <c:numRef>
              <c:f>'[POPF Charts.xlsx]Figure 4'!$Q$4:$Q$42</c:f>
              <c:numCache>
                <c:formatCode>m/d/yyyy</c:formatCode>
                <c:ptCount val="39"/>
                <c:pt idx="0">
                  <c:v>44197</c:v>
                </c:pt>
                <c:pt idx="1">
                  <c:v>44228</c:v>
                </c:pt>
                <c:pt idx="2">
                  <c:v>44256</c:v>
                </c:pt>
                <c:pt idx="3">
                  <c:v>44287</c:v>
                </c:pt>
                <c:pt idx="4">
                  <c:v>44317</c:v>
                </c:pt>
                <c:pt idx="5">
                  <c:v>44348</c:v>
                </c:pt>
                <c:pt idx="6">
                  <c:v>44378</c:v>
                </c:pt>
                <c:pt idx="7">
                  <c:v>44409</c:v>
                </c:pt>
                <c:pt idx="8">
                  <c:v>44440</c:v>
                </c:pt>
                <c:pt idx="9">
                  <c:v>44470</c:v>
                </c:pt>
                <c:pt idx="10">
                  <c:v>44501</c:v>
                </c:pt>
                <c:pt idx="11">
                  <c:v>44531</c:v>
                </c:pt>
                <c:pt idx="12">
                  <c:v>44562</c:v>
                </c:pt>
                <c:pt idx="13">
                  <c:v>44593</c:v>
                </c:pt>
                <c:pt idx="14">
                  <c:v>44621</c:v>
                </c:pt>
                <c:pt idx="15">
                  <c:v>44652</c:v>
                </c:pt>
                <c:pt idx="16">
                  <c:v>44682</c:v>
                </c:pt>
                <c:pt idx="17">
                  <c:v>44713</c:v>
                </c:pt>
                <c:pt idx="18">
                  <c:v>44743</c:v>
                </c:pt>
                <c:pt idx="19">
                  <c:v>44774</c:v>
                </c:pt>
                <c:pt idx="20">
                  <c:v>44805</c:v>
                </c:pt>
                <c:pt idx="21">
                  <c:v>44835</c:v>
                </c:pt>
                <c:pt idx="22">
                  <c:v>44866</c:v>
                </c:pt>
                <c:pt idx="23">
                  <c:v>44896</c:v>
                </c:pt>
                <c:pt idx="24">
                  <c:v>44927</c:v>
                </c:pt>
                <c:pt idx="25">
                  <c:v>44958</c:v>
                </c:pt>
                <c:pt idx="26">
                  <c:v>44986</c:v>
                </c:pt>
                <c:pt idx="27">
                  <c:v>45017</c:v>
                </c:pt>
                <c:pt idx="28">
                  <c:v>45047</c:v>
                </c:pt>
                <c:pt idx="29">
                  <c:v>45078</c:v>
                </c:pt>
                <c:pt idx="30">
                  <c:v>45108</c:v>
                </c:pt>
                <c:pt idx="31">
                  <c:v>45139</c:v>
                </c:pt>
                <c:pt idx="32">
                  <c:v>45170</c:v>
                </c:pt>
                <c:pt idx="33">
                  <c:v>45200</c:v>
                </c:pt>
                <c:pt idx="34">
                  <c:v>45231</c:v>
                </c:pt>
                <c:pt idx="35">
                  <c:v>45261</c:v>
                </c:pt>
                <c:pt idx="36">
                  <c:v>45292</c:v>
                </c:pt>
                <c:pt idx="37">
                  <c:v>45323</c:v>
                </c:pt>
                <c:pt idx="38">
                  <c:v>45352</c:v>
                </c:pt>
              </c:numCache>
            </c:numRef>
          </c:cat>
          <c:val>
            <c:numRef>
              <c:f>'[POPF Charts.xlsx]Figure 4'!$AH$4:$AH$42</c:f>
              <c:numCache>
                <c:formatCode>0%</c:formatCode>
                <c:ptCount val="39"/>
                <c:pt idx="0">
                  <c:v>0.6212890803560831</c:v>
                </c:pt>
                <c:pt idx="1">
                  <c:v>0.58617175833499957</c:v>
                </c:pt>
                <c:pt idx="2">
                  <c:v>0.59254169182842054</c:v>
                </c:pt>
                <c:pt idx="3">
                  <c:v>0.59686192581280273</c:v>
                </c:pt>
                <c:pt idx="4">
                  <c:v>0.59021175020806493</c:v>
                </c:pt>
                <c:pt idx="5">
                  <c:v>0.59642559465650991</c:v>
                </c:pt>
                <c:pt idx="6">
                  <c:v>0.60284569749661221</c:v>
                </c:pt>
                <c:pt idx="7">
                  <c:v>0.60491602412222778</c:v>
                </c:pt>
                <c:pt idx="8">
                  <c:v>0.62896395429550245</c:v>
                </c:pt>
                <c:pt idx="9">
                  <c:v>0.65387035463720655</c:v>
                </c:pt>
                <c:pt idx="10">
                  <c:v>0.65054169950087493</c:v>
                </c:pt>
                <c:pt idx="11">
                  <c:v>0.6478283110616615</c:v>
                </c:pt>
                <c:pt idx="12">
                  <c:v>0.64406564932323673</c:v>
                </c:pt>
                <c:pt idx="13">
                  <c:v>0.65926291842459095</c:v>
                </c:pt>
                <c:pt idx="14">
                  <c:v>0.65759058559471606</c:v>
                </c:pt>
                <c:pt idx="15">
                  <c:v>0.66343788741646115</c:v>
                </c:pt>
                <c:pt idx="16">
                  <c:v>0.66625824214096141</c:v>
                </c:pt>
                <c:pt idx="17">
                  <c:v>0.67337516338106651</c:v>
                </c:pt>
                <c:pt idx="18">
                  <c:v>0.67575160104234688</c:v>
                </c:pt>
                <c:pt idx="19">
                  <c:v>0.66374511532668501</c:v>
                </c:pt>
                <c:pt idx="20">
                  <c:v>0.64086034660498803</c:v>
                </c:pt>
                <c:pt idx="21">
                  <c:v>0.6038119819528045</c:v>
                </c:pt>
                <c:pt idx="22">
                  <c:v>0.57268074362495325</c:v>
                </c:pt>
                <c:pt idx="23">
                  <c:v>0.57903696986277742</c:v>
                </c:pt>
                <c:pt idx="24">
                  <c:v>0.56091363940653671</c:v>
                </c:pt>
                <c:pt idx="25">
                  <c:v>0.5526777018310316</c:v>
                </c:pt>
                <c:pt idx="26">
                  <c:v>0.53970476619590613</c:v>
                </c:pt>
                <c:pt idx="27">
                  <c:v>0.51792095344541189</c:v>
                </c:pt>
                <c:pt idx="28">
                  <c:v>0.50908961527044805</c:v>
                </c:pt>
                <c:pt idx="29">
                  <c:v>0.48001116126405691</c:v>
                </c:pt>
                <c:pt idx="30">
                  <c:v>0.45455055321098353</c:v>
                </c:pt>
                <c:pt idx="31">
                  <c:v>0.45450391166904458</c:v>
                </c:pt>
                <c:pt idx="32">
                  <c:v>0.46188479902498053</c:v>
                </c:pt>
                <c:pt idx="33">
                  <c:v>0.46999126600543667</c:v>
                </c:pt>
                <c:pt idx="34">
                  <c:v>0.46137867739129174</c:v>
                </c:pt>
                <c:pt idx="35">
                  <c:v>0.40235314568743769</c:v>
                </c:pt>
                <c:pt idx="36">
                  <c:v>0.38106149153491314</c:v>
                </c:pt>
                <c:pt idx="37">
                  <c:v>0.3582753635801364</c:v>
                </c:pt>
                <c:pt idx="38">
                  <c:v>0.3403459524432137</c:v>
                </c:pt>
              </c:numCache>
            </c:numRef>
          </c:val>
          <c:smooth val="0"/>
          <c:extLst xmlns:c15="http://schemas.microsoft.com/office/drawing/2012/chart">
            <c:ext xmlns:c16="http://schemas.microsoft.com/office/drawing/2014/chart" uri="{C3380CC4-5D6E-409C-BE32-E72D297353CC}">
              <c16:uniqueId val="{00000010-9719-4B29-AF48-75CD3F5599CC}"/>
            </c:ext>
          </c:extLst>
        </c:ser>
        <c:ser>
          <c:idx val="18"/>
          <c:order val="17"/>
          <c:tx>
            <c:strRef>
              <c:f>'[POPF Charts.xlsx]Figure 4'!$AI$2</c:f>
              <c:strCache>
                <c:ptCount val="1"/>
                <c:pt idx="0">
                  <c:v>Plus Power</c:v>
                </c:pt>
              </c:strCache>
            </c:strRef>
          </c:tx>
          <c:spPr>
            <a:ln w="19050" cap="rnd">
              <a:solidFill>
                <a:schemeClr val="accent6">
                  <a:lumMod val="60000"/>
                  <a:lumOff val="40000"/>
                </a:schemeClr>
              </a:solidFill>
              <a:round/>
            </a:ln>
            <a:effectLst/>
          </c:spPr>
          <c:marker>
            <c:symbol val="none"/>
          </c:marker>
          <c:cat>
            <c:numRef>
              <c:f>'[POPF Charts.xlsx]Figure 4'!$Q$4:$Q$42</c:f>
              <c:numCache>
                <c:formatCode>m/d/yyyy</c:formatCode>
                <c:ptCount val="39"/>
                <c:pt idx="0">
                  <c:v>44197</c:v>
                </c:pt>
                <c:pt idx="1">
                  <c:v>44228</c:v>
                </c:pt>
                <c:pt idx="2">
                  <c:v>44256</c:v>
                </c:pt>
                <c:pt idx="3">
                  <c:v>44287</c:v>
                </c:pt>
                <c:pt idx="4">
                  <c:v>44317</c:v>
                </c:pt>
                <c:pt idx="5">
                  <c:v>44348</c:v>
                </c:pt>
                <c:pt idx="6">
                  <c:v>44378</c:v>
                </c:pt>
                <c:pt idx="7">
                  <c:v>44409</c:v>
                </c:pt>
                <c:pt idx="8">
                  <c:v>44440</c:v>
                </c:pt>
                <c:pt idx="9">
                  <c:v>44470</c:v>
                </c:pt>
                <c:pt idx="10">
                  <c:v>44501</c:v>
                </c:pt>
                <c:pt idx="11">
                  <c:v>44531</c:v>
                </c:pt>
                <c:pt idx="12">
                  <c:v>44562</c:v>
                </c:pt>
                <c:pt idx="13">
                  <c:v>44593</c:v>
                </c:pt>
                <c:pt idx="14">
                  <c:v>44621</c:v>
                </c:pt>
                <c:pt idx="15">
                  <c:v>44652</c:v>
                </c:pt>
                <c:pt idx="16">
                  <c:v>44682</c:v>
                </c:pt>
                <c:pt idx="17">
                  <c:v>44713</c:v>
                </c:pt>
                <c:pt idx="18">
                  <c:v>44743</c:v>
                </c:pt>
                <c:pt idx="19">
                  <c:v>44774</c:v>
                </c:pt>
                <c:pt idx="20">
                  <c:v>44805</c:v>
                </c:pt>
                <c:pt idx="21">
                  <c:v>44835</c:v>
                </c:pt>
                <c:pt idx="22">
                  <c:v>44866</c:v>
                </c:pt>
                <c:pt idx="23">
                  <c:v>44896</c:v>
                </c:pt>
                <c:pt idx="24">
                  <c:v>44927</c:v>
                </c:pt>
                <c:pt idx="25">
                  <c:v>44958</c:v>
                </c:pt>
                <c:pt idx="26">
                  <c:v>44986</c:v>
                </c:pt>
                <c:pt idx="27">
                  <c:v>45017</c:v>
                </c:pt>
                <c:pt idx="28">
                  <c:v>45047</c:v>
                </c:pt>
                <c:pt idx="29">
                  <c:v>45078</c:v>
                </c:pt>
                <c:pt idx="30">
                  <c:v>45108</c:v>
                </c:pt>
                <c:pt idx="31">
                  <c:v>45139</c:v>
                </c:pt>
                <c:pt idx="32">
                  <c:v>45170</c:v>
                </c:pt>
                <c:pt idx="33">
                  <c:v>45200</c:v>
                </c:pt>
                <c:pt idx="34">
                  <c:v>45231</c:v>
                </c:pt>
                <c:pt idx="35">
                  <c:v>45261</c:v>
                </c:pt>
                <c:pt idx="36">
                  <c:v>45292</c:v>
                </c:pt>
                <c:pt idx="37">
                  <c:v>45323</c:v>
                </c:pt>
                <c:pt idx="38">
                  <c:v>45352</c:v>
                </c:pt>
              </c:numCache>
            </c:numRef>
          </c:cat>
          <c:val>
            <c:numRef>
              <c:f>'[POPF Charts.xlsx]Figure 4'!$AI$4:$AI$42</c:f>
              <c:numCache>
                <c:formatCode>General</c:formatCode>
                <c:ptCount val="39"/>
                <c:pt idx="6" formatCode="0%">
                  <c:v>0.7563746910334922</c:v>
                </c:pt>
                <c:pt idx="7" formatCode="0%">
                  <c:v>0.74616760291126294</c:v>
                </c:pt>
                <c:pt idx="8" formatCode="0%">
                  <c:v>0.7458695223717231</c:v>
                </c:pt>
                <c:pt idx="9" formatCode="0%">
                  <c:v>0.69025147166079548</c:v>
                </c:pt>
                <c:pt idx="10" formatCode="0%">
                  <c:v>0.68406212175639847</c:v>
                </c:pt>
                <c:pt idx="11" formatCode="0%">
                  <c:v>0.67671614255171963</c:v>
                </c:pt>
                <c:pt idx="12" formatCode="0%">
                  <c:v>0.67280909310402925</c:v>
                </c:pt>
                <c:pt idx="13" formatCode="0%">
                  <c:v>0.65897071299655874</c:v>
                </c:pt>
                <c:pt idx="14" formatCode="0%">
                  <c:v>0.65778081482664463</c:v>
                </c:pt>
                <c:pt idx="15" formatCode="0%">
                  <c:v>0.66344928804513381</c:v>
                </c:pt>
                <c:pt idx="16" formatCode="0%">
                  <c:v>0.66563544736979274</c:v>
                </c:pt>
                <c:pt idx="17" formatCode="0%">
                  <c:v>0.66532614835664994</c:v>
                </c:pt>
                <c:pt idx="18" formatCode="0%">
                  <c:v>0.67925732177317844</c:v>
                </c:pt>
                <c:pt idx="19" formatCode="0%">
                  <c:v>0.67121732618556262</c:v>
                </c:pt>
                <c:pt idx="20" formatCode="0%">
                  <c:v>0.65649464445241912</c:v>
                </c:pt>
                <c:pt idx="21" formatCode="0%">
                  <c:v>0.64747802479887295</c:v>
                </c:pt>
                <c:pt idx="22" formatCode="0%">
                  <c:v>0.62651639820114524</c:v>
                </c:pt>
                <c:pt idx="23" formatCode="0%">
                  <c:v>0.61982282348656137</c:v>
                </c:pt>
                <c:pt idx="24" formatCode="0%">
                  <c:v>0.59967106130222492</c:v>
                </c:pt>
                <c:pt idx="25" formatCode="0%">
                  <c:v>0.58658251634556036</c:v>
                </c:pt>
                <c:pt idx="26" formatCode="0%">
                  <c:v>0.58051499014577934</c:v>
                </c:pt>
                <c:pt idx="27" formatCode="0%">
                  <c:v>0.56787827107108535</c:v>
                </c:pt>
                <c:pt idx="28" formatCode="0%">
                  <c:v>0.54426898811126778</c:v>
                </c:pt>
                <c:pt idx="29" formatCode="0%">
                  <c:v>0.54621998935538763</c:v>
                </c:pt>
                <c:pt idx="30" formatCode="0%">
                  <c:v>0.52306617782113951</c:v>
                </c:pt>
                <c:pt idx="31" formatCode="0%">
                  <c:v>0.52892006993195706</c:v>
                </c:pt>
                <c:pt idx="32" formatCode="0%">
                  <c:v>0.54417764369565458</c:v>
                </c:pt>
                <c:pt idx="33" formatCode="0%">
                  <c:v>0.55088802557983951</c:v>
                </c:pt>
                <c:pt idx="34" formatCode="0%">
                  <c:v>0.57386008998564553</c:v>
                </c:pt>
                <c:pt idx="35" formatCode="0%">
                  <c:v>0.5714131937777559</c:v>
                </c:pt>
                <c:pt idx="36" formatCode="0%">
                  <c:v>0.58406409450110841</c:v>
                </c:pt>
                <c:pt idx="37" formatCode="0%">
                  <c:v>0.57038718218030271</c:v>
                </c:pt>
                <c:pt idx="38" formatCode="0%">
                  <c:v>0.55418801900488701</c:v>
                </c:pt>
              </c:numCache>
            </c:numRef>
          </c:val>
          <c:smooth val="0"/>
          <c:extLst xmlns:c15="http://schemas.microsoft.com/office/drawing/2012/chart">
            <c:ext xmlns:c16="http://schemas.microsoft.com/office/drawing/2014/chart" uri="{C3380CC4-5D6E-409C-BE32-E72D297353CC}">
              <c16:uniqueId val="{00000011-9719-4B29-AF48-75CD3F5599CC}"/>
            </c:ext>
          </c:extLst>
        </c:ser>
        <c:ser>
          <c:idx val="19"/>
          <c:order val="18"/>
          <c:tx>
            <c:strRef>
              <c:f>'[POPF Charts.xlsx]Figure 4'!$AJ$2</c:f>
              <c:strCache>
                <c:ptCount val="1"/>
                <c:pt idx="0">
                  <c:v>SMT Energy</c:v>
                </c:pt>
              </c:strCache>
            </c:strRef>
          </c:tx>
          <c:spPr>
            <a:ln w="19050" cap="rnd">
              <a:solidFill>
                <a:schemeClr val="accent2">
                  <a:lumMod val="80000"/>
                </a:schemeClr>
              </a:solidFill>
              <a:round/>
            </a:ln>
            <a:effectLst/>
          </c:spPr>
          <c:marker>
            <c:symbol val="none"/>
          </c:marker>
          <c:cat>
            <c:numRef>
              <c:f>'[POPF Charts.xlsx]Figure 4'!$Q$4:$Q$42</c:f>
              <c:numCache>
                <c:formatCode>m/d/yyyy</c:formatCode>
                <c:ptCount val="39"/>
                <c:pt idx="0">
                  <c:v>44197</c:v>
                </c:pt>
                <c:pt idx="1">
                  <c:v>44228</c:v>
                </c:pt>
                <c:pt idx="2">
                  <c:v>44256</c:v>
                </c:pt>
                <c:pt idx="3">
                  <c:v>44287</c:v>
                </c:pt>
                <c:pt idx="4">
                  <c:v>44317</c:v>
                </c:pt>
                <c:pt idx="5">
                  <c:v>44348</c:v>
                </c:pt>
                <c:pt idx="6">
                  <c:v>44378</c:v>
                </c:pt>
                <c:pt idx="7">
                  <c:v>44409</c:v>
                </c:pt>
                <c:pt idx="8">
                  <c:v>44440</c:v>
                </c:pt>
                <c:pt idx="9">
                  <c:v>44470</c:v>
                </c:pt>
                <c:pt idx="10">
                  <c:v>44501</c:v>
                </c:pt>
                <c:pt idx="11">
                  <c:v>44531</c:v>
                </c:pt>
                <c:pt idx="12">
                  <c:v>44562</c:v>
                </c:pt>
                <c:pt idx="13">
                  <c:v>44593</c:v>
                </c:pt>
                <c:pt idx="14">
                  <c:v>44621</c:v>
                </c:pt>
                <c:pt idx="15">
                  <c:v>44652</c:v>
                </c:pt>
                <c:pt idx="16">
                  <c:v>44682</c:v>
                </c:pt>
                <c:pt idx="17">
                  <c:v>44713</c:v>
                </c:pt>
                <c:pt idx="18">
                  <c:v>44743</c:v>
                </c:pt>
                <c:pt idx="19">
                  <c:v>44774</c:v>
                </c:pt>
                <c:pt idx="20">
                  <c:v>44805</c:v>
                </c:pt>
                <c:pt idx="21">
                  <c:v>44835</c:v>
                </c:pt>
                <c:pt idx="22">
                  <c:v>44866</c:v>
                </c:pt>
                <c:pt idx="23">
                  <c:v>44896</c:v>
                </c:pt>
                <c:pt idx="24">
                  <c:v>44927</c:v>
                </c:pt>
                <c:pt idx="25">
                  <c:v>44958</c:v>
                </c:pt>
                <c:pt idx="26">
                  <c:v>44986</c:v>
                </c:pt>
                <c:pt idx="27">
                  <c:v>45017</c:v>
                </c:pt>
                <c:pt idx="28">
                  <c:v>45047</c:v>
                </c:pt>
                <c:pt idx="29">
                  <c:v>45078</c:v>
                </c:pt>
                <c:pt idx="30">
                  <c:v>45108</c:v>
                </c:pt>
                <c:pt idx="31">
                  <c:v>45139</c:v>
                </c:pt>
                <c:pt idx="32">
                  <c:v>45170</c:v>
                </c:pt>
                <c:pt idx="33">
                  <c:v>45200</c:v>
                </c:pt>
                <c:pt idx="34">
                  <c:v>45231</c:v>
                </c:pt>
                <c:pt idx="35">
                  <c:v>45261</c:v>
                </c:pt>
                <c:pt idx="36">
                  <c:v>45292</c:v>
                </c:pt>
                <c:pt idx="37">
                  <c:v>45323</c:v>
                </c:pt>
                <c:pt idx="38">
                  <c:v>45352</c:v>
                </c:pt>
              </c:numCache>
            </c:numRef>
          </c:cat>
          <c:val>
            <c:numRef>
              <c:f>'[POPF Charts.xlsx]Figure 4'!$AJ$4:$AJ$42</c:f>
              <c:numCache>
                <c:formatCode>General</c:formatCode>
                <c:ptCount val="39"/>
                <c:pt idx="35" formatCode="0%">
                  <c:v>6.5931903583420562E-2</c:v>
                </c:pt>
                <c:pt idx="36" formatCode="0%">
                  <c:v>0.15465508311199444</c:v>
                </c:pt>
                <c:pt idx="37" formatCode="0%">
                  <c:v>0.16574976285668233</c:v>
                </c:pt>
                <c:pt idx="38" formatCode="0%">
                  <c:v>0.19024901619488577</c:v>
                </c:pt>
              </c:numCache>
            </c:numRef>
          </c:val>
          <c:smooth val="0"/>
          <c:extLst xmlns:c15="http://schemas.microsoft.com/office/drawing/2012/chart">
            <c:ext xmlns:c16="http://schemas.microsoft.com/office/drawing/2014/chart" uri="{C3380CC4-5D6E-409C-BE32-E72D297353CC}">
              <c16:uniqueId val="{00000012-9719-4B29-AF48-75CD3F5599CC}"/>
            </c:ext>
          </c:extLst>
        </c:ser>
        <c:ser>
          <c:idx val="20"/>
          <c:order val="19"/>
          <c:tx>
            <c:strRef>
              <c:f>'[POPF Charts.xlsx]Figure 4'!$AK$2</c:f>
              <c:strCache>
                <c:ptCount val="1"/>
                <c:pt idx="0">
                  <c:v>Spearmint</c:v>
                </c:pt>
              </c:strCache>
            </c:strRef>
          </c:tx>
          <c:spPr>
            <a:ln w="19050" cap="rnd">
              <a:solidFill>
                <a:schemeClr val="accent3">
                  <a:lumMod val="80000"/>
                </a:schemeClr>
              </a:solidFill>
              <a:round/>
            </a:ln>
            <a:effectLst/>
          </c:spPr>
          <c:marker>
            <c:symbol val="none"/>
          </c:marker>
          <c:cat>
            <c:numRef>
              <c:f>'[POPF Charts.xlsx]Figure 4'!$Q$4:$Q$42</c:f>
              <c:numCache>
                <c:formatCode>m/d/yyyy</c:formatCode>
                <c:ptCount val="39"/>
                <c:pt idx="0">
                  <c:v>44197</c:v>
                </c:pt>
                <c:pt idx="1">
                  <c:v>44228</c:v>
                </c:pt>
                <c:pt idx="2">
                  <c:v>44256</c:v>
                </c:pt>
                <c:pt idx="3">
                  <c:v>44287</c:v>
                </c:pt>
                <c:pt idx="4">
                  <c:v>44317</c:v>
                </c:pt>
                <c:pt idx="5">
                  <c:v>44348</c:v>
                </c:pt>
                <c:pt idx="6">
                  <c:v>44378</c:v>
                </c:pt>
                <c:pt idx="7">
                  <c:v>44409</c:v>
                </c:pt>
                <c:pt idx="8">
                  <c:v>44440</c:v>
                </c:pt>
                <c:pt idx="9">
                  <c:v>44470</c:v>
                </c:pt>
                <c:pt idx="10">
                  <c:v>44501</c:v>
                </c:pt>
                <c:pt idx="11">
                  <c:v>44531</c:v>
                </c:pt>
                <c:pt idx="12">
                  <c:v>44562</c:v>
                </c:pt>
                <c:pt idx="13">
                  <c:v>44593</c:v>
                </c:pt>
                <c:pt idx="14">
                  <c:v>44621</c:v>
                </c:pt>
                <c:pt idx="15">
                  <c:v>44652</c:v>
                </c:pt>
                <c:pt idx="16">
                  <c:v>44682</c:v>
                </c:pt>
                <c:pt idx="17">
                  <c:v>44713</c:v>
                </c:pt>
                <c:pt idx="18">
                  <c:v>44743</c:v>
                </c:pt>
                <c:pt idx="19">
                  <c:v>44774</c:v>
                </c:pt>
                <c:pt idx="20">
                  <c:v>44805</c:v>
                </c:pt>
                <c:pt idx="21">
                  <c:v>44835</c:v>
                </c:pt>
                <c:pt idx="22">
                  <c:v>44866</c:v>
                </c:pt>
                <c:pt idx="23">
                  <c:v>44896</c:v>
                </c:pt>
                <c:pt idx="24">
                  <c:v>44927</c:v>
                </c:pt>
                <c:pt idx="25">
                  <c:v>44958</c:v>
                </c:pt>
                <c:pt idx="26">
                  <c:v>44986</c:v>
                </c:pt>
                <c:pt idx="27">
                  <c:v>45017</c:v>
                </c:pt>
                <c:pt idx="28">
                  <c:v>45047</c:v>
                </c:pt>
                <c:pt idx="29">
                  <c:v>45078</c:v>
                </c:pt>
                <c:pt idx="30">
                  <c:v>45108</c:v>
                </c:pt>
                <c:pt idx="31">
                  <c:v>45139</c:v>
                </c:pt>
                <c:pt idx="32">
                  <c:v>45170</c:v>
                </c:pt>
                <c:pt idx="33">
                  <c:v>45200</c:v>
                </c:pt>
                <c:pt idx="34">
                  <c:v>45231</c:v>
                </c:pt>
                <c:pt idx="35">
                  <c:v>45261</c:v>
                </c:pt>
                <c:pt idx="36">
                  <c:v>45292</c:v>
                </c:pt>
                <c:pt idx="37">
                  <c:v>45323</c:v>
                </c:pt>
                <c:pt idx="38">
                  <c:v>45352</c:v>
                </c:pt>
              </c:numCache>
            </c:numRef>
          </c:cat>
          <c:val>
            <c:numRef>
              <c:f>'[POPF Charts.xlsx]Figure 4'!$AK$4:$AK$42</c:f>
              <c:numCache>
                <c:formatCode>General</c:formatCode>
                <c:ptCount val="39"/>
                <c:pt idx="36" formatCode="0%">
                  <c:v>0.2535356996914136</c:v>
                </c:pt>
                <c:pt idx="37" formatCode="0%">
                  <c:v>0.32009477504412392</c:v>
                </c:pt>
                <c:pt idx="38" formatCode="0%">
                  <c:v>0.32311330347295431</c:v>
                </c:pt>
              </c:numCache>
            </c:numRef>
          </c:val>
          <c:smooth val="0"/>
          <c:extLst xmlns:c15="http://schemas.microsoft.com/office/drawing/2012/chart">
            <c:ext xmlns:c16="http://schemas.microsoft.com/office/drawing/2014/chart" uri="{C3380CC4-5D6E-409C-BE32-E72D297353CC}">
              <c16:uniqueId val="{00000013-9719-4B29-AF48-75CD3F5599CC}"/>
            </c:ext>
          </c:extLst>
        </c:ser>
        <c:ser>
          <c:idx val="24"/>
          <c:order val="22"/>
          <c:tx>
            <c:strRef>
              <c:f>'[POPF Charts.xlsx]Figure 4'!$AN$2</c:f>
              <c:strCache>
                <c:ptCount val="1"/>
                <c:pt idx="0">
                  <c:v>CAISO Median</c:v>
                </c:pt>
              </c:strCache>
            </c:strRef>
          </c:tx>
          <c:spPr>
            <a:ln w="38100" cap="rnd">
              <a:solidFill>
                <a:schemeClr val="tx1"/>
              </a:solidFill>
              <a:prstDash val="sysDash"/>
              <a:round/>
            </a:ln>
            <a:effectLst/>
          </c:spPr>
          <c:marker>
            <c:symbol val="none"/>
          </c:marker>
          <c:cat>
            <c:numRef>
              <c:f>'[POPF Charts.xlsx]Figure 4'!$Q$4:$Q$42</c:f>
              <c:numCache>
                <c:formatCode>m/d/yyyy</c:formatCode>
                <c:ptCount val="39"/>
                <c:pt idx="0">
                  <c:v>44197</c:v>
                </c:pt>
                <c:pt idx="1">
                  <c:v>44228</c:v>
                </c:pt>
                <c:pt idx="2">
                  <c:v>44256</c:v>
                </c:pt>
                <c:pt idx="3">
                  <c:v>44287</c:v>
                </c:pt>
                <c:pt idx="4">
                  <c:v>44317</c:v>
                </c:pt>
                <c:pt idx="5">
                  <c:v>44348</c:v>
                </c:pt>
                <c:pt idx="6">
                  <c:v>44378</c:v>
                </c:pt>
                <c:pt idx="7">
                  <c:v>44409</c:v>
                </c:pt>
                <c:pt idx="8">
                  <c:v>44440</c:v>
                </c:pt>
                <c:pt idx="9">
                  <c:v>44470</c:v>
                </c:pt>
                <c:pt idx="10">
                  <c:v>44501</c:v>
                </c:pt>
                <c:pt idx="11">
                  <c:v>44531</c:v>
                </c:pt>
                <c:pt idx="12">
                  <c:v>44562</c:v>
                </c:pt>
                <c:pt idx="13">
                  <c:v>44593</c:v>
                </c:pt>
                <c:pt idx="14">
                  <c:v>44621</c:v>
                </c:pt>
                <c:pt idx="15">
                  <c:v>44652</c:v>
                </c:pt>
                <c:pt idx="16">
                  <c:v>44682</c:v>
                </c:pt>
                <c:pt idx="17">
                  <c:v>44713</c:v>
                </c:pt>
                <c:pt idx="18">
                  <c:v>44743</c:v>
                </c:pt>
                <c:pt idx="19">
                  <c:v>44774</c:v>
                </c:pt>
                <c:pt idx="20">
                  <c:v>44805</c:v>
                </c:pt>
                <c:pt idx="21">
                  <c:v>44835</c:v>
                </c:pt>
                <c:pt idx="22">
                  <c:v>44866</c:v>
                </c:pt>
                <c:pt idx="23">
                  <c:v>44896</c:v>
                </c:pt>
                <c:pt idx="24">
                  <c:v>44927</c:v>
                </c:pt>
                <c:pt idx="25">
                  <c:v>44958</c:v>
                </c:pt>
                <c:pt idx="26">
                  <c:v>44986</c:v>
                </c:pt>
                <c:pt idx="27">
                  <c:v>45017</c:v>
                </c:pt>
                <c:pt idx="28">
                  <c:v>45047</c:v>
                </c:pt>
                <c:pt idx="29">
                  <c:v>45078</c:v>
                </c:pt>
                <c:pt idx="30">
                  <c:v>45108</c:v>
                </c:pt>
                <c:pt idx="31">
                  <c:v>45139</c:v>
                </c:pt>
                <c:pt idx="32">
                  <c:v>45170</c:v>
                </c:pt>
                <c:pt idx="33">
                  <c:v>45200</c:v>
                </c:pt>
                <c:pt idx="34">
                  <c:v>45231</c:v>
                </c:pt>
                <c:pt idx="35">
                  <c:v>45261</c:v>
                </c:pt>
                <c:pt idx="36">
                  <c:v>45292</c:v>
                </c:pt>
                <c:pt idx="37">
                  <c:v>45323</c:v>
                </c:pt>
                <c:pt idx="38">
                  <c:v>45352</c:v>
                </c:pt>
              </c:numCache>
            </c:numRef>
          </c:cat>
          <c:val>
            <c:numRef>
              <c:f>'[POPF Charts.xlsx]Figure 4'!$AN$4:$AN$42</c:f>
              <c:numCache>
                <c:formatCode>0%</c:formatCode>
                <c:ptCount val="39"/>
                <c:pt idx="0">
                  <c:v>0.63499352929805308</c:v>
                </c:pt>
                <c:pt idx="1">
                  <c:v>0.64868279468057954</c:v>
                </c:pt>
                <c:pt idx="2">
                  <c:v>0.63880045618104175</c:v>
                </c:pt>
                <c:pt idx="3">
                  <c:v>0.56740631418882492</c:v>
                </c:pt>
                <c:pt idx="4">
                  <c:v>0.53811355888515633</c:v>
                </c:pt>
                <c:pt idx="5">
                  <c:v>0.51638823413338308</c:v>
                </c:pt>
                <c:pt idx="6">
                  <c:v>0.56800067835803025</c:v>
                </c:pt>
                <c:pt idx="7">
                  <c:v>0.62793263536699218</c:v>
                </c:pt>
                <c:pt idx="8">
                  <c:v>0.69438395584214196</c:v>
                </c:pt>
                <c:pt idx="9">
                  <c:v>0.69480734245283171</c:v>
                </c:pt>
                <c:pt idx="10">
                  <c:v>0.7027600160836931</c:v>
                </c:pt>
                <c:pt idx="11">
                  <c:v>0.70718061936037779</c:v>
                </c:pt>
                <c:pt idx="12">
                  <c:v>0.70859289672282644</c:v>
                </c:pt>
                <c:pt idx="13">
                  <c:v>0.71460292961156657</c:v>
                </c:pt>
                <c:pt idx="14">
                  <c:v>0.71040020056345876</c:v>
                </c:pt>
                <c:pt idx="15">
                  <c:v>0.75400478185873643</c:v>
                </c:pt>
                <c:pt idx="16">
                  <c:v>0.75640706454284201</c:v>
                </c:pt>
                <c:pt idx="17">
                  <c:v>0.770303868050355</c:v>
                </c:pt>
                <c:pt idx="18">
                  <c:v>0.76478927584362866</c:v>
                </c:pt>
                <c:pt idx="19">
                  <c:v>0.7485052505884876</c:v>
                </c:pt>
                <c:pt idx="20">
                  <c:v>0.74900602780848569</c:v>
                </c:pt>
                <c:pt idx="21">
                  <c:v>0.76139988292840755</c:v>
                </c:pt>
                <c:pt idx="22">
                  <c:v>0.74137351768851278</c:v>
                </c:pt>
                <c:pt idx="23">
                  <c:v>0.73805251403110883</c:v>
                </c:pt>
                <c:pt idx="24">
                  <c:v>0.72020501496487155</c:v>
                </c:pt>
                <c:pt idx="25">
                  <c:v>0.71623145825537982</c:v>
                </c:pt>
                <c:pt idx="26">
                  <c:v>0.71720501106416179</c:v>
                </c:pt>
                <c:pt idx="27">
                  <c:v>0.71952240791170474</c:v>
                </c:pt>
                <c:pt idx="28">
                  <c:v>0.71100401303729155</c:v>
                </c:pt>
                <c:pt idx="29">
                  <c:v>0.6879089864891883</c:v>
                </c:pt>
                <c:pt idx="30">
                  <c:v>0.68863112838611595</c:v>
                </c:pt>
                <c:pt idx="31">
                  <c:v>0.69539238064274589</c:v>
                </c:pt>
                <c:pt idx="32">
                  <c:v>0.6779362093231045</c:v>
                </c:pt>
                <c:pt idx="33">
                  <c:v>0.66208989120056772</c:v>
                </c:pt>
                <c:pt idx="34">
                  <c:v>0.65211530879271828</c:v>
                </c:pt>
                <c:pt idx="35">
                  <c:v>0.64054720724827519</c:v>
                </c:pt>
                <c:pt idx="36">
                  <c:v>0.63012474419765174</c:v>
                </c:pt>
                <c:pt idx="37">
                  <c:v>0.60574277239146535</c:v>
                </c:pt>
                <c:pt idx="38">
                  <c:v>0.5746237148294443</c:v>
                </c:pt>
              </c:numCache>
            </c:numRef>
          </c:val>
          <c:smooth val="0"/>
          <c:extLst xmlns:c15="http://schemas.microsoft.com/office/drawing/2012/chart">
            <c:ext xmlns:c16="http://schemas.microsoft.com/office/drawing/2014/chart" uri="{C3380CC4-5D6E-409C-BE32-E72D297353CC}">
              <c16:uniqueId val="{00000014-9719-4B29-AF48-75CD3F5599CC}"/>
            </c:ext>
          </c:extLst>
        </c:ser>
        <c:ser>
          <c:idx val="25"/>
          <c:order val="23"/>
          <c:tx>
            <c:strRef>
              <c:f>'[POPF Charts.xlsx]Figure 4'!$AO$2</c:f>
              <c:strCache>
                <c:ptCount val="1"/>
                <c:pt idx="0">
                  <c:v>ERCOT Median</c:v>
                </c:pt>
              </c:strCache>
            </c:strRef>
          </c:tx>
          <c:spPr>
            <a:ln w="38100" cap="rnd">
              <a:solidFill>
                <a:schemeClr val="tx1"/>
              </a:solidFill>
              <a:round/>
            </a:ln>
            <a:effectLst/>
          </c:spPr>
          <c:marker>
            <c:symbol val="none"/>
          </c:marker>
          <c:cat>
            <c:numRef>
              <c:f>'[POPF Charts.xlsx]Figure 4'!$Q$4:$Q$42</c:f>
              <c:numCache>
                <c:formatCode>m/d/yyyy</c:formatCode>
                <c:ptCount val="39"/>
                <c:pt idx="0">
                  <c:v>44197</c:v>
                </c:pt>
                <c:pt idx="1">
                  <c:v>44228</c:v>
                </c:pt>
                <c:pt idx="2">
                  <c:v>44256</c:v>
                </c:pt>
                <c:pt idx="3">
                  <c:v>44287</c:v>
                </c:pt>
                <c:pt idx="4">
                  <c:v>44317</c:v>
                </c:pt>
                <c:pt idx="5">
                  <c:v>44348</c:v>
                </c:pt>
                <c:pt idx="6">
                  <c:v>44378</c:v>
                </c:pt>
                <c:pt idx="7">
                  <c:v>44409</c:v>
                </c:pt>
                <c:pt idx="8">
                  <c:v>44440</c:v>
                </c:pt>
                <c:pt idx="9">
                  <c:v>44470</c:v>
                </c:pt>
                <c:pt idx="10">
                  <c:v>44501</c:v>
                </c:pt>
                <c:pt idx="11">
                  <c:v>44531</c:v>
                </c:pt>
                <c:pt idx="12">
                  <c:v>44562</c:v>
                </c:pt>
                <c:pt idx="13">
                  <c:v>44593</c:v>
                </c:pt>
                <c:pt idx="14">
                  <c:v>44621</c:v>
                </c:pt>
                <c:pt idx="15">
                  <c:v>44652</c:v>
                </c:pt>
                <c:pt idx="16">
                  <c:v>44682</c:v>
                </c:pt>
                <c:pt idx="17">
                  <c:v>44713</c:v>
                </c:pt>
                <c:pt idx="18">
                  <c:v>44743</c:v>
                </c:pt>
                <c:pt idx="19">
                  <c:v>44774</c:v>
                </c:pt>
                <c:pt idx="20">
                  <c:v>44805</c:v>
                </c:pt>
                <c:pt idx="21">
                  <c:v>44835</c:v>
                </c:pt>
                <c:pt idx="22">
                  <c:v>44866</c:v>
                </c:pt>
                <c:pt idx="23">
                  <c:v>44896</c:v>
                </c:pt>
                <c:pt idx="24">
                  <c:v>44927</c:v>
                </c:pt>
                <c:pt idx="25">
                  <c:v>44958</c:v>
                </c:pt>
                <c:pt idx="26">
                  <c:v>44986</c:v>
                </c:pt>
                <c:pt idx="27">
                  <c:v>45017</c:v>
                </c:pt>
                <c:pt idx="28">
                  <c:v>45047</c:v>
                </c:pt>
                <c:pt idx="29">
                  <c:v>45078</c:v>
                </c:pt>
                <c:pt idx="30">
                  <c:v>45108</c:v>
                </c:pt>
                <c:pt idx="31">
                  <c:v>45139</c:v>
                </c:pt>
                <c:pt idx="32">
                  <c:v>45170</c:v>
                </c:pt>
                <c:pt idx="33">
                  <c:v>45200</c:v>
                </c:pt>
                <c:pt idx="34">
                  <c:v>45231</c:v>
                </c:pt>
                <c:pt idx="35">
                  <c:v>45261</c:v>
                </c:pt>
                <c:pt idx="36">
                  <c:v>45292</c:v>
                </c:pt>
                <c:pt idx="37">
                  <c:v>45323</c:v>
                </c:pt>
                <c:pt idx="38">
                  <c:v>45352</c:v>
                </c:pt>
              </c:numCache>
            </c:numRef>
          </c:cat>
          <c:val>
            <c:numRef>
              <c:f>'[POPF Charts.xlsx]Figure 4'!$AO$4:$AO$42</c:f>
              <c:numCache>
                <c:formatCode>0%</c:formatCode>
                <c:ptCount val="39"/>
                <c:pt idx="0">
                  <c:v>0.5592907510720424</c:v>
                </c:pt>
                <c:pt idx="1">
                  <c:v>0.52915867742993117</c:v>
                </c:pt>
                <c:pt idx="2">
                  <c:v>0.5411851681365446</c:v>
                </c:pt>
                <c:pt idx="3">
                  <c:v>0.55654181979181505</c:v>
                </c:pt>
                <c:pt idx="4">
                  <c:v>0.53761689567160498</c:v>
                </c:pt>
                <c:pt idx="5">
                  <c:v>0.54043574581962417</c:v>
                </c:pt>
                <c:pt idx="6">
                  <c:v>0.54843316420522792</c:v>
                </c:pt>
                <c:pt idx="7">
                  <c:v>0.54888781228365013</c:v>
                </c:pt>
                <c:pt idx="8">
                  <c:v>0.56944236634512513</c:v>
                </c:pt>
                <c:pt idx="9">
                  <c:v>0.57940808772894625</c:v>
                </c:pt>
                <c:pt idx="10">
                  <c:v>0.58286631367859532</c:v>
                </c:pt>
                <c:pt idx="11">
                  <c:v>0.60023923737575846</c:v>
                </c:pt>
                <c:pt idx="12">
                  <c:v>0.60407278907094542</c:v>
                </c:pt>
                <c:pt idx="13">
                  <c:v>0.63438540319541525</c:v>
                </c:pt>
                <c:pt idx="14">
                  <c:v>0.63343958789115629</c:v>
                </c:pt>
                <c:pt idx="15">
                  <c:v>0.63783456417997131</c:v>
                </c:pt>
                <c:pt idx="16">
                  <c:v>0.66464559992555772</c:v>
                </c:pt>
                <c:pt idx="17">
                  <c:v>0.66125090995410452</c:v>
                </c:pt>
                <c:pt idx="18">
                  <c:v>0.66294218020494322</c:v>
                </c:pt>
                <c:pt idx="19">
                  <c:v>0.65947165871544944</c:v>
                </c:pt>
                <c:pt idx="20">
                  <c:v>0.64269166656147003</c:v>
                </c:pt>
                <c:pt idx="21">
                  <c:v>0.62960969605512618</c:v>
                </c:pt>
                <c:pt idx="22">
                  <c:v>0.60621995807538687</c:v>
                </c:pt>
                <c:pt idx="23">
                  <c:v>0.59270446653762721</c:v>
                </c:pt>
                <c:pt idx="24">
                  <c:v>0.56761350276126843</c:v>
                </c:pt>
                <c:pt idx="25">
                  <c:v>0.53655762162368792</c:v>
                </c:pt>
                <c:pt idx="26">
                  <c:v>0.51610021271675754</c:v>
                </c:pt>
                <c:pt idx="27">
                  <c:v>0.48415587864872583</c:v>
                </c:pt>
                <c:pt idx="28">
                  <c:v>0.4651465533572765</c:v>
                </c:pt>
                <c:pt idx="29">
                  <c:v>0.46674977641835486</c:v>
                </c:pt>
                <c:pt idx="30">
                  <c:v>0.45569153128939927</c:v>
                </c:pt>
                <c:pt idx="31">
                  <c:v>0.4483352631860415</c:v>
                </c:pt>
                <c:pt idx="32">
                  <c:v>0.45616281711382295</c:v>
                </c:pt>
                <c:pt idx="33">
                  <c:v>0.45670658271916281</c:v>
                </c:pt>
                <c:pt idx="34">
                  <c:v>0.47497452368616461</c:v>
                </c:pt>
                <c:pt idx="35">
                  <c:v>0.46276921767552254</c:v>
                </c:pt>
                <c:pt idx="36">
                  <c:v>0.48009787127815923</c:v>
                </c:pt>
                <c:pt idx="37">
                  <c:v>0.4831206499946345</c:v>
                </c:pt>
                <c:pt idx="38">
                  <c:v>0.48402782732940186</c:v>
                </c:pt>
              </c:numCache>
            </c:numRef>
          </c:val>
          <c:smooth val="0"/>
          <c:extLst>
            <c:ext xmlns:c16="http://schemas.microsoft.com/office/drawing/2014/chart" uri="{C3380CC4-5D6E-409C-BE32-E72D297353CC}">
              <c16:uniqueId val="{00000015-9719-4B29-AF48-75CD3F5599CC}"/>
            </c:ext>
          </c:extLst>
        </c:ser>
        <c:dLbls>
          <c:showLegendKey val="0"/>
          <c:showVal val="0"/>
          <c:showCatName val="0"/>
          <c:showSerName val="0"/>
          <c:showPercent val="0"/>
          <c:showBubbleSize val="0"/>
        </c:dLbls>
        <c:smooth val="0"/>
        <c:axId val="2132867072"/>
        <c:axId val="2132866592"/>
        <c:extLst>
          <c:ext xmlns:c15="http://schemas.microsoft.com/office/drawing/2012/chart" uri="{02D57815-91ED-43cb-92C2-25804820EDAC}">
            <c15:filteredLineSeries>
              <c15:ser>
                <c:idx val="22"/>
                <c:order val="20"/>
                <c:tx>
                  <c:strRef>
                    <c:extLst>
                      <c:ext uri="{02D57815-91ED-43cb-92C2-25804820EDAC}">
                        <c15:formulaRef>
                          <c15:sqref>'[POPF Charts.xlsx]Figure 4'!$AL$2</c15:sqref>
                        </c15:formulaRef>
                      </c:ext>
                    </c:extLst>
                    <c:strCache>
                      <c:ptCount val="1"/>
                      <c:pt idx="0">
                        <c:v>CAISO Median</c:v>
                      </c:pt>
                    </c:strCache>
                  </c:strRef>
                </c:tx>
                <c:spPr>
                  <a:ln w="38100" cap="rnd">
                    <a:solidFill>
                      <a:schemeClr val="tx1"/>
                    </a:solidFill>
                    <a:prstDash val="sysDash"/>
                    <a:round/>
                  </a:ln>
                  <a:effectLst/>
                </c:spPr>
                <c:marker>
                  <c:symbol val="none"/>
                </c:marker>
                <c:cat>
                  <c:numRef>
                    <c:extLst>
                      <c:ext uri="{02D57815-91ED-43cb-92C2-25804820EDAC}">
                        <c15:formulaRef>
                          <c15:sqref>'[POPF Charts.xlsx]Figure 4'!$Q$4:$Q$42</c15:sqref>
                        </c15:formulaRef>
                      </c:ext>
                    </c:extLst>
                    <c:numCache>
                      <c:formatCode>m/d/yyyy</c:formatCode>
                      <c:ptCount val="39"/>
                      <c:pt idx="0">
                        <c:v>44197</c:v>
                      </c:pt>
                      <c:pt idx="1">
                        <c:v>44228</c:v>
                      </c:pt>
                      <c:pt idx="2">
                        <c:v>44256</c:v>
                      </c:pt>
                      <c:pt idx="3">
                        <c:v>44287</c:v>
                      </c:pt>
                      <c:pt idx="4">
                        <c:v>44317</c:v>
                      </c:pt>
                      <c:pt idx="5">
                        <c:v>44348</c:v>
                      </c:pt>
                      <c:pt idx="6">
                        <c:v>44378</c:v>
                      </c:pt>
                      <c:pt idx="7">
                        <c:v>44409</c:v>
                      </c:pt>
                      <c:pt idx="8">
                        <c:v>44440</c:v>
                      </c:pt>
                      <c:pt idx="9">
                        <c:v>44470</c:v>
                      </c:pt>
                      <c:pt idx="10">
                        <c:v>44501</c:v>
                      </c:pt>
                      <c:pt idx="11">
                        <c:v>44531</c:v>
                      </c:pt>
                      <c:pt idx="12">
                        <c:v>44562</c:v>
                      </c:pt>
                      <c:pt idx="13">
                        <c:v>44593</c:v>
                      </c:pt>
                      <c:pt idx="14">
                        <c:v>44621</c:v>
                      </c:pt>
                      <c:pt idx="15">
                        <c:v>44652</c:v>
                      </c:pt>
                      <c:pt idx="16">
                        <c:v>44682</c:v>
                      </c:pt>
                      <c:pt idx="17">
                        <c:v>44713</c:v>
                      </c:pt>
                      <c:pt idx="18">
                        <c:v>44743</c:v>
                      </c:pt>
                      <c:pt idx="19">
                        <c:v>44774</c:v>
                      </c:pt>
                      <c:pt idx="20">
                        <c:v>44805</c:v>
                      </c:pt>
                      <c:pt idx="21">
                        <c:v>44835</c:v>
                      </c:pt>
                      <c:pt idx="22">
                        <c:v>44866</c:v>
                      </c:pt>
                      <c:pt idx="23">
                        <c:v>44896</c:v>
                      </c:pt>
                      <c:pt idx="24">
                        <c:v>44927</c:v>
                      </c:pt>
                      <c:pt idx="25">
                        <c:v>44958</c:v>
                      </c:pt>
                      <c:pt idx="26">
                        <c:v>44986</c:v>
                      </c:pt>
                      <c:pt idx="27">
                        <c:v>45017</c:v>
                      </c:pt>
                      <c:pt idx="28">
                        <c:v>45047</c:v>
                      </c:pt>
                      <c:pt idx="29">
                        <c:v>45078</c:v>
                      </c:pt>
                      <c:pt idx="30">
                        <c:v>45108</c:v>
                      </c:pt>
                      <c:pt idx="31">
                        <c:v>45139</c:v>
                      </c:pt>
                      <c:pt idx="32">
                        <c:v>45170</c:v>
                      </c:pt>
                      <c:pt idx="33">
                        <c:v>45200</c:v>
                      </c:pt>
                      <c:pt idx="34">
                        <c:v>45231</c:v>
                      </c:pt>
                      <c:pt idx="35">
                        <c:v>45261</c:v>
                      </c:pt>
                      <c:pt idx="36">
                        <c:v>45292</c:v>
                      </c:pt>
                      <c:pt idx="37">
                        <c:v>45323</c:v>
                      </c:pt>
                      <c:pt idx="38">
                        <c:v>45352</c:v>
                      </c:pt>
                    </c:numCache>
                  </c:numRef>
                </c:cat>
                <c:val>
                  <c:numRef>
                    <c:extLst>
                      <c:ext uri="{02D57815-91ED-43cb-92C2-25804820EDAC}">
                        <c15:formulaRef>
                          <c15:sqref>'[POPF Charts.xlsx]Figure 4'!$AL$4:$AL$42</c15:sqref>
                        </c15:formulaRef>
                      </c:ext>
                    </c:extLst>
                    <c:numCache>
                      <c:formatCode>0%</c:formatCode>
                      <c:ptCount val="39"/>
                      <c:pt idx="0">
                        <c:v>0.76376683005936108</c:v>
                      </c:pt>
                      <c:pt idx="1">
                        <c:v>0.67685171580231218</c:v>
                      </c:pt>
                      <c:pt idx="2">
                        <c:v>0.79091065095506474</c:v>
                      </c:pt>
                      <c:pt idx="3">
                        <c:v>0.22530493399702264</c:v>
                      </c:pt>
                      <c:pt idx="4">
                        <c:v>0.67772469365527943</c:v>
                      </c:pt>
                      <c:pt idx="5">
                        <c:v>0.72344988739661731</c:v>
                      </c:pt>
                      <c:pt idx="6">
                        <c:v>0.76919116833644297</c:v>
                      </c:pt>
                      <c:pt idx="7">
                        <c:v>0.89815572012104261</c:v>
                      </c:pt>
                      <c:pt idx="8">
                        <c:v>0.84535637278359888</c:v>
                      </c:pt>
                      <c:pt idx="9">
                        <c:v>0.64428238139967942</c:v>
                      </c:pt>
                      <c:pt idx="10">
                        <c:v>0.83430717871079518</c:v>
                      </c:pt>
                      <c:pt idx="11">
                        <c:v>0.63686589910731717</c:v>
                      </c:pt>
                      <c:pt idx="12">
                        <c:v>0.78071415840874603</c:v>
                      </c:pt>
                      <c:pt idx="13">
                        <c:v>0.74897211046719192</c:v>
                      </c:pt>
                      <c:pt idx="14">
                        <c:v>0.74047790237777111</c:v>
                      </c:pt>
                      <c:pt idx="15">
                        <c:v>0.74855990954035445</c:v>
                      </c:pt>
                      <c:pt idx="16">
                        <c:v>0.70655208586454843</c:v>
                      </c:pt>
                      <c:pt idx="17">
                        <c:v>0.89021152948677329</c:v>
                      </c:pt>
                      <c:pt idx="18">
                        <c:v>0.70301606185572485</c:v>
                      </c:pt>
                      <c:pt idx="19">
                        <c:v>0.70274741705935084</c:v>
                      </c:pt>
                      <c:pt idx="20">
                        <c:v>0.85136569942357398</c:v>
                      </c:pt>
                      <c:pt idx="21">
                        <c:v>0.79300864283874195</c:v>
                      </c:pt>
                      <c:pt idx="22">
                        <c:v>0.59399079583205994</c:v>
                      </c:pt>
                      <c:pt idx="23">
                        <c:v>0.59701385521846839</c:v>
                      </c:pt>
                      <c:pt idx="24">
                        <c:v>0.56654416961389986</c:v>
                      </c:pt>
                      <c:pt idx="25">
                        <c:v>0.70128942995329047</c:v>
                      </c:pt>
                      <c:pt idx="26">
                        <c:v>0.75216053608315514</c:v>
                      </c:pt>
                      <c:pt idx="27">
                        <c:v>0.77636867171087043</c:v>
                      </c:pt>
                      <c:pt idx="28">
                        <c:v>0.60433134737158889</c:v>
                      </c:pt>
                      <c:pt idx="29">
                        <c:v>0.61307121090953565</c:v>
                      </c:pt>
                      <c:pt idx="30">
                        <c:v>0.71168176461885535</c:v>
                      </c:pt>
                      <c:pt idx="31">
                        <c:v>0.78388244413891139</c:v>
                      </c:pt>
                      <c:pt idx="32">
                        <c:v>0.64189164358787665</c:v>
                      </c:pt>
                      <c:pt idx="33">
                        <c:v>0.60285282536830131</c:v>
                      </c:pt>
                      <c:pt idx="34">
                        <c:v>0.47429580693786655</c:v>
                      </c:pt>
                      <c:pt idx="35">
                        <c:v>0.45819663668515004</c:v>
                      </c:pt>
                      <c:pt idx="36">
                        <c:v>0.44147461300641833</c:v>
                      </c:pt>
                      <c:pt idx="37">
                        <c:v>0.40870576827905536</c:v>
                      </c:pt>
                      <c:pt idx="38">
                        <c:v>0.3787318453389012</c:v>
                      </c:pt>
                    </c:numCache>
                  </c:numRef>
                </c:val>
                <c:smooth val="0"/>
                <c:extLst>
                  <c:ext xmlns:c16="http://schemas.microsoft.com/office/drawing/2014/chart" uri="{C3380CC4-5D6E-409C-BE32-E72D297353CC}">
                    <c16:uniqueId val="{00000016-9719-4B29-AF48-75CD3F5599CC}"/>
                  </c:ext>
                </c:extLst>
              </c15:ser>
            </c15:filteredLineSeries>
            <c15:filteredLineSeries>
              <c15:ser>
                <c:idx val="23"/>
                <c:order val="21"/>
                <c:tx>
                  <c:strRef>
                    <c:extLst xmlns:c15="http://schemas.microsoft.com/office/drawing/2012/chart">
                      <c:ext xmlns:c15="http://schemas.microsoft.com/office/drawing/2012/chart" uri="{02D57815-91ED-43cb-92C2-25804820EDAC}">
                        <c15:formulaRef>
                          <c15:sqref>'[POPF Charts.xlsx]Figure 4'!$AM$2</c15:sqref>
                        </c15:formulaRef>
                      </c:ext>
                    </c:extLst>
                    <c:strCache>
                      <c:ptCount val="1"/>
                      <c:pt idx="0">
                        <c:v>ERCOT Median</c:v>
                      </c:pt>
                    </c:strCache>
                  </c:strRef>
                </c:tx>
                <c:spPr>
                  <a:ln w="38100" cap="rnd">
                    <a:solidFill>
                      <a:schemeClr val="tx1"/>
                    </a:solidFill>
                    <a:round/>
                  </a:ln>
                  <a:effectLst/>
                </c:spPr>
                <c:marker>
                  <c:symbol val="none"/>
                </c:marker>
                <c:cat>
                  <c:numRef>
                    <c:extLst xmlns:c15="http://schemas.microsoft.com/office/drawing/2012/chart">
                      <c:ext xmlns:c15="http://schemas.microsoft.com/office/drawing/2012/chart" uri="{02D57815-91ED-43cb-92C2-25804820EDAC}">
                        <c15:formulaRef>
                          <c15:sqref>'[POPF Charts.xlsx]Figure 4'!$Q$4:$Q$42</c15:sqref>
                        </c15:formulaRef>
                      </c:ext>
                    </c:extLst>
                    <c:numCache>
                      <c:formatCode>m/d/yyyy</c:formatCode>
                      <c:ptCount val="39"/>
                      <c:pt idx="0">
                        <c:v>44197</c:v>
                      </c:pt>
                      <c:pt idx="1">
                        <c:v>44228</c:v>
                      </c:pt>
                      <c:pt idx="2">
                        <c:v>44256</c:v>
                      </c:pt>
                      <c:pt idx="3">
                        <c:v>44287</c:v>
                      </c:pt>
                      <c:pt idx="4">
                        <c:v>44317</c:v>
                      </c:pt>
                      <c:pt idx="5">
                        <c:v>44348</c:v>
                      </c:pt>
                      <c:pt idx="6">
                        <c:v>44378</c:v>
                      </c:pt>
                      <c:pt idx="7">
                        <c:v>44409</c:v>
                      </c:pt>
                      <c:pt idx="8">
                        <c:v>44440</c:v>
                      </c:pt>
                      <c:pt idx="9">
                        <c:v>44470</c:v>
                      </c:pt>
                      <c:pt idx="10">
                        <c:v>44501</c:v>
                      </c:pt>
                      <c:pt idx="11">
                        <c:v>44531</c:v>
                      </c:pt>
                      <c:pt idx="12">
                        <c:v>44562</c:v>
                      </c:pt>
                      <c:pt idx="13">
                        <c:v>44593</c:v>
                      </c:pt>
                      <c:pt idx="14">
                        <c:v>44621</c:v>
                      </c:pt>
                      <c:pt idx="15">
                        <c:v>44652</c:v>
                      </c:pt>
                      <c:pt idx="16">
                        <c:v>44682</c:v>
                      </c:pt>
                      <c:pt idx="17">
                        <c:v>44713</c:v>
                      </c:pt>
                      <c:pt idx="18">
                        <c:v>44743</c:v>
                      </c:pt>
                      <c:pt idx="19">
                        <c:v>44774</c:v>
                      </c:pt>
                      <c:pt idx="20">
                        <c:v>44805</c:v>
                      </c:pt>
                      <c:pt idx="21">
                        <c:v>44835</c:v>
                      </c:pt>
                      <c:pt idx="22">
                        <c:v>44866</c:v>
                      </c:pt>
                      <c:pt idx="23">
                        <c:v>44896</c:v>
                      </c:pt>
                      <c:pt idx="24">
                        <c:v>44927</c:v>
                      </c:pt>
                      <c:pt idx="25">
                        <c:v>44958</c:v>
                      </c:pt>
                      <c:pt idx="26">
                        <c:v>44986</c:v>
                      </c:pt>
                      <c:pt idx="27">
                        <c:v>45017</c:v>
                      </c:pt>
                      <c:pt idx="28">
                        <c:v>45047</c:v>
                      </c:pt>
                      <c:pt idx="29">
                        <c:v>45078</c:v>
                      </c:pt>
                      <c:pt idx="30">
                        <c:v>45108</c:v>
                      </c:pt>
                      <c:pt idx="31">
                        <c:v>45139</c:v>
                      </c:pt>
                      <c:pt idx="32">
                        <c:v>45170</c:v>
                      </c:pt>
                      <c:pt idx="33">
                        <c:v>45200</c:v>
                      </c:pt>
                      <c:pt idx="34">
                        <c:v>45231</c:v>
                      </c:pt>
                      <c:pt idx="35">
                        <c:v>45261</c:v>
                      </c:pt>
                      <c:pt idx="36">
                        <c:v>45292</c:v>
                      </c:pt>
                      <c:pt idx="37">
                        <c:v>45323</c:v>
                      </c:pt>
                      <c:pt idx="38">
                        <c:v>45352</c:v>
                      </c:pt>
                    </c:numCache>
                  </c:numRef>
                </c:cat>
                <c:val>
                  <c:numRef>
                    <c:extLst xmlns:c15="http://schemas.microsoft.com/office/drawing/2012/chart">
                      <c:ext xmlns:c15="http://schemas.microsoft.com/office/drawing/2012/chart" uri="{02D57815-91ED-43cb-92C2-25804820EDAC}">
                        <c15:formulaRef>
                          <c15:sqref>'[POPF Charts.xlsx]Figure 4'!$AM$4:$AM$42</c15:sqref>
                        </c15:formulaRef>
                      </c:ext>
                    </c:extLst>
                    <c:numCache>
                      <c:formatCode>0%</c:formatCode>
                      <c:ptCount val="39"/>
                      <c:pt idx="0">
                        <c:v>0.61190230087954478</c:v>
                      </c:pt>
                      <c:pt idx="1">
                        <c:v>0.27011586014524747</c:v>
                      </c:pt>
                      <c:pt idx="2">
                        <c:v>0.65624102676263107</c:v>
                      </c:pt>
                      <c:pt idx="3">
                        <c:v>0.64438449964100608</c:v>
                      </c:pt>
                      <c:pt idx="4">
                        <c:v>0.31056511964892486</c:v>
                      </c:pt>
                      <c:pt idx="5">
                        <c:v>0.68827602793613329</c:v>
                      </c:pt>
                      <c:pt idx="6">
                        <c:v>0.73155793464821173</c:v>
                      </c:pt>
                      <c:pt idx="7">
                        <c:v>0.67405928917383062</c:v>
                      </c:pt>
                      <c:pt idx="8">
                        <c:v>0.6629611050704477</c:v>
                      </c:pt>
                      <c:pt idx="9">
                        <c:v>0.62639318141674549</c:v>
                      </c:pt>
                      <c:pt idx="10">
                        <c:v>0.67341549345303942</c:v>
                      </c:pt>
                      <c:pt idx="11">
                        <c:v>0.65299900973333935</c:v>
                      </c:pt>
                      <c:pt idx="12">
                        <c:v>0.65790492122178679</c:v>
                      </c:pt>
                      <c:pt idx="13">
                        <c:v>0.63386722963888564</c:v>
                      </c:pt>
                      <c:pt idx="14">
                        <c:v>0.64489124311152302</c:v>
                      </c:pt>
                      <c:pt idx="15">
                        <c:v>0.69712421510678602</c:v>
                      </c:pt>
                      <c:pt idx="16">
                        <c:v>0.63229754859596343</c:v>
                      </c:pt>
                      <c:pt idx="17">
                        <c:v>0.6475397482786921</c:v>
                      </c:pt>
                      <c:pt idx="18">
                        <c:v>0.75185317765827919</c:v>
                      </c:pt>
                      <c:pt idx="19">
                        <c:v>0.63241303129990456</c:v>
                      </c:pt>
                      <c:pt idx="20">
                        <c:v>0.46160119922269555</c:v>
                      </c:pt>
                      <c:pt idx="21">
                        <c:v>0.46940953534061836</c:v>
                      </c:pt>
                      <c:pt idx="22">
                        <c:v>0.39273863769616879</c:v>
                      </c:pt>
                      <c:pt idx="23">
                        <c:v>0.49081311128022265</c:v>
                      </c:pt>
                      <c:pt idx="24">
                        <c:v>0.35681335590548191</c:v>
                      </c:pt>
                      <c:pt idx="25">
                        <c:v>0.26119665598791836</c:v>
                      </c:pt>
                      <c:pt idx="26">
                        <c:v>0.3994023362283588</c:v>
                      </c:pt>
                      <c:pt idx="27">
                        <c:v>0.31379220629040538</c:v>
                      </c:pt>
                      <c:pt idx="28">
                        <c:v>0.40418564509857202</c:v>
                      </c:pt>
                      <c:pt idx="29">
                        <c:v>0.66677842501163243</c:v>
                      </c:pt>
                      <c:pt idx="30">
                        <c:v>0.61915423611081299</c:v>
                      </c:pt>
                      <c:pt idx="31">
                        <c:v>0.54413781405961104</c:v>
                      </c:pt>
                      <c:pt idx="32">
                        <c:v>0.55553184635607233</c:v>
                      </c:pt>
                      <c:pt idx="33">
                        <c:v>0.4759347226046966</c:v>
                      </c:pt>
                      <c:pt idx="34">
                        <c:v>0.61195392930019066</c:v>
                      </c:pt>
                      <c:pt idx="35">
                        <c:v>0.34434943915251931</c:v>
                      </c:pt>
                      <c:pt idx="36">
                        <c:v>0.56475719913712186</c:v>
                      </c:pt>
                      <c:pt idx="37">
                        <c:v>0.29747000058562123</c:v>
                      </c:pt>
                      <c:pt idx="38">
                        <c:v>0.4102884642455672</c:v>
                      </c:pt>
                    </c:numCache>
                  </c:numRef>
                </c:val>
                <c:smooth val="0"/>
                <c:extLst xmlns:c15="http://schemas.microsoft.com/office/drawing/2012/chart">
                  <c:ext xmlns:c16="http://schemas.microsoft.com/office/drawing/2014/chart" uri="{C3380CC4-5D6E-409C-BE32-E72D297353CC}">
                    <c16:uniqueId val="{00000017-9719-4B29-AF48-75CD3F5599CC}"/>
                  </c:ext>
                </c:extLst>
              </c15:ser>
            </c15:filteredLineSeries>
          </c:ext>
        </c:extLst>
      </c:lineChart>
      <c:dateAx>
        <c:axId val="2132867072"/>
        <c:scaling>
          <c:orientation val="minMax"/>
        </c:scaling>
        <c:delete val="0"/>
        <c:axPos val="b"/>
        <c:numFmt formatCode="mmm\-yyyy"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ysClr val="windowText" lastClr="000000"/>
                </a:solidFill>
                <a:latin typeface="Manrope" pitchFamily="2" charset="0"/>
                <a:ea typeface="+mn-ea"/>
                <a:cs typeface="+mn-cs"/>
              </a:defRPr>
            </a:pPr>
            <a:endParaRPr lang="en-US"/>
          </a:p>
        </c:txPr>
        <c:crossAx val="2132866592"/>
        <c:crosses val="autoZero"/>
        <c:auto val="1"/>
        <c:lblOffset val="100"/>
        <c:baseTimeUnit val="months"/>
        <c:majorUnit val="3"/>
        <c:majorTimeUnit val="months"/>
      </c:dateAx>
      <c:valAx>
        <c:axId val="2132866592"/>
        <c:scaling>
          <c:orientation val="minMax"/>
          <c:max val="1.4"/>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1" i="0" u="none" strike="noStrike" kern="1200" baseline="0">
                    <a:solidFill>
                      <a:sysClr val="windowText" lastClr="000000"/>
                    </a:solidFill>
                    <a:latin typeface="Manrope" pitchFamily="2" charset="0"/>
                    <a:ea typeface="+mn-ea"/>
                    <a:cs typeface="+mn-cs"/>
                  </a:defRPr>
                </a:pPr>
                <a:r>
                  <a:rPr lang="en-US"/>
                  <a:t>Percent of Perfect Foresight Captured (LTM Average)</a:t>
                </a:r>
              </a:p>
            </c:rich>
          </c:tx>
          <c:overlay val="0"/>
          <c:spPr>
            <a:noFill/>
            <a:ln>
              <a:noFill/>
            </a:ln>
            <a:effectLst/>
          </c:spPr>
          <c:txPr>
            <a:bodyPr rot="-5400000" spcFirstLastPara="1" vertOverflow="ellipsis" vert="horz" wrap="square" anchor="ctr" anchorCtr="1"/>
            <a:lstStyle/>
            <a:p>
              <a:pPr>
                <a:defRPr sz="1000" b="1" i="0" u="none" strike="noStrike" kern="1200" baseline="0">
                  <a:solidFill>
                    <a:sysClr val="windowText" lastClr="000000"/>
                  </a:solidFill>
                  <a:latin typeface="Manrope" pitchFamily="2" charset="0"/>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ysClr val="windowText" lastClr="000000"/>
                </a:solidFill>
                <a:latin typeface="Manrope" pitchFamily="2" charset="0"/>
                <a:ea typeface="+mn-ea"/>
                <a:cs typeface="+mn-cs"/>
              </a:defRPr>
            </a:pPr>
            <a:endParaRPr lang="en-US"/>
          </a:p>
        </c:txPr>
        <c:crossAx val="21328670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1" i="0" u="none" strike="noStrike" kern="1200" baseline="0">
              <a:solidFill>
                <a:sysClr val="windowText" lastClr="000000"/>
              </a:solidFill>
              <a:latin typeface="Manrope"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b="1">
          <a:solidFill>
            <a:sysClr val="windowText" lastClr="000000"/>
          </a:solidFill>
          <a:latin typeface="Manrope" pitchFamily="2" charset="0"/>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solidFill>
                <a:latin typeface="Manrope" pitchFamily="2" charset="0"/>
                <a:ea typeface="+mn-ea"/>
                <a:cs typeface="+mn-cs"/>
              </a:defRPr>
            </a:pPr>
            <a:r>
              <a:rPr lang="en-US"/>
              <a:t>August 2-Hour Storage Revenues</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Manrope" pitchFamily="2" charset="0"/>
              <a:ea typeface="+mn-ea"/>
              <a:cs typeface="+mn-cs"/>
            </a:defRPr>
          </a:pPr>
          <a:endParaRPr lang="en-US"/>
        </a:p>
      </c:txPr>
    </c:title>
    <c:autoTitleDeleted val="0"/>
    <c:plotArea>
      <c:layout/>
      <c:barChart>
        <c:barDir val="bar"/>
        <c:grouping val="stacked"/>
        <c:varyColors val="0"/>
        <c:ser>
          <c:idx val="0"/>
          <c:order val="0"/>
          <c:tx>
            <c:strRef>
              <c:f>'[2024.09.18 - ERCOT 2024 Low Prices Analysis.xlsx]SOCIAL_POST'!$Z$39</c:f>
              <c:strCache>
                <c:ptCount val="1"/>
                <c:pt idx="0">
                  <c:v>Arbitrage</c:v>
                </c:pt>
              </c:strCache>
            </c:strRef>
          </c:tx>
          <c:spPr>
            <a:solidFill>
              <a:schemeClr val="accent1"/>
            </a:solidFill>
            <a:ln>
              <a:noFill/>
            </a:ln>
            <a:effectLst/>
          </c:spPr>
          <c:invertIfNegative val="0"/>
          <c:cat>
            <c:numRef>
              <c:f>'[2024.09.18 - ERCOT 2024 Low Prices Analysis.xlsx]SOCIAL_POST'!$AA$31:$AB$31</c:f>
              <c:numCache>
                <c:formatCode>General</c:formatCode>
                <c:ptCount val="2"/>
                <c:pt idx="0">
                  <c:v>2024</c:v>
                </c:pt>
                <c:pt idx="1">
                  <c:v>2023</c:v>
                </c:pt>
              </c:numCache>
            </c:numRef>
          </c:cat>
          <c:val>
            <c:numRef>
              <c:f>'[2024.09.18 - ERCOT 2024 Low Prices Analysis.xlsx]SOCIAL_POST'!$AA$39:$AB$39</c:f>
              <c:numCache>
                <c:formatCode>"$"#,##0_);[Red]\("$"#,##0\)</c:formatCode>
                <c:ptCount val="2"/>
                <c:pt idx="0">
                  <c:v>4.928385247097669</c:v>
                </c:pt>
                <c:pt idx="1">
                  <c:v>32.994974285714285</c:v>
                </c:pt>
              </c:numCache>
            </c:numRef>
          </c:val>
          <c:extLst>
            <c:ext xmlns:c16="http://schemas.microsoft.com/office/drawing/2014/chart" uri="{C3380CC4-5D6E-409C-BE32-E72D297353CC}">
              <c16:uniqueId val="{00000000-A24C-46F0-86E7-A4B108DCC63F}"/>
            </c:ext>
          </c:extLst>
        </c:ser>
        <c:ser>
          <c:idx val="1"/>
          <c:order val="1"/>
          <c:tx>
            <c:strRef>
              <c:f>'[2024.09.18 - ERCOT 2024 Low Prices Analysis.xlsx]SOCIAL_POST'!$Z$40</c:f>
              <c:strCache>
                <c:ptCount val="1"/>
                <c:pt idx="0">
                  <c:v>Ancillary</c:v>
                </c:pt>
              </c:strCache>
            </c:strRef>
          </c:tx>
          <c:spPr>
            <a:solidFill>
              <a:schemeClr val="accent2"/>
            </a:solidFill>
            <a:ln>
              <a:noFill/>
            </a:ln>
            <a:effectLst/>
          </c:spPr>
          <c:invertIfNegative val="0"/>
          <c:cat>
            <c:numRef>
              <c:f>'[2024.09.18 - ERCOT 2024 Low Prices Analysis.xlsx]SOCIAL_POST'!$AA$31:$AB$31</c:f>
              <c:numCache>
                <c:formatCode>General</c:formatCode>
                <c:ptCount val="2"/>
                <c:pt idx="0">
                  <c:v>2024</c:v>
                </c:pt>
                <c:pt idx="1">
                  <c:v>2023</c:v>
                </c:pt>
              </c:numCache>
            </c:numRef>
          </c:cat>
          <c:val>
            <c:numRef>
              <c:f>'[2024.09.18 - ERCOT 2024 Low Prices Analysis.xlsx]SOCIAL_POST'!$AA$40:$AB$40</c:f>
              <c:numCache>
                <c:formatCode>"$"#,##0_);[Red]\("$"#,##0\)</c:formatCode>
                <c:ptCount val="2"/>
                <c:pt idx="0">
                  <c:v>2.6329965068656027</c:v>
                </c:pt>
                <c:pt idx="1">
                  <c:v>80.960323915714284</c:v>
                </c:pt>
              </c:numCache>
            </c:numRef>
          </c:val>
          <c:extLst>
            <c:ext xmlns:c16="http://schemas.microsoft.com/office/drawing/2014/chart" uri="{C3380CC4-5D6E-409C-BE32-E72D297353CC}">
              <c16:uniqueId val="{00000001-A24C-46F0-86E7-A4B108DCC63F}"/>
            </c:ext>
          </c:extLst>
        </c:ser>
        <c:dLbls>
          <c:showLegendKey val="0"/>
          <c:showVal val="0"/>
          <c:showCatName val="0"/>
          <c:showSerName val="0"/>
          <c:showPercent val="0"/>
          <c:showBubbleSize val="0"/>
        </c:dLbls>
        <c:gapWidth val="150"/>
        <c:overlap val="100"/>
        <c:axId val="620368272"/>
        <c:axId val="620369232"/>
      </c:barChart>
      <c:catAx>
        <c:axId val="62036827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solidFill>
                <a:latin typeface="Manrope" pitchFamily="2" charset="0"/>
                <a:ea typeface="+mn-ea"/>
                <a:cs typeface="+mn-cs"/>
              </a:defRPr>
            </a:pPr>
            <a:endParaRPr lang="en-US"/>
          </a:p>
        </c:txPr>
        <c:crossAx val="620369232"/>
        <c:crosses val="autoZero"/>
        <c:auto val="1"/>
        <c:lblAlgn val="ctr"/>
        <c:lblOffset val="100"/>
        <c:noMultiLvlLbl val="0"/>
      </c:catAx>
      <c:valAx>
        <c:axId val="620369232"/>
        <c:scaling>
          <c:orientation val="minMax"/>
          <c:min val="0"/>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1" i="0" u="none" strike="noStrike" kern="1200" baseline="0">
                    <a:solidFill>
                      <a:schemeClr val="tx1"/>
                    </a:solidFill>
                    <a:latin typeface="Manrope" pitchFamily="2" charset="0"/>
                    <a:ea typeface="+mn-ea"/>
                    <a:cs typeface="+mn-cs"/>
                  </a:defRPr>
                </a:pPr>
                <a:r>
                  <a:rPr lang="en-US"/>
                  <a:t>Revenue ($/kW-Mo)</a:t>
                </a:r>
              </a:p>
            </c:rich>
          </c:tx>
          <c:overlay val="0"/>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Manrope" pitchFamily="2" charset="0"/>
                  <a:ea typeface="+mn-ea"/>
                  <a:cs typeface="+mn-cs"/>
                </a:defRPr>
              </a:pPr>
              <a:endParaRPr lang="en-US"/>
            </a:p>
          </c:txPr>
        </c:title>
        <c:numFmt formatCode="&quot;$&quot;#,##0_);[Red]\(&quot;$&quot;#,##0\)" sourceLinked="1"/>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solidFill>
                <a:latin typeface="Manrope" pitchFamily="2" charset="0"/>
                <a:ea typeface="+mn-ea"/>
                <a:cs typeface="+mn-cs"/>
              </a:defRPr>
            </a:pPr>
            <a:endParaRPr lang="en-US"/>
          </a:p>
        </c:txPr>
        <c:crossAx val="6203682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1" i="0" u="none" strike="noStrike" kern="1200" baseline="0">
              <a:solidFill>
                <a:schemeClr val="tx1"/>
              </a:solidFill>
              <a:latin typeface="Manrope"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b="1">
          <a:solidFill>
            <a:schemeClr val="tx1"/>
          </a:solidFill>
          <a:latin typeface="Manrope" pitchFamily="2" charset="0"/>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solidFill>
                <a:latin typeface="Manrope" pitchFamily="2" charset="0"/>
                <a:ea typeface="+mn-ea"/>
                <a:cs typeface="+mn-cs"/>
              </a:defRPr>
            </a:pPr>
            <a:r>
              <a:rPr lang="en-US"/>
              <a:t>ERCOT Scarcity Events</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Manrope" pitchFamily="2" charset="0"/>
              <a:ea typeface="+mn-ea"/>
              <a:cs typeface="+mn-cs"/>
            </a:defRPr>
          </a:pPr>
          <a:endParaRPr lang="en-US"/>
        </a:p>
      </c:txPr>
    </c:title>
    <c:autoTitleDeleted val="0"/>
    <c:plotArea>
      <c:layout/>
      <c:barChart>
        <c:barDir val="col"/>
        <c:grouping val="clustered"/>
        <c:varyColors val="0"/>
        <c:ser>
          <c:idx val="0"/>
          <c:order val="1"/>
          <c:tx>
            <c:strRef>
              <c:f>'[2024.09.18 - ERCOT 2024 Low Prices Analysis.xlsx]SOCIAL_POST'!$E$31</c:f>
              <c:strCache>
                <c:ptCount val="1"/>
                <c:pt idx="0">
                  <c:v>Scarcity Events</c:v>
                </c:pt>
              </c:strCache>
            </c:strRef>
          </c:tx>
          <c:spPr>
            <a:solidFill>
              <a:schemeClr val="accent1"/>
            </a:solidFill>
            <a:ln>
              <a:noFill/>
            </a:ln>
            <a:effectLst/>
          </c:spPr>
          <c:invertIfNegative val="0"/>
          <c:cat>
            <c:numRef>
              <c:f>'[2024.09.18 - ERCOT 2024 Low Prices Analysis.xlsx]SOCIAL_POST'!$D$32:$D$640</c:f>
              <c:numCache>
                <c:formatCode>m/d/yyyy</c:formatCode>
                <c:ptCount val="609"/>
                <c:pt idx="0">
                  <c:v>44927</c:v>
                </c:pt>
                <c:pt idx="1">
                  <c:v>44928</c:v>
                </c:pt>
                <c:pt idx="2">
                  <c:v>44929</c:v>
                </c:pt>
                <c:pt idx="3">
                  <c:v>44930</c:v>
                </c:pt>
                <c:pt idx="4">
                  <c:v>44931</c:v>
                </c:pt>
                <c:pt idx="5">
                  <c:v>44932</c:v>
                </c:pt>
                <c:pt idx="6">
                  <c:v>44933</c:v>
                </c:pt>
                <c:pt idx="7">
                  <c:v>44934</c:v>
                </c:pt>
                <c:pt idx="8">
                  <c:v>44935</c:v>
                </c:pt>
                <c:pt idx="9">
                  <c:v>44936</c:v>
                </c:pt>
                <c:pt idx="10">
                  <c:v>44937</c:v>
                </c:pt>
                <c:pt idx="11">
                  <c:v>44938</c:v>
                </c:pt>
                <c:pt idx="12">
                  <c:v>44939</c:v>
                </c:pt>
                <c:pt idx="13">
                  <c:v>44940</c:v>
                </c:pt>
                <c:pt idx="14">
                  <c:v>44941</c:v>
                </c:pt>
                <c:pt idx="15">
                  <c:v>44942</c:v>
                </c:pt>
                <c:pt idx="16">
                  <c:v>44943</c:v>
                </c:pt>
                <c:pt idx="17">
                  <c:v>44944</c:v>
                </c:pt>
                <c:pt idx="18">
                  <c:v>44945</c:v>
                </c:pt>
                <c:pt idx="19">
                  <c:v>44946</c:v>
                </c:pt>
                <c:pt idx="20">
                  <c:v>44947</c:v>
                </c:pt>
                <c:pt idx="21">
                  <c:v>44948</c:v>
                </c:pt>
                <c:pt idx="22">
                  <c:v>44949</c:v>
                </c:pt>
                <c:pt idx="23">
                  <c:v>44950</c:v>
                </c:pt>
                <c:pt idx="24">
                  <c:v>44951</c:v>
                </c:pt>
                <c:pt idx="25">
                  <c:v>44952</c:v>
                </c:pt>
                <c:pt idx="26">
                  <c:v>44953</c:v>
                </c:pt>
                <c:pt idx="27">
                  <c:v>44954</c:v>
                </c:pt>
                <c:pt idx="28">
                  <c:v>44955</c:v>
                </c:pt>
                <c:pt idx="29">
                  <c:v>44956</c:v>
                </c:pt>
                <c:pt idx="30">
                  <c:v>44957</c:v>
                </c:pt>
                <c:pt idx="31">
                  <c:v>44958</c:v>
                </c:pt>
                <c:pt idx="32">
                  <c:v>44959</c:v>
                </c:pt>
                <c:pt idx="33">
                  <c:v>44960</c:v>
                </c:pt>
                <c:pt idx="34">
                  <c:v>44961</c:v>
                </c:pt>
                <c:pt idx="35">
                  <c:v>44962</c:v>
                </c:pt>
                <c:pt idx="36">
                  <c:v>44963</c:v>
                </c:pt>
                <c:pt idx="37">
                  <c:v>44964</c:v>
                </c:pt>
                <c:pt idx="38">
                  <c:v>44965</c:v>
                </c:pt>
                <c:pt idx="39">
                  <c:v>44966</c:v>
                </c:pt>
                <c:pt idx="40">
                  <c:v>44967</c:v>
                </c:pt>
                <c:pt idx="41">
                  <c:v>44968</c:v>
                </c:pt>
                <c:pt idx="42">
                  <c:v>44969</c:v>
                </c:pt>
                <c:pt idx="43">
                  <c:v>44970</c:v>
                </c:pt>
                <c:pt idx="44">
                  <c:v>44971</c:v>
                </c:pt>
                <c:pt idx="45">
                  <c:v>44972</c:v>
                </c:pt>
                <c:pt idx="46">
                  <c:v>44973</c:v>
                </c:pt>
                <c:pt idx="47">
                  <c:v>44974</c:v>
                </c:pt>
                <c:pt idx="48">
                  <c:v>44975</c:v>
                </c:pt>
                <c:pt idx="49">
                  <c:v>44976</c:v>
                </c:pt>
                <c:pt idx="50">
                  <c:v>44977</c:v>
                </c:pt>
                <c:pt idx="51">
                  <c:v>44978</c:v>
                </c:pt>
                <c:pt idx="52">
                  <c:v>44979</c:v>
                </c:pt>
                <c:pt idx="53">
                  <c:v>44980</c:v>
                </c:pt>
                <c:pt idx="54">
                  <c:v>44981</c:v>
                </c:pt>
                <c:pt idx="55">
                  <c:v>44982</c:v>
                </c:pt>
                <c:pt idx="56">
                  <c:v>44983</c:v>
                </c:pt>
                <c:pt idx="57">
                  <c:v>44984</c:v>
                </c:pt>
                <c:pt idx="58">
                  <c:v>44985</c:v>
                </c:pt>
                <c:pt idx="59">
                  <c:v>44986</c:v>
                </c:pt>
                <c:pt idx="60">
                  <c:v>44987</c:v>
                </c:pt>
                <c:pt idx="61">
                  <c:v>44988</c:v>
                </c:pt>
                <c:pt idx="62">
                  <c:v>44989</c:v>
                </c:pt>
                <c:pt idx="63">
                  <c:v>44990</c:v>
                </c:pt>
                <c:pt idx="64">
                  <c:v>44991</c:v>
                </c:pt>
                <c:pt idx="65">
                  <c:v>44992</c:v>
                </c:pt>
                <c:pt idx="66">
                  <c:v>44993</c:v>
                </c:pt>
                <c:pt idx="67">
                  <c:v>44994</c:v>
                </c:pt>
                <c:pt idx="68">
                  <c:v>44995</c:v>
                </c:pt>
                <c:pt idx="69">
                  <c:v>44996</c:v>
                </c:pt>
                <c:pt idx="70">
                  <c:v>44997</c:v>
                </c:pt>
                <c:pt idx="71">
                  <c:v>44998</c:v>
                </c:pt>
                <c:pt idx="72">
                  <c:v>44999</c:v>
                </c:pt>
                <c:pt idx="73">
                  <c:v>45000</c:v>
                </c:pt>
                <c:pt idx="74">
                  <c:v>45001</c:v>
                </c:pt>
                <c:pt idx="75">
                  <c:v>45002</c:v>
                </c:pt>
                <c:pt idx="76">
                  <c:v>45003</c:v>
                </c:pt>
                <c:pt idx="77">
                  <c:v>45004</c:v>
                </c:pt>
                <c:pt idx="78">
                  <c:v>45005</c:v>
                </c:pt>
                <c:pt idx="79">
                  <c:v>45006</c:v>
                </c:pt>
                <c:pt idx="80">
                  <c:v>45007</c:v>
                </c:pt>
                <c:pt idx="81">
                  <c:v>45008</c:v>
                </c:pt>
                <c:pt idx="82">
                  <c:v>45009</c:v>
                </c:pt>
                <c:pt idx="83">
                  <c:v>45010</c:v>
                </c:pt>
                <c:pt idx="84">
                  <c:v>45011</c:v>
                </c:pt>
                <c:pt idx="85">
                  <c:v>45012</c:v>
                </c:pt>
                <c:pt idx="86">
                  <c:v>45013</c:v>
                </c:pt>
                <c:pt idx="87">
                  <c:v>45014</c:v>
                </c:pt>
                <c:pt idx="88">
                  <c:v>45015</c:v>
                </c:pt>
                <c:pt idx="89">
                  <c:v>45016</c:v>
                </c:pt>
                <c:pt idx="90">
                  <c:v>45017</c:v>
                </c:pt>
                <c:pt idx="91">
                  <c:v>45018</c:v>
                </c:pt>
                <c:pt idx="92">
                  <c:v>45019</c:v>
                </c:pt>
                <c:pt idx="93">
                  <c:v>45020</c:v>
                </c:pt>
                <c:pt idx="94">
                  <c:v>45021</c:v>
                </c:pt>
                <c:pt idx="95">
                  <c:v>45022</c:v>
                </c:pt>
                <c:pt idx="96">
                  <c:v>45023</c:v>
                </c:pt>
                <c:pt idx="97">
                  <c:v>45024</c:v>
                </c:pt>
                <c:pt idx="98">
                  <c:v>45025</c:v>
                </c:pt>
                <c:pt idx="99">
                  <c:v>45026</c:v>
                </c:pt>
                <c:pt idx="100">
                  <c:v>45027</c:v>
                </c:pt>
                <c:pt idx="101">
                  <c:v>45028</c:v>
                </c:pt>
                <c:pt idx="102">
                  <c:v>45029</c:v>
                </c:pt>
                <c:pt idx="103">
                  <c:v>45030</c:v>
                </c:pt>
                <c:pt idx="104">
                  <c:v>45031</c:v>
                </c:pt>
                <c:pt idx="105">
                  <c:v>45032</c:v>
                </c:pt>
                <c:pt idx="106">
                  <c:v>45033</c:v>
                </c:pt>
                <c:pt idx="107">
                  <c:v>45034</c:v>
                </c:pt>
                <c:pt idx="108">
                  <c:v>45035</c:v>
                </c:pt>
                <c:pt idx="109">
                  <c:v>45036</c:v>
                </c:pt>
                <c:pt idx="110">
                  <c:v>45037</c:v>
                </c:pt>
                <c:pt idx="111">
                  <c:v>45038</c:v>
                </c:pt>
                <c:pt idx="112">
                  <c:v>45039</c:v>
                </c:pt>
                <c:pt idx="113">
                  <c:v>45040</c:v>
                </c:pt>
                <c:pt idx="114">
                  <c:v>45041</c:v>
                </c:pt>
                <c:pt idx="115">
                  <c:v>45042</c:v>
                </c:pt>
                <c:pt idx="116">
                  <c:v>45043</c:v>
                </c:pt>
                <c:pt idx="117">
                  <c:v>45044</c:v>
                </c:pt>
                <c:pt idx="118">
                  <c:v>45045</c:v>
                </c:pt>
                <c:pt idx="119">
                  <c:v>45046</c:v>
                </c:pt>
                <c:pt idx="120">
                  <c:v>45047</c:v>
                </c:pt>
                <c:pt idx="121">
                  <c:v>45048</c:v>
                </c:pt>
                <c:pt idx="122">
                  <c:v>45049</c:v>
                </c:pt>
                <c:pt idx="123">
                  <c:v>45050</c:v>
                </c:pt>
                <c:pt idx="124">
                  <c:v>45051</c:v>
                </c:pt>
                <c:pt idx="125">
                  <c:v>45052</c:v>
                </c:pt>
                <c:pt idx="126">
                  <c:v>45053</c:v>
                </c:pt>
                <c:pt idx="127">
                  <c:v>45054</c:v>
                </c:pt>
                <c:pt idx="128">
                  <c:v>45055</c:v>
                </c:pt>
                <c:pt idx="129">
                  <c:v>45056</c:v>
                </c:pt>
                <c:pt idx="130">
                  <c:v>45057</c:v>
                </c:pt>
                <c:pt idx="131">
                  <c:v>45058</c:v>
                </c:pt>
                <c:pt idx="132">
                  <c:v>45059</c:v>
                </c:pt>
                <c:pt idx="133">
                  <c:v>45060</c:v>
                </c:pt>
                <c:pt idx="134">
                  <c:v>45061</c:v>
                </c:pt>
                <c:pt idx="135">
                  <c:v>45062</c:v>
                </c:pt>
                <c:pt idx="136">
                  <c:v>45063</c:v>
                </c:pt>
                <c:pt idx="137">
                  <c:v>45064</c:v>
                </c:pt>
                <c:pt idx="138">
                  <c:v>45065</c:v>
                </c:pt>
                <c:pt idx="139">
                  <c:v>45066</c:v>
                </c:pt>
                <c:pt idx="140">
                  <c:v>45067</c:v>
                </c:pt>
                <c:pt idx="141">
                  <c:v>45068</c:v>
                </c:pt>
                <c:pt idx="142">
                  <c:v>45069</c:v>
                </c:pt>
                <c:pt idx="143">
                  <c:v>45070</c:v>
                </c:pt>
                <c:pt idx="144">
                  <c:v>45071</c:v>
                </c:pt>
                <c:pt idx="145">
                  <c:v>45072</c:v>
                </c:pt>
                <c:pt idx="146">
                  <c:v>45073</c:v>
                </c:pt>
                <c:pt idx="147">
                  <c:v>45074</c:v>
                </c:pt>
                <c:pt idx="148">
                  <c:v>45075</c:v>
                </c:pt>
                <c:pt idx="149">
                  <c:v>45076</c:v>
                </c:pt>
                <c:pt idx="150">
                  <c:v>45077</c:v>
                </c:pt>
                <c:pt idx="151">
                  <c:v>45078</c:v>
                </c:pt>
                <c:pt idx="152">
                  <c:v>45079</c:v>
                </c:pt>
                <c:pt idx="153">
                  <c:v>45080</c:v>
                </c:pt>
                <c:pt idx="154">
                  <c:v>45081</c:v>
                </c:pt>
                <c:pt idx="155">
                  <c:v>45082</c:v>
                </c:pt>
                <c:pt idx="156">
                  <c:v>45083</c:v>
                </c:pt>
                <c:pt idx="157">
                  <c:v>45084</c:v>
                </c:pt>
                <c:pt idx="158">
                  <c:v>45085</c:v>
                </c:pt>
                <c:pt idx="159">
                  <c:v>45086</c:v>
                </c:pt>
                <c:pt idx="160">
                  <c:v>45087</c:v>
                </c:pt>
                <c:pt idx="161">
                  <c:v>45088</c:v>
                </c:pt>
                <c:pt idx="162">
                  <c:v>45089</c:v>
                </c:pt>
                <c:pt idx="163">
                  <c:v>45090</c:v>
                </c:pt>
                <c:pt idx="164">
                  <c:v>45091</c:v>
                </c:pt>
                <c:pt idx="165">
                  <c:v>45092</c:v>
                </c:pt>
                <c:pt idx="166">
                  <c:v>45093</c:v>
                </c:pt>
                <c:pt idx="167">
                  <c:v>45094</c:v>
                </c:pt>
                <c:pt idx="168">
                  <c:v>45095</c:v>
                </c:pt>
                <c:pt idx="169">
                  <c:v>45096</c:v>
                </c:pt>
                <c:pt idx="170">
                  <c:v>45097</c:v>
                </c:pt>
                <c:pt idx="171">
                  <c:v>45098</c:v>
                </c:pt>
                <c:pt idx="172">
                  <c:v>45099</c:v>
                </c:pt>
                <c:pt idx="173">
                  <c:v>45100</c:v>
                </c:pt>
                <c:pt idx="174">
                  <c:v>45101</c:v>
                </c:pt>
                <c:pt idx="175">
                  <c:v>45102</c:v>
                </c:pt>
                <c:pt idx="176">
                  <c:v>45103</c:v>
                </c:pt>
                <c:pt idx="177">
                  <c:v>45104</c:v>
                </c:pt>
                <c:pt idx="178">
                  <c:v>45105</c:v>
                </c:pt>
                <c:pt idx="179">
                  <c:v>45106</c:v>
                </c:pt>
                <c:pt idx="180">
                  <c:v>45107</c:v>
                </c:pt>
                <c:pt idx="181">
                  <c:v>45108</c:v>
                </c:pt>
                <c:pt idx="182">
                  <c:v>45109</c:v>
                </c:pt>
                <c:pt idx="183">
                  <c:v>45110</c:v>
                </c:pt>
                <c:pt idx="184">
                  <c:v>45111</c:v>
                </c:pt>
                <c:pt idx="185">
                  <c:v>45112</c:v>
                </c:pt>
                <c:pt idx="186">
                  <c:v>45113</c:v>
                </c:pt>
                <c:pt idx="187">
                  <c:v>45114</c:v>
                </c:pt>
                <c:pt idx="188">
                  <c:v>45115</c:v>
                </c:pt>
                <c:pt idx="189">
                  <c:v>45116</c:v>
                </c:pt>
                <c:pt idx="190">
                  <c:v>45117</c:v>
                </c:pt>
                <c:pt idx="191">
                  <c:v>45118</c:v>
                </c:pt>
                <c:pt idx="192">
                  <c:v>45119</c:v>
                </c:pt>
                <c:pt idx="193">
                  <c:v>45120</c:v>
                </c:pt>
                <c:pt idx="194">
                  <c:v>45121</c:v>
                </c:pt>
                <c:pt idx="195">
                  <c:v>45122</c:v>
                </c:pt>
                <c:pt idx="196">
                  <c:v>45123</c:v>
                </c:pt>
                <c:pt idx="197">
                  <c:v>45124</c:v>
                </c:pt>
                <c:pt idx="198">
                  <c:v>45125</c:v>
                </c:pt>
                <c:pt idx="199">
                  <c:v>45126</c:v>
                </c:pt>
                <c:pt idx="200">
                  <c:v>45127</c:v>
                </c:pt>
                <c:pt idx="201">
                  <c:v>45128</c:v>
                </c:pt>
                <c:pt idx="202">
                  <c:v>45129</c:v>
                </c:pt>
                <c:pt idx="203">
                  <c:v>45130</c:v>
                </c:pt>
                <c:pt idx="204">
                  <c:v>45131</c:v>
                </c:pt>
                <c:pt idx="205">
                  <c:v>45132</c:v>
                </c:pt>
                <c:pt idx="206">
                  <c:v>45133</c:v>
                </c:pt>
                <c:pt idx="207">
                  <c:v>45134</c:v>
                </c:pt>
                <c:pt idx="208">
                  <c:v>45135</c:v>
                </c:pt>
                <c:pt idx="209">
                  <c:v>45136</c:v>
                </c:pt>
                <c:pt idx="210">
                  <c:v>45137</c:v>
                </c:pt>
                <c:pt idx="211">
                  <c:v>45138</c:v>
                </c:pt>
                <c:pt idx="212">
                  <c:v>45139</c:v>
                </c:pt>
                <c:pt idx="213">
                  <c:v>45140</c:v>
                </c:pt>
                <c:pt idx="214">
                  <c:v>45141</c:v>
                </c:pt>
                <c:pt idx="215">
                  <c:v>45142</c:v>
                </c:pt>
                <c:pt idx="216">
                  <c:v>45143</c:v>
                </c:pt>
                <c:pt idx="217">
                  <c:v>45144</c:v>
                </c:pt>
                <c:pt idx="218">
                  <c:v>45145</c:v>
                </c:pt>
                <c:pt idx="219">
                  <c:v>45146</c:v>
                </c:pt>
                <c:pt idx="220">
                  <c:v>45147</c:v>
                </c:pt>
                <c:pt idx="221">
                  <c:v>45148</c:v>
                </c:pt>
                <c:pt idx="222">
                  <c:v>45149</c:v>
                </c:pt>
                <c:pt idx="223">
                  <c:v>45150</c:v>
                </c:pt>
                <c:pt idx="224">
                  <c:v>45151</c:v>
                </c:pt>
                <c:pt idx="225">
                  <c:v>45152</c:v>
                </c:pt>
                <c:pt idx="226">
                  <c:v>45153</c:v>
                </c:pt>
                <c:pt idx="227">
                  <c:v>45154</c:v>
                </c:pt>
                <c:pt idx="228">
                  <c:v>45155</c:v>
                </c:pt>
                <c:pt idx="229">
                  <c:v>45156</c:v>
                </c:pt>
                <c:pt idx="230">
                  <c:v>45157</c:v>
                </c:pt>
                <c:pt idx="231">
                  <c:v>45158</c:v>
                </c:pt>
                <c:pt idx="232">
                  <c:v>45159</c:v>
                </c:pt>
                <c:pt idx="233">
                  <c:v>45160</c:v>
                </c:pt>
                <c:pt idx="234">
                  <c:v>45161</c:v>
                </c:pt>
                <c:pt idx="235">
                  <c:v>45162</c:v>
                </c:pt>
                <c:pt idx="236">
                  <c:v>45163</c:v>
                </c:pt>
                <c:pt idx="237">
                  <c:v>45164</c:v>
                </c:pt>
                <c:pt idx="238">
                  <c:v>45165</c:v>
                </c:pt>
                <c:pt idx="239">
                  <c:v>45166</c:v>
                </c:pt>
                <c:pt idx="240">
                  <c:v>45167</c:v>
                </c:pt>
                <c:pt idx="241">
                  <c:v>45168</c:v>
                </c:pt>
                <c:pt idx="242">
                  <c:v>45169</c:v>
                </c:pt>
                <c:pt idx="243">
                  <c:v>45170</c:v>
                </c:pt>
                <c:pt idx="244">
                  <c:v>45171</c:v>
                </c:pt>
                <c:pt idx="245">
                  <c:v>45172</c:v>
                </c:pt>
                <c:pt idx="246">
                  <c:v>45173</c:v>
                </c:pt>
                <c:pt idx="247">
                  <c:v>45174</c:v>
                </c:pt>
                <c:pt idx="248">
                  <c:v>45175</c:v>
                </c:pt>
                <c:pt idx="249">
                  <c:v>45176</c:v>
                </c:pt>
                <c:pt idx="250">
                  <c:v>45177</c:v>
                </c:pt>
                <c:pt idx="251">
                  <c:v>45178</c:v>
                </c:pt>
                <c:pt idx="252">
                  <c:v>45179</c:v>
                </c:pt>
                <c:pt idx="253">
                  <c:v>45180</c:v>
                </c:pt>
                <c:pt idx="254">
                  <c:v>45181</c:v>
                </c:pt>
                <c:pt idx="255">
                  <c:v>45182</c:v>
                </c:pt>
                <c:pt idx="256">
                  <c:v>45183</c:v>
                </c:pt>
                <c:pt idx="257">
                  <c:v>45184</c:v>
                </c:pt>
                <c:pt idx="258">
                  <c:v>45185</c:v>
                </c:pt>
                <c:pt idx="259">
                  <c:v>45186</c:v>
                </c:pt>
                <c:pt idx="260">
                  <c:v>45187</c:v>
                </c:pt>
                <c:pt idx="261">
                  <c:v>45188</c:v>
                </c:pt>
                <c:pt idx="262">
                  <c:v>45189</c:v>
                </c:pt>
                <c:pt idx="263">
                  <c:v>45190</c:v>
                </c:pt>
                <c:pt idx="264">
                  <c:v>45191</c:v>
                </c:pt>
                <c:pt idx="265">
                  <c:v>45192</c:v>
                </c:pt>
                <c:pt idx="266">
                  <c:v>45193</c:v>
                </c:pt>
                <c:pt idx="267">
                  <c:v>45194</c:v>
                </c:pt>
                <c:pt idx="268">
                  <c:v>45195</c:v>
                </c:pt>
                <c:pt idx="269">
                  <c:v>45196</c:v>
                </c:pt>
                <c:pt idx="270">
                  <c:v>45197</c:v>
                </c:pt>
                <c:pt idx="271">
                  <c:v>45198</c:v>
                </c:pt>
                <c:pt idx="272">
                  <c:v>45199</c:v>
                </c:pt>
                <c:pt idx="273">
                  <c:v>45200</c:v>
                </c:pt>
                <c:pt idx="274">
                  <c:v>45201</c:v>
                </c:pt>
                <c:pt idx="275">
                  <c:v>45202</c:v>
                </c:pt>
                <c:pt idx="276">
                  <c:v>45203</c:v>
                </c:pt>
                <c:pt idx="277">
                  <c:v>45204</c:v>
                </c:pt>
                <c:pt idx="278">
                  <c:v>45205</c:v>
                </c:pt>
                <c:pt idx="279">
                  <c:v>45206</c:v>
                </c:pt>
                <c:pt idx="280">
                  <c:v>45207</c:v>
                </c:pt>
                <c:pt idx="281">
                  <c:v>45208</c:v>
                </c:pt>
                <c:pt idx="282">
                  <c:v>45209</c:v>
                </c:pt>
                <c:pt idx="283">
                  <c:v>45210</c:v>
                </c:pt>
                <c:pt idx="284">
                  <c:v>45211</c:v>
                </c:pt>
                <c:pt idx="285">
                  <c:v>45212</c:v>
                </c:pt>
                <c:pt idx="286">
                  <c:v>45213</c:v>
                </c:pt>
                <c:pt idx="287">
                  <c:v>45214</c:v>
                </c:pt>
                <c:pt idx="288">
                  <c:v>45215</c:v>
                </c:pt>
                <c:pt idx="289">
                  <c:v>45216</c:v>
                </c:pt>
                <c:pt idx="290">
                  <c:v>45217</c:v>
                </c:pt>
                <c:pt idx="291">
                  <c:v>45218</c:v>
                </c:pt>
                <c:pt idx="292">
                  <c:v>45219</c:v>
                </c:pt>
                <c:pt idx="293">
                  <c:v>45220</c:v>
                </c:pt>
                <c:pt idx="294">
                  <c:v>45221</c:v>
                </c:pt>
                <c:pt idx="295">
                  <c:v>45222</c:v>
                </c:pt>
                <c:pt idx="296">
                  <c:v>45223</c:v>
                </c:pt>
                <c:pt idx="297">
                  <c:v>45224</c:v>
                </c:pt>
                <c:pt idx="298">
                  <c:v>45225</c:v>
                </c:pt>
                <c:pt idx="299">
                  <c:v>45226</c:v>
                </c:pt>
                <c:pt idx="300">
                  <c:v>45227</c:v>
                </c:pt>
                <c:pt idx="301">
                  <c:v>45228</c:v>
                </c:pt>
                <c:pt idx="302">
                  <c:v>45229</c:v>
                </c:pt>
                <c:pt idx="303">
                  <c:v>45230</c:v>
                </c:pt>
                <c:pt idx="304">
                  <c:v>45231</c:v>
                </c:pt>
                <c:pt idx="305">
                  <c:v>45232</c:v>
                </c:pt>
                <c:pt idx="306">
                  <c:v>45233</c:v>
                </c:pt>
                <c:pt idx="307">
                  <c:v>45234</c:v>
                </c:pt>
                <c:pt idx="308">
                  <c:v>45235</c:v>
                </c:pt>
                <c:pt idx="309">
                  <c:v>45236</c:v>
                </c:pt>
                <c:pt idx="310">
                  <c:v>45237</c:v>
                </c:pt>
                <c:pt idx="311">
                  <c:v>45238</c:v>
                </c:pt>
                <c:pt idx="312">
                  <c:v>45239</c:v>
                </c:pt>
                <c:pt idx="313">
                  <c:v>45240</c:v>
                </c:pt>
                <c:pt idx="314">
                  <c:v>45241</c:v>
                </c:pt>
                <c:pt idx="315">
                  <c:v>45242</c:v>
                </c:pt>
                <c:pt idx="316">
                  <c:v>45243</c:v>
                </c:pt>
                <c:pt idx="317">
                  <c:v>45244</c:v>
                </c:pt>
                <c:pt idx="318">
                  <c:v>45245</c:v>
                </c:pt>
                <c:pt idx="319">
                  <c:v>45246</c:v>
                </c:pt>
                <c:pt idx="320">
                  <c:v>45247</c:v>
                </c:pt>
                <c:pt idx="321">
                  <c:v>45248</c:v>
                </c:pt>
                <c:pt idx="322">
                  <c:v>45249</c:v>
                </c:pt>
                <c:pt idx="323">
                  <c:v>45250</c:v>
                </c:pt>
                <c:pt idx="324">
                  <c:v>45251</c:v>
                </c:pt>
                <c:pt idx="325">
                  <c:v>45252</c:v>
                </c:pt>
                <c:pt idx="326">
                  <c:v>45253</c:v>
                </c:pt>
                <c:pt idx="327">
                  <c:v>45254</c:v>
                </c:pt>
                <c:pt idx="328">
                  <c:v>45255</c:v>
                </c:pt>
                <c:pt idx="329">
                  <c:v>45256</c:v>
                </c:pt>
                <c:pt idx="330">
                  <c:v>45257</c:v>
                </c:pt>
                <c:pt idx="331">
                  <c:v>45258</c:v>
                </c:pt>
                <c:pt idx="332">
                  <c:v>45259</c:v>
                </c:pt>
                <c:pt idx="333">
                  <c:v>45260</c:v>
                </c:pt>
                <c:pt idx="334">
                  <c:v>45261</c:v>
                </c:pt>
                <c:pt idx="335">
                  <c:v>45262</c:v>
                </c:pt>
                <c:pt idx="336">
                  <c:v>45263</c:v>
                </c:pt>
                <c:pt idx="337">
                  <c:v>45264</c:v>
                </c:pt>
                <c:pt idx="338">
                  <c:v>45265</c:v>
                </c:pt>
                <c:pt idx="339">
                  <c:v>45266</c:v>
                </c:pt>
                <c:pt idx="340">
                  <c:v>45267</c:v>
                </c:pt>
                <c:pt idx="341">
                  <c:v>45268</c:v>
                </c:pt>
                <c:pt idx="342">
                  <c:v>45269</c:v>
                </c:pt>
                <c:pt idx="343">
                  <c:v>45270</c:v>
                </c:pt>
                <c:pt idx="344">
                  <c:v>45271</c:v>
                </c:pt>
                <c:pt idx="345">
                  <c:v>45272</c:v>
                </c:pt>
                <c:pt idx="346">
                  <c:v>45273</c:v>
                </c:pt>
                <c:pt idx="347">
                  <c:v>45274</c:v>
                </c:pt>
                <c:pt idx="348">
                  <c:v>45275</c:v>
                </c:pt>
                <c:pt idx="349">
                  <c:v>45276</c:v>
                </c:pt>
                <c:pt idx="350">
                  <c:v>45277</c:v>
                </c:pt>
                <c:pt idx="351">
                  <c:v>45278</c:v>
                </c:pt>
                <c:pt idx="352">
                  <c:v>45279</c:v>
                </c:pt>
                <c:pt idx="353">
                  <c:v>45280</c:v>
                </c:pt>
                <c:pt idx="354">
                  <c:v>45281</c:v>
                </c:pt>
                <c:pt idx="355">
                  <c:v>45282</c:v>
                </c:pt>
                <c:pt idx="356">
                  <c:v>45283</c:v>
                </c:pt>
                <c:pt idx="357">
                  <c:v>45284</c:v>
                </c:pt>
                <c:pt idx="358">
                  <c:v>45285</c:v>
                </c:pt>
                <c:pt idx="359">
                  <c:v>45286</c:v>
                </c:pt>
                <c:pt idx="360">
                  <c:v>45287</c:v>
                </c:pt>
                <c:pt idx="361">
                  <c:v>45288</c:v>
                </c:pt>
                <c:pt idx="362">
                  <c:v>45289</c:v>
                </c:pt>
                <c:pt idx="363">
                  <c:v>45290</c:v>
                </c:pt>
                <c:pt idx="364">
                  <c:v>45291</c:v>
                </c:pt>
                <c:pt idx="365">
                  <c:v>45292</c:v>
                </c:pt>
                <c:pt idx="366">
                  <c:v>45293</c:v>
                </c:pt>
                <c:pt idx="367">
                  <c:v>45294</c:v>
                </c:pt>
                <c:pt idx="368">
                  <c:v>45295</c:v>
                </c:pt>
                <c:pt idx="369">
                  <c:v>45296</c:v>
                </c:pt>
                <c:pt idx="370">
                  <c:v>45297</c:v>
                </c:pt>
                <c:pt idx="371">
                  <c:v>45298</c:v>
                </c:pt>
                <c:pt idx="372">
                  <c:v>45299</c:v>
                </c:pt>
                <c:pt idx="373">
                  <c:v>45300</c:v>
                </c:pt>
                <c:pt idx="374">
                  <c:v>45301</c:v>
                </c:pt>
                <c:pt idx="375">
                  <c:v>45302</c:v>
                </c:pt>
                <c:pt idx="376">
                  <c:v>45303</c:v>
                </c:pt>
                <c:pt idx="377">
                  <c:v>45304</c:v>
                </c:pt>
                <c:pt idx="378">
                  <c:v>45305</c:v>
                </c:pt>
                <c:pt idx="379">
                  <c:v>45306</c:v>
                </c:pt>
                <c:pt idx="380">
                  <c:v>45307</c:v>
                </c:pt>
                <c:pt idx="381">
                  <c:v>45308</c:v>
                </c:pt>
                <c:pt idx="382">
                  <c:v>45309</c:v>
                </c:pt>
                <c:pt idx="383">
                  <c:v>45310</c:v>
                </c:pt>
                <c:pt idx="384">
                  <c:v>45311</c:v>
                </c:pt>
                <c:pt idx="385">
                  <c:v>45312</c:v>
                </c:pt>
                <c:pt idx="386">
                  <c:v>45313</c:v>
                </c:pt>
                <c:pt idx="387">
                  <c:v>45314</c:v>
                </c:pt>
                <c:pt idx="388">
                  <c:v>45315</c:v>
                </c:pt>
                <c:pt idx="389">
                  <c:v>45316</c:v>
                </c:pt>
                <c:pt idx="390">
                  <c:v>45317</c:v>
                </c:pt>
                <c:pt idx="391">
                  <c:v>45318</c:v>
                </c:pt>
                <c:pt idx="392">
                  <c:v>45319</c:v>
                </c:pt>
                <c:pt idx="393">
                  <c:v>45320</c:v>
                </c:pt>
                <c:pt idx="394">
                  <c:v>45321</c:v>
                </c:pt>
                <c:pt idx="395">
                  <c:v>45322</c:v>
                </c:pt>
                <c:pt idx="396">
                  <c:v>45323</c:v>
                </c:pt>
                <c:pt idx="397">
                  <c:v>45324</c:v>
                </c:pt>
                <c:pt idx="398">
                  <c:v>45325</c:v>
                </c:pt>
                <c:pt idx="399">
                  <c:v>45326</c:v>
                </c:pt>
                <c:pt idx="400">
                  <c:v>45327</c:v>
                </c:pt>
                <c:pt idx="401">
                  <c:v>45328</c:v>
                </c:pt>
                <c:pt idx="402">
                  <c:v>45329</c:v>
                </c:pt>
                <c:pt idx="403">
                  <c:v>45330</c:v>
                </c:pt>
                <c:pt idx="404">
                  <c:v>45331</c:v>
                </c:pt>
                <c:pt idx="405">
                  <c:v>45332</c:v>
                </c:pt>
                <c:pt idx="406">
                  <c:v>45333</c:v>
                </c:pt>
                <c:pt idx="407">
                  <c:v>45334</c:v>
                </c:pt>
                <c:pt idx="408">
                  <c:v>45335</c:v>
                </c:pt>
                <c:pt idx="409">
                  <c:v>45336</c:v>
                </c:pt>
                <c:pt idx="410">
                  <c:v>45337</c:v>
                </c:pt>
                <c:pt idx="411">
                  <c:v>45338</c:v>
                </c:pt>
                <c:pt idx="412">
                  <c:v>45339</c:v>
                </c:pt>
                <c:pt idx="413">
                  <c:v>45340</c:v>
                </c:pt>
                <c:pt idx="414">
                  <c:v>45341</c:v>
                </c:pt>
                <c:pt idx="415">
                  <c:v>45342</c:v>
                </c:pt>
                <c:pt idx="416">
                  <c:v>45343</c:v>
                </c:pt>
                <c:pt idx="417">
                  <c:v>45344</c:v>
                </c:pt>
                <c:pt idx="418">
                  <c:v>45345</c:v>
                </c:pt>
                <c:pt idx="419">
                  <c:v>45346</c:v>
                </c:pt>
                <c:pt idx="420">
                  <c:v>45347</c:v>
                </c:pt>
                <c:pt idx="421">
                  <c:v>45348</c:v>
                </c:pt>
                <c:pt idx="422">
                  <c:v>45349</c:v>
                </c:pt>
                <c:pt idx="423">
                  <c:v>45350</c:v>
                </c:pt>
                <c:pt idx="424">
                  <c:v>45351</c:v>
                </c:pt>
                <c:pt idx="425">
                  <c:v>45352</c:v>
                </c:pt>
                <c:pt idx="426">
                  <c:v>45353</c:v>
                </c:pt>
                <c:pt idx="427">
                  <c:v>45354</c:v>
                </c:pt>
                <c:pt idx="428">
                  <c:v>45355</c:v>
                </c:pt>
                <c:pt idx="429">
                  <c:v>45356</c:v>
                </c:pt>
                <c:pt idx="430">
                  <c:v>45357</c:v>
                </c:pt>
                <c:pt idx="431">
                  <c:v>45358</c:v>
                </c:pt>
                <c:pt idx="432">
                  <c:v>45359</c:v>
                </c:pt>
                <c:pt idx="433">
                  <c:v>45360</c:v>
                </c:pt>
                <c:pt idx="434">
                  <c:v>45361</c:v>
                </c:pt>
                <c:pt idx="435">
                  <c:v>45362</c:v>
                </c:pt>
                <c:pt idx="436">
                  <c:v>45363</c:v>
                </c:pt>
                <c:pt idx="437">
                  <c:v>45364</c:v>
                </c:pt>
                <c:pt idx="438">
                  <c:v>45365</c:v>
                </c:pt>
                <c:pt idx="439">
                  <c:v>45366</c:v>
                </c:pt>
                <c:pt idx="440">
                  <c:v>45367</c:v>
                </c:pt>
                <c:pt idx="441">
                  <c:v>45368</c:v>
                </c:pt>
                <c:pt idx="442">
                  <c:v>45369</c:v>
                </c:pt>
                <c:pt idx="443">
                  <c:v>45370</c:v>
                </c:pt>
                <c:pt idx="444">
                  <c:v>45371</c:v>
                </c:pt>
                <c:pt idx="445">
                  <c:v>45372</c:v>
                </c:pt>
                <c:pt idx="446">
                  <c:v>45373</c:v>
                </c:pt>
                <c:pt idx="447">
                  <c:v>45374</c:v>
                </c:pt>
                <c:pt idx="448">
                  <c:v>45375</c:v>
                </c:pt>
                <c:pt idx="449">
                  <c:v>45376</c:v>
                </c:pt>
                <c:pt idx="450">
                  <c:v>45377</c:v>
                </c:pt>
                <c:pt idx="451">
                  <c:v>45378</c:v>
                </c:pt>
                <c:pt idx="452">
                  <c:v>45379</c:v>
                </c:pt>
                <c:pt idx="453">
                  <c:v>45380</c:v>
                </c:pt>
                <c:pt idx="454">
                  <c:v>45381</c:v>
                </c:pt>
                <c:pt idx="455">
                  <c:v>45382</c:v>
                </c:pt>
                <c:pt idx="456">
                  <c:v>45383</c:v>
                </c:pt>
                <c:pt idx="457">
                  <c:v>45384</c:v>
                </c:pt>
                <c:pt idx="458">
                  <c:v>45385</c:v>
                </c:pt>
                <c:pt idx="459">
                  <c:v>45386</c:v>
                </c:pt>
                <c:pt idx="460">
                  <c:v>45387</c:v>
                </c:pt>
                <c:pt idx="461">
                  <c:v>45388</c:v>
                </c:pt>
                <c:pt idx="462">
                  <c:v>45389</c:v>
                </c:pt>
                <c:pt idx="463">
                  <c:v>45390</c:v>
                </c:pt>
                <c:pt idx="464">
                  <c:v>45391</c:v>
                </c:pt>
                <c:pt idx="465">
                  <c:v>45392</c:v>
                </c:pt>
                <c:pt idx="466">
                  <c:v>45393</c:v>
                </c:pt>
                <c:pt idx="467">
                  <c:v>45394</c:v>
                </c:pt>
                <c:pt idx="468">
                  <c:v>45395</c:v>
                </c:pt>
                <c:pt idx="469">
                  <c:v>45396</c:v>
                </c:pt>
                <c:pt idx="470">
                  <c:v>45397</c:v>
                </c:pt>
                <c:pt idx="471">
                  <c:v>45398</c:v>
                </c:pt>
                <c:pt idx="472">
                  <c:v>45399</c:v>
                </c:pt>
                <c:pt idx="473">
                  <c:v>45400</c:v>
                </c:pt>
                <c:pt idx="474">
                  <c:v>45401</c:v>
                </c:pt>
                <c:pt idx="475">
                  <c:v>45402</c:v>
                </c:pt>
                <c:pt idx="476">
                  <c:v>45403</c:v>
                </c:pt>
                <c:pt idx="477">
                  <c:v>45404</c:v>
                </c:pt>
                <c:pt idx="478">
                  <c:v>45405</c:v>
                </c:pt>
                <c:pt idx="479">
                  <c:v>45406</c:v>
                </c:pt>
                <c:pt idx="480">
                  <c:v>45407</c:v>
                </c:pt>
                <c:pt idx="481">
                  <c:v>45408</c:v>
                </c:pt>
                <c:pt idx="482">
                  <c:v>45409</c:v>
                </c:pt>
                <c:pt idx="483">
                  <c:v>45410</c:v>
                </c:pt>
                <c:pt idx="484">
                  <c:v>45411</c:v>
                </c:pt>
                <c:pt idx="485">
                  <c:v>45412</c:v>
                </c:pt>
                <c:pt idx="486">
                  <c:v>45413</c:v>
                </c:pt>
                <c:pt idx="487">
                  <c:v>45414</c:v>
                </c:pt>
                <c:pt idx="488">
                  <c:v>45415</c:v>
                </c:pt>
                <c:pt idx="489">
                  <c:v>45416</c:v>
                </c:pt>
                <c:pt idx="490">
                  <c:v>45417</c:v>
                </c:pt>
                <c:pt idx="491">
                  <c:v>45418</c:v>
                </c:pt>
                <c:pt idx="492">
                  <c:v>45419</c:v>
                </c:pt>
                <c:pt idx="493">
                  <c:v>45420</c:v>
                </c:pt>
                <c:pt idx="494">
                  <c:v>45421</c:v>
                </c:pt>
                <c:pt idx="495">
                  <c:v>45422</c:v>
                </c:pt>
                <c:pt idx="496">
                  <c:v>45423</c:v>
                </c:pt>
                <c:pt idx="497">
                  <c:v>45424</c:v>
                </c:pt>
                <c:pt idx="498">
                  <c:v>45425</c:v>
                </c:pt>
                <c:pt idx="499">
                  <c:v>45426</c:v>
                </c:pt>
                <c:pt idx="500">
                  <c:v>45427</c:v>
                </c:pt>
                <c:pt idx="501">
                  <c:v>45428</c:v>
                </c:pt>
                <c:pt idx="502">
                  <c:v>45429</c:v>
                </c:pt>
                <c:pt idx="503">
                  <c:v>45430</c:v>
                </c:pt>
                <c:pt idx="504">
                  <c:v>45431</c:v>
                </c:pt>
                <c:pt idx="505">
                  <c:v>45432</c:v>
                </c:pt>
                <c:pt idx="506">
                  <c:v>45433</c:v>
                </c:pt>
                <c:pt idx="507">
                  <c:v>45434</c:v>
                </c:pt>
                <c:pt idx="508">
                  <c:v>45435</c:v>
                </c:pt>
                <c:pt idx="509">
                  <c:v>45436</c:v>
                </c:pt>
                <c:pt idx="510">
                  <c:v>45437</c:v>
                </c:pt>
                <c:pt idx="511">
                  <c:v>45438</c:v>
                </c:pt>
                <c:pt idx="512">
                  <c:v>45439</c:v>
                </c:pt>
                <c:pt idx="513">
                  <c:v>45440</c:v>
                </c:pt>
                <c:pt idx="514">
                  <c:v>45441</c:v>
                </c:pt>
                <c:pt idx="515">
                  <c:v>45442</c:v>
                </c:pt>
                <c:pt idx="516">
                  <c:v>45443</c:v>
                </c:pt>
                <c:pt idx="517">
                  <c:v>45444</c:v>
                </c:pt>
                <c:pt idx="518">
                  <c:v>45445</c:v>
                </c:pt>
                <c:pt idx="519">
                  <c:v>45446</c:v>
                </c:pt>
                <c:pt idx="520">
                  <c:v>45447</c:v>
                </c:pt>
                <c:pt idx="521">
                  <c:v>45448</c:v>
                </c:pt>
                <c:pt idx="522">
                  <c:v>45449</c:v>
                </c:pt>
                <c:pt idx="523">
                  <c:v>45450</c:v>
                </c:pt>
                <c:pt idx="524">
                  <c:v>45451</c:v>
                </c:pt>
                <c:pt idx="525">
                  <c:v>45452</c:v>
                </c:pt>
                <c:pt idx="526">
                  <c:v>45453</c:v>
                </c:pt>
                <c:pt idx="527">
                  <c:v>45454</c:v>
                </c:pt>
                <c:pt idx="528">
                  <c:v>45455</c:v>
                </c:pt>
                <c:pt idx="529">
                  <c:v>45456</c:v>
                </c:pt>
                <c:pt idx="530">
                  <c:v>45457</c:v>
                </c:pt>
                <c:pt idx="531">
                  <c:v>45458</c:v>
                </c:pt>
                <c:pt idx="532">
                  <c:v>45459</c:v>
                </c:pt>
                <c:pt idx="533">
                  <c:v>45460</c:v>
                </c:pt>
                <c:pt idx="534">
                  <c:v>45461</c:v>
                </c:pt>
                <c:pt idx="535">
                  <c:v>45462</c:v>
                </c:pt>
                <c:pt idx="536">
                  <c:v>45463</c:v>
                </c:pt>
                <c:pt idx="537">
                  <c:v>45464</c:v>
                </c:pt>
                <c:pt idx="538">
                  <c:v>45465</c:v>
                </c:pt>
                <c:pt idx="539">
                  <c:v>45466</c:v>
                </c:pt>
                <c:pt idx="540">
                  <c:v>45467</c:v>
                </c:pt>
                <c:pt idx="541">
                  <c:v>45468</c:v>
                </c:pt>
                <c:pt idx="542">
                  <c:v>45469</c:v>
                </c:pt>
                <c:pt idx="543">
                  <c:v>45470</c:v>
                </c:pt>
                <c:pt idx="544">
                  <c:v>45471</c:v>
                </c:pt>
                <c:pt idx="545">
                  <c:v>45472</c:v>
                </c:pt>
                <c:pt idx="546">
                  <c:v>45473</c:v>
                </c:pt>
                <c:pt idx="547">
                  <c:v>45474</c:v>
                </c:pt>
                <c:pt idx="548">
                  <c:v>45475</c:v>
                </c:pt>
                <c:pt idx="549">
                  <c:v>45476</c:v>
                </c:pt>
                <c:pt idx="550">
                  <c:v>45477</c:v>
                </c:pt>
                <c:pt idx="551">
                  <c:v>45478</c:v>
                </c:pt>
                <c:pt idx="552">
                  <c:v>45479</c:v>
                </c:pt>
                <c:pt idx="553">
                  <c:v>45480</c:v>
                </c:pt>
                <c:pt idx="554">
                  <c:v>45481</c:v>
                </c:pt>
                <c:pt idx="555">
                  <c:v>45482</c:v>
                </c:pt>
                <c:pt idx="556">
                  <c:v>45483</c:v>
                </c:pt>
                <c:pt idx="557">
                  <c:v>45484</c:v>
                </c:pt>
                <c:pt idx="558">
                  <c:v>45485</c:v>
                </c:pt>
                <c:pt idx="559">
                  <c:v>45486</c:v>
                </c:pt>
                <c:pt idx="560">
                  <c:v>45487</c:v>
                </c:pt>
                <c:pt idx="561">
                  <c:v>45488</c:v>
                </c:pt>
                <c:pt idx="562">
                  <c:v>45489</c:v>
                </c:pt>
                <c:pt idx="563">
                  <c:v>45490</c:v>
                </c:pt>
                <c:pt idx="564">
                  <c:v>45491</c:v>
                </c:pt>
                <c:pt idx="565">
                  <c:v>45492</c:v>
                </c:pt>
                <c:pt idx="566">
                  <c:v>45493</c:v>
                </c:pt>
                <c:pt idx="567">
                  <c:v>45494</c:v>
                </c:pt>
                <c:pt idx="568">
                  <c:v>45495</c:v>
                </c:pt>
                <c:pt idx="569">
                  <c:v>45496</c:v>
                </c:pt>
                <c:pt idx="570">
                  <c:v>45497</c:v>
                </c:pt>
                <c:pt idx="571">
                  <c:v>45498</c:v>
                </c:pt>
                <c:pt idx="572">
                  <c:v>45499</c:v>
                </c:pt>
                <c:pt idx="573">
                  <c:v>45500</c:v>
                </c:pt>
                <c:pt idx="574">
                  <c:v>45501</c:v>
                </c:pt>
                <c:pt idx="575">
                  <c:v>45502</c:v>
                </c:pt>
                <c:pt idx="576">
                  <c:v>45503</c:v>
                </c:pt>
                <c:pt idx="577">
                  <c:v>45504</c:v>
                </c:pt>
                <c:pt idx="578">
                  <c:v>45505</c:v>
                </c:pt>
                <c:pt idx="579">
                  <c:v>45506</c:v>
                </c:pt>
                <c:pt idx="580">
                  <c:v>45507</c:v>
                </c:pt>
                <c:pt idx="581">
                  <c:v>45508</c:v>
                </c:pt>
                <c:pt idx="582">
                  <c:v>45509</c:v>
                </c:pt>
                <c:pt idx="583">
                  <c:v>45510</c:v>
                </c:pt>
                <c:pt idx="584">
                  <c:v>45511</c:v>
                </c:pt>
                <c:pt idx="585">
                  <c:v>45512</c:v>
                </c:pt>
                <c:pt idx="586">
                  <c:v>45513</c:v>
                </c:pt>
                <c:pt idx="587">
                  <c:v>45514</c:v>
                </c:pt>
                <c:pt idx="588">
                  <c:v>45515</c:v>
                </c:pt>
                <c:pt idx="589">
                  <c:v>45516</c:v>
                </c:pt>
                <c:pt idx="590">
                  <c:v>45517</c:v>
                </c:pt>
                <c:pt idx="591">
                  <c:v>45518</c:v>
                </c:pt>
                <c:pt idx="592">
                  <c:v>45519</c:v>
                </c:pt>
                <c:pt idx="593">
                  <c:v>45520</c:v>
                </c:pt>
                <c:pt idx="594">
                  <c:v>45521</c:v>
                </c:pt>
                <c:pt idx="595">
                  <c:v>45522</c:v>
                </c:pt>
                <c:pt idx="596">
                  <c:v>45523</c:v>
                </c:pt>
                <c:pt idx="597">
                  <c:v>45524</c:v>
                </c:pt>
                <c:pt idx="598">
                  <c:v>45525</c:v>
                </c:pt>
                <c:pt idx="599">
                  <c:v>45526</c:v>
                </c:pt>
                <c:pt idx="600">
                  <c:v>45527</c:v>
                </c:pt>
                <c:pt idx="601">
                  <c:v>45528</c:v>
                </c:pt>
                <c:pt idx="602">
                  <c:v>45529</c:v>
                </c:pt>
                <c:pt idx="603">
                  <c:v>45530</c:v>
                </c:pt>
                <c:pt idx="604">
                  <c:v>45531</c:v>
                </c:pt>
                <c:pt idx="605">
                  <c:v>45532</c:v>
                </c:pt>
                <c:pt idx="606">
                  <c:v>45533</c:v>
                </c:pt>
                <c:pt idx="607">
                  <c:v>45534</c:v>
                </c:pt>
                <c:pt idx="608">
                  <c:v>45535</c:v>
                </c:pt>
              </c:numCache>
            </c:numRef>
          </c:cat>
          <c:val>
            <c:numRef>
              <c:f>'[2024.09.18 - ERCOT 2024 Low Prices Analysis.xlsx]SOCIAL_POST'!$E$32:$E$640</c:f>
              <c:numCache>
                <c:formatCode>General</c:formatCode>
                <c:ptCount val="609"/>
                <c:pt idx="0">
                  <c:v>128</c:v>
                </c:pt>
                <c:pt idx="1">
                  <c:v>120</c:v>
                </c:pt>
                <c:pt idx="2">
                  <c:v>196</c:v>
                </c:pt>
                <c:pt idx="3">
                  <c:v>82</c:v>
                </c:pt>
                <c:pt idx="4">
                  <c:v>118</c:v>
                </c:pt>
                <c:pt idx="5">
                  <c:v>44</c:v>
                </c:pt>
                <c:pt idx="6">
                  <c:v>128</c:v>
                </c:pt>
                <c:pt idx="7">
                  <c:v>24</c:v>
                </c:pt>
                <c:pt idx="8">
                  <c:v>74</c:v>
                </c:pt>
                <c:pt idx="9">
                  <c:v>0</c:v>
                </c:pt>
                <c:pt idx="10">
                  <c:v>20</c:v>
                </c:pt>
                <c:pt idx="11">
                  <c:v>28</c:v>
                </c:pt>
                <c:pt idx="12">
                  <c:v>44</c:v>
                </c:pt>
                <c:pt idx="13">
                  <c:v>0</c:v>
                </c:pt>
                <c:pt idx="14">
                  <c:v>0</c:v>
                </c:pt>
                <c:pt idx="15">
                  <c:v>272</c:v>
                </c:pt>
                <c:pt idx="16">
                  <c:v>350</c:v>
                </c:pt>
                <c:pt idx="17">
                  <c:v>32</c:v>
                </c:pt>
                <c:pt idx="18">
                  <c:v>94</c:v>
                </c:pt>
                <c:pt idx="19">
                  <c:v>0</c:v>
                </c:pt>
                <c:pt idx="20">
                  <c:v>32</c:v>
                </c:pt>
                <c:pt idx="21">
                  <c:v>110</c:v>
                </c:pt>
                <c:pt idx="22">
                  <c:v>96</c:v>
                </c:pt>
                <c:pt idx="23">
                  <c:v>0</c:v>
                </c:pt>
                <c:pt idx="24">
                  <c:v>0</c:v>
                </c:pt>
                <c:pt idx="25">
                  <c:v>42</c:v>
                </c:pt>
                <c:pt idx="26">
                  <c:v>0</c:v>
                </c:pt>
                <c:pt idx="27">
                  <c:v>0</c:v>
                </c:pt>
                <c:pt idx="28">
                  <c:v>112</c:v>
                </c:pt>
                <c:pt idx="29">
                  <c:v>284</c:v>
                </c:pt>
                <c:pt idx="30">
                  <c:v>0</c:v>
                </c:pt>
                <c:pt idx="31">
                  <c:v>40</c:v>
                </c:pt>
                <c:pt idx="32">
                  <c:v>0</c:v>
                </c:pt>
                <c:pt idx="33">
                  <c:v>22</c:v>
                </c:pt>
                <c:pt idx="34">
                  <c:v>0</c:v>
                </c:pt>
                <c:pt idx="35">
                  <c:v>20</c:v>
                </c:pt>
                <c:pt idx="36">
                  <c:v>0</c:v>
                </c:pt>
                <c:pt idx="37">
                  <c:v>4</c:v>
                </c:pt>
                <c:pt idx="38">
                  <c:v>150</c:v>
                </c:pt>
                <c:pt idx="39">
                  <c:v>74</c:v>
                </c:pt>
                <c:pt idx="40">
                  <c:v>0</c:v>
                </c:pt>
                <c:pt idx="41">
                  <c:v>126</c:v>
                </c:pt>
                <c:pt idx="42">
                  <c:v>0</c:v>
                </c:pt>
                <c:pt idx="43">
                  <c:v>62</c:v>
                </c:pt>
                <c:pt idx="44">
                  <c:v>6</c:v>
                </c:pt>
                <c:pt idx="45">
                  <c:v>160</c:v>
                </c:pt>
                <c:pt idx="46">
                  <c:v>14</c:v>
                </c:pt>
                <c:pt idx="47">
                  <c:v>130</c:v>
                </c:pt>
                <c:pt idx="48">
                  <c:v>0</c:v>
                </c:pt>
                <c:pt idx="49">
                  <c:v>0</c:v>
                </c:pt>
                <c:pt idx="50">
                  <c:v>0</c:v>
                </c:pt>
                <c:pt idx="51">
                  <c:v>0</c:v>
                </c:pt>
                <c:pt idx="52">
                  <c:v>12</c:v>
                </c:pt>
                <c:pt idx="53">
                  <c:v>0</c:v>
                </c:pt>
                <c:pt idx="54">
                  <c:v>200</c:v>
                </c:pt>
                <c:pt idx="55">
                  <c:v>520</c:v>
                </c:pt>
                <c:pt idx="56">
                  <c:v>76</c:v>
                </c:pt>
                <c:pt idx="57">
                  <c:v>6</c:v>
                </c:pt>
                <c:pt idx="58">
                  <c:v>64</c:v>
                </c:pt>
                <c:pt idx="59">
                  <c:v>190</c:v>
                </c:pt>
                <c:pt idx="60">
                  <c:v>74</c:v>
                </c:pt>
                <c:pt idx="61">
                  <c:v>20</c:v>
                </c:pt>
                <c:pt idx="62">
                  <c:v>80</c:v>
                </c:pt>
                <c:pt idx="63">
                  <c:v>0</c:v>
                </c:pt>
                <c:pt idx="64">
                  <c:v>44</c:v>
                </c:pt>
                <c:pt idx="65">
                  <c:v>106</c:v>
                </c:pt>
                <c:pt idx="66">
                  <c:v>130</c:v>
                </c:pt>
                <c:pt idx="67">
                  <c:v>216</c:v>
                </c:pt>
                <c:pt idx="68">
                  <c:v>126</c:v>
                </c:pt>
                <c:pt idx="69">
                  <c:v>30</c:v>
                </c:pt>
                <c:pt idx="70">
                  <c:v>0</c:v>
                </c:pt>
                <c:pt idx="71">
                  <c:v>66</c:v>
                </c:pt>
                <c:pt idx="72">
                  <c:v>80</c:v>
                </c:pt>
                <c:pt idx="73">
                  <c:v>0</c:v>
                </c:pt>
                <c:pt idx="74">
                  <c:v>0</c:v>
                </c:pt>
                <c:pt idx="75">
                  <c:v>78</c:v>
                </c:pt>
                <c:pt idx="76">
                  <c:v>68</c:v>
                </c:pt>
                <c:pt idx="77">
                  <c:v>14</c:v>
                </c:pt>
                <c:pt idx="78">
                  <c:v>0</c:v>
                </c:pt>
                <c:pt idx="79">
                  <c:v>138</c:v>
                </c:pt>
                <c:pt idx="80">
                  <c:v>36</c:v>
                </c:pt>
                <c:pt idx="81">
                  <c:v>142</c:v>
                </c:pt>
                <c:pt idx="82">
                  <c:v>158</c:v>
                </c:pt>
                <c:pt idx="83">
                  <c:v>118</c:v>
                </c:pt>
                <c:pt idx="84">
                  <c:v>144</c:v>
                </c:pt>
                <c:pt idx="85">
                  <c:v>238</c:v>
                </c:pt>
                <c:pt idx="86">
                  <c:v>66</c:v>
                </c:pt>
                <c:pt idx="87">
                  <c:v>28</c:v>
                </c:pt>
                <c:pt idx="88">
                  <c:v>18</c:v>
                </c:pt>
                <c:pt idx="89">
                  <c:v>8</c:v>
                </c:pt>
                <c:pt idx="90">
                  <c:v>0</c:v>
                </c:pt>
                <c:pt idx="91">
                  <c:v>2</c:v>
                </c:pt>
                <c:pt idx="92">
                  <c:v>0</c:v>
                </c:pt>
                <c:pt idx="93">
                  <c:v>22</c:v>
                </c:pt>
                <c:pt idx="94">
                  <c:v>0</c:v>
                </c:pt>
                <c:pt idx="95">
                  <c:v>54</c:v>
                </c:pt>
                <c:pt idx="96">
                  <c:v>230</c:v>
                </c:pt>
                <c:pt idx="97">
                  <c:v>354</c:v>
                </c:pt>
                <c:pt idx="98">
                  <c:v>0</c:v>
                </c:pt>
                <c:pt idx="99">
                  <c:v>314</c:v>
                </c:pt>
                <c:pt idx="100">
                  <c:v>344</c:v>
                </c:pt>
                <c:pt idx="101">
                  <c:v>54</c:v>
                </c:pt>
                <c:pt idx="102">
                  <c:v>64</c:v>
                </c:pt>
                <c:pt idx="103">
                  <c:v>88</c:v>
                </c:pt>
                <c:pt idx="104">
                  <c:v>48</c:v>
                </c:pt>
                <c:pt idx="105">
                  <c:v>70</c:v>
                </c:pt>
                <c:pt idx="106">
                  <c:v>0</c:v>
                </c:pt>
                <c:pt idx="107">
                  <c:v>84</c:v>
                </c:pt>
                <c:pt idx="108">
                  <c:v>14</c:v>
                </c:pt>
                <c:pt idx="109">
                  <c:v>188</c:v>
                </c:pt>
                <c:pt idx="110">
                  <c:v>88</c:v>
                </c:pt>
                <c:pt idx="111">
                  <c:v>0</c:v>
                </c:pt>
                <c:pt idx="112">
                  <c:v>140</c:v>
                </c:pt>
                <c:pt idx="113">
                  <c:v>228</c:v>
                </c:pt>
                <c:pt idx="114">
                  <c:v>268</c:v>
                </c:pt>
                <c:pt idx="115">
                  <c:v>308</c:v>
                </c:pt>
                <c:pt idx="116">
                  <c:v>190</c:v>
                </c:pt>
                <c:pt idx="117">
                  <c:v>82</c:v>
                </c:pt>
                <c:pt idx="118">
                  <c:v>106</c:v>
                </c:pt>
                <c:pt idx="119">
                  <c:v>44</c:v>
                </c:pt>
                <c:pt idx="120">
                  <c:v>220</c:v>
                </c:pt>
                <c:pt idx="121">
                  <c:v>306</c:v>
                </c:pt>
                <c:pt idx="122">
                  <c:v>276</c:v>
                </c:pt>
                <c:pt idx="123">
                  <c:v>258</c:v>
                </c:pt>
                <c:pt idx="124">
                  <c:v>274</c:v>
                </c:pt>
                <c:pt idx="125">
                  <c:v>60</c:v>
                </c:pt>
                <c:pt idx="126">
                  <c:v>0</c:v>
                </c:pt>
                <c:pt idx="127">
                  <c:v>138</c:v>
                </c:pt>
                <c:pt idx="128">
                  <c:v>108</c:v>
                </c:pt>
                <c:pt idx="129">
                  <c:v>122</c:v>
                </c:pt>
                <c:pt idx="130">
                  <c:v>190</c:v>
                </c:pt>
                <c:pt idx="131">
                  <c:v>192</c:v>
                </c:pt>
                <c:pt idx="132">
                  <c:v>150</c:v>
                </c:pt>
                <c:pt idx="133">
                  <c:v>134</c:v>
                </c:pt>
                <c:pt idx="134">
                  <c:v>152</c:v>
                </c:pt>
                <c:pt idx="135">
                  <c:v>210</c:v>
                </c:pt>
                <c:pt idx="136">
                  <c:v>146</c:v>
                </c:pt>
                <c:pt idx="137">
                  <c:v>184</c:v>
                </c:pt>
                <c:pt idx="138">
                  <c:v>154</c:v>
                </c:pt>
                <c:pt idx="139">
                  <c:v>226</c:v>
                </c:pt>
                <c:pt idx="140">
                  <c:v>152</c:v>
                </c:pt>
                <c:pt idx="141">
                  <c:v>228</c:v>
                </c:pt>
                <c:pt idx="142">
                  <c:v>276</c:v>
                </c:pt>
                <c:pt idx="143">
                  <c:v>342</c:v>
                </c:pt>
                <c:pt idx="144">
                  <c:v>254</c:v>
                </c:pt>
                <c:pt idx="145">
                  <c:v>232</c:v>
                </c:pt>
                <c:pt idx="146">
                  <c:v>0</c:v>
                </c:pt>
                <c:pt idx="147">
                  <c:v>0</c:v>
                </c:pt>
                <c:pt idx="148">
                  <c:v>236</c:v>
                </c:pt>
                <c:pt idx="149">
                  <c:v>90</c:v>
                </c:pt>
                <c:pt idx="150">
                  <c:v>94</c:v>
                </c:pt>
                <c:pt idx="151">
                  <c:v>176</c:v>
                </c:pt>
                <c:pt idx="152">
                  <c:v>202</c:v>
                </c:pt>
                <c:pt idx="153">
                  <c:v>212</c:v>
                </c:pt>
                <c:pt idx="154">
                  <c:v>0</c:v>
                </c:pt>
                <c:pt idx="155">
                  <c:v>128</c:v>
                </c:pt>
                <c:pt idx="156">
                  <c:v>172</c:v>
                </c:pt>
                <c:pt idx="157">
                  <c:v>154</c:v>
                </c:pt>
                <c:pt idx="158">
                  <c:v>68</c:v>
                </c:pt>
                <c:pt idx="159">
                  <c:v>180</c:v>
                </c:pt>
                <c:pt idx="160">
                  <c:v>66</c:v>
                </c:pt>
                <c:pt idx="161">
                  <c:v>72</c:v>
                </c:pt>
                <c:pt idx="162">
                  <c:v>70</c:v>
                </c:pt>
                <c:pt idx="163">
                  <c:v>0</c:v>
                </c:pt>
                <c:pt idx="164">
                  <c:v>156</c:v>
                </c:pt>
                <c:pt idx="165">
                  <c:v>46</c:v>
                </c:pt>
                <c:pt idx="166">
                  <c:v>200</c:v>
                </c:pt>
                <c:pt idx="167">
                  <c:v>16</c:v>
                </c:pt>
                <c:pt idx="168">
                  <c:v>154</c:v>
                </c:pt>
                <c:pt idx="169">
                  <c:v>204</c:v>
                </c:pt>
                <c:pt idx="170">
                  <c:v>228</c:v>
                </c:pt>
                <c:pt idx="171">
                  <c:v>70</c:v>
                </c:pt>
                <c:pt idx="172">
                  <c:v>16</c:v>
                </c:pt>
                <c:pt idx="173">
                  <c:v>0</c:v>
                </c:pt>
                <c:pt idx="174">
                  <c:v>72</c:v>
                </c:pt>
                <c:pt idx="175">
                  <c:v>128</c:v>
                </c:pt>
                <c:pt idx="176">
                  <c:v>152</c:v>
                </c:pt>
                <c:pt idx="177">
                  <c:v>0</c:v>
                </c:pt>
                <c:pt idx="178">
                  <c:v>0</c:v>
                </c:pt>
                <c:pt idx="179">
                  <c:v>18</c:v>
                </c:pt>
                <c:pt idx="180">
                  <c:v>0</c:v>
                </c:pt>
                <c:pt idx="181">
                  <c:v>0</c:v>
                </c:pt>
                <c:pt idx="182">
                  <c:v>28</c:v>
                </c:pt>
                <c:pt idx="183">
                  <c:v>168</c:v>
                </c:pt>
                <c:pt idx="184">
                  <c:v>0</c:v>
                </c:pt>
                <c:pt idx="185">
                  <c:v>56</c:v>
                </c:pt>
                <c:pt idx="186">
                  <c:v>104</c:v>
                </c:pt>
                <c:pt idx="187">
                  <c:v>108</c:v>
                </c:pt>
                <c:pt idx="188">
                  <c:v>172</c:v>
                </c:pt>
                <c:pt idx="189">
                  <c:v>0</c:v>
                </c:pt>
                <c:pt idx="190">
                  <c:v>218</c:v>
                </c:pt>
                <c:pt idx="191">
                  <c:v>110</c:v>
                </c:pt>
                <c:pt idx="192">
                  <c:v>96</c:v>
                </c:pt>
                <c:pt idx="193">
                  <c:v>68</c:v>
                </c:pt>
                <c:pt idx="194">
                  <c:v>14</c:v>
                </c:pt>
                <c:pt idx="195">
                  <c:v>4</c:v>
                </c:pt>
                <c:pt idx="196">
                  <c:v>6</c:v>
                </c:pt>
                <c:pt idx="197">
                  <c:v>36</c:v>
                </c:pt>
                <c:pt idx="198">
                  <c:v>0</c:v>
                </c:pt>
                <c:pt idx="199">
                  <c:v>10</c:v>
                </c:pt>
                <c:pt idx="200">
                  <c:v>94</c:v>
                </c:pt>
                <c:pt idx="201">
                  <c:v>0</c:v>
                </c:pt>
                <c:pt idx="202">
                  <c:v>56</c:v>
                </c:pt>
                <c:pt idx="203">
                  <c:v>0</c:v>
                </c:pt>
                <c:pt idx="204">
                  <c:v>2</c:v>
                </c:pt>
                <c:pt idx="205">
                  <c:v>8</c:v>
                </c:pt>
                <c:pt idx="206">
                  <c:v>134</c:v>
                </c:pt>
                <c:pt idx="207">
                  <c:v>0</c:v>
                </c:pt>
                <c:pt idx="208">
                  <c:v>16</c:v>
                </c:pt>
                <c:pt idx="209">
                  <c:v>30</c:v>
                </c:pt>
                <c:pt idx="210">
                  <c:v>162</c:v>
                </c:pt>
                <c:pt idx="211">
                  <c:v>226</c:v>
                </c:pt>
                <c:pt idx="212">
                  <c:v>148</c:v>
                </c:pt>
                <c:pt idx="213">
                  <c:v>208</c:v>
                </c:pt>
                <c:pt idx="214">
                  <c:v>190</c:v>
                </c:pt>
                <c:pt idx="215">
                  <c:v>244</c:v>
                </c:pt>
                <c:pt idx="216">
                  <c:v>76</c:v>
                </c:pt>
                <c:pt idx="217">
                  <c:v>92</c:v>
                </c:pt>
                <c:pt idx="218">
                  <c:v>226</c:v>
                </c:pt>
                <c:pt idx="219">
                  <c:v>216</c:v>
                </c:pt>
                <c:pt idx="220">
                  <c:v>128</c:v>
                </c:pt>
                <c:pt idx="221">
                  <c:v>216</c:v>
                </c:pt>
                <c:pt idx="222">
                  <c:v>200</c:v>
                </c:pt>
                <c:pt idx="223">
                  <c:v>164</c:v>
                </c:pt>
                <c:pt idx="224">
                  <c:v>146</c:v>
                </c:pt>
                <c:pt idx="225">
                  <c:v>2</c:v>
                </c:pt>
                <c:pt idx="226">
                  <c:v>188</c:v>
                </c:pt>
                <c:pt idx="227">
                  <c:v>138</c:v>
                </c:pt>
                <c:pt idx="228">
                  <c:v>240</c:v>
                </c:pt>
                <c:pt idx="229">
                  <c:v>206</c:v>
                </c:pt>
                <c:pt idx="230">
                  <c:v>68</c:v>
                </c:pt>
                <c:pt idx="231">
                  <c:v>236</c:v>
                </c:pt>
                <c:pt idx="232">
                  <c:v>212</c:v>
                </c:pt>
                <c:pt idx="233">
                  <c:v>82</c:v>
                </c:pt>
                <c:pt idx="234">
                  <c:v>112</c:v>
                </c:pt>
                <c:pt idx="235">
                  <c:v>266</c:v>
                </c:pt>
                <c:pt idx="236">
                  <c:v>312</c:v>
                </c:pt>
                <c:pt idx="237">
                  <c:v>274</c:v>
                </c:pt>
                <c:pt idx="238">
                  <c:v>214</c:v>
                </c:pt>
                <c:pt idx="239">
                  <c:v>208</c:v>
                </c:pt>
                <c:pt idx="240">
                  <c:v>232</c:v>
                </c:pt>
                <c:pt idx="241">
                  <c:v>254</c:v>
                </c:pt>
                <c:pt idx="242">
                  <c:v>230</c:v>
                </c:pt>
                <c:pt idx="243">
                  <c:v>190</c:v>
                </c:pt>
                <c:pt idx="244">
                  <c:v>134</c:v>
                </c:pt>
                <c:pt idx="245">
                  <c:v>4</c:v>
                </c:pt>
                <c:pt idx="246">
                  <c:v>0</c:v>
                </c:pt>
                <c:pt idx="247">
                  <c:v>182</c:v>
                </c:pt>
                <c:pt idx="248">
                  <c:v>226</c:v>
                </c:pt>
                <c:pt idx="249">
                  <c:v>206</c:v>
                </c:pt>
                <c:pt idx="250">
                  <c:v>224</c:v>
                </c:pt>
                <c:pt idx="251">
                  <c:v>104</c:v>
                </c:pt>
                <c:pt idx="252">
                  <c:v>0</c:v>
                </c:pt>
                <c:pt idx="253">
                  <c:v>0</c:v>
                </c:pt>
                <c:pt idx="254">
                  <c:v>34</c:v>
                </c:pt>
                <c:pt idx="255">
                  <c:v>0</c:v>
                </c:pt>
                <c:pt idx="256">
                  <c:v>0</c:v>
                </c:pt>
                <c:pt idx="257">
                  <c:v>2</c:v>
                </c:pt>
                <c:pt idx="258">
                  <c:v>0</c:v>
                </c:pt>
                <c:pt idx="259">
                  <c:v>76</c:v>
                </c:pt>
                <c:pt idx="260">
                  <c:v>66</c:v>
                </c:pt>
                <c:pt idx="261">
                  <c:v>14</c:v>
                </c:pt>
                <c:pt idx="262">
                  <c:v>124</c:v>
                </c:pt>
                <c:pt idx="263">
                  <c:v>62</c:v>
                </c:pt>
                <c:pt idx="264">
                  <c:v>86</c:v>
                </c:pt>
                <c:pt idx="265">
                  <c:v>136</c:v>
                </c:pt>
                <c:pt idx="266">
                  <c:v>162</c:v>
                </c:pt>
                <c:pt idx="267">
                  <c:v>96</c:v>
                </c:pt>
                <c:pt idx="268">
                  <c:v>160</c:v>
                </c:pt>
                <c:pt idx="269">
                  <c:v>46</c:v>
                </c:pt>
                <c:pt idx="270">
                  <c:v>0</c:v>
                </c:pt>
                <c:pt idx="271">
                  <c:v>0</c:v>
                </c:pt>
                <c:pt idx="272">
                  <c:v>14</c:v>
                </c:pt>
                <c:pt idx="273">
                  <c:v>0</c:v>
                </c:pt>
                <c:pt idx="274">
                  <c:v>0</c:v>
                </c:pt>
                <c:pt idx="275">
                  <c:v>14</c:v>
                </c:pt>
                <c:pt idx="276">
                  <c:v>70</c:v>
                </c:pt>
                <c:pt idx="277">
                  <c:v>40</c:v>
                </c:pt>
                <c:pt idx="278">
                  <c:v>10</c:v>
                </c:pt>
                <c:pt idx="279">
                  <c:v>6</c:v>
                </c:pt>
                <c:pt idx="280">
                  <c:v>0</c:v>
                </c:pt>
                <c:pt idx="281">
                  <c:v>60</c:v>
                </c:pt>
                <c:pt idx="282">
                  <c:v>4</c:v>
                </c:pt>
                <c:pt idx="283">
                  <c:v>0</c:v>
                </c:pt>
                <c:pt idx="284">
                  <c:v>0</c:v>
                </c:pt>
                <c:pt idx="285">
                  <c:v>0</c:v>
                </c:pt>
                <c:pt idx="286">
                  <c:v>0</c:v>
                </c:pt>
                <c:pt idx="287">
                  <c:v>0</c:v>
                </c:pt>
                <c:pt idx="288">
                  <c:v>0</c:v>
                </c:pt>
                <c:pt idx="289">
                  <c:v>0</c:v>
                </c:pt>
                <c:pt idx="290">
                  <c:v>0</c:v>
                </c:pt>
                <c:pt idx="291">
                  <c:v>66</c:v>
                </c:pt>
                <c:pt idx="292">
                  <c:v>52</c:v>
                </c:pt>
                <c:pt idx="293">
                  <c:v>0</c:v>
                </c:pt>
                <c:pt idx="294">
                  <c:v>0</c:v>
                </c:pt>
                <c:pt idx="295">
                  <c:v>0</c:v>
                </c:pt>
                <c:pt idx="296">
                  <c:v>0</c:v>
                </c:pt>
                <c:pt idx="297">
                  <c:v>80</c:v>
                </c:pt>
                <c:pt idx="298">
                  <c:v>0</c:v>
                </c:pt>
                <c:pt idx="299">
                  <c:v>6</c:v>
                </c:pt>
                <c:pt idx="300">
                  <c:v>0</c:v>
                </c:pt>
                <c:pt idx="301">
                  <c:v>0</c:v>
                </c:pt>
                <c:pt idx="302">
                  <c:v>0</c:v>
                </c:pt>
                <c:pt idx="303">
                  <c:v>0</c:v>
                </c:pt>
                <c:pt idx="304">
                  <c:v>0</c:v>
                </c:pt>
                <c:pt idx="305">
                  <c:v>4</c:v>
                </c:pt>
                <c:pt idx="306">
                  <c:v>0</c:v>
                </c:pt>
                <c:pt idx="307">
                  <c:v>30</c:v>
                </c:pt>
                <c:pt idx="308">
                  <c:v>128</c:v>
                </c:pt>
                <c:pt idx="309">
                  <c:v>24</c:v>
                </c:pt>
                <c:pt idx="310">
                  <c:v>0</c:v>
                </c:pt>
                <c:pt idx="311">
                  <c:v>90</c:v>
                </c:pt>
                <c:pt idx="312">
                  <c:v>10</c:v>
                </c:pt>
                <c:pt idx="313">
                  <c:v>118</c:v>
                </c:pt>
                <c:pt idx="314">
                  <c:v>232</c:v>
                </c:pt>
                <c:pt idx="315">
                  <c:v>270</c:v>
                </c:pt>
                <c:pt idx="316">
                  <c:v>364</c:v>
                </c:pt>
                <c:pt idx="317">
                  <c:v>164</c:v>
                </c:pt>
                <c:pt idx="318">
                  <c:v>120</c:v>
                </c:pt>
                <c:pt idx="319">
                  <c:v>0</c:v>
                </c:pt>
                <c:pt idx="320">
                  <c:v>112</c:v>
                </c:pt>
                <c:pt idx="321">
                  <c:v>0</c:v>
                </c:pt>
                <c:pt idx="322">
                  <c:v>38</c:v>
                </c:pt>
                <c:pt idx="323">
                  <c:v>0</c:v>
                </c:pt>
                <c:pt idx="324">
                  <c:v>0</c:v>
                </c:pt>
                <c:pt idx="325">
                  <c:v>0</c:v>
                </c:pt>
                <c:pt idx="326">
                  <c:v>0</c:v>
                </c:pt>
                <c:pt idx="327">
                  <c:v>0</c:v>
                </c:pt>
                <c:pt idx="328">
                  <c:v>54</c:v>
                </c:pt>
                <c:pt idx="329">
                  <c:v>112</c:v>
                </c:pt>
                <c:pt idx="330">
                  <c:v>0</c:v>
                </c:pt>
                <c:pt idx="331">
                  <c:v>0</c:v>
                </c:pt>
                <c:pt idx="332">
                  <c:v>6</c:v>
                </c:pt>
                <c:pt idx="333">
                  <c:v>26</c:v>
                </c:pt>
                <c:pt idx="334">
                  <c:v>4</c:v>
                </c:pt>
                <c:pt idx="335">
                  <c:v>32</c:v>
                </c:pt>
                <c:pt idx="336">
                  <c:v>0</c:v>
                </c:pt>
                <c:pt idx="337">
                  <c:v>12</c:v>
                </c:pt>
                <c:pt idx="338">
                  <c:v>72</c:v>
                </c:pt>
                <c:pt idx="339">
                  <c:v>0</c:v>
                </c:pt>
                <c:pt idx="340">
                  <c:v>0</c:v>
                </c:pt>
                <c:pt idx="341">
                  <c:v>0</c:v>
                </c:pt>
                <c:pt idx="342">
                  <c:v>0</c:v>
                </c:pt>
                <c:pt idx="343">
                  <c:v>0</c:v>
                </c:pt>
                <c:pt idx="344">
                  <c:v>0</c:v>
                </c:pt>
                <c:pt idx="345">
                  <c:v>0</c:v>
                </c:pt>
                <c:pt idx="346">
                  <c:v>0</c:v>
                </c:pt>
                <c:pt idx="347">
                  <c:v>0</c:v>
                </c:pt>
                <c:pt idx="348">
                  <c:v>0</c:v>
                </c:pt>
                <c:pt idx="349">
                  <c:v>0</c:v>
                </c:pt>
                <c:pt idx="350">
                  <c:v>24</c:v>
                </c:pt>
                <c:pt idx="351">
                  <c:v>0</c:v>
                </c:pt>
                <c:pt idx="352">
                  <c:v>0</c:v>
                </c:pt>
                <c:pt idx="353">
                  <c:v>0</c:v>
                </c:pt>
                <c:pt idx="354">
                  <c:v>0</c:v>
                </c:pt>
                <c:pt idx="355">
                  <c:v>0</c:v>
                </c:pt>
                <c:pt idx="356">
                  <c:v>0</c:v>
                </c:pt>
                <c:pt idx="357">
                  <c:v>0</c:v>
                </c:pt>
                <c:pt idx="358">
                  <c:v>72</c:v>
                </c:pt>
                <c:pt idx="359">
                  <c:v>10</c:v>
                </c:pt>
                <c:pt idx="360">
                  <c:v>22</c:v>
                </c:pt>
                <c:pt idx="361">
                  <c:v>0</c:v>
                </c:pt>
                <c:pt idx="362">
                  <c:v>4</c:v>
                </c:pt>
                <c:pt idx="363">
                  <c:v>64</c:v>
                </c:pt>
                <c:pt idx="364">
                  <c:v>0</c:v>
                </c:pt>
                <c:pt idx="365">
                  <c:v>7</c:v>
                </c:pt>
                <c:pt idx="366">
                  <c:v>32</c:v>
                </c:pt>
                <c:pt idx="367">
                  <c:v>0</c:v>
                </c:pt>
                <c:pt idx="368">
                  <c:v>0</c:v>
                </c:pt>
                <c:pt idx="369">
                  <c:v>0</c:v>
                </c:pt>
                <c:pt idx="370">
                  <c:v>21</c:v>
                </c:pt>
                <c:pt idx="371">
                  <c:v>31</c:v>
                </c:pt>
                <c:pt idx="372">
                  <c:v>0</c:v>
                </c:pt>
                <c:pt idx="373">
                  <c:v>16</c:v>
                </c:pt>
                <c:pt idx="374">
                  <c:v>0</c:v>
                </c:pt>
                <c:pt idx="375">
                  <c:v>0</c:v>
                </c:pt>
                <c:pt idx="376">
                  <c:v>0</c:v>
                </c:pt>
                <c:pt idx="377">
                  <c:v>0</c:v>
                </c:pt>
                <c:pt idx="378">
                  <c:v>0</c:v>
                </c:pt>
                <c:pt idx="379">
                  <c:v>25</c:v>
                </c:pt>
                <c:pt idx="380">
                  <c:v>82</c:v>
                </c:pt>
                <c:pt idx="381">
                  <c:v>0</c:v>
                </c:pt>
                <c:pt idx="382">
                  <c:v>0</c:v>
                </c:pt>
                <c:pt idx="383">
                  <c:v>0</c:v>
                </c:pt>
                <c:pt idx="384">
                  <c:v>33</c:v>
                </c:pt>
                <c:pt idx="385">
                  <c:v>35</c:v>
                </c:pt>
                <c:pt idx="386">
                  <c:v>92</c:v>
                </c:pt>
                <c:pt idx="387">
                  <c:v>20</c:v>
                </c:pt>
                <c:pt idx="388">
                  <c:v>0</c:v>
                </c:pt>
                <c:pt idx="389">
                  <c:v>0</c:v>
                </c:pt>
                <c:pt idx="390">
                  <c:v>9</c:v>
                </c:pt>
                <c:pt idx="391">
                  <c:v>5</c:v>
                </c:pt>
                <c:pt idx="392">
                  <c:v>3</c:v>
                </c:pt>
                <c:pt idx="393">
                  <c:v>0</c:v>
                </c:pt>
                <c:pt idx="394">
                  <c:v>11</c:v>
                </c:pt>
                <c:pt idx="395">
                  <c:v>0</c:v>
                </c:pt>
                <c:pt idx="396">
                  <c:v>0</c:v>
                </c:pt>
                <c:pt idx="397">
                  <c:v>0</c:v>
                </c:pt>
                <c:pt idx="398">
                  <c:v>0</c:v>
                </c:pt>
                <c:pt idx="399">
                  <c:v>0</c:v>
                </c:pt>
                <c:pt idx="400">
                  <c:v>3</c:v>
                </c:pt>
                <c:pt idx="401">
                  <c:v>13</c:v>
                </c:pt>
                <c:pt idx="402">
                  <c:v>0</c:v>
                </c:pt>
                <c:pt idx="403">
                  <c:v>0</c:v>
                </c:pt>
                <c:pt idx="404">
                  <c:v>2</c:v>
                </c:pt>
                <c:pt idx="405">
                  <c:v>0</c:v>
                </c:pt>
                <c:pt idx="406">
                  <c:v>0</c:v>
                </c:pt>
                <c:pt idx="407">
                  <c:v>9</c:v>
                </c:pt>
                <c:pt idx="408">
                  <c:v>4</c:v>
                </c:pt>
                <c:pt idx="409">
                  <c:v>0</c:v>
                </c:pt>
                <c:pt idx="410">
                  <c:v>0</c:v>
                </c:pt>
                <c:pt idx="411">
                  <c:v>0</c:v>
                </c:pt>
                <c:pt idx="412">
                  <c:v>5</c:v>
                </c:pt>
                <c:pt idx="413">
                  <c:v>0</c:v>
                </c:pt>
                <c:pt idx="414">
                  <c:v>29</c:v>
                </c:pt>
                <c:pt idx="415">
                  <c:v>0</c:v>
                </c:pt>
                <c:pt idx="416">
                  <c:v>0</c:v>
                </c:pt>
                <c:pt idx="417">
                  <c:v>8</c:v>
                </c:pt>
                <c:pt idx="418">
                  <c:v>10</c:v>
                </c:pt>
                <c:pt idx="419">
                  <c:v>0</c:v>
                </c:pt>
                <c:pt idx="420">
                  <c:v>17</c:v>
                </c:pt>
                <c:pt idx="421">
                  <c:v>0</c:v>
                </c:pt>
                <c:pt idx="422">
                  <c:v>0</c:v>
                </c:pt>
                <c:pt idx="423">
                  <c:v>0</c:v>
                </c:pt>
                <c:pt idx="424">
                  <c:v>14</c:v>
                </c:pt>
                <c:pt idx="425">
                  <c:v>0</c:v>
                </c:pt>
                <c:pt idx="426">
                  <c:v>0</c:v>
                </c:pt>
                <c:pt idx="427">
                  <c:v>2</c:v>
                </c:pt>
                <c:pt idx="428">
                  <c:v>56</c:v>
                </c:pt>
                <c:pt idx="429">
                  <c:v>0</c:v>
                </c:pt>
                <c:pt idx="430">
                  <c:v>0</c:v>
                </c:pt>
                <c:pt idx="431">
                  <c:v>10</c:v>
                </c:pt>
                <c:pt idx="432">
                  <c:v>0</c:v>
                </c:pt>
                <c:pt idx="433">
                  <c:v>0</c:v>
                </c:pt>
                <c:pt idx="434">
                  <c:v>0</c:v>
                </c:pt>
                <c:pt idx="435">
                  <c:v>0</c:v>
                </c:pt>
                <c:pt idx="436">
                  <c:v>0</c:v>
                </c:pt>
                <c:pt idx="437">
                  <c:v>0</c:v>
                </c:pt>
                <c:pt idx="438">
                  <c:v>0</c:v>
                </c:pt>
                <c:pt idx="439">
                  <c:v>0</c:v>
                </c:pt>
                <c:pt idx="440">
                  <c:v>37</c:v>
                </c:pt>
                <c:pt idx="441">
                  <c:v>11</c:v>
                </c:pt>
                <c:pt idx="442">
                  <c:v>58</c:v>
                </c:pt>
                <c:pt idx="443">
                  <c:v>0</c:v>
                </c:pt>
                <c:pt idx="444">
                  <c:v>2</c:v>
                </c:pt>
                <c:pt idx="445">
                  <c:v>43</c:v>
                </c:pt>
                <c:pt idx="446">
                  <c:v>19</c:v>
                </c:pt>
                <c:pt idx="447">
                  <c:v>4</c:v>
                </c:pt>
                <c:pt idx="448">
                  <c:v>0</c:v>
                </c:pt>
                <c:pt idx="449">
                  <c:v>0</c:v>
                </c:pt>
                <c:pt idx="450">
                  <c:v>11</c:v>
                </c:pt>
                <c:pt idx="451">
                  <c:v>13</c:v>
                </c:pt>
                <c:pt idx="452">
                  <c:v>1</c:v>
                </c:pt>
                <c:pt idx="453">
                  <c:v>0</c:v>
                </c:pt>
                <c:pt idx="454">
                  <c:v>0</c:v>
                </c:pt>
                <c:pt idx="455">
                  <c:v>0</c:v>
                </c:pt>
                <c:pt idx="456">
                  <c:v>0</c:v>
                </c:pt>
                <c:pt idx="457">
                  <c:v>18</c:v>
                </c:pt>
                <c:pt idx="458">
                  <c:v>48</c:v>
                </c:pt>
                <c:pt idx="459">
                  <c:v>28</c:v>
                </c:pt>
                <c:pt idx="460">
                  <c:v>0</c:v>
                </c:pt>
                <c:pt idx="461">
                  <c:v>0</c:v>
                </c:pt>
                <c:pt idx="462">
                  <c:v>27</c:v>
                </c:pt>
                <c:pt idx="463">
                  <c:v>40</c:v>
                </c:pt>
                <c:pt idx="464">
                  <c:v>14</c:v>
                </c:pt>
                <c:pt idx="465">
                  <c:v>0</c:v>
                </c:pt>
                <c:pt idx="466">
                  <c:v>28</c:v>
                </c:pt>
                <c:pt idx="467">
                  <c:v>0</c:v>
                </c:pt>
                <c:pt idx="468">
                  <c:v>0</c:v>
                </c:pt>
                <c:pt idx="469">
                  <c:v>3</c:v>
                </c:pt>
                <c:pt idx="470">
                  <c:v>0</c:v>
                </c:pt>
                <c:pt idx="471">
                  <c:v>50</c:v>
                </c:pt>
                <c:pt idx="472">
                  <c:v>0</c:v>
                </c:pt>
                <c:pt idx="473">
                  <c:v>0</c:v>
                </c:pt>
                <c:pt idx="474">
                  <c:v>21</c:v>
                </c:pt>
                <c:pt idx="475">
                  <c:v>0</c:v>
                </c:pt>
                <c:pt idx="476">
                  <c:v>28</c:v>
                </c:pt>
                <c:pt idx="477">
                  <c:v>0</c:v>
                </c:pt>
                <c:pt idx="478">
                  <c:v>8</c:v>
                </c:pt>
                <c:pt idx="479">
                  <c:v>75</c:v>
                </c:pt>
                <c:pt idx="480">
                  <c:v>0</c:v>
                </c:pt>
                <c:pt idx="481">
                  <c:v>19</c:v>
                </c:pt>
                <c:pt idx="482">
                  <c:v>0</c:v>
                </c:pt>
                <c:pt idx="483">
                  <c:v>74</c:v>
                </c:pt>
                <c:pt idx="484">
                  <c:v>21</c:v>
                </c:pt>
                <c:pt idx="485">
                  <c:v>0</c:v>
                </c:pt>
                <c:pt idx="486">
                  <c:v>0</c:v>
                </c:pt>
                <c:pt idx="487">
                  <c:v>17</c:v>
                </c:pt>
                <c:pt idx="488">
                  <c:v>0</c:v>
                </c:pt>
                <c:pt idx="489">
                  <c:v>0</c:v>
                </c:pt>
                <c:pt idx="490">
                  <c:v>0</c:v>
                </c:pt>
                <c:pt idx="491">
                  <c:v>0</c:v>
                </c:pt>
                <c:pt idx="492">
                  <c:v>16</c:v>
                </c:pt>
                <c:pt idx="493">
                  <c:v>93</c:v>
                </c:pt>
                <c:pt idx="494">
                  <c:v>0</c:v>
                </c:pt>
                <c:pt idx="495">
                  <c:v>54</c:v>
                </c:pt>
                <c:pt idx="496">
                  <c:v>24</c:v>
                </c:pt>
                <c:pt idx="497">
                  <c:v>14</c:v>
                </c:pt>
                <c:pt idx="498">
                  <c:v>66</c:v>
                </c:pt>
                <c:pt idx="499">
                  <c:v>16</c:v>
                </c:pt>
                <c:pt idx="500">
                  <c:v>0</c:v>
                </c:pt>
                <c:pt idx="501">
                  <c:v>5</c:v>
                </c:pt>
                <c:pt idx="502">
                  <c:v>18</c:v>
                </c:pt>
                <c:pt idx="503">
                  <c:v>20</c:v>
                </c:pt>
                <c:pt idx="504">
                  <c:v>0</c:v>
                </c:pt>
                <c:pt idx="505">
                  <c:v>0</c:v>
                </c:pt>
                <c:pt idx="506">
                  <c:v>38</c:v>
                </c:pt>
                <c:pt idx="507">
                  <c:v>6</c:v>
                </c:pt>
                <c:pt idx="508">
                  <c:v>0</c:v>
                </c:pt>
                <c:pt idx="509">
                  <c:v>23</c:v>
                </c:pt>
                <c:pt idx="510">
                  <c:v>0</c:v>
                </c:pt>
                <c:pt idx="511">
                  <c:v>28</c:v>
                </c:pt>
                <c:pt idx="512">
                  <c:v>31</c:v>
                </c:pt>
                <c:pt idx="513">
                  <c:v>0</c:v>
                </c:pt>
                <c:pt idx="514">
                  <c:v>23</c:v>
                </c:pt>
                <c:pt idx="515">
                  <c:v>3</c:v>
                </c:pt>
                <c:pt idx="516">
                  <c:v>3</c:v>
                </c:pt>
                <c:pt idx="517">
                  <c:v>0</c:v>
                </c:pt>
                <c:pt idx="518">
                  <c:v>0</c:v>
                </c:pt>
                <c:pt idx="519">
                  <c:v>8</c:v>
                </c:pt>
                <c:pt idx="520">
                  <c:v>32</c:v>
                </c:pt>
                <c:pt idx="521">
                  <c:v>0</c:v>
                </c:pt>
                <c:pt idx="522">
                  <c:v>0</c:v>
                </c:pt>
                <c:pt idx="523">
                  <c:v>0</c:v>
                </c:pt>
                <c:pt idx="524">
                  <c:v>2</c:v>
                </c:pt>
                <c:pt idx="525">
                  <c:v>29</c:v>
                </c:pt>
                <c:pt idx="526">
                  <c:v>94</c:v>
                </c:pt>
                <c:pt idx="527">
                  <c:v>23</c:v>
                </c:pt>
                <c:pt idx="528">
                  <c:v>39</c:v>
                </c:pt>
                <c:pt idx="529">
                  <c:v>21</c:v>
                </c:pt>
                <c:pt idx="530">
                  <c:v>13</c:v>
                </c:pt>
                <c:pt idx="531">
                  <c:v>0</c:v>
                </c:pt>
                <c:pt idx="532">
                  <c:v>0</c:v>
                </c:pt>
                <c:pt idx="533">
                  <c:v>0</c:v>
                </c:pt>
                <c:pt idx="534">
                  <c:v>0</c:v>
                </c:pt>
                <c:pt idx="535">
                  <c:v>0</c:v>
                </c:pt>
                <c:pt idx="536">
                  <c:v>3</c:v>
                </c:pt>
                <c:pt idx="537">
                  <c:v>0</c:v>
                </c:pt>
                <c:pt idx="538">
                  <c:v>20</c:v>
                </c:pt>
                <c:pt idx="539">
                  <c:v>23</c:v>
                </c:pt>
                <c:pt idx="540">
                  <c:v>3</c:v>
                </c:pt>
                <c:pt idx="541">
                  <c:v>20</c:v>
                </c:pt>
                <c:pt idx="542">
                  <c:v>0</c:v>
                </c:pt>
                <c:pt idx="543">
                  <c:v>0</c:v>
                </c:pt>
                <c:pt idx="544">
                  <c:v>7</c:v>
                </c:pt>
                <c:pt idx="545">
                  <c:v>12</c:v>
                </c:pt>
                <c:pt idx="546">
                  <c:v>0</c:v>
                </c:pt>
                <c:pt idx="547">
                  <c:v>0</c:v>
                </c:pt>
                <c:pt idx="548">
                  <c:v>4</c:v>
                </c:pt>
                <c:pt idx="549">
                  <c:v>0</c:v>
                </c:pt>
                <c:pt idx="550">
                  <c:v>1</c:v>
                </c:pt>
                <c:pt idx="551">
                  <c:v>0</c:v>
                </c:pt>
                <c:pt idx="552">
                  <c:v>0</c:v>
                </c:pt>
                <c:pt idx="553">
                  <c:v>0</c:v>
                </c:pt>
                <c:pt idx="554">
                  <c:v>0</c:v>
                </c:pt>
                <c:pt idx="555">
                  <c:v>12</c:v>
                </c:pt>
                <c:pt idx="556">
                  <c:v>6</c:v>
                </c:pt>
                <c:pt idx="557">
                  <c:v>0</c:v>
                </c:pt>
                <c:pt idx="558">
                  <c:v>0</c:v>
                </c:pt>
                <c:pt idx="559">
                  <c:v>0</c:v>
                </c:pt>
                <c:pt idx="560">
                  <c:v>11</c:v>
                </c:pt>
                <c:pt idx="561">
                  <c:v>29</c:v>
                </c:pt>
                <c:pt idx="562">
                  <c:v>15</c:v>
                </c:pt>
                <c:pt idx="563">
                  <c:v>0</c:v>
                </c:pt>
                <c:pt idx="564">
                  <c:v>19</c:v>
                </c:pt>
                <c:pt idx="565">
                  <c:v>12</c:v>
                </c:pt>
                <c:pt idx="566">
                  <c:v>0</c:v>
                </c:pt>
                <c:pt idx="567">
                  <c:v>0</c:v>
                </c:pt>
                <c:pt idx="568">
                  <c:v>1</c:v>
                </c:pt>
                <c:pt idx="569">
                  <c:v>20</c:v>
                </c:pt>
                <c:pt idx="570">
                  <c:v>38</c:v>
                </c:pt>
                <c:pt idx="571">
                  <c:v>21</c:v>
                </c:pt>
                <c:pt idx="572">
                  <c:v>0</c:v>
                </c:pt>
                <c:pt idx="573">
                  <c:v>0</c:v>
                </c:pt>
                <c:pt idx="574">
                  <c:v>5</c:v>
                </c:pt>
                <c:pt idx="575">
                  <c:v>13</c:v>
                </c:pt>
                <c:pt idx="576">
                  <c:v>0</c:v>
                </c:pt>
                <c:pt idx="577">
                  <c:v>0</c:v>
                </c:pt>
                <c:pt idx="578">
                  <c:v>0</c:v>
                </c:pt>
                <c:pt idx="579">
                  <c:v>25</c:v>
                </c:pt>
                <c:pt idx="580">
                  <c:v>2</c:v>
                </c:pt>
                <c:pt idx="581">
                  <c:v>9</c:v>
                </c:pt>
                <c:pt idx="582">
                  <c:v>28</c:v>
                </c:pt>
                <c:pt idx="583">
                  <c:v>31</c:v>
                </c:pt>
                <c:pt idx="584">
                  <c:v>35</c:v>
                </c:pt>
                <c:pt idx="585">
                  <c:v>5</c:v>
                </c:pt>
                <c:pt idx="586">
                  <c:v>1</c:v>
                </c:pt>
                <c:pt idx="587">
                  <c:v>24</c:v>
                </c:pt>
                <c:pt idx="588">
                  <c:v>14</c:v>
                </c:pt>
                <c:pt idx="589">
                  <c:v>0</c:v>
                </c:pt>
                <c:pt idx="590">
                  <c:v>7</c:v>
                </c:pt>
                <c:pt idx="591">
                  <c:v>17</c:v>
                </c:pt>
                <c:pt idx="592">
                  <c:v>24</c:v>
                </c:pt>
                <c:pt idx="593">
                  <c:v>21</c:v>
                </c:pt>
                <c:pt idx="594">
                  <c:v>16</c:v>
                </c:pt>
                <c:pt idx="595">
                  <c:v>24</c:v>
                </c:pt>
                <c:pt idx="596">
                  <c:v>45</c:v>
                </c:pt>
                <c:pt idx="597">
                  <c:v>45</c:v>
                </c:pt>
                <c:pt idx="598">
                  <c:v>33</c:v>
                </c:pt>
                <c:pt idx="599">
                  <c:v>20</c:v>
                </c:pt>
                <c:pt idx="600">
                  <c:v>18</c:v>
                </c:pt>
                <c:pt idx="601">
                  <c:v>0</c:v>
                </c:pt>
                <c:pt idx="602">
                  <c:v>21</c:v>
                </c:pt>
                <c:pt idx="603">
                  <c:v>1</c:v>
                </c:pt>
                <c:pt idx="604">
                  <c:v>9</c:v>
                </c:pt>
                <c:pt idx="605">
                  <c:v>0</c:v>
                </c:pt>
                <c:pt idx="606">
                  <c:v>20</c:v>
                </c:pt>
                <c:pt idx="607">
                  <c:v>13</c:v>
                </c:pt>
                <c:pt idx="608">
                  <c:v>38</c:v>
                </c:pt>
              </c:numCache>
            </c:numRef>
          </c:val>
          <c:extLst>
            <c:ext xmlns:c16="http://schemas.microsoft.com/office/drawing/2014/chart" uri="{C3380CC4-5D6E-409C-BE32-E72D297353CC}">
              <c16:uniqueId val="{00000000-15FB-46D0-B6A2-6CADDF38FABE}"/>
            </c:ext>
          </c:extLst>
        </c:ser>
        <c:dLbls>
          <c:showLegendKey val="0"/>
          <c:showVal val="0"/>
          <c:showCatName val="0"/>
          <c:showSerName val="0"/>
          <c:showPercent val="0"/>
          <c:showBubbleSize val="0"/>
        </c:dLbls>
        <c:gapWidth val="0"/>
        <c:axId val="2003598223"/>
        <c:axId val="2003598703"/>
      </c:barChart>
      <c:barChart>
        <c:barDir val="col"/>
        <c:grouping val="clustered"/>
        <c:varyColors val="0"/>
        <c:ser>
          <c:idx val="1"/>
          <c:order val="0"/>
          <c:tx>
            <c:strRef>
              <c:f>'[2024.09.18 - ERCOT 2024 Low Prices Analysis.xlsx]SOCIAL_POST'!$I$31</c:f>
              <c:strCache>
                <c:ptCount val="1"/>
                <c:pt idx="0">
                  <c:v>Aug Flag</c:v>
                </c:pt>
              </c:strCache>
            </c:strRef>
          </c:tx>
          <c:spPr>
            <a:solidFill>
              <a:schemeClr val="bg1">
                <a:lumMod val="75000"/>
                <a:alpha val="20000"/>
              </a:schemeClr>
            </a:solidFill>
            <a:ln>
              <a:noFill/>
            </a:ln>
            <a:effectLst/>
          </c:spPr>
          <c:invertIfNegative val="0"/>
          <c:val>
            <c:numRef>
              <c:f>'[2024.09.18 - ERCOT 2024 Low Prices Analysis.xlsx]SOCIAL_POST'!$I$32:$I$640</c:f>
              <c:numCache>
                <c:formatCode>General</c:formatCode>
                <c:ptCount val="609"/>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100</c:v>
                </c:pt>
                <c:pt idx="213">
                  <c:v>100</c:v>
                </c:pt>
                <c:pt idx="214">
                  <c:v>100</c:v>
                </c:pt>
                <c:pt idx="215">
                  <c:v>100</c:v>
                </c:pt>
                <c:pt idx="216">
                  <c:v>100</c:v>
                </c:pt>
                <c:pt idx="217">
                  <c:v>100</c:v>
                </c:pt>
                <c:pt idx="218">
                  <c:v>100</c:v>
                </c:pt>
                <c:pt idx="219">
                  <c:v>100</c:v>
                </c:pt>
                <c:pt idx="220">
                  <c:v>100</c:v>
                </c:pt>
                <c:pt idx="221">
                  <c:v>100</c:v>
                </c:pt>
                <c:pt idx="222">
                  <c:v>100</c:v>
                </c:pt>
                <c:pt idx="223">
                  <c:v>100</c:v>
                </c:pt>
                <c:pt idx="224">
                  <c:v>100</c:v>
                </c:pt>
                <c:pt idx="225">
                  <c:v>100</c:v>
                </c:pt>
                <c:pt idx="226">
                  <c:v>100</c:v>
                </c:pt>
                <c:pt idx="227">
                  <c:v>100</c:v>
                </c:pt>
                <c:pt idx="228">
                  <c:v>100</c:v>
                </c:pt>
                <c:pt idx="229">
                  <c:v>100</c:v>
                </c:pt>
                <c:pt idx="230">
                  <c:v>100</c:v>
                </c:pt>
                <c:pt idx="231">
                  <c:v>100</c:v>
                </c:pt>
                <c:pt idx="232">
                  <c:v>100</c:v>
                </c:pt>
                <c:pt idx="233">
                  <c:v>100</c:v>
                </c:pt>
                <c:pt idx="234">
                  <c:v>100</c:v>
                </c:pt>
                <c:pt idx="235">
                  <c:v>100</c:v>
                </c:pt>
                <c:pt idx="236">
                  <c:v>100</c:v>
                </c:pt>
                <c:pt idx="237">
                  <c:v>100</c:v>
                </c:pt>
                <c:pt idx="238">
                  <c:v>100</c:v>
                </c:pt>
                <c:pt idx="239">
                  <c:v>100</c:v>
                </c:pt>
                <c:pt idx="240">
                  <c:v>100</c:v>
                </c:pt>
                <c:pt idx="241">
                  <c:v>100</c:v>
                </c:pt>
                <c:pt idx="242">
                  <c:v>10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pt idx="521">
                  <c:v>0</c:v>
                </c:pt>
                <c:pt idx="522">
                  <c:v>0</c:v>
                </c:pt>
                <c:pt idx="523">
                  <c:v>0</c:v>
                </c:pt>
                <c:pt idx="524">
                  <c:v>0</c:v>
                </c:pt>
                <c:pt idx="525">
                  <c:v>0</c:v>
                </c:pt>
                <c:pt idx="526">
                  <c:v>0</c:v>
                </c:pt>
                <c:pt idx="527">
                  <c:v>0</c:v>
                </c:pt>
                <c:pt idx="528">
                  <c:v>0</c:v>
                </c:pt>
                <c:pt idx="529">
                  <c:v>0</c:v>
                </c:pt>
                <c:pt idx="530">
                  <c:v>0</c:v>
                </c:pt>
                <c:pt idx="531">
                  <c:v>0</c:v>
                </c:pt>
                <c:pt idx="532">
                  <c:v>0</c:v>
                </c:pt>
                <c:pt idx="533">
                  <c:v>0</c:v>
                </c:pt>
                <c:pt idx="534">
                  <c:v>0</c:v>
                </c:pt>
                <c:pt idx="535">
                  <c:v>0</c:v>
                </c:pt>
                <c:pt idx="536">
                  <c:v>0</c:v>
                </c:pt>
                <c:pt idx="537">
                  <c:v>0</c:v>
                </c:pt>
                <c:pt idx="538">
                  <c:v>0</c:v>
                </c:pt>
                <c:pt idx="539">
                  <c:v>0</c:v>
                </c:pt>
                <c:pt idx="540">
                  <c:v>0</c:v>
                </c:pt>
                <c:pt idx="541">
                  <c:v>0</c:v>
                </c:pt>
                <c:pt idx="542">
                  <c:v>0</c:v>
                </c:pt>
                <c:pt idx="543">
                  <c:v>0</c:v>
                </c:pt>
                <c:pt idx="544">
                  <c:v>0</c:v>
                </c:pt>
                <c:pt idx="545">
                  <c:v>0</c:v>
                </c:pt>
                <c:pt idx="546">
                  <c:v>0</c:v>
                </c:pt>
                <c:pt idx="547">
                  <c:v>0</c:v>
                </c:pt>
                <c:pt idx="548">
                  <c:v>0</c:v>
                </c:pt>
                <c:pt idx="549">
                  <c:v>0</c:v>
                </c:pt>
                <c:pt idx="550">
                  <c:v>0</c:v>
                </c:pt>
                <c:pt idx="551">
                  <c:v>0</c:v>
                </c:pt>
                <c:pt idx="552">
                  <c:v>0</c:v>
                </c:pt>
                <c:pt idx="553">
                  <c:v>0</c:v>
                </c:pt>
                <c:pt idx="554">
                  <c:v>0</c:v>
                </c:pt>
                <c:pt idx="555">
                  <c:v>0</c:v>
                </c:pt>
                <c:pt idx="556">
                  <c:v>0</c:v>
                </c:pt>
                <c:pt idx="557">
                  <c:v>0</c:v>
                </c:pt>
                <c:pt idx="558">
                  <c:v>0</c:v>
                </c:pt>
                <c:pt idx="559">
                  <c:v>0</c:v>
                </c:pt>
                <c:pt idx="560">
                  <c:v>0</c:v>
                </c:pt>
                <c:pt idx="561">
                  <c:v>0</c:v>
                </c:pt>
                <c:pt idx="562">
                  <c:v>0</c:v>
                </c:pt>
                <c:pt idx="563">
                  <c:v>0</c:v>
                </c:pt>
                <c:pt idx="564">
                  <c:v>0</c:v>
                </c:pt>
                <c:pt idx="565">
                  <c:v>0</c:v>
                </c:pt>
                <c:pt idx="566">
                  <c:v>0</c:v>
                </c:pt>
                <c:pt idx="567">
                  <c:v>0</c:v>
                </c:pt>
                <c:pt idx="568">
                  <c:v>0</c:v>
                </c:pt>
                <c:pt idx="569">
                  <c:v>0</c:v>
                </c:pt>
                <c:pt idx="570">
                  <c:v>0</c:v>
                </c:pt>
                <c:pt idx="571">
                  <c:v>0</c:v>
                </c:pt>
                <c:pt idx="572">
                  <c:v>0</c:v>
                </c:pt>
                <c:pt idx="573">
                  <c:v>0</c:v>
                </c:pt>
                <c:pt idx="574">
                  <c:v>0</c:v>
                </c:pt>
                <c:pt idx="575">
                  <c:v>0</c:v>
                </c:pt>
                <c:pt idx="576">
                  <c:v>0</c:v>
                </c:pt>
                <c:pt idx="577">
                  <c:v>0</c:v>
                </c:pt>
                <c:pt idx="578">
                  <c:v>100</c:v>
                </c:pt>
                <c:pt idx="579">
                  <c:v>100</c:v>
                </c:pt>
                <c:pt idx="580">
                  <c:v>100</c:v>
                </c:pt>
                <c:pt idx="581">
                  <c:v>100</c:v>
                </c:pt>
                <c:pt idx="582">
                  <c:v>100</c:v>
                </c:pt>
                <c:pt idx="583">
                  <c:v>100</c:v>
                </c:pt>
                <c:pt idx="584">
                  <c:v>100</c:v>
                </c:pt>
                <c:pt idx="585">
                  <c:v>100</c:v>
                </c:pt>
                <c:pt idx="586">
                  <c:v>100</c:v>
                </c:pt>
                <c:pt idx="587">
                  <c:v>100</c:v>
                </c:pt>
                <c:pt idx="588">
                  <c:v>100</c:v>
                </c:pt>
                <c:pt idx="589">
                  <c:v>100</c:v>
                </c:pt>
                <c:pt idx="590">
                  <c:v>100</c:v>
                </c:pt>
                <c:pt idx="591">
                  <c:v>100</c:v>
                </c:pt>
                <c:pt idx="592">
                  <c:v>100</c:v>
                </c:pt>
                <c:pt idx="593">
                  <c:v>100</c:v>
                </c:pt>
                <c:pt idx="594">
                  <c:v>100</c:v>
                </c:pt>
                <c:pt idx="595">
                  <c:v>100</c:v>
                </c:pt>
                <c:pt idx="596">
                  <c:v>100</c:v>
                </c:pt>
                <c:pt idx="597">
                  <c:v>100</c:v>
                </c:pt>
                <c:pt idx="598">
                  <c:v>100</c:v>
                </c:pt>
                <c:pt idx="599">
                  <c:v>100</c:v>
                </c:pt>
                <c:pt idx="600">
                  <c:v>100</c:v>
                </c:pt>
                <c:pt idx="601">
                  <c:v>100</c:v>
                </c:pt>
                <c:pt idx="602">
                  <c:v>100</c:v>
                </c:pt>
                <c:pt idx="603">
                  <c:v>100</c:v>
                </c:pt>
                <c:pt idx="604">
                  <c:v>100</c:v>
                </c:pt>
                <c:pt idx="605">
                  <c:v>100</c:v>
                </c:pt>
                <c:pt idx="606">
                  <c:v>100</c:v>
                </c:pt>
                <c:pt idx="607">
                  <c:v>100</c:v>
                </c:pt>
                <c:pt idx="608">
                  <c:v>100</c:v>
                </c:pt>
              </c:numCache>
            </c:numRef>
          </c:val>
          <c:extLst>
            <c:ext xmlns:c16="http://schemas.microsoft.com/office/drawing/2014/chart" uri="{C3380CC4-5D6E-409C-BE32-E72D297353CC}">
              <c16:uniqueId val="{00000001-15FB-46D0-B6A2-6CADDF38FABE}"/>
            </c:ext>
          </c:extLst>
        </c:ser>
        <c:dLbls>
          <c:showLegendKey val="0"/>
          <c:showVal val="0"/>
          <c:showCatName val="0"/>
          <c:showSerName val="0"/>
          <c:showPercent val="0"/>
          <c:showBubbleSize val="0"/>
        </c:dLbls>
        <c:gapWidth val="0"/>
        <c:axId val="1515278255"/>
        <c:axId val="1515275375"/>
      </c:barChart>
      <c:dateAx>
        <c:axId val="2003598223"/>
        <c:scaling>
          <c:orientation val="minMax"/>
        </c:scaling>
        <c:delete val="0"/>
        <c:axPos val="b"/>
        <c:numFmt formatCode="mmm\-yyyy"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solidFill>
                <a:latin typeface="Manrope" pitchFamily="2" charset="0"/>
                <a:ea typeface="+mn-ea"/>
                <a:cs typeface="+mn-cs"/>
              </a:defRPr>
            </a:pPr>
            <a:endParaRPr lang="en-US"/>
          </a:p>
        </c:txPr>
        <c:crossAx val="2003598703"/>
        <c:crosses val="autoZero"/>
        <c:auto val="1"/>
        <c:lblOffset val="100"/>
        <c:baseTimeUnit val="days"/>
        <c:majorUnit val="3"/>
        <c:majorTimeUnit val="months"/>
      </c:dateAx>
      <c:valAx>
        <c:axId val="2003598703"/>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1" i="0" u="none" strike="noStrike" kern="1200" baseline="0">
                    <a:solidFill>
                      <a:schemeClr val="tx1"/>
                    </a:solidFill>
                    <a:latin typeface="Manrope" pitchFamily="2" charset="0"/>
                    <a:ea typeface="+mn-ea"/>
                    <a:cs typeface="+mn-cs"/>
                  </a:defRPr>
                </a:pPr>
                <a:r>
                  <a:rPr lang="en-US"/>
                  <a:t>Count of Scarcity Events (5-min Intervals per Day)</a:t>
                </a:r>
              </a:p>
            </c:rich>
          </c:tx>
          <c:overlay val="0"/>
          <c:spPr>
            <a:noFill/>
            <a:ln>
              <a:noFill/>
            </a:ln>
            <a:effectLst/>
          </c:spPr>
          <c:txPr>
            <a:bodyPr rot="-5400000" spcFirstLastPara="1" vertOverflow="ellipsis" vert="horz" wrap="square" anchor="ctr" anchorCtr="1"/>
            <a:lstStyle/>
            <a:p>
              <a:pPr>
                <a:defRPr sz="1000" b="1" i="0" u="none" strike="noStrike" kern="1200" baseline="0">
                  <a:solidFill>
                    <a:schemeClr val="tx1"/>
                  </a:solidFill>
                  <a:latin typeface="Manrope" pitchFamily="2" charset="0"/>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solidFill>
                <a:latin typeface="Manrope" pitchFamily="2" charset="0"/>
                <a:ea typeface="+mn-ea"/>
                <a:cs typeface="+mn-cs"/>
              </a:defRPr>
            </a:pPr>
            <a:endParaRPr lang="en-US"/>
          </a:p>
        </c:txPr>
        <c:crossAx val="2003598223"/>
        <c:crosses val="autoZero"/>
        <c:crossBetween val="between"/>
      </c:valAx>
      <c:valAx>
        <c:axId val="1515275375"/>
        <c:scaling>
          <c:orientation val="minMax"/>
          <c:max val="100"/>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bg1"/>
                </a:solidFill>
                <a:latin typeface="Manrope" pitchFamily="2" charset="0"/>
                <a:ea typeface="+mn-ea"/>
                <a:cs typeface="+mn-cs"/>
              </a:defRPr>
            </a:pPr>
            <a:endParaRPr lang="en-US"/>
          </a:p>
        </c:txPr>
        <c:crossAx val="1515278255"/>
        <c:crosses val="max"/>
        <c:crossBetween val="between"/>
      </c:valAx>
      <c:catAx>
        <c:axId val="1515278255"/>
        <c:scaling>
          <c:orientation val="minMax"/>
        </c:scaling>
        <c:delete val="1"/>
        <c:axPos val="b"/>
        <c:majorTickMark val="out"/>
        <c:minorTickMark val="none"/>
        <c:tickLblPos val="nextTo"/>
        <c:crossAx val="1515275375"/>
        <c:crosses val="autoZero"/>
        <c:auto val="1"/>
        <c:lblAlgn val="ctr"/>
        <c:lblOffset val="100"/>
        <c:tickLblSkip val="1"/>
        <c:tickMarkSkip val="1"/>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solidFill>
            <a:schemeClr val="tx1"/>
          </a:solidFill>
          <a:latin typeface="Manrope" pitchFamily="2" charset="0"/>
        </a:defRPr>
      </a:pPr>
      <a:endParaRPr lang="en-US"/>
    </a:p>
  </c:txPr>
  <c:externalData r:id="rId3">
    <c:autoUpdate val="0"/>
  </c:externalData>
  <c:userShapes r:id="rId4"/>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solidFill>
                <a:latin typeface="Manrope" pitchFamily="2" charset="0"/>
                <a:ea typeface="+mn-ea"/>
                <a:cs typeface="+mn-cs"/>
              </a:defRPr>
            </a:pPr>
            <a:r>
              <a:rPr lang="en-US" dirty="0"/>
              <a:t>Demand</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Manrope" pitchFamily="2" charset="0"/>
              <a:ea typeface="+mn-ea"/>
              <a:cs typeface="+mn-cs"/>
            </a:defRPr>
          </a:pPr>
          <a:endParaRPr lang="en-US"/>
        </a:p>
      </c:txPr>
    </c:title>
    <c:autoTitleDeleted val="0"/>
    <c:plotArea>
      <c:layout/>
      <c:lineChart>
        <c:grouping val="standard"/>
        <c:varyColors val="0"/>
        <c:ser>
          <c:idx val="1"/>
          <c:order val="0"/>
          <c:tx>
            <c:strRef>
              <c:f>'[2024.09.18 - ERCOT 2024 Low Prices Analysis.xlsx]Analysis S&amp;D'!$B$31</c:f>
              <c:strCache>
                <c:ptCount val="1"/>
                <c:pt idx="0">
                  <c:v>2024_TYPICAL_LOAD</c:v>
                </c:pt>
              </c:strCache>
            </c:strRef>
          </c:tx>
          <c:spPr>
            <a:ln w="28575" cap="rnd">
              <a:solidFill>
                <a:schemeClr val="tx1"/>
              </a:solidFill>
              <a:round/>
            </a:ln>
            <a:effectLst/>
          </c:spPr>
          <c:marker>
            <c:symbol val="none"/>
          </c:marker>
          <c:val>
            <c:numRef>
              <c:f>'[2024.09.18 - ERCOT 2024 Low Prices Analysis.xlsx]Analysis S&amp;D'!$B$32:$B$55</c:f>
              <c:numCache>
                <c:formatCode>General</c:formatCode>
                <c:ptCount val="24"/>
                <c:pt idx="0">
                  <c:v>60.091381720430043</c:v>
                </c:pt>
                <c:pt idx="1">
                  <c:v>57.336658602150486</c:v>
                </c:pt>
                <c:pt idx="2">
                  <c:v>55.213024193548335</c:v>
                </c:pt>
                <c:pt idx="3">
                  <c:v>53.74931451612899</c:v>
                </c:pt>
                <c:pt idx="4">
                  <c:v>52.97862096774189</c:v>
                </c:pt>
                <c:pt idx="5">
                  <c:v>53.249758064516101</c:v>
                </c:pt>
                <c:pt idx="6">
                  <c:v>54.149973118279512</c:v>
                </c:pt>
                <c:pt idx="7">
                  <c:v>54.625575268817151</c:v>
                </c:pt>
                <c:pt idx="8">
                  <c:v>57.953349462365523</c:v>
                </c:pt>
                <c:pt idx="9">
                  <c:v>61.773037634408553</c:v>
                </c:pt>
                <c:pt idx="10">
                  <c:v>65.625731182795619</c:v>
                </c:pt>
                <c:pt idx="11">
                  <c:v>69.708403225806407</c:v>
                </c:pt>
                <c:pt idx="12">
                  <c:v>73.535680107526844</c:v>
                </c:pt>
                <c:pt idx="13">
                  <c:v>76.760712365591345</c:v>
                </c:pt>
                <c:pt idx="14">
                  <c:v>78.823454301075216</c:v>
                </c:pt>
                <c:pt idx="15">
                  <c:v>79.92086021505375</c:v>
                </c:pt>
                <c:pt idx="16">
                  <c:v>80.495607526881699</c:v>
                </c:pt>
                <c:pt idx="17">
                  <c:v>80.319317204301029</c:v>
                </c:pt>
                <c:pt idx="18">
                  <c:v>79.058801075268789</c:v>
                </c:pt>
                <c:pt idx="19">
                  <c:v>76.342540322580589</c:v>
                </c:pt>
                <c:pt idx="20">
                  <c:v>73.750013440860158</c:v>
                </c:pt>
                <c:pt idx="21">
                  <c:v>71.200857526881677</c:v>
                </c:pt>
                <c:pt idx="22">
                  <c:v>67.428900537634362</c:v>
                </c:pt>
                <c:pt idx="23">
                  <c:v>63.461233870967668</c:v>
                </c:pt>
              </c:numCache>
            </c:numRef>
          </c:val>
          <c:smooth val="0"/>
          <c:extLst>
            <c:ext xmlns:c16="http://schemas.microsoft.com/office/drawing/2014/chart" uri="{C3380CC4-5D6E-409C-BE32-E72D297353CC}">
              <c16:uniqueId val="{00000000-703D-44FE-8654-A4F28D09FFF0}"/>
            </c:ext>
          </c:extLst>
        </c:ser>
        <c:ser>
          <c:idx val="2"/>
          <c:order val="1"/>
          <c:tx>
            <c:strRef>
              <c:f>'[2024.09.18 - ERCOT 2024 Low Prices Analysis.xlsx]Analysis S&amp;D'!$C$31</c:f>
              <c:strCache>
                <c:ptCount val="1"/>
                <c:pt idx="0">
                  <c:v>2024_TYPICAL_NET_LOAD</c:v>
                </c:pt>
              </c:strCache>
            </c:strRef>
          </c:tx>
          <c:spPr>
            <a:ln w="28575" cap="rnd">
              <a:solidFill>
                <a:schemeClr val="bg1">
                  <a:lumMod val="50000"/>
                </a:schemeClr>
              </a:solidFill>
              <a:round/>
            </a:ln>
            <a:effectLst/>
          </c:spPr>
          <c:marker>
            <c:symbol val="none"/>
          </c:marker>
          <c:val>
            <c:numRef>
              <c:f>'[2024.09.18 - ERCOT 2024 Low Prices Analysis.xlsx]Analysis S&amp;D'!$C$32:$C$55</c:f>
              <c:numCache>
                <c:formatCode>General</c:formatCode>
                <c:ptCount val="24"/>
                <c:pt idx="0">
                  <c:v>43.974030376343563</c:v>
                </c:pt>
                <c:pt idx="1">
                  <c:v>42.012189516129354</c:v>
                </c:pt>
                <c:pt idx="2">
                  <c:v>40.81195752688258</c:v>
                </c:pt>
                <c:pt idx="3">
                  <c:v>40.410563978494842</c:v>
                </c:pt>
                <c:pt idx="4">
                  <c:v>40.723631182794847</c:v>
                </c:pt>
                <c:pt idx="5">
                  <c:v>42.102415053763551</c:v>
                </c:pt>
                <c:pt idx="6">
                  <c:v>43.969745698924513</c:v>
                </c:pt>
                <c:pt idx="7">
                  <c:v>43.690275806450657</c:v>
                </c:pt>
                <c:pt idx="8">
                  <c:v>40.337992473117744</c:v>
                </c:pt>
                <c:pt idx="9">
                  <c:v>38.905547043010642</c:v>
                </c:pt>
                <c:pt idx="10">
                  <c:v>41.648893279570324</c:v>
                </c:pt>
                <c:pt idx="11">
                  <c:v>46.032280913978369</c:v>
                </c:pt>
                <c:pt idx="12">
                  <c:v>49.955666397850003</c:v>
                </c:pt>
                <c:pt idx="13">
                  <c:v>52.954634139784524</c:v>
                </c:pt>
                <c:pt idx="14">
                  <c:v>54.590092204301612</c:v>
                </c:pt>
                <c:pt idx="15">
                  <c:v>55.54852983870903</c:v>
                </c:pt>
                <c:pt idx="16">
                  <c:v>56.006517204300948</c:v>
                </c:pt>
                <c:pt idx="17">
                  <c:v>56.290589247311274</c:v>
                </c:pt>
                <c:pt idx="18">
                  <c:v>57.625592741934206</c:v>
                </c:pt>
                <c:pt idx="19">
                  <c:v>61.459022043010002</c:v>
                </c:pt>
                <c:pt idx="20">
                  <c:v>61.4851801075271</c:v>
                </c:pt>
                <c:pt idx="21">
                  <c:v>57.382034139784857</c:v>
                </c:pt>
                <c:pt idx="22">
                  <c:v>52.153950268816779</c:v>
                </c:pt>
                <c:pt idx="23">
                  <c:v>47.803069623655816</c:v>
                </c:pt>
              </c:numCache>
            </c:numRef>
          </c:val>
          <c:smooth val="0"/>
          <c:extLst>
            <c:ext xmlns:c16="http://schemas.microsoft.com/office/drawing/2014/chart" uri="{C3380CC4-5D6E-409C-BE32-E72D297353CC}">
              <c16:uniqueId val="{00000001-703D-44FE-8654-A4F28D09FFF0}"/>
            </c:ext>
          </c:extLst>
        </c:ser>
        <c:ser>
          <c:idx val="3"/>
          <c:order val="2"/>
          <c:tx>
            <c:strRef>
              <c:f>'[2024.09.18 - ERCOT 2024 Low Prices Analysis.xlsx]Analysis S&amp;D'!$D$31</c:f>
              <c:strCache>
                <c:ptCount val="1"/>
                <c:pt idx="0">
                  <c:v>2024_TYPICAL_SOLAR</c:v>
                </c:pt>
              </c:strCache>
            </c:strRef>
          </c:tx>
          <c:spPr>
            <a:ln w="28575" cap="rnd">
              <a:solidFill>
                <a:srgbClr val="FFC000"/>
              </a:solidFill>
              <a:round/>
            </a:ln>
            <a:effectLst/>
          </c:spPr>
          <c:marker>
            <c:symbol val="none"/>
          </c:marker>
          <c:val>
            <c:numRef>
              <c:f>'[2024.09.18 - ERCOT 2024 Low Prices Analysis.xlsx]Analysis S&amp;D'!$D$32:$D$55</c:f>
              <c:numCache>
                <c:formatCode>General</c:formatCode>
                <c:ptCount val="24"/>
                <c:pt idx="0">
                  <c:v>5.5107526870967728E-4</c:v>
                </c:pt>
                <c:pt idx="1">
                  <c:v>3.6586021483870967E-4</c:v>
                </c:pt>
                <c:pt idx="2">
                  <c:v>3.6155914E-4</c:v>
                </c:pt>
                <c:pt idx="3">
                  <c:v>3.3521505322580645E-4</c:v>
                </c:pt>
                <c:pt idx="4">
                  <c:v>3.2526881741935489E-4</c:v>
                </c:pt>
                <c:pt idx="5">
                  <c:v>3.3494623548387093E-4</c:v>
                </c:pt>
                <c:pt idx="6">
                  <c:v>6.370967741612903E-3</c:v>
                </c:pt>
                <c:pt idx="7">
                  <c:v>1.8844303763435479</c:v>
                </c:pt>
                <c:pt idx="8">
                  <c:v>10.423387096773871</c:v>
                </c:pt>
                <c:pt idx="9">
                  <c:v>16.161288709677741</c:v>
                </c:pt>
                <c:pt idx="10">
                  <c:v>17.890686290322904</c:v>
                </c:pt>
                <c:pt idx="11">
                  <c:v>18.539530913978709</c:v>
                </c:pt>
                <c:pt idx="12">
                  <c:v>18.784636290322577</c:v>
                </c:pt>
                <c:pt idx="13">
                  <c:v>18.722096236559352</c:v>
                </c:pt>
                <c:pt idx="14">
                  <c:v>18.468572580644512</c:v>
                </c:pt>
                <c:pt idx="15">
                  <c:v>17.959348924730318</c:v>
                </c:pt>
                <c:pt idx="16">
                  <c:v>17.032434139784844</c:v>
                </c:pt>
                <c:pt idx="17">
                  <c:v>15.386048655914193</c:v>
                </c:pt>
                <c:pt idx="18">
                  <c:v>11.475961290322907</c:v>
                </c:pt>
                <c:pt idx="19">
                  <c:v>3.6427610215054829</c:v>
                </c:pt>
                <c:pt idx="20">
                  <c:v>0.11785887096741936</c:v>
                </c:pt>
                <c:pt idx="21">
                  <c:v>3.9139784870967749E-4</c:v>
                </c:pt>
                <c:pt idx="22">
                  <c:v>2.9220430064516134E-4</c:v>
                </c:pt>
                <c:pt idx="23">
                  <c:v>3.2876344096774196E-4</c:v>
                </c:pt>
              </c:numCache>
            </c:numRef>
          </c:val>
          <c:smooth val="0"/>
          <c:extLst>
            <c:ext xmlns:c16="http://schemas.microsoft.com/office/drawing/2014/chart" uri="{C3380CC4-5D6E-409C-BE32-E72D297353CC}">
              <c16:uniqueId val="{00000002-703D-44FE-8654-A4F28D09FFF0}"/>
            </c:ext>
          </c:extLst>
        </c:ser>
        <c:ser>
          <c:idx val="6"/>
          <c:order val="3"/>
          <c:tx>
            <c:strRef>
              <c:f>'[2024.09.18 - ERCOT 2024 Low Prices Analysis.xlsx]Analysis S&amp;D'!$F$31</c:f>
              <c:strCache>
                <c:ptCount val="1"/>
                <c:pt idx="0">
                  <c:v>2023_TYPICAL_LOAD</c:v>
                </c:pt>
              </c:strCache>
            </c:strRef>
          </c:tx>
          <c:spPr>
            <a:ln w="28575" cap="rnd">
              <a:solidFill>
                <a:schemeClr val="tx1"/>
              </a:solidFill>
              <a:prstDash val="sysDot"/>
              <a:round/>
            </a:ln>
            <a:effectLst/>
          </c:spPr>
          <c:marker>
            <c:symbol val="none"/>
          </c:marker>
          <c:val>
            <c:numRef>
              <c:f>'[2024.09.18 - ERCOT 2024 Low Prices Analysis.xlsx]Analysis S&amp;D'!$F$32:$F$55</c:f>
              <c:numCache>
                <c:formatCode>General</c:formatCode>
                <c:ptCount val="24"/>
                <c:pt idx="0">
                  <c:v>61.433830645161244</c:v>
                </c:pt>
                <c:pt idx="1">
                  <c:v>58.514400537634351</c:v>
                </c:pt>
                <c:pt idx="2">
                  <c:v>56.261564516128992</c:v>
                </c:pt>
                <c:pt idx="3">
                  <c:v>54.679344086021452</c:v>
                </c:pt>
                <c:pt idx="4">
                  <c:v>53.909534946236498</c:v>
                </c:pt>
                <c:pt idx="5">
                  <c:v>54.084086021505335</c:v>
                </c:pt>
                <c:pt idx="6">
                  <c:v>54.798930107526836</c:v>
                </c:pt>
                <c:pt idx="7">
                  <c:v>55.024626344085959</c:v>
                </c:pt>
                <c:pt idx="8">
                  <c:v>57.639293010752617</c:v>
                </c:pt>
                <c:pt idx="9">
                  <c:v>61.631755376344039</c:v>
                </c:pt>
                <c:pt idx="10">
                  <c:v>66.159346774193494</c:v>
                </c:pt>
                <c:pt idx="11">
                  <c:v>70.79058602150532</c:v>
                </c:pt>
                <c:pt idx="12">
                  <c:v>75.050497311827897</c:v>
                </c:pt>
                <c:pt idx="13">
                  <c:v>78.562997311827885</c:v>
                </c:pt>
                <c:pt idx="14">
                  <c:v>80.833327956989194</c:v>
                </c:pt>
                <c:pt idx="15">
                  <c:v>82.01158479960894</c:v>
                </c:pt>
                <c:pt idx="16">
                  <c:v>82.592986559139746</c:v>
                </c:pt>
                <c:pt idx="17">
                  <c:v>82.377600684261921</c:v>
                </c:pt>
                <c:pt idx="18">
                  <c:v>80.964943548387041</c:v>
                </c:pt>
                <c:pt idx="19">
                  <c:v>77.963306451612837</c:v>
                </c:pt>
                <c:pt idx="20">
                  <c:v>75.323147849462316</c:v>
                </c:pt>
                <c:pt idx="21">
                  <c:v>72.847279569892407</c:v>
                </c:pt>
                <c:pt idx="22">
                  <c:v>68.951413978494571</c:v>
                </c:pt>
                <c:pt idx="23">
                  <c:v>64.873475806451552</c:v>
                </c:pt>
              </c:numCache>
            </c:numRef>
          </c:val>
          <c:smooth val="0"/>
          <c:extLst>
            <c:ext xmlns:c16="http://schemas.microsoft.com/office/drawing/2014/chart" uri="{C3380CC4-5D6E-409C-BE32-E72D297353CC}">
              <c16:uniqueId val="{00000003-703D-44FE-8654-A4F28D09FFF0}"/>
            </c:ext>
          </c:extLst>
        </c:ser>
        <c:ser>
          <c:idx val="7"/>
          <c:order val="4"/>
          <c:tx>
            <c:strRef>
              <c:f>'[2024.09.18 - ERCOT 2024 Low Prices Analysis.xlsx]Analysis S&amp;D'!$G$31</c:f>
              <c:strCache>
                <c:ptCount val="1"/>
                <c:pt idx="0">
                  <c:v>2023_TYPICAL_NET_LOAD</c:v>
                </c:pt>
              </c:strCache>
            </c:strRef>
          </c:tx>
          <c:spPr>
            <a:ln w="28575" cap="rnd">
              <a:solidFill>
                <a:schemeClr val="bg1">
                  <a:lumMod val="50000"/>
                </a:schemeClr>
              </a:solidFill>
              <a:prstDash val="sysDot"/>
              <a:round/>
            </a:ln>
            <a:effectLst/>
          </c:spPr>
          <c:marker>
            <c:symbol val="none"/>
          </c:marker>
          <c:val>
            <c:numRef>
              <c:f>'[2024.09.18 - ERCOT 2024 Low Prices Analysis.xlsx]Analysis S&amp;D'!$G$32:$G$55</c:f>
              <c:numCache>
                <c:formatCode>General</c:formatCode>
                <c:ptCount val="24"/>
                <c:pt idx="0">
                  <c:v>46.446535215053856</c:v>
                </c:pt>
                <c:pt idx="1">
                  <c:v>43.946322580645806</c:v>
                </c:pt>
                <c:pt idx="2">
                  <c:v>42.382306720430314</c:v>
                </c:pt>
                <c:pt idx="3">
                  <c:v>41.518417204301294</c:v>
                </c:pt>
                <c:pt idx="4">
                  <c:v>41.624051344085807</c:v>
                </c:pt>
                <c:pt idx="5">
                  <c:v>42.640350537634191</c:v>
                </c:pt>
                <c:pt idx="6">
                  <c:v>44.047232258065499</c:v>
                </c:pt>
                <c:pt idx="7">
                  <c:v>43.93367526881741</c:v>
                </c:pt>
                <c:pt idx="8">
                  <c:v>42.512888709676773</c:v>
                </c:pt>
                <c:pt idx="9">
                  <c:v>42.263550806451931</c:v>
                </c:pt>
                <c:pt idx="10">
                  <c:v>45.488509946236142</c:v>
                </c:pt>
                <c:pt idx="11">
                  <c:v>50.314806451612256</c:v>
                </c:pt>
                <c:pt idx="12">
                  <c:v>55.074567204300962</c:v>
                </c:pt>
                <c:pt idx="13">
                  <c:v>58.966594623656121</c:v>
                </c:pt>
                <c:pt idx="14">
                  <c:v>61.293901075269048</c:v>
                </c:pt>
                <c:pt idx="15">
                  <c:v>62.218593621701302</c:v>
                </c:pt>
                <c:pt idx="16">
                  <c:v>62.534638978494193</c:v>
                </c:pt>
                <c:pt idx="17">
                  <c:v>62.511709848484848</c:v>
                </c:pt>
                <c:pt idx="18">
                  <c:v>62.765866397849685</c:v>
                </c:pt>
                <c:pt idx="19">
                  <c:v>64.361030376344189</c:v>
                </c:pt>
                <c:pt idx="20">
                  <c:v>64.388325268816459</c:v>
                </c:pt>
                <c:pt idx="21">
                  <c:v>60.664045430107741</c:v>
                </c:pt>
                <c:pt idx="22">
                  <c:v>55.346550537634187</c:v>
                </c:pt>
                <c:pt idx="23">
                  <c:v>50.272606989246768</c:v>
                </c:pt>
              </c:numCache>
            </c:numRef>
          </c:val>
          <c:smooth val="0"/>
          <c:extLst>
            <c:ext xmlns:c16="http://schemas.microsoft.com/office/drawing/2014/chart" uri="{C3380CC4-5D6E-409C-BE32-E72D297353CC}">
              <c16:uniqueId val="{00000004-703D-44FE-8654-A4F28D09FFF0}"/>
            </c:ext>
          </c:extLst>
        </c:ser>
        <c:ser>
          <c:idx val="8"/>
          <c:order val="5"/>
          <c:tx>
            <c:strRef>
              <c:f>'[2024.09.18 - ERCOT 2024 Low Prices Analysis.xlsx]Analysis S&amp;D'!$H$31</c:f>
              <c:strCache>
                <c:ptCount val="1"/>
                <c:pt idx="0">
                  <c:v>2023_TYPICAL_SOLAR</c:v>
                </c:pt>
              </c:strCache>
            </c:strRef>
          </c:tx>
          <c:spPr>
            <a:ln w="28575" cap="rnd">
              <a:solidFill>
                <a:srgbClr val="FFC000"/>
              </a:solidFill>
              <a:prstDash val="sysDot"/>
              <a:round/>
            </a:ln>
            <a:effectLst/>
          </c:spPr>
          <c:marker>
            <c:symbol val="none"/>
          </c:marker>
          <c:val>
            <c:numRef>
              <c:f>'[2024.09.18 - ERCOT 2024 Low Prices Analysis.xlsx]Analysis S&amp;D'!$H$32:$H$55</c:f>
              <c:numCache>
                <c:formatCode>General</c:formatCode>
                <c:ptCount val="24"/>
                <c:pt idx="0">
                  <c:v>3.2231182741935475E-4</c:v>
                </c:pt>
                <c:pt idx="1">
                  <c:v>3.29301075483871E-4</c:v>
                </c:pt>
                <c:pt idx="2">
                  <c:v>3.3387096903225803E-4</c:v>
                </c:pt>
                <c:pt idx="3">
                  <c:v>3.3682795709677422E-4</c:v>
                </c:pt>
                <c:pt idx="4">
                  <c:v>3.3467742000000008E-4</c:v>
                </c:pt>
                <c:pt idx="5">
                  <c:v>3.3763440838709678E-4</c:v>
                </c:pt>
                <c:pt idx="6">
                  <c:v>9.8010752677419352E-4</c:v>
                </c:pt>
                <c:pt idx="7">
                  <c:v>0.92584112903290339</c:v>
                </c:pt>
                <c:pt idx="8">
                  <c:v>6.3360034946232267</c:v>
                </c:pt>
                <c:pt idx="9">
                  <c:v>10.457225537634843</c:v>
                </c:pt>
                <c:pt idx="10">
                  <c:v>11.918280913978066</c:v>
                </c:pt>
                <c:pt idx="11">
                  <c:v>12.55115564516097</c:v>
                </c:pt>
                <c:pt idx="12">
                  <c:v>12.684422043011613</c:v>
                </c:pt>
                <c:pt idx="13">
                  <c:v>12.555522311828065</c:v>
                </c:pt>
                <c:pt idx="14">
                  <c:v>12.314875268818067</c:v>
                </c:pt>
                <c:pt idx="15">
                  <c:v>11.981232795699032</c:v>
                </c:pt>
                <c:pt idx="16">
                  <c:v>11.500740994622907</c:v>
                </c:pt>
                <c:pt idx="17">
                  <c:v>10.587587768816773</c:v>
                </c:pt>
                <c:pt idx="18">
                  <c:v>8.228687365590643</c:v>
                </c:pt>
                <c:pt idx="19">
                  <c:v>3.0844303763438705</c:v>
                </c:pt>
                <c:pt idx="20">
                  <c:v>0.14352688172032255</c:v>
                </c:pt>
                <c:pt idx="21">
                  <c:v>3.5161290322580632E-3</c:v>
                </c:pt>
                <c:pt idx="22">
                  <c:v>6.5430107419354837E-4</c:v>
                </c:pt>
                <c:pt idx="23">
                  <c:v>3.1290322612903228E-4</c:v>
                </c:pt>
              </c:numCache>
            </c:numRef>
          </c:val>
          <c:smooth val="0"/>
          <c:extLst>
            <c:ext xmlns:c16="http://schemas.microsoft.com/office/drawing/2014/chart" uri="{C3380CC4-5D6E-409C-BE32-E72D297353CC}">
              <c16:uniqueId val="{00000005-703D-44FE-8654-A4F28D09FFF0}"/>
            </c:ext>
          </c:extLst>
        </c:ser>
        <c:dLbls>
          <c:showLegendKey val="0"/>
          <c:showVal val="0"/>
          <c:showCatName val="0"/>
          <c:showSerName val="0"/>
          <c:showPercent val="0"/>
          <c:showBubbleSize val="0"/>
        </c:dLbls>
        <c:smooth val="0"/>
        <c:axId val="979372511"/>
        <c:axId val="979356671"/>
      </c:lineChart>
      <c:catAx>
        <c:axId val="979372511"/>
        <c:scaling>
          <c:orientation val="minMax"/>
        </c:scaling>
        <c:delete val="0"/>
        <c:axPos val="b"/>
        <c:title>
          <c:tx>
            <c:rich>
              <a:bodyPr rot="0" spcFirstLastPara="1" vertOverflow="ellipsis" vert="horz" wrap="square" anchor="ctr" anchorCtr="1"/>
              <a:lstStyle/>
              <a:p>
                <a:pPr>
                  <a:defRPr sz="1000" b="1" i="0" u="none" strike="noStrike" kern="1200" baseline="0">
                    <a:solidFill>
                      <a:schemeClr val="tx1"/>
                    </a:solidFill>
                    <a:latin typeface="Manrope" pitchFamily="2" charset="0"/>
                    <a:ea typeface="+mn-ea"/>
                    <a:cs typeface="+mn-cs"/>
                  </a:defRPr>
                </a:pPr>
                <a:r>
                  <a:rPr lang="en-US"/>
                  <a:t>Hour Ending</a:t>
                </a:r>
              </a:p>
            </c:rich>
          </c:tx>
          <c:overlay val="0"/>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Manrope" pitchFamily="2" charset="0"/>
                  <a:ea typeface="+mn-ea"/>
                  <a:cs typeface="+mn-cs"/>
                </a:defRPr>
              </a:pPr>
              <a:endParaRPr lang="en-US"/>
            </a:p>
          </c:txPr>
        </c:title>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solidFill>
                <a:latin typeface="Manrope" pitchFamily="2" charset="0"/>
                <a:ea typeface="+mn-ea"/>
                <a:cs typeface="+mn-cs"/>
              </a:defRPr>
            </a:pPr>
            <a:endParaRPr lang="en-US"/>
          </a:p>
        </c:txPr>
        <c:crossAx val="979356671"/>
        <c:crosses val="autoZero"/>
        <c:auto val="1"/>
        <c:lblAlgn val="ctr"/>
        <c:lblOffset val="100"/>
        <c:noMultiLvlLbl val="0"/>
      </c:catAx>
      <c:valAx>
        <c:axId val="979356671"/>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1" i="0" u="none" strike="noStrike" kern="1200" baseline="0">
                    <a:solidFill>
                      <a:schemeClr val="tx1"/>
                    </a:solidFill>
                    <a:latin typeface="Manrope" pitchFamily="2" charset="0"/>
                    <a:ea typeface="+mn-ea"/>
                    <a:cs typeface="+mn-cs"/>
                  </a:defRPr>
                </a:pPr>
                <a:r>
                  <a:rPr lang="en-US"/>
                  <a:t>Capacity (MW)</a:t>
                </a:r>
              </a:p>
            </c:rich>
          </c:tx>
          <c:overlay val="0"/>
          <c:spPr>
            <a:noFill/>
            <a:ln>
              <a:noFill/>
            </a:ln>
            <a:effectLst/>
          </c:spPr>
          <c:txPr>
            <a:bodyPr rot="-5400000" spcFirstLastPara="1" vertOverflow="ellipsis" vert="horz" wrap="square" anchor="ctr" anchorCtr="1"/>
            <a:lstStyle/>
            <a:p>
              <a:pPr>
                <a:defRPr sz="1000" b="1" i="0" u="none" strike="noStrike" kern="1200" baseline="0">
                  <a:solidFill>
                    <a:schemeClr val="tx1"/>
                  </a:solidFill>
                  <a:latin typeface="Manrope" pitchFamily="2" charset="0"/>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solidFill>
                <a:latin typeface="Manrope" pitchFamily="2" charset="0"/>
                <a:ea typeface="+mn-ea"/>
                <a:cs typeface="+mn-cs"/>
              </a:defRPr>
            </a:pPr>
            <a:endParaRPr lang="en-US"/>
          </a:p>
        </c:txPr>
        <c:crossAx val="97937251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solidFill>
            <a:schemeClr val="tx1"/>
          </a:solidFill>
          <a:latin typeface="Manrope" pitchFamily="2" charset="0"/>
        </a:defRPr>
      </a:pPr>
      <a:endParaRPr lang="en-US"/>
    </a:p>
  </c:txPr>
  <c:externalData r:id="rId3">
    <c:autoUpdate val="0"/>
  </c:externalData>
  <c:userShapes r:id="rId4"/>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solidFill>
                <a:latin typeface="Manrope" pitchFamily="2" charset="0"/>
                <a:ea typeface="+mn-ea"/>
                <a:cs typeface="+mn-cs"/>
              </a:defRPr>
            </a:pPr>
            <a:r>
              <a:rPr lang="en-US" dirty="0"/>
              <a:t>Storage</a:t>
            </a:r>
            <a:r>
              <a:rPr lang="en-US" baseline="0" dirty="0"/>
              <a:t> Discharge</a:t>
            </a:r>
            <a:endParaRPr lang="en-US" dirty="0"/>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Manrope" pitchFamily="2" charset="0"/>
              <a:ea typeface="+mn-ea"/>
              <a:cs typeface="+mn-cs"/>
            </a:defRPr>
          </a:pPr>
          <a:endParaRPr lang="en-US"/>
        </a:p>
      </c:txPr>
    </c:title>
    <c:autoTitleDeleted val="0"/>
    <c:plotArea>
      <c:layout/>
      <c:lineChart>
        <c:grouping val="standard"/>
        <c:varyColors val="0"/>
        <c:ser>
          <c:idx val="0"/>
          <c:order val="0"/>
          <c:tx>
            <c:strRef>
              <c:f>'[2024.09.18 - ERCOT 2024 Low Prices Analysis.xlsx]Analysis S&amp;D'!$J$31</c:f>
              <c:strCache>
                <c:ptCount val="1"/>
                <c:pt idx="0">
                  <c:v>2024_TYPICAL_STORAGE</c:v>
                </c:pt>
              </c:strCache>
            </c:strRef>
          </c:tx>
          <c:spPr>
            <a:ln w="28575" cap="rnd">
              <a:solidFill>
                <a:schemeClr val="accent3"/>
              </a:solidFill>
              <a:round/>
            </a:ln>
            <a:effectLst/>
          </c:spPr>
          <c:marker>
            <c:symbol val="none"/>
          </c:marker>
          <c:val>
            <c:numRef>
              <c:f>'[2024.09.18 - ERCOT 2024 Low Prices Analysis.xlsx]Analysis S&amp;D'!$J$32:$J$55</c:f>
              <c:numCache>
                <c:formatCode>General</c:formatCode>
                <c:ptCount val="24"/>
                <c:pt idx="0">
                  <c:v>81.98575268838708</c:v>
                </c:pt>
                <c:pt idx="1">
                  <c:v>58.972580645483873</c:v>
                </c:pt>
                <c:pt idx="2">
                  <c:v>52.846774193225812</c:v>
                </c:pt>
                <c:pt idx="3">
                  <c:v>52.537365590967738</c:v>
                </c:pt>
                <c:pt idx="4">
                  <c:v>62.147580644516133</c:v>
                </c:pt>
                <c:pt idx="5">
                  <c:v>82.485483870967727</c:v>
                </c:pt>
                <c:pt idx="6">
                  <c:v>186.30994623677415</c:v>
                </c:pt>
                <c:pt idx="7">
                  <c:v>134.13037634387095</c:v>
                </c:pt>
                <c:pt idx="8">
                  <c:v>85.172043010645154</c:v>
                </c:pt>
                <c:pt idx="9">
                  <c:v>118.42930107548385</c:v>
                </c:pt>
                <c:pt idx="10">
                  <c:v>154.52177419387098</c:v>
                </c:pt>
                <c:pt idx="11">
                  <c:v>171.15268817290325</c:v>
                </c:pt>
                <c:pt idx="12">
                  <c:v>152.91747311806458</c:v>
                </c:pt>
                <c:pt idx="13">
                  <c:v>211.13440860161288</c:v>
                </c:pt>
                <c:pt idx="14">
                  <c:v>267.28279569967737</c:v>
                </c:pt>
                <c:pt idx="15">
                  <c:v>262.14784946193549</c:v>
                </c:pt>
                <c:pt idx="16">
                  <c:v>221.21881720419356</c:v>
                </c:pt>
                <c:pt idx="17">
                  <c:v>195.24166666645158</c:v>
                </c:pt>
                <c:pt idx="18">
                  <c:v>412.1809139790322</c:v>
                </c:pt>
                <c:pt idx="19">
                  <c:v>1721.0223118270967</c:v>
                </c:pt>
                <c:pt idx="20">
                  <c:v>1562.9317204303225</c:v>
                </c:pt>
                <c:pt idx="21">
                  <c:v>567.77473118258081</c:v>
                </c:pt>
                <c:pt idx="22">
                  <c:v>180.47150537645163</c:v>
                </c:pt>
                <c:pt idx="23">
                  <c:v>114.73010752612902</c:v>
                </c:pt>
              </c:numCache>
            </c:numRef>
          </c:val>
          <c:smooth val="0"/>
          <c:extLst>
            <c:ext xmlns:c16="http://schemas.microsoft.com/office/drawing/2014/chart" uri="{C3380CC4-5D6E-409C-BE32-E72D297353CC}">
              <c16:uniqueId val="{00000000-ED1C-4BE4-B756-176FDA0B2EE5}"/>
            </c:ext>
          </c:extLst>
        </c:ser>
        <c:ser>
          <c:idx val="1"/>
          <c:order val="1"/>
          <c:tx>
            <c:strRef>
              <c:f>'[2024.09.18 - ERCOT 2024 Low Prices Analysis.xlsx]Analysis S&amp;D'!$K$31</c:f>
              <c:strCache>
                <c:ptCount val="1"/>
                <c:pt idx="0">
                  <c:v>2023_TYPICAL_STORAGE</c:v>
                </c:pt>
              </c:strCache>
            </c:strRef>
          </c:tx>
          <c:spPr>
            <a:ln w="28575" cap="rnd">
              <a:solidFill>
                <a:schemeClr val="accent3"/>
              </a:solidFill>
              <a:prstDash val="sysDot"/>
              <a:round/>
            </a:ln>
            <a:effectLst/>
          </c:spPr>
          <c:marker>
            <c:symbol val="none"/>
          </c:marker>
          <c:val>
            <c:numRef>
              <c:f>'[2024.09.18 - ERCOT 2024 Low Prices Analysis.xlsx]Analysis S&amp;D'!$K$32:$K$55</c:f>
              <c:numCache>
                <c:formatCode>General</c:formatCode>
                <c:ptCount val="24"/>
                <c:pt idx="0">
                  <c:v>31.40026881677419</c:v>
                </c:pt>
                <c:pt idx="1">
                  <c:v>29.073655913870972</c:v>
                </c:pt>
                <c:pt idx="2">
                  <c:v>21.627419354193549</c:v>
                </c:pt>
                <c:pt idx="3">
                  <c:v>22.642204301935486</c:v>
                </c:pt>
                <c:pt idx="4">
                  <c:v>23.290053763548382</c:v>
                </c:pt>
                <c:pt idx="5">
                  <c:v>34.164247312258055</c:v>
                </c:pt>
                <c:pt idx="6">
                  <c:v>37.052956989032261</c:v>
                </c:pt>
                <c:pt idx="7">
                  <c:v>48.791129031290318</c:v>
                </c:pt>
                <c:pt idx="8">
                  <c:v>22.413440860322584</c:v>
                </c:pt>
                <c:pt idx="9">
                  <c:v>49.059408602580639</c:v>
                </c:pt>
                <c:pt idx="10">
                  <c:v>82.340591397419374</c:v>
                </c:pt>
                <c:pt idx="11">
                  <c:v>69.037096774193557</c:v>
                </c:pt>
                <c:pt idx="12">
                  <c:v>83.722849462580641</c:v>
                </c:pt>
                <c:pt idx="13">
                  <c:v>91.385752687741956</c:v>
                </c:pt>
                <c:pt idx="14">
                  <c:v>104.8064516119355</c:v>
                </c:pt>
                <c:pt idx="15">
                  <c:v>111.81572580612902</c:v>
                </c:pt>
                <c:pt idx="16">
                  <c:v>136.19032258096775</c:v>
                </c:pt>
                <c:pt idx="17">
                  <c:v>120.03172042999998</c:v>
                </c:pt>
                <c:pt idx="18">
                  <c:v>168.38225806516127</c:v>
                </c:pt>
                <c:pt idx="19">
                  <c:v>575.74650537677417</c:v>
                </c:pt>
                <c:pt idx="20">
                  <c:v>479.99139784806454</c:v>
                </c:pt>
                <c:pt idx="21">
                  <c:v>140.31774193483872</c:v>
                </c:pt>
                <c:pt idx="22">
                  <c:v>73.836021505483885</c:v>
                </c:pt>
                <c:pt idx="23">
                  <c:v>42.862096774838719</c:v>
                </c:pt>
              </c:numCache>
            </c:numRef>
          </c:val>
          <c:smooth val="0"/>
          <c:extLst>
            <c:ext xmlns:c16="http://schemas.microsoft.com/office/drawing/2014/chart" uri="{C3380CC4-5D6E-409C-BE32-E72D297353CC}">
              <c16:uniqueId val="{00000001-ED1C-4BE4-B756-176FDA0B2EE5}"/>
            </c:ext>
          </c:extLst>
        </c:ser>
        <c:dLbls>
          <c:showLegendKey val="0"/>
          <c:showVal val="0"/>
          <c:showCatName val="0"/>
          <c:showSerName val="0"/>
          <c:showPercent val="0"/>
          <c:showBubbleSize val="0"/>
        </c:dLbls>
        <c:smooth val="0"/>
        <c:axId val="979433951"/>
        <c:axId val="979408991"/>
      </c:lineChart>
      <c:catAx>
        <c:axId val="979433951"/>
        <c:scaling>
          <c:orientation val="minMax"/>
        </c:scaling>
        <c:delete val="0"/>
        <c:axPos val="b"/>
        <c:title>
          <c:tx>
            <c:rich>
              <a:bodyPr rot="0" spcFirstLastPara="1" vertOverflow="ellipsis" vert="horz" wrap="square" anchor="ctr" anchorCtr="1"/>
              <a:lstStyle/>
              <a:p>
                <a:pPr>
                  <a:defRPr sz="1000" b="1" i="0" u="none" strike="noStrike" kern="1200" baseline="0">
                    <a:solidFill>
                      <a:schemeClr val="tx1"/>
                    </a:solidFill>
                    <a:latin typeface="Manrope" pitchFamily="2" charset="0"/>
                    <a:ea typeface="+mn-ea"/>
                    <a:cs typeface="+mn-cs"/>
                  </a:defRPr>
                </a:pPr>
                <a:r>
                  <a:rPr lang="en-US"/>
                  <a:t>Hour Ending</a:t>
                </a:r>
              </a:p>
            </c:rich>
          </c:tx>
          <c:overlay val="0"/>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Manrope" pitchFamily="2" charset="0"/>
                  <a:ea typeface="+mn-ea"/>
                  <a:cs typeface="+mn-cs"/>
                </a:defRPr>
              </a:pPr>
              <a:endParaRPr lang="en-US"/>
            </a:p>
          </c:txPr>
        </c:title>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solidFill>
                <a:latin typeface="Manrope" pitchFamily="2" charset="0"/>
                <a:ea typeface="+mn-ea"/>
                <a:cs typeface="+mn-cs"/>
              </a:defRPr>
            </a:pPr>
            <a:endParaRPr lang="en-US"/>
          </a:p>
        </c:txPr>
        <c:crossAx val="979408991"/>
        <c:crosses val="autoZero"/>
        <c:auto val="1"/>
        <c:lblAlgn val="ctr"/>
        <c:lblOffset val="100"/>
        <c:noMultiLvlLbl val="0"/>
      </c:catAx>
      <c:valAx>
        <c:axId val="979408991"/>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1" i="0" u="none" strike="noStrike" kern="1200" baseline="0">
                    <a:solidFill>
                      <a:schemeClr val="tx1"/>
                    </a:solidFill>
                    <a:latin typeface="Manrope" pitchFamily="2" charset="0"/>
                    <a:ea typeface="+mn-ea"/>
                    <a:cs typeface="+mn-cs"/>
                  </a:defRPr>
                </a:pPr>
                <a:r>
                  <a:rPr lang="en-US"/>
                  <a:t>Capacity (MW)</a:t>
                </a:r>
              </a:p>
            </c:rich>
          </c:tx>
          <c:overlay val="0"/>
          <c:spPr>
            <a:noFill/>
            <a:ln>
              <a:noFill/>
            </a:ln>
            <a:effectLst/>
          </c:spPr>
          <c:txPr>
            <a:bodyPr rot="-5400000" spcFirstLastPara="1" vertOverflow="ellipsis" vert="horz" wrap="square" anchor="ctr" anchorCtr="1"/>
            <a:lstStyle/>
            <a:p>
              <a:pPr>
                <a:defRPr sz="1000" b="1" i="0" u="none" strike="noStrike" kern="1200" baseline="0">
                  <a:solidFill>
                    <a:schemeClr val="tx1"/>
                  </a:solidFill>
                  <a:latin typeface="Manrope" pitchFamily="2" charset="0"/>
                  <a:ea typeface="+mn-ea"/>
                  <a:cs typeface="+mn-cs"/>
                </a:defRPr>
              </a:pPr>
              <a:endParaRPr lang="en-US"/>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solidFill>
                <a:latin typeface="Manrope" pitchFamily="2" charset="0"/>
                <a:ea typeface="+mn-ea"/>
                <a:cs typeface="+mn-cs"/>
              </a:defRPr>
            </a:pPr>
            <a:endParaRPr lang="en-US"/>
          </a:p>
        </c:txPr>
        <c:crossAx val="97943395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solidFill>
            <a:schemeClr val="tx1"/>
          </a:solidFill>
          <a:latin typeface="Manrope" pitchFamily="2" charset="0"/>
        </a:defRPr>
      </a:pPr>
      <a:endParaRPr lang="en-US"/>
    </a:p>
  </c:txPr>
  <c:externalData r:id="rId3">
    <c:autoUpdate val="0"/>
  </c:externalData>
  <c:userShapes r:id="rId4"/>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2541430976430976"/>
          <c:y val="8.0971686272615445E-2"/>
          <c:w val="0.84249090909090907"/>
          <c:h val="0.76067466869620914"/>
        </c:manualLayout>
      </c:layout>
      <c:barChart>
        <c:barDir val="col"/>
        <c:grouping val="clustered"/>
        <c:varyColors val="0"/>
        <c:ser>
          <c:idx val="0"/>
          <c:order val="0"/>
          <c:tx>
            <c:strRef>
              <c:f>Demand!$H$28</c:f>
              <c:strCache>
                <c:ptCount val="1"/>
                <c:pt idx="0">
                  <c:v>High</c:v>
                </c:pt>
              </c:strCache>
            </c:strRef>
          </c:tx>
          <c:spPr>
            <a:solidFill>
              <a:schemeClr val="accent1"/>
            </a:solidFill>
            <a:ln>
              <a:noFill/>
            </a:ln>
            <a:effectLst/>
          </c:spPr>
          <c:invertIfNegative val="0"/>
          <c:cat>
            <c:numRef>
              <c:f>Demand!$G$29:$G$55</c:f>
              <c:numCache>
                <c:formatCode>General</c:formatCode>
                <c:ptCount val="27"/>
                <c:pt idx="0">
                  <c:v>2024</c:v>
                </c:pt>
                <c:pt idx="1">
                  <c:v>2025</c:v>
                </c:pt>
                <c:pt idx="2">
                  <c:v>2026</c:v>
                </c:pt>
                <c:pt idx="3">
                  <c:v>2027</c:v>
                </c:pt>
                <c:pt idx="4">
                  <c:v>2028</c:v>
                </c:pt>
                <c:pt idx="5">
                  <c:v>2029</c:v>
                </c:pt>
                <c:pt idx="6">
                  <c:v>2030</c:v>
                </c:pt>
                <c:pt idx="7">
                  <c:v>2031</c:v>
                </c:pt>
                <c:pt idx="8">
                  <c:v>2032</c:v>
                </c:pt>
                <c:pt idx="9">
                  <c:v>2033</c:v>
                </c:pt>
                <c:pt idx="10">
                  <c:v>2034</c:v>
                </c:pt>
                <c:pt idx="11">
                  <c:v>2035</c:v>
                </c:pt>
                <c:pt idx="12">
                  <c:v>2036</c:v>
                </c:pt>
                <c:pt idx="13">
                  <c:v>2037</c:v>
                </c:pt>
                <c:pt idx="14">
                  <c:v>2038</c:v>
                </c:pt>
                <c:pt idx="15">
                  <c:v>2039</c:v>
                </c:pt>
                <c:pt idx="16">
                  <c:v>2040</c:v>
                </c:pt>
                <c:pt idx="17">
                  <c:v>2041</c:v>
                </c:pt>
                <c:pt idx="18">
                  <c:v>2042</c:v>
                </c:pt>
                <c:pt idx="19">
                  <c:v>2043</c:v>
                </c:pt>
                <c:pt idx="20">
                  <c:v>2044</c:v>
                </c:pt>
                <c:pt idx="21">
                  <c:v>2045</c:v>
                </c:pt>
                <c:pt idx="22">
                  <c:v>2046</c:v>
                </c:pt>
                <c:pt idx="23">
                  <c:v>2047</c:v>
                </c:pt>
                <c:pt idx="24">
                  <c:v>2048</c:v>
                </c:pt>
                <c:pt idx="25">
                  <c:v>2049</c:v>
                </c:pt>
                <c:pt idx="26">
                  <c:v>2050</c:v>
                </c:pt>
              </c:numCache>
            </c:numRef>
          </c:cat>
          <c:val>
            <c:numRef>
              <c:f>Demand!$H$29:$H$55</c:f>
              <c:numCache>
                <c:formatCode>General</c:formatCode>
                <c:ptCount val="27"/>
                <c:pt idx="0">
                  <c:v>90.68440814208985</c:v>
                </c:pt>
                <c:pt idx="1">
                  <c:v>93.848049499511717</c:v>
                </c:pt>
                <c:pt idx="2">
                  <c:v>98.622636718750002</c:v>
                </c:pt>
                <c:pt idx="3">
                  <c:v>104.67039746093749</c:v>
                </c:pt>
                <c:pt idx="4">
                  <c:v>110.55738037109376</c:v>
                </c:pt>
                <c:pt idx="5">
                  <c:v>116.000083984375</c:v>
                </c:pt>
                <c:pt idx="6">
                  <c:v>121.32422705078125</c:v>
                </c:pt>
                <c:pt idx="7">
                  <c:v>125.61660791015625</c:v>
                </c:pt>
                <c:pt idx="8">
                  <c:v>129.60627783203125</c:v>
                </c:pt>
                <c:pt idx="9">
                  <c:v>132.08032128906251</c:v>
                </c:pt>
                <c:pt idx="10">
                  <c:v>135.77140429687501</c:v>
                </c:pt>
                <c:pt idx="11">
                  <c:v>138.90987060546874</c:v>
                </c:pt>
                <c:pt idx="12">
                  <c:v>143.66110131835939</c:v>
                </c:pt>
                <c:pt idx="13">
                  <c:v>146.58468896484376</c:v>
                </c:pt>
                <c:pt idx="14">
                  <c:v>150.31829907226563</c:v>
                </c:pt>
                <c:pt idx="15">
                  <c:v>153.91944238281249</c:v>
                </c:pt>
                <c:pt idx="16">
                  <c:v>159.84327124023437</c:v>
                </c:pt>
                <c:pt idx="17">
                  <c:v>162.68107128906249</c:v>
                </c:pt>
                <c:pt idx="18">
                  <c:v>166.86962792968751</c:v>
                </c:pt>
                <c:pt idx="19">
                  <c:v>171.43779003906249</c:v>
                </c:pt>
                <c:pt idx="20">
                  <c:v>178.04036914062499</c:v>
                </c:pt>
                <c:pt idx="21">
                  <c:v>181.27865869140626</c:v>
                </c:pt>
                <c:pt idx="22">
                  <c:v>186.6886884765625</c:v>
                </c:pt>
                <c:pt idx="23">
                  <c:v>190.4626865234375</c:v>
                </c:pt>
                <c:pt idx="24">
                  <c:v>198.19525341796876</c:v>
                </c:pt>
                <c:pt idx="25">
                  <c:v>201.11458740234374</c:v>
                </c:pt>
                <c:pt idx="26">
                  <c:v>206.2440849609375</c:v>
                </c:pt>
              </c:numCache>
            </c:numRef>
          </c:val>
          <c:extLst>
            <c:ext xmlns:c16="http://schemas.microsoft.com/office/drawing/2014/chart" uri="{C3380CC4-5D6E-409C-BE32-E72D297353CC}">
              <c16:uniqueId val="{00000000-2F5D-4FDF-BDDA-421B005ABD5C}"/>
            </c:ext>
          </c:extLst>
        </c:ser>
        <c:ser>
          <c:idx val="1"/>
          <c:order val="1"/>
          <c:tx>
            <c:strRef>
              <c:f>Demand!$I$28</c:f>
              <c:strCache>
                <c:ptCount val="1"/>
                <c:pt idx="0">
                  <c:v>Base</c:v>
                </c:pt>
              </c:strCache>
            </c:strRef>
          </c:tx>
          <c:spPr>
            <a:solidFill>
              <a:schemeClr val="accent2"/>
            </a:solidFill>
            <a:ln>
              <a:noFill/>
            </a:ln>
            <a:effectLst/>
          </c:spPr>
          <c:invertIfNegative val="0"/>
          <c:cat>
            <c:numRef>
              <c:f>Demand!$G$29:$G$55</c:f>
              <c:numCache>
                <c:formatCode>General</c:formatCode>
                <c:ptCount val="27"/>
                <c:pt idx="0">
                  <c:v>2024</c:v>
                </c:pt>
                <c:pt idx="1">
                  <c:v>2025</c:v>
                </c:pt>
                <c:pt idx="2">
                  <c:v>2026</c:v>
                </c:pt>
                <c:pt idx="3">
                  <c:v>2027</c:v>
                </c:pt>
                <c:pt idx="4">
                  <c:v>2028</c:v>
                </c:pt>
                <c:pt idx="5">
                  <c:v>2029</c:v>
                </c:pt>
                <c:pt idx="6">
                  <c:v>2030</c:v>
                </c:pt>
                <c:pt idx="7">
                  <c:v>2031</c:v>
                </c:pt>
                <c:pt idx="8">
                  <c:v>2032</c:v>
                </c:pt>
                <c:pt idx="9">
                  <c:v>2033</c:v>
                </c:pt>
                <c:pt idx="10">
                  <c:v>2034</c:v>
                </c:pt>
                <c:pt idx="11">
                  <c:v>2035</c:v>
                </c:pt>
                <c:pt idx="12">
                  <c:v>2036</c:v>
                </c:pt>
                <c:pt idx="13">
                  <c:v>2037</c:v>
                </c:pt>
                <c:pt idx="14">
                  <c:v>2038</c:v>
                </c:pt>
                <c:pt idx="15">
                  <c:v>2039</c:v>
                </c:pt>
                <c:pt idx="16">
                  <c:v>2040</c:v>
                </c:pt>
                <c:pt idx="17">
                  <c:v>2041</c:v>
                </c:pt>
                <c:pt idx="18">
                  <c:v>2042</c:v>
                </c:pt>
                <c:pt idx="19">
                  <c:v>2043</c:v>
                </c:pt>
                <c:pt idx="20">
                  <c:v>2044</c:v>
                </c:pt>
                <c:pt idx="21">
                  <c:v>2045</c:v>
                </c:pt>
                <c:pt idx="22">
                  <c:v>2046</c:v>
                </c:pt>
                <c:pt idx="23">
                  <c:v>2047</c:v>
                </c:pt>
                <c:pt idx="24">
                  <c:v>2048</c:v>
                </c:pt>
                <c:pt idx="25">
                  <c:v>2049</c:v>
                </c:pt>
                <c:pt idx="26">
                  <c:v>2050</c:v>
                </c:pt>
              </c:numCache>
            </c:numRef>
          </c:cat>
          <c:val>
            <c:numRef>
              <c:f>Demand!$I$29:$I$55</c:f>
              <c:numCache>
                <c:formatCode>General</c:formatCode>
                <c:ptCount val="27"/>
                <c:pt idx="0">
                  <c:v>90.684352355957031</c:v>
                </c:pt>
                <c:pt idx="1">
                  <c:v>92.935883728027349</c:v>
                </c:pt>
                <c:pt idx="2">
                  <c:v>95.437234985351566</c:v>
                </c:pt>
                <c:pt idx="3">
                  <c:v>98.822361083984376</c:v>
                </c:pt>
                <c:pt idx="4">
                  <c:v>102.92244396972656</c:v>
                </c:pt>
                <c:pt idx="5">
                  <c:v>106.72687048339844</c:v>
                </c:pt>
                <c:pt idx="6">
                  <c:v>110.90710070800782</c:v>
                </c:pt>
                <c:pt idx="7">
                  <c:v>114.79946557617187</c:v>
                </c:pt>
                <c:pt idx="8">
                  <c:v>118.34929223632813</c:v>
                </c:pt>
                <c:pt idx="9">
                  <c:v>120.40635571289063</c:v>
                </c:pt>
                <c:pt idx="10">
                  <c:v>123.60333032226562</c:v>
                </c:pt>
                <c:pt idx="11">
                  <c:v>126.084767578125</c:v>
                </c:pt>
                <c:pt idx="12">
                  <c:v>130.03389990234376</c:v>
                </c:pt>
                <c:pt idx="13">
                  <c:v>132.26258251953124</c:v>
                </c:pt>
                <c:pt idx="14">
                  <c:v>135.19809375</c:v>
                </c:pt>
                <c:pt idx="15">
                  <c:v>137.94235913085939</c:v>
                </c:pt>
                <c:pt idx="16">
                  <c:v>142.82726416015626</c:v>
                </c:pt>
                <c:pt idx="17">
                  <c:v>144.82751708984375</c:v>
                </c:pt>
                <c:pt idx="18">
                  <c:v>148.04481420898438</c:v>
                </c:pt>
                <c:pt idx="19">
                  <c:v>151.51507934570313</c:v>
                </c:pt>
                <c:pt idx="20">
                  <c:v>156.73598413085938</c:v>
                </c:pt>
                <c:pt idx="21">
                  <c:v>159.00778491210937</c:v>
                </c:pt>
                <c:pt idx="22">
                  <c:v>163.11858666992188</c:v>
                </c:pt>
                <c:pt idx="23">
                  <c:v>166.00109765625001</c:v>
                </c:pt>
                <c:pt idx="24">
                  <c:v>172.18074047851562</c:v>
                </c:pt>
                <c:pt idx="25">
                  <c:v>174.38604589843749</c:v>
                </c:pt>
                <c:pt idx="26">
                  <c:v>178.26851513671875</c:v>
                </c:pt>
              </c:numCache>
            </c:numRef>
          </c:val>
          <c:extLst>
            <c:ext xmlns:c16="http://schemas.microsoft.com/office/drawing/2014/chart" uri="{C3380CC4-5D6E-409C-BE32-E72D297353CC}">
              <c16:uniqueId val="{00000001-2F5D-4FDF-BDDA-421B005ABD5C}"/>
            </c:ext>
          </c:extLst>
        </c:ser>
        <c:ser>
          <c:idx val="2"/>
          <c:order val="2"/>
          <c:tx>
            <c:strRef>
              <c:f>Demand!$J$28</c:f>
              <c:strCache>
                <c:ptCount val="1"/>
                <c:pt idx="0">
                  <c:v>Low</c:v>
                </c:pt>
              </c:strCache>
            </c:strRef>
          </c:tx>
          <c:spPr>
            <a:solidFill>
              <a:schemeClr val="accent3"/>
            </a:solidFill>
            <a:ln>
              <a:noFill/>
            </a:ln>
            <a:effectLst/>
          </c:spPr>
          <c:invertIfNegative val="0"/>
          <c:cat>
            <c:numRef>
              <c:f>Demand!$G$29:$G$55</c:f>
              <c:numCache>
                <c:formatCode>General</c:formatCode>
                <c:ptCount val="27"/>
                <c:pt idx="0">
                  <c:v>2024</c:v>
                </c:pt>
                <c:pt idx="1">
                  <c:v>2025</c:v>
                </c:pt>
                <c:pt idx="2">
                  <c:v>2026</c:v>
                </c:pt>
                <c:pt idx="3">
                  <c:v>2027</c:v>
                </c:pt>
                <c:pt idx="4">
                  <c:v>2028</c:v>
                </c:pt>
                <c:pt idx="5">
                  <c:v>2029</c:v>
                </c:pt>
                <c:pt idx="6">
                  <c:v>2030</c:v>
                </c:pt>
                <c:pt idx="7">
                  <c:v>2031</c:v>
                </c:pt>
                <c:pt idx="8">
                  <c:v>2032</c:v>
                </c:pt>
                <c:pt idx="9">
                  <c:v>2033</c:v>
                </c:pt>
                <c:pt idx="10">
                  <c:v>2034</c:v>
                </c:pt>
                <c:pt idx="11">
                  <c:v>2035</c:v>
                </c:pt>
                <c:pt idx="12">
                  <c:v>2036</c:v>
                </c:pt>
                <c:pt idx="13">
                  <c:v>2037</c:v>
                </c:pt>
                <c:pt idx="14">
                  <c:v>2038</c:v>
                </c:pt>
                <c:pt idx="15">
                  <c:v>2039</c:v>
                </c:pt>
                <c:pt idx="16">
                  <c:v>2040</c:v>
                </c:pt>
                <c:pt idx="17">
                  <c:v>2041</c:v>
                </c:pt>
                <c:pt idx="18">
                  <c:v>2042</c:v>
                </c:pt>
                <c:pt idx="19">
                  <c:v>2043</c:v>
                </c:pt>
                <c:pt idx="20">
                  <c:v>2044</c:v>
                </c:pt>
                <c:pt idx="21">
                  <c:v>2045</c:v>
                </c:pt>
                <c:pt idx="22">
                  <c:v>2046</c:v>
                </c:pt>
                <c:pt idx="23">
                  <c:v>2047</c:v>
                </c:pt>
                <c:pt idx="24">
                  <c:v>2048</c:v>
                </c:pt>
                <c:pt idx="25">
                  <c:v>2049</c:v>
                </c:pt>
                <c:pt idx="26">
                  <c:v>2050</c:v>
                </c:pt>
              </c:numCache>
            </c:numRef>
          </c:cat>
          <c:val>
            <c:numRef>
              <c:f>Demand!$J$29:$J$55</c:f>
              <c:numCache>
                <c:formatCode>General</c:formatCode>
                <c:ptCount val="27"/>
                <c:pt idx="0">
                  <c:v>90.684352355957031</c:v>
                </c:pt>
                <c:pt idx="1">
                  <c:v>92.596903442382811</c:v>
                </c:pt>
                <c:pt idx="2">
                  <c:v>94.324357666015629</c:v>
                </c:pt>
                <c:pt idx="3">
                  <c:v>96.282927001953126</c:v>
                </c:pt>
                <c:pt idx="4">
                  <c:v>98.281076660156245</c:v>
                </c:pt>
                <c:pt idx="5">
                  <c:v>99.975480712890629</c:v>
                </c:pt>
                <c:pt idx="6">
                  <c:v>102.02140124511719</c:v>
                </c:pt>
                <c:pt idx="7">
                  <c:v>103.77864270019531</c:v>
                </c:pt>
                <c:pt idx="8">
                  <c:v>105.75333020019531</c:v>
                </c:pt>
                <c:pt idx="9">
                  <c:v>106.97474804687501</c:v>
                </c:pt>
                <c:pt idx="10">
                  <c:v>109.6194599609375</c:v>
                </c:pt>
                <c:pt idx="11">
                  <c:v>111.44171923828125</c:v>
                </c:pt>
                <c:pt idx="12">
                  <c:v>114.36378955078125</c:v>
                </c:pt>
                <c:pt idx="13">
                  <c:v>115.94523852539062</c:v>
                </c:pt>
                <c:pt idx="14">
                  <c:v>117.99366467285157</c:v>
                </c:pt>
                <c:pt idx="15">
                  <c:v>119.89729553222656</c:v>
                </c:pt>
                <c:pt idx="16">
                  <c:v>123.47622680664063</c:v>
                </c:pt>
                <c:pt idx="17">
                  <c:v>124.8394375</c:v>
                </c:pt>
                <c:pt idx="18">
                  <c:v>127.02888757324219</c:v>
                </c:pt>
                <c:pt idx="19">
                  <c:v>129.34469799804688</c:v>
                </c:pt>
                <c:pt idx="20">
                  <c:v>133.24387670898437</c:v>
                </c:pt>
                <c:pt idx="21">
                  <c:v>134.65971533203125</c:v>
                </c:pt>
                <c:pt idx="22">
                  <c:v>137.55017578125</c:v>
                </c:pt>
                <c:pt idx="23">
                  <c:v>139.49980468749999</c:v>
                </c:pt>
                <c:pt idx="24">
                  <c:v>144.05155444335938</c:v>
                </c:pt>
                <c:pt idx="25">
                  <c:v>145.46975317382814</c:v>
                </c:pt>
                <c:pt idx="26">
                  <c:v>148.110876953125</c:v>
                </c:pt>
              </c:numCache>
            </c:numRef>
          </c:val>
          <c:extLst>
            <c:ext xmlns:c16="http://schemas.microsoft.com/office/drawing/2014/chart" uri="{C3380CC4-5D6E-409C-BE32-E72D297353CC}">
              <c16:uniqueId val="{00000002-2F5D-4FDF-BDDA-421B005ABD5C}"/>
            </c:ext>
          </c:extLst>
        </c:ser>
        <c:dLbls>
          <c:showLegendKey val="0"/>
          <c:showVal val="0"/>
          <c:showCatName val="0"/>
          <c:showSerName val="0"/>
          <c:showPercent val="0"/>
          <c:showBubbleSize val="0"/>
        </c:dLbls>
        <c:gapWidth val="75"/>
        <c:overlap val="50"/>
        <c:axId val="2006995231"/>
        <c:axId val="2006988991"/>
      </c:barChart>
      <c:catAx>
        <c:axId val="20069952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Manrope" pitchFamily="2" charset="0"/>
                <a:ea typeface="+mn-ea"/>
                <a:cs typeface="+mn-cs"/>
              </a:defRPr>
            </a:pPr>
            <a:endParaRPr lang="en-US"/>
          </a:p>
        </c:txPr>
        <c:crossAx val="2006988991"/>
        <c:crosses val="autoZero"/>
        <c:auto val="1"/>
        <c:lblAlgn val="ctr"/>
        <c:lblOffset val="100"/>
        <c:tickLblSkip val="2"/>
        <c:noMultiLvlLbl val="0"/>
      </c:catAx>
      <c:valAx>
        <c:axId val="2006988991"/>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1" i="0" u="none" strike="noStrike" kern="1200" baseline="0">
                    <a:solidFill>
                      <a:schemeClr val="tx1"/>
                    </a:solidFill>
                    <a:latin typeface="Manrope" pitchFamily="2" charset="0"/>
                    <a:ea typeface="+mn-ea"/>
                    <a:cs typeface="+mn-cs"/>
                  </a:defRPr>
                </a:pPr>
                <a:r>
                  <a:rPr lang="en-US"/>
                  <a:t>Energy Demand (GW)</a:t>
                </a:r>
              </a:p>
            </c:rich>
          </c:tx>
          <c:overlay val="0"/>
          <c:spPr>
            <a:noFill/>
            <a:ln>
              <a:noFill/>
            </a:ln>
            <a:effectLst/>
          </c:spPr>
          <c:txPr>
            <a:bodyPr rot="-5400000" spcFirstLastPara="1" vertOverflow="ellipsis" vert="horz" wrap="square" anchor="ctr" anchorCtr="1"/>
            <a:lstStyle/>
            <a:p>
              <a:pPr>
                <a:defRPr sz="1000" b="1" i="0" u="none" strike="noStrike" kern="1200" baseline="0">
                  <a:solidFill>
                    <a:schemeClr val="tx1"/>
                  </a:solidFill>
                  <a:latin typeface="Manrope" pitchFamily="2" charset="0"/>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1" i="0" u="none" strike="noStrike" kern="1200" baseline="0">
                <a:solidFill>
                  <a:schemeClr val="tx1"/>
                </a:solidFill>
                <a:latin typeface="Manrope" pitchFamily="2" charset="0"/>
                <a:ea typeface="+mn-ea"/>
                <a:cs typeface="+mn-cs"/>
              </a:defRPr>
            </a:pPr>
            <a:endParaRPr lang="en-US"/>
          </a:p>
        </c:txPr>
        <c:crossAx val="200699523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Manrope"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b="1">
          <a:solidFill>
            <a:schemeClr val="tx1"/>
          </a:solidFill>
          <a:latin typeface="Manrope" pitchFamily="2" charset="0"/>
        </a:defRPr>
      </a:pPr>
      <a:endParaRPr lang="en-US"/>
    </a:p>
  </c:txPr>
  <c:externalData r:id="rId4">
    <c:autoUpdate val="0"/>
  </c:externalData>
  <c:userShapes r:id="rId5"/>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142558402748385E-2"/>
          <c:y val="0.10092736033504633"/>
          <c:w val="0.91981241542236225"/>
          <c:h val="0.88396947604168796"/>
        </c:manualLayout>
      </c:layout>
      <c:scatterChart>
        <c:scatterStyle val="lineMarker"/>
        <c:varyColors val="0"/>
        <c:ser>
          <c:idx val="0"/>
          <c:order val="0"/>
          <c:tx>
            <c:strRef>
              <c:f>'power_generator-2024-09-23T (2)'!$V$1</c:f>
              <c:strCache>
                <c:ptCount val="1"/>
                <c:pt idx="0">
                  <c:v>Geothermal</c:v>
                </c:pt>
              </c:strCache>
            </c:strRef>
          </c:tx>
          <c:spPr>
            <a:ln w="38100" cap="rnd">
              <a:noFill/>
              <a:round/>
            </a:ln>
            <a:effectLst/>
          </c:spPr>
          <c:marker>
            <c:symbol val="square"/>
            <c:size val="5"/>
            <c:spPr>
              <a:solidFill>
                <a:srgbClr val="0C8D54">
                  <a:alpha val="25000"/>
                </a:srgbClr>
              </a:solidFill>
              <a:ln w="12700">
                <a:solidFill>
                  <a:srgbClr val="0C8D54"/>
                </a:solidFill>
              </a:ln>
              <a:effectLst/>
            </c:spPr>
          </c:marker>
          <c:xVal>
            <c:numRef>
              <c:f>'power_generator-2024-09-23T (2)'!$V$2:$V$13082</c:f>
              <c:numCache>
                <c:formatCode>0.00</c:formatCode>
                <c:ptCount val="13081"/>
                <c:pt idx="0">
                  <c:v>#N/A</c:v>
                </c:pt>
                <c:pt idx="1">
                  <c:v>#N/A</c:v>
                </c:pt>
                <c:pt idx="2">
                  <c:v>#N/A</c:v>
                </c:pt>
                <c:pt idx="3">
                  <c:v>#N/A</c:v>
                </c:pt>
                <c:pt idx="4">
                  <c:v>#N/A</c:v>
                </c:pt>
                <c:pt idx="5">
                  <c:v>#N/A</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pt idx="34">
                  <c:v>#N/A</c:v>
                </c:pt>
                <c:pt idx="35">
                  <c:v>#N/A</c:v>
                </c:pt>
                <c:pt idx="36">
                  <c:v>#N/A</c:v>
                </c:pt>
                <c:pt idx="37">
                  <c:v>#N/A</c:v>
                </c:pt>
                <c:pt idx="38">
                  <c:v>#N/A</c:v>
                </c:pt>
                <c:pt idx="39">
                  <c:v>#N/A</c:v>
                </c:pt>
                <c:pt idx="40">
                  <c:v>#N/A</c:v>
                </c:pt>
                <c:pt idx="41">
                  <c:v>#N/A</c:v>
                </c:pt>
                <c:pt idx="42">
                  <c:v>#N/A</c:v>
                </c:pt>
                <c:pt idx="43">
                  <c:v>#N/A</c:v>
                </c:pt>
                <c:pt idx="44">
                  <c:v>#N/A</c:v>
                </c:pt>
                <c:pt idx="45">
                  <c:v>#N/A</c:v>
                </c:pt>
                <c:pt idx="46">
                  <c:v>#N/A</c:v>
                </c:pt>
                <c:pt idx="47">
                  <c:v>#N/A</c:v>
                </c:pt>
                <c:pt idx="48">
                  <c:v>#N/A</c:v>
                </c:pt>
                <c:pt idx="49">
                  <c:v>#N/A</c:v>
                </c:pt>
                <c:pt idx="50">
                  <c:v>#N/A</c:v>
                </c:pt>
                <c:pt idx="51">
                  <c:v>#N/A</c:v>
                </c:pt>
                <c:pt idx="52">
                  <c:v>#N/A</c:v>
                </c:pt>
                <c:pt idx="53">
                  <c:v>#N/A</c:v>
                </c:pt>
                <c:pt idx="54">
                  <c:v>#N/A</c:v>
                </c:pt>
                <c:pt idx="55">
                  <c:v>#N/A</c:v>
                </c:pt>
                <c:pt idx="56">
                  <c:v>#N/A</c:v>
                </c:pt>
                <c:pt idx="57">
                  <c:v>#N/A</c:v>
                </c:pt>
                <c:pt idx="58">
                  <c:v>#N/A</c:v>
                </c:pt>
                <c:pt idx="59">
                  <c:v>#N/A</c:v>
                </c:pt>
                <c:pt idx="60">
                  <c:v>#N/A</c:v>
                </c:pt>
                <c:pt idx="61">
                  <c:v>#N/A</c:v>
                </c:pt>
                <c:pt idx="62">
                  <c:v>#N/A</c:v>
                </c:pt>
                <c:pt idx="63">
                  <c:v>#N/A</c:v>
                </c:pt>
                <c:pt idx="64">
                  <c:v>#N/A</c:v>
                </c:pt>
                <c:pt idx="65">
                  <c:v>#N/A</c:v>
                </c:pt>
                <c:pt idx="66">
                  <c:v>#N/A</c:v>
                </c:pt>
                <c:pt idx="67">
                  <c:v>#N/A</c:v>
                </c:pt>
                <c:pt idx="68">
                  <c:v>#N/A</c:v>
                </c:pt>
                <c:pt idx="69">
                  <c:v>#N/A</c:v>
                </c:pt>
                <c:pt idx="70">
                  <c:v>#N/A</c:v>
                </c:pt>
                <c:pt idx="71">
                  <c:v>#N/A</c:v>
                </c:pt>
                <c:pt idx="72">
                  <c:v>#N/A</c:v>
                </c:pt>
                <c:pt idx="73">
                  <c:v>#N/A</c:v>
                </c:pt>
                <c:pt idx="74">
                  <c:v>#N/A</c:v>
                </c:pt>
                <c:pt idx="75">
                  <c:v>#N/A</c:v>
                </c:pt>
                <c:pt idx="76">
                  <c:v>#N/A</c:v>
                </c:pt>
                <c:pt idx="77">
                  <c:v>#N/A</c:v>
                </c:pt>
                <c:pt idx="78">
                  <c:v>#N/A</c:v>
                </c:pt>
                <c:pt idx="79">
                  <c:v>#N/A</c:v>
                </c:pt>
                <c:pt idx="80">
                  <c:v>#N/A</c:v>
                </c:pt>
                <c:pt idx="81">
                  <c:v>#N/A</c:v>
                </c:pt>
                <c:pt idx="82">
                  <c:v>#N/A</c:v>
                </c:pt>
                <c:pt idx="83">
                  <c:v>#N/A</c:v>
                </c:pt>
                <c:pt idx="84">
                  <c:v>#N/A</c:v>
                </c:pt>
                <c:pt idx="85">
                  <c:v>#N/A</c:v>
                </c:pt>
                <c:pt idx="86">
                  <c:v>#N/A</c:v>
                </c:pt>
                <c:pt idx="87">
                  <c:v>#N/A</c:v>
                </c:pt>
                <c:pt idx="88">
                  <c:v>#N/A</c:v>
                </c:pt>
                <c:pt idx="89">
                  <c:v>#N/A</c:v>
                </c:pt>
                <c:pt idx="90">
                  <c:v>#N/A</c:v>
                </c:pt>
                <c:pt idx="91">
                  <c:v>#N/A</c:v>
                </c:pt>
                <c:pt idx="92">
                  <c:v>#N/A</c:v>
                </c:pt>
                <c:pt idx="93">
                  <c:v>#N/A</c:v>
                </c:pt>
                <c:pt idx="94">
                  <c:v>#N/A</c:v>
                </c:pt>
                <c:pt idx="95">
                  <c:v>#N/A</c:v>
                </c:pt>
                <c:pt idx="96">
                  <c:v>#N/A</c:v>
                </c:pt>
                <c:pt idx="97">
                  <c:v>#N/A</c:v>
                </c:pt>
                <c:pt idx="98">
                  <c:v>#N/A</c:v>
                </c:pt>
                <c:pt idx="99">
                  <c:v>#N/A</c:v>
                </c:pt>
                <c:pt idx="100">
                  <c:v>#N/A</c:v>
                </c:pt>
                <c:pt idx="101">
                  <c:v>#N/A</c:v>
                </c:pt>
                <c:pt idx="102">
                  <c:v>#N/A</c:v>
                </c:pt>
                <c:pt idx="103">
                  <c:v>#N/A</c:v>
                </c:pt>
                <c:pt idx="104">
                  <c:v>#N/A</c:v>
                </c:pt>
                <c:pt idx="105">
                  <c:v>#N/A</c:v>
                </c:pt>
                <c:pt idx="106">
                  <c:v>#N/A</c:v>
                </c:pt>
                <c:pt idx="107">
                  <c:v>#N/A</c:v>
                </c:pt>
                <c:pt idx="108">
                  <c:v>#N/A</c:v>
                </c:pt>
                <c:pt idx="109">
                  <c:v>#N/A</c:v>
                </c:pt>
                <c:pt idx="110">
                  <c:v>#N/A</c:v>
                </c:pt>
                <c:pt idx="111">
                  <c:v>#N/A</c:v>
                </c:pt>
                <c:pt idx="112">
                  <c:v>#N/A</c:v>
                </c:pt>
                <c:pt idx="113">
                  <c:v>#N/A</c:v>
                </c:pt>
                <c:pt idx="114">
                  <c:v>#N/A</c:v>
                </c:pt>
                <c:pt idx="115">
                  <c:v>#N/A</c:v>
                </c:pt>
                <c:pt idx="116">
                  <c:v>#N/A</c:v>
                </c:pt>
                <c:pt idx="117">
                  <c:v>#N/A</c:v>
                </c:pt>
                <c:pt idx="118">
                  <c:v>#N/A</c:v>
                </c:pt>
                <c:pt idx="119">
                  <c:v>#N/A</c:v>
                </c:pt>
                <c:pt idx="120">
                  <c:v>#N/A</c:v>
                </c:pt>
                <c:pt idx="121">
                  <c:v>#N/A</c:v>
                </c:pt>
                <c:pt idx="122">
                  <c:v>#N/A</c:v>
                </c:pt>
                <c:pt idx="123">
                  <c:v>#N/A</c:v>
                </c:pt>
                <c:pt idx="124">
                  <c:v>#N/A</c:v>
                </c:pt>
                <c:pt idx="125">
                  <c:v>#N/A</c:v>
                </c:pt>
                <c:pt idx="126">
                  <c:v>#N/A</c:v>
                </c:pt>
                <c:pt idx="127">
                  <c:v>#N/A</c:v>
                </c:pt>
                <c:pt idx="128">
                  <c:v>#N/A</c:v>
                </c:pt>
                <c:pt idx="129">
                  <c:v>#N/A</c:v>
                </c:pt>
                <c:pt idx="130">
                  <c:v>#N/A</c:v>
                </c:pt>
                <c:pt idx="131">
                  <c:v>#N/A</c:v>
                </c:pt>
                <c:pt idx="132">
                  <c:v>#N/A</c:v>
                </c:pt>
                <c:pt idx="133">
                  <c:v>#N/A</c:v>
                </c:pt>
                <c:pt idx="134">
                  <c:v>#N/A</c:v>
                </c:pt>
                <c:pt idx="135">
                  <c:v>#N/A</c:v>
                </c:pt>
                <c:pt idx="136">
                  <c:v>#N/A</c:v>
                </c:pt>
                <c:pt idx="137">
                  <c:v>#N/A</c:v>
                </c:pt>
                <c:pt idx="138">
                  <c:v>#N/A</c:v>
                </c:pt>
                <c:pt idx="139">
                  <c:v>#N/A</c:v>
                </c:pt>
                <c:pt idx="140">
                  <c:v>#N/A</c:v>
                </c:pt>
                <c:pt idx="141">
                  <c:v>#N/A</c:v>
                </c:pt>
                <c:pt idx="142">
                  <c:v>#N/A</c:v>
                </c:pt>
                <c:pt idx="143">
                  <c:v>#N/A</c:v>
                </c:pt>
                <c:pt idx="144">
                  <c:v>#N/A</c:v>
                </c:pt>
                <c:pt idx="145">
                  <c:v>#N/A</c:v>
                </c:pt>
                <c:pt idx="146">
                  <c:v>#N/A</c:v>
                </c:pt>
                <c:pt idx="147">
                  <c:v>#N/A</c:v>
                </c:pt>
                <c:pt idx="148">
                  <c:v>#N/A</c:v>
                </c:pt>
                <c:pt idx="149">
                  <c:v>#N/A</c:v>
                </c:pt>
                <c:pt idx="150">
                  <c:v>#N/A</c:v>
                </c:pt>
                <c:pt idx="151">
                  <c:v>#N/A</c:v>
                </c:pt>
                <c:pt idx="152">
                  <c:v>#N/A</c:v>
                </c:pt>
                <c:pt idx="153">
                  <c:v>#N/A</c:v>
                </c:pt>
                <c:pt idx="154">
                  <c:v>#N/A</c:v>
                </c:pt>
                <c:pt idx="155">
                  <c:v>#N/A</c:v>
                </c:pt>
                <c:pt idx="156">
                  <c:v>#N/A</c:v>
                </c:pt>
                <c:pt idx="157">
                  <c:v>#N/A</c:v>
                </c:pt>
                <c:pt idx="158">
                  <c:v>#N/A</c:v>
                </c:pt>
                <c:pt idx="159">
                  <c:v>#N/A</c:v>
                </c:pt>
                <c:pt idx="160">
                  <c:v>#N/A</c:v>
                </c:pt>
                <c:pt idx="161">
                  <c:v>#N/A</c:v>
                </c:pt>
                <c:pt idx="162">
                  <c:v>#N/A</c:v>
                </c:pt>
                <c:pt idx="163">
                  <c:v>#N/A</c:v>
                </c:pt>
                <c:pt idx="164">
                  <c:v>#N/A</c:v>
                </c:pt>
                <c:pt idx="165">
                  <c:v>#N/A</c:v>
                </c:pt>
                <c:pt idx="166">
                  <c:v>#N/A</c:v>
                </c:pt>
                <c:pt idx="167">
                  <c:v>#N/A</c:v>
                </c:pt>
                <c:pt idx="168">
                  <c:v>#N/A</c:v>
                </c:pt>
                <c:pt idx="169">
                  <c:v>#N/A</c:v>
                </c:pt>
                <c:pt idx="170">
                  <c:v>#N/A</c:v>
                </c:pt>
                <c:pt idx="171">
                  <c:v>#N/A</c:v>
                </c:pt>
                <c:pt idx="172">
                  <c:v>#N/A</c:v>
                </c:pt>
                <c:pt idx="173">
                  <c:v>#N/A</c:v>
                </c:pt>
                <c:pt idx="174">
                  <c:v>#N/A</c:v>
                </c:pt>
                <c:pt idx="175">
                  <c:v>#N/A</c:v>
                </c:pt>
                <c:pt idx="176">
                  <c:v>#N/A</c:v>
                </c:pt>
                <c:pt idx="177">
                  <c:v>#N/A</c:v>
                </c:pt>
                <c:pt idx="178">
                  <c:v>#N/A</c:v>
                </c:pt>
                <c:pt idx="179">
                  <c:v>#N/A</c:v>
                </c:pt>
                <c:pt idx="180">
                  <c:v>#N/A</c:v>
                </c:pt>
                <c:pt idx="181">
                  <c:v>#N/A</c:v>
                </c:pt>
                <c:pt idx="182">
                  <c:v>#N/A</c:v>
                </c:pt>
                <c:pt idx="183">
                  <c:v>#N/A</c:v>
                </c:pt>
                <c:pt idx="184">
                  <c:v>#N/A</c:v>
                </c:pt>
                <c:pt idx="185">
                  <c:v>#N/A</c:v>
                </c:pt>
                <c:pt idx="186">
                  <c:v>#N/A</c:v>
                </c:pt>
                <c:pt idx="187">
                  <c:v>#N/A</c:v>
                </c:pt>
                <c:pt idx="188">
                  <c:v>#N/A</c:v>
                </c:pt>
                <c:pt idx="189">
                  <c:v>#N/A</c:v>
                </c:pt>
                <c:pt idx="190">
                  <c:v>#N/A</c:v>
                </c:pt>
                <c:pt idx="191">
                  <c:v>#N/A</c:v>
                </c:pt>
                <c:pt idx="192">
                  <c:v>#N/A</c:v>
                </c:pt>
                <c:pt idx="193">
                  <c:v>#N/A</c:v>
                </c:pt>
                <c:pt idx="194">
                  <c:v>#N/A</c:v>
                </c:pt>
                <c:pt idx="195">
                  <c:v>#N/A</c:v>
                </c:pt>
                <c:pt idx="196">
                  <c:v>#N/A</c:v>
                </c:pt>
                <c:pt idx="197">
                  <c:v>#N/A</c:v>
                </c:pt>
                <c:pt idx="198">
                  <c:v>#N/A</c:v>
                </c:pt>
                <c:pt idx="199">
                  <c:v>#N/A</c:v>
                </c:pt>
                <c:pt idx="200">
                  <c:v>#N/A</c:v>
                </c:pt>
                <c:pt idx="201">
                  <c:v>#N/A</c:v>
                </c:pt>
                <c:pt idx="202">
                  <c:v>#N/A</c:v>
                </c:pt>
                <c:pt idx="203">
                  <c:v>#N/A</c:v>
                </c:pt>
                <c:pt idx="204">
                  <c:v>#N/A</c:v>
                </c:pt>
                <c:pt idx="205">
                  <c:v>#N/A</c:v>
                </c:pt>
                <c:pt idx="206">
                  <c:v>#N/A</c:v>
                </c:pt>
                <c:pt idx="207">
                  <c:v>#N/A</c:v>
                </c:pt>
                <c:pt idx="208">
                  <c:v>#N/A</c:v>
                </c:pt>
                <c:pt idx="209">
                  <c:v>#N/A</c:v>
                </c:pt>
                <c:pt idx="210">
                  <c:v>#N/A</c:v>
                </c:pt>
                <c:pt idx="211">
                  <c:v>#N/A</c:v>
                </c:pt>
                <c:pt idx="212">
                  <c:v>#N/A</c:v>
                </c:pt>
                <c:pt idx="213">
                  <c:v>#N/A</c:v>
                </c:pt>
                <c:pt idx="214">
                  <c:v>#N/A</c:v>
                </c:pt>
                <c:pt idx="215">
                  <c:v>#N/A</c:v>
                </c:pt>
                <c:pt idx="216">
                  <c:v>#N/A</c:v>
                </c:pt>
                <c:pt idx="217">
                  <c:v>#N/A</c:v>
                </c:pt>
                <c:pt idx="218">
                  <c:v>#N/A</c:v>
                </c:pt>
                <c:pt idx="219">
                  <c:v>#N/A</c:v>
                </c:pt>
                <c:pt idx="220">
                  <c:v>#N/A</c:v>
                </c:pt>
                <c:pt idx="221">
                  <c:v>#N/A</c:v>
                </c:pt>
                <c:pt idx="222">
                  <c:v>#N/A</c:v>
                </c:pt>
                <c:pt idx="223">
                  <c:v>#N/A</c:v>
                </c:pt>
                <c:pt idx="224">
                  <c:v>#N/A</c:v>
                </c:pt>
                <c:pt idx="225">
                  <c:v>#N/A</c:v>
                </c:pt>
                <c:pt idx="226">
                  <c:v>#N/A</c:v>
                </c:pt>
                <c:pt idx="227">
                  <c:v>#N/A</c:v>
                </c:pt>
                <c:pt idx="228">
                  <c:v>#N/A</c:v>
                </c:pt>
                <c:pt idx="229">
                  <c:v>#N/A</c:v>
                </c:pt>
                <c:pt idx="230">
                  <c:v>#N/A</c:v>
                </c:pt>
                <c:pt idx="231">
                  <c:v>#N/A</c:v>
                </c:pt>
                <c:pt idx="232">
                  <c:v>#N/A</c:v>
                </c:pt>
                <c:pt idx="233">
                  <c:v>#N/A</c:v>
                </c:pt>
                <c:pt idx="234">
                  <c:v>#N/A</c:v>
                </c:pt>
                <c:pt idx="235">
                  <c:v>#N/A</c:v>
                </c:pt>
                <c:pt idx="236">
                  <c:v>#N/A</c:v>
                </c:pt>
                <c:pt idx="237">
                  <c:v>#N/A</c:v>
                </c:pt>
                <c:pt idx="238">
                  <c:v>#N/A</c:v>
                </c:pt>
                <c:pt idx="239">
                  <c:v>#N/A</c:v>
                </c:pt>
                <c:pt idx="240">
                  <c:v>#N/A</c:v>
                </c:pt>
                <c:pt idx="241">
                  <c:v>#N/A</c:v>
                </c:pt>
                <c:pt idx="242">
                  <c:v>#N/A</c:v>
                </c:pt>
                <c:pt idx="243">
                  <c:v>#N/A</c:v>
                </c:pt>
                <c:pt idx="244">
                  <c:v>#N/A</c:v>
                </c:pt>
                <c:pt idx="245">
                  <c:v>#N/A</c:v>
                </c:pt>
                <c:pt idx="246">
                  <c:v>#N/A</c:v>
                </c:pt>
                <c:pt idx="247">
                  <c:v>#N/A</c:v>
                </c:pt>
                <c:pt idx="248">
                  <c:v>#N/A</c:v>
                </c:pt>
                <c:pt idx="249">
                  <c:v>#N/A</c:v>
                </c:pt>
                <c:pt idx="250">
                  <c:v>#N/A</c:v>
                </c:pt>
                <c:pt idx="251">
                  <c:v>#N/A</c:v>
                </c:pt>
                <c:pt idx="252">
                  <c:v>#N/A</c:v>
                </c:pt>
                <c:pt idx="253">
                  <c:v>#N/A</c:v>
                </c:pt>
                <c:pt idx="254">
                  <c:v>#N/A</c:v>
                </c:pt>
                <c:pt idx="255">
                  <c:v>#N/A</c:v>
                </c:pt>
                <c:pt idx="256">
                  <c:v>#N/A</c:v>
                </c:pt>
                <c:pt idx="257">
                  <c:v>#N/A</c:v>
                </c:pt>
                <c:pt idx="258">
                  <c:v>#N/A</c:v>
                </c:pt>
                <c:pt idx="259">
                  <c:v>#N/A</c:v>
                </c:pt>
                <c:pt idx="260">
                  <c:v>#N/A</c:v>
                </c:pt>
                <c:pt idx="261">
                  <c:v>#N/A</c:v>
                </c:pt>
                <c:pt idx="262">
                  <c:v>#N/A</c:v>
                </c:pt>
                <c:pt idx="263">
                  <c:v>#N/A</c:v>
                </c:pt>
                <c:pt idx="264">
                  <c:v>#N/A</c:v>
                </c:pt>
                <c:pt idx="265">
                  <c:v>#N/A</c:v>
                </c:pt>
                <c:pt idx="266">
                  <c:v>#N/A</c:v>
                </c:pt>
                <c:pt idx="267">
                  <c:v>#N/A</c:v>
                </c:pt>
                <c:pt idx="268">
                  <c:v>#N/A</c:v>
                </c:pt>
                <c:pt idx="269">
                  <c:v>#N/A</c:v>
                </c:pt>
                <c:pt idx="270">
                  <c:v>#N/A</c:v>
                </c:pt>
                <c:pt idx="271">
                  <c:v>#N/A</c:v>
                </c:pt>
                <c:pt idx="272">
                  <c:v>#N/A</c:v>
                </c:pt>
                <c:pt idx="273">
                  <c:v>#N/A</c:v>
                </c:pt>
                <c:pt idx="274">
                  <c:v>#N/A</c:v>
                </c:pt>
                <c:pt idx="275">
                  <c:v>#N/A</c:v>
                </c:pt>
                <c:pt idx="276">
                  <c:v>#N/A</c:v>
                </c:pt>
                <c:pt idx="277">
                  <c:v>#N/A</c:v>
                </c:pt>
                <c:pt idx="278">
                  <c:v>#N/A</c:v>
                </c:pt>
                <c:pt idx="279">
                  <c:v>#N/A</c:v>
                </c:pt>
                <c:pt idx="280">
                  <c:v>#N/A</c:v>
                </c:pt>
                <c:pt idx="281">
                  <c:v>#N/A</c:v>
                </c:pt>
                <c:pt idx="282">
                  <c:v>#N/A</c:v>
                </c:pt>
                <c:pt idx="283">
                  <c:v>#N/A</c:v>
                </c:pt>
                <c:pt idx="284">
                  <c:v>#N/A</c:v>
                </c:pt>
                <c:pt idx="285">
                  <c:v>#N/A</c:v>
                </c:pt>
                <c:pt idx="286">
                  <c:v>#N/A</c:v>
                </c:pt>
                <c:pt idx="287">
                  <c:v>#N/A</c:v>
                </c:pt>
                <c:pt idx="288">
                  <c:v>#N/A</c:v>
                </c:pt>
                <c:pt idx="289">
                  <c:v>#N/A</c:v>
                </c:pt>
                <c:pt idx="290">
                  <c:v>#N/A</c:v>
                </c:pt>
                <c:pt idx="291">
                  <c:v>#N/A</c:v>
                </c:pt>
                <c:pt idx="292">
                  <c:v>#N/A</c:v>
                </c:pt>
                <c:pt idx="293">
                  <c:v>#N/A</c:v>
                </c:pt>
                <c:pt idx="294">
                  <c:v>#N/A</c:v>
                </c:pt>
                <c:pt idx="295">
                  <c:v>#N/A</c:v>
                </c:pt>
                <c:pt idx="296">
                  <c:v>#N/A</c:v>
                </c:pt>
                <c:pt idx="297">
                  <c:v>#N/A</c:v>
                </c:pt>
                <c:pt idx="298">
                  <c:v>#N/A</c:v>
                </c:pt>
                <c:pt idx="299">
                  <c:v>#N/A</c:v>
                </c:pt>
                <c:pt idx="300">
                  <c:v>#N/A</c:v>
                </c:pt>
                <c:pt idx="301">
                  <c:v>#N/A</c:v>
                </c:pt>
                <c:pt idx="302">
                  <c:v>#N/A</c:v>
                </c:pt>
                <c:pt idx="303">
                  <c:v>#N/A</c:v>
                </c:pt>
                <c:pt idx="304">
                  <c:v>#N/A</c:v>
                </c:pt>
                <c:pt idx="305">
                  <c:v>#N/A</c:v>
                </c:pt>
                <c:pt idx="306">
                  <c:v>#N/A</c:v>
                </c:pt>
                <c:pt idx="307">
                  <c:v>#N/A</c:v>
                </c:pt>
                <c:pt idx="308">
                  <c:v>#N/A</c:v>
                </c:pt>
                <c:pt idx="309">
                  <c:v>#N/A</c:v>
                </c:pt>
                <c:pt idx="310">
                  <c:v>#N/A</c:v>
                </c:pt>
                <c:pt idx="311">
                  <c:v>#N/A</c:v>
                </c:pt>
                <c:pt idx="312">
                  <c:v>#N/A</c:v>
                </c:pt>
                <c:pt idx="313">
                  <c:v>#N/A</c:v>
                </c:pt>
                <c:pt idx="314">
                  <c:v>#N/A</c:v>
                </c:pt>
                <c:pt idx="315">
                  <c:v>#N/A</c:v>
                </c:pt>
                <c:pt idx="316">
                  <c:v>#N/A</c:v>
                </c:pt>
                <c:pt idx="317">
                  <c:v>#N/A</c:v>
                </c:pt>
                <c:pt idx="318">
                  <c:v>#N/A</c:v>
                </c:pt>
                <c:pt idx="319">
                  <c:v>#N/A</c:v>
                </c:pt>
                <c:pt idx="320">
                  <c:v>#N/A</c:v>
                </c:pt>
                <c:pt idx="321">
                  <c:v>#N/A</c:v>
                </c:pt>
                <c:pt idx="322">
                  <c:v>#N/A</c:v>
                </c:pt>
                <c:pt idx="323">
                  <c:v>#N/A</c:v>
                </c:pt>
                <c:pt idx="324">
                  <c:v>#N/A</c:v>
                </c:pt>
                <c:pt idx="325">
                  <c:v>#N/A</c:v>
                </c:pt>
                <c:pt idx="326">
                  <c:v>#N/A</c:v>
                </c:pt>
                <c:pt idx="327">
                  <c:v>#N/A</c:v>
                </c:pt>
                <c:pt idx="328">
                  <c:v>#N/A</c:v>
                </c:pt>
                <c:pt idx="329">
                  <c:v>#N/A</c:v>
                </c:pt>
                <c:pt idx="330">
                  <c:v>#N/A</c:v>
                </c:pt>
                <c:pt idx="331">
                  <c:v>#N/A</c:v>
                </c:pt>
                <c:pt idx="332">
                  <c:v>#N/A</c:v>
                </c:pt>
                <c:pt idx="333">
                  <c:v>#N/A</c:v>
                </c:pt>
                <c:pt idx="334">
                  <c:v>#N/A</c:v>
                </c:pt>
                <c:pt idx="335">
                  <c:v>#N/A</c:v>
                </c:pt>
                <c:pt idx="336">
                  <c:v>#N/A</c:v>
                </c:pt>
                <c:pt idx="337">
                  <c:v>#N/A</c:v>
                </c:pt>
                <c:pt idx="338">
                  <c:v>#N/A</c:v>
                </c:pt>
                <c:pt idx="339">
                  <c:v>#N/A</c:v>
                </c:pt>
                <c:pt idx="340">
                  <c:v>#N/A</c:v>
                </c:pt>
                <c:pt idx="341">
                  <c:v>#N/A</c:v>
                </c:pt>
                <c:pt idx="342">
                  <c:v>#N/A</c:v>
                </c:pt>
                <c:pt idx="343">
                  <c:v>#N/A</c:v>
                </c:pt>
                <c:pt idx="344">
                  <c:v>#N/A</c:v>
                </c:pt>
                <c:pt idx="345">
                  <c:v>#N/A</c:v>
                </c:pt>
                <c:pt idx="346">
                  <c:v>#N/A</c:v>
                </c:pt>
                <c:pt idx="347">
                  <c:v>#N/A</c:v>
                </c:pt>
                <c:pt idx="348">
                  <c:v>#N/A</c:v>
                </c:pt>
                <c:pt idx="349">
                  <c:v>#N/A</c:v>
                </c:pt>
                <c:pt idx="350">
                  <c:v>#N/A</c:v>
                </c:pt>
                <c:pt idx="351">
                  <c:v>#N/A</c:v>
                </c:pt>
                <c:pt idx="352">
                  <c:v>#N/A</c:v>
                </c:pt>
                <c:pt idx="353">
                  <c:v>#N/A</c:v>
                </c:pt>
                <c:pt idx="354">
                  <c:v>#N/A</c:v>
                </c:pt>
                <c:pt idx="355">
                  <c:v>#N/A</c:v>
                </c:pt>
                <c:pt idx="356">
                  <c:v>#N/A</c:v>
                </c:pt>
                <c:pt idx="357">
                  <c:v>#N/A</c:v>
                </c:pt>
                <c:pt idx="358">
                  <c:v>#N/A</c:v>
                </c:pt>
                <c:pt idx="359">
                  <c:v>#N/A</c:v>
                </c:pt>
                <c:pt idx="360">
                  <c:v>#N/A</c:v>
                </c:pt>
                <c:pt idx="361">
                  <c:v>#N/A</c:v>
                </c:pt>
                <c:pt idx="362">
                  <c:v>#N/A</c:v>
                </c:pt>
                <c:pt idx="363">
                  <c:v>#N/A</c:v>
                </c:pt>
                <c:pt idx="364">
                  <c:v>#N/A</c:v>
                </c:pt>
                <c:pt idx="365">
                  <c:v>#N/A</c:v>
                </c:pt>
                <c:pt idx="366">
                  <c:v>#N/A</c:v>
                </c:pt>
                <c:pt idx="367">
                  <c:v>#N/A</c:v>
                </c:pt>
                <c:pt idx="368">
                  <c:v>#N/A</c:v>
                </c:pt>
                <c:pt idx="369">
                  <c:v>#N/A</c:v>
                </c:pt>
                <c:pt idx="370">
                  <c:v>#N/A</c:v>
                </c:pt>
                <c:pt idx="371">
                  <c:v>#N/A</c:v>
                </c:pt>
                <c:pt idx="372">
                  <c:v>#N/A</c:v>
                </c:pt>
                <c:pt idx="373">
                  <c:v>#N/A</c:v>
                </c:pt>
                <c:pt idx="374">
                  <c:v>#N/A</c:v>
                </c:pt>
                <c:pt idx="375">
                  <c:v>#N/A</c:v>
                </c:pt>
                <c:pt idx="376">
                  <c:v>#N/A</c:v>
                </c:pt>
                <c:pt idx="377">
                  <c:v>#N/A</c:v>
                </c:pt>
                <c:pt idx="378">
                  <c:v>#N/A</c:v>
                </c:pt>
                <c:pt idx="379">
                  <c:v>#N/A</c:v>
                </c:pt>
                <c:pt idx="380">
                  <c:v>#N/A</c:v>
                </c:pt>
                <c:pt idx="381">
                  <c:v>#N/A</c:v>
                </c:pt>
                <c:pt idx="382">
                  <c:v>#N/A</c:v>
                </c:pt>
                <c:pt idx="383">
                  <c:v>#N/A</c:v>
                </c:pt>
                <c:pt idx="384">
                  <c:v>#N/A</c:v>
                </c:pt>
                <c:pt idx="385">
                  <c:v>#N/A</c:v>
                </c:pt>
                <c:pt idx="386">
                  <c:v>#N/A</c:v>
                </c:pt>
                <c:pt idx="387">
                  <c:v>#N/A</c:v>
                </c:pt>
                <c:pt idx="388">
                  <c:v>#N/A</c:v>
                </c:pt>
                <c:pt idx="389">
                  <c:v>#N/A</c:v>
                </c:pt>
                <c:pt idx="390">
                  <c:v>#N/A</c:v>
                </c:pt>
                <c:pt idx="391">
                  <c:v>#N/A</c:v>
                </c:pt>
                <c:pt idx="392">
                  <c:v>#N/A</c:v>
                </c:pt>
                <c:pt idx="393">
                  <c:v>#N/A</c:v>
                </c:pt>
                <c:pt idx="394">
                  <c:v>#N/A</c:v>
                </c:pt>
                <c:pt idx="395">
                  <c:v>#N/A</c:v>
                </c:pt>
                <c:pt idx="396">
                  <c:v>#N/A</c:v>
                </c:pt>
                <c:pt idx="397">
                  <c:v>#N/A</c:v>
                </c:pt>
                <c:pt idx="398">
                  <c:v>#N/A</c:v>
                </c:pt>
                <c:pt idx="399">
                  <c:v>#N/A</c:v>
                </c:pt>
                <c:pt idx="400">
                  <c:v>#N/A</c:v>
                </c:pt>
                <c:pt idx="401">
                  <c:v>#N/A</c:v>
                </c:pt>
                <c:pt idx="402">
                  <c:v>#N/A</c:v>
                </c:pt>
                <c:pt idx="403">
                  <c:v>#N/A</c:v>
                </c:pt>
                <c:pt idx="404">
                  <c:v>#N/A</c:v>
                </c:pt>
                <c:pt idx="405">
                  <c:v>#N/A</c:v>
                </c:pt>
                <c:pt idx="406">
                  <c:v>#N/A</c:v>
                </c:pt>
                <c:pt idx="407">
                  <c:v>#N/A</c:v>
                </c:pt>
                <c:pt idx="408">
                  <c:v>0.38904109589041097</c:v>
                </c:pt>
                <c:pt idx="409">
                  <c:v>#N/A</c:v>
                </c:pt>
                <c:pt idx="410">
                  <c:v>#N/A</c:v>
                </c:pt>
                <c:pt idx="411">
                  <c:v>#N/A</c:v>
                </c:pt>
                <c:pt idx="412">
                  <c:v>#N/A</c:v>
                </c:pt>
                <c:pt idx="413">
                  <c:v>#N/A</c:v>
                </c:pt>
                <c:pt idx="414">
                  <c:v>#N/A</c:v>
                </c:pt>
                <c:pt idx="415">
                  <c:v>#N/A</c:v>
                </c:pt>
                <c:pt idx="416">
                  <c:v>#N/A</c:v>
                </c:pt>
                <c:pt idx="417">
                  <c:v>#N/A</c:v>
                </c:pt>
                <c:pt idx="418">
                  <c:v>#N/A</c:v>
                </c:pt>
                <c:pt idx="419">
                  <c:v>#N/A</c:v>
                </c:pt>
                <c:pt idx="420">
                  <c:v>#N/A</c:v>
                </c:pt>
                <c:pt idx="421">
                  <c:v>#N/A</c:v>
                </c:pt>
                <c:pt idx="422">
                  <c:v>#N/A</c:v>
                </c:pt>
                <c:pt idx="423">
                  <c:v>#N/A</c:v>
                </c:pt>
                <c:pt idx="424">
                  <c:v>#N/A</c:v>
                </c:pt>
                <c:pt idx="425">
                  <c:v>#N/A</c:v>
                </c:pt>
                <c:pt idx="426">
                  <c:v>#N/A</c:v>
                </c:pt>
                <c:pt idx="427">
                  <c:v>#N/A</c:v>
                </c:pt>
                <c:pt idx="428">
                  <c:v>#N/A</c:v>
                </c:pt>
                <c:pt idx="429">
                  <c:v>#N/A</c:v>
                </c:pt>
                <c:pt idx="430">
                  <c:v>#N/A</c:v>
                </c:pt>
                <c:pt idx="431">
                  <c:v>#N/A</c:v>
                </c:pt>
                <c:pt idx="432">
                  <c:v>#N/A</c:v>
                </c:pt>
                <c:pt idx="433">
                  <c:v>#N/A</c:v>
                </c:pt>
                <c:pt idx="434">
                  <c:v>#N/A</c:v>
                </c:pt>
                <c:pt idx="435">
                  <c:v>#N/A</c:v>
                </c:pt>
                <c:pt idx="436">
                  <c:v>#N/A</c:v>
                </c:pt>
                <c:pt idx="437">
                  <c:v>#N/A</c:v>
                </c:pt>
                <c:pt idx="438">
                  <c:v>#N/A</c:v>
                </c:pt>
                <c:pt idx="439">
                  <c:v>#N/A</c:v>
                </c:pt>
                <c:pt idx="440">
                  <c:v>#N/A</c:v>
                </c:pt>
                <c:pt idx="441">
                  <c:v>#N/A</c:v>
                </c:pt>
                <c:pt idx="442">
                  <c:v>#N/A</c:v>
                </c:pt>
                <c:pt idx="443">
                  <c:v>#N/A</c:v>
                </c:pt>
                <c:pt idx="444">
                  <c:v>#N/A</c:v>
                </c:pt>
                <c:pt idx="445">
                  <c:v>#N/A</c:v>
                </c:pt>
                <c:pt idx="446">
                  <c:v>#N/A</c:v>
                </c:pt>
                <c:pt idx="447">
                  <c:v>#N/A</c:v>
                </c:pt>
                <c:pt idx="448">
                  <c:v>#N/A</c:v>
                </c:pt>
                <c:pt idx="449">
                  <c:v>#N/A</c:v>
                </c:pt>
                <c:pt idx="450">
                  <c:v>#N/A</c:v>
                </c:pt>
                <c:pt idx="451">
                  <c:v>#N/A</c:v>
                </c:pt>
                <c:pt idx="452">
                  <c:v>#N/A</c:v>
                </c:pt>
                <c:pt idx="453">
                  <c:v>#N/A</c:v>
                </c:pt>
                <c:pt idx="454">
                  <c:v>#N/A</c:v>
                </c:pt>
                <c:pt idx="455">
                  <c:v>#N/A</c:v>
                </c:pt>
                <c:pt idx="456">
                  <c:v>#N/A</c:v>
                </c:pt>
                <c:pt idx="457">
                  <c:v>#N/A</c:v>
                </c:pt>
                <c:pt idx="458">
                  <c:v>#N/A</c:v>
                </c:pt>
                <c:pt idx="459">
                  <c:v>#N/A</c:v>
                </c:pt>
                <c:pt idx="460">
                  <c:v>#N/A</c:v>
                </c:pt>
                <c:pt idx="461">
                  <c:v>#N/A</c:v>
                </c:pt>
                <c:pt idx="462">
                  <c:v>#N/A</c:v>
                </c:pt>
                <c:pt idx="463">
                  <c:v>#N/A</c:v>
                </c:pt>
                <c:pt idx="464">
                  <c:v>#N/A</c:v>
                </c:pt>
                <c:pt idx="465">
                  <c:v>#N/A</c:v>
                </c:pt>
                <c:pt idx="466">
                  <c:v>#N/A</c:v>
                </c:pt>
                <c:pt idx="467">
                  <c:v>#N/A</c:v>
                </c:pt>
                <c:pt idx="468">
                  <c:v>0.40273972602739727</c:v>
                </c:pt>
                <c:pt idx="469">
                  <c:v>#N/A</c:v>
                </c:pt>
                <c:pt idx="470">
                  <c:v>#N/A</c:v>
                </c:pt>
                <c:pt idx="471">
                  <c:v>#N/A</c:v>
                </c:pt>
                <c:pt idx="472">
                  <c:v>#N/A</c:v>
                </c:pt>
                <c:pt idx="473">
                  <c:v>#N/A</c:v>
                </c:pt>
                <c:pt idx="474">
                  <c:v>#N/A</c:v>
                </c:pt>
                <c:pt idx="475">
                  <c:v>#N/A</c:v>
                </c:pt>
                <c:pt idx="476">
                  <c:v>#N/A</c:v>
                </c:pt>
                <c:pt idx="477">
                  <c:v>#N/A</c:v>
                </c:pt>
                <c:pt idx="478">
                  <c:v>#N/A</c:v>
                </c:pt>
                <c:pt idx="479">
                  <c:v>#N/A</c:v>
                </c:pt>
                <c:pt idx="480">
                  <c:v>#N/A</c:v>
                </c:pt>
                <c:pt idx="481">
                  <c:v>#N/A</c:v>
                </c:pt>
                <c:pt idx="482">
                  <c:v>#N/A</c:v>
                </c:pt>
                <c:pt idx="483">
                  <c:v>#N/A</c:v>
                </c:pt>
                <c:pt idx="484">
                  <c:v>#N/A</c:v>
                </c:pt>
                <c:pt idx="485">
                  <c:v>#N/A</c:v>
                </c:pt>
                <c:pt idx="486">
                  <c:v>#N/A</c:v>
                </c:pt>
                <c:pt idx="487">
                  <c:v>#N/A</c:v>
                </c:pt>
                <c:pt idx="488">
                  <c:v>#N/A</c:v>
                </c:pt>
                <c:pt idx="489">
                  <c:v>#N/A</c:v>
                </c:pt>
                <c:pt idx="490">
                  <c:v>#N/A</c:v>
                </c:pt>
                <c:pt idx="491">
                  <c:v>#N/A</c:v>
                </c:pt>
                <c:pt idx="492">
                  <c:v>#N/A</c:v>
                </c:pt>
                <c:pt idx="493">
                  <c:v>#N/A</c:v>
                </c:pt>
                <c:pt idx="494">
                  <c:v>#N/A</c:v>
                </c:pt>
                <c:pt idx="495">
                  <c:v>#N/A</c:v>
                </c:pt>
                <c:pt idx="496">
                  <c:v>#N/A</c:v>
                </c:pt>
                <c:pt idx="497">
                  <c:v>#N/A</c:v>
                </c:pt>
                <c:pt idx="498">
                  <c:v>#N/A</c:v>
                </c:pt>
                <c:pt idx="499">
                  <c:v>#N/A</c:v>
                </c:pt>
                <c:pt idx="500">
                  <c:v>#N/A</c:v>
                </c:pt>
                <c:pt idx="501">
                  <c:v>#N/A</c:v>
                </c:pt>
                <c:pt idx="502">
                  <c:v>#N/A</c:v>
                </c:pt>
                <c:pt idx="503">
                  <c:v>#N/A</c:v>
                </c:pt>
                <c:pt idx="504">
                  <c:v>#N/A</c:v>
                </c:pt>
                <c:pt idx="505">
                  <c:v>#N/A</c:v>
                </c:pt>
                <c:pt idx="506">
                  <c:v>#N/A</c:v>
                </c:pt>
                <c:pt idx="507">
                  <c:v>#N/A</c:v>
                </c:pt>
                <c:pt idx="508">
                  <c:v>#N/A</c:v>
                </c:pt>
                <c:pt idx="509">
                  <c:v>#N/A</c:v>
                </c:pt>
                <c:pt idx="510">
                  <c:v>#N/A</c:v>
                </c:pt>
                <c:pt idx="511">
                  <c:v>#N/A</c:v>
                </c:pt>
                <c:pt idx="512">
                  <c:v>#N/A</c:v>
                </c:pt>
                <c:pt idx="513">
                  <c:v>#N/A</c:v>
                </c:pt>
                <c:pt idx="514">
                  <c:v>#N/A</c:v>
                </c:pt>
                <c:pt idx="515">
                  <c:v>#N/A</c:v>
                </c:pt>
                <c:pt idx="516">
                  <c:v>#N/A</c:v>
                </c:pt>
                <c:pt idx="517">
                  <c:v>#N/A</c:v>
                </c:pt>
                <c:pt idx="518">
                  <c:v>#N/A</c:v>
                </c:pt>
                <c:pt idx="519">
                  <c:v>#N/A</c:v>
                </c:pt>
                <c:pt idx="520">
                  <c:v>#N/A</c:v>
                </c:pt>
                <c:pt idx="521">
                  <c:v>#N/A</c:v>
                </c:pt>
                <c:pt idx="522">
                  <c:v>#N/A</c:v>
                </c:pt>
                <c:pt idx="523">
                  <c:v>#N/A</c:v>
                </c:pt>
                <c:pt idx="524">
                  <c:v>#N/A</c:v>
                </c:pt>
                <c:pt idx="525">
                  <c:v>#N/A</c:v>
                </c:pt>
                <c:pt idx="526">
                  <c:v>#N/A</c:v>
                </c:pt>
                <c:pt idx="527">
                  <c:v>#N/A</c:v>
                </c:pt>
                <c:pt idx="528">
                  <c:v>#N/A</c:v>
                </c:pt>
                <c:pt idx="529">
                  <c:v>#N/A</c:v>
                </c:pt>
                <c:pt idx="530">
                  <c:v>#N/A</c:v>
                </c:pt>
                <c:pt idx="531">
                  <c:v>#N/A</c:v>
                </c:pt>
                <c:pt idx="532">
                  <c:v>#N/A</c:v>
                </c:pt>
                <c:pt idx="533">
                  <c:v>#N/A</c:v>
                </c:pt>
                <c:pt idx="534">
                  <c:v>#N/A</c:v>
                </c:pt>
                <c:pt idx="535">
                  <c:v>#N/A</c:v>
                </c:pt>
                <c:pt idx="536">
                  <c:v>#N/A</c:v>
                </c:pt>
                <c:pt idx="537">
                  <c:v>#N/A</c:v>
                </c:pt>
                <c:pt idx="538">
                  <c:v>#N/A</c:v>
                </c:pt>
                <c:pt idx="539">
                  <c:v>#N/A</c:v>
                </c:pt>
                <c:pt idx="540">
                  <c:v>#N/A</c:v>
                </c:pt>
                <c:pt idx="541">
                  <c:v>#N/A</c:v>
                </c:pt>
                <c:pt idx="542">
                  <c:v>#N/A</c:v>
                </c:pt>
                <c:pt idx="543">
                  <c:v>#N/A</c:v>
                </c:pt>
                <c:pt idx="544">
                  <c:v>#N/A</c:v>
                </c:pt>
                <c:pt idx="545">
                  <c:v>#N/A</c:v>
                </c:pt>
                <c:pt idx="546">
                  <c:v>#N/A</c:v>
                </c:pt>
                <c:pt idx="547">
                  <c:v>#N/A</c:v>
                </c:pt>
                <c:pt idx="548">
                  <c:v>#N/A</c:v>
                </c:pt>
                <c:pt idx="549">
                  <c:v>#N/A</c:v>
                </c:pt>
                <c:pt idx="550">
                  <c:v>#N/A</c:v>
                </c:pt>
                <c:pt idx="551">
                  <c:v>#N/A</c:v>
                </c:pt>
                <c:pt idx="552">
                  <c:v>#N/A</c:v>
                </c:pt>
                <c:pt idx="553">
                  <c:v>#N/A</c:v>
                </c:pt>
                <c:pt idx="554">
                  <c:v>#N/A</c:v>
                </c:pt>
                <c:pt idx="555">
                  <c:v>#N/A</c:v>
                </c:pt>
                <c:pt idx="556">
                  <c:v>#N/A</c:v>
                </c:pt>
                <c:pt idx="557">
                  <c:v>#N/A</c:v>
                </c:pt>
                <c:pt idx="558">
                  <c:v>#N/A</c:v>
                </c:pt>
                <c:pt idx="559">
                  <c:v>#N/A</c:v>
                </c:pt>
                <c:pt idx="560">
                  <c:v>#N/A</c:v>
                </c:pt>
                <c:pt idx="561">
                  <c:v>#N/A</c:v>
                </c:pt>
                <c:pt idx="562">
                  <c:v>#N/A</c:v>
                </c:pt>
                <c:pt idx="563">
                  <c:v>#N/A</c:v>
                </c:pt>
                <c:pt idx="564">
                  <c:v>#N/A</c:v>
                </c:pt>
                <c:pt idx="565">
                  <c:v>#N/A</c:v>
                </c:pt>
                <c:pt idx="566">
                  <c:v>#N/A</c:v>
                </c:pt>
                <c:pt idx="567">
                  <c:v>#N/A</c:v>
                </c:pt>
                <c:pt idx="568">
                  <c:v>#N/A</c:v>
                </c:pt>
                <c:pt idx="569">
                  <c:v>#N/A</c:v>
                </c:pt>
                <c:pt idx="570">
                  <c:v>#N/A</c:v>
                </c:pt>
                <c:pt idx="571">
                  <c:v>#N/A</c:v>
                </c:pt>
                <c:pt idx="572">
                  <c:v>#N/A</c:v>
                </c:pt>
                <c:pt idx="573">
                  <c:v>#N/A</c:v>
                </c:pt>
                <c:pt idx="574">
                  <c:v>#N/A</c:v>
                </c:pt>
                <c:pt idx="575">
                  <c:v>#N/A</c:v>
                </c:pt>
                <c:pt idx="576">
                  <c:v>#N/A</c:v>
                </c:pt>
                <c:pt idx="577">
                  <c:v>#N/A</c:v>
                </c:pt>
                <c:pt idx="578">
                  <c:v>#N/A</c:v>
                </c:pt>
                <c:pt idx="579">
                  <c:v>#N/A</c:v>
                </c:pt>
                <c:pt idx="580">
                  <c:v>#N/A</c:v>
                </c:pt>
                <c:pt idx="581">
                  <c:v>#N/A</c:v>
                </c:pt>
                <c:pt idx="582">
                  <c:v>#N/A</c:v>
                </c:pt>
                <c:pt idx="583">
                  <c:v>#N/A</c:v>
                </c:pt>
                <c:pt idx="584">
                  <c:v>#N/A</c:v>
                </c:pt>
                <c:pt idx="585">
                  <c:v>#N/A</c:v>
                </c:pt>
                <c:pt idx="586">
                  <c:v>#N/A</c:v>
                </c:pt>
                <c:pt idx="587">
                  <c:v>#N/A</c:v>
                </c:pt>
                <c:pt idx="588">
                  <c:v>#N/A</c:v>
                </c:pt>
                <c:pt idx="589">
                  <c:v>#N/A</c:v>
                </c:pt>
                <c:pt idx="590">
                  <c:v>#N/A</c:v>
                </c:pt>
                <c:pt idx="591">
                  <c:v>#N/A</c:v>
                </c:pt>
                <c:pt idx="592">
                  <c:v>#N/A</c:v>
                </c:pt>
                <c:pt idx="593">
                  <c:v>#N/A</c:v>
                </c:pt>
                <c:pt idx="594">
                  <c:v>#N/A</c:v>
                </c:pt>
                <c:pt idx="595">
                  <c:v>#N/A</c:v>
                </c:pt>
                <c:pt idx="596">
                  <c:v>#N/A</c:v>
                </c:pt>
                <c:pt idx="597">
                  <c:v>#N/A</c:v>
                </c:pt>
                <c:pt idx="598">
                  <c:v>#N/A</c:v>
                </c:pt>
                <c:pt idx="599">
                  <c:v>#N/A</c:v>
                </c:pt>
                <c:pt idx="600">
                  <c:v>#N/A</c:v>
                </c:pt>
                <c:pt idx="601">
                  <c:v>#N/A</c:v>
                </c:pt>
                <c:pt idx="602">
                  <c:v>#N/A</c:v>
                </c:pt>
                <c:pt idx="603">
                  <c:v>#N/A</c:v>
                </c:pt>
                <c:pt idx="604">
                  <c:v>#N/A</c:v>
                </c:pt>
                <c:pt idx="605">
                  <c:v>#N/A</c:v>
                </c:pt>
                <c:pt idx="606">
                  <c:v>#N/A</c:v>
                </c:pt>
                <c:pt idx="607">
                  <c:v>#N/A</c:v>
                </c:pt>
                <c:pt idx="608">
                  <c:v>#N/A</c:v>
                </c:pt>
                <c:pt idx="609">
                  <c:v>#N/A</c:v>
                </c:pt>
                <c:pt idx="610">
                  <c:v>#N/A</c:v>
                </c:pt>
                <c:pt idx="611">
                  <c:v>#N/A</c:v>
                </c:pt>
                <c:pt idx="612">
                  <c:v>#N/A</c:v>
                </c:pt>
                <c:pt idx="613">
                  <c:v>#N/A</c:v>
                </c:pt>
                <c:pt idx="614">
                  <c:v>#N/A</c:v>
                </c:pt>
                <c:pt idx="615">
                  <c:v>#N/A</c:v>
                </c:pt>
                <c:pt idx="616">
                  <c:v>#N/A</c:v>
                </c:pt>
                <c:pt idx="617">
                  <c:v>#N/A</c:v>
                </c:pt>
                <c:pt idx="618">
                  <c:v>#N/A</c:v>
                </c:pt>
                <c:pt idx="619">
                  <c:v>#N/A</c:v>
                </c:pt>
                <c:pt idx="620">
                  <c:v>#N/A</c:v>
                </c:pt>
                <c:pt idx="621">
                  <c:v>#N/A</c:v>
                </c:pt>
                <c:pt idx="622">
                  <c:v>#N/A</c:v>
                </c:pt>
                <c:pt idx="623">
                  <c:v>#N/A</c:v>
                </c:pt>
                <c:pt idx="624">
                  <c:v>#N/A</c:v>
                </c:pt>
                <c:pt idx="625">
                  <c:v>#N/A</c:v>
                </c:pt>
                <c:pt idx="626">
                  <c:v>#N/A</c:v>
                </c:pt>
                <c:pt idx="627">
                  <c:v>#N/A</c:v>
                </c:pt>
                <c:pt idx="628">
                  <c:v>#N/A</c:v>
                </c:pt>
                <c:pt idx="629">
                  <c:v>#N/A</c:v>
                </c:pt>
                <c:pt idx="630">
                  <c:v>#N/A</c:v>
                </c:pt>
                <c:pt idx="631">
                  <c:v>#N/A</c:v>
                </c:pt>
                <c:pt idx="632">
                  <c:v>#N/A</c:v>
                </c:pt>
                <c:pt idx="633">
                  <c:v>#N/A</c:v>
                </c:pt>
                <c:pt idx="634">
                  <c:v>#N/A</c:v>
                </c:pt>
                <c:pt idx="635">
                  <c:v>#N/A</c:v>
                </c:pt>
                <c:pt idx="636">
                  <c:v>#N/A</c:v>
                </c:pt>
                <c:pt idx="637">
                  <c:v>#N/A</c:v>
                </c:pt>
                <c:pt idx="638">
                  <c:v>#N/A</c:v>
                </c:pt>
                <c:pt idx="639">
                  <c:v>#N/A</c:v>
                </c:pt>
                <c:pt idx="640">
                  <c:v>#N/A</c:v>
                </c:pt>
                <c:pt idx="641">
                  <c:v>#N/A</c:v>
                </c:pt>
                <c:pt idx="642">
                  <c:v>#N/A</c:v>
                </c:pt>
                <c:pt idx="643">
                  <c:v>#N/A</c:v>
                </c:pt>
                <c:pt idx="644">
                  <c:v>#N/A</c:v>
                </c:pt>
                <c:pt idx="645">
                  <c:v>#N/A</c:v>
                </c:pt>
                <c:pt idx="646">
                  <c:v>#N/A</c:v>
                </c:pt>
                <c:pt idx="647">
                  <c:v>#N/A</c:v>
                </c:pt>
                <c:pt idx="648">
                  <c:v>#N/A</c:v>
                </c:pt>
                <c:pt idx="649">
                  <c:v>#N/A</c:v>
                </c:pt>
                <c:pt idx="650">
                  <c:v>#N/A</c:v>
                </c:pt>
                <c:pt idx="651">
                  <c:v>#N/A</c:v>
                </c:pt>
                <c:pt idx="652">
                  <c:v>#N/A</c:v>
                </c:pt>
                <c:pt idx="653">
                  <c:v>#N/A</c:v>
                </c:pt>
                <c:pt idx="654">
                  <c:v>#N/A</c:v>
                </c:pt>
                <c:pt idx="655">
                  <c:v>#N/A</c:v>
                </c:pt>
                <c:pt idx="656">
                  <c:v>#N/A</c:v>
                </c:pt>
                <c:pt idx="657">
                  <c:v>#N/A</c:v>
                </c:pt>
                <c:pt idx="658">
                  <c:v>#N/A</c:v>
                </c:pt>
                <c:pt idx="659">
                  <c:v>#N/A</c:v>
                </c:pt>
                <c:pt idx="660">
                  <c:v>#N/A</c:v>
                </c:pt>
                <c:pt idx="661">
                  <c:v>#N/A</c:v>
                </c:pt>
                <c:pt idx="662">
                  <c:v>#N/A</c:v>
                </c:pt>
                <c:pt idx="663">
                  <c:v>#N/A</c:v>
                </c:pt>
                <c:pt idx="664">
                  <c:v>#N/A</c:v>
                </c:pt>
                <c:pt idx="665">
                  <c:v>#N/A</c:v>
                </c:pt>
                <c:pt idx="666">
                  <c:v>#N/A</c:v>
                </c:pt>
                <c:pt idx="667">
                  <c:v>#N/A</c:v>
                </c:pt>
                <c:pt idx="668">
                  <c:v>#N/A</c:v>
                </c:pt>
                <c:pt idx="669">
                  <c:v>#N/A</c:v>
                </c:pt>
                <c:pt idx="670">
                  <c:v>#N/A</c:v>
                </c:pt>
                <c:pt idx="671">
                  <c:v>#N/A</c:v>
                </c:pt>
                <c:pt idx="672">
                  <c:v>#N/A</c:v>
                </c:pt>
                <c:pt idx="673">
                  <c:v>#N/A</c:v>
                </c:pt>
                <c:pt idx="674">
                  <c:v>#N/A</c:v>
                </c:pt>
                <c:pt idx="675">
                  <c:v>#N/A</c:v>
                </c:pt>
                <c:pt idx="676">
                  <c:v>#N/A</c:v>
                </c:pt>
                <c:pt idx="677">
                  <c:v>#N/A</c:v>
                </c:pt>
                <c:pt idx="678">
                  <c:v>#N/A</c:v>
                </c:pt>
                <c:pt idx="679">
                  <c:v>#N/A</c:v>
                </c:pt>
                <c:pt idx="680">
                  <c:v>#N/A</c:v>
                </c:pt>
                <c:pt idx="681">
                  <c:v>#N/A</c:v>
                </c:pt>
                <c:pt idx="682">
                  <c:v>#N/A</c:v>
                </c:pt>
                <c:pt idx="683">
                  <c:v>#N/A</c:v>
                </c:pt>
                <c:pt idx="684">
                  <c:v>#N/A</c:v>
                </c:pt>
                <c:pt idx="685">
                  <c:v>#N/A</c:v>
                </c:pt>
                <c:pt idx="686">
                  <c:v>#N/A</c:v>
                </c:pt>
                <c:pt idx="687">
                  <c:v>#N/A</c:v>
                </c:pt>
                <c:pt idx="688">
                  <c:v>#N/A</c:v>
                </c:pt>
                <c:pt idx="689">
                  <c:v>#N/A</c:v>
                </c:pt>
                <c:pt idx="690">
                  <c:v>#N/A</c:v>
                </c:pt>
                <c:pt idx="691">
                  <c:v>#N/A</c:v>
                </c:pt>
                <c:pt idx="692">
                  <c:v>#N/A</c:v>
                </c:pt>
                <c:pt idx="693">
                  <c:v>#N/A</c:v>
                </c:pt>
                <c:pt idx="694">
                  <c:v>#N/A</c:v>
                </c:pt>
                <c:pt idx="695">
                  <c:v>#N/A</c:v>
                </c:pt>
                <c:pt idx="696">
                  <c:v>#N/A</c:v>
                </c:pt>
                <c:pt idx="697">
                  <c:v>#N/A</c:v>
                </c:pt>
                <c:pt idx="698">
                  <c:v>#N/A</c:v>
                </c:pt>
                <c:pt idx="699">
                  <c:v>#N/A</c:v>
                </c:pt>
                <c:pt idx="700">
                  <c:v>#N/A</c:v>
                </c:pt>
                <c:pt idx="701">
                  <c:v>#N/A</c:v>
                </c:pt>
                <c:pt idx="702">
                  <c:v>#N/A</c:v>
                </c:pt>
                <c:pt idx="703">
                  <c:v>#N/A</c:v>
                </c:pt>
                <c:pt idx="704">
                  <c:v>#N/A</c:v>
                </c:pt>
                <c:pt idx="705">
                  <c:v>#N/A</c:v>
                </c:pt>
                <c:pt idx="706">
                  <c:v>#N/A</c:v>
                </c:pt>
                <c:pt idx="707">
                  <c:v>#N/A</c:v>
                </c:pt>
                <c:pt idx="708">
                  <c:v>#N/A</c:v>
                </c:pt>
                <c:pt idx="709">
                  <c:v>#N/A</c:v>
                </c:pt>
                <c:pt idx="710">
                  <c:v>#N/A</c:v>
                </c:pt>
                <c:pt idx="711">
                  <c:v>#N/A</c:v>
                </c:pt>
                <c:pt idx="712">
                  <c:v>#N/A</c:v>
                </c:pt>
                <c:pt idx="713">
                  <c:v>#N/A</c:v>
                </c:pt>
                <c:pt idx="714">
                  <c:v>#N/A</c:v>
                </c:pt>
                <c:pt idx="715">
                  <c:v>#N/A</c:v>
                </c:pt>
                <c:pt idx="716">
                  <c:v>#N/A</c:v>
                </c:pt>
                <c:pt idx="717">
                  <c:v>#N/A</c:v>
                </c:pt>
                <c:pt idx="718">
                  <c:v>#N/A</c:v>
                </c:pt>
                <c:pt idx="719">
                  <c:v>#N/A</c:v>
                </c:pt>
                <c:pt idx="720">
                  <c:v>#N/A</c:v>
                </c:pt>
                <c:pt idx="721">
                  <c:v>#N/A</c:v>
                </c:pt>
                <c:pt idx="722">
                  <c:v>#N/A</c:v>
                </c:pt>
                <c:pt idx="723">
                  <c:v>#N/A</c:v>
                </c:pt>
                <c:pt idx="724">
                  <c:v>#N/A</c:v>
                </c:pt>
                <c:pt idx="725">
                  <c:v>#N/A</c:v>
                </c:pt>
                <c:pt idx="726">
                  <c:v>#N/A</c:v>
                </c:pt>
                <c:pt idx="727">
                  <c:v>#N/A</c:v>
                </c:pt>
                <c:pt idx="728">
                  <c:v>#N/A</c:v>
                </c:pt>
                <c:pt idx="729">
                  <c:v>#N/A</c:v>
                </c:pt>
                <c:pt idx="730">
                  <c:v>#N/A</c:v>
                </c:pt>
                <c:pt idx="731">
                  <c:v>#N/A</c:v>
                </c:pt>
                <c:pt idx="732">
                  <c:v>#N/A</c:v>
                </c:pt>
                <c:pt idx="733">
                  <c:v>#N/A</c:v>
                </c:pt>
                <c:pt idx="734">
                  <c:v>#N/A</c:v>
                </c:pt>
                <c:pt idx="735">
                  <c:v>#N/A</c:v>
                </c:pt>
                <c:pt idx="736">
                  <c:v>#N/A</c:v>
                </c:pt>
                <c:pt idx="737">
                  <c:v>#N/A</c:v>
                </c:pt>
                <c:pt idx="738">
                  <c:v>#N/A</c:v>
                </c:pt>
                <c:pt idx="739">
                  <c:v>#N/A</c:v>
                </c:pt>
                <c:pt idx="740">
                  <c:v>#N/A</c:v>
                </c:pt>
                <c:pt idx="741">
                  <c:v>#N/A</c:v>
                </c:pt>
                <c:pt idx="742">
                  <c:v>#N/A</c:v>
                </c:pt>
                <c:pt idx="743">
                  <c:v>#N/A</c:v>
                </c:pt>
                <c:pt idx="744">
                  <c:v>#N/A</c:v>
                </c:pt>
                <c:pt idx="745">
                  <c:v>#N/A</c:v>
                </c:pt>
                <c:pt idx="746">
                  <c:v>#N/A</c:v>
                </c:pt>
                <c:pt idx="747">
                  <c:v>#N/A</c:v>
                </c:pt>
                <c:pt idx="748">
                  <c:v>#N/A</c:v>
                </c:pt>
                <c:pt idx="749">
                  <c:v>#N/A</c:v>
                </c:pt>
                <c:pt idx="750">
                  <c:v>#N/A</c:v>
                </c:pt>
                <c:pt idx="751">
                  <c:v>#N/A</c:v>
                </c:pt>
                <c:pt idx="752">
                  <c:v>#N/A</c:v>
                </c:pt>
                <c:pt idx="753">
                  <c:v>#N/A</c:v>
                </c:pt>
                <c:pt idx="754">
                  <c:v>#N/A</c:v>
                </c:pt>
                <c:pt idx="755">
                  <c:v>#N/A</c:v>
                </c:pt>
                <c:pt idx="756">
                  <c:v>#N/A</c:v>
                </c:pt>
                <c:pt idx="757">
                  <c:v>#N/A</c:v>
                </c:pt>
                <c:pt idx="758">
                  <c:v>#N/A</c:v>
                </c:pt>
                <c:pt idx="759">
                  <c:v>#N/A</c:v>
                </c:pt>
                <c:pt idx="760">
                  <c:v>#N/A</c:v>
                </c:pt>
                <c:pt idx="761">
                  <c:v>#N/A</c:v>
                </c:pt>
                <c:pt idx="762">
                  <c:v>#N/A</c:v>
                </c:pt>
                <c:pt idx="763">
                  <c:v>#N/A</c:v>
                </c:pt>
                <c:pt idx="764">
                  <c:v>#N/A</c:v>
                </c:pt>
                <c:pt idx="765">
                  <c:v>#N/A</c:v>
                </c:pt>
                <c:pt idx="766">
                  <c:v>#N/A</c:v>
                </c:pt>
                <c:pt idx="767">
                  <c:v>#N/A</c:v>
                </c:pt>
                <c:pt idx="768">
                  <c:v>#N/A</c:v>
                </c:pt>
                <c:pt idx="769">
                  <c:v>#N/A</c:v>
                </c:pt>
                <c:pt idx="770">
                  <c:v>#N/A</c:v>
                </c:pt>
                <c:pt idx="771">
                  <c:v>#N/A</c:v>
                </c:pt>
                <c:pt idx="772">
                  <c:v>#N/A</c:v>
                </c:pt>
                <c:pt idx="773">
                  <c:v>#N/A</c:v>
                </c:pt>
                <c:pt idx="774">
                  <c:v>#N/A</c:v>
                </c:pt>
                <c:pt idx="775">
                  <c:v>#N/A</c:v>
                </c:pt>
                <c:pt idx="776">
                  <c:v>#N/A</c:v>
                </c:pt>
                <c:pt idx="777">
                  <c:v>#N/A</c:v>
                </c:pt>
                <c:pt idx="778">
                  <c:v>#N/A</c:v>
                </c:pt>
                <c:pt idx="779">
                  <c:v>#N/A</c:v>
                </c:pt>
                <c:pt idx="780">
                  <c:v>#N/A</c:v>
                </c:pt>
                <c:pt idx="781">
                  <c:v>#N/A</c:v>
                </c:pt>
                <c:pt idx="782">
                  <c:v>#N/A</c:v>
                </c:pt>
                <c:pt idx="783">
                  <c:v>#N/A</c:v>
                </c:pt>
                <c:pt idx="784">
                  <c:v>#N/A</c:v>
                </c:pt>
                <c:pt idx="785">
                  <c:v>#N/A</c:v>
                </c:pt>
                <c:pt idx="786">
                  <c:v>#N/A</c:v>
                </c:pt>
                <c:pt idx="787">
                  <c:v>#N/A</c:v>
                </c:pt>
                <c:pt idx="788">
                  <c:v>#N/A</c:v>
                </c:pt>
                <c:pt idx="789">
                  <c:v>#N/A</c:v>
                </c:pt>
                <c:pt idx="790">
                  <c:v>#N/A</c:v>
                </c:pt>
                <c:pt idx="791">
                  <c:v>#N/A</c:v>
                </c:pt>
                <c:pt idx="792">
                  <c:v>#N/A</c:v>
                </c:pt>
                <c:pt idx="793">
                  <c:v>#N/A</c:v>
                </c:pt>
                <c:pt idx="794">
                  <c:v>#N/A</c:v>
                </c:pt>
                <c:pt idx="795">
                  <c:v>#N/A</c:v>
                </c:pt>
                <c:pt idx="796">
                  <c:v>#N/A</c:v>
                </c:pt>
                <c:pt idx="797">
                  <c:v>#N/A</c:v>
                </c:pt>
                <c:pt idx="798">
                  <c:v>#N/A</c:v>
                </c:pt>
                <c:pt idx="799">
                  <c:v>#N/A</c:v>
                </c:pt>
                <c:pt idx="800">
                  <c:v>#N/A</c:v>
                </c:pt>
                <c:pt idx="801">
                  <c:v>#N/A</c:v>
                </c:pt>
                <c:pt idx="802">
                  <c:v>#N/A</c:v>
                </c:pt>
                <c:pt idx="803">
                  <c:v>#N/A</c:v>
                </c:pt>
                <c:pt idx="804">
                  <c:v>#N/A</c:v>
                </c:pt>
                <c:pt idx="805">
                  <c:v>#N/A</c:v>
                </c:pt>
                <c:pt idx="806">
                  <c:v>#N/A</c:v>
                </c:pt>
                <c:pt idx="807">
                  <c:v>#N/A</c:v>
                </c:pt>
                <c:pt idx="808">
                  <c:v>#N/A</c:v>
                </c:pt>
                <c:pt idx="809">
                  <c:v>#N/A</c:v>
                </c:pt>
                <c:pt idx="810">
                  <c:v>#N/A</c:v>
                </c:pt>
                <c:pt idx="811">
                  <c:v>#N/A</c:v>
                </c:pt>
                <c:pt idx="812">
                  <c:v>#N/A</c:v>
                </c:pt>
                <c:pt idx="813">
                  <c:v>#N/A</c:v>
                </c:pt>
                <c:pt idx="814">
                  <c:v>#N/A</c:v>
                </c:pt>
                <c:pt idx="815">
                  <c:v>#N/A</c:v>
                </c:pt>
                <c:pt idx="816">
                  <c:v>#N/A</c:v>
                </c:pt>
                <c:pt idx="817">
                  <c:v>#N/A</c:v>
                </c:pt>
                <c:pt idx="818">
                  <c:v>#N/A</c:v>
                </c:pt>
                <c:pt idx="819">
                  <c:v>#N/A</c:v>
                </c:pt>
                <c:pt idx="820">
                  <c:v>#N/A</c:v>
                </c:pt>
                <c:pt idx="821">
                  <c:v>#N/A</c:v>
                </c:pt>
                <c:pt idx="822">
                  <c:v>#N/A</c:v>
                </c:pt>
                <c:pt idx="823">
                  <c:v>#N/A</c:v>
                </c:pt>
                <c:pt idx="824">
                  <c:v>#N/A</c:v>
                </c:pt>
                <c:pt idx="825">
                  <c:v>#N/A</c:v>
                </c:pt>
                <c:pt idx="826">
                  <c:v>#N/A</c:v>
                </c:pt>
                <c:pt idx="827">
                  <c:v>#N/A</c:v>
                </c:pt>
                <c:pt idx="828">
                  <c:v>#N/A</c:v>
                </c:pt>
                <c:pt idx="829">
                  <c:v>#N/A</c:v>
                </c:pt>
                <c:pt idx="830">
                  <c:v>#N/A</c:v>
                </c:pt>
                <c:pt idx="831">
                  <c:v>#N/A</c:v>
                </c:pt>
                <c:pt idx="832">
                  <c:v>#N/A</c:v>
                </c:pt>
                <c:pt idx="833">
                  <c:v>#N/A</c:v>
                </c:pt>
                <c:pt idx="834">
                  <c:v>#N/A</c:v>
                </c:pt>
                <c:pt idx="835">
                  <c:v>#N/A</c:v>
                </c:pt>
                <c:pt idx="836">
                  <c:v>#N/A</c:v>
                </c:pt>
                <c:pt idx="837">
                  <c:v>#N/A</c:v>
                </c:pt>
                <c:pt idx="838">
                  <c:v>#N/A</c:v>
                </c:pt>
                <c:pt idx="839">
                  <c:v>#N/A</c:v>
                </c:pt>
                <c:pt idx="840">
                  <c:v>#N/A</c:v>
                </c:pt>
                <c:pt idx="841">
                  <c:v>#N/A</c:v>
                </c:pt>
                <c:pt idx="842">
                  <c:v>#N/A</c:v>
                </c:pt>
                <c:pt idx="843">
                  <c:v>#N/A</c:v>
                </c:pt>
                <c:pt idx="844">
                  <c:v>#N/A</c:v>
                </c:pt>
                <c:pt idx="845">
                  <c:v>#N/A</c:v>
                </c:pt>
                <c:pt idx="846">
                  <c:v>#N/A</c:v>
                </c:pt>
                <c:pt idx="847">
                  <c:v>#N/A</c:v>
                </c:pt>
                <c:pt idx="848">
                  <c:v>#N/A</c:v>
                </c:pt>
                <c:pt idx="849">
                  <c:v>#N/A</c:v>
                </c:pt>
                <c:pt idx="850">
                  <c:v>#N/A</c:v>
                </c:pt>
                <c:pt idx="851">
                  <c:v>#N/A</c:v>
                </c:pt>
                <c:pt idx="852">
                  <c:v>#N/A</c:v>
                </c:pt>
                <c:pt idx="853">
                  <c:v>#N/A</c:v>
                </c:pt>
                <c:pt idx="854">
                  <c:v>#N/A</c:v>
                </c:pt>
                <c:pt idx="855">
                  <c:v>#N/A</c:v>
                </c:pt>
                <c:pt idx="856">
                  <c:v>#N/A</c:v>
                </c:pt>
                <c:pt idx="857">
                  <c:v>#N/A</c:v>
                </c:pt>
                <c:pt idx="858">
                  <c:v>#N/A</c:v>
                </c:pt>
                <c:pt idx="859">
                  <c:v>#N/A</c:v>
                </c:pt>
                <c:pt idx="860">
                  <c:v>#N/A</c:v>
                </c:pt>
                <c:pt idx="861">
                  <c:v>#N/A</c:v>
                </c:pt>
                <c:pt idx="862">
                  <c:v>#N/A</c:v>
                </c:pt>
                <c:pt idx="863">
                  <c:v>#N/A</c:v>
                </c:pt>
                <c:pt idx="864">
                  <c:v>#N/A</c:v>
                </c:pt>
                <c:pt idx="865">
                  <c:v>#N/A</c:v>
                </c:pt>
                <c:pt idx="866">
                  <c:v>#N/A</c:v>
                </c:pt>
                <c:pt idx="867">
                  <c:v>#N/A</c:v>
                </c:pt>
                <c:pt idx="868">
                  <c:v>#N/A</c:v>
                </c:pt>
                <c:pt idx="869">
                  <c:v>#N/A</c:v>
                </c:pt>
                <c:pt idx="870">
                  <c:v>#N/A</c:v>
                </c:pt>
                <c:pt idx="871">
                  <c:v>#N/A</c:v>
                </c:pt>
                <c:pt idx="872">
                  <c:v>#N/A</c:v>
                </c:pt>
                <c:pt idx="873">
                  <c:v>#N/A</c:v>
                </c:pt>
                <c:pt idx="874">
                  <c:v>#N/A</c:v>
                </c:pt>
                <c:pt idx="875">
                  <c:v>#N/A</c:v>
                </c:pt>
                <c:pt idx="876">
                  <c:v>#N/A</c:v>
                </c:pt>
                <c:pt idx="877">
                  <c:v>#N/A</c:v>
                </c:pt>
                <c:pt idx="878">
                  <c:v>#N/A</c:v>
                </c:pt>
                <c:pt idx="879">
                  <c:v>#N/A</c:v>
                </c:pt>
                <c:pt idx="880">
                  <c:v>#N/A</c:v>
                </c:pt>
                <c:pt idx="881">
                  <c:v>#N/A</c:v>
                </c:pt>
                <c:pt idx="882">
                  <c:v>#N/A</c:v>
                </c:pt>
                <c:pt idx="883">
                  <c:v>#N/A</c:v>
                </c:pt>
                <c:pt idx="884">
                  <c:v>#N/A</c:v>
                </c:pt>
                <c:pt idx="885">
                  <c:v>#N/A</c:v>
                </c:pt>
                <c:pt idx="886">
                  <c:v>#N/A</c:v>
                </c:pt>
                <c:pt idx="887">
                  <c:v>#N/A</c:v>
                </c:pt>
                <c:pt idx="888">
                  <c:v>#N/A</c:v>
                </c:pt>
                <c:pt idx="889">
                  <c:v>#N/A</c:v>
                </c:pt>
                <c:pt idx="890">
                  <c:v>#N/A</c:v>
                </c:pt>
                <c:pt idx="891">
                  <c:v>#N/A</c:v>
                </c:pt>
                <c:pt idx="892">
                  <c:v>#N/A</c:v>
                </c:pt>
                <c:pt idx="893">
                  <c:v>#N/A</c:v>
                </c:pt>
                <c:pt idx="894">
                  <c:v>#N/A</c:v>
                </c:pt>
                <c:pt idx="895">
                  <c:v>#N/A</c:v>
                </c:pt>
                <c:pt idx="896">
                  <c:v>#N/A</c:v>
                </c:pt>
                <c:pt idx="897">
                  <c:v>#N/A</c:v>
                </c:pt>
                <c:pt idx="898">
                  <c:v>#N/A</c:v>
                </c:pt>
                <c:pt idx="899">
                  <c:v>#N/A</c:v>
                </c:pt>
                <c:pt idx="900">
                  <c:v>#N/A</c:v>
                </c:pt>
                <c:pt idx="901">
                  <c:v>#N/A</c:v>
                </c:pt>
                <c:pt idx="902">
                  <c:v>#N/A</c:v>
                </c:pt>
                <c:pt idx="903">
                  <c:v>#N/A</c:v>
                </c:pt>
                <c:pt idx="904">
                  <c:v>#N/A</c:v>
                </c:pt>
                <c:pt idx="905">
                  <c:v>#N/A</c:v>
                </c:pt>
                <c:pt idx="906">
                  <c:v>#N/A</c:v>
                </c:pt>
                <c:pt idx="907">
                  <c:v>#N/A</c:v>
                </c:pt>
                <c:pt idx="908">
                  <c:v>#N/A</c:v>
                </c:pt>
                <c:pt idx="909">
                  <c:v>#N/A</c:v>
                </c:pt>
                <c:pt idx="910">
                  <c:v>#N/A</c:v>
                </c:pt>
                <c:pt idx="911">
                  <c:v>#N/A</c:v>
                </c:pt>
                <c:pt idx="912">
                  <c:v>#N/A</c:v>
                </c:pt>
                <c:pt idx="913">
                  <c:v>#N/A</c:v>
                </c:pt>
                <c:pt idx="914">
                  <c:v>#N/A</c:v>
                </c:pt>
                <c:pt idx="915">
                  <c:v>#N/A</c:v>
                </c:pt>
                <c:pt idx="916">
                  <c:v>#N/A</c:v>
                </c:pt>
                <c:pt idx="917">
                  <c:v>#N/A</c:v>
                </c:pt>
                <c:pt idx="918">
                  <c:v>#N/A</c:v>
                </c:pt>
                <c:pt idx="919">
                  <c:v>#N/A</c:v>
                </c:pt>
                <c:pt idx="920">
                  <c:v>#N/A</c:v>
                </c:pt>
                <c:pt idx="921">
                  <c:v>#N/A</c:v>
                </c:pt>
                <c:pt idx="922">
                  <c:v>#N/A</c:v>
                </c:pt>
                <c:pt idx="923">
                  <c:v>#N/A</c:v>
                </c:pt>
                <c:pt idx="924">
                  <c:v>#N/A</c:v>
                </c:pt>
                <c:pt idx="925">
                  <c:v>#N/A</c:v>
                </c:pt>
                <c:pt idx="926">
                  <c:v>#N/A</c:v>
                </c:pt>
                <c:pt idx="927">
                  <c:v>#N/A</c:v>
                </c:pt>
                <c:pt idx="928">
                  <c:v>#N/A</c:v>
                </c:pt>
                <c:pt idx="929">
                  <c:v>#N/A</c:v>
                </c:pt>
                <c:pt idx="930">
                  <c:v>#N/A</c:v>
                </c:pt>
                <c:pt idx="931">
                  <c:v>#N/A</c:v>
                </c:pt>
                <c:pt idx="932">
                  <c:v>#N/A</c:v>
                </c:pt>
                <c:pt idx="933">
                  <c:v>#N/A</c:v>
                </c:pt>
                <c:pt idx="934">
                  <c:v>#N/A</c:v>
                </c:pt>
                <c:pt idx="935">
                  <c:v>#N/A</c:v>
                </c:pt>
                <c:pt idx="936">
                  <c:v>#N/A</c:v>
                </c:pt>
                <c:pt idx="937">
                  <c:v>#N/A</c:v>
                </c:pt>
                <c:pt idx="938">
                  <c:v>#N/A</c:v>
                </c:pt>
                <c:pt idx="939">
                  <c:v>#N/A</c:v>
                </c:pt>
                <c:pt idx="940">
                  <c:v>#N/A</c:v>
                </c:pt>
                <c:pt idx="941">
                  <c:v>#N/A</c:v>
                </c:pt>
                <c:pt idx="942">
                  <c:v>#N/A</c:v>
                </c:pt>
                <c:pt idx="943">
                  <c:v>#N/A</c:v>
                </c:pt>
                <c:pt idx="944">
                  <c:v>#N/A</c:v>
                </c:pt>
                <c:pt idx="945">
                  <c:v>#N/A</c:v>
                </c:pt>
                <c:pt idx="946">
                  <c:v>#N/A</c:v>
                </c:pt>
                <c:pt idx="947">
                  <c:v>#N/A</c:v>
                </c:pt>
                <c:pt idx="948">
                  <c:v>#N/A</c:v>
                </c:pt>
                <c:pt idx="949">
                  <c:v>#N/A</c:v>
                </c:pt>
                <c:pt idx="950">
                  <c:v>#N/A</c:v>
                </c:pt>
                <c:pt idx="951">
                  <c:v>#N/A</c:v>
                </c:pt>
                <c:pt idx="952">
                  <c:v>#N/A</c:v>
                </c:pt>
                <c:pt idx="953">
                  <c:v>#N/A</c:v>
                </c:pt>
                <c:pt idx="954">
                  <c:v>#N/A</c:v>
                </c:pt>
                <c:pt idx="955">
                  <c:v>#N/A</c:v>
                </c:pt>
                <c:pt idx="956">
                  <c:v>#N/A</c:v>
                </c:pt>
                <c:pt idx="957">
                  <c:v>#N/A</c:v>
                </c:pt>
                <c:pt idx="958">
                  <c:v>#N/A</c:v>
                </c:pt>
                <c:pt idx="959">
                  <c:v>#N/A</c:v>
                </c:pt>
                <c:pt idx="960">
                  <c:v>#N/A</c:v>
                </c:pt>
                <c:pt idx="961">
                  <c:v>#N/A</c:v>
                </c:pt>
                <c:pt idx="962">
                  <c:v>#N/A</c:v>
                </c:pt>
                <c:pt idx="963">
                  <c:v>#N/A</c:v>
                </c:pt>
                <c:pt idx="964">
                  <c:v>#N/A</c:v>
                </c:pt>
                <c:pt idx="965">
                  <c:v>#N/A</c:v>
                </c:pt>
                <c:pt idx="966">
                  <c:v>#N/A</c:v>
                </c:pt>
                <c:pt idx="967">
                  <c:v>#N/A</c:v>
                </c:pt>
                <c:pt idx="968">
                  <c:v>#N/A</c:v>
                </c:pt>
                <c:pt idx="969">
                  <c:v>#N/A</c:v>
                </c:pt>
                <c:pt idx="970">
                  <c:v>#N/A</c:v>
                </c:pt>
                <c:pt idx="971">
                  <c:v>#N/A</c:v>
                </c:pt>
                <c:pt idx="972">
                  <c:v>#N/A</c:v>
                </c:pt>
                <c:pt idx="973">
                  <c:v>#N/A</c:v>
                </c:pt>
                <c:pt idx="974">
                  <c:v>#N/A</c:v>
                </c:pt>
                <c:pt idx="975">
                  <c:v>#N/A</c:v>
                </c:pt>
                <c:pt idx="976">
                  <c:v>#N/A</c:v>
                </c:pt>
                <c:pt idx="977">
                  <c:v>#N/A</c:v>
                </c:pt>
                <c:pt idx="978">
                  <c:v>#N/A</c:v>
                </c:pt>
                <c:pt idx="979">
                  <c:v>#N/A</c:v>
                </c:pt>
                <c:pt idx="980">
                  <c:v>#N/A</c:v>
                </c:pt>
                <c:pt idx="981">
                  <c:v>#N/A</c:v>
                </c:pt>
                <c:pt idx="982">
                  <c:v>#N/A</c:v>
                </c:pt>
                <c:pt idx="983">
                  <c:v>#N/A</c:v>
                </c:pt>
                <c:pt idx="984">
                  <c:v>#N/A</c:v>
                </c:pt>
                <c:pt idx="985">
                  <c:v>#N/A</c:v>
                </c:pt>
                <c:pt idx="986">
                  <c:v>#N/A</c:v>
                </c:pt>
                <c:pt idx="987">
                  <c:v>#N/A</c:v>
                </c:pt>
                <c:pt idx="988">
                  <c:v>#N/A</c:v>
                </c:pt>
                <c:pt idx="989">
                  <c:v>#N/A</c:v>
                </c:pt>
                <c:pt idx="990">
                  <c:v>#N/A</c:v>
                </c:pt>
                <c:pt idx="991">
                  <c:v>#N/A</c:v>
                </c:pt>
                <c:pt idx="992">
                  <c:v>#N/A</c:v>
                </c:pt>
                <c:pt idx="993">
                  <c:v>#N/A</c:v>
                </c:pt>
                <c:pt idx="994">
                  <c:v>#N/A</c:v>
                </c:pt>
                <c:pt idx="995">
                  <c:v>#N/A</c:v>
                </c:pt>
                <c:pt idx="996">
                  <c:v>#N/A</c:v>
                </c:pt>
                <c:pt idx="997">
                  <c:v>#N/A</c:v>
                </c:pt>
                <c:pt idx="998">
                  <c:v>#N/A</c:v>
                </c:pt>
                <c:pt idx="999">
                  <c:v>#N/A</c:v>
                </c:pt>
                <c:pt idx="1000">
                  <c:v>#N/A</c:v>
                </c:pt>
                <c:pt idx="1001">
                  <c:v>#N/A</c:v>
                </c:pt>
                <c:pt idx="1002">
                  <c:v>#N/A</c:v>
                </c:pt>
                <c:pt idx="1003">
                  <c:v>#N/A</c:v>
                </c:pt>
                <c:pt idx="1004">
                  <c:v>#N/A</c:v>
                </c:pt>
                <c:pt idx="1005">
                  <c:v>#N/A</c:v>
                </c:pt>
                <c:pt idx="1006">
                  <c:v>#N/A</c:v>
                </c:pt>
                <c:pt idx="1007">
                  <c:v>#N/A</c:v>
                </c:pt>
                <c:pt idx="1008">
                  <c:v>#N/A</c:v>
                </c:pt>
                <c:pt idx="1009">
                  <c:v>#N/A</c:v>
                </c:pt>
                <c:pt idx="1010">
                  <c:v>#N/A</c:v>
                </c:pt>
                <c:pt idx="1011">
                  <c:v>#N/A</c:v>
                </c:pt>
                <c:pt idx="1012">
                  <c:v>#N/A</c:v>
                </c:pt>
                <c:pt idx="1013">
                  <c:v>#N/A</c:v>
                </c:pt>
                <c:pt idx="1014">
                  <c:v>#N/A</c:v>
                </c:pt>
                <c:pt idx="1015">
                  <c:v>#N/A</c:v>
                </c:pt>
                <c:pt idx="1016">
                  <c:v>#N/A</c:v>
                </c:pt>
                <c:pt idx="1017">
                  <c:v>#N/A</c:v>
                </c:pt>
                <c:pt idx="1018">
                  <c:v>#N/A</c:v>
                </c:pt>
                <c:pt idx="1019">
                  <c:v>#N/A</c:v>
                </c:pt>
                <c:pt idx="1020">
                  <c:v>#N/A</c:v>
                </c:pt>
                <c:pt idx="1021">
                  <c:v>#N/A</c:v>
                </c:pt>
                <c:pt idx="1022">
                  <c:v>#N/A</c:v>
                </c:pt>
                <c:pt idx="1023">
                  <c:v>#N/A</c:v>
                </c:pt>
                <c:pt idx="1024">
                  <c:v>#N/A</c:v>
                </c:pt>
                <c:pt idx="1025">
                  <c:v>#N/A</c:v>
                </c:pt>
                <c:pt idx="1026">
                  <c:v>#N/A</c:v>
                </c:pt>
                <c:pt idx="1027">
                  <c:v>#N/A</c:v>
                </c:pt>
                <c:pt idx="1028">
                  <c:v>#N/A</c:v>
                </c:pt>
                <c:pt idx="1029">
                  <c:v>#N/A</c:v>
                </c:pt>
                <c:pt idx="1030">
                  <c:v>#N/A</c:v>
                </c:pt>
                <c:pt idx="1031">
                  <c:v>#N/A</c:v>
                </c:pt>
                <c:pt idx="1032">
                  <c:v>#N/A</c:v>
                </c:pt>
                <c:pt idx="1033">
                  <c:v>#N/A</c:v>
                </c:pt>
                <c:pt idx="1034">
                  <c:v>#N/A</c:v>
                </c:pt>
                <c:pt idx="1035">
                  <c:v>#N/A</c:v>
                </c:pt>
                <c:pt idx="1036">
                  <c:v>#N/A</c:v>
                </c:pt>
                <c:pt idx="1037">
                  <c:v>#N/A</c:v>
                </c:pt>
                <c:pt idx="1038">
                  <c:v>#N/A</c:v>
                </c:pt>
                <c:pt idx="1039">
                  <c:v>#N/A</c:v>
                </c:pt>
                <c:pt idx="1040">
                  <c:v>#N/A</c:v>
                </c:pt>
                <c:pt idx="1041">
                  <c:v>#N/A</c:v>
                </c:pt>
                <c:pt idx="1042">
                  <c:v>#N/A</c:v>
                </c:pt>
                <c:pt idx="1043">
                  <c:v>#N/A</c:v>
                </c:pt>
                <c:pt idx="1044">
                  <c:v>#N/A</c:v>
                </c:pt>
                <c:pt idx="1045">
                  <c:v>#N/A</c:v>
                </c:pt>
                <c:pt idx="1046">
                  <c:v>#N/A</c:v>
                </c:pt>
                <c:pt idx="1047">
                  <c:v>#N/A</c:v>
                </c:pt>
                <c:pt idx="1048">
                  <c:v>#N/A</c:v>
                </c:pt>
                <c:pt idx="1049">
                  <c:v>#N/A</c:v>
                </c:pt>
                <c:pt idx="1050">
                  <c:v>#N/A</c:v>
                </c:pt>
                <c:pt idx="1051">
                  <c:v>#N/A</c:v>
                </c:pt>
                <c:pt idx="1052">
                  <c:v>#N/A</c:v>
                </c:pt>
                <c:pt idx="1053">
                  <c:v>#N/A</c:v>
                </c:pt>
                <c:pt idx="1054">
                  <c:v>#N/A</c:v>
                </c:pt>
                <c:pt idx="1055">
                  <c:v>#N/A</c:v>
                </c:pt>
                <c:pt idx="1056">
                  <c:v>#N/A</c:v>
                </c:pt>
                <c:pt idx="1057">
                  <c:v>#N/A</c:v>
                </c:pt>
                <c:pt idx="1058">
                  <c:v>#N/A</c:v>
                </c:pt>
                <c:pt idx="1059">
                  <c:v>#N/A</c:v>
                </c:pt>
                <c:pt idx="1060">
                  <c:v>#N/A</c:v>
                </c:pt>
                <c:pt idx="1061">
                  <c:v>#N/A</c:v>
                </c:pt>
                <c:pt idx="1062">
                  <c:v>#N/A</c:v>
                </c:pt>
                <c:pt idx="1063">
                  <c:v>#N/A</c:v>
                </c:pt>
                <c:pt idx="1064">
                  <c:v>#N/A</c:v>
                </c:pt>
                <c:pt idx="1065">
                  <c:v>#N/A</c:v>
                </c:pt>
                <c:pt idx="1066">
                  <c:v>#N/A</c:v>
                </c:pt>
                <c:pt idx="1067">
                  <c:v>#N/A</c:v>
                </c:pt>
                <c:pt idx="1068">
                  <c:v>#N/A</c:v>
                </c:pt>
                <c:pt idx="1069">
                  <c:v>#N/A</c:v>
                </c:pt>
                <c:pt idx="1070">
                  <c:v>#N/A</c:v>
                </c:pt>
                <c:pt idx="1071">
                  <c:v>#N/A</c:v>
                </c:pt>
                <c:pt idx="1072">
                  <c:v>#N/A</c:v>
                </c:pt>
                <c:pt idx="1073">
                  <c:v>#N/A</c:v>
                </c:pt>
                <c:pt idx="1074">
                  <c:v>#N/A</c:v>
                </c:pt>
                <c:pt idx="1075">
                  <c:v>#N/A</c:v>
                </c:pt>
                <c:pt idx="1076">
                  <c:v>#N/A</c:v>
                </c:pt>
                <c:pt idx="1077">
                  <c:v>#N/A</c:v>
                </c:pt>
                <c:pt idx="1078">
                  <c:v>#N/A</c:v>
                </c:pt>
                <c:pt idx="1079">
                  <c:v>0.47397260273972602</c:v>
                </c:pt>
                <c:pt idx="1080">
                  <c:v>#N/A</c:v>
                </c:pt>
                <c:pt idx="1081">
                  <c:v>0.47397260273972602</c:v>
                </c:pt>
                <c:pt idx="1082">
                  <c:v>0.47397260273972602</c:v>
                </c:pt>
                <c:pt idx="1083">
                  <c:v>#N/A</c:v>
                </c:pt>
                <c:pt idx="1084">
                  <c:v>#N/A</c:v>
                </c:pt>
                <c:pt idx="1085">
                  <c:v>#N/A</c:v>
                </c:pt>
                <c:pt idx="1086">
                  <c:v>#N/A</c:v>
                </c:pt>
                <c:pt idx="1087">
                  <c:v>#N/A</c:v>
                </c:pt>
                <c:pt idx="1088">
                  <c:v>#N/A</c:v>
                </c:pt>
                <c:pt idx="1089">
                  <c:v>#N/A</c:v>
                </c:pt>
                <c:pt idx="1090">
                  <c:v>#N/A</c:v>
                </c:pt>
                <c:pt idx="1091">
                  <c:v>#N/A</c:v>
                </c:pt>
                <c:pt idx="1092">
                  <c:v>#N/A</c:v>
                </c:pt>
                <c:pt idx="1093">
                  <c:v>#N/A</c:v>
                </c:pt>
                <c:pt idx="1094">
                  <c:v>#N/A</c:v>
                </c:pt>
                <c:pt idx="1095">
                  <c:v>#N/A</c:v>
                </c:pt>
                <c:pt idx="1096">
                  <c:v>#N/A</c:v>
                </c:pt>
                <c:pt idx="1097">
                  <c:v>#N/A</c:v>
                </c:pt>
                <c:pt idx="1098">
                  <c:v>#N/A</c:v>
                </c:pt>
                <c:pt idx="1099">
                  <c:v>#N/A</c:v>
                </c:pt>
                <c:pt idx="1100">
                  <c:v>#N/A</c:v>
                </c:pt>
                <c:pt idx="1101">
                  <c:v>#N/A</c:v>
                </c:pt>
                <c:pt idx="1102">
                  <c:v>#N/A</c:v>
                </c:pt>
                <c:pt idx="1103">
                  <c:v>#N/A</c:v>
                </c:pt>
                <c:pt idx="1104">
                  <c:v>#N/A</c:v>
                </c:pt>
                <c:pt idx="1105">
                  <c:v>#N/A</c:v>
                </c:pt>
                <c:pt idx="1106">
                  <c:v>#N/A</c:v>
                </c:pt>
                <c:pt idx="1107">
                  <c:v>#N/A</c:v>
                </c:pt>
                <c:pt idx="1108">
                  <c:v>#N/A</c:v>
                </c:pt>
                <c:pt idx="1109">
                  <c:v>#N/A</c:v>
                </c:pt>
                <c:pt idx="1110">
                  <c:v>#N/A</c:v>
                </c:pt>
                <c:pt idx="1111">
                  <c:v>#N/A</c:v>
                </c:pt>
                <c:pt idx="1112">
                  <c:v>#N/A</c:v>
                </c:pt>
                <c:pt idx="1113">
                  <c:v>#N/A</c:v>
                </c:pt>
                <c:pt idx="1114">
                  <c:v>#N/A</c:v>
                </c:pt>
                <c:pt idx="1115">
                  <c:v>#N/A</c:v>
                </c:pt>
                <c:pt idx="1116">
                  <c:v>#N/A</c:v>
                </c:pt>
                <c:pt idx="1117">
                  <c:v>#N/A</c:v>
                </c:pt>
                <c:pt idx="1118">
                  <c:v>#N/A</c:v>
                </c:pt>
                <c:pt idx="1119">
                  <c:v>#N/A</c:v>
                </c:pt>
                <c:pt idx="1120">
                  <c:v>#N/A</c:v>
                </c:pt>
                <c:pt idx="1121">
                  <c:v>#N/A</c:v>
                </c:pt>
                <c:pt idx="1122">
                  <c:v>#N/A</c:v>
                </c:pt>
                <c:pt idx="1123">
                  <c:v>#N/A</c:v>
                </c:pt>
                <c:pt idx="1124">
                  <c:v>#N/A</c:v>
                </c:pt>
                <c:pt idx="1125">
                  <c:v>#N/A</c:v>
                </c:pt>
                <c:pt idx="1126">
                  <c:v>#N/A</c:v>
                </c:pt>
                <c:pt idx="1127">
                  <c:v>#N/A</c:v>
                </c:pt>
                <c:pt idx="1128">
                  <c:v>#N/A</c:v>
                </c:pt>
                <c:pt idx="1129">
                  <c:v>#N/A</c:v>
                </c:pt>
                <c:pt idx="1130">
                  <c:v>#N/A</c:v>
                </c:pt>
                <c:pt idx="1131">
                  <c:v>#N/A</c:v>
                </c:pt>
                <c:pt idx="1132">
                  <c:v>#N/A</c:v>
                </c:pt>
                <c:pt idx="1133">
                  <c:v>#N/A</c:v>
                </c:pt>
                <c:pt idx="1134">
                  <c:v>#N/A</c:v>
                </c:pt>
                <c:pt idx="1135">
                  <c:v>#N/A</c:v>
                </c:pt>
                <c:pt idx="1136">
                  <c:v>#N/A</c:v>
                </c:pt>
                <c:pt idx="1137">
                  <c:v>#N/A</c:v>
                </c:pt>
                <c:pt idx="1138">
                  <c:v>#N/A</c:v>
                </c:pt>
                <c:pt idx="1139">
                  <c:v>#N/A</c:v>
                </c:pt>
                <c:pt idx="1140">
                  <c:v>#N/A</c:v>
                </c:pt>
                <c:pt idx="1141">
                  <c:v>#N/A</c:v>
                </c:pt>
                <c:pt idx="1142">
                  <c:v>#N/A</c:v>
                </c:pt>
                <c:pt idx="1143">
                  <c:v>0.49589041095890413</c:v>
                </c:pt>
                <c:pt idx="1144">
                  <c:v>#N/A</c:v>
                </c:pt>
                <c:pt idx="1145">
                  <c:v>#N/A</c:v>
                </c:pt>
                <c:pt idx="1146">
                  <c:v>#N/A</c:v>
                </c:pt>
                <c:pt idx="1147">
                  <c:v>#N/A</c:v>
                </c:pt>
                <c:pt idx="1148">
                  <c:v>#N/A</c:v>
                </c:pt>
                <c:pt idx="1149">
                  <c:v>#N/A</c:v>
                </c:pt>
                <c:pt idx="1150">
                  <c:v>#N/A</c:v>
                </c:pt>
                <c:pt idx="1151">
                  <c:v>#N/A</c:v>
                </c:pt>
                <c:pt idx="1152">
                  <c:v>#N/A</c:v>
                </c:pt>
                <c:pt idx="1153">
                  <c:v>#N/A</c:v>
                </c:pt>
                <c:pt idx="1154">
                  <c:v>#N/A</c:v>
                </c:pt>
                <c:pt idx="1155">
                  <c:v>#N/A</c:v>
                </c:pt>
                <c:pt idx="1156">
                  <c:v>#N/A</c:v>
                </c:pt>
                <c:pt idx="1157">
                  <c:v>#N/A</c:v>
                </c:pt>
                <c:pt idx="1158">
                  <c:v>#N/A</c:v>
                </c:pt>
                <c:pt idx="1159">
                  <c:v>#N/A</c:v>
                </c:pt>
                <c:pt idx="1160">
                  <c:v>#N/A</c:v>
                </c:pt>
                <c:pt idx="1161">
                  <c:v>#N/A</c:v>
                </c:pt>
                <c:pt idx="1162">
                  <c:v>#N/A</c:v>
                </c:pt>
                <c:pt idx="1163">
                  <c:v>#N/A</c:v>
                </c:pt>
                <c:pt idx="1164">
                  <c:v>#N/A</c:v>
                </c:pt>
                <c:pt idx="1165">
                  <c:v>#N/A</c:v>
                </c:pt>
                <c:pt idx="1166">
                  <c:v>#N/A</c:v>
                </c:pt>
                <c:pt idx="1167">
                  <c:v>#N/A</c:v>
                </c:pt>
                <c:pt idx="1168">
                  <c:v>#N/A</c:v>
                </c:pt>
                <c:pt idx="1169">
                  <c:v>#N/A</c:v>
                </c:pt>
                <c:pt idx="1170">
                  <c:v>#N/A</c:v>
                </c:pt>
                <c:pt idx="1171">
                  <c:v>#N/A</c:v>
                </c:pt>
                <c:pt idx="1172">
                  <c:v>#N/A</c:v>
                </c:pt>
                <c:pt idx="1173">
                  <c:v>#N/A</c:v>
                </c:pt>
                <c:pt idx="1174">
                  <c:v>#N/A</c:v>
                </c:pt>
                <c:pt idx="1175">
                  <c:v>#N/A</c:v>
                </c:pt>
                <c:pt idx="1176">
                  <c:v>#N/A</c:v>
                </c:pt>
                <c:pt idx="1177">
                  <c:v>#N/A</c:v>
                </c:pt>
                <c:pt idx="1178">
                  <c:v>#N/A</c:v>
                </c:pt>
                <c:pt idx="1179">
                  <c:v>#N/A</c:v>
                </c:pt>
                <c:pt idx="1180">
                  <c:v>#N/A</c:v>
                </c:pt>
                <c:pt idx="1181">
                  <c:v>#N/A</c:v>
                </c:pt>
                <c:pt idx="1182">
                  <c:v>#N/A</c:v>
                </c:pt>
                <c:pt idx="1183">
                  <c:v>#N/A</c:v>
                </c:pt>
                <c:pt idx="1184">
                  <c:v>#N/A</c:v>
                </c:pt>
                <c:pt idx="1185">
                  <c:v>#N/A</c:v>
                </c:pt>
                <c:pt idx="1186">
                  <c:v>#N/A</c:v>
                </c:pt>
                <c:pt idx="1187">
                  <c:v>#N/A</c:v>
                </c:pt>
                <c:pt idx="1188">
                  <c:v>#N/A</c:v>
                </c:pt>
                <c:pt idx="1189">
                  <c:v>#N/A</c:v>
                </c:pt>
                <c:pt idx="1190">
                  <c:v>#N/A</c:v>
                </c:pt>
                <c:pt idx="1191">
                  <c:v>#N/A</c:v>
                </c:pt>
                <c:pt idx="1192">
                  <c:v>#N/A</c:v>
                </c:pt>
                <c:pt idx="1193">
                  <c:v>#N/A</c:v>
                </c:pt>
                <c:pt idx="1194">
                  <c:v>#N/A</c:v>
                </c:pt>
                <c:pt idx="1195">
                  <c:v>#N/A</c:v>
                </c:pt>
                <c:pt idx="1196">
                  <c:v>#N/A</c:v>
                </c:pt>
                <c:pt idx="1197">
                  <c:v>#N/A</c:v>
                </c:pt>
                <c:pt idx="1198">
                  <c:v>#N/A</c:v>
                </c:pt>
                <c:pt idx="1199">
                  <c:v>#N/A</c:v>
                </c:pt>
                <c:pt idx="1200">
                  <c:v>#N/A</c:v>
                </c:pt>
                <c:pt idx="1201">
                  <c:v>#N/A</c:v>
                </c:pt>
                <c:pt idx="1202">
                  <c:v>#N/A</c:v>
                </c:pt>
                <c:pt idx="1203">
                  <c:v>#N/A</c:v>
                </c:pt>
                <c:pt idx="1204">
                  <c:v>#N/A</c:v>
                </c:pt>
                <c:pt idx="1205">
                  <c:v>#N/A</c:v>
                </c:pt>
                <c:pt idx="1206">
                  <c:v>#N/A</c:v>
                </c:pt>
                <c:pt idx="1207">
                  <c:v>#N/A</c:v>
                </c:pt>
                <c:pt idx="1208">
                  <c:v>#N/A</c:v>
                </c:pt>
                <c:pt idx="1209">
                  <c:v>#N/A</c:v>
                </c:pt>
                <c:pt idx="1210">
                  <c:v>#N/A</c:v>
                </c:pt>
                <c:pt idx="1211">
                  <c:v>#N/A</c:v>
                </c:pt>
                <c:pt idx="1212">
                  <c:v>#N/A</c:v>
                </c:pt>
                <c:pt idx="1213">
                  <c:v>#N/A</c:v>
                </c:pt>
                <c:pt idx="1214">
                  <c:v>#N/A</c:v>
                </c:pt>
                <c:pt idx="1215">
                  <c:v>#N/A</c:v>
                </c:pt>
                <c:pt idx="1216">
                  <c:v>#N/A</c:v>
                </c:pt>
                <c:pt idx="1217">
                  <c:v>#N/A</c:v>
                </c:pt>
                <c:pt idx="1218">
                  <c:v>#N/A</c:v>
                </c:pt>
                <c:pt idx="1219">
                  <c:v>#N/A</c:v>
                </c:pt>
                <c:pt idx="1220">
                  <c:v>#N/A</c:v>
                </c:pt>
                <c:pt idx="1221">
                  <c:v>#N/A</c:v>
                </c:pt>
                <c:pt idx="1222">
                  <c:v>#N/A</c:v>
                </c:pt>
                <c:pt idx="1223">
                  <c:v>#N/A</c:v>
                </c:pt>
                <c:pt idx="1224">
                  <c:v>#N/A</c:v>
                </c:pt>
                <c:pt idx="1225">
                  <c:v>#N/A</c:v>
                </c:pt>
                <c:pt idx="1226">
                  <c:v>#N/A</c:v>
                </c:pt>
                <c:pt idx="1227">
                  <c:v>#N/A</c:v>
                </c:pt>
                <c:pt idx="1228">
                  <c:v>#N/A</c:v>
                </c:pt>
                <c:pt idx="1229">
                  <c:v>#N/A</c:v>
                </c:pt>
                <c:pt idx="1230">
                  <c:v>#N/A</c:v>
                </c:pt>
                <c:pt idx="1231">
                  <c:v>#N/A</c:v>
                </c:pt>
                <c:pt idx="1232">
                  <c:v>#N/A</c:v>
                </c:pt>
                <c:pt idx="1233">
                  <c:v>#N/A</c:v>
                </c:pt>
                <c:pt idx="1234">
                  <c:v>#N/A</c:v>
                </c:pt>
                <c:pt idx="1235">
                  <c:v>#N/A</c:v>
                </c:pt>
                <c:pt idx="1236">
                  <c:v>#N/A</c:v>
                </c:pt>
                <c:pt idx="1237">
                  <c:v>#N/A</c:v>
                </c:pt>
                <c:pt idx="1238">
                  <c:v>#N/A</c:v>
                </c:pt>
                <c:pt idx="1239">
                  <c:v>#N/A</c:v>
                </c:pt>
                <c:pt idx="1240">
                  <c:v>#N/A</c:v>
                </c:pt>
                <c:pt idx="1241">
                  <c:v>#N/A</c:v>
                </c:pt>
                <c:pt idx="1242">
                  <c:v>#N/A</c:v>
                </c:pt>
                <c:pt idx="1243">
                  <c:v>#N/A</c:v>
                </c:pt>
                <c:pt idx="1244">
                  <c:v>#N/A</c:v>
                </c:pt>
                <c:pt idx="1245">
                  <c:v>#N/A</c:v>
                </c:pt>
                <c:pt idx="1246">
                  <c:v>#N/A</c:v>
                </c:pt>
                <c:pt idx="1247">
                  <c:v>#N/A</c:v>
                </c:pt>
                <c:pt idx="1248">
                  <c:v>#N/A</c:v>
                </c:pt>
                <c:pt idx="1249">
                  <c:v>#N/A</c:v>
                </c:pt>
                <c:pt idx="1250">
                  <c:v>#N/A</c:v>
                </c:pt>
                <c:pt idx="1251">
                  <c:v>#N/A</c:v>
                </c:pt>
                <c:pt idx="1252">
                  <c:v>#N/A</c:v>
                </c:pt>
                <c:pt idx="1253">
                  <c:v>#N/A</c:v>
                </c:pt>
                <c:pt idx="1254">
                  <c:v>#N/A</c:v>
                </c:pt>
                <c:pt idx="1255">
                  <c:v>#N/A</c:v>
                </c:pt>
                <c:pt idx="1256">
                  <c:v>#N/A</c:v>
                </c:pt>
                <c:pt idx="1257">
                  <c:v>#N/A</c:v>
                </c:pt>
                <c:pt idx="1258">
                  <c:v>#N/A</c:v>
                </c:pt>
                <c:pt idx="1259">
                  <c:v>#N/A</c:v>
                </c:pt>
                <c:pt idx="1260">
                  <c:v>#N/A</c:v>
                </c:pt>
                <c:pt idx="1261">
                  <c:v>#N/A</c:v>
                </c:pt>
                <c:pt idx="1262">
                  <c:v>#N/A</c:v>
                </c:pt>
                <c:pt idx="1263">
                  <c:v>#N/A</c:v>
                </c:pt>
                <c:pt idx="1264">
                  <c:v>#N/A</c:v>
                </c:pt>
                <c:pt idx="1265">
                  <c:v>#N/A</c:v>
                </c:pt>
                <c:pt idx="1266">
                  <c:v>#N/A</c:v>
                </c:pt>
                <c:pt idx="1267">
                  <c:v>#N/A</c:v>
                </c:pt>
                <c:pt idx="1268">
                  <c:v>#N/A</c:v>
                </c:pt>
                <c:pt idx="1269">
                  <c:v>#N/A</c:v>
                </c:pt>
                <c:pt idx="1270">
                  <c:v>#N/A</c:v>
                </c:pt>
                <c:pt idx="1271">
                  <c:v>#N/A</c:v>
                </c:pt>
                <c:pt idx="1272">
                  <c:v>#N/A</c:v>
                </c:pt>
                <c:pt idx="1273">
                  <c:v>#N/A</c:v>
                </c:pt>
                <c:pt idx="1274">
                  <c:v>#N/A</c:v>
                </c:pt>
                <c:pt idx="1275">
                  <c:v>#N/A</c:v>
                </c:pt>
                <c:pt idx="1276">
                  <c:v>#N/A</c:v>
                </c:pt>
                <c:pt idx="1277">
                  <c:v>#N/A</c:v>
                </c:pt>
                <c:pt idx="1278">
                  <c:v>#N/A</c:v>
                </c:pt>
                <c:pt idx="1279">
                  <c:v>#N/A</c:v>
                </c:pt>
                <c:pt idx="1280">
                  <c:v>#N/A</c:v>
                </c:pt>
                <c:pt idx="1281">
                  <c:v>#N/A</c:v>
                </c:pt>
                <c:pt idx="1282">
                  <c:v>#N/A</c:v>
                </c:pt>
                <c:pt idx="1283">
                  <c:v>#N/A</c:v>
                </c:pt>
                <c:pt idx="1284">
                  <c:v>#N/A</c:v>
                </c:pt>
                <c:pt idx="1285">
                  <c:v>#N/A</c:v>
                </c:pt>
                <c:pt idx="1286">
                  <c:v>#N/A</c:v>
                </c:pt>
                <c:pt idx="1287">
                  <c:v>#N/A</c:v>
                </c:pt>
                <c:pt idx="1288">
                  <c:v>#N/A</c:v>
                </c:pt>
                <c:pt idx="1289">
                  <c:v>#N/A</c:v>
                </c:pt>
                <c:pt idx="1290">
                  <c:v>#N/A</c:v>
                </c:pt>
                <c:pt idx="1291">
                  <c:v>#N/A</c:v>
                </c:pt>
                <c:pt idx="1292">
                  <c:v>#N/A</c:v>
                </c:pt>
                <c:pt idx="1293">
                  <c:v>#N/A</c:v>
                </c:pt>
                <c:pt idx="1294">
                  <c:v>#N/A</c:v>
                </c:pt>
                <c:pt idx="1295">
                  <c:v>#N/A</c:v>
                </c:pt>
                <c:pt idx="1296">
                  <c:v>#N/A</c:v>
                </c:pt>
                <c:pt idx="1297">
                  <c:v>#N/A</c:v>
                </c:pt>
                <c:pt idx="1298">
                  <c:v>#N/A</c:v>
                </c:pt>
                <c:pt idx="1299">
                  <c:v>#N/A</c:v>
                </c:pt>
                <c:pt idx="1300">
                  <c:v>#N/A</c:v>
                </c:pt>
                <c:pt idx="1301">
                  <c:v>#N/A</c:v>
                </c:pt>
                <c:pt idx="1302">
                  <c:v>#N/A</c:v>
                </c:pt>
                <c:pt idx="1303">
                  <c:v>#N/A</c:v>
                </c:pt>
                <c:pt idx="1304">
                  <c:v>#N/A</c:v>
                </c:pt>
                <c:pt idx="1305">
                  <c:v>#N/A</c:v>
                </c:pt>
                <c:pt idx="1306">
                  <c:v>#N/A</c:v>
                </c:pt>
                <c:pt idx="1307">
                  <c:v>#N/A</c:v>
                </c:pt>
                <c:pt idx="1308">
                  <c:v>#N/A</c:v>
                </c:pt>
                <c:pt idx="1309">
                  <c:v>#N/A</c:v>
                </c:pt>
                <c:pt idx="1310">
                  <c:v>#N/A</c:v>
                </c:pt>
                <c:pt idx="1311">
                  <c:v>#N/A</c:v>
                </c:pt>
                <c:pt idx="1312">
                  <c:v>#N/A</c:v>
                </c:pt>
                <c:pt idx="1313">
                  <c:v>#N/A</c:v>
                </c:pt>
                <c:pt idx="1314">
                  <c:v>#N/A</c:v>
                </c:pt>
                <c:pt idx="1315">
                  <c:v>#N/A</c:v>
                </c:pt>
                <c:pt idx="1316">
                  <c:v>#N/A</c:v>
                </c:pt>
                <c:pt idx="1317">
                  <c:v>#N/A</c:v>
                </c:pt>
                <c:pt idx="1318">
                  <c:v>#N/A</c:v>
                </c:pt>
                <c:pt idx="1319">
                  <c:v>#N/A</c:v>
                </c:pt>
                <c:pt idx="1320">
                  <c:v>#N/A</c:v>
                </c:pt>
                <c:pt idx="1321">
                  <c:v>#N/A</c:v>
                </c:pt>
                <c:pt idx="1322">
                  <c:v>#N/A</c:v>
                </c:pt>
                <c:pt idx="1323">
                  <c:v>#N/A</c:v>
                </c:pt>
                <c:pt idx="1324">
                  <c:v>#N/A</c:v>
                </c:pt>
                <c:pt idx="1325">
                  <c:v>#N/A</c:v>
                </c:pt>
                <c:pt idx="1326">
                  <c:v>#N/A</c:v>
                </c:pt>
                <c:pt idx="1327">
                  <c:v>#N/A</c:v>
                </c:pt>
                <c:pt idx="1328">
                  <c:v>#N/A</c:v>
                </c:pt>
                <c:pt idx="1329">
                  <c:v>#N/A</c:v>
                </c:pt>
                <c:pt idx="1330">
                  <c:v>#N/A</c:v>
                </c:pt>
                <c:pt idx="1331">
                  <c:v>#N/A</c:v>
                </c:pt>
                <c:pt idx="1332">
                  <c:v>#N/A</c:v>
                </c:pt>
                <c:pt idx="1333">
                  <c:v>#N/A</c:v>
                </c:pt>
                <c:pt idx="1334">
                  <c:v>#N/A</c:v>
                </c:pt>
                <c:pt idx="1335">
                  <c:v>#N/A</c:v>
                </c:pt>
                <c:pt idx="1336">
                  <c:v>#N/A</c:v>
                </c:pt>
                <c:pt idx="1337">
                  <c:v>#N/A</c:v>
                </c:pt>
                <c:pt idx="1338">
                  <c:v>#N/A</c:v>
                </c:pt>
                <c:pt idx="1339">
                  <c:v>#N/A</c:v>
                </c:pt>
                <c:pt idx="1340">
                  <c:v>#N/A</c:v>
                </c:pt>
                <c:pt idx="1341">
                  <c:v>#N/A</c:v>
                </c:pt>
                <c:pt idx="1342">
                  <c:v>#N/A</c:v>
                </c:pt>
                <c:pt idx="1343">
                  <c:v>#N/A</c:v>
                </c:pt>
                <c:pt idx="1344">
                  <c:v>#N/A</c:v>
                </c:pt>
                <c:pt idx="1345">
                  <c:v>#N/A</c:v>
                </c:pt>
                <c:pt idx="1346">
                  <c:v>#N/A</c:v>
                </c:pt>
                <c:pt idx="1347">
                  <c:v>#N/A</c:v>
                </c:pt>
                <c:pt idx="1348">
                  <c:v>#N/A</c:v>
                </c:pt>
                <c:pt idx="1349">
                  <c:v>#N/A</c:v>
                </c:pt>
                <c:pt idx="1350">
                  <c:v>#N/A</c:v>
                </c:pt>
                <c:pt idx="1351">
                  <c:v>#N/A</c:v>
                </c:pt>
                <c:pt idx="1352">
                  <c:v>#N/A</c:v>
                </c:pt>
                <c:pt idx="1353">
                  <c:v>#N/A</c:v>
                </c:pt>
                <c:pt idx="1354">
                  <c:v>#N/A</c:v>
                </c:pt>
                <c:pt idx="1355">
                  <c:v>#N/A</c:v>
                </c:pt>
                <c:pt idx="1356">
                  <c:v>#N/A</c:v>
                </c:pt>
                <c:pt idx="1357">
                  <c:v>#N/A</c:v>
                </c:pt>
                <c:pt idx="1358">
                  <c:v>#N/A</c:v>
                </c:pt>
                <c:pt idx="1359">
                  <c:v>#N/A</c:v>
                </c:pt>
                <c:pt idx="1360">
                  <c:v>#N/A</c:v>
                </c:pt>
                <c:pt idx="1361">
                  <c:v>#N/A</c:v>
                </c:pt>
                <c:pt idx="1362">
                  <c:v>#N/A</c:v>
                </c:pt>
                <c:pt idx="1363">
                  <c:v>#N/A</c:v>
                </c:pt>
                <c:pt idx="1364">
                  <c:v>#N/A</c:v>
                </c:pt>
                <c:pt idx="1365">
                  <c:v>#N/A</c:v>
                </c:pt>
                <c:pt idx="1366">
                  <c:v>#N/A</c:v>
                </c:pt>
                <c:pt idx="1367">
                  <c:v>#N/A</c:v>
                </c:pt>
                <c:pt idx="1368">
                  <c:v>0.61643835616438358</c:v>
                </c:pt>
                <c:pt idx="1369">
                  <c:v>#N/A</c:v>
                </c:pt>
                <c:pt idx="1370">
                  <c:v>#N/A</c:v>
                </c:pt>
                <c:pt idx="1371">
                  <c:v>#N/A</c:v>
                </c:pt>
                <c:pt idx="1372">
                  <c:v>#N/A</c:v>
                </c:pt>
                <c:pt idx="1373">
                  <c:v>#N/A</c:v>
                </c:pt>
                <c:pt idx="1374">
                  <c:v>#N/A</c:v>
                </c:pt>
                <c:pt idx="1375">
                  <c:v>#N/A</c:v>
                </c:pt>
                <c:pt idx="1376">
                  <c:v>#N/A</c:v>
                </c:pt>
                <c:pt idx="1377">
                  <c:v>#N/A</c:v>
                </c:pt>
                <c:pt idx="1378">
                  <c:v>#N/A</c:v>
                </c:pt>
                <c:pt idx="1379">
                  <c:v>#N/A</c:v>
                </c:pt>
                <c:pt idx="1380">
                  <c:v>#N/A</c:v>
                </c:pt>
                <c:pt idx="1381">
                  <c:v>#N/A</c:v>
                </c:pt>
                <c:pt idx="1382">
                  <c:v>#N/A</c:v>
                </c:pt>
                <c:pt idx="1383">
                  <c:v>#N/A</c:v>
                </c:pt>
                <c:pt idx="1384">
                  <c:v>#N/A</c:v>
                </c:pt>
                <c:pt idx="1385">
                  <c:v>#N/A</c:v>
                </c:pt>
                <c:pt idx="1386">
                  <c:v>#N/A</c:v>
                </c:pt>
                <c:pt idx="1387">
                  <c:v>#N/A</c:v>
                </c:pt>
                <c:pt idx="1388">
                  <c:v>#N/A</c:v>
                </c:pt>
                <c:pt idx="1389">
                  <c:v>#N/A</c:v>
                </c:pt>
                <c:pt idx="1390">
                  <c:v>#N/A</c:v>
                </c:pt>
                <c:pt idx="1391">
                  <c:v>#N/A</c:v>
                </c:pt>
                <c:pt idx="1392">
                  <c:v>#N/A</c:v>
                </c:pt>
                <c:pt idx="1393">
                  <c:v>#N/A</c:v>
                </c:pt>
                <c:pt idx="1394">
                  <c:v>#N/A</c:v>
                </c:pt>
                <c:pt idx="1395">
                  <c:v>#N/A</c:v>
                </c:pt>
                <c:pt idx="1396">
                  <c:v>#N/A</c:v>
                </c:pt>
                <c:pt idx="1397">
                  <c:v>#N/A</c:v>
                </c:pt>
                <c:pt idx="1398">
                  <c:v>#N/A</c:v>
                </c:pt>
                <c:pt idx="1399">
                  <c:v>#N/A</c:v>
                </c:pt>
                <c:pt idx="1400">
                  <c:v>#N/A</c:v>
                </c:pt>
                <c:pt idx="1401">
                  <c:v>#N/A</c:v>
                </c:pt>
                <c:pt idx="1402">
                  <c:v>#N/A</c:v>
                </c:pt>
                <c:pt idx="1403">
                  <c:v>#N/A</c:v>
                </c:pt>
                <c:pt idx="1404">
                  <c:v>#N/A</c:v>
                </c:pt>
                <c:pt idx="1405">
                  <c:v>#N/A</c:v>
                </c:pt>
                <c:pt idx="1406">
                  <c:v>#N/A</c:v>
                </c:pt>
                <c:pt idx="1407">
                  <c:v>#N/A</c:v>
                </c:pt>
                <c:pt idx="1408">
                  <c:v>#N/A</c:v>
                </c:pt>
                <c:pt idx="1409">
                  <c:v>#N/A</c:v>
                </c:pt>
                <c:pt idx="1410">
                  <c:v>#N/A</c:v>
                </c:pt>
                <c:pt idx="1411">
                  <c:v>#N/A</c:v>
                </c:pt>
                <c:pt idx="1412">
                  <c:v>#N/A</c:v>
                </c:pt>
                <c:pt idx="1413">
                  <c:v>#N/A</c:v>
                </c:pt>
                <c:pt idx="1414">
                  <c:v>#N/A</c:v>
                </c:pt>
                <c:pt idx="1415">
                  <c:v>#N/A</c:v>
                </c:pt>
                <c:pt idx="1416">
                  <c:v>#N/A</c:v>
                </c:pt>
                <c:pt idx="1417">
                  <c:v>#N/A</c:v>
                </c:pt>
                <c:pt idx="1418">
                  <c:v>#N/A</c:v>
                </c:pt>
                <c:pt idx="1419">
                  <c:v>#N/A</c:v>
                </c:pt>
                <c:pt idx="1420">
                  <c:v>#N/A</c:v>
                </c:pt>
                <c:pt idx="1421">
                  <c:v>#N/A</c:v>
                </c:pt>
                <c:pt idx="1422">
                  <c:v>#N/A</c:v>
                </c:pt>
                <c:pt idx="1423">
                  <c:v>#N/A</c:v>
                </c:pt>
                <c:pt idx="1424">
                  <c:v>#N/A</c:v>
                </c:pt>
                <c:pt idx="1425">
                  <c:v>#N/A</c:v>
                </c:pt>
                <c:pt idx="1426">
                  <c:v>#N/A</c:v>
                </c:pt>
                <c:pt idx="1427">
                  <c:v>#N/A</c:v>
                </c:pt>
                <c:pt idx="1428">
                  <c:v>#N/A</c:v>
                </c:pt>
                <c:pt idx="1429">
                  <c:v>#N/A</c:v>
                </c:pt>
                <c:pt idx="1430">
                  <c:v>#N/A</c:v>
                </c:pt>
                <c:pt idx="1431">
                  <c:v>#N/A</c:v>
                </c:pt>
                <c:pt idx="1432">
                  <c:v>#N/A</c:v>
                </c:pt>
                <c:pt idx="1433">
                  <c:v>#N/A</c:v>
                </c:pt>
                <c:pt idx="1434">
                  <c:v>#N/A</c:v>
                </c:pt>
                <c:pt idx="1435">
                  <c:v>#N/A</c:v>
                </c:pt>
                <c:pt idx="1436">
                  <c:v>#N/A</c:v>
                </c:pt>
                <c:pt idx="1437">
                  <c:v>#N/A</c:v>
                </c:pt>
                <c:pt idx="1438">
                  <c:v>#N/A</c:v>
                </c:pt>
                <c:pt idx="1439">
                  <c:v>#N/A</c:v>
                </c:pt>
                <c:pt idx="1440">
                  <c:v>#N/A</c:v>
                </c:pt>
                <c:pt idx="1441">
                  <c:v>#N/A</c:v>
                </c:pt>
                <c:pt idx="1442">
                  <c:v>#N/A</c:v>
                </c:pt>
                <c:pt idx="1443">
                  <c:v>#N/A</c:v>
                </c:pt>
                <c:pt idx="1444">
                  <c:v>#N/A</c:v>
                </c:pt>
                <c:pt idx="1445">
                  <c:v>#N/A</c:v>
                </c:pt>
                <c:pt idx="1446">
                  <c:v>#N/A</c:v>
                </c:pt>
                <c:pt idx="1447">
                  <c:v>#N/A</c:v>
                </c:pt>
                <c:pt idx="1448">
                  <c:v>#N/A</c:v>
                </c:pt>
                <c:pt idx="1449">
                  <c:v>#N/A</c:v>
                </c:pt>
                <c:pt idx="1450">
                  <c:v>#N/A</c:v>
                </c:pt>
                <c:pt idx="1451">
                  <c:v>#N/A</c:v>
                </c:pt>
                <c:pt idx="1452">
                  <c:v>#N/A</c:v>
                </c:pt>
                <c:pt idx="1453">
                  <c:v>#N/A</c:v>
                </c:pt>
                <c:pt idx="1454">
                  <c:v>#N/A</c:v>
                </c:pt>
                <c:pt idx="1455">
                  <c:v>#N/A</c:v>
                </c:pt>
                <c:pt idx="1456">
                  <c:v>#N/A</c:v>
                </c:pt>
                <c:pt idx="1457">
                  <c:v>#N/A</c:v>
                </c:pt>
                <c:pt idx="1458">
                  <c:v>#N/A</c:v>
                </c:pt>
                <c:pt idx="1459">
                  <c:v>#N/A</c:v>
                </c:pt>
                <c:pt idx="1460">
                  <c:v>#N/A</c:v>
                </c:pt>
                <c:pt idx="1461">
                  <c:v>#N/A</c:v>
                </c:pt>
                <c:pt idx="1462">
                  <c:v>#N/A</c:v>
                </c:pt>
                <c:pt idx="1463">
                  <c:v>#N/A</c:v>
                </c:pt>
                <c:pt idx="1464">
                  <c:v>#N/A</c:v>
                </c:pt>
                <c:pt idx="1465">
                  <c:v>#N/A</c:v>
                </c:pt>
                <c:pt idx="1466">
                  <c:v>#N/A</c:v>
                </c:pt>
                <c:pt idx="1467">
                  <c:v>#N/A</c:v>
                </c:pt>
                <c:pt idx="1468">
                  <c:v>#N/A</c:v>
                </c:pt>
                <c:pt idx="1469">
                  <c:v>#N/A</c:v>
                </c:pt>
                <c:pt idx="1470">
                  <c:v>#N/A</c:v>
                </c:pt>
                <c:pt idx="1471">
                  <c:v>#N/A</c:v>
                </c:pt>
                <c:pt idx="1472">
                  <c:v>#N/A</c:v>
                </c:pt>
                <c:pt idx="1473">
                  <c:v>#N/A</c:v>
                </c:pt>
                <c:pt idx="1474">
                  <c:v>#N/A</c:v>
                </c:pt>
                <c:pt idx="1475">
                  <c:v>#N/A</c:v>
                </c:pt>
                <c:pt idx="1476">
                  <c:v>#N/A</c:v>
                </c:pt>
                <c:pt idx="1477">
                  <c:v>#N/A</c:v>
                </c:pt>
                <c:pt idx="1478">
                  <c:v>#N/A</c:v>
                </c:pt>
                <c:pt idx="1479">
                  <c:v>#N/A</c:v>
                </c:pt>
                <c:pt idx="1480">
                  <c:v>#N/A</c:v>
                </c:pt>
                <c:pt idx="1481">
                  <c:v>#N/A</c:v>
                </c:pt>
                <c:pt idx="1482">
                  <c:v>#N/A</c:v>
                </c:pt>
                <c:pt idx="1483">
                  <c:v>#N/A</c:v>
                </c:pt>
                <c:pt idx="1484">
                  <c:v>#N/A</c:v>
                </c:pt>
                <c:pt idx="1485">
                  <c:v>#N/A</c:v>
                </c:pt>
                <c:pt idx="1486">
                  <c:v>#N/A</c:v>
                </c:pt>
                <c:pt idx="1487">
                  <c:v>#N/A</c:v>
                </c:pt>
                <c:pt idx="1488">
                  <c:v>#N/A</c:v>
                </c:pt>
                <c:pt idx="1489">
                  <c:v>#N/A</c:v>
                </c:pt>
                <c:pt idx="1490">
                  <c:v>#N/A</c:v>
                </c:pt>
                <c:pt idx="1491">
                  <c:v>#N/A</c:v>
                </c:pt>
                <c:pt idx="1492">
                  <c:v>#N/A</c:v>
                </c:pt>
                <c:pt idx="1493">
                  <c:v>#N/A</c:v>
                </c:pt>
                <c:pt idx="1494">
                  <c:v>#N/A</c:v>
                </c:pt>
                <c:pt idx="1495">
                  <c:v>#N/A</c:v>
                </c:pt>
                <c:pt idx="1496">
                  <c:v>#N/A</c:v>
                </c:pt>
                <c:pt idx="1497">
                  <c:v>#N/A</c:v>
                </c:pt>
                <c:pt idx="1498">
                  <c:v>#N/A</c:v>
                </c:pt>
                <c:pt idx="1499">
                  <c:v>#N/A</c:v>
                </c:pt>
                <c:pt idx="1500">
                  <c:v>#N/A</c:v>
                </c:pt>
                <c:pt idx="1501">
                  <c:v>#N/A</c:v>
                </c:pt>
                <c:pt idx="1502">
                  <c:v>#N/A</c:v>
                </c:pt>
                <c:pt idx="1503">
                  <c:v>#N/A</c:v>
                </c:pt>
                <c:pt idx="1504">
                  <c:v>#N/A</c:v>
                </c:pt>
                <c:pt idx="1505">
                  <c:v>#N/A</c:v>
                </c:pt>
                <c:pt idx="1506">
                  <c:v>#N/A</c:v>
                </c:pt>
                <c:pt idx="1507">
                  <c:v>#N/A</c:v>
                </c:pt>
                <c:pt idx="1508">
                  <c:v>#N/A</c:v>
                </c:pt>
                <c:pt idx="1509">
                  <c:v>#N/A</c:v>
                </c:pt>
                <c:pt idx="1510">
                  <c:v>#N/A</c:v>
                </c:pt>
                <c:pt idx="1511">
                  <c:v>#N/A</c:v>
                </c:pt>
                <c:pt idx="1512">
                  <c:v>#N/A</c:v>
                </c:pt>
                <c:pt idx="1513">
                  <c:v>#N/A</c:v>
                </c:pt>
                <c:pt idx="1514">
                  <c:v>#N/A</c:v>
                </c:pt>
                <c:pt idx="1515">
                  <c:v>#N/A</c:v>
                </c:pt>
                <c:pt idx="1516">
                  <c:v>#N/A</c:v>
                </c:pt>
                <c:pt idx="1517">
                  <c:v>#N/A</c:v>
                </c:pt>
                <c:pt idx="1518">
                  <c:v>#N/A</c:v>
                </c:pt>
                <c:pt idx="1519">
                  <c:v>#N/A</c:v>
                </c:pt>
                <c:pt idx="1520">
                  <c:v>#N/A</c:v>
                </c:pt>
                <c:pt idx="1521">
                  <c:v>#N/A</c:v>
                </c:pt>
                <c:pt idx="1522">
                  <c:v>#N/A</c:v>
                </c:pt>
                <c:pt idx="1523">
                  <c:v>#N/A</c:v>
                </c:pt>
                <c:pt idx="1524">
                  <c:v>#N/A</c:v>
                </c:pt>
                <c:pt idx="1525">
                  <c:v>#N/A</c:v>
                </c:pt>
                <c:pt idx="1526">
                  <c:v>#N/A</c:v>
                </c:pt>
                <c:pt idx="1527">
                  <c:v>#N/A</c:v>
                </c:pt>
                <c:pt idx="1528">
                  <c:v>#N/A</c:v>
                </c:pt>
                <c:pt idx="1529">
                  <c:v>#N/A</c:v>
                </c:pt>
                <c:pt idx="1530">
                  <c:v>#N/A</c:v>
                </c:pt>
                <c:pt idx="1531">
                  <c:v>#N/A</c:v>
                </c:pt>
                <c:pt idx="1532">
                  <c:v>#N/A</c:v>
                </c:pt>
                <c:pt idx="1533">
                  <c:v>#N/A</c:v>
                </c:pt>
                <c:pt idx="1534">
                  <c:v>#N/A</c:v>
                </c:pt>
                <c:pt idx="1535">
                  <c:v>#N/A</c:v>
                </c:pt>
                <c:pt idx="1536">
                  <c:v>#N/A</c:v>
                </c:pt>
                <c:pt idx="1537">
                  <c:v>#N/A</c:v>
                </c:pt>
                <c:pt idx="1538">
                  <c:v>#N/A</c:v>
                </c:pt>
                <c:pt idx="1539">
                  <c:v>#N/A</c:v>
                </c:pt>
                <c:pt idx="1540">
                  <c:v>#N/A</c:v>
                </c:pt>
                <c:pt idx="1541">
                  <c:v>#N/A</c:v>
                </c:pt>
                <c:pt idx="1542">
                  <c:v>#N/A</c:v>
                </c:pt>
                <c:pt idx="1543">
                  <c:v>#N/A</c:v>
                </c:pt>
                <c:pt idx="1544">
                  <c:v>#N/A</c:v>
                </c:pt>
                <c:pt idx="1545">
                  <c:v>#N/A</c:v>
                </c:pt>
                <c:pt idx="1546">
                  <c:v>#N/A</c:v>
                </c:pt>
                <c:pt idx="1547">
                  <c:v>#N/A</c:v>
                </c:pt>
                <c:pt idx="1548">
                  <c:v>#N/A</c:v>
                </c:pt>
                <c:pt idx="1549">
                  <c:v>#N/A</c:v>
                </c:pt>
                <c:pt idx="1550">
                  <c:v>#N/A</c:v>
                </c:pt>
                <c:pt idx="1551">
                  <c:v>#N/A</c:v>
                </c:pt>
                <c:pt idx="1552">
                  <c:v>#N/A</c:v>
                </c:pt>
                <c:pt idx="1553">
                  <c:v>#N/A</c:v>
                </c:pt>
                <c:pt idx="1554">
                  <c:v>#N/A</c:v>
                </c:pt>
                <c:pt idx="1555">
                  <c:v>#N/A</c:v>
                </c:pt>
                <c:pt idx="1556">
                  <c:v>#N/A</c:v>
                </c:pt>
                <c:pt idx="1557">
                  <c:v>#N/A</c:v>
                </c:pt>
                <c:pt idx="1558">
                  <c:v>#N/A</c:v>
                </c:pt>
                <c:pt idx="1559">
                  <c:v>#N/A</c:v>
                </c:pt>
                <c:pt idx="1560">
                  <c:v>#N/A</c:v>
                </c:pt>
                <c:pt idx="1561">
                  <c:v>#N/A</c:v>
                </c:pt>
                <c:pt idx="1562">
                  <c:v>#N/A</c:v>
                </c:pt>
                <c:pt idx="1563">
                  <c:v>#N/A</c:v>
                </c:pt>
                <c:pt idx="1564">
                  <c:v>#N/A</c:v>
                </c:pt>
                <c:pt idx="1565">
                  <c:v>#N/A</c:v>
                </c:pt>
                <c:pt idx="1566">
                  <c:v>#N/A</c:v>
                </c:pt>
                <c:pt idx="1567">
                  <c:v>#N/A</c:v>
                </c:pt>
                <c:pt idx="1568">
                  <c:v>#N/A</c:v>
                </c:pt>
                <c:pt idx="1569">
                  <c:v>#N/A</c:v>
                </c:pt>
                <c:pt idx="1570">
                  <c:v>#N/A</c:v>
                </c:pt>
                <c:pt idx="1571">
                  <c:v>#N/A</c:v>
                </c:pt>
                <c:pt idx="1572">
                  <c:v>#N/A</c:v>
                </c:pt>
                <c:pt idx="1573">
                  <c:v>#N/A</c:v>
                </c:pt>
                <c:pt idx="1574">
                  <c:v>#N/A</c:v>
                </c:pt>
                <c:pt idx="1575">
                  <c:v>#N/A</c:v>
                </c:pt>
                <c:pt idx="1576">
                  <c:v>#N/A</c:v>
                </c:pt>
                <c:pt idx="1577">
                  <c:v>#N/A</c:v>
                </c:pt>
                <c:pt idx="1578">
                  <c:v>#N/A</c:v>
                </c:pt>
                <c:pt idx="1579">
                  <c:v>#N/A</c:v>
                </c:pt>
                <c:pt idx="1580">
                  <c:v>#N/A</c:v>
                </c:pt>
                <c:pt idx="1581">
                  <c:v>#N/A</c:v>
                </c:pt>
                <c:pt idx="1582">
                  <c:v>#N/A</c:v>
                </c:pt>
                <c:pt idx="1583">
                  <c:v>#N/A</c:v>
                </c:pt>
                <c:pt idx="1584">
                  <c:v>#N/A</c:v>
                </c:pt>
                <c:pt idx="1585">
                  <c:v>#N/A</c:v>
                </c:pt>
                <c:pt idx="1586">
                  <c:v>#N/A</c:v>
                </c:pt>
                <c:pt idx="1587">
                  <c:v>#N/A</c:v>
                </c:pt>
                <c:pt idx="1588">
                  <c:v>#N/A</c:v>
                </c:pt>
                <c:pt idx="1589">
                  <c:v>#N/A</c:v>
                </c:pt>
                <c:pt idx="1590">
                  <c:v>#N/A</c:v>
                </c:pt>
                <c:pt idx="1591">
                  <c:v>#N/A</c:v>
                </c:pt>
                <c:pt idx="1592">
                  <c:v>#N/A</c:v>
                </c:pt>
                <c:pt idx="1593">
                  <c:v>#N/A</c:v>
                </c:pt>
                <c:pt idx="1594">
                  <c:v>#N/A</c:v>
                </c:pt>
                <c:pt idx="1595">
                  <c:v>#N/A</c:v>
                </c:pt>
                <c:pt idx="1596">
                  <c:v>#N/A</c:v>
                </c:pt>
                <c:pt idx="1597">
                  <c:v>#N/A</c:v>
                </c:pt>
                <c:pt idx="1598">
                  <c:v>#N/A</c:v>
                </c:pt>
                <c:pt idx="1599">
                  <c:v>#N/A</c:v>
                </c:pt>
                <c:pt idx="1600">
                  <c:v>#N/A</c:v>
                </c:pt>
                <c:pt idx="1601">
                  <c:v>#N/A</c:v>
                </c:pt>
                <c:pt idx="1602">
                  <c:v>#N/A</c:v>
                </c:pt>
                <c:pt idx="1603">
                  <c:v>#N/A</c:v>
                </c:pt>
                <c:pt idx="1604">
                  <c:v>#N/A</c:v>
                </c:pt>
                <c:pt idx="1605">
                  <c:v>#N/A</c:v>
                </c:pt>
                <c:pt idx="1606">
                  <c:v>#N/A</c:v>
                </c:pt>
                <c:pt idx="1607">
                  <c:v>#N/A</c:v>
                </c:pt>
                <c:pt idx="1608">
                  <c:v>#N/A</c:v>
                </c:pt>
                <c:pt idx="1609">
                  <c:v>#N/A</c:v>
                </c:pt>
                <c:pt idx="1610">
                  <c:v>#N/A</c:v>
                </c:pt>
                <c:pt idx="1611">
                  <c:v>#N/A</c:v>
                </c:pt>
                <c:pt idx="1612">
                  <c:v>#N/A</c:v>
                </c:pt>
                <c:pt idx="1613">
                  <c:v>#N/A</c:v>
                </c:pt>
                <c:pt idx="1614">
                  <c:v>#N/A</c:v>
                </c:pt>
                <c:pt idx="1615">
                  <c:v>#N/A</c:v>
                </c:pt>
                <c:pt idx="1616">
                  <c:v>#N/A</c:v>
                </c:pt>
                <c:pt idx="1617">
                  <c:v>#N/A</c:v>
                </c:pt>
                <c:pt idx="1618">
                  <c:v>#N/A</c:v>
                </c:pt>
                <c:pt idx="1619">
                  <c:v>#N/A</c:v>
                </c:pt>
                <c:pt idx="1620">
                  <c:v>#N/A</c:v>
                </c:pt>
                <c:pt idx="1621">
                  <c:v>#N/A</c:v>
                </c:pt>
                <c:pt idx="1622">
                  <c:v>#N/A</c:v>
                </c:pt>
                <c:pt idx="1623">
                  <c:v>#N/A</c:v>
                </c:pt>
                <c:pt idx="1624">
                  <c:v>#N/A</c:v>
                </c:pt>
                <c:pt idx="1625">
                  <c:v>#N/A</c:v>
                </c:pt>
                <c:pt idx="1626">
                  <c:v>#N/A</c:v>
                </c:pt>
                <c:pt idx="1627">
                  <c:v>#N/A</c:v>
                </c:pt>
                <c:pt idx="1628">
                  <c:v>#N/A</c:v>
                </c:pt>
                <c:pt idx="1629">
                  <c:v>#N/A</c:v>
                </c:pt>
                <c:pt idx="1630">
                  <c:v>#N/A</c:v>
                </c:pt>
                <c:pt idx="1631">
                  <c:v>#N/A</c:v>
                </c:pt>
                <c:pt idx="1632">
                  <c:v>#N/A</c:v>
                </c:pt>
                <c:pt idx="1633">
                  <c:v>#N/A</c:v>
                </c:pt>
                <c:pt idx="1634">
                  <c:v>#N/A</c:v>
                </c:pt>
                <c:pt idx="1635">
                  <c:v>#N/A</c:v>
                </c:pt>
                <c:pt idx="1636">
                  <c:v>#N/A</c:v>
                </c:pt>
                <c:pt idx="1637">
                  <c:v>#N/A</c:v>
                </c:pt>
                <c:pt idx="1638">
                  <c:v>#N/A</c:v>
                </c:pt>
                <c:pt idx="1639">
                  <c:v>#N/A</c:v>
                </c:pt>
                <c:pt idx="1640">
                  <c:v>#N/A</c:v>
                </c:pt>
                <c:pt idx="1641">
                  <c:v>#N/A</c:v>
                </c:pt>
                <c:pt idx="1642">
                  <c:v>#N/A</c:v>
                </c:pt>
                <c:pt idx="1643">
                  <c:v>#N/A</c:v>
                </c:pt>
                <c:pt idx="1644">
                  <c:v>#N/A</c:v>
                </c:pt>
                <c:pt idx="1645">
                  <c:v>#N/A</c:v>
                </c:pt>
                <c:pt idx="1646">
                  <c:v>#N/A</c:v>
                </c:pt>
                <c:pt idx="1647">
                  <c:v>#N/A</c:v>
                </c:pt>
                <c:pt idx="1648">
                  <c:v>#N/A</c:v>
                </c:pt>
                <c:pt idx="1649">
                  <c:v>#N/A</c:v>
                </c:pt>
                <c:pt idx="1650">
                  <c:v>#N/A</c:v>
                </c:pt>
                <c:pt idx="1651">
                  <c:v>#N/A</c:v>
                </c:pt>
                <c:pt idx="1652">
                  <c:v>#N/A</c:v>
                </c:pt>
                <c:pt idx="1653">
                  <c:v>#N/A</c:v>
                </c:pt>
                <c:pt idx="1654">
                  <c:v>#N/A</c:v>
                </c:pt>
                <c:pt idx="1655">
                  <c:v>#N/A</c:v>
                </c:pt>
                <c:pt idx="1656">
                  <c:v>#N/A</c:v>
                </c:pt>
                <c:pt idx="1657">
                  <c:v>#N/A</c:v>
                </c:pt>
                <c:pt idx="1658">
                  <c:v>#N/A</c:v>
                </c:pt>
                <c:pt idx="1659">
                  <c:v>#N/A</c:v>
                </c:pt>
                <c:pt idx="1660">
                  <c:v>#N/A</c:v>
                </c:pt>
                <c:pt idx="1661">
                  <c:v>#N/A</c:v>
                </c:pt>
                <c:pt idx="1662">
                  <c:v>#N/A</c:v>
                </c:pt>
                <c:pt idx="1663">
                  <c:v>#N/A</c:v>
                </c:pt>
                <c:pt idx="1664">
                  <c:v>#N/A</c:v>
                </c:pt>
                <c:pt idx="1665">
                  <c:v>#N/A</c:v>
                </c:pt>
                <c:pt idx="1666">
                  <c:v>#N/A</c:v>
                </c:pt>
                <c:pt idx="1667">
                  <c:v>#N/A</c:v>
                </c:pt>
                <c:pt idx="1668">
                  <c:v>#N/A</c:v>
                </c:pt>
                <c:pt idx="1669">
                  <c:v>#N/A</c:v>
                </c:pt>
                <c:pt idx="1670">
                  <c:v>#N/A</c:v>
                </c:pt>
                <c:pt idx="1671">
                  <c:v>#N/A</c:v>
                </c:pt>
                <c:pt idx="1672">
                  <c:v>#N/A</c:v>
                </c:pt>
                <c:pt idx="1673">
                  <c:v>#N/A</c:v>
                </c:pt>
                <c:pt idx="1674">
                  <c:v>#N/A</c:v>
                </c:pt>
                <c:pt idx="1675">
                  <c:v>#N/A</c:v>
                </c:pt>
                <c:pt idx="1676">
                  <c:v>#N/A</c:v>
                </c:pt>
                <c:pt idx="1677">
                  <c:v>#N/A</c:v>
                </c:pt>
                <c:pt idx="1678">
                  <c:v>#N/A</c:v>
                </c:pt>
                <c:pt idx="1679">
                  <c:v>#N/A</c:v>
                </c:pt>
                <c:pt idx="1680">
                  <c:v>#N/A</c:v>
                </c:pt>
                <c:pt idx="1681">
                  <c:v>#N/A</c:v>
                </c:pt>
                <c:pt idx="1682">
                  <c:v>#N/A</c:v>
                </c:pt>
                <c:pt idx="1683">
                  <c:v>#N/A</c:v>
                </c:pt>
                <c:pt idx="1684">
                  <c:v>#N/A</c:v>
                </c:pt>
                <c:pt idx="1685">
                  <c:v>#N/A</c:v>
                </c:pt>
                <c:pt idx="1686">
                  <c:v>#N/A</c:v>
                </c:pt>
                <c:pt idx="1687">
                  <c:v>#N/A</c:v>
                </c:pt>
                <c:pt idx="1688">
                  <c:v>#N/A</c:v>
                </c:pt>
                <c:pt idx="1689">
                  <c:v>#N/A</c:v>
                </c:pt>
                <c:pt idx="1690">
                  <c:v>#N/A</c:v>
                </c:pt>
                <c:pt idx="1691">
                  <c:v>#N/A</c:v>
                </c:pt>
                <c:pt idx="1692">
                  <c:v>#N/A</c:v>
                </c:pt>
                <c:pt idx="1693">
                  <c:v>#N/A</c:v>
                </c:pt>
                <c:pt idx="1694">
                  <c:v>#N/A</c:v>
                </c:pt>
                <c:pt idx="1695">
                  <c:v>#N/A</c:v>
                </c:pt>
                <c:pt idx="1696">
                  <c:v>#N/A</c:v>
                </c:pt>
                <c:pt idx="1697">
                  <c:v>#N/A</c:v>
                </c:pt>
                <c:pt idx="1698">
                  <c:v>#N/A</c:v>
                </c:pt>
                <c:pt idx="1699">
                  <c:v>#N/A</c:v>
                </c:pt>
                <c:pt idx="1700">
                  <c:v>#N/A</c:v>
                </c:pt>
                <c:pt idx="1701">
                  <c:v>#N/A</c:v>
                </c:pt>
                <c:pt idx="1702">
                  <c:v>#N/A</c:v>
                </c:pt>
                <c:pt idx="1703">
                  <c:v>#N/A</c:v>
                </c:pt>
                <c:pt idx="1704">
                  <c:v>#N/A</c:v>
                </c:pt>
                <c:pt idx="1705">
                  <c:v>#N/A</c:v>
                </c:pt>
                <c:pt idx="1706">
                  <c:v>#N/A</c:v>
                </c:pt>
                <c:pt idx="1707">
                  <c:v>#N/A</c:v>
                </c:pt>
                <c:pt idx="1708">
                  <c:v>#N/A</c:v>
                </c:pt>
                <c:pt idx="1709">
                  <c:v>#N/A</c:v>
                </c:pt>
                <c:pt idx="1710">
                  <c:v>#N/A</c:v>
                </c:pt>
                <c:pt idx="1711">
                  <c:v>#N/A</c:v>
                </c:pt>
                <c:pt idx="1712">
                  <c:v>#N/A</c:v>
                </c:pt>
                <c:pt idx="1713">
                  <c:v>#N/A</c:v>
                </c:pt>
                <c:pt idx="1714">
                  <c:v>#N/A</c:v>
                </c:pt>
                <c:pt idx="1715">
                  <c:v>#N/A</c:v>
                </c:pt>
                <c:pt idx="1716">
                  <c:v>#N/A</c:v>
                </c:pt>
                <c:pt idx="1717">
                  <c:v>#N/A</c:v>
                </c:pt>
                <c:pt idx="1718">
                  <c:v>#N/A</c:v>
                </c:pt>
                <c:pt idx="1719">
                  <c:v>#N/A</c:v>
                </c:pt>
                <c:pt idx="1720">
                  <c:v>#N/A</c:v>
                </c:pt>
                <c:pt idx="1721">
                  <c:v>#N/A</c:v>
                </c:pt>
                <c:pt idx="1722">
                  <c:v>#N/A</c:v>
                </c:pt>
                <c:pt idx="1723">
                  <c:v>#N/A</c:v>
                </c:pt>
                <c:pt idx="1724">
                  <c:v>#N/A</c:v>
                </c:pt>
                <c:pt idx="1725">
                  <c:v>#N/A</c:v>
                </c:pt>
                <c:pt idx="1726">
                  <c:v>#N/A</c:v>
                </c:pt>
                <c:pt idx="1727">
                  <c:v>#N/A</c:v>
                </c:pt>
                <c:pt idx="1728">
                  <c:v>#N/A</c:v>
                </c:pt>
                <c:pt idx="1729">
                  <c:v>#N/A</c:v>
                </c:pt>
                <c:pt idx="1730">
                  <c:v>#N/A</c:v>
                </c:pt>
                <c:pt idx="1731">
                  <c:v>#N/A</c:v>
                </c:pt>
                <c:pt idx="1732">
                  <c:v>#N/A</c:v>
                </c:pt>
                <c:pt idx="1733">
                  <c:v>#N/A</c:v>
                </c:pt>
                <c:pt idx="1734">
                  <c:v>#N/A</c:v>
                </c:pt>
                <c:pt idx="1735">
                  <c:v>#N/A</c:v>
                </c:pt>
                <c:pt idx="1736">
                  <c:v>#N/A</c:v>
                </c:pt>
                <c:pt idx="1737">
                  <c:v>#N/A</c:v>
                </c:pt>
                <c:pt idx="1738">
                  <c:v>#N/A</c:v>
                </c:pt>
                <c:pt idx="1739">
                  <c:v>#N/A</c:v>
                </c:pt>
                <c:pt idx="1740">
                  <c:v>#N/A</c:v>
                </c:pt>
                <c:pt idx="1741">
                  <c:v>#N/A</c:v>
                </c:pt>
                <c:pt idx="1742">
                  <c:v>#N/A</c:v>
                </c:pt>
                <c:pt idx="1743">
                  <c:v>#N/A</c:v>
                </c:pt>
                <c:pt idx="1744">
                  <c:v>#N/A</c:v>
                </c:pt>
                <c:pt idx="1745">
                  <c:v>#N/A</c:v>
                </c:pt>
                <c:pt idx="1746">
                  <c:v>#N/A</c:v>
                </c:pt>
                <c:pt idx="1747">
                  <c:v>#N/A</c:v>
                </c:pt>
                <c:pt idx="1748">
                  <c:v>#N/A</c:v>
                </c:pt>
                <c:pt idx="1749">
                  <c:v>#N/A</c:v>
                </c:pt>
                <c:pt idx="1750">
                  <c:v>#N/A</c:v>
                </c:pt>
                <c:pt idx="1751">
                  <c:v>#N/A</c:v>
                </c:pt>
                <c:pt idx="1752">
                  <c:v>#N/A</c:v>
                </c:pt>
                <c:pt idx="1753">
                  <c:v>#N/A</c:v>
                </c:pt>
                <c:pt idx="1754">
                  <c:v>#N/A</c:v>
                </c:pt>
                <c:pt idx="1755">
                  <c:v>#N/A</c:v>
                </c:pt>
                <c:pt idx="1756">
                  <c:v>#N/A</c:v>
                </c:pt>
                <c:pt idx="1757">
                  <c:v>#N/A</c:v>
                </c:pt>
                <c:pt idx="1758">
                  <c:v>#N/A</c:v>
                </c:pt>
                <c:pt idx="1759">
                  <c:v>#N/A</c:v>
                </c:pt>
                <c:pt idx="1760">
                  <c:v>#N/A</c:v>
                </c:pt>
                <c:pt idx="1761">
                  <c:v>#N/A</c:v>
                </c:pt>
                <c:pt idx="1762">
                  <c:v>#N/A</c:v>
                </c:pt>
                <c:pt idx="1763">
                  <c:v>#N/A</c:v>
                </c:pt>
                <c:pt idx="1764">
                  <c:v>#N/A</c:v>
                </c:pt>
                <c:pt idx="1765">
                  <c:v>#N/A</c:v>
                </c:pt>
                <c:pt idx="1766">
                  <c:v>#N/A</c:v>
                </c:pt>
                <c:pt idx="1767">
                  <c:v>#N/A</c:v>
                </c:pt>
                <c:pt idx="1768">
                  <c:v>#N/A</c:v>
                </c:pt>
                <c:pt idx="1769">
                  <c:v>#N/A</c:v>
                </c:pt>
                <c:pt idx="1770">
                  <c:v>#N/A</c:v>
                </c:pt>
                <c:pt idx="1771">
                  <c:v>#N/A</c:v>
                </c:pt>
                <c:pt idx="1772">
                  <c:v>#N/A</c:v>
                </c:pt>
                <c:pt idx="1773">
                  <c:v>#N/A</c:v>
                </c:pt>
                <c:pt idx="1774">
                  <c:v>#N/A</c:v>
                </c:pt>
                <c:pt idx="1775">
                  <c:v>#N/A</c:v>
                </c:pt>
                <c:pt idx="1776">
                  <c:v>#N/A</c:v>
                </c:pt>
                <c:pt idx="1777">
                  <c:v>#N/A</c:v>
                </c:pt>
                <c:pt idx="1778">
                  <c:v>#N/A</c:v>
                </c:pt>
                <c:pt idx="1779">
                  <c:v>#N/A</c:v>
                </c:pt>
                <c:pt idx="1780">
                  <c:v>#N/A</c:v>
                </c:pt>
                <c:pt idx="1781">
                  <c:v>#N/A</c:v>
                </c:pt>
                <c:pt idx="1782">
                  <c:v>#N/A</c:v>
                </c:pt>
                <c:pt idx="1783">
                  <c:v>#N/A</c:v>
                </c:pt>
                <c:pt idx="1784">
                  <c:v>#N/A</c:v>
                </c:pt>
                <c:pt idx="1785">
                  <c:v>#N/A</c:v>
                </c:pt>
                <c:pt idx="1786">
                  <c:v>#N/A</c:v>
                </c:pt>
                <c:pt idx="1787">
                  <c:v>#N/A</c:v>
                </c:pt>
                <c:pt idx="1788">
                  <c:v>#N/A</c:v>
                </c:pt>
                <c:pt idx="1789">
                  <c:v>#N/A</c:v>
                </c:pt>
                <c:pt idx="1790">
                  <c:v>#N/A</c:v>
                </c:pt>
                <c:pt idx="1791">
                  <c:v>#N/A</c:v>
                </c:pt>
                <c:pt idx="1792">
                  <c:v>#N/A</c:v>
                </c:pt>
                <c:pt idx="1793">
                  <c:v>#N/A</c:v>
                </c:pt>
                <c:pt idx="1794">
                  <c:v>#N/A</c:v>
                </c:pt>
                <c:pt idx="1795">
                  <c:v>#N/A</c:v>
                </c:pt>
                <c:pt idx="1796">
                  <c:v>#N/A</c:v>
                </c:pt>
                <c:pt idx="1797">
                  <c:v>#N/A</c:v>
                </c:pt>
                <c:pt idx="1798">
                  <c:v>#N/A</c:v>
                </c:pt>
                <c:pt idx="1799">
                  <c:v>#N/A</c:v>
                </c:pt>
                <c:pt idx="1800">
                  <c:v>#N/A</c:v>
                </c:pt>
                <c:pt idx="1801">
                  <c:v>#N/A</c:v>
                </c:pt>
                <c:pt idx="1802">
                  <c:v>#N/A</c:v>
                </c:pt>
                <c:pt idx="1803">
                  <c:v>#N/A</c:v>
                </c:pt>
                <c:pt idx="1804">
                  <c:v>#N/A</c:v>
                </c:pt>
                <c:pt idx="1805">
                  <c:v>#N/A</c:v>
                </c:pt>
                <c:pt idx="1806">
                  <c:v>#N/A</c:v>
                </c:pt>
                <c:pt idx="1807">
                  <c:v>#N/A</c:v>
                </c:pt>
                <c:pt idx="1808">
                  <c:v>#N/A</c:v>
                </c:pt>
                <c:pt idx="1809">
                  <c:v>#N/A</c:v>
                </c:pt>
                <c:pt idx="1810">
                  <c:v>#N/A</c:v>
                </c:pt>
                <c:pt idx="1811">
                  <c:v>#N/A</c:v>
                </c:pt>
                <c:pt idx="1812">
                  <c:v>#N/A</c:v>
                </c:pt>
                <c:pt idx="1813">
                  <c:v>#N/A</c:v>
                </c:pt>
                <c:pt idx="1814">
                  <c:v>#N/A</c:v>
                </c:pt>
                <c:pt idx="1815">
                  <c:v>#N/A</c:v>
                </c:pt>
                <c:pt idx="1816">
                  <c:v>#N/A</c:v>
                </c:pt>
                <c:pt idx="1817">
                  <c:v>#N/A</c:v>
                </c:pt>
                <c:pt idx="1818">
                  <c:v>#N/A</c:v>
                </c:pt>
                <c:pt idx="1819">
                  <c:v>#N/A</c:v>
                </c:pt>
                <c:pt idx="1820">
                  <c:v>#N/A</c:v>
                </c:pt>
                <c:pt idx="1821">
                  <c:v>#N/A</c:v>
                </c:pt>
                <c:pt idx="1822">
                  <c:v>#N/A</c:v>
                </c:pt>
                <c:pt idx="1823">
                  <c:v>#N/A</c:v>
                </c:pt>
                <c:pt idx="1824">
                  <c:v>#N/A</c:v>
                </c:pt>
                <c:pt idx="1825">
                  <c:v>#N/A</c:v>
                </c:pt>
                <c:pt idx="1826">
                  <c:v>#N/A</c:v>
                </c:pt>
                <c:pt idx="1827">
                  <c:v>#N/A</c:v>
                </c:pt>
                <c:pt idx="1828">
                  <c:v>#N/A</c:v>
                </c:pt>
                <c:pt idx="1829">
                  <c:v>#N/A</c:v>
                </c:pt>
                <c:pt idx="1830">
                  <c:v>#N/A</c:v>
                </c:pt>
                <c:pt idx="1831">
                  <c:v>#N/A</c:v>
                </c:pt>
                <c:pt idx="1832">
                  <c:v>#N/A</c:v>
                </c:pt>
                <c:pt idx="1833">
                  <c:v>#N/A</c:v>
                </c:pt>
                <c:pt idx="1834">
                  <c:v>#N/A</c:v>
                </c:pt>
                <c:pt idx="1835">
                  <c:v>#N/A</c:v>
                </c:pt>
                <c:pt idx="1836">
                  <c:v>#N/A</c:v>
                </c:pt>
                <c:pt idx="1837">
                  <c:v>#N/A</c:v>
                </c:pt>
                <c:pt idx="1838">
                  <c:v>#N/A</c:v>
                </c:pt>
                <c:pt idx="1839">
                  <c:v>#N/A</c:v>
                </c:pt>
                <c:pt idx="1840">
                  <c:v>#N/A</c:v>
                </c:pt>
                <c:pt idx="1841">
                  <c:v>#N/A</c:v>
                </c:pt>
                <c:pt idx="1842">
                  <c:v>#N/A</c:v>
                </c:pt>
                <c:pt idx="1843">
                  <c:v>#N/A</c:v>
                </c:pt>
                <c:pt idx="1844">
                  <c:v>#N/A</c:v>
                </c:pt>
                <c:pt idx="1845">
                  <c:v>#N/A</c:v>
                </c:pt>
                <c:pt idx="1846">
                  <c:v>#N/A</c:v>
                </c:pt>
                <c:pt idx="1847">
                  <c:v>#N/A</c:v>
                </c:pt>
                <c:pt idx="1848">
                  <c:v>#N/A</c:v>
                </c:pt>
                <c:pt idx="1849">
                  <c:v>#N/A</c:v>
                </c:pt>
                <c:pt idx="1850">
                  <c:v>#N/A</c:v>
                </c:pt>
                <c:pt idx="1851">
                  <c:v>#N/A</c:v>
                </c:pt>
                <c:pt idx="1852">
                  <c:v>#N/A</c:v>
                </c:pt>
                <c:pt idx="1853">
                  <c:v>#N/A</c:v>
                </c:pt>
                <c:pt idx="1854">
                  <c:v>#N/A</c:v>
                </c:pt>
                <c:pt idx="1855">
                  <c:v>#N/A</c:v>
                </c:pt>
                <c:pt idx="1856">
                  <c:v>#N/A</c:v>
                </c:pt>
                <c:pt idx="1857">
                  <c:v>#N/A</c:v>
                </c:pt>
                <c:pt idx="1858">
                  <c:v>#N/A</c:v>
                </c:pt>
                <c:pt idx="1859">
                  <c:v>#N/A</c:v>
                </c:pt>
                <c:pt idx="1860">
                  <c:v>#N/A</c:v>
                </c:pt>
                <c:pt idx="1861">
                  <c:v>#N/A</c:v>
                </c:pt>
                <c:pt idx="1862">
                  <c:v>#N/A</c:v>
                </c:pt>
                <c:pt idx="1863">
                  <c:v>#N/A</c:v>
                </c:pt>
                <c:pt idx="1864">
                  <c:v>#N/A</c:v>
                </c:pt>
                <c:pt idx="1865">
                  <c:v>#N/A</c:v>
                </c:pt>
                <c:pt idx="1866">
                  <c:v>#N/A</c:v>
                </c:pt>
                <c:pt idx="1867">
                  <c:v>#N/A</c:v>
                </c:pt>
                <c:pt idx="1868">
                  <c:v>#N/A</c:v>
                </c:pt>
                <c:pt idx="1869">
                  <c:v>#N/A</c:v>
                </c:pt>
                <c:pt idx="1870">
                  <c:v>#N/A</c:v>
                </c:pt>
                <c:pt idx="1871">
                  <c:v>#N/A</c:v>
                </c:pt>
                <c:pt idx="1872">
                  <c:v>#N/A</c:v>
                </c:pt>
                <c:pt idx="1873">
                  <c:v>#N/A</c:v>
                </c:pt>
                <c:pt idx="1874">
                  <c:v>#N/A</c:v>
                </c:pt>
                <c:pt idx="1875">
                  <c:v>#N/A</c:v>
                </c:pt>
                <c:pt idx="1876">
                  <c:v>#N/A</c:v>
                </c:pt>
                <c:pt idx="1877">
                  <c:v>#N/A</c:v>
                </c:pt>
                <c:pt idx="1878">
                  <c:v>#N/A</c:v>
                </c:pt>
                <c:pt idx="1879">
                  <c:v>#N/A</c:v>
                </c:pt>
                <c:pt idx="1880">
                  <c:v>#N/A</c:v>
                </c:pt>
                <c:pt idx="1881">
                  <c:v>#N/A</c:v>
                </c:pt>
                <c:pt idx="1882">
                  <c:v>#N/A</c:v>
                </c:pt>
                <c:pt idx="1883">
                  <c:v>#N/A</c:v>
                </c:pt>
                <c:pt idx="1884">
                  <c:v>#N/A</c:v>
                </c:pt>
                <c:pt idx="1885">
                  <c:v>#N/A</c:v>
                </c:pt>
                <c:pt idx="1886">
                  <c:v>#N/A</c:v>
                </c:pt>
                <c:pt idx="1887">
                  <c:v>#N/A</c:v>
                </c:pt>
                <c:pt idx="1888">
                  <c:v>#N/A</c:v>
                </c:pt>
                <c:pt idx="1889">
                  <c:v>#N/A</c:v>
                </c:pt>
                <c:pt idx="1890">
                  <c:v>#N/A</c:v>
                </c:pt>
                <c:pt idx="1891">
                  <c:v>#N/A</c:v>
                </c:pt>
                <c:pt idx="1892">
                  <c:v>#N/A</c:v>
                </c:pt>
                <c:pt idx="1893">
                  <c:v>#N/A</c:v>
                </c:pt>
                <c:pt idx="1894">
                  <c:v>#N/A</c:v>
                </c:pt>
                <c:pt idx="1895">
                  <c:v>#N/A</c:v>
                </c:pt>
                <c:pt idx="1896">
                  <c:v>#N/A</c:v>
                </c:pt>
                <c:pt idx="1897">
                  <c:v>#N/A</c:v>
                </c:pt>
                <c:pt idx="1898">
                  <c:v>#N/A</c:v>
                </c:pt>
                <c:pt idx="1899">
                  <c:v>#N/A</c:v>
                </c:pt>
                <c:pt idx="1900">
                  <c:v>#N/A</c:v>
                </c:pt>
                <c:pt idx="1901">
                  <c:v>#N/A</c:v>
                </c:pt>
                <c:pt idx="1902">
                  <c:v>#N/A</c:v>
                </c:pt>
                <c:pt idx="1903">
                  <c:v>#N/A</c:v>
                </c:pt>
                <c:pt idx="1904">
                  <c:v>#N/A</c:v>
                </c:pt>
                <c:pt idx="1905">
                  <c:v>#N/A</c:v>
                </c:pt>
                <c:pt idx="1906">
                  <c:v>#N/A</c:v>
                </c:pt>
                <c:pt idx="1907">
                  <c:v>#N/A</c:v>
                </c:pt>
                <c:pt idx="1908">
                  <c:v>#N/A</c:v>
                </c:pt>
                <c:pt idx="1909">
                  <c:v>#N/A</c:v>
                </c:pt>
                <c:pt idx="1910">
                  <c:v>#N/A</c:v>
                </c:pt>
                <c:pt idx="1911">
                  <c:v>#N/A</c:v>
                </c:pt>
                <c:pt idx="1912">
                  <c:v>#N/A</c:v>
                </c:pt>
                <c:pt idx="1913">
                  <c:v>#N/A</c:v>
                </c:pt>
                <c:pt idx="1914">
                  <c:v>#N/A</c:v>
                </c:pt>
                <c:pt idx="1915">
                  <c:v>#N/A</c:v>
                </c:pt>
                <c:pt idx="1916">
                  <c:v>#N/A</c:v>
                </c:pt>
                <c:pt idx="1917">
                  <c:v>#N/A</c:v>
                </c:pt>
                <c:pt idx="1918">
                  <c:v>#N/A</c:v>
                </c:pt>
                <c:pt idx="1919">
                  <c:v>#N/A</c:v>
                </c:pt>
                <c:pt idx="1920">
                  <c:v>#N/A</c:v>
                </c:pt>
                <c:pt idx="1921">
                  <c:v>#N/A</c:v>
                </c:pt>
                <c:pt idx="1922">
                  <c:v>#N/A</c:v>
                </c:pt>
                <c:pt idx="1923">
                  <c:v>#N/A</c:v>
                </c:pt>
                <c:pt idx="1924">
                  <c:v>#N/A</c:v>
                </c:pt>
                <c:pt idx="1925">
                  <c:v>#N/A</c:v>
                </c:pt>
                <c:pt idx="1926">
                  <c:v>#N/A</c:v>
                </c:pt>
                <c:pt idx="1927">
                  <c:v>#N/A</c:v>
                </c:pt>
                <c:pt idx="1928">
                  <c:v>#N/A</c:v>
                </c:pt>
                <c:pt idx="1929">
                  <c:v>#N/A</c:v>
                </c:pt>
                <c:pt idx="1930">
                  <c:v>#N/A</c:v>
                </c:pt>
                <c:pt idx="1931">
                  <c:v>#N/A</c:v>
                </c:pt>
                <c:pt idx="1932">
                  <c:v>#N/A</c:v>
                </c:pt>
                <c:pt idx="1933">
                  <c:v>#N/A</c:v>
                </c:pt>
                <c:pt idx="1934">
                  <c:v>#N/A</c:v>
                </c:pt>
                <c:pt idx="1935">
                  <c:v>#N/A</c:v>
                </c:pt>
                <c:pt idx="1936">
                  <c:v>#N/A</c:v>
                </c:pt>
                <c:pt idx="1937">
                  <c:v>#N/A</c:v>
                </c:pt>
                <c:pt idx="1938">
                  <c:v>#N/A</c:v>
                </c:pt>
                <c:pt idx="1939">
                  <c:v>#N/A</c:v>
                </c:pt>
                <c:pt idx="1940">
                  <c:v>#N/A</c:v>
                </c:pt>
                <c:pt idx="1941">
                  <c:v>#N/A</c:v>
                </c:pt>
                <c:pt idx="1942">
                  <c:v>#N/A</c:v>
                </c:pt>
                <c:pt idx="1943">
                  <c:v>#N/A</c:v>
                </c:pt>
                <c:pt idx="1944">
                  <c:v>#N/A</c:v>
                </c:pt>
                <c:pt idx="1945">
                  <c:v>#N/A</c:v>
                </c:pt>
                <c:pt idx="1946">
                  <c:v>#N/A</c:v>
                </c:pt>
                <c:pt idx="1947">
                  <c:v>#N/A</c:v>
                </c:pt>
                <c:pt idx="1948">
                  <c:v>#N/A</c:v>
                </c:pt>
                <c:pt idx="1949">
                  <c:v>#N/A</c:v>
                </c:pt>
                <c:pt idx="1950">
                  <c:v>#N/A</c:v>
                </c:pt>
                <c:pt idx="1951">
                  <c:v>#N/A</c:v>
                </c:pt>
                <c:pt idx="1952">
                  <c:v>#N/A</c:v>
                </c:pt>
                <c:pt idx="1953">
                  <c:v>#N/A</c:v>
                </c:pt>
                <c:pt idx="1954">
                  <c:v>#N/A</c:v>
                </c:pt>
                <c:pt idx="1955">
                  <c:v>#N/A</c:v>
                </c:pt>
                <c:pt idx="1956">
                  <c:v>#N/A</c:v>
                </c:pt>
                <c:pt idx="1957">
                  <c:v>#N/A</c:v>
                </c:pt>
                <c:pt idx="1958">
                  <c:v>#N/A</c:v>
                </c:pt>
                <c:pt idx="1959">
                  <c:v>#N/A</c:v>
                </c:pt>
                <c:pt idx="1960">
                  <c:v>#N/A</c:v>
                </c:pt>
                <c:pt idx="1961">
                  <c:v>#N/A</c:v>
                </c:pt>
                <c:pt idx="1962">
                  <c:v>#N/A</c:v>
                </c:pt>
                <c:pt idx="1963">
                  <c:v>#N/A</c:v>
                </c:pt>
                <c:pt idx="1964">
                  <c:v>#N/A</c:v>
                </c:pt>
                <c:pt idx="1965">
                  <c:v>#N/A</c:v>
                </c:pt>
                <c:pt idx="1966">
                  <c:v>#N/A</c:v>
                </c:pt>
                <c:pt idx="1967">
                  <c:v>#N/A</c:v>
                </c:pt>
                <c:pt idx="1968">
                  <c:v>#N/A</c:v>
                </c:pt>
                <c:pt idx="1969">
                  <c:v>#N/A</c:v>
                </c:pt>
                <c:pt idx="1970">
                  <c:v>#N/A</c:v>
                </c:pt>
                <c:pt idx="1971">
                  <c:v>#N/A</c:v>
                </c:pt>
                <c:pt idx="1972">
                  <c:v>#N/A</c:v>
                </c:pt>
                <c:pt idx="1973">
                  <c:v>#N/A</c:v>
                </c:pt>
                <c:pt idx="1974">
                  <c:v>#N/A</c:v>
                </c:pt>
                <c:pt idx="1975">
                  <c:v>#N/A</c:v>
                </c:pt>
                <c:pt idx="1976">
                  <c:v>#N/A</c:v>
                </c:pt>
                <c:pt idx="1977">
                  <c:v>#N/A</c:v>
                </c:pt>
                <c:pt idx="1978">
                  <c:v>#N/A</c:v>
                </c:pt>
                <c:pt idx="1979">
                  <c:v>#N/A</c:v>
                </c:pt>
                <c:pt idx="1980">
                  <c:v>#N/A</c:v>
                </c:pt>
                <c:pt idx="1981">
                  <c:v>#N/A</c:v>
                </c:pt>
                <c:pt idx="1982">
                  <c:v>#N/A</c:v>
                </c:pt>
                <c:pt idx="1983">
                  <c:v>#N/A</c:v>
                </c:pt>
                <c:pt idx="1984">
                  <c:v>#N/A</c:v>
                </c:pt>
                <c:pt idx="1985">
                  <c:v>#N/A</c:v>
                </c:pt>
                <c:pt idx="1986">
                  <c:v>#N/A</c:v>
                </c:pt>
                <c:pt idx="1987">
                  <c:v>#N/A</c:v>
                </c:pt>
                <c:pt idx="1988">
                  <c:v>#N/A</c:v>
                </c:pt>
                <c:pt idx="1989">
                  <c:v>#N/A</c:v>
                </c:pt>
                <c:pt idx="1990">
                  <c:v>#N/A</c:v>
                </c:pt>
                <c:pt idx="1991">
                  <c:v>#N/A</c:v>
                </c:pt>
                <c:pt idx="1992">
                  <c:v>#N/A</c:v>
                </c:pt>
                <c:pt idx="1993">
                  <c:v>#N/A</c:v>
                </c:pt>
                <c:pt idx="1994">
                  <c:v>#N/A</c:v>
                </c:pt>
                <c:pt idx="1995">
                  <c:v>#N/A</c:v>
                </c:pt>
                <c:pt idx="1996">
                  <c:v>#N/A</c:v>
                </c:pt>
                <c:pt idx="1997">
                  <c:v>#N/A</c:v>
                </c:pt>
                <c:pt idx="1998">
                  <c:v>#N/A</c:v>
                </c:pt>
                <c:pt idx="1999">
                  <c:v>#N/A</c:v>
                </c:pt>
                <c:pt idx="2000">
                  <c:v>#N/A</c:v>
                </c:pt>
                <c:pt idx="2001">
                  <c:v>#N/A</c:v>
                </c:pt>
                <c:pt idx="2002">
                  <c:v>#N/A</c:v>
                </c:pt>
                <c:pt idx="2003">
                  <c:v>#N/A</c:v>
                </c:pt>
                <c:pt idx="2004">
                  <c:v>#N/A</c:v>
                </c:pt>
                <c:pt idx="2005">
                  <c:v>#N/A</c:v>
                </c:pt>
                <c:pt idx="2006">
                  <c:v>#N/A</c:v>
                </c:pt>
                <c:pt idx="2007">
                  <c:v>#N/A</c:v>
                </c:pt>
                <c:pt idx="2008">
                  <c:v>#N/A</c:v>
                </c:pt>
                <c:pt idx="2009">
                  <c:v>#N/A</c:v>
                </c:pt>
                <c:pt idx="2010">
                  <c:v>#N/A</c:v>
                </c:pt>
                <c:pt idx="2011">
                  <c:v>#N/A</c:v>
                </c:pt>
                <c:pt idx="2012">
                  <c:v>#N/A</c:v>
                </c:pt>
                <c:pt idx="2013">
                  <c:v>#N/A</c:v>
                </c:pt>
                <c:pt idx="2014">
                  <c:v>#N/A</c:v>
                </c:pt>
                <c:pt idx="2015">
                  <c:v>#N/A</c:v>
                </c:pt>
                <c:pt idx="2016">
                  <c:v>#N/A</c:v>
                </c:pt>
                <c:pt idx="2017">
                  <c:v>#N/A</c:v>
                </c:pt>
                <c:pt idx="2018">
                  <c:v>#N/A</c:v>
                </c:pt>
                <c:pt idx="2019">
                  <c:v>#N/A</c:v>
                </c:pt>
                <c:pt idx="2020">
                  <c:v>#N/A</c:v>
                </c:pt>
                <c:pt idx="2021">
                  <c:v>#N/A</c:v>
                </c:pt>
                <c:pt idx="2022">
                  <c:v>#N/A</c:v>
                </c:pt>
                <c:pt idx="2023">
                  <c:v>#N/A</c:v>
                </c:pt>
                <c:pt idx="2024">
                  <c:v>#N/A</c:v>
                </c:pt>
                <c:pt idx="2025">
                  <c:v>#N/A</c:v>
                </c:pt>
                <c:pt idx="2026">
                  <c:v>#N/A</c:v>
                </c:pt>
                <c:pt idx="2027">
                  <c:v>#N/A</c:v>
                </c:pt>
                <c:pt idx="2028">
                  <c:v>#N/A</c:v>
                </c:pt>
                <c:pt idx="2029">
                  <c:v>#N/A</c:v>
                </c:pt>
                <c:pt idx="2030">
                  <c:v>#N/A</c:v>
                </c:pt>
                <c:pt idx="2031">
                  <c:v>#N/A</c:v>
                </c:pt>
                <c:pt idx="2032">
                  <c:v>#N/A</c:v>
                </c:pt>
                <c:pt idx="2033">
                  <c:v>#N/A</c:v>
                </c:pt>
                <c:pt idx="2034">
                  <c:v>#N/A</c:v>
                </c:pt>
                <c:pt idx="2035">
                  <c:v>#N/A</c:v>
                </c:pt>
                <c:pt idx="2036">
                  <c:v>#N/A</c:v>
                </c:pt>
                <c:pt idx="2037">
                  <c:v>#N/A</c:v>
                </c:pt>
                <c:pt idx="2038">
                  <c:v>#N/A</c:v>
                </c:pt>
                <c:pt idx="2039">
                  <c:v>#N/A</c:v>
                </c:pt>
                <c:pt idx="2040">
                  <c:v>#N/A</c:v>
                </c:pt>
                <c:pt idx="2041">
                  <c:v>#N/A</c:v>
                </c:pt>
                <c:pt idx="2042">
                  <c:v>#N/A</c:v>
                </c:pt>
                <c:pt idx="2043">
                  <c:v>#N/A</c:v>
                </c:pt>
                <c:pt idx="2044">
                  <c:v>#N/A</c:v>
                </c:pt>
                <c:pt idx="2045">
                  <c:v>#N/A</c:v>
                </c:pt>
                <c:pt idx="2046">
                  <c:v>#N/A</c:v>
                </c:pt>
                <c:pt idx="2047">
                  <c:v>#N/A</c:v>
                </c:pt>
                <c:pt idx="2048">
                  <c:v>#N/A</c:v>
                </c:pt>
                <c:pt idx="2049">
                  <c:v>#N/A</c:v>
                </c:pt>
                <c:pt idx="2050">
                  <c:v>#N/A</c:v>
                </c:pt>
                <c:pt idx="2051">
                  <c:v>#N/A</c:v>
                </c:pt>
                <c:pt idx="2052">
                  <c:v>#N/A</c:v>
                </c:pt>
                <c:pt idx="2053">
                  <c:v>#N/A</c:v>
                </c:pt>
                <c:pt idx="2054">
                  <c:v>#N/A</c:v>
                </c:pt>
                <c:pt idx="2055">
                  <c:v>#N/A</c:v>
                </c:pt>
                <c:pt idx="2056">
                  <c:v>#N/A</c:v>
                </c:pt>
                <c:pt idx="2057">
                  <c:v>#N/A</c:v>
                </c:pt>
                <c:pt idx="2058">
                  <c:v>#N/A</c:v>
                </c:pt>
                <c:pt idx="2059">
                  <c:v>#N/A</c:v>
                </c:pt>
                <c:pt idx="2060">
                  <c:v>#N/A</c:v>
                </c:pt>
                <c:pt idx="2061">
                  <c:v>#N/A</c:v>
                </c:pt>
                <c:pt idx="2062">
                  <c:v>#N/A</c:v>
                </c:pt>
                <c:pt idx="2063">
                  <c:v>#N/A</c:v>
                </c:pt>
                <c:pt idx="2064">
                  <c:v>#N/A</c:v>
                </c:pt>
                <c:pt idx="2065">
                  <c:v>#N/A</c:v>
                </c:pt>
                <c:pt idx="2066">
                  <c:v>#N/A</c:v>
                </c:pt>
                <c:pt idx="2067">
                  <c:v>#N/A</c:v>
                </c:pt>
                <c:pt idx="2068">
                  <c:v>#N/A</c:v>
                </c:pt>
                <c:pt idx="2069">
                  <c:v>#N/A</c:v>
                </c:pt>
                <c:pt idx="2070">
                  <c:v>#N/A</c:v>
                </c:pt>
                <c:pt idx="2071">
                  <c:v>#N/A</c:v>
                </c:pt>
                <c:pt idx="2072">
                  <c:v>#N/A</c:v>
                </c:pt>
                <c:pt idx="2073">
                  <c:v>#N/A</c:v>
                </c:pt>
                <c:pt idx="2074">
                  <c:v>#N/A</c:v>
                </c:pt>
                <c:pt idx="2075">
                  <c:v>#N/A</c:v>
                </c:pt>
                <c:pt idx="2076">
                  <c:v>#N/A</c:v>
                </c:pt>
                <c:pt idx="2077">
                  <c:v>#N/A</c:v>
                </c:pt>
                <c:pt idx="2078">
                  <c:v>#N/A</c:v>
                </c:pt>
                <c:pt idx="2079">
                  <c:v>#N/A</c:v>
                </c:pt>
                <c:pt idx="2080">
                  <c:v>#N/A</c:v>
                </c:pt>
                <c:pt idx="2081">
                  <c:v>#N/A</c:v>
                </c:pt>
                <c:pt idx="2082">
                  <c:v>#N/A</c:v>
                </c:pt>
                <c:pt idx="2083">
                  <c:v>#N/A</c:v>
                </c:pt>
                <c:pt idx="2084">
                  <c:v>#N/A</c:v>
                </c:pt>
                <c:pt idx="2085">
                  <c:v>#N/A</c:v>
                </c:pt>
                <c:pt idx="2086">
                  <c:v>#N/A</c:v>
                </c:pt>
                <c:pt idx="2087">
                  <c:v>#N/A</c:v>
                </c:pt>
                <c:pt idx="2088">
                  <c:v>#N/A</c:v>
                </c:pt>
                <c:pt idx="2089">
                  <c:v>#N/A</c:v>
                </c:pt>
                <c:pt idx="2090">
                  <c:v>#N/A</c:v>
                </c:pt>
                <c:pt idx="2091">
                  <c:v>#N/A</c:v>
                </c:pt>
                <c:pt idx="2092">
                  <c:v>#N/A</c:v>
                </c:pt>
                <c:pt idx="2093">
                  <c:v>#N/A</c:v>
                </c:pt>
                <c:pt idx="2094">
                  <c:v>#N/A</c:v>
                </c:pt>
                <c:pt idx="2095">
                  <c:v>#N/A</c:v>
                </c:pt>
                <c:pt idx="2096">
                  <c:v>#N/A</c:v>
                </c:pt>
                <c:pt idx="2097">
                  <c:v>#N/A</c:v>
                </c:pt>
                <c:pt idx="2098">
                  <c:v>#N/A</c:v>
                </c:pt>
                <c:pt idx="2099">
                  <c:v>#N/A</c:v>
                </c:pt>
                <c:pt idx="2100">
                  <c:v>#N/A</c:v>
                </c:pt>
                <c:pt idx="2101">
                  <c:v>#N/A</c:v>
                </c:pt>
                <c:pt idx="2102">
                  <c:v>#N/A</c:v>
                </c:pt>
                <c:pt idx="2103">
                  <c:v>#N/A</c:v>
                </c:pt>
                <c:pt idx="2104">
                  <c:v>#N/A</c:v>
                </c:pt>
                <c:pt idx="2105">
                  <c:v>#N/A</c:v>
                </c:pt>
                <c:pt idx="2106">
                  <c:v>#N/A</c:v>
                </c:pt>
                <c:pt idx="2107">
                  <c:v>#N/A</c:v>
                </c:pt>
                <c:pt idx="2108">
                  <c:v>#N/A</c:v>
                </c:pt>
                <c:pt idx="2109">
                  <c:v>#N/A</c:v>
                </c:pt>
                <c:pt idx="2110">
                  <c:v>#N/A</c:v>
                </c:pt>
                <c:pt idx="2111">
                  <c:v>#N/A</c:v>
                </c:pt>
                <c:pt idx="2112">
                  <c:v>#N/A</c:v>
                </c:pt>
                <c:pt idx="2113">
                  <c:v>#N/A</c:v>
                </c:pt>
                <c:pt idx="2114">
                  <c:v>#N/A</c:v>
                </c:pt>
                <c:pt idx="2115">
                  <c:v>#N/A</c:v>
                </c:pt>
                <c:pt idx="2116">
                  <c:v>#N/A</c:v>
                </c:pt>
                <c:pt idx="2117">
                  <c:v>#N/A</c:v>
                </c:pt>
                <c:pt idx="2118">
                  <c:v>#N/A</c:v>
                </c:pt>
                <c:pt idx="2119">
                  <c:v>#N/A</c:v>
                </c:pt>
                <c:pt idx="2120">
                  <c:v>#N/A</c:v>
                </c:pt>
                <c:pt idx="2121">
                  <c:v>#N/A</c:v>
                </c:pt>
                <c:pt idx="2122">
                  <c:v>#N/A</c:v>
                </c:pt>
                <c:pt idx="2123">
                  <c:v>#N/A</c:v>
                </c:pt>
                <c:pt idx="2124">
                  <c:v>#N/A</c:v>
                </c:pt>
                <c:pt idx="2125">
                  <c:v>#N/A</c:v>
                </c:pt>
                <c:pt idx="2126">
                  <c:v>#N/A</c:v>
                </c:pt>
                <c:pt idx="2127">
                  <c:v>#N/A</c:v>
                </c:pt>
                <c:pt idx="2128">
                  <c:v>#N/A</c:v>
                </c:pt>
                <c:pt idx="2129">
                  <c:v>#N/A</c:v>
                </c:pt>
                <c:pt idx="2130">
                  <c:v>#N/A</c:v>
                </c:pt>
                <c:pt idx="2131">
                  <c:v>#N/A</c:v>
                </c:pt>
                <c:pt idx="2132">
                  <c:v>#N/A</c:v>
                </c:pt>
                <c:pt idx="2133">
                  <c:v>#N/A</c:v>
                </c:pt>
                <c:pt idx="2134">
                  <c:v>#N/A</c:v>
                </c:pt>
                <c:pt idx="2135">
                  <c:v>#N/A</c:v>
                </c:pt>
                <c:pt idx="2136">
                  <c:v>#N/A</c:v>
                </c:pt>
                <c:pt idx="2137">
                  <c:v>#N/A</c:v>
                </c:pt>
                <c:pt idx="2138">
                  <c:v>#N/A</c:v>
                </c:pt>
                <c:pt idx="2139">
                  <c:v>#N/A</c:v>
                </c:pt>
                <c:pt idx="2140">
                  <c:v>#N/A</c:v>
                </c:pt>
                <c:pt idx="2141">
                  <c:v>#N/A</c:v>
                </c:pt>
                <c:pt idx="2142">
                  <c:v>#N/A</c:v>
                </c:pt>
                <c:pt idx="2143">
                  <c:v>#N/A</c:v>
                </c:pt>
                <c:pt idx="2144">
                  <c:v>#N/A</c:v>
                </c:pt>
                <c:pt idx="2145">
                  <c:v>#N/A</c:v>
                </c:pt>
                <c:pt idx="2146">
                  <c:v>#N/A</c:v>
                </c:pt>
                <c:pt idx="2147">
                  <c:v>#N/A</c:v>
                </c:pt>
                <c:pt idx="2148">
                  <c:v>#N/A</c:v>
                </c:pt>
                <c:pt idx="2149">
                  <c:v>#N/A</c:v>
                </c:pt>
                <c:pt idx="2150">
                  <c:v>#N/A</c:v>
                </c:pt>
                <c:pt idx="2151">
                  <c:v>#N/A</c:v>
                </c:pt>
                <c:pt idx="2152">
                  <c:v>#N/A</c:v>
                </c:pt>
                <c:pt idx="2153">
                  <c:v>#N/A</c:v>
                </c:pt>
                <c:pt idx="2154">
                  <c:v>#N/A</c:v>
                </c:pt>
                <c:pt idx="2155">
                  <c:v>#N/A</c:v>
                </c:pt>
                <c:pt idx="2156">
                  <c:v>#N/A</c:v>
                </c:pt>
                <c:pt idx="2157">
                  <c:v>#N/A</c:v>
                </c:pt>
                <c:pt idx="2158">
                  <c:v>#N/A</c:v>
                </c:pt>
                <c:pt idx="2159">
                  <c:v>#N/A</c:v>
                </c:pt>
                <c:pt idx="2160">
                  <c:v>#N/A</c:v>
                </c:pt>
                <c:pt idx="2161">
                  <c:v>#N/A</c:v>
                </c:pt>
                <c:pt idx="2162">
                  <c:v>#N/A</c:v>
                </c:pt>
                <c:pt idx="2163">
                  <c:v>#N/A</c:v>
                </c:pt>
                <c:pt idx="2164">
                  <c:v>#N/A</c:v>
                </c:pt>
                <c:pt idx="2165">
                  <c:v>#N/A</c:v>
                </c:pt>
                <c:pt idx="2166">
                  <c:v>#N/A</c:v>
                </c:pt>
                <c:pt idx="2167">
                  <c:v>#N/A</c:v>
                </c:pt>
                <c:pt idx="2168">
                  <c:v>#N/A</c:v>
                </c:pt>
                <c:pt idx="2169">
                  <c:v>#N/A</c:v>
                </c:pt>
                <c:pt idx="2170">
                  <c:v>#N/A</c:v>
                </c:pt>
                <c:pt idx="2171">
                  <c:v>#N/A</c:v>
                </c:pt>
                <c:pt idx="2172">
                  <c:v>#N/A</c:v>
                </c:pt>
                <c:pt idx="2173">
                  <c:v>#N/A</c:v>
                </c:pt>
                <c:pt idx="2174">
                  <c:v>#N/A</c:v>
                </c:pt>
                <c:pt idx="2175">
                  <c:v>#N/A</c:v>
                </c:pt>
                <c:pt idx="2176">
                  <c:v>#N/A</c:v>
                </c:pt>
                <c:pt idx="2177">
                  <c:v>#N/A</c:v>
                </c:pt>
                <c:pt idx="2178">
                  <c:v>#N/A</c:v>
                </c:pt>
                <c:pt idx="2179">
                  <c:v>#N/A</c:v>
                </c:pt>
                <c:pt idx="2180">
                  <c:v>#N/A</c:v>
                </c:pt>
                <c:pt idx="2181">
                  <c:v>#N/A</c:v>
                </c:pt>
                <c:pt idx="2182">
                  <c:v>#N/A</c:v>
                </c:pt>
                <c:pt idx="2183">
                  <c:v>#N/A</c:v>
                </c:pt>
                <c:pt idx="2184">
                  <c:v>#N/A</c:v>
                </c:pt>
                <c:pt idx="2185">
                  <c:v>#N/A</c:v>
                </c:pt>
                <c:pt idx="2186">
                  <c:v>#N/A</c:v>
                </c:pt>
                <c:pt idx="2187">
                  <c:v>#N/A</c:v>
                </c:pt>
                <c:pt idx="2188">
                  <c:v>#N/A</c:v>
                </c:pt>
                <c:pt idx="2189">
                  <c:v>#N/A</c:v>
                </c:pt>
                <c:pt idx="2190">
                  <c:v>#N/A</c:v>
                </c:pt>
                <c:pt idx="2191">
                  <c:v>#N/A</c:v>
                </c:pt>
                <c:pt idx="2192">
                  <c:v>#N/A</c:v>
                </c:pt>
                <c:pt idx="2193">
                  <c:v>#N/A</c:v>
                </c:pt>
                <c:pt idx="2194">
                  <c:v>#N/A</c:v>
                </c:pt>
                <c:pt idx="2195">
                  <c:v>#N/A</c:v>
                </c:pt>
                <c:pt idx="2196">
                  <c:v>#N/A</c:v>
                </c:pt>
                <c:pt idx="2197">
                  <c:v>#N/A</c:v>
                </c:pt>
                <c:pt idx="2198">
                  <c:v>#N/A</c:v>
                </c:pt>
                <c:pt idx="2199">
                  <c:v>#N/A</c:v>
                </c:pt>
                <c:pt idx="2200">
                  <c:v>#N/A</c:v>
                </c:pt>
                <c:pt idx="2201">
                  <c:v>#N/A</c:v>
                </c:pt>
                <c:pt idx="2202">
                  <c:v>#N/A</c:v>
                </c:pt>
                <c:pt idx="2203">
                  <c:v>#N/A</c:v>
                </c:pt>
                <c:pt idx="2204">
                  <c:v>#N/A</c:v>
                </c:pt>
                <c:pt idx="2205">
                  <c:v>#N/A</c:v>
                </c:pt>
                <c:pt idx="2206">
                  <c:v>#N/A</c:v>
                </c:pt>
                <c:pt idx="2207">
                  <c:v>#N/A</c:v>
                </c:pt>
                <c:pt idx="2208">
                  <c:v>#N/A</c:v>
                </c:pt>
                <c:pt idx="2209">
                  <c:v>#N/A</c:v>
                </c:pt>
                <c:pt idx="2210">
                  <c:v>#N/A</c:v>
                </c:pt>
                <c:pt idx="2211">
                  <c:v>#N/A</c:v>
                </c:pt>
                <c:pt idx="2212">
                  <c:v>#N/A</c:v>
                </c:pt>
                <c:pt idx="2213">
                  <c:v>#N/A</c:v>
                </c:pt>
                <c:pt idx="2214">
                  <c:v>1.0136986301369864</c:v>
                </c:pt>
                <c:pt idx="2215">
                  <c:v>#N/A</c:v>
                </c:pt>
                <c:pt idx="2216">
                  <c:v>#N/A</c:v>
                </c:pt>
                <c:pt idx="2217">
                  <c:v>1.0136986301369864</c:v>
                </c:pt>
                <c:pt idx="2218">
                  <c:v>#N/A</c:v>
                </c:pt>
                <c:pt idx="2219">
                  <c:v>#N/A</c:v>
                </c:pt>
                <c:pt idx="2220">
                  <c:v>1.0136986301369864</c:v>
                </c:pt>
                <c:pt idx="2221">
                  <c:v>#N/A</c:v>
                </c:pt>
                <c:pt idx="2222">
                  <c:v>1.0136986301369864</c:v>
                </c:pt>
                <c:pt idx="2223">
                  <c:v>#N/A</c:v>
                </c:pt>
                <c:pt idx="2224">
                  <c:v>#N/A</c:v>
                </c:pt>
                <c:pt idx="2225">
                  <c:v>#N/A</c:v>
                </c:pt>
                <c:pt idx="2226">
                  <c:v>#N/A</c:v>
                </c:pt>
                <c:pt idx="2227">
                  <c:v>#N/A</c:v>
                </c:pt>
                <c:pt idx="2228">
                  <c:v>#N/A</c:v>
                </c:pt>
                <c:pt idx="2229">
                  <c:v>#N/A</c:v>
                </c:pt>
                <c:pt idx="2230">
                  <c:v>#N/A</c:v>
                </c:pt>
                <c:pt idx="2231">
                  <c:v>#N/A</c:v>
                </c:pt>
                <c:pt idx="2232">
                  <c:v>#N/A</c:v>
                </c:pt>
                <c:pt idx="2233">
                  <c:v>#N/A</c:v>
                </c:pt>
                <c:pt idx="2234">
                  <c:v>#N/A</c:v>
                </c:pt>
                <c:pt idx="2235">
                  <c:v>#N/A</c:v>
                </c:pt>
                <c:pt idx="2236">
                  <c:v>#N/A</c:v>
                </c:pt>
                <c:pt idx="2237">
                  <c:v>1.0164383561643835</c:v>
                </c:pt>
                <c:pt idx="2238">
                  <c:v>#N/A</c:v>
                </c:pt>
                <c:pt idx="2239">
                  <c:v>#N/A</c:v>
                </c:pt>
                <c:pt idx="2240">
                  <c:v>#N/A</c:v>
                </c:pt>
                <c:pt idx="2241">
                  <c:v>#N/A</c:v>
                </c:pt>
                <c:pt idx="2242">
                  <c:v>#N/A</c:v>
                </c:pt>
                <c:pt idx="2243">
                  <c:v>#N/A</c:v>
                </c:pt>
                <c:pt idx="2244">
                  <c:v>#N/A</c:v>
                </c:pt>
                <c:pt idx="2245">
                  <c:v>#N/A</c:v>
                </c:pt>
                <c:pt idx="2246">
                  <c:v>#N/A</c:v>
                </c:pt>
                <c:pt idx="2247">
                  <c:v>#N/A</c:v>
                </c:pt>
                <c:pt idx="2248">
                  <c:v>#N/A</c:v>
                </c:pt>
                <c:pt idx="2249">
                  <c:v>#N/A</c:v>
                </c:pt>
                <c:pt idx="2250">
                  <c:v>#N/A</c:v>
                </c:pt>
                <c:pt idx="2251">
                  <c:v>#N/A</c:v>
                </c:pt>
                <c:pt idx="2252">
                  <c:v>#N/A</c:v>
                </c:pt>
                <c:pt idx="2253">
                  <c:v>#N/A</c:v>
                </c:pt>
                <c:pt idx="2254">
                  <c:v>#N/A</c:v>
                </c:pt>
                <c:pt idx="2255">
                  <c:v>#N/A</c:v>
                </c:pt>
                <c:pt idx="2256">
                  <c:v>#N/A</c:v>
                </c:pt>
                <c:pt idx="2257">
                  <c:v>#N/A</c:v>
                </c:pt>
                <c:pt idx="2258">
                  <c:v>#N/A</c:v>
                </c:pt>
                <c:pt idx="2259">
                  <c:v>#N/A</c:v>
                </c:pt>
                <c:pt idx="2260">
                  <c:v>#N/A</c:v>
                </c:pt>
                <c:pt idx="2261">
                  <c:v>#N/A</c:v>
                </c:pt>
                <c:pt idx="2262">
                  <c:v>#N/A</c:v>
                </c:pt>
                <c:pt idx="2263">
                  <c:v>#N/A</c:v>
                </c:pt>
                <c:pt idx="2264">
                  <c:v>#N/A</c:v>
                </c:pt>
                <c:pt idx="2265">
                  <c:v>#N/A</c:v>
                </c:pt>
                <c:pt idx="2266">
                  <c:v>#N/A</c:v>
                </c:pt>
                <c:pt idx="2267">
                  <c:v>#N/A</c:v>
                </c:pt>
                <c:pt idx="2268">
                  <c:v>#N/A</c:v>
                </c:pt>
                <c:pt idx="2269">
                  <c:v>#N/A</c:v>
                </c:pt>
                <c:pt idx="2270">
                  <c:v>#N/A</c:v>
                </c:pt>
                <c:pt idx="2271">
                  <c:v>#N/A</c:v>
                </c:pt>
                <c:pt idx="2272">
                  <c:v>#N/A</c:v>
                </c:pt>
                <c:pt idx="2273">
                  <c:v>#N/A</c:v>
                </c:pt>
                <c:pt idx="2274">
                  <c:v>#N/A</c:v>
                </c:pt>
                <c:pt idx="2275">
                  <c:v>#N/A</c:v>
                </c:pt>
                <c:pt idx="2276">
                  <c:v>#N/A</c:v>
                </c:pt>
                <c:pt idx="2277">
                  <c:v>#N/A</c:v>
                </c:pt>
                <c:pt idx="2278">
                  <c:v>#N/A</c:v>
                </c:pt>
                <c:pt idx="2279">
                  <c:v>#N/A</c:v>
                </c:pt>
                <c:pt idx="2280">
                  <c:v>#N/A</c:v>
                </c:pt>
                <c:pt idx="2281">
                  <c:v>#N/A</c:v>
                </c:pt>
                <c:pt idx="2282">
                  <c:v>#N/A</c:v>
                </c:pt>
                <c:pt idx="2283">
                  <c:v>#N/A</c:v>
                </c:pt>
                <c:pt idx="2284">
                  <c:v>#N/A</c:v>
                </c:pt>
                <c:pt idx="2285">
                  <c:v>#N/A</c:v>
                </c:pt>
                <c:pt idx="2286">
                  <c:v>#N/A</c:v>
                </c:pt>
                <c:pt idx="2287">
                  <c:v>#N/A</c:v>
                </c:pt>
                <c:pt idx="2288">
                  <c:v>#N/A</c:v>
                </c:pt>
                <c:pt idx="2289">
                  <c:v>#N/A</c:v>
                </c:pt>
                <c:pt idx="2290">
                  <c:v>#N/A</c:v>
                </c:pt>
                <c:pt idx="2291">
                  <c:v>#N/A</c:v>
                </c:pt>
                <c:pt idx="2292">
                  <c:v>#N/A</c:v>
                </c:pt>
                <c:pt idx="2293">
                  <c:v>#N/A</c:v>
                </c:pt>
                <c:pt idx="2294">
                  <c:v>#N/A</c:v>
                </c:pt>
                <c:pt idx="2295">
                  <c:v>#N/A</c:v>
                </c:pt>
                <c:pt idx="2296">
                  <c:v>#N/A</c:v>
                </c:pt>
                <c:pt idx="2297">
                  <c:v>#N/A</c:v>
                </c:pt>
                <c:pt idx="2298">
                  <c:v>#N/A</c:v>
                </c:pt>
                <c:pt idx="2299">
                  <c:v>#N/A</c:v>
                </c:pt>
                <c:pt idx="2300">
                  <c:v>#N/A</c:v>
                </c:pt>
                <c:pt idx="2301">
                  <c:v>#N/A</c:v>
                </c:pt>
                <c:pt idx="2302">
                  <c:v>#N/A</c:v>
                </c:pt>
                <c:pt idx="2303">
                  <c:v>#N/A</c:v>
                </c:pt>
                <c:pt idx="2304">
                  <c:v>#N/A</c:v>
                </c:pt>
                <c:pt idx="2305">
                  <c:v>#N/A</c:v>
                </c:pt>
                <c:pt idx="2306">
                  <c:v>#N/A</c:v>
                </c:pt>
                <c:pt idx="2307">
                  <c:v>#N/A</c:v>
                </c:pt>
                <c:pt idx="2308">
                  <c:v>#N/A</c:v>
                </c:pt>
                <c:pt idx="2309">
                  <c:v>#N/A</c:v>
                </c:pt>
                <c:pt idx="2310">
                  <c:v>#N/A</c:v>
                </c:pt>
                <c:pt idx="2311">
                  <c:v>#N/A</c:v>
                </c:pt>
                <c:pt idx="2312">
                  <c:v>#N/A</c:v>
                </c:pt>
                <c:pt idx="2313">
                  <c:v>#N/A</c:v>
                </c:pt>
                <c:pt idx="2314">
                  <c:v>#N/A</c:v>
                </c:pt>
                <c:pt idx="2315">
                  <c:v>#N/A</c:v>
                </c:pt>
                <c:pt idx="2316">
                  <c:v>#N/A</c:v>
                </c:pt>
                <c:pt idx="2317">
                  <c:v>#N/A</c:v>
                </c:pt>
                <c:pt idx="2318">
                  <c:v>#N/A</c:v>
                </c:pt>
                <c:pt idx="2319">
                  <c:v>#N/A</c:v>
                </c:pt>
                <c:pt idx="2320">
                  <c:v>#N/A</c:v>
                </c:pt>
                <c:pt idx="2321">
                  <c:v>#N/A</c:v>
                </c:pt>
                <c:pt idx="2322">
                  <c:v>#N/A</c:v>
                </c:pt>
                <c:pt idx="2323">
                  <c:v>#N/A</c:v>
                </c:pt>
                <c:pt idx="2324">
                  <c:v>#N/A</c:v>
                </c:pt>
                <c:pt idx="2325">
                  <c:v>#N/A</c:v>
                </c:pt>
                <c:pt idx="2326">
                  <c:v>#N/A</c:v>
                </c:pt>
                <c:pt idx="2327">
                  <c:v>#N/A</c:v>
                </c:pt>
                <c:pt idx="2328">
                  <c:v>#N/A</c:v>
                </c:pt>
                <c:pt idx="2329">
                  <c:v>#N/A</c:v>
                </c:pt>
                <c:pt idx="2330">
                  <c:v>#N/A</c:v>
                </c:pt>
                <c:pt idx="2331">
                  <c:v>#N/A</c:v>
                </c:pt>
                <c:pt idx="2332">
                  <c:v>#N/A</c:v>
                </c:pt>
                <c:pt idx="2333">
                  <c:v>#N/A</c:v>
                </c:pt>
                <c:pt idx="2334">
                  <c:v>#N/A</c:v>
                </c:pt>
                <c:pt idx="2335">
                  <c:v>#N/A</c:v>
                </c:pt>
                <c:pt idx="2336">
                  <c:v>#N/A</c:v>
                </c:pt>
                <c:pt idx="2337">
                  <c:v>#N/A</c:v>
                </c:pt>
                <c:pt idx="2338">
                  <c:v>#N/A</c:v>
                </c:pt>
                <c:pt idx="2339">
                  <c:v>#N/A</c:v>
                </c:pt>
                <c:pt idx="2340">
                  <c:v>#N/A</c:v>
                </c:pt>
                <c:pt idx="2341">
                  <c:v>#N/A</c:v>
                </c:pt>
                <c:pt idx="2342">
                  <c:v>#N/A</c:v>
                </c:pt>
                <c:pt idx="2343">
                  <c:v>#N/A</c:v>
                </c:pt>
                <c:pt idx="2344">
                  <c:v>#N/A</c:v>
                </c:pt>
                <c:pt idx="2345">
                  <c:v>#N/A</c:v>
                </c:pt>
                <c:pt idx="2346">
                  <c:v>#N/A</c:v>
                </c:pt>
                <c:pt idx="2347">
                  <c:v>#N/A</c:v>
                </c:pt>
                <c:pt idx="2348">
                  <c:v>#N/A</c:v>
                </c:pt>
                <c:pt idx="2349">
                  <c:v>#N/A</c:v>
                </c:pt>
                <c:pt idx="2350">
                  <c:v>#N/A</c:v>
                </c:pt>
                <c:pt idx="2351">
                  <c:v>#N/A</c:v>
                </c:pt>
                <c:pt idx="2352">
                  <c:v>#N/A</c:v>
                </c:pt>
                <c:pt idx="2353">
                  <c:v>#N/A</c:v>
                </c:pt>
                <c:pt idx="2354">
                  <c:v>#N/A</c:v>
                </c:pt>
                <c:pt idx="2355">
                  <c:v>#N/A</c:v>
                </c:pt>
                <c:pt idx="2356">
                  <c:v>#N/A</c:v>
                </c:pt>
                <c:pt idx="2357">
                  <c:v>#N/A</c:v>
                </c:pt>
                <c:pt idx="2358">
                  <c:v>#N/A</c:v>
                </c:pt>
                <c:pt idx="2359">
                  <c:v>#N/A</c:v>
                </c:pt>
                <c:pt idx="2360">
                  <c:v>#N/A</c:v>
                </c:pt>
                <c:pt idx="2361">
                  <c:v>#N/A</c:v>
                </c:pt>
                <c:pt idx="2362">
                  <c:v>#N/A</c:v>
                </c:pt>
                <c:pt idx="2363">
                  <c:v>#N/A</c:v>
                </c:pt>
                <c:pt idx="2364">
                  <c:v>#N/A</c:v>
                </c:pt>
                <c:pt idx="2365">
                  <c:v>#N/A</c:v>
                </c:pt>
                <c:pt idx="2366">
                  <c:v>#N/A</c:v>
                </c:pt>
                <c:pt idx="2367">
                  <c:v>#N/A</c:v>
                </c:pt>
                <c:pt idx="2368">
                  <c:v>#N/A</c:v>
                </c:pt>
                <c:pt idx="2369">
                  <c:v>#N/A</c:v>
                </c:pt>
                <c:pt idx="2370">
                  <c:v>#N/A</c:v>
                </c:pt>
                <c:pt idx="2371">
                  <c:v>#N/A</c:v>
                </c:pt>
                <c:pt idx="2372">
                  <c:v>#N/A</c:v>
                </c:pt>
                <c:pt idx="2373">
                  <c:v>#N/A</c:v>
                </c:pt>
                <c:pt idx="2374">
                  <c:v>#N/A</c:v>
                </c:pt>
                <c:pt idx="2375">
                  <c:v>#N/A</c:v>
                </c:pt>
                <c:pt idx="2376">
                  <c:v>#N/A</c:v>
                </c:pt>
                <c:pt idx="2377">
                  <c:v>#N/A</c:v>
                </c:pt>
                <c:pt idx="2378">
                  <c:v>#N/A</c:v>
                </c:pt>
                <c:pt idx="2379">
                  <c:v>#N/A</c:v>
                </c:pt>
                <c:pt idx="2380">
                  <c:v>#N/A</c:v>
                </c:pt>
                <c:pt idx="2381">
                  <c:v>#N/A</c:v>
                </c:pt>
                <c:pt idx="2382">
                  <c:v>#N/A</c:v>
                </c:pt>
                <c:pt idx="2383">
                  <c:v>#N/A</c:v>
                </c:pt>
                <c:pt idx="2384">
                  <c:v>#N/A</c:v>
                </c:pt>
                <c:pt idx="2385">
                  <c:v>#N/A</c:v>
                </c:pt>
                <c:pt idx="2386">
                  <c:v>#N/A</c:v>
                </c:pt>
                <c:pt idx="2387">
                  <c:v>#N/A</c:v>
                </c:pt>
                <c:pt idx="2388">
                  <c:v>#N/A</c:v>
                </c:pt>
                <c:pt idx="2389">
                  <c:v>#N/A</c:v>
                </c:pt>
                <c:pt idx="2390">
                  <c:v>#N/A</c:v>
                </c:pt>
                <c:pt idx="2391">
                  <c:v>#N/A</c:v>
                </c:pt>
                <c:pt idx="2392">
                  <c:v>#N/A</c:v>
                </c:pt>
                <c:pt idx="2393">
                  <c:v>#N/A</c:v>
                </c:pt>
                <c:pt idx="2394">
                  <c:v>#N/A</c:v>
                </c:pt>
                <c:pt idx="2395">
                  <c:v>#N/A</c:v>
                </c:pt>
                <c:pt idx="2396">
                  <c:v>#N/A</c:v>
                </c:pt>
                <c:pt idx="2397">
                  <c:v>#N/A</c:v>
                </c:pt>
                <c:pt idx="2398">
                  <c:v>#N/A</c:v>
                </c:pt>
                <c:pt idx="2399">
                  <c:v>#N/A</c:v>
                </c:pt>
                <c:pt idx="2400">
                  <c:v>#N/A</c:v>
                </c:pt>
                <c:pt idx="2401">
                  <c:v>#N/A</c:v>
                </c:pt>
                <c:pt idx="2402">
                  <c:v>#N/A</c:v>
                </c:pt>
                <c:pt idx="2403">
                  <c:v>#N/A</c:v>
                </c:pt>
                <c:pt idx="2404">
                  <c:v>#N/A</c:v>
                </c:pt>
                <c:pt idx="2405">
                  <c:v>#N/A</c:v>
                </c:pt>
                <c:pt idx="2406">
                  <c:v>#N/A</c:v>
                </c:pt>
                <c:pt idx="2407">
                  <c:v>#N/A</c:v>
                </c:pt>
                <c:pt idx="2408">
                  <c:v>#N/A</c:v>
                </c:pt>
                <c:pt idx="2409">
                  <c:v>#N/A</c:v>
                </c:pt>
                <c:pt idx="2410">
                  <c:v>#N/A</c:v>
                </c:pt>
                <c:pt idx="2411">
                  <c:v>#N/A</c:v>
                </c:pt>
                <c:pt idx="2412">
                  <c:v>#N/A</c:v>
                </c:pt>
                <c:pt idx="2413">
                  <c:v>#N/A</c:v>
                </c:pt>
                <c:pt idx="2414">
                  <c:v>#N/A</c:v>
                </c:pt>
                <c:pt idx="2415">
                  <c:v>#N/A</c:v>
                </c:pt>
                <c:pt idx="2416">
                  <c:v>#N/A</c:v>
                </c:pt>
                <c:pt idx="2417">
                  <c:v>#N/A</c:v>
                </c:pt>
                <c:pt idx="2418">
                  <c:v>#N/A</c:v>
                </c:pt>
                <c:pt idx="2419">
                  <c:v>#N/A</c:v>
                </c:pt>
                <c:pt idx="2420">
                  <c:v>#N/A</c:v>
                </c:pt>
                <c:pt idx="2421">
                  <c:v>#N/A</c:v>
                </c:pt>
                <c:pt idx="2422">
                  <c:v>#N/A</c:v>
                </c:pt>
                <c:pt idx="2423">
                  <c:v>#N/A</c:v>
                </c:pt>
                <c:pt idx="2424">
                  <c:v>#N/A</c:v>
                </c:pt>
                <c:pt idx="2425">
                  <c:v>#N/A</c:v>
                </c:pt>
                <c:pt idx="2426">
                  <c:v>#N/A</c:v>
                </c:pt>
                <c:pt idx="2427">
                  <c:v>#N/A</c:v>
                </c:pt>
                <c:pt idx="2428">
                  <c:v>#N/A</c:v>
                </c:pt>
                <c:pt idx="2429">
                  <c:v>#N/A</c:v>
                </c:pt>
                <c:pt idx="2430">
                  <c:v>#N/A</c:v>
                </c:pt>
                <c:pt idx="2431">
                  <c:v>#N/A</c:v>
                </c:pt>
                <c:pt idx="2432">
                  <c:v>#N/A</c:v>
                </c:pt>
                <c:pt idx="2433">
                  <c:v>#N/A</c:v>
                </c:pt>
                <c:pt idx="2434">
                  <c:v>#N/A</c:v>
                </c:pt>
                <c:pt idx="2435">
                  <c:v>#N/A</c:v>
                </c:pt>
                <c:pt idx="2436">
                  <c:v>#N/A</c:v>
                </c:pt>
                <c:pt idx="2437">
                  <c:v>#N/A</c:v>
                </c:pt>
                <c:pt idx="2438">
                  <c:v>#N/A</c:v>
                </c:pt>
                <c:pt idx="2439">
                  <c:v>#N/A</c:v>
                </c:pt>
                <c:pt idx="2440">
                  <c:v>#N/A</c:v>
                </c:pt>
                <c:pt idx="2441">
                  <c:v>#N/A</c:v>
                </c:pt>
                <c:pt idx="2442">
                  <c:v>#N/A</c:v>
                </c:pt>
                <c:pt idx="2443">
                  <c:v>#N/A</c:v>
                </c:pt>
                <c:pt idx="2444">
                  <c:v>#N/A</c:v>
                </c:pt>
                <c:pt idx="2445">
                  <c:v>#N/A</c:v>
                </c:pt>
                <c:pt idx="2446">
                  <c:v>#N/A</c:v>
                </c:pt>
                <c:pt idx="2447">
                  <c:v>#N/A</c:v>
                </c:pt>
                <c:pt idx="2448">
                  <c:v>#N/A</c:v>
                </c:pt>
                <c:pt idx="2449">
                  <c:v>#N/A</c:v>
                </c:pt>
                <c:pt idx="2450">
                  <c:v>#N/A</c:v>
                </c:pt>
                <c:pt idx="2451">
                  <c:v>#N/A</c:v>
                </c:pt>
                <c:pt idx="2452">
                  <c:v>#N/A</c:v>
                </c:pt>
                <c:pt idx="2453">
                  <c:v>#N/A</c:v>
                </c:pt>
                <c:pt idx="2454">
                  <c:v>#N/A</c:v>
                </c:pt>
                <c:pt idx="2455">
                  <c:v>#N/A</c:v>
                </c:pt>
                <c:pt idx="2456">
                  <c:v>#N/A</c:v>
                </c:pt>
                <c:pt idx="2457">
                  <c:v>#N/A</c:v>
                </c:pt>
                <c:pt idx="2458">
                  <c:v>#N/A</c:v>
                </c:pt>
                <c:pt idx="2459">
                  <c:v>#N/A</c:v>
                </c:pt>
                <c:pt idx="2460">
                  <c:v>#N/A</c:v>
                </c:pt>
                <c:pt idx="2461">
                  <c:v>#N/A</c:v>
                </c:pt>
                <c:pt idx="2462">
                  <c:v>#N/A</c:v>
                </c:pt>
                <c:pt idx="2463">
                  <c:v>#N/A</c:v>
                </c:pt>
                <c:pt idx="2464">
                  <c:v>#N/A</c:v>
                </c:pt>
                <c:pt idx="2465">
                  <c:v>#N/A</c:v>
                </c:pt>
                <c:pt idx="2466">
                  <c:v>#N/A</c:v>
                </c:pt>
                <c:pt idx="2467">
                  <c:v>#N/A</c:v>
                </c:pt>
                <c:pt idx="2468">
                  <c:v>#N/A</c:v>
                </c:pt>
                <c:pt idx="2469">
                  <c:v>#N/A</c:v>
                </c:pt>
                <c:pt idx="2470">
                  <c:v>#N/A</c:v>
                </c:pt>
                <c:pt idx="2471">
                  <c:v>#N/A</c:v>
                </c:pt>
                <c:pt idx="2472">
                  <c:v>#N/A</c:v>
                </c:pt>
                <c:pt idx="2473">
                  <c:v>#N/A</c:v>
                </c:pt>
                <c:pt idx="2474">
                  <c:v>#N/A</c:v>
                </c:pt>
                <c:pt idx="2475">
                  <c:v>#N/A</c:v>
                </c:pt>
                <c:pt idx="2476">
                  <c:v>#N/A</c:v>
                </c:pt>
                <c:pt idx="2477">
                  <c:v>#N/A</c:v>
                </c:pt>
                <c:pt idx="2478">
                  <c:v>#N/A</c:v>
                </c:pt>
                <c:pt idx="2479">
                  <c:v>#N/A</c:v>
                </c:pt>
                <c:pt idx="2480">
                  <c:v>#N/A</c:v>
                </c:pt>
                <c:pt idx="2481">
                  <c:v>#N/A</c:v>
                </c:pt>
                <c:pt idx="2482">
                  <c:v>#N/A</c:v>
                </c:pt>
                <c:pt idx="2483">
                  <c:v>#N/A</c:v>
                </c:pt>
                <c:pt idx="2484">
                  <c:v>#N/A</c:v>
                </c:pt>
                <c:pt idx="2485">
                  <c:v>#N/A</c:v>
                </c:pt>
                <c:pt idx="2486">
                  <c:v>#N/A</c:v>
                </c:pt>
                <c:pt idx="2487">
                  <c:v>#N/A</c:v>
                </c:pt>
                <c:pt idx="2488">
                  <c:v>#N/A</c:v>
                </c:pt>
                <c:pt idx="2489">
                  <c:v>#N/A</c:v>
                </c:pt>
                <c:pt idx="2490">
                  <c:v>#N/A</c:v>
                </c:pt>
                <c:pt idx="2491">
                  <c:v>#N/A</c:v>
                </c:pt>
                <c:pt idx="2492">
                  <c:v>#N/A</c:v>
                </c:pt>
                <c:pt idx="2493">
                  <c:v>#N/A</c:v>
                </c:pt>
                <c:pt idx="2494">
                  <c:v>#N/A</c:v>
                </c:pt>
                <c:pt idx="2495">
                  <c:v>#N/A</c:v>
                </c:pt>
                <c:pt idx="2496">
                  <c:v>#N/A</c:v>
                </c:pt>
                <c:pt idx="2497">
                  <c:v>#N/A</c:v>
                </c:pt>
                <c:pt idx="2498">
                  <c:v>#N/A</c:v>
                </c:pt>
                <c:pt idx="2499">
                  <c:v>#N/A</c:v>
                </c:pt>
                <c:pt idx="2500">
                  <c:v>#N/A</c:v>
                </c:pt>
                <c:pt idx="2501">
                  <c:v>#N/A</c:v>
                </c:pt>
                <c:pt idx="2502">
                  <c:v>#N/A</c:v>
                </c:pt>
                <c:pt idx="2503">
                  <c:v>#N/A</c:v>
                </c:pt>
                <c:pt idx="2504">
                  <c:v>#N/A</c:v>
                </c:pt>
                <c:pt idx="2505">
                  <c:v>#N/A</c:v>
                </c:pt>
                <c:pt idx="2506">
                  <c:v>#N/A</c:v>
                </c:pt>
                <c:pt idx="2507">
                  <c:v>#N/A</c:v>
                </c:pt>
                <c:pt idx="2508">
                  <c:v>#N/A</c:v>
                </c:pt>
                <c:pt idx="2509">
                  <c:v>#N/A</c:v>
                </c:pt>
                <c:pt idx="2510">
                  <c:v>#N/A</c:v>
                </c:pt>
                <c:pt idx="2511">
                  <c:v>#N/A</c:v>
                </c:pt>
                <c:pt idx="2512">
                  <c:v>#N/A</c:v>
                </c:pt>
                <c:pt idx="2513">
                  <c:v>#N/A</c:v>
                </c:pt>
                <c:pt idx="2514">
                  <c:v>#N/A</c:v>
                </c:pt>
                <c:pt idx="2515">
                  <c:v>#N/A</c:v>
                </c:pt>
                <c:pt idx="2516">
                  <c:v>#N/A</c:v>
                </c:pt>
                <c:pt idx="2517">
                  <c:v>#N/A</c:v>
                </c:pt>
                <c:pt idx="2518">
                  <c:v>#N/A</c:v>
                </c:pt>
                <c:pt idx="2519">
                  <c:v>#N/A</c:v>
                </c:pt>
                <c:pt idx="2520">
                  <c:v>#N/A</c:v>
                </c:pt>
                <c:pt idx="2521">
                  <c:v>#N/A</c:v>
                </c:pt>
                <c:pt idx="2522">
                  <c:v>#N/A</c:v>
                </c:pt>
                <c:pt idx="2523">
                  <c:v>#N/A</c:v>
                </c:pt>
                <c:pt idx="2524">
                  <c:v>#N/A</c:v>
                </c:pt>
                <c:pt idx="2525">
                  <c:v>#N/A</c:v>
                </c:pt>
                <c:pt idx="2526">
                  <c:v>#N/A</c:v>
                </c:pt>
                <c:pt idx="2527">
                  <c:v>#N/A</c:v>
                </c:pt>
                <c:pt idx="2528">
                  <c:v>#N/A</c:v>
                </c:pt>
                <c:pt idx="2529">
                  <c:v>#N/A</c:v>
                </c:pt>
                <c:pt idx="2530">
                  <c:v>#N/A</c:v>
                </c:pt>
                <c:pt idx="2531">
                  <c:v>#N/A</c:v>
                </c:pt>
                <c:pt idx="2532">
                  <c:v>#N/A</c:v>
                </c:pt>
                <c:pt idx="2533">
                  <c:v>#N/A</c:v>
                </c:pt>
                <c:pt idx="2534">
                  <c:v>#N/A</c:v>
                </c:pt>
                <c:pt idx="2535">
                  <c:v>#N/A</c:v>
                </c:pt>
                <c:pt idx="2536">
                  <c:v>#N/A</c:v>
                </c:pt>
                <c:pt idx="2537">
                  <c:v>#N/A</c:v>
                </c:pt>
                <c:pt idx="2538">
                  <c:v>#N/A</c:v>
                </c:pt>
                <c:pt idx="2539">
                  <c:v>#N/A</c:v>
                </c:pt>
                <c:pt idx="2540">
                  <c:v>#N/A</c:v>
                </c:pt>
                <c:pt idx="2541">
                  <c:v>#N/A</c:v>
                </c:pt>
                <c:pt idx="2542">
                  <c:v>#N/A</c:v>
                </c:pt>
                <c:pt idx="2543">
                  <c:v>#N/A</c:v>
                </c:pt>
                <c:pt idx="2544">
                  <c:v>#N/A</c:v>
                </c:pt>
                <c:pt idx="2545">
                  <c:v>#N/A</c:v>
                </c:pt>
                <c:pt idx="2546">
                  <c:v>#N/A</c:v>
                </c:pt>
                <c:pt idx="2547">
                  <c:v>#N/A</c:v>
                </c:pt>
                <c:pt idx="2548">
                  <c:v>#N/A</c:v>
                </c:pt>
                <c:pt idx="2549">
                  <c:v>#N/A</c:v>
                </c:pt>
                <c:pt idx="2550">
                  <c:v>#N/A</c:v>
                </c:pt>
                <c:pt idx="2551">
                  <c:v>#N/A</c:v>
                </c:pt>
                <c:pt idx="2552">
                  <c:v>#N/A</c:v>
                </c:pt>
                <c:pt idx="2553">
                  <c:v>#N/A</c:v>
                </c:pt>
                <c:pt idx="2554">
                  <c:v>#N/A</c:v>
                </c:pt>
                <c:pt idx="2555">
                  <c:v>#N/A</c:v>
                </c:pt>
                <c:pt idx="2556">
                  <c:v>#N/A</c:v>
                </c:pt>
                <c:pt idx="2557">
                  <c:v>#N/A</c:v>
                </c:pt>
                <c:pt idx="2558">
                  <c:v>#N/A</c:v>
                </c:pt>
                <c:pt idx="2559">
                  <c:v>#N/A</c:v>
                </c:pt>
                <c:pt idx="2560">
                  <c:v>#N/A</c:v>
                </c:pt>
                <c:pt idx="2561">
                  <c:v>#N/A</c:v>
                </c:pt>
                <c:pt idx="2562">
                  <c:v>#N/A</c:v>
                </c:pt>
                <c:pt idx="2563">
                  <c:v>#N/A</c:v>
                </c:pt>
                <c:pt idx="2564">
                  <c:v>#N/A</c:v>
                </c:pt>
                <c:pt idx="2565">
                  <c:v>#N/A</c:v>
                </c:pt>
                <c:pt idx="2566">
                  <c:v>#N/A</c:v>
                </c:pt>
                <c:pt idx="2567">
                  <c:v>#N/A</c:v>
                </c:pt>
                <c:pt idx="2568">
                  <c:v>#N/A</c:v>
                </c:pt>
                <c:pt idx="2569">
                  <c:v>#N/A</c:v>
                </c:pt>
                <c:pt idx="2570">
                  <c:v>#N/A</c:v>
                </c:pt>
                <c:pt idx="2571">
                  <c:v>#N/A</c:v>
                </c:pt>
                <c:pt idx="2572">
                  <c:v>#N/A</c:v>
                </c:pt>
                <c:pt idx="2573">
                  <c:v>#N/A</c:v>
                </c:pt>
                <c:pt idx="2574">
                  <c:v>#N/A</c:v>
                </c:pt>
                <c:pt idx="2575">
                  <c:v>#N/A</c:v>
                </c:pt>
                <c:pt idx="2576">
                  <c:v>#N/A</c:v>
                </c:pt>
                <c:pt idx="2577">
                  <c:v>#N/A</c:v>
                </c:pt>
                <c:pt idx="2578">
                  <c:v>#N/A</c:v>
                </c:pt>
                <c:pt idx="2579">
                  <c:v>#N/A</c:v>
                </c:pt>
                <c:pt idx="2580">
                  <c:v>#N/A</c:v>
                </c:pt>
                <c:pt idx="2581">
                  <c:v>#N/A</c:v>
                </c:pt>
                <c:pt idx="2582">
                  <c:v>#N/A</c:v>
                </c:pt>
                <c:pt idx="2583">
                  <c:v>#N/A</c:v>
                </c:pt>
                <c:pt idx="2584">
                  <c:v>#N/A</c:v>
                </c:pt>
                <c:pt idx="2585">
                  <c:v>#N/A</c:v>
                </c:pt>
                <c:pt idx="2586">
                  <c:v>#N/A</c:v>
                </c:pt>
                <c:pt idx="2587">
                  <c:v>#N/A</c:v>
                </c:pt>
                <c:pt idx="2588">
                  <c:v>#N/A</c:v>
                </c:pt>
                <c:pt idx="2589">
                  <c:v>#N/A</c:v>
                </c:pt>
                <c:pt idx="2590">
                  <c:v>#N/A</c:v>
                </c:pt>
                <c:pt idx="2591">
                  <c:v>#N/A</c:v>
                </c:pt>
                <c:pt idx="2592">
                  <c:v>#N/A</c:v>
                </c:pt>
                <c:pt idx="2593">
                  <c:v>#N/A</c:v>
                </c:pt>
                <c:pt idx="2594">
                  <c:v>#N/A</c:v>
                </c:pt>
                <c:pt idx="2595">
                  <c:v>#N/A</c:v>
                </c:pt>
                <c:pt idx="2596">
                  <c:v>#N/A</c:v>
                </c:pt>
                <c:pt idx="2597">
                  <c:v>#N/A</c:v>
                </c:pt>
                <c:pt idx="2598">
                  <c:v>#N/A</c:v>
                </c:pt>
                <c:pt idx="2599">
                  <c:v>#N/A</c:v>
                </c:pt>
                <c:pt idx="2600">
                  <c:v>#N/A</c:v>
                </c:pt>
                <c:pt idx="2601">
                  <c:v>#N/A</c:v>
                </c:pt>
                <c:pt idx="2602">
                  <c:v>#N/A</c:v>
                </c:pt>
                <c:pt idx="2603">
                  <c:v>#N/A</c:v>
                </c:pt>
                <c:pt idx="2604">
                  <c:v>#N/A</c:v>
                </c:pt>
                <c:pt idx="2605">
                  <c:v>#N/A</c:v>
                </c:pt>
                <c:pt idx="2606">
                  <c:v>#N/A</c:v>
                </c:pt>
                <c:pt idx="2607">
                  <c:v>#N/A</c:v>
                </c:pt>
                <c:pt idx="2608">
                  <c:v>#N/A</c:v>
                </c:pt>
                <c:pt idx="2609">
                  <c:v>#N/A</c:v>
                </c:pt>
                <c:pt idx="2610">
                  <c:v>#N/A</c:v>
                </c:pt>
                <c:pt idx="2611">
                  <c:v>#N/A</c:v>
                </c:pt>
                <c:pt idx="2612">
                  <c:v>#N/A</c:v>
                </c:pt>
                <c:pt idx="2613">
                  <c:v>#N/A</c:v>
                </c:pt>
                <c:pt idx="2614">
                  <c:v>#N/A</c:v>
                </c:pt>
                <c:pt idx="2615">
                  <c:v>#N/A</c:v>
                </c:pt>
                <c:pt idx="2616">
                  <c:v>#N/A</c:v>
                </c:pt>
                <c:pt idx="2617">
                  <c:v>#N/A</c:v>
                </c:pt>
                <c:pt idx="2618">
                  <c:v>#N/A</c:v>
                </c:pt>
                <c:pt idx="2619">
                  <c:v>#N/A</c:v>
                </c:pt>
                <c:pt idx="2620">
                  <c:v>#N/A</c:v>
                </c:pt>
                <c:pt idx="2621">
                  <c:v>#N/A</c:v>
                </c:pt>
                <c:pt idx="2622">
                  <c:v>#N/A</c:v>
                </c:pt>
                <c:pt idx="2623">
                  <c:v>#N/A</c:v>
                </c:pt>
                <c:pt idx="2624">
                  <c:v>#N/A</c:v>
                </c:pt>
                <c:pt idx="2625">
                  <c:v>#N/A</c:v>
                </c:pt>
                <c:pt idx="2626">
                  <c:v>#N/A</c:v>
                </c:pt>
                <c:pt idx="2627">
                  <c:v>#N/A</c:v>
                </c:pt>
                <c:pt idx="2628">
                  <c:v>#N/A</c:v>
                </c:pt>
                <c:pt idx="2629">
                  <c:v>#N/A</c:v>
                </c:pt>
                <c:pt idx="2630">
                  <c:v>#N/A</c:v>
                </c:pt>
                <c:pt idx="2631">
                  <c:v>#N/A</c:v>
                </c:pt>
                <c:pt idx="2632">
                  <c:v>1.2657534246575342</c:v>
                </c:pt>
                <c:pt idx="2633">
                  <c:v>#N/A</c:v>
                </c:pt>
                <c:pt idx="2634">
                  <c:v>#N/A</c:v>
                </c:pt>
                <c:pt idx="2635">
                  <c:v>#N/A</c:v>
                </c:pt>
                <c:pt idx="2636">
                  <c:v>#N/A</c:v>
                </c:pt>
                <c:pt idx="2637">
                  <c:v>#N/A</c:v>
                </c:pt>
                <c:pt idx="2638">
                  <c:v>#N/A</c:v>
                </c:pt>
                <c:pt idx="2639">
                  <c:v>#N/A</c:v>
                </c:pt>
                <c:pt idx="2640">
                  <c:v>#N/A</c:v>
                </c:pt>
                <c:pt idx="2641">
                  <c:v>#N/A</c:v>
                </c:pt>
                <c:pt idx="2642">
                  <c:v>#N/A</c:v>
                </c:pt>
                <c:pt idx="2643">
                  <c:v>#N/A</c:v>
                </c:pt>
                <c:pt idx="2644">
                  <c:v>#N/A</c:v>
                </c:pt>
                <c:pt idx="2645">
                  <c:v>#N/A</c:v>
                </c:pt>
                <c:pt idx="2646">
                  <c:v>#N/A</c:v>
                </c:pt>
                <c:pt idx="2647">
                  <c:v>#N/A</c:v>
                </c:pt>
                <c:pt idx="2648">
                  <c:v>#N/A</c:v>
                </c:pt>
                <c:pt idx="2649">
                  <c:v>#N/A</c:v>
                </c:pt>
                <c:pt idx="2650">
                  <c:v>#N/A</c:v>
                </c:pt>
                <c:pt idx="2651">
                  <c:v>#N/A</c:v>
                </c:pt>
                <c:pt idx="2652">
                  <c:v>#N/A</c:v>
                </c:pt>
                <c:pt idx="2653">
                  <c:v>#N/A</c:v>
                </c:pt>
                <c:pt idx="2654">
                  <c:v>#N/A</c:v>
                </c:pt>
                <c:pt idx="2655">
                  <c:v>#N/A</c:v>
                </c:pt>
                <c:pt idx="2656">
                  <c:v>#N/A</c:v>
                </c:pt>
                <c:pt idx="2657">
                  <c:v>#N/A</c:v>
                </c:pt>
                <c:pt idx="2658">
                  <c:v>#N/A</c:v>
                </c:pt>
                <c:pt idx="2659">
                  <c:v>#N/A</c:v>
                </c:pt>
                <c:pt idx="2660">
                  <c:v>#N/A</c:v>
                </c:pt>
                <c:pt idx="2661">
                  <c:v>#N/A</c:v>
                </c:pt>
                <c:pt idx="2662">
                  <c:v>#N/A</c:v>
                </c:pt>
                <c:pt idx="2663">
                  <c:v>#N/A</c:v>
                </c:pt>
                <c:pt idx="2664">
                  <c:v>#N/A</c:v>
                </c:pt>
                <c:pt idx="2665">
                  <c:v>#N/A</c:v>
                </c:pt>
                <c:pt idx="2666">
                  <c:v>#N/A</c:v>
                </c:pt>
                <c:pt idx="2667">
                  <c:v>#N/A</c:v>
                </c:pt>
                <c:pt idx="2668">
                  <c:v>#N/A</c:v>
                </c:pt>
                <c:pt idx="2669">
                  <c:v>#N/A</c:v>
                </c:pt>
                <c:pt idx="2670">
                  <c:v>#N/A</c:v>
                </c:pt>
                <c:pt idx="2671">
                  <c:v>#N/A</c:v>
                </c:pt>
                <c:pt idx="2672">
                  <c:v>#N/A</c:v>
                </c:pt>
                <c:pt idx="2673">
                  <c:v>#N/A</c:v>
                </c:pt>
                <c:pt idx="2674">
                  <c:v>#N/A</c:v>
                </c:pt>
                <c:pt idx="2675">
                  <c:v>#N/A</c:v>
                </c:pt>
                <c:pt idx="2676">
                  <c:v>#N/A</c:v>
                </c:pt>
                <c:pt idx="2677">
                  <c:v>#N/A</c:v>
                </c:pt>
                <c:pt idx="2678">
                  <c:v>#N/A</c:v>
                </c:pt>
                <c:pt idx="2679">
                  <c:v>#N/A</c:v>
                </c:pt>
                <c:pt idx="2680">
                  <c:v>#N/A</c:v>
                </c:pt>
                <c:pt idx="2681">
                  <c:v>#N/A</c:v>
                </c:pt>
                <c:pt idx="2682">
                  <c:v>#N/A</c:v>
                </c:pt>
                <c:pt idx="2683">
                  <c:v>#N/A</c:v>
                </c:pt>
                <c:pt idx="2684">
                  <c:v>#N/A</c:v>
                </c:pt>
                <c:pt idx="2685">
                  <c:v>#N/A</c:v>
                </c:pt>
                <c:pt idx="2686">
                  <c:v>#N/A</c:v>
                </c:pt>
                <c:pt idx="2687">
                  <c:v>#N/A</c:v>
                </c:pt>
                <c:pt idx="2688">
                  <c:v>#N/A</c:v>
                </c:pt>
                <c:pt idx="2689">
                  <c:v>#N/A</c:v>
                </c:pt>
                <c:pt idx="2690">
                  <c:v>#N/A</c:v>
                </c:pt>
                <c:pt idx="2691">
                  <c:v>#N/A</c:v>
                </c:pt>
                <c:pt idx="2692">
                  <c:v>#N/A</c:v>
                </c:pt>
                <c:pt idx="2693">
                  <c:v>#N/A</c:v>
                </c:pt>
                <c:pt idx="2694">
                  <c:v>#N/A</c:v>
                </c:pt>
                <c:pt idx="2695">
                  <c:v>#N/A</c:v>
                </c:pt>
                <c:pt idx="2696">
                  <c:v>#N/A</c:v>
                </c:pt>
                <c:pt idx="2697">
                  <c:v>#N/A</c:v>
                </c:pt>
                <c:pt idx="2698">
                  <c:v>#N/A</c:v>
                </c:pt>
                <c:pt idx="2699">
                  <c:v>#N/A</c:v>
                </c:pt>
                <c:pt idx="2700">
                  <c:v>#N/A</c:v>
                </c:pt>
                <c:pt idx="2701">
                  <c:v>#N/A</c:v>
                </c:pt>
                <c:pt idx="2702">
                  <c:v>#N/A</c:v>
                </c:pt>
                <c:pt idx="2703">
                  <c:v>#N/A</c:v>
                </c:pt>
                <c:pt idx="2704">
                  <c:v>#N/A</c:v>
                </c:pt>
                <c:pt idx="2705">
                  <c:v>#N/A</c:v>
                </c:pt>
                <c:pt idx="2706">
                  <c:v>#N/A</c:v>
                </c:pt>
                <c:pt idx="2707">
                  <c:v>#N/A</c:v>
                </c:pt>
                <c:pt idx="2708">
                  <c:v>#N/A</c:v>
                </c:pt>
                <c:pt idx="2709">
                  <c:v>#N/A</c:v>
                </c:pt>
                <c:pt idx="2710">
                  <c:v>#N/A</c:v>
                </c:pt>
                <c:pt idx="2711">
                  <c:v>#N/A</c:v>
                </c:pt>
                <c:pt idx="2712">
                  <c:v>#N/A</c:v>
                </c:pt>
                <c:pt idx="2713">
                  <c:v>#N/A</c:v>
                </c:pt>
                <c:pt idx="2714">
                  <c:v>#N/A</c:v>
                </c:pt>
                <c:pt idx="2715">
                  <c:v>#N/A</c:v>
                </c:pt>
                <c:pt idx="2716">
                  <c:v>#N/A</c:v>
                </c:pt>
                <c:pt idx="2717">
                  <c:v>#N/A</c:v>
                </c:pt>
                <c:pt idx="2718">
                  <c:v>#N/A</c:v>
                </c:pt>
                <c:pt idx="2719">
                  <c:v>#N/A</c:v>
                </c:pt>
                <c:pt idx="2720">
                  <c:v>#N/A</c:v>
                </c:pt>
                <c:pt idx="2721">
                  <c:v>#N/A</c:v>
                </c:pt>
                <c:pt idx="2722">
                  <c:v>#N/A</c:v>
                </c:pt>
                <c:pt idx="2723">
                  <c:v>#N/A</c:v>
                </c:pt>
                <c:pt idx="2724">
                  <c:v>#N/A</c:v>
                </c:pt>
                <c:pt idx="2725">
                  <c:v>#N/A</c:v>
                </c:pt>
                <c:pt idx="2726">
                  <c:v>#N/A</c:v>
                </c:pt>
                <c:pt idx="2727">
                  <c:v>#N/A</c:v>
                </c:pt>
                <c:pt idx="2728">
                  <c:v>#N/A</c:v>
                </c:pt>
                <c:pt idx="2729">
                  <c:v>#N/A</c:v>
                </c:pt>
                <c:pt idx="2730">
                  <c:v>#N/A</c:v>
                </c:pt>
                <c:pt idx="2731">
                  <c:v>#N/A</c:v>
                </c:pt>
                <c:pt idx="2732">
                  <c:v>#N/A</c:v>
                </c:pt>
                <c:pt idx="2733">
                  <c:v>#N/A</c:v>
                </c:pt>
                <c:pt idx="2734">
                  <c:v>#N/A</c:v>
                </c:pt>
                <c:pt idx="2735">
                  <c:v>#N/A</c:v>
                </c:pt>
                <c:pt idx="2736">
                  <c:v>#N/A</c:v>
                </c:pt>
                <c:pt idx="2737">
                  <c:v>#N/A</c:v>
                </c:pt>
                <c:pt idx="2738">
                  <c:v>#N/A</c:v>
                </c:pt>
                <c:pt idx="2739">
                  <c:v>#N/A</c:v>
                </c:pt>
                <c:pt idx="2740">
                  <c:v>#N/A</c:v>
                </c:pt>
                <c:pt idx="2741">
                  <c:v>#N/A</c:v>
                </c:pt>
                <c:pt idx="2742">
                  <c:v>#N/A</c:v>
                </c:pt>
                <c:pt idx="2743">
                  <c:v>#N/A</c:v>
                </c:pt>
                <c:pt idx="2744">
                  <c:v>#N/A</c:v>
                </c:pt>
                <c:pt idx="2745">
                  <c:v>#N/A</c:v>
                </c:pt>
                <c:pt idx="2746">
                  <c:v>#N/A</c:v>
                </c:pt>
                <c:pt idx="2747">
                  <c:v>#N/A</c:v>
                </c:pt>
                <c:pt idx="2748">
                  <c:v>#N/A</c:v>
                </c:pt>
                <c:pt idx="2749">
                  <c:v>#N/A</c:v>
                </c:pt>
                <c:pt idx="2750">
                  <c:v>#N/A</c:v>
                </c:pt>
                <c:pt idx="2751">
                  <c:v>#N/A</c:v>
                </c:pt>
                <c:pt idx="2752">
                  <c:v>#N/A</c:v>
                </c:pt>
                <c:pt idx="2753">
                  <c:v>#N/A</c:v>
                </c:pt>
                <c:pt idx="2754">
                  <c:v>#N/A</c:v>
                </c:pt>
                <c:pt idx="2755">
                  <c:v>#N/A</c:v>
                </c:pt>
                <c:pt idx="2756">
                  <c:v>#N/A</c:v>
                </c:pt>
                <c:pt idx="2757">
                  <c:v>#N/A</c:v>
                </c:pt>
                <c:pt idx="2758">
                  <c:v>#N/A</c:v>
                </c:pt>
                <c:pt idx="2759">
                  <c:v>#N/A</c:v>
                </c:pt>
                <c:pt idx="2760">
                  <c:v>#N/A</c:v>
                </c:pt>
                <c:pt idx="2761">
                  <c:v>#N/A</c:v>
                </c:pt>
                <c:pt idx="2762">
                  <c:v>#N/A</c:v>
                </c:pt>
                <c:pt idx="2763">
                  <c:v>#N/A</c:v>
                </c:pt>
                <c:pt idx="2764">
                  <c:v>#N/A</c:v>
                </c:pt>
                <c:pt idx="2765">
                  <c:v>#N/A</c:v>
                </c:pt>
                <c:pt idx="2766">
                  <c:v>#N/A</c:v>
                </c:pt>
                <c:pt idx="2767">
                  <c:v>#N/A</c:v>
                </c:pt>
                <c:pt idx="2768">
                  <c:v>#N/A</c:v>
                </c:pt>
                <c:pt idx="2769">
                  <c:v>#N/A</c:v>
                </c:pt>
                <c:pt idx="2770">
                  <c:v>#N/A</c:v>
                </c:pt>
                <c:pt idx="2771">
                  <c:v>#N/A</c:v>
                </c:pt>
                <c:pt idx="2772">
                  <c:v>#N/A</c:v>
                </c:pt>
                <c:pt idx="2773">
                  <c:v>#N/A</c:v>
                </c:pt>
                <c:pt idx="2774">
                  <c:v>#N/A</c:v>
                </c:pt>
                <c:pt idx="2775">
                  <c:v>#N/A</c:v>
                </c:pt>
                <c:pt idx="2776">
                  <c:v>#N/A</c:v>
                </c:pt>
                <c:pt idx="2777">
                  <c:v>#N/A</c:v>
                </c:pt>
                <c:pt idx="2778">
                  <c:v>#N/A</c:v>
                </c:pt>
                <c:pt idx="2779">
                  <c:v>#N/A</c:v>
                </c:pt>
                <c:pt idx="2780">
                  <c:v>#N/A</c:v>
                </c:pt>
                <c:pt idx="2781">
                  <c:v>#N/A</c:v>
                </c:pt>
                <c:pt idx="2782">
                  <c:v>#N/A</c:v>
                </c:pt>
                <c:pt idx="2783">
                  <c:v>#N/A</c:v>
                </c:pt>
                <c:pt idx="2784">
                  <c:v>#N/A</c:v>
                </c:pt>
                <c:pt idx="2785">
                  <c:v>#N/A</c:v>
                </c:pt>
                <c:pt idx="2786">
                  <c:v>#N/A</c:v>
                </c:pt>
                <c:pt idx="2787">
                  <c:v>#N/A</c:v>
                </c:pt>
                <c:pt idx="2788">
                  <c:v>#N/A</c:v>
                </c:pt>
                <c:pt idx="2789">
                  <c:v>#N/A</c:v>
                </c:pt>
                <c:pt idx="2790">
                  <c:v>#N/A</c:v>
                </c:pt>
                <c:pt idx="2791">
                  <c:v>#N/A</c:v>
                </c:pt>
                <c:pt idx="2792">
                  <c:v>#N/A</c:v>
                </c:pt>
                <c:pt idx="2793">
                  <c:v>#N/A</c:v>
                </c:pt>
                <c:pt idx="2794">
                  <c:v>#N/A</c:v>
                </c:pt>
                <c:pt idx="2795">
                  <c:v>#N/A</c:v>
                </c:pt>
                <c:pt idx="2796">
                  <c:v>#N/A</c:v>
                </c:pt>
                <c:pt idx="2797">
                  <c:v>#N/A</c:v>
                </c:pt>
                <c:pt idx="2798">
                  <c:v>#N/A</c:v>
                </c:pt>
                <c:pt idx="2799">
                  <c:v>#N/A</c:v>
                </c:pt>
                <c:pt idx="2800">
                  <c:v>#N/A</c:v>
                </c:pt>
                <c:pt idx="2801">
                  <c:v>#N/A</c:v>
                </c:pt>
                <c:pt idx="2802">
                  <c:v>#N/A</c:v>
                </c:pt>
                <c:pt idx="2803">
                  <c:v>#N/A</c:v>
                </c:pt>
                <c:pt idx="2804">
                  <c:v>#N/A</c:v>
                </c:pt>
                <c:pt idx="2805">
                  <c:v>#N/A</c:v>
                </c:pt>
                <c:pt idx="2806">
                  <c:v>#N/A</c:v>
                </c:pt>
                <c:pt idx="2807">
                  <c:v>#N/A</c:v>
                </c:pt>
                <c:pt idx="2808">
                  <c:v>#N/A</c:v>
                </c:pt>
                <c:pt idx="2809">
                  <c:v>#N/A</c:v>
                </c:pt>
                <c:pt idx="2810">
                  <c:v>#N/A</c:v>
                </c:pt>
                <c:pt idx="2811">
                  <c:v>#N/A</c:v>
                </c:pt>
                <c:pt idx="2812">
                  <c:v>#N/A</c:v>
                </c:pt>
                <c:pt idx="2813">
                  <c:v>#N/A</c:v>
                </c:pt>
                <c:pt idx="2814">
                  <c:v>#N/A</c:v>
                </c:pt>
                <c:pt idx="2815">
                  <c:v>#N/A</c:v>
                </c:pt>
                <c:pt idx="2816">
                  <c:v>#N/A</c:v>
                </c:pt>
                <c:pt idx="2817">
                  <c:v>#N/A</c:v>
                </c:pt>
                <c:pt idx="2818">
                  <c:v>#N/A</c:v>
                </c:pt>
                <c:pt idx="2819">
                  <c:v>#N/A</c:v>
                </c:pt>
                <c:pt idx="2820">
                  <c:v>#N/A</c:v>
                </c:pt>
                <c:pt idx="2821">
                  <c:v>#N/A</c:v>
                </c:pt>
                <c:pt idx="2822">
                  <c:v>#N/A</c:v>
                </c:pt>
                <c:pt idx="2823">
                  <c:v>#N/A</c:v>
                </c:pt>
                <c:pt idx="2824">
                  <c:v>#N/A</c:v>
                </c:pt>
                <c:pt idx="2825">
                  <c:v>#N/A</c:v>
                </c:pt>
                <c:pt idx="2826">
                  <c:v>#N/A</c:v>
                </c:pt>
                <c:pt idx="2827">
                  <c:v>#N/A</c:v>
                </c:pt>
                <c:pt idx="2828">
                  <c:v>#N/A</c:v>
                </c:pt>
                <c:pt idx="2829">
                  <c:v>#N/A</c:v>
                </c:pt>
                <c:pt idx="2830">
                  <c:v>#N/A</c:v>
                </c:pt>
                <c:pt idx="2831">
                  <c:v>#N/A</c:v>
                </c:pt>
                <c:pt idx="2832">
                  <c:v>#N/A</c:v>
                </c:pt>
                <c:pt idx="2833">
                  <c:v>#N/A</c:v>
                </c:pt>
                <c:pt idx="2834">
                  <c:v>#N/A</c:v>
                </c:pt>
                <c:pt idx="2835">
                  <c:v>#N/A</c:v>
                </c:pt>
                <c:pt idx="2836">
                  <c:v>#N/A</c:v>
                </c:pt>
                <c:pt idx="2837">
                  <c:v>#N/A</c:v>
                </c:pt>
                <c:pt idx="2838">
                  <c:v>#N/A</c:v>
                </c:pt>
                <c:pt idx="2839">
                  <c:v>#N/A</c:v>
                </c:pt>
                <c:pt idx="2840">
                  <c:v>#N/A</c:v>
                </c:pt>
                <c:pt idx="2841">
                  <c:v>#N/A</c:v>
                </c:pt>
                <c:pt idx="2842">
                  <c:v>#N/A</c:v>
                </c:pt>
                <c:pt idx="2843">
                  <c:v>#N/A</c:v>
                </c:pt>
                <c:pt idx="2844">
                  <c:v>#N/A</c:v>
                </c:pt>
                <c:pt idx="2845">
                  <c:v>#N/A</c:v>
                </c:pt>
                <c:pt idx="2846">
                  <c:v>#N/A</c:v>
                </c:pt>
                <c:pt idx="2847">
                  <c:v>#N/A</c:v>
                </c:pt>
                <c:pt idx="2848">
                  <c:v>#N/A</c:v>
                </c:pt>
                <c:pt idx="2849">
                  <c:v>#N/A</c:v>
                </c:pt>
                <c:pt idx="2850">
                  <c:v>#N/A</c:v>
                </c:pt>
                <c:pt idx="2851">
                  <c:v>#N/A</c:v>
                </c:pt>
                <c:pt idx="2852">
                  <c:v>#N/A</c:v>
                </c:pt>
                <c:pt idx="2853">
                  <c:v>#N/A</c:v>
                </c:pt>
                <c:pt idx="2854">
                  <c:v>#N/A</c:v>
                </c:pt>
                <c:pt idx="2855">
                  <c:v>#N/A</c:v>
                </c:pt>
                <c:pt idx="2856">
                  <c:v>#N/A</c:v>
                </c:pt>
                <c:pt idx="2857">
                  <c:v>#N/A</c:v>
                </c:pt>
                <c:pt idx="2858">
                  <c:v>#N/A</c:v>
                </c:pt>
                <c:pt idx="2859">
                  <c:v>#N/A</c:v>
                </c:pt>
                <c:pt idx="2860">
                  <c:v>#N/A</c:v>
                </c:pt>
                <c:pt idx="2861">
                  <c:v>#N/A</c:v>
                </c:pt>
                <c:pt idx="2862">
                  <c:v>#N/A</c:v>
                </c:pt>
                <c:pt idx="2863">
                  <c:v>#N/A</c:v>
                </c:pt>
                <c:pt idx="2864">
                  <c:v>#N/A</c:v>
                </c:pt>
                <c:pt idx="2865">
                  <c:v>#N/A</c:v>
                </c:pt>
                <c:pt idx="2866">
                  <c:v>#N/A</c:v>
                </c:pt>
                <c:pt idx="2867">
                  <c:v>#N/A</c:v>
                </c:pt>
                <c:pt idx="2868">
                  <c:v>#N/A</c:v>
                </c:pt>
                <c:pt idx="2869">
                  <c:v>#N/A</c:v>
                </c:pt>
                <c:pt idx="2870">
                  <c:v>#N/A</c:v>
                </c:pt>
                <c:pt idx="2871">
                  <c:v>#N/A</c:v>
                </c:pt>
                <c:pt idx="2872">
                  <c:v>#N/A</c:v>
                </c:pt>
                <c:pt idx="2873">
                  <c:v>#N/A</c:v>
                </c:pt>
                <c:pt idx="2874">
                  <c:v>#N/A</c:v>
                </c:pt>
                <c:pt idx="2875">
                  <c:v>#N/A</c:v>
                </c:pt>
                <c:pt idx="2876">
                  <c:v>#N/A</c:v>
                </c:pt>
                <c:pt idx="2877">
                  <c:v>#N/A</c:v>
                </c:pt>
                <c:pt idx="2878">
                  <c:v>#N/A</c:v>
                </c:pt>
                <c:pt idx="2879">
                  <c:v>#N/A</c:v>
                </c:pt>
                <c:pt idx="2880">
                  <c:v>#N/A</c:v>
                </c:pt>
                <c:pt idx="2881">
                  <c:v>#N/A</c:v>
                </c:pt>
                <c:pt idx="2882">
                  <c:v>#N/A</c:v>
                </c:pt>
                <c:pt idx="2883">
                  <c:v>#N/A</c:v>
                </c:pt>
                <c:pt idx="2884">
                  <c:v>#N/A</c:v>
                </c:pt>
                <c:pt idx="2885">
                  <c:v>#N/A</c:v>
                </c:pt>
                <c:pt idx="2886">
                  <c:v>#N/A</c:v>
                </c:pt>
                <c:pt idx="2887">
                  <c:v>#N/A</c:v>
                </c:pt>
                <c:pt idx="2888">
                  <c:v>#N/A</c:v>
                </c:pt>
                <c:pt idx="2889">
                  <c:v>#N/A</c:v>
                </c:pt>
                <c:pt idx="2890">
                  <c:v>#N/A</c:v>
                </c:pt>
                <c:pt idx="2891">
                  <c:v>#N/A</c:v>
                </c:pt>
                <c:pt idx="2892">
                  <c:v>#N/A</c:v>
                </c:pt>
                <c:pt idx="2893">
                  <c:v>#N/A</c:v>
                </c:pt>
                <c:pt idx="2894">
                  <c:v>#N/A</c:v>
                </c:pt>
                <c:pt idx="2895">
                  <c:v>#N/A</c:v>
                </c:pt>
                <c:pt idx="2896">
                  <c:v>#N/A</c:v>
                </c:pt>
                <c:pt idx="2897">
                  <c:v>#N/A</c:v>
                </c:pt>
                <c:pt idx="2898">
                  <c:v>#N/A</c:v>
                </c:pt>
                <c:pt idx="2899">
                  <c:v>#N/A</c:v>
                </c:pt>
                <c:pt idx="2900">
                  <c:v>#N/A</c:v>
                </c:pt>
                <c:pt idx="2901">
                  <c:v>#N/A</c:v>
                </c:pt>
                <c:pt idx="2902">
                  <c:v>#N/A</c:v>
                </c:pt>
                <c:pt idx="2903">
                  <c:v>#N/A</c:v>
                </c:pt>
                <c:pt idx="2904">
                  <c:v>#N/A</c:v>
                </c:pt>
                <c:pt idx="2905">
                  <c:v>#N/A</c:v>
                </c:pt>
                <c:pt idx="2906">
                  <c:v>#N/A</c:v>
                </c:pt>
                <c:pt idx="2907">
                  <c:v>#N/A</c:v>
                </c:pt>
                <c:pt idx="2908">
                  <c:v>#N/A</c:v>
                </c:pt>
                <c:pt idx="2909">
                  <c:v>#N/A</c:v>
                </c:pt>
                <c:pt idx="2910">
                  <c:v>#N/A</c:v>
                </c:pt>
                <c:pt idx="2911">
                  <c:v>#N/A</c:v>
                </c:pt>
                <c:pt idx="2912">
                  <c:v>#N/A</c:v>
                </c:pt>
                <c:pt idx="2913">
                  <c:v>#N/A</c:v>
                </c:pt>
                <c:pt idx="2914">
                  <c:v>#N/A</c:v>
                </c:pt>
                <c:pt idx="2915">
                  <c:v>#N/A</c:v>
                </c:pt>
                <c:pt idx="2916">
                  <c:v>#N/A</c:v>
                </c:pt>
                <c:pt idx="2917">
                  <c:v>#N/A</c:v>
                </c:pt>
                <c:pt idx="2918">
                  <c:v>#N/A</c:v>
                </c:pt>
                <c:pt idx="2919">
                  <c:v>#N/A</c:v>
                </c:pt>
                <c:pt idx="2920">
                  <c:v>#N/A</c:v>
                </c:pt>
                <c:pt idx="2921">
                  <c:v>#N/A</c:v>
                </c:pt>
                <c:pt idx="2922">
                  <c:v>#N/A</c:v>
                </c:pt>
                <c:pt idx="2923">
                  <c:v>#N/A</c:v>
                </c:pt>
                <c:pt idx="2924">
                  <c:v>#N/A</c:v>
                </c:pt>
                <c:pt idx="2925">
                  <c:v>#N/A</c:v>
                </c:pt>
                <c:pt idx="2926">
                  <c:v>#N/A</c:v>
                </c:pt>
                <c:pt idx="2927">
                  <c:v>#N/A</c:v>
                </c:pt>
                <c:pt idx="2928">
                  <c:v>#N/A</c:v>
                </c:pt>
                <c:pt idx="2929">
                  <c:v>#N/A</c:v>
                </c:pt>
                <c:pt idx="2930">
                  <c:v>#N/A</c:v>
                </c:pt>
                <c:pt idx="2931">
                  <c:v>#N/A</c:v>
                </c:pt>
                <c:pt idx="2932">
                  <c:v>#N/A</c:v>
                </c:pt>
                <c:pt idx="2933">
                  <c:v>#N/A</c:v>
                </c:pt>
                <c:pt idx="2934">
                  <c:v>#N/A</c:v>
                </c:pt>
                <c:pt idx="2935">
                  <c:v>#N/A</c:v>
                </c:pt>
                <c:pt idx="2936">
                  <c:v>#N/A</c:v>
                </c:pt>
                <c:pt idx="2937">
                  <c:v>#N/A</c:v>
                </c:pt>
                <c:pt idx="2938">
                  <c:v>#N/A</c:v>
                </c:pt>
                <c:pt idx="2939">
                  <c:v>#N/A</c:v>
                </c:pt>
                <c:pt idx="2940">
                  <c:v>#N/A</c:v>
                </c:pt>
                <c:pt idx="2941">
                  <c:v>#N/A</c:v>
                </c:pt>
                <c:pt idx="2942">
                  <c:v>#N/A</c:v>
                </c:pt>
                <c:pt idx="2943">
                  <c:v>#N/A</c:v>
                </c:pt>
                <c:pt idx="2944">
                  <c:v>#N/A</c:v>
                </c:pt>
                <c:pt idx="2945">
                  <c:v>#N/A</c:v>
                </c:pt>
                <c:pt idx="2946">
                  <c:v>#N/A</c:v>
                </c:pt>
                <c:pt idx="2947">
                  <c:v>#N/A</c:v>
                </c:pt>
                <c:pt idx="2948">
                  <c:v>#N/A</c:v>
                </c:pt>
                <c:pt idx="2949">
                  <c:v>#N/A</c:v>
                </c:pt>
                <c:pt idx="2950">
                  <c:v>#N/A</c:v>
                </c:pt>
                <c:pt idx="2951">
                  <c:v>#N/A</c:v>
                </c:pt>
                <c:pt idx="2952">
                  <c:v>#N/A</c:v>
                </c:pt>
                <c:pt idx="2953">
                  <c:v>#N/A</c:v>
                </c:pt>
                <c:pt idx="2954">
                  <c:v>#N/A</c:v>
                </c:pt>
                <c:pt idx="2955">
                  <c:v>#N/A</c:v>
                </c:pt>
                <c:pt idx="2956">
                  <c:v>#N/A</c:v>
                </c:pt>
                <c:pt idx="2957">
                  <c:v>#N/A</c:v>
                </c:pt>
                <c:pt idx="2958">
                  <c:v>#N/A</c:v>
                </c:pt>
                <c:pt idx="2959">
                  <c:v>#N/A</c:v>
                </c:pt>
                <c:pt idx="2960">
                  <c:v>#N/A</c:v>
                </c:pt>
                <c:pt idx="2961">
                  <c:v>#N/A</c:v>
                </c:pt>
                <c:pt idx="2962">
                  <c:v>#N/A</c:v>
                </c:pt>
                <c:pt idx="2963">
                  <c:v>#N/A</c:v>
                </c:pt>
                <c:pt idx="2964">
                  <c:v>#N/A</c:v>
                </c:pt>
                <c:pt idx="2965">
                  <c:v>#N/A</c:v>
                </c:pt>
                <c:pt idx="2966">
                  <c:v>#N/A</c:v>
                </c:pt>
                <c:pt idx="2967">
                  <c:v>#N/A</c:v>
                </c:pt>
                <c:pt idx="2968">
                  <c:v>#N/A</c:v>
                </c:pt>
                <c:pt idx="2969">
                  <c:v>#N/A</c:v>
                </c:pt>
                <c:pt idx="2970">
                  <c:v>#N/A</c:v>
                </c:pt>
                <c:pt idx="2971">
                  <c:v>#N/A</c:v>
                </c:pt>
                <c:pt idx="2972">
                  <c:v>#N/A</c:v>
                </c:pt>
                <c:pt idx="2973">
                  <c:v>#N/A</c:v>
                </c:pt>
                <c:pt idx="2974">
                  <c:v>#N/A</c:v>
                </c:pt>
                <c:pt idx="2975">
                  <c:v>#N/A</c:v>
                </c:pt>
                <c:pt idx="2976">
                  <c:v>#N/A</c:v>
                </c:pt>
                <c:pt idx="2977">
                  <c:v>#N/A</c:v>
                </c:pt>
                <c:pt idx="2978">
                  <c:v>#N/A</c:v>
                </c:pt>
                <c:pt idx="2979">
                  <c:v>#N/A</c:v>
                </c:pt>
                <c:pt idx="2980">
                  <c:v>#N/A</c:v>
                </c:pt>
                <c:pt idx="2981">
                  <c:v>#N/A</c:v>
                </c:pt>
                <c:pt idx="2982">
                  <c:v>#N/A</c:v>
                </c:pt>
                <c:pt idx="2983">
                  <c:v>#N/A</c:v>
                </c:pt>
                <c:pt idx="2984">
                  <c:v>#N/A</c:v>
                </c:pt>
                <c:pt idx="2985">
                  <c:v>#N/A</c:v>
                </c:pt>
                <c:pt idx="2986">
                  <c:v>#N/A</c:v>
                </c:pt>
                <c:pt idx="2987">
                  <c:v>#N/A</c:v>
                </c:pt>
                <c:pt idx="2988">
                  <c:v>#N/A</c:v>
                </c:pt>
                <c:pt idx="2989">
                  <c:v>#N/A</c:v>
                </c:pt>
                <c:pt idx="2990">
                  <c:v>#N/A</c:v>
                </c:pt>
                <c:pt idx="2991">
                  <c:v>#N/A</c:v>
                </c:pt>
                <c:pt idx="2992">
                  <c:v>#N/A</c:v>
                </c:pt>
                <c:pt idx="2993">
                  <c:v>#N/A</c:v>
                </c:pt>
                <c:pt idx="2994">
                  <c:v>#N/A</c:v>
                </c:pt>
                <c:pt idx="2995">
                  <c:v>#N/A</c:v>
                </c:pt>
                <c:pt idx="2996">
                  <c:v>#N/A</c:v>
                </c:pt>
                <c:pt idx="2997">
                  <c:v>#N/A</c:v>
                </c:pt>
                <c:pt idx="2998">
                  <c:v>#N/A</c:v>
                </c:pt>
                <c:pt idx="2999">
                  <c:v>#N/A</c:v>
                </c:pt>
                <c:pt idx="3000">
                  <c:v>#N/A</c:v>
                </c:pt>
                <c:pt idx="3001">
                  <c:v>#N/A</c:v>
                </c:pt>
                <c:pt idx="3002">
                  <c:v>#N/A</c:v>
                </c:pt>
                <c:pt idx="3003">
                  <c:v>#N/A</c:v>
                </c:pt>
                <c:pt idx="3004">
                  <c:v>#N/A</c:v>
                </c:pt>
                <c:pt idx="3005">
                  <c:v>#N/A</c:v>
                </c:pt>
                <c:pt idx="3006">
                  <c:v>#N/A</c:v>
                </c:pt>
                <c:pt idx="3007">
                  <c:v>#N/A</c:v>
                </c:pt>
                <c:pt idx="3008">
                  <c:v>#N/A</c:v>
                </c:pt>
                <c:pt idx="3009">
                  <c:v>#N/A</c:v>
                </c:pt>
                <c:pt idx="3010">
                  <c:v>#N/A</c:v>
                </c:pt>
                <c:pt idx="3011">
                  <c:v>#N/A</c:v>
                </c:pt>
                <c:pt idx="3012">
                  <c:v>#N/A</c:v>
                </c:pt>
                <c:pt idx="3013">
                  <c:v>#N/A</c:v>
                </c:pt>
                <c:pt idx="3014">
                  <c:v>#N/A</c:v>
                </c:pt>
                <c:pt idx="3015">
                  <c:v>#N/A</c:v>
                </c:pt>
                <c:pt idx="3016">
                  <c:v>#N/A</c:v>
                </c:pt>
                <c:pt idx="3017">
                  <c:v>#N/A</c:v>
                </c:pt>
                <c:pt idx="3018">
                  <c:v>#N/A</c:v>
                </c:pt>
                <c:pt idx="3019">
                  <c:v>#N/A</c:v>
                </c:pt>
                <c:pt idx="3020">
                  <c:v>#N/A</c:v>
                </c:pt>
                <c:pt idx="3021">
                  <c:v>#N/A</c:v>
                </c:pt>
                <c:pt idx="3022">
                  <c:v>#N/A</c:v>
                </c:pt>
                <c:pt idx="3023">
                  <c:v>#N/A</c:v>
                </c:pt>
                <c:pt idx="3024">
                  <c:v>#N/A</c:v>
                </c:pt>
                <c:pt idx="3025">
                  <c:v>#N/A</c:v>
                </c:pt>
                <c:pt idx="3026">
                  <c:v>#N/A</c:v>
                </c:pt>
                <c:pt idx="3027">
                  <c:v>#N/A</c:v>
                </c:pt>
                <c:pt idx="3028">
                  <c:v>#N/A</c:v>
                </c:pt>
                <c:pt idx="3029">
                  <c:v>#N/A</c:v>
                </c:pt>
                <c:pt idx="3030">
                  <c:v>#N/A</c:v>
                </c:pt>
                <c:pt idx="3031">
                  <c:v>#N/A</c:v>
                </c:pt>
                <c:pt idx="3032">
                  <c:v>#N/A</c:v>
                </c:pt>
                <c:pt idx="3033">
                  <c:v>#N/A</c:v>
                </c:pt>
                <c:pt idx="3034">
                  <c:v>#N/A</c:v>
                </c:pt>
                <c:pt idx="3035">
                  <c:v>#N/A</c:v>
                </c:pt>
                <c:pt idx="3036">
                  <c:v>#N/A</c:v>
                </c:pt>
                <c:pt idx="3037">
                  <c:v>#N/A</c:v>
                </c:pt>
                <c:pt idx="3038">
                  <c:v>#N/A</c:v>
                </c:pt>
                <c:pt idx="3039">
                  <c:v>#N/A</c:v>
                </c:pt>
                <c:pt idx="3040">
                  <c:v>#N/A</c:v>
                </c:pt>
                <c:pt idx="3041">
                  <c:v>#N/A</c:v>
                </c:pt>
                <c:pt idx="3042">
                  <c:v>#N/A</c:v>
                </c:pt>
                <c:pt idx="3043">
                  <c:v>#N/A</c:v>
                </c:pt>
                <c:pt idx="3044">
                  <c:v>#N/A</c:v>
                </c:pt>
                <c:pt idx="3045">
                  <c:v>#N/A</c:v>
                </c:pt>
                <c:pt idx="3046">
                  <c:v>#N/A</c:v>
                </c:pt>
                <c:pt idx="3047">
                  <c:v>#N/A</c:v>
                </c:pt>
                <c:pt idx="3048">
                  <c:v>#N/A</c:v>
                </c:pt>
                <c:pt idx="3049">
                  <c:v>#N/A</c:v>
                </c:pt>
                <c:pt idx="3050">
                  <c:v>#N/A</c:v>
                </c:pt>
                <c:pt idx="3051">
                  <c:v>#N/A</c:v>
                </c:pt>
                <c:pt idx="3052">
                  <c:v>#N/A</c:v>
                </c:pt>
                <c:pt idx="3053">
                  <c:v>#N/A</c:v>
                </c:pt>
                <c:pt idx="3054">
                  <c:v>#N/A</c:v>
                </c:pt>
                <c:pt idx="3055">
                  <c:v>#N/A</c:v>
                </c:pt>
                <c:pt idx="3056">
                  <c:v>#N/A</c:v>
                </c:pt>
                <c:pt idx="3057">
                  <c:v>#N/A</c:v>
                </c:pt>
                <c:pt idx="3058">
                  <c:v>#N/A</c:v>
                </c:pt>
                <c:pt idx="3059">
                  <c:v>#N/A</c:v>
                </c:pt>
                <c:pt idx="3060">
                  <c:v>#N/A</c:v>
                </c:pt>
                <c:pt idx="3061">
                  <c:v>#N/A</c:v>
                </c:pt>
                <c:pt idx="3062">
                  <c:v>#N/A</c:v>
                </c:pt>
                <c:pt idx="3063">
                  <c:v>#N/A</c:v>
                </c:pt>
                <c:pt idx="3064">
                  <c:v>#N/A</c:v>
                </c:pt>
                <c:pt idx="3065">
                  <c:v>#N/A</c:v>
                </c:pt>
                <c:pt idx="3066">
                  <c:v>#N/A</c:v>
                </c:pt>
                <c:pt idx="3067">
                  <c:v>#N/A</c:v>
                </c:pt>
                <c:pt idx="3068">
                  <c:v>#N/A</c:v>
                </c:pt>
                <c:pt idx="3069">
                  <c:v>#N/A</c:v>
                </c:pt>
                <c:pt idx="3070">
                  <c:v>#N/A</c:v>
                </c:pt>
                <c:pt idx="3071">
                  <c:v>#N/A</c:v>
                </c:pt>
                <c:pt idx="3072">
                  <c:v>#N/A</c:v>
                </c:pt>
                <c:pt idx="3073">
                  <c:v>#N/A</c:v>
                </c:pt>
                <c:pt idx="3074">
                  <c:v>#N/A</c:v>
                </c:pt>
                <c:pt idx="3075">
                  <c:v>#N/A</c:v>
                </c:pt>
                <c:pt idx="3076">
                  <c:v>#N/A</c:v>
                </c:pt>
                <c:pt idx="3077">
                  <c:v>#N/A</c:v>
                </c:pt>
                <c:pt idx="3078">
                  <c:v>#N/A</c:v>
                </c:pt>
                <c:pt idx="3079">
                  <c:v>#N/A</c:v>
                </c:pt>
                <c:pt idx="3080">
                  <c:v>#N/A</c:v>
                </c:pt>
                <c:pt idx="3081">
                  <c:v>#N/A</c:v>
                </c:pt>
                <c:pt idx="3082">
                  <c:v>#N/A</c:v>
                </c:pt>
                <c:pt idx="3083">
                  <c:v>#N/A</c:v>
                </c:pt>
                <c:pt idx="3084">
                  <c:v>#N/A</c:v>
                </c:pt>
                <c:pt idx="3085">
                  <c:v>#N/A</c:v>
                </c:pt>
                <c:pt idx="3086">
                  <c:v>#N/A</c:v>
                </c:pt>
                <c:pt idx="3087">
                  <c:v>#N/A</c:v>
                </c:pt>
                <c:pt idx="3088">
                  <c:v>#N/A</c:v>
                </c:pt>
                <c:pt idx="3089">
                  <c:v>#N/A</c:v>
                </c:pt>
                <c:pt idx="3090">
                  <c:v>#N/A</c:v>
                </c:pt>
                <c:pt idx="3091">
                  <c:v>#N/A</c:v>
                </c:pt>
                <c:pt idx="3092">
                  <c:v>#N/A</c:v>
                </c:pt>
                <c:pt idx="3093">
                  <c:v>#N/A</c:v>
                </c:pt>
                <c:pt idx="3094">
                  <c:v>#N/A</c:v>
                </c:pt>
                <c:pt idx="3095">
                  <c:v>#N/A</c:v>
                </c:pt>
                <c:pt idx="3096">
                  <c:v>#N/A</c:v>
                </c:pt>
                <c:pt idx="3097">
                  <c:v>#N/A</c:v>
                </c:pt>
                <c:pt idx="3098">
                  <c:v>#N/A</c:v>
                </c:pt>
                <c:pt idx="3099">
                  <c:v>#N/A</c:v>
                </c:pt>
                <c:pt idx="3100">
                  <c:v>#N/A</c:v>
                </c:pt>
                <c:pt idx="3101">
                  <c:v>#N/A</c:v>
                </c:pt>
                <c:pt idx="3102">
                  <c:v>#N/A</c:v>
                </c:pt>
                <c:pt idx="3103">
                  <c:v>#N/A</c:v>
                </c:pt>
                <c:pt idx="3104">
                  <c:v>#N/A</c:v>
                </c:pt>
                <c:pt idx="3105">
                  <c:v>#N/A</c:v>
                </c:pt>
                <c:pt idx="3106">
                  <c:v>#N/A</c:v>
                </c:pt>
                <c:pt idx="3107">
                  <c:v>#N/A</c:v>
                </c:pt>
                <c:pt idx="3108">
                  <c:v>#N/A</c:v>
                </c:pt>
                <c:pt idx="3109">
                  <c:v>#N/A</c:v>
                </c:pt>
                <c:pt idx="3110">
                  <c:v>#N/A</c:v>
                </c:pt>
                <c:pt idx="3111">
                  <c:v>#N/A</c:v>
                </c:pt>
                <c:pt idx="3112">
                  <c:v>#N/A</c:v>
                </c:pt>
                <c:pt idx="3113">
                  <c:v>1.4273972602739726</c:v>
                </c:pt>
                <c:pt idx="3114">
                  <c:v>#N/A</c:v>
                </c:pt>
                <c:pt idx="3115">
                  <c:v>#N/A</c:v>
                </c:pt>
                <c:pt idx="3116">
                  <c:v>1.4328767123287671</c:v>
                </c:pt>
                <c:pt idx="3117">
                  <c:v>#N/A</c:v>
                </c:pt>
                <c:pt idx="3118">
                  <c:v>#N/A</c:v>
                </c:pt>
                <c:pt idx="3119">
                  <c:v>#N/A</c:v>
                </c:pt>
                <c:pt idx="3120">
                  <c:v>#N/A</c:v>
                </c:pt>
                <c:pt idx="3121">
                  <c:v>1.4328767123287671</c:v>
                </c:pt>
                <c:pt idx="3122">
                  <c:v>#N/A</c:v>
                </c:pt>
                <c:pt idx="3123">
                  <c:v>#N/A</c:v>
                </c:pt>
                <c:pt idx="3124">
                  <c:v>#N/A</c:v>
                </c:pt>
                <c:pt idx="3125">
                  <c:v>#N/A</c:v>
                </c:pt>
                <c:pt idx="3126">
                  <c:v>#N/A</c:v>
                </c:pt>
                <c:pt idx="3127">
                  <c:v>#N/A</c:v>
                </c:pt>
                <c:pt idx="3128">
                  <c:v>#N/A</c:v>
                </c:pt>
                <c:pt idx="3129">
                  <c:v>#N/A</c:v>
                </c:pt>
                <c:pt idx="3130">
                  <c:v>#N/A</c:v>
                </c:pt>
                <c:pt idx="3131">
                  <c:v>#N/A</c:v>
                </c:pt>
                <c:pt idx="3132">
                  <c:v>#N/A</c:v>
                </c:pt>
                <c:pt idx="3133">
                  <c:v>#N/A</c:v>
                </c:pt>
                <c:pt idx="3134">
                  <c:v>#N/A</c:v>
                </c:pt>
                <c:pt idx="3135">
                  <c:v>#N/A</c:v>
                </c:pt>
                <c:pt idx="3136">
                  <c:v>#N/A</c:v>
                </c:pt>
                <c:pt idx="3137">
                  <c:v>#N/A</c:v>
                </c:pt>
                <c:pt idx="3138">
                  <c:v>#N/A</c:v>
                </c:pt>
                <c:pt idx="3139">
                  <c:v>#N/A</c:v>
                </c:pt>
                <c:pt idx="3140">
                  <c:v>#N/A</c:v>
                </c:pt>
                <c:pt idx="3141">
                  <c:v>#N/A</c:v>
                </c:pt>
                <c:pt idx="3142">
                  <c:v>#N/A</c:v>
                </c:pt>
                <c:pt idx="3143">
                  <c:v>#N/A</c:v>
                </c:pt>
                <c:pt idx="3144">
                  <c:v>#N/A</c:v>
                </c:pt>
                <c:pt idx="3145">
                  <c:v>#N/A</c:v>
                </c:pt>
                <c:pt idx="3146">
                  <c:v>#N/A</c:v>
                </c:pt>
                <c:pt idx="3147">
                  <c:v>#N/A</c:v>
                </c:pt>
                <c:pt idx="3148">
                  <c:v>#N/A</c:v>
                </c:pt>
                <c:pt idx="3149">
                  <c:v>#N/A</c:v>
                </c:pt>
                <c:pt idx="3150">
                  <c:v>#N/A</c:v>
                </c:pt>
                <c:pt idx="3151">
                  <c:v>#N/A</c:v>
                </c:pt>
                <c:pt idx="3152">
                  <c:v>#N/A</c:v>
                </c:pt>
                <c:pt idx="3153">
                  <c:v>#N/A</c:v>
                </c:pt>
                <c:pt idx="3154">
                  <c:v>#N/A</c:v>
                </c:pt>
                <c:pt idx="3155">
                  <c:v>#N/A</c:v>
                </c:pt>
                <c:pt idx="3156">
                  <c:v>#N/A</c:v>
                </c:pt>
                <c:pt idx="3157">
                  <c:v>#N/A</c:v>
                </c:pt>
                <c:pt idx="3158">
                  <c:v>#N/A</c:v>
                </c:pt>
                <c:pt idx="3159">
                  <c:v>#N/A</c:v>
                </c:pt>
                <c:pt idx="3160">
                  <c:v>#N/A</c:v>
                </c:pt>
                <c:pt idx="3161">
                  <c:v>#N/A</c:v>
                </c:pt>
                <c:pt idx="3162">
                  <c:v>#N/A</c:v>
                </c:pt>
                <c:pt idx="3163">
                  <c:v>#N/A</c:v>
                </c:pt>
                <c:pt idx="3164">
                  <c:v>#N/A</c:v>
                </c:pt>
                <c:pt idx="3165">
                  <c:v>#N/A</c:v>
                </c:pt>
                <c:pt idx="3166">
                  <c:v>#N/A</c:v>
                </c:pt>
                <c:pt idx="3167">
                  <c:v>#N/A</c:v>
                </c:pt>
                <c:pt idx="3168">
                  <c:v>#N/A</c:v>
                </c:pt>
                <c:pt idx="3169">
                  <c:v>#N/A</c:v>
                </c:pt>
                <c:pt idx="3170">
                  <c:v>#N/A</c:v>
                </c:pt>
                <c:pt idx="3171">
                  <c:v>#N/A</c:v>
                </c:pt>
                <c:pt idx="3172">
                  <c:v>#N/A</c:v>
                </c:pt>
                <c:pt idx="3173">
                  <c:v>#N/A</c:v>
                </c:pt>
                <c:pt idx="3174">
                  <c:v>#N/A</c:v>
                </c:pt>
                <c:pt idx="3175">
                  <c:v>#N/A</c:v>
                </c:pt>
                <c:pt idx="3176">
                  <c:v>#N/A</c:v>
                </c:pt>
                <c:pt idx="3177">
                  <c:v>#N/A</c:v>
                </c:pt>
                <c:pt idx="3178">
                  <c:v>#N/A</c:v>
                </c:pt>
                <c:pt idx="3179">
                  <c:v>#N/A</c:v>
                </c:pt>
                <c:pt idx="3180">
                  <c:v>#N/A</c:v>
                </c:pt>
                <c:pt idx="3181">
                  <c:v>#N/A</c:v>
                </c:pt>
                <c:pt idx="3182">
                  <c:v>#N/A</c:v>
                </c:pt>
                <c:pt idx="3183">
                  <c:v>#N/A</c:v>
                </c:pt>
                <c:pt idx="3184">
                  <c:v>#N/A</c:v>
                </c:pt>
                <c:pt idx="3185">
                  <c:v>#N/A</c:v>
                </c:pt>
                <c:pt idx="3186">
                  <c:v>#N/A</c:v>
                </c:pt>
                <c:pt idx="3187">
                  <c:v>#N/A</c:v>
                </c:pt>
                <c:pt idx="3188">
                  <c:v>#N/A</c:v>
                </c:pt>
                <c:pt idx="3189">
                  <c:v>#N/A</c:v>
                </c:pt>
                <c:pt idx="3190">
                  <c:v>#N/A</c:v>
                </c:pt>
                <c:pt idx="3191">
                  <c:v>#N/A</c:v>
                </c:pt>
                <c:pt idx="3192">
                  <c:v>#N/A</c:v>
                </c:pt>
                <c:pt idx="3193">
                  <c:v>#N/A</c:v>
                </c:pt>
                <c:pt idx="3194">
                  <c:v>#N/A</c:v>
                </c:pt>
                <c:pt idx="3195">
                  <c:v>#N/A</c:v>
                </c:pt>
                <c:pt idx="3196">
                  <c:v>#N/A</c:v>
                </c:pt>
                <c:pt idx="3197">
                  <c:v>#N/A</c:v>
                </c:pt>
                <c:pt idx="3198">
                  <c:v>#N/A</c:v>
                </c:pt>
                <c:pt idx="3199">
                  <c:v>#N/A</c:v>
                </c:pt>
                <c:pt idx="3200">
                  <c:v>#N/A</c:v>
                </c:pt>
                <c:pt idx="3201">
                  <c:v>#N/A</c:v>
                </c:pt>
                <c:pt idx="3202">
                  <c:v>#N/A</c:v>
                </c:pt>
                <c:pt idx="3203">
                  <c:v>#N/A</c:v>
                </c:pt>
                <c:pt idx="3204">
                  <c:v>#N/A</c:v>
                </c:pt>
                <c:pt idx="3205">
                  <c:v>#N/A</c:v>
                </c:pt>
                <c:pt idx="3206">
                  <c:v>#N/A</c:v>
                </c:pt>
                <c:pt idx="3207">
                  <c:v>#N/A</c:v>
                </c:pt>
                <c:pt idx="3208">
                  <c:v>#N/A</c:v>
                </c:pt>
                <c:pt idx="3209">
                  <c:v>#N/A</c:v>
                </c:pt>
                <c:pt idx="3210">
                  <c:v>#N/A</c:v>
                </c:pt>
                <c:pt idx="3211">
                  <c:v>#N/A</c:v>
                </c:pt>
                <c:pt idx="3212">
                  <c:v>#N/A</c:v>
                </c:pt>
                <c:pt idx="3213">
                  <c:v>#N/A</c:v>
                </c:pt>
                <c:pt idx="3214">
                  <c:v>#N/A</c:v>
                </c:pt>
                <c:pt idx="3215">
                  <c:v>#N/A</c:v>
                </c:pt>
                <c:pt idx="3216">
                  <c:v>#N/A</c:v>
                </c:pt>
                <c:pt idx="3217">
                  <c:v>#N/A</c:v>
                </c:pt>
                <c:pt idx="3218">
                  <c:v>#N/A</c:v>
                </c:pt>
                <c:pt idx="3219">
                  <c:v>#N/A</c:v>
                </c:pt>
                <c:pt idx="3220">
                  <c:v>#N/A</c:v>
                </c:pt>
                <c:pt idx="3221">
                  <c:v>#N/A</c:v>
                </c:pt>
                <c:pt idx="3222">
                  <c:v>#N/A</c:v>
                </c:pt>
                <c:pt idx="3223">
                  <c:v>#N/A</c:v>
                </c:pt>
                <c:pt idx="3224">
                  <c:v>#N/A</c:v>
                </c:pt>
                <c:pt idx="3225">
                  <c:v>#N/A</c:v>
                </c:pt>
                <c:pt idx="3226">
                  <c:v>#N/A</c:v>
                </c:pt>
                <c:pt idx="3227">
                  <c:v>#N/A</c:v>
                </c:pt>
                <c:pt idx="3228">
                  <c:v>#N/A</c:v>
                </c:pt>
                <c:pt idx="3229">
                  <c:v>#N/A</c:v>
                </c:pt>
                <c:pt idx="3230">
                  <c:v>#N/A</c:v>
                </c:pt>
                <c:pt idx="3231">
                  <c:v>#N/A</c:v>
                </c:pt>
                <c:pt idx="3232">
                  <c:v>#N/A</c:v>
                </c:pt>
                <c:pt idx="3233">
                  <c:v>#N/A</c:v>
                </c:pt>
                <c:pt idx="3234">
                  <c:v>#N/A</c:v>
                </c:pt>
                <c:pt idx="3235">
                  <c:v>#N/A</c:v>
                </c:pt>
                <c:pt idx="3236">
                  <c:v>#N/A</c:v>
                </c:pt>
                <c:pt idx="3237">
                  <c:v>#N/A</c:v>
                </c:pt>
                <c:pt idx="3238">
                  <c:v>#N/A</c:v>
                </c:pt>
                <c:pt idx="3239">
                  <c:v>#N/A</c:v>
                </c:pt>
                <c:pt idx="3240">
                  <c:v>#N/A</c:v>
                </c:pt>
                <c:pt idx="3241">
                  <c:v>#N/A</c:v>
                </c:pt>
                <c:pt idx="3242">
                  <c:v>#N/A</c:v>
                </c:pt>
                <c:pt idx="3243">
                  <c:v>#N/A</c:v>
                </c:pt>
                <c:pt idx="3244">
                  <c:v>#N/A</c:v>
                </c:pt>
                <c:pt idx="3245">
                  <c:v>#N/A</c:v>
                </c:pt>
                <c:pt idx="3246">
                  <c:v>#N/A</c:v>
                </c:pt>
                <c:pt idx="3247">
                  <c:v>#N/A</c:v>
                </c:pt>
                <c:pt idx="3248">
                  <c:v>#N/A</c:v>
                </c:pt>
                <c:pt idx="3249">
                  <c:v>#N/A</c:v>
                </c:pt>
                <c:pt idx="3250">
                  <c:v>#N/A</c:v>
                </c:pt>
                <c:pt idx="3251">
                  <c:v>#N/A</c:v>
                </c:pt>
                <c:pt idx="3252">
                  <c:v>#N/A</c:v>
                </c:pt>
                <c:pt idx="3253">
                  <c:v>#N/A</c:v>
                </c:pt>
                <c:pt idx="3254">
                  <c:v>#N/A</c:v>
                </c:pt>
                <c:pt idx="3255">
                  <c:v>#N/A</c:v>
                </c:pt>
                <c:pt idx="3256">
                  <c:v>#N/A</c:v>
                </c:pt>
                <c:pt idx="3257">
                  <c:v>#N/A</c:v>
                </c:pt>
                <c:pt idx="3258">
                  <c:v>#N/A</c:v>
                </c:pt>
                <c:pt idx="3259">
                  <c:v>#N/A</c:v>
                </c:pt>
                <c:pt idx="3260">
                  <c:v>#N/A</c:v>
                </c:pt>
                <c:pt idx="3261">
                  <c:v>#N/A</c:v>
                </c:pt>
                <c:pt idx="3262">
                  <c:v>#N/A</c:v>
                </c:pt>
                <c:pt idx="3263">
                  <c:v>#N/A</c:v>
                </c:pt>
                <c:pt idx="3264">
                  <c:v>#N/A</c:v>
                </c:pt>
                <c:pt idx="3265">
                  <c:v>#N/A</c:v>
                </c:pt>
                <c:pt idx="3266">
                  <c:v>#N/A</c:v>
                </c:pt>
                <c:pt idx="3267">
                  <c:v>#N/A</c:v>
                </c:pt>
                <c:pt idx="3268">
                  <c:v>#N/A</c:v>
                </c:pt>
                <c:pt idx="3269">
                  <c:v>#N/A</c:v>
                </c:pt>
                <c:pt idx="3270">
                  <c:v>#N/A</c:v>
                </c:pt>
                <c:pt idx="3271">
                  <c:v>#N/A</c:v>
                </c:pt>
                <c:pt idx="3272">
                  <c:v>#N/A</c:v>
                </c:pt>
                <c:pt idx="3273">
                  <c:v>#N/A</c:v>
                </c:pt>
                <c:pt idx="3274">
                  <c:v>#N/A</c:v>
                </c:pt>
                <c:pt idx="3275">
                  <c:v>#N/A</c:v>
                </c:pt>
                <c:pt idx="3276">
                  <c:v>#N/A</c:v>
                </c:pt>
                <c:pt idx="3277">
                  <c:v>#N/A</c:v>
                </c:pt>
                <c:pt idx="3278">
                  <c:v>#N/A</c:v>
                </c:pt>
                <c:pt idx="3279">
                  <c:v>#N/A</c:v>
                </c:pt>
                <c:pt idx="3280">
                  <c:v>#N/A</c:v>
                </c:pt>
                <c:pt idx="3281">
                  <c:v>#N/A</c:v>
                </c:pt>
                <c:pt idx="3282">
                  <c:v>#N/A</c:v>
                </c:pt>
                <c:pt idx="3283">
                  <c:v>#N/A</c:v>
                </c:pt>
                <c:pt idx="3284">
                  <c:v>#N/A</c:v>
                </c:pt>
                <c:pt idx="3285">
                  <c:v>#N/A</c:v>
                </c:pt>
                <c:pt idx="3286">
                  <c:v>#N/A</c:v>
                </c:pt>
                <c:pt idx="3287">
                  <c:v>#N/A</c:v>
                </c:pt>
                <c:pt idx="3288">
                  <c:v>#N/A</c:v>
                </c:pt>
                <c:pt idx="3289">
                  <c:v>#N/A</c:v>
                </c:pt>
                <c:pt idx="3290">
                  <c:v>#N/A</c:v>
                </c:pt>
                <c:pt idx="3291">
                  <c:v>#N/A</c:v>
                </c:pt>
                <c:pt idx="3292">
                  <c:v>#N/A</c:v>
                </c:pt>
                <c:pt idx="3293">
                  <c:v>#N/A</c:v>
                </c:pt>
                <c:pt idx="3294">
                  <c:v>#N/A</c:v>
                </c:pt>
                <c:pt idx="3295">
                  <c:v>#N/A</c:v>
                </c:pt>
                <c:pt idx="3296">
                  <c:v>#N/A</c:v>
                </c:pt>
                <c:pt idx="3297">
                  <c:v>#N/A</c:v>
                </c:pt>
                <c:pt idx="3298">
                  <c:v>#N/A</c:v>
                </c:pt>
                <c:pt idx="3299">
                  <c:v>#N/A</c:v>
                </c:pt>
                <c:pt idx="3300">
                  <c:v>#N/A</c:v>
                </c:pt>
                <c:pt idx="3301">
                  <c:v>#N/A</c:v>
                </c:pt>
                <c:pt idx="3302">
                  <c:v>#N/A</c:v>
                </c:pt>
                <c:pt idx="3303">
                  <c:v>#N/A</c:v>
                </c:pt>
                <c:pt idx="3304">
                  <c:v>#N/A</c:v>
                </c:pt>
                <c:pt idx="3305">
                  <c:v>#N/A</c:v>
                </c:pt>
                <c:pt idx="3306">
                  <c:v>#N/A</c:v>
                </c:pt>
                <c:pt idx="3307">
                  <c:v>#N/A</c:v>
                </c:pt>
                <c:pt idx="3308">
                  <c:v>#N/A</c:v>
                </c:pt>
                <c:pt idx="3309">
                  <c:v>#N/A</c:v>
                </c:pt>
                <c:pt idx="3310">
                  <c:v>#N/A</c:v>
                </c:pt>
                <c:pt idx="3311">
                  <c:v>#N/A</c:v>
                </c:pt>
                <c:pt idx="3312">
                  <c:v>#N/A</c:v>
                </c:pt>
                <c:pt idx="3313">
                  <c:v>#N/A</c:v>
                </c:pt>
                <c:pt idx="3314">
                  <c:v>#N/A</c:v>
                </c:pt>
                <c:pt idx="3315">
                  <c:v>#N/A</c:v>
                </c:pt>
                <c:pt idx="3316">
                  <c:v>#N/A</c:v>
                </c:pt>
                <c:pt idx="3317">
                  <c:v>#N/A</c:v>
                </c:pt>
                <c:pt idx="3318">
                  <c:v>#N/A</c:v>
                </c:pt>
                <c:pt idx="3319">
                  <c:v>#N/A</c:v>
                </c:pt>
                <c:pt idx="3320">
                  <c:v>#N/A</c:v>
                </c:pt>
                <c:pt idx="3321">
                  <c:v>#N/A</c:v>
                </c:pt>
                <c:pt idx="3322">
                  <c:v>#N/A</c:v>
                </c:pt>
                <c:pt idx="3323">
                  <c:v>#N/A</c:v>
                </c:pt>
                <c:pt idx="3324">
                  <c:v>#N/A</c:v>
                </c:pt>
                <c:pt idx="3325">
                  <c:v>#N/A</c:v>
                </c:pt>
                <c:pt idx="3326">
                  <c:v>#N/A</c:v>
                </c:pt>
                <c:pt idx="3327">
                  <c:v>#N/A</c:v>
                </c:pt>
                <c:pt idx="3328">
                  <c:v>#N/A</c:v>
                </c:pt>
                <c:pt idx="3329">
                  <c:v>#N/A</c:v>
                </c:pt>
                <c:pt idx="3330">
                  <c:v>#N/A</c:v>
                </c:pt>
                <c:pt idx="3331">
                  <c:v>#N/A</c:v>
                </c:pt>
                <c:pt idx="3332">
                  <c:v>#N/A</c:v>
                </c:pt>
                <c:pt idx="3333">
                  <c:v>#N/A</c:v>
                </c:pt>
                <c:pt idx="3334">
                  <c:v>#N/A</c:v>
                </c:pt>
                <c:pt idx="3335">
                  <c:v>#N/A</c:v>
                </c:pt>
                <c:pt idx="3336">
                  <c:v>#N/A</c:v>
                </c:pt>
                <c:pt idx="3337">
                  <c:v>#N/A</c:v>
                </c:pt>
                <c:pt idx="3338">
                  <c:v>#N/A</c:v>
                </c:pt>
                <c:pt idx="3339">
                  <c:v>#N/A</c:v>
                </c:pt>
                <c:pt idx="3340">
                  <c:v>#N/A</c:v>
                </c:pt>
                <c:pt idx="3341">
                  <c:v>#N/A</c:v>
                </c:pt>
                <c:pt idx="3342">
                  <c:v>#N/A</c:v>
                </c:pt>
                <c:pt idx="3343">
                  <c:v>#N/A</c:v>
                </c:pt>
                <c:pt idx="3344">
                  <c:v>#N/A</c:v>
                </c:pt>
                <c:pt idx="3345">
                  <c:v>#N/A</c:v>
                </c:pt>
                <c:pt idx="3346">
                  <c:v>#N/A</c:v>
                </c:pt>
                <c:pt idx="3347">
                  <c:v>#N/A</c:v>
                </c:pt>
                <c:pt idx="3348">
                  <c:v>#N/A</c:v>
                </c:pt>
                <c:pt idx="3349">
                  <c:v>#N/A</c:v>
                </c:pt>
                <c:pt idx="3350">
                  <c:v>#N/A</c:v>
                </c:pt>
                <c:pt idx="3351">
                  <c:v>#N/A</c:v>
                </c:pt>
                <c:pt idx="3352">
                  <c:v>#N/A</c:v>
                </c:pt>
                <c:pt idx="3353">
                  <c:v>#N/A</c:v>
                </c:pt>
                <c:pt idx="3354">
                  <c:v>#N/A</c:v>
                </c:pt>
                <c:pt idx="3355">
                  <c:v>#N/A</c:v>
                </c:pt>
                <c:pt idx="3356">
                  <c:v>#N/A</c:v>
                </c:pt>
                <c:pt idx="3357">
                  <c:v>#N/A</c:v>
                </c:pt>
                <c:pt idx="3358">
                  <c:v>#N/A</c:v>
                </c:pt>
                <c:pt idx="3359">
                  <c:v>#N/A</c:v>
                </c:pt>
                <c:pt idx="3360">
                  <c:v>#N/A</c:v>
                </c:pt>
                <c:pt idx="3361">
                  <c:v>#N/A</c:v>
                </c:pt>
                <c:pt idx="3362">
                  <c:v>#N/A</c:v>
                </c:pt>
                <c:pt idx="3363">
                  <c:v>#N/A</c:v>
                </c:pt>
                <c:pt idx="3364">
                  <c:v>#N/A</c:v>
                </c:pt>
                <c:pt idx="3365">
                  <c:v>#N/A</c:v>
                </c:pt>
                <c:pt idx="3366">
                  <c:v>#N/A</c:v>
                </c:pt>
                <c:pt idx="3367">
                  <c:v>#N/A</c:v>
                </c:pt>
                <c:pt idx="3368">
                  <c:v>#N/A</c:v>
                </c:pt>
                <c:pt idx="3369">
                  <c:v>#N/A</c:v>
                </c:pt>
                <c:pt idx="3370">
                  <c:v>#N/A</c:v>
                </c:pt>
                <c:pt idx="3371">
                  <c:v>#N/A</c:v>
                </c:pt>
                <c:pt idx="3372">
                  <c:v>#N/A</c:v>
                </c:pt>
                <c:pt idx="3373">
                  <c:v>#N/A</c:v>
                </c:pt>
                <c:pt idx="3374">
                  <c:v>#N/A</c:v>
                </c:pt>
                <c:pt idx="3375">
                  <c:v>#N/A</c:v>
                </c:pt>
                <c:pt idx="3376">
                  <c:v>#N/A</c:v>
                </c:pt>
                <c:pt idx="3377">
                  <c:v>#N/A</c:v>
                </c:pt>
                <c:pt idx="3378">
                  <c:v>#N/A</c:v>
                </c:pt>
                <c:pt idx="3379">
                  <c:v>#N/A</c:v>
                </c:pt>
                <c:pt idx="3380">
                  <c:v>#N/A</c:v>
                </c:pt>
                <c:pt idx="3381">
                  <c:v>#N/A</c:v>
                </c:pt>
                <c:pt idx="3382">
                  <c:v>#N/A</c:v>
                </c:pt>
                <c:pt idx="3383">
                  <c:v>#N/A</c:v>
                </c:pt>
                <c:pt idx="3384">
                  <c:v>#N/A</c:v>
                </c:pt>
                <c:pt idx="3385">
                  <c:v>#N/A</c:v>
                </c:pt>
                <c:pt idx="3386">
                  <c:v>#N/A</c:v>
                </c:pt>
                <c:pt idx="3387">
                  <c:v>#N/A</c:v>
                </c:pt>
                <c:pt idx="3388">
                  <c:v>#N/A</c:v>
                </c:pt>
                <c:pt idx="3389">
                  <c:v>#N/A</c:v>
                </c:pt>
                <c:pt idx="3390">
                  <c:v>#N/A</c:v>
                </c:pt>
                <c:pt idx="3391">
                  <c:v>#N/A</c:v>
                </c:pt>
                <c:pt idx="3392">
                  <c:v>#N/A</c:v>
                </c:pt>
                <c:pt idx="3393">
                  <c:v>#N/A</c:v>
                </c:pt>
                <c:pt idx="3394">
                  <c:v>#N/A</c:v>
                </c:pt>
                <c:pt idx="3395">
                  <c:v>#N/A</c:v>
                </c:pt>
                <c:pt idx="3396">
                  <c:v>#N/A</c:v>
                </c:pt>
                <c:pt idx="3397">
                  <c:v>#N/A</c:v>
                </c:pt>
                <c:pt idx="3398">
                  <c:v>#N/A</c:v>
                </c:pt>
                <c:pt idx="3399">
                  <c:v>#N/A</c:v>
                </c:pt>
                <c:pt idx="3400">
                  <c:v>#N/A</c:v>
                </c:pt>
                <c:pt idx="3401">
                  <c:v>#N/A</c:v>
                </c:pt>
                <c:pt idx="3402">
                  <c:v>#N/A</c:v>
                </c:pt>
                <c:pt idx="3403">
                  <c:v>#N/A</c:v>
                </c:pt>
                <c:pt idx="3404">
                  <c:v>#N/A</c:v>
                </c:pt>
                <c:pt idx="3405">
                  <c:v>#N/A</c:v>
                </c:pt>
                <c:pt idx="3406">
                  <c:v>#N/A</c:v>
                </c:pt>
                <c:pt idx="3407">
                  <c:v>#N/A</c:v>
                </c:pt>
                <c:pt idx="3408">
                  <c:v>#N/A</c:v>
                </c:pt>
                <c:pt idx="3409">
                  <c:v>#N/A</c:v>
                </c:pt>
                <c:pt idx="3410">
                  <c:v>#N/A</c:v>
                </c:pt>
                <c:pt idx="3411">
                  <c:v>#N/A</c:v>
                </c:pt>
                <c:pt idx="3412">
                  <c:v>#N/A</c:v>
                </c:pt>
                <c:pt idx="3413">
                  <c:v>#N/A</c:v>
                </c:pt>
                <c:pt idx="3414">
                  <c:v>#N/A</c:v>
                </c:pt>
                <c:pt idx="3415">
                  <c:v>#N/A</c:v>
                </c:pt>
                <c:pt idx="3416">
                  <c:v>#N/A</c:v>
                </c:pt>
                <c:pt idx="3417">
                  <c:v>#N/A</c:v>
                </c:pt>
                <c:pt idx="3418">
                  <c:v>#N/A</c:v>
                </c:pt>
                <c:pt idx="3419">
                  <c:v>#N/A</c:v>
                </c:pt>
                <c:pt idx="3420">
                  <c:v>#N/A</c:v>
                </c:pt>
                <c:pt idx="3421">
                  <c:v>#N/A</c:v>
                </c:pt>
                <c:pt idx="3422">
                  <c:v>#N/A</c:v>
                </c:pt>
                <c:pt idx="3423">
                  <c:v>#N/A</c:v>
                </c:pt>
                <c:pt idx="3424">
                  <c:v>#N/A</c:v>
                </c:pt>
                <c:pt idx="3425">
                  <c:v>#N/A</c:v>
                </c:pt>
                <c:pt idx="3426">
                  <c:v>#N/A</c:v>
                </c:pt>
                <c:pt idx="3427">
                  <c:v>#N/A</c:v>
                </c:pt>
                <c:pt idx="3428">
                  <c:v>#N/A</c:v>
                </c:pt>
                <c:pt idx="3429">
                  <c:v>#N/A</c:v>
                </c:pt>
                <c:pt idx="3430">
                  <c:v>#N/A</c:v>
                </c:pt>
                <c:pt idx="3431">
                  <c:v>#N/A</c:v>
                </c:pt>
                <c:pt idx="3432">
                  <c:v>#N/A</c:v>
                </c:pt>
                <c:pt idx="3433">
                  <c:v>#N/A</c:v>
                </c:pt>
                <c:pt idx="3434">
                  <c:v>#N/A</c:v>
                </c:pt>
                <c:pt idx="3435">
                  <c:v>#N/A</c:v>
                </c:pt>
                <c:pt idx="3436">
                  <c:v>#N/A</c:v>
                </c:pt>
                <c:pt idx="3437">
                  <c:v>#N/A</c:v>
                </c:pt>
                <c:pt idx="3438">
                  <c:v>#N/A</c:v>
                </c:pt>
                <c:pt idx="3439">
                  <c:v>#N/A</c:v>
                </c:pt>
                <c:pt idx="3440">
                  <c:v>#N/A</c:v>
                </c:pt>
                <c:pt idx="3441">
                  <c:v>#N/A</c:v>
                </c:pt>
                <c:pt idx="3442">
                  <c:v>#N/A</c:v>
                </c:pt>
                <c:pt idx="3443">
                  <c:v>#N/A</c:v>
                </c:pt>
                <c:pt idx="3444">
                  <c:v>#N/A</c:v>
                </c:pt>
                <c:pt idx="3445">
                  <c:v>#N/A</c:v>
                </c:pt>
                <c:pt idx="3446">
                  <c:v>#N/A</c:v>
                </c:pt>
                <c:pt idx="3447">
                  <c:v>#N/A</c:v>
                </c:pt>
                <c:pt idx="3448">
                  <c:v>#N/A</c:v>
                </c:pt>
                <c:pt idx="3449">
                  <c:v>#N/A</c:v>
                </c:pt>
                <c:pt idx="3450">
                  <c:v>#N/A</c:v>
                </c:pt>
                <c:pt idx="3451">
                  <c:v>#N/A</c:v>
                </c:pt>
                <c:pt idx="3452">
                  <c:v>#N/A</c:v>
                </c:pt>
                <c:pt idx="3453">
                  <c:v>#N/A</c:v>
                </c:pt>
                <c:pt idx="3454">
                  <c:v>#N/A</c:v>
                </c:pt>
                <c:pt idx="3455">
                  <c:v>#N/A</c:v>
                </c:pt>
                <c:pt idx="3456">
                  <c:v>#N/A</c:v>
                </c:pt>
                <c:pt idx="3457">
                  <c:v>#N/A</c:v>
                </c:pt>
                <c:pt idx="3458">
                  <c:v>#N/A</c:v>
                </c:pt>
                <c:pt idx="3459">
                  <c:v>#N/A</c:v>
                </c:pt>
                <c:pt idx="3460">
                  <c:v>#N/A</c:v>
                </c:pt>
                <c:pt idx="3461">
                  <c:v>#N/A</c:v>
                </c:pt>
                <c:pt idx="3462">
                  <c:v>#N/A</c:v>
                </c:pt>
                <c:pt idx="3463">
                  <c:v>#N/A</c:v>
                </c:pt>
                <c:pt idx="3464">
                  <c:v>#N/A</c:v>
                </c:pt>
                <c:pt idx="3465">
                  <c:v>#N/A</c:v>
                </c:pt>
                <c:pt idx="3466">
                  <c:v>#N/A</c:v>
                </c:pt>
                <c:pt idx="3467">
                  <c:v>#N/A</c:v>
                </c:pt>
                <c:pt idx="3468">
                  <c:v>#N/A</c:v>
                </c:pt>
                <c:pt idx="3469">
                  <c:v>#N/A</c:v>
                </c:pt>
                <c:pt idx="3470">
                  <c:v>#N/A</c:v>
                </c:pt>
                <c:pt idx="3471">
                  <c:v>#N/A</c:v>
                </c:pt>
                <c:pt idx="3472">
                  <c:v>#N/A</c:v>
                </c:pt>
                <c:pt idx="3473">
                  <c:v>#N/A</c:v>
                </c:pt>
                <c:pt idx="3474">
                  <c:v>#N/A</c:v>
                </c:pt>
                <c:pt idx="3475">
                  <c:v>#N/A</c:v>
                </c:pt>
                <c:pt idx="3476">
                  <c:v>#N/A</c:v>
                </c:pt>
                <c:pt idx="3477">
                  <c:v>#N/A</c:v>
                </c:pt>
                <c:pt idx="3478">
                  <c:v>#N/A</c:v>
                </c:pt>
                <c:pt idx="3479">
                  <c:v>#N/A</c:v>
                </c:pt>
                <c:pt idx="3480">
                  <c:v>#N/A</c:v>
                </c:pt>
                <c:pt idx="3481">
                  <c:v>#N/A</c:v>
                </c:pt>
                <c:pt idx="3482">
                  <c:v>#N/A</c:v>
                </c:pt>
                <c:pt idx="3483">
                  <c:v>#N/A</c:v>
                </c:pt>
                <c:pt idx="3484">
                  <c:v>#N/A</c:v>
                </c:pt>
                <c:pt idx="3485">
                  <c:v>#N/A</c:v>
                </c:pt>
                <c:pt idx="3486">
                  <c:v>#N/A</c:v>
                </c:pt>
                <c:pt idx="3487">
                  <c:v>#N/A</c:v>
                </c:pt>
                <c:pt idx="3488">
                  <c:v>#N/A</c:v>
                </c:pt>
                <c:pt idx="3489">
                  <c:v>#N/A</c:v>
                </c:pt>
                <c:pt idx="3490">
                  <c:v>#N/A</c:v>
                </c:pt>
                <c:pt idx="3491">
                  <c:v>#N/A</c:v>
                </c:pt>
                <c:pt idx="3492">
                  <c:v>#N/A</c:v>
                </c:pt>
                <c:pt idx="3493">
                  <c:v>#N/A</c:v>
                </c:pt>
                <c:pt idx="3494">
                  <c:v>#N/A</c:v>
                </c:pt>
                <c:pt idx="3495">
                  <c:v>#N/A</c:v>
                </c:pt>
                <c:pt idx="3496">
                  <c:v>#N/A</c:v>
                </c:pt>
                <c:pt idx="3497">
                  <c:v>#N/A</c:v>
                </c:pt>
                <c:pt idx="3498">
                  <c:v>#N/A</c:v>
                </c:pt>
                <c:pt idx="3499">
                  <c:v>#N/A</c:v>
                </c:pt>
                <c:pt idx="3500">
                  <c:v>#N/A</c:v>
                </c:pt>
                <c:pt idx="3501">
                  <c:v>#N/A</c:v>
                </c:pt>
                <c:pt idx="3502">
                  <c:v>#N/A</c:v>
                </c:pt>
                <c:pt idx="3503">
                  <c:v>#N/A</c:v>
                </c:pt>
                <c:pt idx="3504">
                  <c:v>#N/A</c:v>
                </c:pt>
                <c:pt idx="3505">
                  <c:v>#N/A</c:v>
                </c:pt>
                <c:pt idx="3506">
                  <c:v>#N/A</c:v>
                </c:pt>
                <c:pt idx="3507">
                  <c:v>#N/A</c:v>
                </c:pt>
                <c:pt idx="3508">
                  <c:v>#N/A</c:v>
                </c:pt>
                <c:pt idx="3509">
                  <c:v>#N/A</c:v>
                </c:pt>
                <c:pt idx="3510">
                  <c:v>#N/A</c:v>
                </c:pt>
                <c:pt idx="3511">
                  <c:v>#N/A</c:v>
                </c:pt>
                <c:pt idx="3512">
                  <c:v>#N/A</c:v>
                </c:pt>
                <c:pt idx="3513">
                  <c:v>#N/A</c:v>
                </c:pt>
                <c:pt idx="3514">
                  <c:v>#N/A</c:v>
                </c:pt>
                <c:pt idx="3515">
                  <c:v>#N/A</c:v>
                </c:pt>
                <c:pt idx="3516">
                  <c:v>#N/A</c:v>
                </c:pt>
                <c:pt idx="3517">
                  <c:v>#N/A</c:v>
                </c:pt>
                <c:pt idx="3518">
                  <c:v>#N/A</c:v>
                </c:pt>
                <c:pt idx="3519">
                  <c:v>#N/A</c:v>
                </c:pt>
                <c:pt idx="3520">
                  <c:v>#N/A</c:v>
                </c:pt>
                <c:pt idx="3521">
                  <c:v>#N/A</c:v>
                </c:pt>
                <c:pt idx="3522">
                  <c:v>#N/A</c:v>
                </c:pt>
                <c:pt idx="3523">
                  <c:v>#N/A</c:v>
                </c:pt>
                <c:pt idx="3524">
                  <c:v>#N/A</c:v>
                </c:pt>
                <c:pt idx="3525">
                  <c:v>#N/A</c:v>
                </c:pt>
                <c:pt idx="3526">
                  <c:v>#N/A</c:v>
                </c:pt>
                <c:pt idx="3527">
                  <c:v>#N/A</c:v>
                </c:pt>
                <c:pt idx="3528">
                  <c:v>#N/A</c:v>
                </c:pt>
                <c:pt idx="3529">
                  <c:v>#N/A</c:v>
                </c:pt>
                <c:pt idx="3530">
                  <c:v>#N/A</c:v>
                </c:pt>
                <c:pt idx="3531">
                  <c:v>#N/A</c:v>
                </c:pt>
                <c:pt idx="3532">
                  <c:v>#N/A</c:v>
                </c:pt>
                <c:pt idx="3533">
                  <c:v>#N/A</c:v>
                </c:pt>
                <c:pt idx="3534">
                  <c:v>#N/A</c:v>
                </c:pt>
                <c:pt idx="3535">
                  <c:v>#N/A</c:v>
                </c:pt>
                <c:pt idx="3536">
                  <c:v>#N/A</c:v>
                </c:pt>
                <c:pt idx="3537">
                  <c:v>#N/A</c:v>
                </c:pt>
                <c:pt idx="3538">
                  <c:v>#N/A</c:v>
                </c:pt>
                <c:pt idx="3539">
                  <c:v>#N/A</c:v>
                </c:pt>
                <c:pt idx="3540">
                  <c:v>#N/A</c:v>
                </c:pt>
                <c:pt idx="3541">
                  <c:v>#N/A</c:v>
                </c:pt>
                <c:pt idx="3542">
                  <c:v>#N/A</c:v>
                </c:pt>
                <c:pt idx="3543">
                  <c:v>#N/A</c:v>
                </c:pt>
                <c:pt idx="3544">
                  <c:v>#N/A</c:v>
                </c:pt>
                <c:pt idx="3545">
                  <c:v>#N/A</c:v>
                </c:pt>
                <c:pt idx="3546">
                  <c:v>#N/A</c:v>
                </c:pt>
                <c:pt idx="3547">
                  <c:v>#N/A</c:v>
                </c:pt>
                <c:pt idx="3548">
                  <c:v>#N/A</c:v>
                </c:pt>
                <c:pt idx="3549">
                  <c:v>#N/A</c:v>
                </c:pt>
                <c:pt idx="3550">
                  <c:v>#N/A</c:v>
                </c:pt>
                <c:pt idx="3551">
                  <c:v>#N/A</c:v>
                </c:pt>
                <c:pt idx="3552">
                  <c:v>#N/A</c:v>
                </c:pt>
                <c:pt idx="3553">
                  <c:v>#N/A</c:v>
                </c:pt>
                <c:pt idx="3554">
                  <c:v>#N/A</c:v>
                </c:pt>
                <c:pt idx="3555">
                  <c:v>#N/A</c:v>
                </c:pt>
                <c:pt idx="3556">
                  <c:v>#N/A</c:v>
                </c:pt>
                <c:pt idx="3557">
                  <c:v>#N/A</c:v>
                </c:pt>
                <c:pt idx="3558">
                  <c:v>#N/A</c:v>
                </c:pt>
                <c:pt idx="3559">
                  <c:v>#N/A</c:v>
                </c:pt>
                <c:pt idx="3560">
                  <c:v>#N/A</c:v>
                </c:pt>
                <c:pt idx="3561">
                  <c:v>#N/A</c:v>
                </c:pt>
                <c:pt idx="3562">
                  <c:v>#N/A</c:v>
                </c:pt>
                <c:pt idx="3563">
                  <c:v>#N/A</c:v>
                </c:pt>
                <c:pt idx="3564">
                  <c:v>#N/A</c:v>
                </c:pt>
                <c:pt idx="3565">
                  <c:v>#N/A</c:v>
                </c:pt>
                <c:pt idx="3566">
                  <c:v>#N/A</c:v>
                </c:pt>
                <c:pt idx="3567">
                  <c:v>#N/A</c:v>
                </c:pt>
                <c:pt idx="3568">
                  <c:v>#N/A</c:v>
                </c:pt>
                <c:pt idx="3569">
                  <c:v>#N/A</c:v>
                </c:pt>
                <c:pt idx="3570">
                  <c:v>#N/A</c:v>
                </c:pt>
                <c:pt idx="3571">
                  <c:v>#N/A</c:v>
                </c:pt>
                <c:pt idx="3572">
                  <c:v>#N/A</c:v>
                </c:pt>
                <c:pt idx="3573">
                  <c:v>#N/A</c:v>
                </c:pt>
                <c:pt idx="3574">
                  <c:v>#N/A</c:v>
                </c:pt>
                <c:pt idx="3575">
                  <c:v>#N/A</c:v>
                </c:pt>
                <c:pt idx="3576">
                  <c:v>#N/A</c:v>
                </c:pt>
                <c:pt idx="3577">
                  <c:v>#N/A</c:v>
                </c:pt>
                <c:pt idx="3578">
                  <c:v>#N/A</c:v>
                </c:pt>
                <c:pt idx="3579">
                  <c:v>#N/A</c:v>
                </c:pt>
                <c:pt idx="3580">
                  <c:v>#N/A</c:v>
                </c:pt>
                <c:pt idx="3581">
                  <c:v>#N/A</c:v>
                </c:pt>
                <c:pt idx="3582">
                  <c:v>#N/A</c:v>
                </c:pt>
                <c:pt idx="3583">
                  <c:v>#N/A</c:v>
                </c:pt>
                <c:pt idx="3584">
                  <c:v>#N/A</c:v>
                </c:pt>
                <c:pt idx="3585">
                  <c:v>#N/A</c:v>
                </c:pt>
                <c:pt idx="3586">
                  <c:v>#N/A</c:v>
                </c:pt>
                <c:pt idx="3587">
                  <c:v>#N/A</c:v>
                </c:pt>
                <c:pt idx="3588">
                  <c:v>#N/A</c:v>
                </c:pt>
                <c:pt idx="3589">
                  <c:v>#N/A</c:v>
                </c:pt>
                <c:pt idx="3590">
                  <c:v>#N/A</c:v>
                </c:pt>
                <c:pt idx="3591">
                  <c:v>#N/A</c:v>
                </c:pt>
                <c:pt idx="3592">
                  <c:v>#N/A</c:v>
                </c:pt>
                <c:pt idx="3593">
                  <c:v>#N/A</c:v>
                </c:pt>
                <c:pt idx="3594">
                  <c:v>#N/A</c:v>
                </c:pt>
                <c:pt idx="3595">
                  <c:v>#N/A</c:v>
                </c:pt>
                <c:pt idx="3596">
                  <c:v>#N/A</c:v>
                </c:pt>
                <c:pt idx="3597">
                  <c:v>#N/A</c:v>
                </c:pt>
                <c:pt idx="3598">
                  <c:v>#N/A</c:v>
                </c:pt>
                <c:pt idx="3599">
                  <c:v>#N/A</c:v>
                </c:pt>
                <c:pt idx="3600">
                  <c:v>#N/A</c:v>
                </c:pt>
                <c:pt idx="3601">
                  <c:v>#N/A</c:v>
                </c:pt>
                <c:pt idx="3602">
                  <c:v>#N/A</c:v>
                </c:pt>
                <c:pt idx="3603">
                  <c:v>#N/A</c:v>
                </c:pt>
                <c:pt idx="3604">
                  <c:v>#N/A</c:v>
                </c:pt>
                <c:pt idx="3605">
                  <c:v>#N/A</c:v>
                </c:pt>
                <c:pt idx="3606">
                  <c:v>#N/A</c:v>
                </c:pt>
                <c:pt idx="3607">
                  <c:v>#N/A</c:v>
                </c:pt>
                <c:pt idx="3608">
                  <c:v>#N/A</c:v>
                </c:pt>
                <c:pt idx="3609">
                  <c:v>#N/A</c:v>
                </c:pt>
                <c:pt idx="3610">
                  <c:v>#N/A</c:v>
                </c:pt>
                <c:pt idx="3611">
                  <c:v>#N/A</c:v>
                </c:pt>
                <c:pt idx="3612">
                  <c:v>#N/A</c:v>
                </c:pt>
                <c:pt idx="3613">
                  <c:v>#N/A</c:v>
                </c:pt>
                <c:pt idx="3614">
                  <c:v>#N/A</c:v>
                </c:pt>
                <c:pt idx="3615">
                  <c:v>#N/A</c:v>
                </c:pt>
                <c:pt idx="3616">
                  <c:v>#N/A</c:v>
                </c:pt>
                <c:pt idx="3617">
                  <c:v>#N/A</c:v>
                </c:pt>
                <c:pt idx="3618">
                  <c:v>#N/A</c:v>
                </c:pt>
                <c:pt idx="3619">
                  <c:v>#N/A</c:v>
                </c:pt>
                <c:pt idx="3620">
                  <c:v>#N/A</c:v>
                </c:pt>
                <c:pt idx="3621">
                  <c:v>#N/A</c:v>
                </c:pt>
                <c:pt idx="3622">
                  <c:v>#N/A</c:v>
                </c:pt>
                <c:pt idx="3623">
                  <c:v>#N/A</c:v>
                </c:pt>
                <c:pt idx="3624">
                  <c:v>#N/A</c:v>
                </c:pt>
                <c:pt idx="3625">
                  <c:v>#N/A</c:v>
                </c:pt>
                <c:pt idx="3626">
                  <c:v>#N/A</c:v>
                </c:pt>
                <c:pt idx="3627">
                  <c:v>#N/A</c:v>
                </c:pt>
                <c:pt idx="3628">
                  <c:v>#N/A</c:v>
                </c:pt>
                <c:pt idx="3629">
                  <c:v>#N/A</c:v>
                </c:pt>
                <c:pt idx="3630">
                  <c:v>#N/A</c:v>
                </c:pt>
                <c:pt idx="3631">
                  <c:v>#N/A</c:v>
                </c:pt>
                <c:pt idx="3632">
                  <c:v>#N/A</c:v>
                </c:pt>
                <c:pt idx="3633">
                  <c:v>#N/A</c:v>
                </c:pt>
                <c:pt idx="3634">
                  <c:v>#N/A</c:v>
                </c:pt>
                <c:pt idx="3635">
                  <c:v>#N/A</c:v>
                </c:pt>
                <c:pt idx="3636">
                  <c:v>#N/A</c:v>
                </c:pt>
                <c:pt idx="3637">
                  <c:v>#N/A</c:v>
                </c:pt>
                <c:pt idx="3638">
                  <c:v>#N/A</c:v>
                </c:pt>
                <c:pt idx="3639">
                  <c:v>#N/A</c:v>
                </c:pt>
                <c:pt idx="3640">
                  <c:v>#N/A</c:v>
                </c:pt>
                <c:pt idx="3641">
                  <c:v>#N/A</c:v>
                </c:pt>
                <c:pt idx="3642">
                  <c:v>#N/A</c:v>
                </c:pt>
                <c:pt idx="3643">
                  <c:v>#N/A</c:v>
                </c:pt>
                <c:pt idx="3644">
                  <c:v>#N/A</c:v>
                </c:pt>
                <c:pt idx="3645">
                  <c:v>#N/A</c:v>
                </c:pt>
                <c:pt idx="3646">
                  <c:v>#N/A</c:v>
                </c:pt>
                <c:pt idx="3647">
                  <c:v>#N/A</c:v>
                </c:pt>
                <c:pt idx="3648">
                  <c:v>#N/A</c:v>
                </c:pt>
                <c:pt idx="3649">
                  <c:v>#N/A</c:v>
                </c:pt>
                <c:pt idx="3650">
                  <c:v>#N/A</c:v>
                </c:pt>
                <c:pt idx="3651">
                  <c:v>#N/A</c:v>
                </c:pt>
                <c:pt idx="3652">
                  <c:v>#N/A</c:v>
                </c:pt>
                <c:pt idx="3653">
                  <c:v>#N/A</c:v>
                </c:pt>
                <c:pt idx="3654">
                  <c:v>#N/A</c:v>
                </c:pt>
                <c:pt idx="3655">
                  <c:v>#N/A</c:v>
                </c:pt>
                <c:pt idx="3656">
                  <c:v>#N/A</c:v>
                </c:pt>
                <c:pt idx="3657">
                  <c:v>#N/A</c:v>
                </c:pt>
                <c:pt idx="3658">
                  <c:v>#N/A</c:v>
                </c:pt>
                <c:pt idx="3659">
                  <c:v>#N/A</c:v>
                </c:pt>
                <c:pt idx="3660">
                  <c:v>#N/A</c:v>
                </c:pt>
                <c:pt idx="3661">
                  <c:v>#N/A</c:v>
                </c:pt>
                <c:pt idx="3662">
                  <c:v>#N/A</c:v>
                </c:pt>
                <c:pt idx="3663">
                  <c:v>#N/A</c:v>
                </c:pt>
                <c:pt idx="3664">
                  <c:v>#N/A</c:v>
                </c:pt>
                <c:pt idx="3665">
                  <c:v>#N/A</c:v>
                </c:pt>
                <c:pt idx="3666">
                  <c:v>#N/A</c:v>
                </c:pt>
                <c:pt idx="3667">
                  <c:v>#N/A</c:v>
                </c:pt>
                <c:pt idx="3668">
                  <c:v>#N/A</c:v>
                </c:pt>
                <c:pt idx="3669">
                  <c:v>#N/A</c:v>
                </c:pt>
                <c:pt idx="3670">
                  <c:v>#N/A</c:v>
                </c:pt>
                <c:pt idx="3671">
                  <c:v>#N/A</c:v>
                </c:pt>
                <c:pt idx="3672">
                  <c:v>#N/A</c:v>
                </c:pt>
                <c:pt idx="3673">
                  <c:v>#N/A</c:v>
                </c:pt>
                <c:pt idx="3674">
                  <c:v>#N/A</c:v>
                </c:pt>
                <c:pt idx="3675">
                  <c:v>#N/A</c:v>
                </c:pt>
                <c:pt idx="3676">
                  <c:v>#N/A</c:v>
                </c:pt>
                <c:pt idx="3677">
                  <c:v>#N/A</c:v>
                </c:pt>
                <c:pt idx="3678">
                  <c:v>#N/A</c:v>
                </c:pt>
                <c:pt idx="3679">
                  <c:v>#N/A</c:v>
                </c:pt>
                <c:pt idx="3680">
                  <c:v>#N/A</c:v>
                </c:pt>
                <c:pt idx="3681">
                  <c:v>#N/A</c:v>
                </c:pt>
                <c:pt idx="3682">
                  <c:v>#N/A</c:v>
                </c:pt>
                <c:pt idx="3683">
                  <c:v>#N/A</c:v>
                </c:pt>
                <c:pt idx="3684">
                  <c:v>#N/A</c:v>
                </c:pt>
                <c:pt idx="3685">
                  <c:v>#N/A</c:v>
                </c:pt>
                <c:pt idx="3686">
                  <c:v>#N/A</c:v>
                </c:pt>
                <c:pt idx="3687">
                  <c:v>#N/A</c:v>
                </c:pt>
                <c:pt idx="3688">
                  <c:v>#N/A</c:v>
                </c:pt>
                <c:pt idx="3689">
                  <c:v>#N/A</c:v>
                </c:pt>
                <c:pt idx="3690">
                  <c:v>#N/A</c:v>
                </c:pt>
                <c:pt idx="3691">
                  <c:v>#N/A</c:v>
                </c:pt>
                <c:pt idx="3692">
                  <c:v>#N/A</c:v>
                </c:pt>
                <c:pt idx="3693">
                  <c:v>#N/A</c:v>
                </c:pt>
                <c:pt idx="3694">
                  <c:v>#N/A</c:v>
                </c:pt>
                <c:pt idx="3695">
                  <c:v>#N/A</c:v>
                </c:pt>
                <c:pt idx="3696">
                  <c:v>#N/A</c:v>
                </c:pt>
                <c:pt idx="3697">
                  <c:v>#N/A</c:v>
                </c:pt>
                <c:pt idx="3698">
                  <c:v>#N/A</c:v>
                </c:pt>
                <c:pt idx="3699">
                  <c:v>#N/A</c:v>
                </c:pt>
                <c:pt idx="3700">
                  <c:v>#N/A</c:v>
                </c:pt>
                <c:pt idx="3701">
                  <c:v>#N/A</c:v>
                </c:pt>
                <c:pt idx="3702">
                  <c:v>#N/A</c:v>
                </c:pt>
                <c:pt idx="3703">
                  <c:v>#N/A</c:v>
                </c:pt>
                <c:pt idx="3704">
                  <c:v>#N/A</c:v>
                </c:pt>
                <c:pt idx="3705">
                  <c:v>#N/A</c:v>
                </c:pt>
                <c:pt idx="3706">
                  <c:v>#N/A</c:v>
                </c:pt>
                <c:pt idx="3707">
                  <c:v>#N/A</c:v>
                </c:pt>
                <c:pt idx="3708">
                  <c:v>#N/A</c:v>
                </c:pt>
                <c:pt idx="3709">
                  <c:v>#N/A</c:v>
                </c:pt>
                <c:pt idx="3710">
                  <c:v>#N/A</c:v>
                </c:pt>
                <c:pt idx="3711">
                  <c:v>#N/A</c:v>
                </c:pt>
                <c:pt idx="3712">
                  <c:v>#N/A</c:v>
                </c:pt>
                <c:pt idx="3713">
                  <c:v>#N/A</c:v>
                </c:pt>
                <c:pt idx="3714">
                  <c:v>#N/A</c:v>
                </c:pt>
                <c:pt idx="3715">
                  <c:v>#N/A</c:v>
                </c:pt>
                <c:pt idx="3716">
                  <c:v>#N/A</c:v>
                </c:pt>
                <c:pt idx="3717">
                  <c:v>#N/A</c:v>
                </c:pt>
                <c:pt idx="3718">
                  <c:v>#N/A</c:v>
                </c:pt>
                <c:pt idx="3719">
                  <c:v>#N/A</c:v>
                </c:pt>
                <c:pt idx="3720">
                  <c:v>#N/A</c:v>
                </c:pt>
                <c:pt idx="3721">
                  <c:v>#N/A</c:v>
                </c:pt>
                <c:pt idx="3722">
                  <c:v>#N/A</c:v>
                </c:pt>
                <c:pt idx="3723">
                  <c:v>#N/A</c:v>
                </c:pt>
                <c:pt idx="3724">
                  <c:v>#N/A</c:v>
                </c:pt>
                <c:pt idx="3725">
                  <c:v>#N/A</c:v>
                </c:pt>
                <c:pt idx="3726">
                  <c:v>#N/A</c:v>
                </c:pt>
                <c:pt idx="3727">
                  <c:v>#N/A</c:v>
                </c:pt>
                <c:pt idx="3728">
                  <c:v>#N/A</c:v>
                </c:pt>
                <c:pt idx="3729">
                  <c:v>#N/A</c:v>
                </c:pt>
                <c:pt idx="3730">
                  <c:v>#N/A</c:v>
                </c:pt>
                <c:pt idx="3731">
                  <c:v>#N/A</c:v>
                </c:pt>
                <c:pt idx="3732">
                  <c:v>#N/A</c:v>
                </c:pt>
                <c:pt idx="3733">
                  <c:v>#N/A</c:v>
                </c:pt>
                <c:pt idx="3734">
                  <c:v>#N/A</c:v>
                </c:pt>
                <c:pt idx="3735">
                  <c:v>#N/A</c:v>
                </c:pt>
                <c:pt idx="3736">
                  <c:v>#N/A</c:v>
                </c:pt>
                <c:pt idx="3737">
                  <c:v>#N/A</c:v>
                </c:pt>
                <c:pt idx="3738">
                  <c:v>#N/A</c:v>
                </c:pt>
                <c:pt idx="3739">
                  <c:v>#N/A</c:v>
                </c:pt>
                <c:pt idx="3740">
                  <c:v>#N/A</c:v>
                </c:pt>
                <c:pt idx="3741">
                  <c:v>#N/A</c:v>
                </c:pt>
                <c:pt idx="3742">
                  <c:v>#N/A</c:v>
                </c:pt>
                <c:pt idx="3743">
                  <c:v>#N/A</c:v>
                </c:pt>
                <c:pt idx="3744">
                  <c:v>#N/A</c:v>
                </c:pt>
                <c:pt idx="3745">
                  <c:v>#N/A</c:v>
                </c:pt>
                <c:pt idx="3746">
                  <c:v>#N/A</c:v>
                </c:pt>
                <c:pt idx="3747">
                  <c:v>#N/A</c:v>
                </c:pt>
                <c:pt idx="3748">
                  <c:v>#N/A</c:v>
                </c:pt>
                <c:pt idx="3749">
                  <c:v>#N/A</c:v>
                </c:pt>
                <c:pt idx="3750">
                  <c:v>#N/A</c:v>
                </c:pt>
                <c:pt idx="3751">
                  <c:v>#N/A</c:v>
                </c:pt>
                <c:pt idx="3752">
                  <c:v>#N/A</c:v>
                </c:pt>
                <c:pt idx="3753">
                  <c:v>#N/A</c:v>
                </c:pt>
                <c:pt idx="3754">
                  <c:v>#N/A</c:v>
                </c:pt>
                <c:pt idx="3755">
                  <c:v>#N/A</c:v>
                </c:pt>
                <c:pt idx="3756">
                  <c:v>#N/A</c:v>
                </c:pt>
                <c:pt idx="3757">
                  <c:v>#N/A</c:v>
                </c:pt>
                <c:pt idx="3758">
                  <c:v>#N/A</c:v>
                </c:pt>
                <c:pt idx="3759">
                  <c:v>#N/A</c:v>
                </c:pt>
                <c:pt idx="3760">
                  <c:v>#N/A</c:v>
                </c:pt>
                <c:pt idx="3761">
                  <c:v>#N/A</c:v>
                </c:pt>
                <c:pt idx="3762">
                  <c:v>#N/A</c:v>
                </c:pt>
                <c:pt idx="3763">
                  <c:v>#N/A</c:v>
                </c:pt>
                <c:pt idx="3764">
                  <c:v>#N/A</c:v>
                </c:pt>
                <c:pt idx="3765">
                  <c:v>#N/A</c:v>
                </c:pt>
                <c:pt idx="3766">
                  <c:v>#N/A</c:v>
                </c:pt>
                <c:pt idx="3767">
                  <c:v>#N/A</c:v>
                </c:pt>
                <c:pt idx="3768">
                  <c:v>#N/A</c:v>
                </c:pt>
                <c:pt idx="3769">
                  <c:v>#N/A</c:v>
                </c:pt>
                <c:pt idx="3770">
                  <c:v>#N/A</c:v>
                </c:pt>
                <c:pt idx="3771">
                  <c:v>#N/A</c:v>
                </c:pt>
                <c:pt idx="3772">
                  <c:v>#N/A</c:v>
                </c:pt>
                <c:pt idx="3773">
                  <c:v>#N/A</c:v>
                </c:pt>
                <c:pt idx="3774">
                  <c:v>#N/A</c:v>
                </c:pt>
                <c:pt idx="3775">
                  <c:v>#N/A</c:v>
                </c:pt>
                <c:pt idx="3776">
                  <c:v>#N/A</c:v>
                </c:pt>
                <c:pt idx="3777">
                  <c:v>#N/A</c:v>
                </c:pt>
                <c:pt idx="3778">
                  <c:v>#N/A</c:v>
                </c:pt>
                <c:pt idx="3779">
                  <c:v>#N/A</c:v>
                </c:pt>
                <c:pt idx="3780">
                  <c:v>#N/A</c:v>
                </c:pt>
                <c:pt idx="3781">
                  <c:v>#N/A</c:v>
                </c:pt>
                <c:pt idx="3782">
                  <c:v>#N/A</c:v>
                </c:pt>
                <c:pt idx="3783">
                  <c:v>#N/A</c:v>
                </c:pt>
                <c:pt idx="3784">
                  <c:v>#N/A</c:v>
                </c:pt>
                <c:pt idx="3785">
                  <c:v>#N/A</c:v>
                </c:pt>
                <c:pt idx="3786">
                  <c:v>#N/A</c:v>
                </c:pt>
                <c:pt idx="3787">
                  <c:v>#N/A</c:v>
                </c:pt>
                <c:pt idx="3788">
                  <c:v>#N/A</c:v>
                </c:pt>
                <c:pt idx="3789">
                  <c:v>#N/A</c:v>
                </c:pt>
                <c:pt idx="3790">
                  <c:v>#N/A</c:v>
                </c:pt>
                <c:pt idx="3791">
                  <c:v>#N/A</c:v>
                </c:pt>
                <c:pt idx="3792">
                  <c:v>#N/A</c:v>
                </c:pt>
                <c:pt idx="3793">
                  <c:v>#N/A</c:v>
                </c:pt>
                <c:pt idx="3794">
                  <c:v>#N/A</c:v>
                </c:pt>
                <c:pt idx="3795">
                  <c:v>#N/A</c:v>
                </c:pt>
                <c:pt idx="3796">
                  <c:v>#N/A</c:v>
                </c:pt>
                <c:pt idx="3797">
                  <c:v>#N/A</c:v>
                </c:pt>
                <c:pt idx="3798">
                  <c:v>#N/A</c:v>
                </c:pt>
                <c:pt idx="3799">
                  <c:v>#N/A</c:v>
                </c:pt>
                <c:pt idx="3800">
                  <c:v>#N/A</c:v>
                </c:pt>
                <c:pt idx="3801">
                  <c:v>#N/A</c:v>
                </c:pt>
                <c:pt idx="3802">
                  <c:v>#N/A</c:v>
                </c:pt>
                <c:pt idx="3803">
                  <c:v>#N/A</c:v>
                </c:pt>
                <c:pt idx="3804">
                  <c:v>#N/A</c:v>
                </c:pt>
                <c:pt idx="3805">
                  <c:v>#N/A</c:v>
                </c:pt>
                <c:pt idx="3806">
                  <c:v>#N/A</c:v>
                </c:pt>
                <c:pt idx="3807">
                  <c:v>#N/A</c:v>
                </c:pt>
                <c:pt idx="3808">
                  <c:v>#N/A</c:v>
                </c:pt>
                <c:pt idx="3809">
                  <c:v>#N/A</c:v>
                </c:pt>
                <c:pt idx="3810">
                  <c:v>#N/A</c:v>
                </c:pt>
                <c:pt idx="3811">
                  <c:v>#N/A</c:v>
                </c:pt>
                <c:pt idx="3812">
                  <c:v>#N/A</c:v>
                </c:pt>
                <c:pt idx="3813">
                  <c:v>#N/A</c:v>
                </c:pt>
                <c:pt idx="3814">
                  <c:v>#N/A</c:v>
                </c:pt>
                <c:pt idx="3815">
                  <c:v>#N/A</c:v>
                </c:pt>
                <c:pt idx="3816">
                  <c:v>#N/A</c:v>
                </c:pt>
                <c:pt idx="3817">
                  <c:v>#N/A</c:v>
                </c:pt>
                <c:pt idx="3818">
                  <c:v>#N/A</c:v>
                </c:pt>
                <c:pt idx="3819">
                  <c:v>#N/A</c:v>
                </c:pt>
                <c:pt idx="3820">
                  <c:v>#N/A</c:v>
                </c:pt>
                <c:pt idx="3821">
                  <c:v>#N/A</c:v>
                </c:pt>
                <c:pt idx="3822">
                  <c:v>#N/A</c:v>
                </c:pt>
                <c:pt idx="3823">
                  <c:v>#N/A</c:v>
                </c:pt>
                <c:pt idx="3824">
                  <c:v>#N/A</c:v>
                </c:pt>
                <c:pt idx="3825">
                  <c:v>#N/A</c:v>
                </c:pt>
                <c:pt idx="3826">
                  <c:v>#N/A</c:v>
                </c:pt>
                <c:pt idx="3827">
                  <c:v>#N/A</c:v>
                </c:pt>
                <c:pt idx="3828">
                  <c:v>#N/A</c:v>
                </c:pt>
                <c:pt idx="3829">
                  <c:v>#N/A</c:v>
                </c:pt>
                <c:pt idx="3830">
                  <c:v>#N/A</c:v>
                </c:pt>
                <c:pt idx="3831">
                  <c:v>#N/A</c:v>
                </c:pt>
                <c:pt idx="3832">
                  <c:v>#N/A</c:v>
                </c:pt>
                <c:pt idx="3833">
                  <c:v>#N/A</c:v>
                </c:pt>
                <c:pt idx="3834">
                  <c:v>#N/A</c:v>
                </c:pt>
                <c:pt idx="3835">
                  <c:v>#N/A</c:v>
                </c:pt>
                <c:pt idx="3836">
                  <c:v>#N/A</c:v>
                </c:pt>
                <c:pt idx="3837">
                  <c:v>#N/A</c:v>
                </c:pt>
                <c:pt idx="3838">
                  <c:v>#N/A</c:v>
                </c:pt>
                <c:pt idx="3839">
                  <c:v>#N/A</c:v>
                </c:pt>
                <c:pt idx="3840">
                  <c:v>#N/A</c:v>
                </c:pt>
                <c:pt idx="3841">
                  <c:v>#N/A</c:v>
                </c:pt>
                <c:pt idx="3842">
                  <c:v>#N/A</c:v>
                </c:pt>
                <c:pt idx="3843">
                  <c:v>#N/A</c:v>
                </c:pt>
                <c:pt idx="3844">
                  <c:v>#N/A</c:v>
                </c:pt>
                <c:pt idx="3845">
                  <c:v>#N/A</c:v>
                </c:pt>
                <c:pt idx="3846">
                  <c:v>#N/A</c:v>
                </c:pt>
                <c:pt idx="3847">
                  <c:v>#N/A</c:v>
                </c:pt>
                <c:pt idx="3848">
                  <c:v>#N/A</c:v>
                </c:pt>
                <c:pt idx="3849">
                  <c:v>#N/A</c:v>
                </c:pt>
                <c:pt idx="3850">
                  <c:v>#N/A</c:v>
                </c:pt>
                <c:pt idx="3851">
                  <c:v>#N/A</c:v>
                </c:pt>
                <c:pt idx="3852">
                  <c:v>#N/A</c:v>
                </c:pt>
                <c:pt idx="3853">
                  <c:v>#N/A</c:v>
                </c:pt>
                <c:pt idx="3854">
                  <c:v>#N/A</c:v>
                </c:pt>
                <c:pt idx="3855">
                  <c:v>#N/A</c:v>
                </c:pt>
                <c:pt idx="3856">
                  <c:v>#N/A</c:v>
                </c:pt>
                <c:pt idx="3857">
                  <c:v>#N/A</c:v>
                </c:pt>
                <c:pt idx="3858">
                  <c:v>#N/A</c:v>
                </c:pt>
                <c:pt idx="3859">
                  <c:v>#N/A</c:v>
                </c:pt>
                <c:pt idx="3860">
                  <c:v>#N/A</c:v>
                </c:pt>
                <c:pt idx="3861">
                  <c:v>#N/A</c:v>
                </c:pt>
                <c:pt idx="3862">
                  <c:v>#N/A</c:v>
                </c:pt>
                <c:pt idx="3863">
                  <c:v>#N/A</c:v>
                </c:pt>
                <c:pt idx="3864">
                  <c:v>#N/A</c:v>
                </c:pt>
                <c:pt idx="3865">
                  <c:v>#N/A</c:v>
                </c:pt>
                <c:pt idx="3866">
                  <c:v>#N/A</c:v>
                </c:pt>
                <c:pt idx="3867">
                  <c:v>#N/A</c:v>
                </c:pt>
                <c:pt idx="3868">
                  <c:v>#N/A</c:v>
                </c:pt>
                <c:pt idx="3869">
                  <c:v>#N/A</c:v>
                </c:pt>
                <c:pt idx="3870">
                  <c:v>#N/A</c:v>
                </c:pt>
                <c:pt idx="3871">
                  <c:v>#N/A</c:v>
                </c:pt>
                <c:pt idx="3872">
                  <c:v>#N/A</c:v>
                </c:pt>
                <c:pt idx="3873">
                  <c:v>#N/A</c:v>
                </c:pt>
                <c:pt idx="3874">
                  <c:v>#N/A</c:v>
                </c:pt>
                <c:pt idx="3875">
                  <c:v>#N/A</c:v>
                </c:pt>
                <c:pt idx="3876">
                  <c:v>#N/A</c:v>
                </c:pt>
                <c:pt idx="3877">
                  <c:v>#N/A</c:v>
                </c:pt>
                <c:pt idx="3878">
                  <c:v>#N/A</c:v>
                </c:pt>
                <c:pt idx="3879">
                  <c:v>#N/A</c:v>
                </c:pt>
                <c:pt idx="3880">
                  <c:v>#N/A</c:v>
                </c:pt>
                <c:pt idx="3881">
                  <c:v>#N/A</c:v>
                </c:pt>
                <c:pt idx="3882">
                  <c:v>#N/A</c:v>
                </c:pt>
                <c:pt idx="3883">
                  <c:v>#N/A</c:v>
                </c:pt>
                <c:pt idx="3884">
                  <c:v>#N/A</c:v>
                </c:pt>
                <c:pt idx="3885">
                  <c:v>#N/A</c:v>
                </c:pt>
                <c:pt idx="3886">
                  <c:v>#N/A</c:v>
                </c:pt>
                <c:pt idx="3887">
                  <c:v>#N/A</c:v>
                </c:pt>
                <c:pt idx="3888">
                  <c:v>#N/A</c:v>
                </c:pt>
                <c:pt idx="3889">
                  <c:v>#N/A</c:v>
                </c:pt>
                <c:pt idx="3890">
                  <c:v>#N/A</c:v>
                </c:pt>
                <c:pt idx="3891">
                  <c:v>#N/A</c:v>
                </c:pt>
                <c:pt idx="3892">
                  <c:v>#N/A</c:v>
                </c:pt>
                <c:pt idx="3893">
                  <c:v>#N/A</c:v>
                </c:pt>
                <c:pt idx="3894">
                  <c:v>#N/A</c:v>
                </c:pt>
                <c:pt idx="3895">
                  <c:v>#N/A</c:v>
                </c:pt>
                <c:pt idx="3896">
                  <c:v>#N/A</c:v>
                </c:pt>
                <c:pt idx="3897">
                  <c:v>#N/A</c:v>
                </c:pt>
                <c:pt idx="3898">
                  <c:v>#N/A</c:v>
                </c:pt>
                <c:pt idx="3899">
                  <c:v>#N/A</c:v>
                </c:pt>
                <c:pt idx="3900">
                  <c:v>#N/A</c:v>
                </c:pt>
                <c:pt idx="3901">
                  <c:v>#N/A</c:v>
                </c:pt>
                <c:pt idx="3902">
                  <c:v>#N/A</c:v>
                </c:pt>
                <c:pt idx="3903">
                  <c:v>#N/A</c:v>
                </c:pt>
                <c:pt idx="3904">
                  <c:v>#N/A</c:v>
                </c:pt>
                <c:pt idx="3905">
                  <c:v>#N/A</c:v>
                </c:pt>
                <c:pt idx="3906">
                  <c:v>#N/A</c:v>
                </c:pt>
                <c:pt idx="3907">
                  <c:v>#N/A</c:v>
                </c:pt>
                <c:pt idx="3908">
                  <c:v>#N/A</c:v>
                </c:pt>
                <c:pt idx="3909">
                  <c:v>#N/A</c:v>
                </c:pt>
                <c:pt idx="3910">
                  <c:v>#N/A</c:v>
                </c:pt>
                <c:pt idx="3911">
                  <c:v>#N/A</c:v>
                </c:pt>
                <c:pt idx="3912">
                  <c:v>#N/A</c:v>
                </c:pt>
                <c:pt idx="3913">
                  <c:v>#N/A</c:v>
                </c:pt>
                <c:pt idx="3914">
                  <c:v>#N/A</c:v>
                </c:pt>
                <c:pt idx="3915">
                  <c:v>#N/A</c:v>
                </c:pt>
                <c:pt idx="3916">
                  <c:v>#N/A</c:v>
                </c:pt>
                <c:pt idx="3917">
                  <c:v>#N/A</c:v>
                </c:pt>
                <c:pt idx="3918">
                  <c:v>#N/A</c:v>
                </c:pt>
                <c:pt idx="3919">
                  <c:v>#N/A</c:v>
                </c:pt>
                <c:pt idx="3920">
                  <c:v>#N/A</c:v>
                </c:pt>
                <c:pt idx="3921">
                  <c:v>#N/A</c:v>
                </c:pt>
                <c:pt idx="3922">
                  <c:v>#N/A</c:v>
                </c:pt>
                <c:pt idx="3923">
                  <c:v>#N/A</c:v>
                </c:pt>
                <c:pt idx="3924">
                  <c:v>#N/A</c:v>
                </c:pt>
                <c:pt idx="3925">
                  <c:v>#N/A</c:v>
                </c:pt>
                <c:pt idx="3926">
                  <c:v>#N/A</c:v>
                </c:pt>
                <c:pt idx="3927">
                  <c:v>#N/A</c:v>
                </c:pt>
                <c:pt idx="3928">
                  <c:v>#N/A</c:v>
                </c:pt>
                <c:pt idx="3929">
                  <c:v>#N/A</c:v>
                </c:pt>
                <c:pt idx="3930">
                  <c:v>#N/A</c:v>
                </c:pt>
                <c:pt idx="3931">
                  <c:v>#N/A</c:v>
                </c:pt>
                <c:pt idx="3932">
                  <c:v>#N/A</c:v>
                </c:pt>
                <c:pt idx="3933">
                  <c:v>#N/A</c:v>
                </c:pt>
                <c:pt idx="3934">
                  <c:v>#N/A</c:v>
                </c:pt>
                <c:pt idx="3935">
                  <c:v>#N/A</c:v>
                </c:pt>
                <c:pt idx="3936">
                  <c:v>#N/A</c:v>
                </c:pt>
                <c:pt idx="3937">
                  <c:v>#N/A</c:v>
                </c:pt>
                <c:pt idx="3938">
                  <c:v>#N/A</c:v>
                </c:pt>
                <c:pt idx="3939">
                  <c:v>#N/A</c:v>
                </c:pt>
                <c:pt idx="3940">
                  <c:v>#N/A</c:v>
                </c:pt>
                <c:pt idx="3941">
                  <c:v>#N/A</c:v>
                </c:pt>
                <c:pt idx="3942">
                  <c:v>#N/A</c:v>
                </c:pt>
                <c:pt idx="3943">
                  <c:v>#N/A</c:v>
                </c:pt>
                <c:pt idx="3944">
                  <c:v>#N/A</c:v>
                </c:pt>
                <c:pt idx="3945">
                  <c:v>#N/A</c:v>
                </c:pt>
                <c:pt idx="3946">
                  <c:v>#N/A</c:v>
                </c:pt>
                <c:pt idx="3947">
                  <c:v>#N/A</c:v>
                </c:pt>
                <c:pt idx="3948">
                  <c:v>#N/A</c:v>
                </c:pt>
                <c:pt idx="3949">
                  <c:v>#N/A</c:v>
                </c:pt>
                <c:pt idx="3950">
                  <c:v>#N/A</c:v>
                </c:pt>
                <c:pt idx="3951">
                  <c:v>#N/A</c:v>
                </c:pt>
                <c:pt idx="3952">
                  <c:v>#N/A</c:v>
                </c:pt>
                <c:pt idx="3953">
                  <c:v>#N/A</c:v>
                </c:pt>
                <c:pt idx="3954">
                  <c:v>#N/A</c:v>
                </c:pt>
                <c:pt idx="3955">
                  <c:v>#N/A</c:v>
                </c:pt>
                <c:pt idx="3956">
                  <c:v>#N/A</c:v>
                </c:pt>
                <c:pt idx="3957">
                  <c:v>#N/A</c:v>
                </c:pt>
                <c:pt idx="3958">
                  <c:v>#N/A</c:v>
                </c:pt>
                <c:pt idx="3959">
                  <c:v>#N/A</c:v>
                </c:pt>
                <c:pt idx="3960">
                  <c:v>#N/A</c:v>
                </c:pt>
                <c:pt idx="3961">
                  <c:v>#N/A</c:v>
                </c:pt>
                <c:pt idx="3962">
                  <c:v>#N/A</c:v>
                </c:pt>
                <c:pt idx="3963">
                  <c:v>#N/A</c:v>
                </c:pt>
                <c:pt idx="3964">
                  <c:v>#N/A</c:v>
                </c:pt>
                <c:pt idx="3965">
                  <c:v>#N/A</c:v>
                </c:pt>
                <c:pt idx="3966">
                  <c:v>#N/A</c:v>
                </c:pt>
                <c:pt idx="3967">
                  <c:v>#N/A</c:v>
                </c:pt>
                <c:pt idx="3968">
                  <c:v>#N/A</c:v>
                </c:pt>
                <c:pt idx="3969">
                  <c:v>#N/A</c:v>
                </c:pt>
                <c:pt idx="3970">
                  <c:v>#N/A</c:v>
                </c:pt>
                <c:pt idx="3971">
                  <c:v>#N/A</c:v>
                </c:pt>
                <c:pt idx="3972">
                  <c:v>#N/A</c:v>
                </c:pt>
                <c:pt idx="3973">
                  <c:v>#N/A</c:v>
                </c:pt>
                <c:pt idx="3974">
                  <c:v>#N/A</c:v>
                </c:pt>
                <c:pt idx="3975">
                  <c:v>#N/A</c:v>
                </c:pt>
                <c:pt idx="3976">
                  <c:v>#N/A</c:v>
                </c:pt>
                <c:pt idx="3977">
                  <c:v>#N/A</c:v>
                </c:pt>
                <c:pt idx="3978">
                  <c:v>#N/A</c:v>
                </c:pt>
                <c:pt idx="3979">
                  <c:v>#N/A</c:v>
                </c:pt>
                <c:pt idx="3980">
                  <c:v>#N/A</c:v>
                </c:pt>
                <c:pt idx="3981">
                  <c:v>#N/A</c:v>
                </c:pt>
                <c:pt idx="3982">
                  <c:v>#N/A</c:v>
                </c:pt>
                <c:pt idx="3983">
                  <c:v>#N/A</c:v>
                </c:pt>
                <c:pt idx="3984">
                  <c:v>#N/A</c:v>
                </c:pt>
                <c:pt idx="3985">
                  <c:v>#N/A</c:v>
                </c:pt>
                <c:pt idx="3986">
                  <c:v>#N/A</c:v>
                </c:pt>
                <c:pt idx="3987">
                  <c:v>#N/A</c:v>
                </c:pt>
                <c:pt idx="3988">
                  <c:v>#N/A</c:v>
                </c:pt>
                <c:pt idx="3989">
                  <c:v>#N/A</c:v>
                </c:pt>
                <c:pt idx="3990">
                  <c:v>#N/A</c:v>
                </c:pt>
                <c:pt idx="3991">
                  <c:v>#N/A</c:v>
                </c:pt>
                <c:pt idx="3992">
                  <c:v>#N/A</c:v>
                </c:pt>
                <c:pt idx="3993">
                  <c:v>#N/A</c:v>
                </c:pt>
                <c:pt idx="3994">
                  <c:v>#N/A</c:v>
                </c:pt>
                <c:pt idx="3995">
                  <c:v>#N/A</c:v>
                </c:pt>
                <c:pt idx="3996">
                  <c:v>#N/A</c:v>
                </c:pt>
                <c:pt idx="3997">
                  <c:v>#N/A</c:v>
                </c:pt>
                <c:pt idx="3998">
                  <c:v>#N/A</c:v>
                </c:pt>
                <c:pt idx="3999">
                  <c:v>#N/A</c:v>
                </c:pt>
                <c:pt idx="4000">
                  <c:v>#N/A</c:v>
                </c:pt>
                <c:pt idx="4001">
                  <c:v>#N/A</c:v>
                </c:pt>
                <c:pt idx="4002">
                  <c:v>#N/A</c:v>
                </c:pt>
                <c:pt idx="4003">
                  <c:v>#N/A</c:v>
                </c:pt>
                <c:pt idx="4004">
                  <c:v>#N/A</c:v>
                </c:pt>
                <c:pt idx="4005">
                  <c:v>#N/A</c:v>
                </c:pt>
                <c:pt idx="4006">
                  <c:v>#N/A</c:v>
                </c:pt>
                <c:pt idx="4007">
                  <c:v>#N/A</c:v>
                </c:pt>
                <c:pt idx="4008">
                  <c:v>#N/A</c:v>
                </c:pt>
                <c:pt idx="4009">
                  <c:v>#N/A</c:v>
                </c:pt>
                <c:pt idx="4010">
                  <c:v>#N/A</c:v>
                </c:pt>
                <c:pt idx="4011">
                  <c:v>#N/A</c:v>
                </c:pt>
                <c:pt idx="4012">
                  <c:v>#N/A</c:v>
                </c:pt>
                <c:pt idx="4013">
                  <c:v>#N/A</c:v>
                </c:pt>
                <c:pt idx="4014">
                  <c:v>#N/A</c:v>
                </c:pt>
                <c:pt idx="4015">
                  <c:v>#N/A</c:v>
                </c:pt>
                <c:pt idx="4016">
                  <c:v>#N/A</c:v>
                </c:pt>
                <c:pt idx="4017">
                  <c:v>#N/A</c:v>
                </c:pt>
                <c:pt idx="4018">
                  <c:v>#N/A</c:v>
                </c:pt>
                <c:pt idx="4019">
                  <c:v>#N/A</c:v>
                </c:pt>
                <c:pt idx="4020">
                  <c:v>#N/A</c:v>
                </c:pt>
                <c:pt idx="4021">
                  <c:v>#N/A</c:v>
                </c:pt>
                <c:pt idx="4022">
                  <c:v>#N/A</c:v>
                </c:pt>
                <c:pt idx="4023">
                  <c:v>#N/A</c:v>
                </c:pt>
                <c:pt idx="4024">
                  <c:v>#N/A</c:v>
                </c:pt>
                <c:pt idx="4025">
                  <c:v>#N/A</c:v>
                </c:pt>
                <c:pt idx="4026">
                  <c:v>#N/A</c:v>
                </c:pt>
                <c:pt idx="4027">
                  <c:v>#N/A</c:v>
                </c:pt>
                <c:pt idx="4028">
                  <c:v>#N/A</c:v>
                </c:pt>
                <c:pt idx="4029">
                  <c:v>#N/A</c:v>
                </c:pt>
                <c:pt idx="4030">
                  <c:v>#N/A</c:v>
                </c:pt>
                <c:pt idx="4031">
                  <c:v>#N/A</c:v>
                </c:pt>
                <c:pt idx="4032">
                  <c:v>#N/A</c:v>
                </c:pt>
                <c:pt idx="4033">
                  <c:v>#N/A</c:v>
                </c:pt>
                <c:pt idx="4034">
                  <c:v>#N/A</c:v>
                </c:pt>
                <c:pt idx="4035">
                  <c:v>#N/A</c:v>
                </c:pt>
                <c:pt idx="4036">
                  <c:v>#N/A</c:v>
                </c:pt>
                <c:pt idx="4037">
                  <c:v>#N/A</c:v>
                </c:pt>
                <c:pt idx="4038">
                  <c:v>#N/A</c:v>
                </c:pt>
                <c:pt idx="4039">
                  <c:v>#N/A</c:v>
                </c:pt>
                <c:pt idx="4040">
                  <c:v>#N/A</c:v>
                </c:pt>
                <c:pt idx="4041">
                  <c:v>#N/A</c:v>
                </c:pt>
                <c:pt idx="4042">
                  <c:v>#N/A</c:v>
                </c:pt>
                <c:pt idx="4043">
                  <c:v>#N/A</c:v>
                </c:pt>
                <c:pt idx="4044">
                  <c:v>#N/A</c:v>
                </c:pt>
                <c:pt idx="4045">
                  <c:v>#N/A</c:v>
                </c:pt>
                <c:pt idx="4046">
                  <c:v>#N/A</c:v>
                </c:pt>
                <c:pt idx="4047">
                  <c:v>#N/A</c:v>
                </c:pt>
                <c:pt idx="4048">
                  <c:v>#N/A</c:v>
                </c:pt>
                <c:pt idx="4049">
                  <c:v>#N/A</c:v>
                </c:pt>
                <c:pt idx="4050">
                  <c:v>#N/A</c:v>
                </c:pt>
                <c:pt idx="4051">
                  <c:v>#N/A</c:v>
                </c:pt>
                <c:pt idx="4052">
                  <c:v>#N/A</c:v>
                </c:pt>
                <c:pt idx="4053">
                  <c:v>#N/A</c:v>
                </c:pt>
                <c:pt idx="4054">
                  <c:v>#N/A</c:v>
                </c:pt>
                <c:pt idx="4055">
                  <c:v>#N/A</c:v>
                </c:pt>
                <c:pt idx="4056">
                  <c:v>#N/A</c:v>
                </c:pt>
                <c:pt idx="4057">
                  <c:v>#N/A</c:v>
                </c:pt>
                <c:pt idx="4058">
                  <c:v>#N/A</c:v>
                </c:pt>
                <c:pt idx="4059">
                  <c:v>#N/A</c:v>
                </c:pt>
                <c:pt idx="4060">
                  <c:v>#N/A</c:v>
                </c:pt>
                <c:pt idx="4061">
                  <c:v>#N/A</c:v>
                </c:pt>
                <c:pt idx="4062">
                  <c:v>#N/A</c:v>
                </c:pt>
                <c:pt idx="4063">
                  <c:v>#N/A</c:v>
                </c:pt>
                <c:pt idx="4064">
                  <c:v>#N/A</c:v>
                </c:pt>
                <c:pt idx="4065">
                  <c:v>#N/A</c:v>
                </c:pt>
                <c:pt idx="4066">
                  <c:v>#N/A</c:v>
                </c:pt>
                <c:pt idx="4067">
                  <c:v>#N/A</c:v>
                </c:pt>
                <c:pt idx="4068">
                  <c:v>#N/A</c:v>
                </c:pt>
                <c:pt idx="4069">
                  <c:v>#N/A</c:v>
                </c:pt>
                <c:pt idx="4070">
                  <c:v>#N/A</c:v>
                </c:pt>
                <c:pt idx="4071">
                  <c:v>#N/A</c:v>
                </c:pt>
                <c:pt idx="4072">
                  <c:v>#N/A</c:v>
                </c:pt>
                <c:pt idx="4073">
                  <c:v>#N/A</c:v>
                </c:pt>
                <c:pt idx="4074">
                  <c:v>#N/A</c:v>
                </c:pt>
                <c:pt idx="4075">
                  <c:v>#N/A</c:v>
                </c:pt>
                <c:pt idx="4076">
                  <c:v>#N/A</c:v>
                </c:pt>
                <c:pt idx="4077">
                  <c:v>#N/A</c:v>
                </c:pt>
                <c:pt idx="4078">
                  <c:v>#N/A</c:v>
                </c:pt>
                <c:pt idx="4079">
                  <c:v>#N/A</c:v>
                </c:pt>
                <c:pt idx="4080">
                  <c:v>#N/A</c:v>
                </c:pt>
                <c:pt idx="4081">
                  <c:v>#N/A</c:v>
                </c:pt>
                <c:pt idx="4082">
                  <c:v>#N/A</c:v>
                </c:pt>
                <c:pt idx="4083">
                  <c:v>#N/A</c:v>
                </c:pt>
                <c:pt idx="4084">
                  <c:v>#N/A</c:v>
                </c:pt>
                <c:pt idx="4085">
                  <c:v>#N/A</c:v>
                </c:pt>
                <c:pt idx="4086">
                  <c:v>#N/A</c:v>
                </c:pt>
                <c:pt idx="4087">
                  <c:v>#N/A</c:v>
                </c:pt>
                <c:pt idx="4088">
                  <c:v>#N/A</c:v>
                </c:pt>
                <c:pt idx="4089">
                  <c:v>#N/A</c:v>
                </c:pt>
                <c:pt idx="4090">
                  <c:v>#N/A</c:v>
                </c:pt>
                <c:pt idx="4091">
                  <c:v>#N/A</c:v>
                </c:pt>
                <c:pt idx="4092">
                  <c:v>#N/A</c:v>
                </c:pt>
                <c:pt idx="4093">
                  <c:v>#N/A</c:v>
                </c:pt>
                <c:pt idx="4094">
                  <c:v>#N/A</c:v>
                </c:pt>
                <c:pt idx="4095">
                  <c:v>#N/A</c:v>
                </c:pt>
                <c:pt idx="4096">
                  <c:v>#N/A</c:v>
                </c:pt>
                <c:pt idx="4097">
                  <c:v>#N/A</c:v>
                </c:pt>
                <c:pt idx="4098">
                  <c:v>#N/A</c:v>
                </c:pt>
                <c:pt idx="4099">
                  <c:v>#N/A</c:v>
                </c:pt>
                <c:pt idx="4100">
                  <c:v>#N/A</c:v>
                </c:pt>
                <c:pt idx="4101">
                  <c:v>#N/A</c:v>
                </c:pt>
                <c:pt idx="4102">
                  <c:v>#N/A</c:v>
                </c:pt>
                <c:pt idx="4103">
                  <c:v>#N/A</c:v>
                </c:pt>
                <c:pt idx="4104">
                  <c:v>#N/A</c:v>
                </c:pt>
                <c:pt idx="4105">
                  <c:v>#N/A</c:v>
                </c:pt>
                <c:pt idx="4106">
                  <c:v>#N/A</c:v>
                </c:pt>
                <c:pt idx="4107">
                  <c:v>#N/A</c:v>
                </c:pt>
                <c:pt idx="4108">
                  <c:v>#N/A</c:v>
                </c:pt>
                <c:pt idx="4109">
                  <c:v>#N/A</c:v>
                </c:pt>
                <c:pt idx="4110">
                  <c:v>#N/A</c:v>
                </c:pt>
                <c:pt idx="4111">
                  <c:v>#N/A</c:v>
                </c:pt>
                <c:pt idx="4112">
                  <c:v>#N/A</c:v>
                </c:pt>
                <c:pt idx="4113">
                  <c:v>#N/A</c:v>
                </c:pt>
                <c:pt idx="4114">
                  <c:v>#N/A</c:v>
                </c:pt>
                <c:pt idx="4115">
                  <c:v>#N/A</c:v>
                </c:pt>
                <c:pt idx="4116">
                  <c:v>#N/A</c:v>
                </c:pt>
                <c:pt idx="4117">
                  <c:v>#N/A</c:v>
                </c:pt>
                <c:pt idx="4118">
                  <c:v>#N/A</c:v>
                </c:pt>
                <c:pt idx="4119">
                  <c:v>#N/A</c:v>
                </c:pt>
                <c:pt idx="4120">
                  <c:v>#N/A</c:v>
                </c:pt>
                <c:pt idx="4121">
                  <c:v>#N/A</c:v>
                </c:pt>
                <c:pt idx="4122">
                  <c:v>#N/A</c:v>
                </c:pt>
                <c:pt idx="4123">
                  <c:v>#N/A</c:v>
                </c:pt>
                <c:pt idx="4124">
                  <c:v>#N/A</c:v>
                </c:pt>
                <c:pt idx="4125">
                  <c:v>#N/A</c:v>
                </c:pt>
                <c:pt idx="4126">
                  <c:v>#N/A</c:v>
                </c:pt>
                <c:pt idx="4127">
                  <c:v>#N/A</c:v>
                </c:pt>
                <c:pt idx="4128">
                  <c:v>#N/A</c:v>
                </c:pt>
                <c:pt idx="4129">
                  <c:v>#N/A</c:v>
                </c:pt>
                <c:pt idx="4130">
                  <c:v>#N/A</c:v>
                </c:pt>
                <c:pt idx="4131">
                  <c:v>#N/A</c:v>
                </c:pt>
                <c:pt idx="4132">
                  <c:v>#N/A</c:v>
                </c:pt>
                <c:pt idx="4133">
                  <c:v>#N/A</c:v>
                </c:pt>
                <c:pt idx="4134">
                  <c:v>#N/A</c:v>
                </c:pt>
                <c:pt idx="4135">
                  <c:v>#N/A</c:v>
                </c:pt>
                <c:pt idx="4136">
                  <c:v>#N/A</c:v>
                </c:pt>
                <c:pt idx="4137">
                  <c:v>#N/A</c:v>
                </c:pt>
                <c:pt idx="4138">
                  <c:v>#N/A</c:v>
                </c:pt>
                <c:pt idx="4139">
                  <c:v>#N/A</c:v>
                </c:pt>
                <c:pt idx="4140">
                  <c:v>#N/A</c:v>
                </c:pt>
                <c:pt idx="4141">
                  <c:v>#N/A</c:v>
                </c:pt>
                <c:pt idx="4142">
                  <c:v>#N/A</c:v>
                </c:pt>
                <c:pt idx="4143">
                  <c:v>#N/A</c:v>
                </c:pt>
                <c:pt idx="4144">
                  <c:v>#N/A</c:v>
                </c:pt>
                <c:pt idx="4145">
                  <c:v>#N/A</c:v>
                </c:pt>
                <c:pt idx="4146">
                  <c:v>#N/A</c:v>
                </c:pt>
                <c:pt idx="4147">
                  <c:v>#N/A</c:v>
                </c:pt>
                <c:pt idx="4148">
                  <c:v>#N/A</c:v>
                </c:pt>
                <c:pt idx="4149">
                  <c:v>#N/A</c:v>
                </c:pt>
                <c:pt idx="4150">
                  <c:v>#N/A</c:v>
                </c:pt>
                <c:pt idx="4151">
                  <c:v>#N/A</c:v>
                </c:pt>
                <c:pt idx="4152">
                  <c:v>#N/A</c:v>
                </c:pt>
                <c:pt idx="4153">
                  <c:v>#N/A</c:v>
                </c:pt>
                <c:pt idx="4154">
                  <c:v>#N/A</c:v>
                </c:pt>
                <c:pt idx="4155">
                  <c:v>#N/A</c:v>
                </c:pt>
                <c:pt idx="4156">
                  <c:v>#N/A</c:v>
                </c:pt>
                <c:pt idx="4157">
                  <c:v>#N/A</c:v>
                </c:pt>
                <c:pt idx="4158">
                  <c:v>#N/A</c:v>
                </c:pt>
                <c:pt idx="4159">
                  <c:v>#N/A</c:v>
                </c:pt>
                <c:pt idx="4160">
                  <c:v>#N/A</c:v>
                </c:pt>
                <c:pt idx="4161">
                  <c:v>#N/A</c:v>
                </c:pt>
                <c:pt idx="4162">
                  <c:v>#N/A</c:v>
                </c:pt>
                <c:pt idx="4163">
                  <c:v>#N/A</c:v>
                </c:pt>
                <c:pt idx="4164">
                  <c:v>#N/A</c:v>
                </c:pt>
                <c:pt idx="4165">
                  <c:v>#N/A</c:v>
                </c:pt>
                <c:pt idx="4166">
                  <c:v>#N/A</c:v>
                </c:pt>
                <c:pt idx="4167">
                  <c:v>#N/A</c:v>
                </c:pt>
                <c:pt idx="4168">
                  <c:v>#N/A</c:v>
                </c:pt>
                <c:pt idx="4169">
                  <c:v>#N/A</c:v>
                </c:pt>
                <c:pt idx="4170">
                  <c:v>#N/A</c:v>
                </c:pt>
                <c:pt idx="4171">
                  <c:v>#N/A</c:v>
                </c:pt>
                <c:pt idx="4172">
                  <c:v>#N/A</c:v>
                </c:pt>
                <c:pt idx="4173">
                  <c:v>#N/A</c:v>
                </c:pt>
                <c:pt idx="4174">
                  <c:v>#N/A</c:v>
                </c:pt>
                <c:pt idx="4175">
                  <c:v>#N/A</c:v>
                </c:pt>
                <c:pt idx="4176">
                  <c:v>#N/A</c:v>
                </c:pt>
                <c:pt idx="4177">
                  <c:v>#N/A</c:v>
                </c:pt>
                <c:pt idx="4178">
                  <c:v>#N/A</c:v>
                </c:pt>
                <c:pt idx="4179">
                  <c:v>#N/A</c:v>
                </c:pt>
                <c:pt idx="4180">
                  <c:v>#N/A</c:v>
                </c:pt>
                <c:pt idx="4181">
                  <c:v>#N/A</c:v>
                </c:pt>
                <c:pt idx="4182">
                  <c:v>#N/A</c:v>
                </c:pt>
                <c:pt idx="4183">
                  <c:v>#N/A</c:v>
                </c:pt>
                <c:pt idx="4184">
                  <c:v>#N/A</c:v>
                </c:pt>
                <c:pt idx="4185">
                  <c:v>#N/A</c:v>
                </c:pt>
                <c:pt idx="4186">
                  <c:v>#N/A</c:v>
                </c:pt>
                <c:pt idx="4187">
                  <c:v>#N/A</c:v>
                </c:pt>
                <c:pt idx="4188">
                  <c:v>#N/A</c:v>
                </c:pt>
                <c:pt idx="4189">
                  <c:v>#N/A</c:v>
                </c:pt>
                <c:pt idx="4190">
                  <c:v>#N/A</c:v>
                </c:pt>
                <c:pt idx="4191">
                  <c:v>#N/A</c:v>
                </c:pt>
                <c:pt idx="4192">
                  <c:v>#N/A</c:v>
                </c:pt>
                <c:pt idx="4193">
                  <c:v>#N/A</c:v>
                </c:pt>
                <c:pt idx="4194">
                  <c:v>#N/A</c:v>
                </c:pt>
                <c:pt idx="4195">
                  <c:v>#N/A</c:v>
                </c:pt>
                <c:pt idx="4196">
                  <c:v>#N/A</c:v>
                </c:pt>
                <c:pt idx="4197">
                  <c:v>#N/A</c:v>
                </c:pt>
                <c:pt idx="4198">
                  <c:v>#N/A</c:v>
                </c:pt>
                <c:pt idx="4199">
                  <c:v>#N/A</c:v>
                </c:pt>
                <c:pt idx="4200">
                  <c:v>#N/A</c:v>
                </c:pt>
                <c:pt idx="4201">
                  <c:v>#N/A</c:v>
                </c:pt>
                <c:pt idx="4202">
                  <c:v>#N/A</c:v>
                </c:pt>
                <c:pt idx="4203">
                  <c:v>#N/A</c:v>
                </c:pt>
                <c:pt idx="4204">
                  <c:v>#N/A</c:v>
                </c:pt>
                <c:pt idx="4205">
                  <c:v>#N/A</c:v>
                </c:pt>
                <c:pt idx="4206">
                  <c:v>#N/A</c:v>
                </c:pt>
                <c:pt idx="4207">
                  <c:v>#N/A</c:v>
                </c:pt>
                <c:pt idx="4208">
                  <c:v>#N/A</c:v>
                </c:pt>
                <c:pt idx="4209">
                  <c:v>#N/A</c:v>
                </c:pt>
                <c:pt idx="4210">
                  <c:v>#N/A</c:v>
                </c:pt>
                <c:pt idx="4211">
                  <c:v>#N/A</c:v>
                </c:pt>
                <c:pt idx="4212">
                  <c:v>#N/A</c:v>
                </c:pt>
                <c:pt idx="4213">
                  <c:v>#N/A</c:v>
                </c:pt>
                <c:pt idx="4214">
                  <c:v>#N/A</c:v>
                </c:pt>
                <c:pt idx="4215">
                  <c:v>#N/A</c:v>
                </c:pt>
                <c:pt idx="4216">
                  <c:v>#N/A</c:v>
                </c:pt>
                <c:pt idx="4217">
                  <c:v>#N/A</c:v>
                </c:pt>
                <c:pt idx="4218">
                  <c:v>#N/A</c:v>
                </c:pt>
                <c:pt idx="4219">
                  <c:v>#N/A</c:v>
                </c:pt>
                <c:pt idx="4220">
                  <c:v>#N/A</c:v>
                </c:pt>
                <c:pt idx="4221">
                  <c:v>#N/A</c:v>
                </c:pt>
                <c:pt idx="4222">
                  <c:v>#N/A</c:v>
                </c:pt>
                <c:pt idx="4223">
                  <c:v>#N/A</c:v>
                </c:pt>
                <c:pt idx="4224">
                  <c:v>#N/A</c:v>
                </c:pt>
                <c:pt idx="4225">
                  <c:v>#N/A</c:v>
                </c:pt>
                <c:pt idx="4226">
                  <c:v>#N/A</c:v>
                </c:pt>
                <c:pt idx="4227">
                  <c:v>#N/A</c:v>
                </c:pt>
                <c:pt idx="4228">
                  <c:v>#N/A</c:v>
                </c:pt>
                <c:pt idx="4229">
                  <c:v>#N/A</c:v>
                </c:pt>
                <c:pt idx="4230">
                  <c:v>#N/A</c:v>
                </c:pt>
                <c:pt idx="4231">
                  <c:v>#N/A</c:v>
                </c:pt>
                <c:pt idx="4232">
                  <c:v>#N/A</c:v>
                </c:pt>
                <c:pt idx="4233">
                  <c:v>#N/A</c:v>
                </c:pt>
                <c:pt idx="4234">
                  <c:v>#N/A</c:v>
                </c:pt>
                <c:pt idx="4235">
                  <c:v>#N/A</c:v>
                </c:pt>
                <c:pt idx="4236">
                  <c:v>#N/A</c:v>
                </c:pt>
                <c:pt idx="4237">
                  <c:v>#N/A</c:v>
                </c:pt>
                <c:pt idx="4238">
                  <c:v>#N/A</c:v>
                </c:pt>
                <c:pt idx="4239">
                  <c:v>#N/A</c:v>
                </c:pt>
                <c:pt idx="4240">
                  <c:v>#N/A</c:v>
                </c:pt>
                <c:pt idx="4241">
                  <c:v>#N/A</c:v>
                </c:pt>
                <c:pt idx="4242">
                  <c:v>#N/A</c:v>
                </c:pt>
                <c:pt idx="4243">
                  <c:v>#N/A</c:v>
                </c:pt>
                <c:pt idx="4244">
                  <c:v>#N/A</c:v>
                </c:pt>
                <c:pt idx="4245">
                  <c:v>#N/A</c:v>
                </c:pt>
                <c:pt idx="4246">
                  <c:v>#N/A</c:v>
                </c:pt>
                <c:pt idx="4247">
                  <c:v>#N/A</c:v>
                </c:pt>
                <c:pt idx="4248">
                  <c:v>#N/A</c:v>
                </c:pt>
                <c:pt idx="4249">
                  <c:v>#N/A</c:v>
                </c:pt>
                <c:pt idx="4250">
                  <c:v>#N/A</c:v>
                </c:pt>
                <c:pt idx="4251">
                  <c:v>#N/A</c:v>
                </c:pt>
                <c:pt idx="4252">
                  <c:v>#N/A</c:v>
                </c:pt>
                <c:pt idx="4253">
                  <c:v>#N/A</c:v>
                </c:pt>
                <c:pt idx="4254">
                  <c:v>#N/A</c:v>
                </c:pt>
                <c:pt idx="4255">
                  <c:v>#N/A</c:v>
                </c:pt>
                <c:pt idx="4256">
                  <c:v>#N/A</c:v>
                </c:pt>
                <c:pt idx="4257">
                  <c:v>#N/A</c:v>
                </c:pt>
                <c:pt idx="4258">
                  <c:v>#N/A</c:v>
                </c:pt>
                <c:pt idx="4259">
                  <c:v>#N/A</c:v>
                </c:pt>
                <c:pt idx="4260">
                  <c:v>#N/A</c:v>
                </c:pt>
                <c:pt idx="4261">
                  <c:v>#N/A</c:v>
                </c:pt>
                <c:pt idx="4262">
                  <c:v>#N/A</c:v>
                </c:pt>
                <c:pt idx="4263">
                  <c:v>#N/A</c:v>
                </c:pt>
                <c:pt idx="4264">
                  <c:v>#N/A</c:v>
                </c:pt>
                <c:pt idx="4265">
                  <c:v>#N/A</c:v>
                </c:pt>
                <c:pt idx="4266">
                  <c:v>#N/A</c:v>
                </c:pt>
                <c:pt idx="4267">
                  <c:v>#N/A</c:v>
                </c:pt>
                <c:pt idx="4268">
                  <c:v>#N/A</c:v>
                </c:pt>
                <c:pt idx="4269">
                  <c:v>#N/A</c:v>
                </c:pt>
                <c:pt idx="4270">
                  <c:v>#N/A</c:v>
                </c:pt>
                <c:pt idx="4271">
                  <c:v>#N/A</c:v>
                </c:pt>
                <c:pt idx="4272">
                  <c:v>#N/A</c:v>
                </c:pt>
                <c:pt idx="4273">
                  <c:v>#N/A</c:v>
                </c:pt>
                <c:pt idx="4274">
                  <c:v>#N/A</c:v>
                </c:pt>
                <c:pt idx="4275">
                  <c:v>#N/A</c:v>
                </c:pt>
                <c:pt idx="4276">
                  <c:v>#N/A</c:v>
                </c:pt>
                <c:pt idx="4277">
                  <c:v>#N/A</c:v>
                </c:pt>
                <c:pt idx="4278">
                  <c:v>#N/A</c:v>
                </c:pt>
                <c:pt idx="4279">
                  <c:v>#N/A</c:v>
                </c:pt>
                <c:pt idx="4280">
                  <c:v>#N/A</c:v>
                </c:pt>
                <c:pt idx="4281">
                  <c:v>#N/A</c:v>
                </c:pt>
                <c:pt idx="4282">
                  <c:v>#N/A</c:v>
                </c:pt>
                <c:pt idx="4283">
                  <c:v>#N/A</c:v>
                </c:pt>
                <c:pt idx="4284">
                  <c:v>#N/A</c:v>
                </c:pt>
                <c:pt idx="4285">
                  <c:v>#N/A</c:v>
                </c:pt>
                <c:pt idx="4286">
                  <c:v>#N/A</c:v>
                </c:pt>
                <c:pt idx="4287">
                  <c:v>#N/A</c:v>
                </c:pt>
                <c:pt idx="4288">
                  <c:v>#N/A</c:v>
                </c:pt>
                <c:pt idx="4289">
                  <c:v>#N/A</c:v>
                </c:pt>
                <c:pt idx="4290">
                  <c:v>#N/A</c:v>
                </c:pt>
                <c:pt idx="4291">
                  <c:v>#N/A</c:v>
                </c:pt>
                <c:pt idx="4292">
                  <c:v>#N/A</c:v>
                </c:pt>
                <c:pt idx="4293">
                  <c:v>#N/A</c:v>
                </c:pt>
                <c:pt idx="4294">
                  <c:v>#N/A</c:v>
                </c:pt>
                <c:pt idx="4295">
                  <c:v>#N/A</c:v>
                </c:pt>
                <c:pt idx="4296">
                  <c:v>#N/A</c:v>
                </c:pt>
                <c:pt idx="4297">
                  <c:v>#N/A</c:v>
                </c:pt>
                <c:pt idx="4298">
                  <c:v>#N/A</c:v>
                </c:pt>
                <c:pt idx="4299">
                  <c:v>#N/A</c:v>
                </c:pt>
                <c:pt idx="4300">
                  <c:v>#N/A</c:v>
                </c:pt>
                <c:pt idx="4301">
                  <c:v>#N/A</c:v>
                </c:pt>
                <c:pt idx="4302">
                  <c:v>#N/A</c:v>
                </c:pt>
                <c:pt idx="4303">
                  <c:v>#N/A</c:v>
                </c:pt>
                <c:pt idx="4304">
                  <c:v>#N/A</c:v>
                </c:pt>
                <c:pt idx="4305">
                  <c:v>#N/A</c:v>
                </c:pt>
                <c:pt idx="4306">
                  <c:v>#N/A</c:v>
                </c:pt>
                <c:pt idx="4307">
                  <c:v>#N/A</c:v>
                </c:pt>
                <c:pt idx="4308">
                  <c:v>#N/A</c:v>
                </c:pt>
                <c:pt idx="4309">
                  <c:v>#N/A</c:v>
                </c:pt>
                <c:pt idx="4310">
                  <c:v>#N/A</c:v>
                </c:pt>
                <c:pt idx="4311">
                  <c:v>#N/A</c:v>
                </c:pt>
                <c:pt idx="4312">
                  <c:v>#N/A</c:v>
                </c:pt>
                <c:pt idx="4313">
                  <c:v>#N/A</c:v>
                </c:pt>
                <c:pt idx="4314">
                  <c:v>#N/A</c:v>
                </c:pt>
                <c:pt idx="4315">
                  <c:v>#N/A</c:v>
                </c:pt>
                <c:pt idx="4316">
                  <c:v>#N/A</c:v>
                </c:pt>
                <c:pt idx="4317">
                  <c:v>#N/A</c:v>
                </c:pt>
                <c:pt idx="4318">
                  <c:v>#N/A</c:v>
                </c:pt>
                <c:pt idx="4319">
                  <c:v>#N/A</c:v>
                </c:pt>
                <c:pt idx="4320">
                  <c:v>#N/A</c:v>
                </c:pt>
                <c:pt idx="4321">
                  <c:v>#N/A</c:v>
                </c:pt>
                <c:pt idx="4322">
                  <c:v>#N/A</c:v>
                </c:pt>
                <c:pt idx="4323">
                  <c:v>#N/A</c:v>
                </c:pt>
                <c:pt idx="4324">
                  <c:v>#N/A</c:v>
                </c:pt>
                <c:pt idx="4325">
                  <c:v>#N/A</c:v>
                </c:pt>
                <c:pt idx="4326">
                  <c:v>#N/A</c:v>
                </c:pt>
                <c:pt idx="4327">
                  <c:v>#N/A</c:v>
                </c:pt>
                <c:pt idx="4328">
                  <c:v>#N/A</c:v>
                </c:pt>
                <c:pt idx="4329">
                  <c:v>#N/A</c:v>
                </c:pt>
                <c:pt idx="4330">
                  <c:v>#N/A</c:v>
                </c:pt>
                <c:pt idx="4331">
                  <c:v>#N/A</c:v>
                </c:pt>
                <c:pt idx="4332">
                  <c:v>#N/A</c:v>
                </c:pt>
                <c:pt idx="4333">
                  <c:v>#N/A</c:v>
                </c:pt>
                <c:pt idx="4334">
                  <c:v>#N/A</c:v>
                </c:pt>
                <c:pt idx="4335">
                  <c:v>#N/A</c:v>
                </c:pt>
                <c:pt idx="4336">
                  <c:v>#N/A</c:v>
                </c:pt>
                <c:pt idx="4337">
                  <c:v>#N/A</c:v>
                </c:pt>
                <c:pt idx="4338">
                  <c:v>#N/A</c:v>
                </c:pt>
                <c:pt idx="4339">
                  <c:v>#N/A</c:v>
                </c:pt>
                <c:pt idx="4340">
                  <c:v>#N/A</c:v>
                </c:pt>
                <c:pt idx="4341">
                  <c:v>#N/A</c:v>
                </c:pt>
                <c:pt idx="4342">
                  <c:v>#N/A</c:v>
                </c:pt>
                <c:pt idx="4343">
                  <c:v>#N/A</c:v>
                </c:pt>
                <c:pt idx="4344">
                  <c:v>#N/A</c:v>
                </c:pt>
                <c:pt idx="4345">
                  <c:v>#N/A</c:v>
                </c:pt>
                <c:pt idx="4346">
                  <c:v>#N/A</c:v>
                </c:pt>
                <c:pt idx="4347">
                  <c:v>#N/A</c:v>
                </c:pt>
                <c:pt idx="4348">
                  <c:v>#N/A</c:v>
                </c:pt>
                <c:pt idx="4349">
                  <c:v>#N/A</c:v>
                </c:pt>
                <c:pt idx="4350">
                  <c:v>#N/A</c:v>
                </c:pt>
                <c:pt idx="4351">
                  <c:v>#N/A</c:v>
                </c:pt>
                <c:pt idx="4352">
                  <c:v>#N/A</c:v>
                </c:pt>
                <c:pt idx="4353">
                  <c:v>#N/A</c:v>
                </c:pt>
                <c:pt idx="4354">
                  <c:v>#N/A</c:v>
                </c:pt>
                <c:pt idx="4355">
                  <c:v>#N/A</c:v>
                </c:pt>
                <c:pt idx="4356">
                  <c:v>#N/A</c:v>
                </c:pt>
                <c:pt idx="4357">
                  <c:v>#N/A</c:v>
                </c:pt>
                <c:pt idx="4358">
                  <c:v>#N/A</c:v>
                </c:pt>
                <c:pt idx="4359">
                  <c:v>#N/A</c:v>
                </c:pt>
                <c:pt idx="4360">
                  <c:v>#N/A</c:v>
                </c:pt>
                <c:pt idx="4361">
                  <c:v>#N/A</c:v>
                </c:pt>
                <c:pt idx="4362">
                  <c:v>#N/A</c:v>
                </c:pt>
                <c:pt idx="4363">
                  <c:v>#N/A</c:v>
                </c:pt>
                <c:pt idx="4364">
                  <c:v>#N/A</c:v>
                </c:pt>
                <c:pt idx="4365">
                  <c:v>#N/A</c:v>
                </c:pt>
                <c:pt idx="4366">
                  <c:v>#N/A</c:v>
                </c:pt>
                <c:pt idx="4367">
                  <c:v>#N/A</c:v>
                </c:pt>
                <c:pt idx="4368">
                  <c:v>#N/A</c:v>
                </c:pt>
                <c:pt idx="4369">
                  <c:v>#N/A</c:v>
                </c:pt>
                <c:pt idx="4370">
                  <c:v>#N/A</c:v>
                </c:pt>
                <c:pt idx="4371">
                  <c:v>#N/A</c:v>
                </c:pt>
                <c:pt idx="4372">
                  <c:v>#N/A</c:v>
                </c:pt>
                <c:pt idx="4373">
                  <c:v>#N/A</c:v>
                </c:pt>
                <c:pt idx="4374">
                  <c:v>#N/A</c:v>
                </c:pt>
                <c:pt idx="4375">
                  <c:v>#N/A</c:v>
                </c:pt>
                <c:pt idx="4376">
                  <c:v>#N/A</c:v>
                </c:pt>
                <c:pt idx="4377">
                  <c:v>#N/A</c:v>
                </c:pt>
                <c:pt idx="4378">
                  <c:v>#N/A</c:v>
                </c:pt>
                <c:pt idx="4379">
                  <c:v>#N/A</c:v>
                </c:pt>
                <c:pt idx="4380">
                  <c:v>#N/A</c:v>
                </c:pt>
                <c:pt idx="4381">
                  <c:v>#N/A</c:v>
                </c:pt>
                <c:pt idx="4382">
                  <c:v>#N/A</c:v>
                </c:pt>
                <c:pt idx="4383">
                  <c:v>#N/A</c:v>
                </c:pt>
                <c:pt idx="4384">
                  <c:v>#N/A</c:v>
                </c:pt>
                <c:pt idx="4385">
                  <c:v>#N/A</c:v>
                </c:pt>
                <c:pt idx="4386">
                  <c:v>#N/A</c:v>
                </c:pt>
                <c:pt idx="4387">
                  <c:v>#N/A</c:v>
                </c:pt>
                <c:pt idx="4388">
                  <c:v>#N/A</c:v>
                </c:pt>
                <c:pt idx="4389">
                  <c:v>#N/A</c:v>
                </c:pt>
                <c:pt idx="4390">
                  <c:v>#N/A</c:v>
                </c:pt>
                <c:pt idx="4391">
                  <c:v>#N/A</c:v>
                </c:pt>
                <c:pt idx="4392">
                  <c:v>#N/A</c:v>
                </c:pt>
                <c:pt idx="4393">
                  <c:v>#N/A</c:v>
                </c:pt>
                <c:pt idx="4394">
                  <c:v>#N/A</c:v>
                </c:pt>
                <c:pt idx="4395">
                  <c:v>#N/A</c:v>
                </c:pt>
                <c:pt idx="4396">
                  <c:v>#N/A</c:v>
                </c:pt>
                <c:pt idx="4397">
                  <c:v>#N/A</c:v>
                </c:pt>
                <c:pt idx="4398">
                  <c:v>#N/A</c:v>
                </c:pt>
                <c:pt idx="4399">
                  <c:v>#N/A</c:v>
                </c:pt>
                <c:pt idx="4400">
                  <c:v>#N/A</c:v>
                </c:pt>
                <c:pt idx="4401">
                  <c:v>#N/A</c:v>
                </c:pt>
                <c:pt idx="4402">
                  <c:v>#N/A</c:v>
                </c:pt>
                <c:pt idx="4403">
                  <c:v>#N/A</c:v>
                </c:pt>
                <c:pt idx="4404">
                  <c:v>#N/A</c:v>
                </c:pt>
                <c:pt idx="4405">
                  <c:v>#N/A</c:v>
                </c:pt>
                <c:pt idx="4406">
                  <c:v>#N/A</c:v>
                </c:pt>
                <c:pt idx="4407">
                  <c:v>#N/A</c:v>
                </c:pt>
                <c:pt idx="4408">
                  <c:v>#N/A</c:v>
                </c:pt>
                <c:pt idx="4409">
                  <c:v>#N/A</c:v>
                </c:pt>
                <c:pt idx="4410">
                  <c:v>#N/A</c:v>
                </c:pt>
                <c:pt idx="4411">
                  <c:v>#N/A</c:v>
                </c:pt>
                <c:pt idx="4412">
                  <c:v>#N/A</c:v>
                </c:pt>
                <c:pt idx="4413">
                  <c:v>#N/A</c:v>
                </c:pt>
                <c:pt idx="4414">
                  <c:v>#N/A</c:v>
                </c:pt>
                <c:pt idx="4415">
                  <c:v>#N/A</c:v>
                </c:pt>
                <c:pt idx="4416">
                  <c:v>#N/A</c:v>
                </c:pt>
                <c:pt idx="4417">
                  <c:v>#N/A</c:v>
                </c:pt>
                <c:pt idx="4418">
                  <c:v>#N/A</c:v>
                </c:pt>
                <c:pt idx="4419">
                  <c:v>#N/A</c:v>
                </c:pt>
                <c:pt idx="4420">
                  <c:v>#N/A</c:v>
                </c:pt>
                <c:pt idx="4421">
                  <c:v>#N/A</c:v>
                </c:pt>
                <c:pt idx="4422">
                  <c:v>#N/A</c:v>
                </c:pt>
                <c:pt idx="4423">
                  <c:v>#N/A</c:v>
                </c:pt>
                <c:pt idx="4424">
                  <c:v>#N/A</c:v>
                </c:pt>
                <c:pt idx="4425">
                  <c:v>#N/A</c:v>
                </c:pt>
                <c:pt idx="4426">
                  <c:v>#N/A</c:v>
                </c:pt>
                <c:pt idx="4427">
                  <c:v>#N/A</c:v>
                </c:pt>
                <c:pt idx="4428">
                  <c:v>#N/A</c:v>
                </c:pt>
                <c:pt idx="4429">
                  <c:v>#N/A</c:v>
                </c:pt>
                <c:pt idx="4430">
                  <c:v>#N/A</c:v>
                </c:pt>
                <c:pt idx="4431">
                  <c:v>#N/A</c:v>
                </c:pt>
                <c:pt idx="4432">
                  <c:v>#N/A</c:v>
                </c:pt>
                <c:pt idx="4433">
                  <c:v>#N/A</c:v>
                </c:pt>
                <c:pt idx="4434">
                  <c:v>#N/A</c:v>
                </c:pt>
                <c:pt idx="4435">
                  <c:v>#N/A</c:v>
                </c:pt>
                <c:pt idx="4436">
                  <c:v>#N/A</c:v>
                </c:pt>
                <c:pt idx="4437">
                  <c:v>#N/A</c:v>
                </c:pt>
                <c:pt idx="4438">
                  <c:v>#N/A</c:v>
                </c:pt>
                <c:pt idx="4439">
                  <c:v>#N/A</c:v>
                </c:pt>
                <c:pt idx="4440">
                  <c:v>#N/A</c:v>
                </c:pt>
                <c:pt idx="4441">
                  <c:v>#N/A</c:v>
                </c:pt>
                <c:pt idx="4442">
                  <c:v>#N/A</c:v>
                </c:pt>
                <c:pt idx="4443">
                  <c:v>#N/A</c:v>
                </c:pt>
                <c:pt idx="4444">
                  <c:v>#N/A</c:v>
                </c:pt>
                <c:pt idx="4445">
                  <c:v>#N/A</c:v>
                </c:pt>
                <c:pt idx="4446">
                  <c:v>#N/A</c:v>
                </c:pt>
                <c:pt idx="4447">
                  <c:v>#N/A</c:v>
                </c:pt>
                <c:pt idx="4448">
                  <c:v>#N/A</c:v>
                </c:pt>
                <c:pt idx="4449">
                  <c:v>#N/A</c:v>
                </c:pt>
                <c:pt idx="4450">
                  <c:v>#N/A</c:v>
                </c:pt>
                <c:pt idx="4451">
                  <c:v>#N/A</c:v>
                </c:pt>
                <c:pt idx="4452">
                  <c:v>#N/A</c:v>
                </c:pt>
                <c:pt idx="4453">
                  <c:v>#N/A</c:v>
                </c:pt>
                <c:pt idx="4454">
                  <c:v>#N/A</c:v>
                </c:pt>
                <c:pt idx="4455">
                  <c:v>#N/A</c:v>
                </c:pt>
                <c:pt idx="4456">
                  <c:v>#N/A</c:v>
                </c:pt>
                <c:pt idx="4457">
                  <c:v>#N/A</c:v>
                </c:pt>
                <c:pt idx="4458">
                  <c:v>#N/A</c:v>
                </c:pt>
                <c:pt idx="4459">
                  <c:v>#N/A</c:v>
                </c:pt>
                <c:pt idx="4460">
                  <c:v>#N/A</c:v>
                </c:pt>
                <c:pt idx="4461">
                  <c:v>#N/A</c:v>
                </c:pt>
                <c:pt idx="4462">
                  <c:v>#N/A</c:v>
                </c:pt>
                <c:pt idx="4463">
                  <c:v>#N/A</c:v>
                </c:pt>
                <c:pt idx="4464">
                  <c:v>#N/A</c:v>
                </c:pt>
                <c:pt idx="4465">
                  <c:v>#N/A</c:v>
                </c:pt>
                <c:pt idx="4466">
                  <c:v>#N/A</c:v>
                </c:pt>
                <c:pt idx="4467">
                  <c:v>#N/A</c:v>
                </c:pt>
                <c:pt idx="4468">
                  <c:v>#N/A</c:v>
                </c:pt>
                <c:pt idx="4469">
                  <c:v>#N/A</c:v>
                </c:pt>
                <c:pt idx="4470">
                  <c:v>#N/A</c:v>
                </c:pt>
                <c:pt idx="4471">
                  <c:v>#N/A</c:v>
                </c:pt>
                <c:pt idx="4472">
                  <c:v>#N/A</c:v>
                </c:pt>
                <c:pt idx="4473">
                  <c:v>#N/A</c:v>
                </c:pt>
                <c:pt idx="4474">
                  <c:v>#N/A</c:v>
                </c:pt>
                <c:pt idx="4475">
                  <c:v>#N/A</c:v>
                </c:pt>
                <c:pt idx="4476">
                  <c:v>#N/A</c:v>
                </c:pt>
                <c:pt idx="4477">
                  <c:v>#N/A</c:v>
                </c:pt>
                <c:pt idx="4478">
                  <c:v>#N/A</c:v>
                </c:pt>
                <c:pt idx="4479">
                  <c:v>#N/A</c:v>
                </c:pt>
                <c:pt idx="4480">
                  <c:v>#N/A</c:v>
                </c:pt>
                <c:pt idx="4481">
                  <c:v>#N/A</c:v>
                </c:pt>
                <c:pt idx="4482">
                  <c:v>#N/A</c:v>
                </c:pt>
                <c:pt idx="4483">
                  <c:v>#N/A</c:v>
                </c:pt>
                <c:pt idx="4484">
                  <c:v>#N/A</c:v>
                </c:pt>
                <c:pt idx="4485">
                  <c:v>#N/A</c:v>
                </c:pt>
                <c:pt idx="4486">
                  <c:v>#N/A</c:v>
                </c:pt>
                <c:pt idx="4487">
                  <c:v>#N/A</c:v>
                </c:pt>
                <c:pt idx="4488">
                  <c:v>#N/A</c:v>
                </c:pt>
                <c:pt idx="4489">
                  <c:v>#N/A</c:v>
                </c:pt>
                <c:pt idx="4490">
                  <c:v>#N/A</c:v>
                </c:pt>
                <c:pt idx="4491">
                  <c:v>#N/A</c:v>
                </c:pt>
                <c:pt idx="4492">
                  <c:v>#N/A</c:v>
                </c:pt>
                <c:pt idx="4493">
                  <c:v>#N/A</c:v>
                </c:pt>
                <c:pt idx="4494">
                  <c:v>#N/A</c:v>
                </c:pt>
                <c:pt idx="4495">
                  <c:v>#N/A</c:v>
                </c:pt>
                <c:pt idx="4496">
                  <c:v>#N/A</c:v>
                </c:pt>
                <c:pt idx="4497">
                  <c:v>#N/A</c:v>
                </c:pt>
                <c:pt idx="4498">
                  <c:v>#N/A</c:v>
                </c:pt>
                <c:pt idx="4499">
                  <c:v>#N/A</c:v>
                </c:pt>
                <c:pt idx="4500">
                  <c:v>#N/A</c:v>
                </c:pt>
                <c:pt idx="4501">
                  <c:v>#N/A</c:v>
                </c:pt>
                <c:pt idx="4502">
                  <c:v>#N/A</c:v>
                </c:pt>
                <c:pt idx="4503">
                  <c:v>#N/A</c:v>
                </c:pt>
                <c:pt idx="4504">
                  <c:v>#N/A</c:v>
                </c:pt>
                <c:pt idx="4505">
                  <c:v>#N/A</c:v>
                </c:pt>
                <c:pt idx="4506">
                  <c:v>#N/A</c:v>
                </c:pt>
                <c:pt idx="4507">
                  <c:v>#N/A</c:v>
                </c:pt>
                <c:pt idx="4508">
                  <c:v>#N/A</c:v>
                </c:pt>
                <c:pt idx="4509">
                  <c:v>#N/A</c:v>
                </c:pt>
                <c:pt idx="4510">
                  <c:v>#N/A</c:v>
                </c:pt>
                <c:pt idx="4511">
                  <c:v>#N/A</c:v>
                </c:pt>
                <c:pt idx="4512">
                  <c:v>#N/A</c:v>
                </c:pt>
                <c:pt idx="4513">
                  <c:v>#N/A</c:v>
                </c:pt>
                <c:pt idx="4514">
                  <c:v>#N/A</c:v>
                </c:pt>
                <c:pt idx="4515">
                  <c:v>#N/A</c:v>
                </c:pt>
                <c:pt idx="4516">
                  <c:v>#N/A</c:v>
                </c:pt>
                <c:pt idx="4517">
                  <c:v>#N/A</c:v>
                </c:pt>
                <c:pt idx="4518">
                  <c:v>#N/A</c:v>
                </c:pt>
                <c:pt idx="4519">
                  <c:v>#N/A</c:v>
                </c:pt>
                <c:pt idx="4520">
                  <c:v>#N/A</c:v>
                </c:pt>
                <c:pt idx="4521">
                  <c:v>#N/A</c:v>
                </c:pt>
                <c:pt idx="4522">
                  <c:v>#N/A</c:v>
                </c:pt>
                <c:pt idx="4523">
                  <c:v>#N/A</c:v>
                </c:pt>
                <c:pt idx="4524">
                  <c:v>#N/A</c:v>
                </c:pt>
                <c:pt idx="4525">
                  <c:v>#N/A</c:v>
                </c:pt>
                <c:pt idx="4526">
                  <c:v>#N/A</c:v>
                </c:pt>
                <c:pt idx="4527">
                  <c:v>#N/A</c:v>
                </c:pt>
                <c:pt idx="4528">
                  <c:v>#N/A</c:v>
                </c:pt>
                <c:pt idx="4529">
                  <c:v>#N/A</c:v>
                </c:pt>
                <c:pt idx="4530">
                  <c:v>#N/A</c:v>
                </c:pt>
                <c:pt idx="4531">
                  <c:v>#N/A</c:v>
                </c:pt>
                <c:pt idx="4532">
                  <c:v>#N/A</c:v>
                </c:pt>
                <c:pt idx="4533">
                  <c:v>#N/A</c:v>
                </c:pt>
                <c:pt idx="4534">
                  <c:v>#N/A</c:v>
                </c:pt>
                <c:pt idx="4535">
                  <c:v>#N/A</c:v>
                </c:pt>
                <c:pt idx="4536">
                  <c:v>#N/A</c:v>
                </c:pt>
                <c:pt idx="4537">
                  <c:v>#N/A</c:v>
                </c:pt>
                <c:pt idx="4538">
                  <c:v>#N/A</c:v>
                </c:pt>
                <c:pt idx="4539">
                  <c:v>#N/A</c:v>
                </c:pt>
                <c:pt idx="4540">
                  <c:v>#N/A</c:v>
                </c:pt>
                <c:pt idx="4541">
                  <c:v>#N/A</c:v>
                </c:pt>
                <c:pt idx="4542">
                  <c:v>#N/A</c:v>
                </c:pt>
                <c:pt idx="4543">
                  <c:v>#N/A</c:v>
                </c:pt>
                <c:pt idx="4544">
                  <c:v>#N/A</c:v>
                </c:pt>
                <c:pt idx="4545">
                  <c:v>#N/A</c:v>
                </c:pt>
                <c:pt idx="4546">
                  <c:v>#N/A</c:v>
                </c:pt>
                <c:pt idx="4547">
                  <c:v>#N/A</c:v>
                </c:pt>
                <c:pt idx="4548">
                  <c:v>#N/A</c:v>
                </c:pt>
                <c:pt idx="4549">
                  <c:v>#N/A</c:v>
                </c:pt>
                <c:pt idx="4550">
                  <c:v>#N/A</c:v>
                </c:pt>
                <c:pt idx="4551">
                  <c:v>#N/A</c:v>
                </c:pt>
                <c:pt idx="4552">
                  <c:v>#N/A</c:v>
                </c:pt>
                <c:pt idx="4553">
                  <c:v>#N/A</c:v>
                </c:pt>
                <c:pt idx="4554">
                  <c:v>#N/A</c:v>
                </c:pt>
                <c:pt idx="4555">
                  <c:v>#N/A</c:v>
                </c:pt>
                <c:pt idx="4556">
                  <c:v>#N/A</c:v>
                </c:pt>
                <c:pt idx="4557">
                  <c:v>#N/A</c:v>
                </c:pt>
                <c:pt idx="4558">
                  <c:v>#N/A</c:v>
                </c:pt>
                <c:pt idx="4559">
                  <c:v>#N/A</c:v>
                </c:pt>
                <c:pt idx="4560">
                  <c:v>#N/A</c:v>
                </c:pt>
                <c:pt idx="4561">
                  <c:v>#N/A</c:v>
                </c:pt>
                <c:pt idx="4562">
                  <c:v>#N/A</c:v>
                </c:pt>
                <c:pt idx="4563">
                  <c:v>#N/A</c:v>
                </c:pt>
                <c:pt idx="4564">
                  <c:v>#N/A</c:v>
                </c:pt>
                <c:pt idx="4565">
                  <c:v>#N/A</c:v>
                </c:pt>
                <c:pt idx="4566">
                  <c:v>#N/A</c:v>
                </c:pt>
                <c:pt idx="4567">
                  <c:v>#N/A</c:v>
                </c:pt>
                <c:pt idx="4568">
                  <c:v>#N/A</c:v>
                </c:pt>
                <c:pt idx="4569">
                  <c:v>#N/A</c:v>
                </c:pt>
                <c:pt idx="4570">
                  <c:v>#N/A</c:v>
                </c:pt>
                <c:pt idx="4571">
                  <c:v>#N/A</c:v>
                </c:pt>
                <c:pt idx="4572">
                  <c:v>#N/A</c:v>
                </c:pt>
                <c:pt idx="4573">
                  <c:v>#N/A</c:v>
                </c:pt>
                <c:pt idx="4574">
                  <c:v>#N/A</c:v>
                </c:pt>
                <c:pt idx="4575">
                  <c:v>#N/A</c:v>
                </c:pt>
                <c:pt idx="4576">
                  <c:v>#N/A</c:v>
                </c:pt>
                <c:pt idx="4577">
                  <c:v>#N/A</c:v>
                </c:pt>
                <c:pt idx="4578">
                  <c:v>#N/A</c:v>
                </c:pt>
                <c:pt idx="4579">
                  <c:v>#N/A</c:v>
                </c:pt>
                <c:pt idx="4580">
                  <c:v>#N/A</c:v>
                </c:pt>
                <c:pt idx="4581">
                  <c:v>#N/A</c:v>
                </c:pt>
                <c:pt idx="4582">
                  <c:v>#N/A</c:v>
                </c:pt>
                <c:pt idx="4583">
                  <c:v>#N/A</c:v>
                </c:pt>
                <c:pt idx="4584">
                  <c:v>#N/A</c:v>
                </c:pt>
                <c:pt idx="4585">
                  <c:v>#N/A</c:v>
                </c:pt>
                <c:pt idx="4586">
                  <c:v>#N/A</c:v>
                </c:pt>
                <c:pt idx="4587">
                  <c:v>#N/A</c:v>
                </c:pt>
                <c:pt idx="4588">
                  <c:v>#N/A</c:v>
                </c:pt>
                <c:pt idx="4589">
                  <c:v>#N/A</c:v>
                </c:pt>
                <c:pt idx="4590">
                  <c:v>#N/A</c:v>
                </c:pt>
                <c:pt idx="4591">
                  <c:v>#N/A</c:v>
                </c:pt>
                <c:pt idx="4592">
                  <c:v>#N/A</c:v>
                </c:pt>
                <c:pt idx="4593">
                  <c:v>#N/A</c:v>
                </c:pt>
                <c:pt idx="4594">
                  <c:v>#N/A</c:v>
                </c:pt>
                <c:pt idx="4595">
                  <c:v>#N/A</c:v>
                </c:pt>
                <c:pt idx="4596">
                  <c:v>#N/A</c:v>
                </c:pt>
                <c:pt idx="4597">
                  <c:v>#N/A</c:v>
                </c:pt>
                <c:pt idx="4598">
                  <c:v>#N/A</c:v>
                </c:pt>
                <c:pt idx="4599">
                  <c:v>#N/A</c:v>
                </c:pt>
                <c:pt idx="4600">
                  <c:v>#N/A</c:v>
                </c:pt>
                <c:pt idx="4601">
                  <c:v>#N/A</c:v>
                </c:pt>
                <c:pt idx="4602">
                  <c:v>#N/A</c:v>
                </c:pt>
                <c:pt idx="4603">
                  <c:v>#N/A</c:v>
                </c:pt>
                <c:pt idx="4604">
                  <c:v>#N/A</c:v>
                </c:pt>
                <c:pt idx="4605">
                  <c:v>#N/A</c:v>
                </c:pt>
                <c:pt idx="4606">
                  <c:v>#N/A</c:v>
                </c:pt>
                <c:pt idx="4607">
                  <c:v>#N/A</c:v>
                </c:pt>
                <c:pt idx="4608">
                  <c:v>#N/A</c:v>
                </c:pt>
                <c:pt idx="4609">
                  <c:v>#N/A</c:v>
                </c:pt>
                <c:pt idx="4610">
                  <c:v>#N/A</c:v>
                </c:pt>
                <c:pt idx="4611">
                  <c:v>#N/A</c:v>
                </c:pt>
                <c:pt idx="4612">
                  <c:v>#N/A</c:v>
                </c:pt>
                <c:pt idx="4613">
                  <c:v>#N/A</c:v>
                </c:pt>
                <c:pt idx="4614">
                  <c:v>#N/A</c:v>
                </c:pt>
                <c:pt idx="4615">
                  <c:v>#N/A</c:v>
                </c:pt>
                <c:pt idx="4616">
                  <c:v>#N/A</c:v>
                </c:pt>
                <c:pt idx="4617">
                  <c:v>#N/A</c:v>
                </c:pt>
                <c:pt idx="4618">
                  <c:v>#N/A</c:v>
                </c:pt>
                <c:pt idx="4619">
                  <c:v>#N/A</c:v>
                </c:pt>
                <c:pt idx="4620">
                  <c:v>#N/A</c:v>
                </c:pt>
                <c:pt idx="4621">
                  <c:v>#N/A</c:v>
                </c:pt>
                <c:pt idx="4622">
                  <c:v>#N/A</c:v>
                </c:pt>
                <c:pt idx="4623">
                  <c:v>#N/A</c:v>
                </c:pt>
                <c:pt idx="4624">
                  <c:v>#N/A</c:v>
                </c:pt>
                <c:pt idx="4625">
                  <c:v>#N/A</c:v>
                </c:pt>
                <c:pt idx="4626">
                  <c:v>#N/A</c:v>
                </c:pt>
                <c:pt idx="4627">
                  <c:v>#N/A</c:v>
                </c:pt>
                <c:pt idx="4628">
                  <c:v>#N/A</c:v>
                </c:pt>
                <c:pt idx="4629">
                  <c:v>#N/A</c:v>
                </c:pt>
                <c:pt idx="4630">
                  <c:v>#N/A</c:v>
                </c:pt>
                <c:pt idx="4631">
                  <c:v>#N/A</c:v>
                </c:pt>
                <c:pt idx="4632">
                  <c:v>#N/A</c:v>
                </c:pt>
                <c:pt idx="4633">
                  <c:v>#N/A</c:v>
                </c:pt>
                <c:pt idx="4634">
                  <c:v>#N/A</c:v>
                </c:pt>
                <c:pt idx="4635">
                  <c:v>#N/A</c:v>
                </c:pt>
                <c:pt idx="4636">
                  <c:v>#N/A</c:v>
                </c:pt>
                <c:pt idx="4637">
                  <c:v>#N/A</c:v>
                </c:pt>
                <c:pt idx="4638">
                  <c:v>#N/A</c:v>
                </c:pt>
                <c:pt idx="4639">
                  <c:v>#N/A</c:v>
                </c:pt>
                <c:pt idx="4640">
                  <c:v>#N/A</c:v>
                </c:pt>
                <c:pt idx="4641">
                  <c:v>#N/A</c:v>
                </c:pt>
                <c:pt idx="4642">
                  <c:v>#N/A</c:v>
                </c:pt>
                <c:pt idx="4643">
                  <c:v>#N/A</c:v>
                </c:pt>
                <c:pt idx="4644">
                  <c:v>#N/A</c:v>
                </c:pt>
                <c:pt idx="4645">
                  <c:v>#N/A</c:v>
                </c:pt>
                <c:pt idx="4646">
                  <c:v>#N/A</c:v>
                </c:pt>
                <c:pt idx="4647">
                  <c:v>#N/A</c:v>
                </c:pt>
                <c:pt idx="4648">
                  <c:v>#N/A</c:v>
                </c:pt>
                <c:pt idx="4649">
                  <c:v>#N/A</c:v>
                </c:pt>
                <c:pt idx="4650">
                  <c:v>#N/A</c:v>
                </c:pt>
                <c:pt idx="4651">
                  <c:v>#N/A</c:v>
                </c:pt>
                <c:pt idx="4652">
                  <c:v>#N/A</c:v>
                </c:pt>
                <c:pt idx="4653">
                  <c:v>#N/A</c:v>
                </c:pt>
                <c:pt idx="4654">
                  <c:v>#N/A</c:v>
                </c:pt>
                <c:pt idx="4655">
                  <c:v>#N/A</c:v>
                </c:pt>
                <c:pt idx="4656">
                  <c:v>#N/A</c:v>
                </c:pt>
                <c:pt idx="4657">
                  <c:v>#N/A</c:v>
                </c:pt>
                <c:pt idx="4658">
                  <c:v>#N/A</c:v>
                </c:pt>
                <c:pt idx="4659">
                  <c:v>#N/A</c:v>
                </c:pt>
                <c:pt idx="4660">
                  <c:v>#N/A</c:v>
                </c:pt>
                <c:pt idx="4661">
                  <c:v>#N/A</c:v>
                </c:pt>
                <c:pt idx="4662">
                  <c:v>#N/A</c:v>
                </c:pt>
                <c:pt idx="4663">
                  <c:v>#N/A</c:v>
                </c:pt>
                <c:pt idx="4664">
                  <c:v>#N/A</c:v>
                </c:pt>
                <c:pt idx="4665">
                  <c:v>#N/A</c:v>
                </c:pt>
                <c:pt idx="4666">
                  <c:v>#N/A</c:v>
                </c:pt>
                <c:pt idx="4667">
                  <c:v>#N/A</c:v>
                </c:pt>
                <c:pt idx="4668">
                  <c:v>#N/A</c:v>
                </c:pt>
                <c:pt idx="4669">
                  <c:v>#N/A</c:v>
                </c:pt>
                <c:pt idx="4670">
                  <c:v>#N/A</c:v>
                </c:pt>
                <c:pt idx="4671">
                  <c:v>#N/A</c:v>
                </c:pt>
                <c:pt idx="4672">
                  <c:v>#N/A</c:v>
                </c:pt>
                <c:pt idx="4673">
                  <c:v>#N/A</c:v>
                </c:pt>
                <c:pt idx="4674">
                  <c:v>#N/A</c:v>
                </c:pt>
                <c:pt idx="4675">
                  <c:v>#N/A</c:v>
                </c:pt>
                <c:pt idx="4676">
                  <c:v>#N/A</c:v>
                </c:pt>
                <c:pt idx="4677">
                  <c:v>#N/A</c:v>
                </c:pt>
                <c:pt idx="4678">
                  <c:v>#N/A</c:v>
                </c:pt>
                <c:pt idx="4679">
                  <c:v>#N/A</c:v>
                </c:pt>
                <c:pt idx="4680">
                  <c:v>#N/A</c:v>
                </c:pt>
                <c:pt idx="4681">
                  <c:v>#N/A</c:v>
                </c:pt>
                <c:pt idx="4682">
                  <c:v>#N/A</c:v>
                </c:pt>
                <c:pt idx="4683">
                  <c:v>#N/A</c:v>
                </c:pt>
                <c:pt idx="4684">
                  <c:v>#N/A</c:v>
                </c:pt>
                <c:pt idx="4685">
                  <c:v>#N/A</c:v>
                </c:pt>
                <c:pt idx="4686">
                  <c:v>#N/A</c:v>
                </c:pt>
                <c:pt idx="4687">
                  <c:v>#N/A</c:v>
                </c:pt>
                <c:pt idx="4688">
                  <c:v>#N/A</c:v>
                </c:pt>
                <c:pt idx="4689">
                  <c:v>#N/A</c:v>
                </c:pt>
                <c:pt idx="4690">
                  <c:v>#N/A</c:v>
                </c:pt>
                <c:pt idx="4691">
                  <c:v>#N/A</c:v>
                </c:pt>
                <c:pt idx="4692">
                  <c:v>#N/A</c:v>
                </c:pt>
                <c:pt idx="4693">
                  <c:v>#N/A</c:v>
                </c:pt>
                <c:pt idx="4694">
                  <c:v>#N/A</c:v>
                </c:pt>
                <c:pt idx="4695">
                  <c:v>#N/A</c:v>
                </c:pt>
                <c:pt idx="4696">
                  <c:v>#N/A</c:v>
                </c:pt>
                <c:pt idx="4697">
                  <c:v>#N/A</c:v>
                </c:pt>
                <c:pt idx="4698">
                  <c:v>#N/A</c:v>
                </c:pt>
                <c:pt idx="4699">
                  <c:v>#N/A</c:v>
                </c:pt>
                <c:pt idx="4700">
                  <c:v>#N/A</c:v>
                </c:pt>
                <c:pt idx="4701">
                  <c:v>#N/A</c:v>
                </c:pt>
                <c:pt idx="4702">
                  <c:v>#N/A</c:v>
                </c:pt>
                <c:pt idx="4703">
                  <c:v>#N/A</c:v>
                </c:pt>
                <c:pt idx="4704">
                  <c:v>#N/A</c:v>
                </c:pt>
                <c:pt idx="4705">
                  <c:v>#N/A</c:v>
                </c:pt>
                <c:pt idx="4706">
                  <c:v>#N/A</c:v>
                </c:pt>
                <c:pt idx="4707">
                  <c:v>#N/A</c:v>
                </c:pt>
                <c:pt idx="4708">
                  <c:v>#N/A</c:v>
                </c:pt>
                <c:pt idx="4709">
                  <c:v>#N/A</c:v>
                </c:pt>
                <c:pt idx="4710">
                  <c:v>#N/A</c:v>
                </c:pt>
                <c:pt idx="4711">
                  <c:v>#N/A</c:v>
                </c:pt>
                <c:pt idx="4712">
                  <c:v>#N/A</c:v>
                </c:pt>
                <c:pt idx="4713">
                  <c:v>#N/A</c:v>
                </c:pt>
                <c:pt idx="4714">
                  <c:v>#N/A</c:v>
                </c:pt>
                <c:pt idx="4715">
                  <c:v>#N/A</c:v>
                </c:pt>
                <c:pt idx="4716">
                  <c:v>#N/A</c:v>
                </c:pt>
                <c:pt idx="4717">
                  <c:v>#N/A</c:v>
                </c:pt>
                <c:pt idx="4718">
                  <c:v>#N/A</c:v>
                </c:pt>
                <c:pt idx="4719">
                  <c:v>#N/A</c:v>
                </c:pt>
                <c:pt idx="4720">
                  <c:v>#N/A</c:v>
                </c:pt>
                <c:pt idx="4721">
                  <c:v>1.8849315068493151</c:v>
                </c:pt>
                <c:pt idx="4722">
                  <c:v>#N/A</c:v>
                </c:pt>
                <c:pt idx="4723">
                  <c:v>#N/A</c:v>
                </c:pt>
                <c:pt idx="4724">
                  <c:v>#N/A</c:v>
                </c:pt>
                <c:pt idx="4725">
                  <c:v>#N/A</c:v>
                </c:pt>
                <c:pt idx="4726">
                  <c:v>#N/A</c:v>
                </c:pt>
                <c:pt idx="4727">
                  <c:v>#N/A</c:v>
                </c:pt>
                <c:pt idx="4728">
                  <c:v>#N/A</c:v>
                </c:pt>
                <c:pt idx="4729">
                  <c:v>#N/A</c:v>
                </c:pt>
                <c:pt idx="4730">
                  <c:v>#N/A</c:v>
                </c:pt>
                <c:pt idx="4731">
                  <c:v>#N/A</c:v>
                </c:pt>
                <c:pt idx="4732">
                  <c:v>#N/A</c:v>
                </c:pt>
                <c:pt idx="4733">
                  <c:v>#N/A</c:v>
                </c:pt>
                <c:pt idx="4734">
                  <c:v>#N/A</c:v>
                </c:pt>
                <c:pt idx="4735">
                  <c:v>#N/A</c:v>
                </c:pt>
                <c:pt idx="4736">
                  <c:v>#N/A</c:v>
                </c:pt>
                <c:pt idx="4737">
                  <c:v>#N/A</c:v>
                </c:pt>
                <c:pt idx="4738">
                  <c:v>#N/A</c:v>
                </c:pt>
                <c:pt idx="4739">
                  <c:v>#N/A</c:v>
                </c:pt>
                <c:pt idx="4740">
                  <c:v>#N/A</c:v>
                </c:pt>
                <c:pt idx="4741">
                  <c:v>#N/A</c:v>
                </c:pt>
                <c:pt idx="4742">
                  <c:v>#N/A</c:v>
                </c:pt>
                <c:pt idx="4743">
                  <c:v>#N/A</c:v>
                </c:pt>
                <c:pt idx="4744">
                  <c:v>#N/A</c:v>
                </c:pt>
                <c:pt idx="4745">
                  <c:v>#N/A</c:v>
                </c:pt>
                <c:pt idx="4746">
                  <c:v>#N/A</c:v>
                </c:pt>
                <c:pt idx="4747">
                  <c:v>#N/A</c:v>
                </c:pt>
                <c:pt idx="4748">
                  <c:v>#N/A</c:v>
                </c:pt>
                <c:pt idx="4749">
                  <c:v>#N/A</c:v>
                </c:pt>
                <c:pt idx="4750">
                  <c:v>#N/A</c:v>
                </c:pt>
                <c:pt idx="4751">
                  <c:v>#N/A</c:v>
                </c:pt>
                <c:pt idx="4752">
                  <c:v>#N/A</c:v>
                </c:pt>
                <c:pt idx="4753">
                  <c:v>#N/A</c:v>
                </c:pt>
                <c:pt idx="4754">
                  <c:v>#N/A</c:v>
                </c:pt>
                <c:pt idx="4755">
                  <c:v>#N/A</c:v>
                </c:pt>
                <c:pt idx="4756">
                  <c:v>#N/A</c:v>
                </c:pt>
                <c:pt idx="4757">
                  <c:v>#N/A</c:v>
                </c:pt>
                <c:pt idx="4758">
                  <c:v>#N/A</c:v>
                </c:pt>
                <c:pt idx="4759">
                  <c:v>#N/A</c:v>
                </c:pt>
                <c:pt idx="4760">
                  <c:v>#N/A</c:v>
                </c:pt>
                <c:pt idx="4761">
                  <c:v>#N/A</c:v>
                </c:pt>
                <c:pt idx="4762">
                  <c:v>#N/A</c:v>
                </c:pt>
                <c:pt idx="4763">
                  <c:v>#N/A</c:v>
                </c:pt>
                <c:pt idx="4764">
                  <c:v>#N/A</c:v>
                </c:pt>
                <c:pt idx="4765">
                  <c:v>#N/A</c:v>
                </c:pt>
                <c:pt idx="4766">
                  <c:v>#N/A</c:v>
                </c:pt>
                <c:pt idx="4767">
                  <c:v>#N/A</c:v>
                </c:pt>
                <c:pt idx="4768">
                  <c:v>#N/A</c:v>
                </c:pt>
                <c:pt idx="4769">
                  <c:v>#N/A</c:v>
                </c:pt>
                <c:pt idx="4770">
                  <c:v>#N/A</c:v>
                </c:pt>
                <c:pt idx="4771">
                  <c:v>#N/A</c:v>
                </c:pt>
                <c:pt idx="4772">
                  <c:v>#N/A</c:v>
                </c:pt>
                <c:pt idx="4773">
                  <c:v>#N/A</c:v>
                </c:pt>
                <c:pt idx="4774">
                  <c:v>#N/A</c:v>
                </c:pt>
                <c:pt idx="4775">
                  <c:v>#N/A</c:v>
                </c:pt>
                <c:pt idx="4776">
                  <c:v>#N/A</c:v>
                </c:pt>
                <c:pt idx="4777">
                  <c:v>#N/A</c:v>
                </c:pt>
                <c:pt idx="4778">
                  <c:v>#N/A</c:v>
                </c:pt>
                <c:pt idx="4779">
                  <c:v>#N/A</c:v>
                </c:pt>
                <c:pt idx="4780">
                  <c:v>#N/A</c:v>
                </c:pt>
                <c:pt idx="4781">
                  <c:v>#N/A</c:v>
                </c:pt>
                <c:pt idx="4782">
                  <c:v>#N/A</c:v>
                </c:pt>
                <c:pt idx="4783">
                  <c:v>#N/A</c:v>
                </c:pt>
                <c:pt idx="4784">
                  <c:v>#N/A</c:v>
                </c:pt>
                <c:pt idx="4785">
                  <c:v>#N/A</c:v>
                </c:pt>
                <c:pt idx="4786">
                  <c:v>#N/A</c:v>
                </c:pt>
                <c:pt idx="4787">
                  <c:v>#N/A</c:v>
                </c:pt>
                <c:pt idx="4788">
                  <c:v>#N/A</c:v>
                </c:pt>
                <c:pt idx="4789">
                  <c:v>#N/A</c:v>
                </c:pt>
                <c:pt idx="4790">
                  <c:v>#N/A</c:v>
                </c:pt>
                <c:pt idx="4791">
                  <c:v>#N/A</c:v>
                </c:pt>
                <c:pt idx="4792">
                  <c:v>#N/A</c:v>
                </c:pt>
                <c:pt idx="4793">
                  <c:v>#N/A</c:v>
                </c:pt>
                <c:pt idx="4794">
                  <c:v>#N/A</c:v>
                </c:pt>
                <c:pt idx="4795">
                  <c:v>#N/A</c:v>
                </c:pt>
                <c:pt idx="4796">
                  <c:v>#N/A</c:v>
                </c:pt>
                <c:pt idx="4797">
                  <c:v>#N/A</c:v>
                </c:pt>
                <c:pt idx="4798">
                  <c:v>#N/A</c:v>
                </c:pt>
                <c:pt idx="4799">
                  <c:v>#N/A</c:v>
                </c:pt>
                <c:pt idx="4800">
                  <c:v>#N/A</c:v>
                </c:pt>
                <c:pt idx="4801">
                  <c:v>#N/A</c:v>
                </c:pt>
                <c:pt idx="4802">
                  <c:v>#N/A</c:v>
                </c:pt>
                <c:pt idx="4803">
                  <c:v>#N/A</c:v>
                </c:pt>
                <c:pt idx="4804">
                  <c:v>#N/A</c:v>
                </c:pt>
                <c:pt idx="4805">
                  <c:v>#N/A</c:v>
                </c:pt>
                <c:pt idx="4806">
                  <c:v>#N/A</c:v>
                </c:pt>
                <c:pt idx="4807">
                  <c:v>#N/A</c:v>
                </c:pt>
                <c:pt idx="4808">
                  <c:v>#N/A</c:v>
                </c:pt>
                <c:pt idx="4809">
                  <c:v>#N/A</c:v>
                </c:pt>
                <c:pt idx="4810">
                  <c:v>#N/A</c:v>
                </c:pt>
                <c:pt idx="4811">
                  <c:v>#N/A</c:v>
                </c:pt>
                <c:pt idx="4812">
                  <c:v>#N/A</c:v>
                </c:pt>
                <c:pt idx="4813">
                  <c:v>#N/A</c:v>
                </c:pt>
                <c:pt idx="4814">
                  <c:v>#N/A</c:v>
                </c:pt>
                <c:pt idx="4815">
                  <c:v>#N/A</c:v>
                </c:pt>
                <c:pt idx="4816">
                  <c:v>#N/A</c:v>
                </c:pt>
                <c:pt idx="4817">
                  <c:v>#N/A</c:v>
                </c:pt>
                <c:pt idx="4818">
                  <c:v>#N/A</c:v>
                </c:pt>
                <c:pt idx="4819">
                  <c:v>#N/A</c:v>
                </c:pt>
                <c:pt idx="4820">
                  <c:v>#N/A</c:v>
                </c:pt>
                <c:pt idx="4821">
                  <c:v>#N/A</c:v>
                </c:pt>
                <c:pt idx="4822">
                  <c:v>#N/A</c:v>
                </c:pt>
                <c:pt idx="4823">
                  <c:v>#N/A</c:v>
                </c:pt>
                <c:pt idx="4824">
                  <c:v>#N/A</c:v>
                </c:pt>
                <c:pt idx="4825">
                  <c:v>#N/A</c:v>
                </c:pt>
                <c:pt idx="4826">
                  <c:v>#N/A</c:v>
                </c:pt>
                <c:pt idx="4827">
                  <c:v>#N/A</c:v>
                </c:pt>
                <c:pt idx="4828">
                  <c:v>#N/A</c:v>
                </c:pt>
                <c:pt idx="4829">
                  <c:v>#N/A</c:v>
                </c:pt>
                <c:pt idx="4830">
                  <c:v>#N/A</c:v>
                </c:pt>
                <c:pt idx="4831">
                  <c:v>#N/A</c:v>
                </c:pt>
                <c:pt idx="4832">
                  <c:v>#N/A</c:v>
                </c:pt>
                <c:pt idx="4833">
                  <c:v>#N/A</c:v>
                </c:pt>
                <c:pt idx="4834">
                  <c:v>#N/A</c:v>
                </c:pt>
                <c:pt idx="4835">
                  <c:v>#N/A</c:v>
                </c:pt>
                <c:pt idx="4836">
                  <c:v>#N/A</c:v>
                </c:pt>
                <c:pt idx="4837">
                  <c:v>#N/A</c:v>
                </c:pt>
                <c:pt idx="4838">
                  <c:v>#N/A</c:v>
                </c:pt>
                <c:pt idx="4839">
                  <c:v>#N/A</c:v>
                </c:pt>
                <c:pt idx="4840">
                  <c:v>#N/A</c:v>
                </c:pt>
                <c:pt idx="4841">
                  <c:v>#N/A</c:v>
                </c:pt>
                <c:pt idx="4842">
                  <c:v>#N/A</c:v>
                </c:pt>
                <c:pt idx="4843">
                  <c:v>#N/A</c:v>
                </c:pt>
                <c:pt idx="4844">
                  <c:v>#N/A</c:v>
                </c:pt>
                <c:pt idx="4845">
                  <c:v>#N/A</c:v>
                </c:pt>
                <c:pt idx="4846">
                  <c:v>#N/A</c:v>
                </c:pt>
                <c:pt idx="4847">
                  <c:v>#N/A</c:v>
                </c:pt>
                <c:pt idx="4848">
                  <c:v>#N/A</c:v>
                </c:pt>
                <c:pt idx="4849">
                  <c:v>#N/A</c:v>
                </c:pt>
                <c:pt idx="4850">
                  <c:v>#N/A</c:v>
                </c:pt>
                <c:pt idx="4851">
                  <c:v>#N/A</c:v>
                </c:pt>
                <c:pt idx="4852">
                  <c:v>#N/A</c:v>
                </c:pt>
                <c:pt idx="4853">
                  <c:v>#N/A</c:v>
                </c:pt>
                <c:pt idx="4854">
                  <c:v>#N/A</c:v>
                </c:pt>
                <c:pt idx="4855">
                  <c:v>#N/A</c:v>
                </c:pt>
                <c:pt idx="4856">
                  <c:v>#N/A</c:v>
                </c:pt>
                <c:pt idx="4857">
                  <c:v>#N/A</c:v>
                </c:pt>
                <c:pt idx="4858">
                  <c:v>#N/A</c:v>
                </c:pt>
                <c:pt idx="4859">
                  <c:v>#N/A</c:v>
                </c:pt>
                <c:pt idx="4860">
                  <c:v>#N/A</c:v>
                </c:pt>
                <c:pt idx="4861">
                  <c:v>#N/A</c:v>
                </c:pt>
                <c:pt idx="4862">
                  <c:v>#N/A</c:v>
                </c:pt>
                <c:pt idx="4863">
                  <c:v>#N/A</c:v>
                </c:pt>
                <c:pt idx="4864">
                  <c:v>#N/A</c:v>
                </c:pt>
                <c:pt idx="4865">
                  <c:v>#N/A</c:v>
                </c:pt>
                <c:pt idx="4866">
                  <c:v>#N/A</c:v>
                </c:pt>
                <c:pt idx="4867">
                  <c:v>#N/A</c:v>
                </c:pt>
                <c:pt idx="4868">
                  <c:v>#N/A</c:v>
                </c:pt>
                <c:pt idx="4869">
                  <c:v>#N/A</c:v>
                </c:pt>
                <c:pt idx="4870">
                  <c:v>#N/A</c:v>
                </c:pt>
                <c:pt idx="4871">
                  <c:v>#N/A</c:v>
                </c:pt>
                <c:pt idx="4872">
                  <c:v>#N/A</c:v>
                </c:pt>
                <c:pt idx="4873">
                  <c:v>#N/A</c:v>
                </c:pt>
                <c:pt idx="4874">
                  <c:v>#N/A</c:v>
                </c:pt>
                <c:pt idx="4875">
                  <c:v>#N/A</c:v>
                </c:pt>
                <c:pt idx="4876">
                  <c:v>#N/A</c:v>
                </c:pt>
                <c:pt idx="4877">
                  <c:v>#N/A</c:v>
                </c:pt>
                <c:pt idx="4878">
                  <c:v>#N/A</c:v>
                </c:pt>
                <c:pt idx="4879">
                  <c:v>#N/A</c:v>
                </c:pt>
                <c:pt idx="4880">
                  <c:v>#N/A</c:v>
                </c:pt>
                <c:pt idx="4881">
                  <c:v>#N/A</c:v>
                </c:pt>
                <c:pt idx="4882">
                  <c:v>#N/A</c:v>
                </c:pt>
                <c:pt idx="4883">
                  <c:v>#N/A</c:v>
                </c:pt>
                <c:pt idx="4884">
                  <c:v>#N/A</c:v>
                </c:pt>
                <c:pt idx="4885">
                  <c:v>#N/A</c:v>
                </c:pt>
                <c:pt idx="4886">
                  <c:v>#N/A</c:v>
                </c:pt>
                <c:pt idx="4887">
                  <c:v>#N/A</c:v>
                </c:pt>
                <c:pt idx="4888">
                  <c:v>#N/A</c:v>
                </c:pt>
                <c:pt idx="4889">
                  <c:v>#N/A</c:v>
                </c:pt>
                <c:pt idx="4890">
                  <c:v>#N/A</c:v>
                </c:pt>
                <c:pt idx="4891">
                  <c:v>#N/A</c:v>
                </c:pt>
                <c:pt idx="4892">
                  <c:v>#N/A</c:v>
                </c:pt>
                <c:pt idx="4893">
                  <c:v>#N/A</c:v>
                </c:pt>
                <c:pt idx="4894">
                  <c:v>#N/A</c:v>
                </c:pt>
                <c:pt idx="4895">
                  <c:v>#N/A</c:v>
                </c:pt>
                <c:pt idx="4896">
                  <c:v>#N/A</c:v>
                </c:pt>
                <c:pt idx="4897">
                  <c:v>#N/A</c:v>
                </c:pt>
                <c:pt idx="4898">
                  <c:v>#N/A</c:v>
                </c:pt>
                <c:pt idx="4899">
                  <c:v>#N/A</c:v>
                </c:pt>
                <c:pt idx="4900">
                  <c:v>#N/A</c:v>
                </c:pt>
                <c:pt idx="4901">
                  <c:v>#N/A</c:v>
                </c:pt>
                <c:pt idx="4902">
                  <c:v>#N/A</c:v>
                </c:pt>
                <c:pt idx="4903">
                  <c:v>#N/A</c:v>
                </c:pt>
                <c:pt idx="4904">
                  <c:v>#N/A</c:v>
                </c:pt>
                <c:pt idx="4905">
                  <c:v>#N/A</c:v>
                </c:pt>
                <c:pt idx="4906">
                  <c:v>#N/A</c:v>
                </c:pt>
                <c:pt idx="4907">
                  <c:v>#N/A</c:v>
                </c:pt>
                <c:pt idx="4908">
                  <c:v>#N/A</c:v>
                </c:pt>
                <c:pt idx="4909">
                  <c:v>#N/A</c:v>
                </c:pt>
                <c:pt idx="4910">
                  <c:v>#N/A</c:v>
                </c:pt>
                <c:pt idx="4911">
                  <c:v>#N/A</c:v>
                </c:pt>
                <c:pt idx="4912">
                  <c:v>#N/A</c:v>
                </c:pt>
                <c:pt idx="4913">
                  <c:v>#N/A</c:v>
                </c:pt>
                <c:pt idx="4914">
                  <c:v>#N/A</c:v>
                </c:pt>
                <c:pt idx="4915">
                  <c:v>#N/A</c:v>
                </c:pt>
                <c:pt idx="4916">
                  <c:v>#N/A</c:v>
                </c:pt>
                <c:pt idx="4917">
                  <c:v>#N/A</c:v>
                </c:pt>
                <c:pt idx="4918">
                  <c:v>#N/A</c:v>
                </c:pt>
                <c:pt idx="4919">
                  <c:v>#N/A</c:v>
                </c:pt>
                <c:pt idx="4920">
                  <c:v>#N/A</c:v>
                </c:pt>
                <c:pt idx="4921">
                  <c:v>#N/A</c:v>
                </c:pt>
                <c:pt idx="4922">
                  <c:v>#N/A</c:v>
                </c:pt>
                <c:pt idx="4923">
                  <c:v>#N/A</c:v>
                </c:pt>
                <c:pt idx="4924">
                  <c:v>#N/A</c:v>
                </c:pt>
                <c:pt idx="4925">
                  <c:v>#N/A</c:v>
                </c:pt>
                <c:pt idx="4926">
                  <c:v>#N/A</c:v>
                </c:pt>
                <c:pt idx="4927">
                  <c:v>#N/A</c:v>
                </c:pt>
                <c:pt idx="4928">
                  <c:v>#N/A</c:v>
                </c:pt>
                <c:pt idx="4929">
                  <c:v>#N/A</c:v>
                </c:pt>
                <c:pt idx="4930">
                  <c:v>#N/A</c:v>
                </c:pt>
                <c:pt idx="4931">
                  <c:v>#N/A</c:v>
                </c:pt>
                <c:pt idx="4932">
                  <c:v>#N/A</c:v>
                </c:pt>
                <c:pt idx="4933">
                  <c:v>#N/A</c:v>
                </c:pt>
                <c:pt idx="4934">
                  <c:v>#N/A</c:v>
                </c:pt>
                <c:pt idx="4935">
                  <c:v>#N/A</c:v>
                </c:pt>
                <c:pt idx="4936">
                  <c:v>#N/A</c:v>
                </c:pt>
                <c:pt idx="4937">
                  <c:v>#N/A</c:v>
                </c:pt>
                <c:pt idx="4938">
                  <c:v>#N/A</c:v>
                </c:pt>
                <c:pt idx="4939">
                  <c:v>#N/A</c:v>
                </c:pt>
                <c:pt idx="4940">
                  <c:v>#N/A</c:v>
                </c:pt>
                <c:pt idx="4941">
                  <c:v>#N/A</c:v>
                </c:pt>
                <c:pt idx="4942">
                  <c:v>#N/A</c:v>
                </c:pt>
                <c:pt idx="4943">
                  <c:v>#N/A</c:v>
                </c:pt>
                <c:pt idx="4944">
                  <c:v>#N/A</c:v>
                </c:pt>
                <c:pt idx="4945">
                  <c:v>#N/A</c:v>
                </c:pt>
                <c:pt idx="4946">
                  <c:v>#N/A</c:v>
                </c:pt>
                <c:pt idx="4947">
                  <c:v>#N/A</c:v>
                </c:pt>
                <c:pt idx="4948">
                  <c:v>#N/A</c:v>
                </c:pt>
                <c:pt idx="4949">
                  <c:v>#N/A</c:v>
                </c:pt>
                <c:pt idx="4950">
                  <c:v>#N/A</c:v>
                </c:pt>
                <c:pt idx="4951">
                  <c:v>#N/A</c:v>
                </c:pt>
                <c:pt idx="4952">
                  <c:v>#N/A</c:v>
                </c:pt>
                <c:pt idx="4953">
                  <c:v>#N/A</c:v>
                </c:pt>
                <c:pt idx="4954">
                  <c:v>#N/A</c:v>
                </c:pt>
                <c:pt idx="4955">
                  <c:v>#N/A</c:v>
                </c:pt>
                <c:pt idx="4956">
                  <c:v>#N/A</c:v>
                </c:pt>
                <c:pt idx="4957">
                  <c:v>#N/A</c:v>
                </c:pt>
                <c:pt idx="4958">
                  <c:v>#N/A</c:v>
                </c:pt>
                <c:pt idx="4959">
                  <c:v>#N/A</c:v>
                </c:pt>
                <c:pt idx="4960">
                  <c:v>#N/A</c:v>
                </c:pt>
                <c:pt idx="4961">
                  <c:v>#N/A</c:v>
                </c:pt>
                <c:pt idx="4962">
                  <c:v>#N/A</c:v>
                </c:pt>
                <c:pt idx="4963">
                  <c:v>#N/A</c:v>
                </c:pt>
                <c:pt idx="4964">
                  <c:v>#N/A</c:v>
                </c:pt>
                <c:pt idx="4965">
                  <c:v>#N/A</c:v>
                </c:pt>
                <c:pt idx="4966">
                  <c:v>#N/A</c:v>
                </c:pt>
                <c:pt idx="4967">
                  <c:v>#N/A</c:v>
                </c:pt>
                <c:pt idx="4968">
                  <c:v>#N/A</c:v>
                </c:pt>
                <c:pt idx="4969">
                  <c:v>#N/A</c:v>
                </c:pt>
                <c:pt idx="4970">
                  <c:v>#N/A</c:v>
                </c:pt>
                <c:pt idx="4971">
                  <c:v>#N/A</c:v>
                </c:pt>
                <c:pt idx="4972">
                  <c:v>#N/A</c:v>
                </c:pt>
                <c:pt idx="4973">
                  <c:v>#N/A</c:v>
                </c:pt>
                <c:pt idx="4974">
                  <c:v>#N/A</c:v>
                </c:pt>
                <c:pt idx="4975">
                  <c:v>#N/A</c:v>
                </c:pt>
                <c:pt idx="4976">
                  <c:v>#N/A</c:v>
                </c:pt>
                <c:pt idx="4977">
                  <c:v>#N/A</c:v>
                </c:pt>
                <c:pt idx="4978">
                  <c:v>#N/A</c:v>
                </c:pt>
                <c:pt idx="4979">
                  <c:v>#N/A</c:v>
                </c:pt>
                <c:pt idx="4980">
                  <c:v>#N/A</c:v>
                </c:pt>
                <c:pt idx="4981">
                  <c:v>#N/A</c:v>
                </c:pt>
                <c:pt idx="4982">
                  <c:v>#N/A</c:v>
                </c:pt>
                <c:pt idx="4983">
                  <c:v>#N/A</c:v>
                </c:pt>
                <c:pt idx="4984">
                  <c:v>#N/A</c:v>
                </c:pt>
                <c:pt idx="4985">
                  <c:v>#N/A</c:v>
                </c:pt>
                <c:pt idx="4986">
                  <c:v>#N/A</c:v>
                </c:pt>
                <c:pt idx="4987">
                  <c:v>#N/A</c:v>
                </c:pt>
                <c:pt idx="4988">
                  <c:v>#N/A</c:v>
                </c:pt>
                <c:pt idx="4989">
                  <c:v>#N/A</c:v>
                </c:pt>
                <c:pt idx="4990">
                  <c:v>#N/A</c:v>
                </c:pt>
                <c:pt idx="4991">
                  <c:v>#N/A</c:v>
                </c:pt>
                <c:pt idx="4992">
                  <c:v>#N/A</c:v>
                </c:pt>
                <c:pt idx="4993">
                  <c:v>#N/A</c:v>
                </c:pt>
                <c:pt idx="4994">
                  <c:v>#N/A</c:v>
                </c:pt>
                <c:pt idx="4995">
                  <c:v>#N/A</c:v>
                </c:pt>
                <c:pt idx="4996">
                  <c:v>#N/A</c:v>
                </c:pt>
                <c:pt idx="4997">
                  <c:v>#N/A</c:v>
                </c:pt>
                <c:pt idx="4998">
                  <c:v>#N/A</c:v>
                </c:pt>
                <c:pt idx="4999">
                  <c:v>#N/A</c:v>
                </c:pt>
                <c:pt idx="5000">
                  <c:v>#N/A</c:v>
                </c:pt>
                <c:pt idx="5001">
                  <c:v>#N/A</c:v>
                </c:pt>
                <c:pt idx="5002">
                  <c:v>#N/A</c:v>
                </c:pt>
                <c:pt idx="5003">
                  <c:v>#N/A</c:v>
                </c:pt>
                <c:pt idx="5004">
                  <c:v>#N/A</c:v>
                </c:pt>
                <c:pt idx="5005">
                  <c:v>#N/A</c:v>
                </c:pt>
                <c:pt idx="5006">
                  <c:v>#N/A</c:v>
                </c:pt>
                <c:pt idx="5007">
                  <c:v>#N/A</c:v>
                </c:pt>
                <c:pt idx="5008">
                  <c:v>#N/A</c:v>
                </c:pt>
                <c:pt idx="5009">
                  <c:v>#N/A</c:v>
                </c:pt>
                <c:pt idx="5010">
                  <c:v>#N/A</c:v>
                </c:pt>
                <c:pt idx="5011">
                  <c:v>#N/A</c:v>
                </c:pt>
                <c:pt idx="5012">
                  <c:v>#N/A</c:v>
                </c:pt>
                <c:pt idx="5013">
                  <c:v>#N/A</c:v>
                </c:pt>
                <c:pt idx="5014">
                  <c:v>#N/A</c:v>
                </c:pt>
                <c:pt idx="5015">
                  <c:v>#N/A</c:v>
                </c:pt>
                <c:pt idx="5016">
                  <c:v>#N/A</c:v>
                </c:pt>
                <c:pt idx="5017">
                  <c:v>#N/A</c:v>
                </c:pt>
                <c:pt idx="5018">
                  <c:v>#N/A</c:v>
                </c:pt>
                <c:pt idx="5019">
                  <c:v>#N/A</c:v>
                </c:pt>
                <c:pt idx="5020">
                  <c:v>#N/A</c:v>
                </c:pt>
                <c:pt idx="5021">
                  <c:v>#N/A</c:v>
                </c:pt>
                <c:pt idx="5022">
                  <c:v>#N/A</c:v>
                </c:pt>
                <c:pt idx="5023">
                  <c:v>#N/A</c:v>
                </c:pt>
                <c:pt idx="5024">
                  <c:v>#N/A</c:v>
                </c:pt>
                <c:pt idx="5025">
                  <c:v>#N/A</c:v>
                </c:pt>
                <c:pt idx="5026">
                  <c:v>#N/A</c:v>
                </c:pt>
                <c:pt idx="5027">
                  <c:v>#N/A</c:v>
                </c:pt>
                <c:pt idx="5028">
                  <c:v>#N/A</c:v>
                </c:pt>
                <c:pt idx="5029">
                  <c:v>#N/A</c:v>
                </c:pt>
                <c:pt idx="5030">
                  <c:v>#N/A</c:v>
                </c:pt>
                <c:pt idx="5031">
                  <c:v>#N/A</c:v>
                </c:pt>
                <c:pt idx="5032">
                  <c:v>#N/A</c:v>
                </c:pt>
                <c:pt idx="5033">
                  <c:v>#N/A</c:v>
                </c:pt>
                <c:pt idx="5034">
                  <c:v>#N/A</c:v>
                </c:pt>
                <c:pt idx="5035">
                  <c:v>#N/A</c:v>
                </c:pt>
                <c:pt idx="5036">
                  <c:v>#N/A</c:v>
                </c:pt>
                <c:pt idx="5037">
                  <c:v>#N/A</c:v>
                </c:pt>
                <c:pt idx="5038">
                  <c:v>#N/A</c:v>
                </c:pt>
                <c:pt idx="5039">
                  <c:v>#N/A</c:v>
                </c:pt>
                <c:pt idx="5040">
                  <c:v>#N/A</c:v>
                </c:pt>
                <c:pt idx="5041">
                  <c:v>#N/A</c:v>
                </c:pt>
                <c:pt idx="5042">
                  <c:v>#N/A</c:v>
                </c:pt>
                <c:pt idx="5043">
                  <c:v>#N/A</c:v>
                </c:pt>
                <c:pt idx="5044">
                  <c:v>#N/A</c:v>
                </c:pt>
                <c:pt idx="5045">
                  <c:v>#N/A</c:v>
                </c:pt>
                <c:pt idx="5046">
                  <c:v>#N/A</c:v>
                </c:pt>
                <c:pt idx="5047">
                  <c:v>#N/A</c:v>
                </c:pt>
                <c:pt idx="5048">
                  <c:v>#N/A</c:v>
                </c:pt>
                <c:pt idx="5049">
                  <c:v>#N/A</c:v>
                </c:pt>
                <c:pt idx="5050">
                  <c:v>#N/A</c:v>
                </c:pt>
                <c:pt idx="5051">
                  <c:v>#N/A</c:v>
                </c:pt>
                <c:pt idx="5052">
                  <c:v>#N/A</c:v>
                </c:pt>
                <c:pt idx="5053">
                  <c:v>#N/A</c:v>
                </c:pt>
                <c:pt idx="5054">
                  <c:v>#N/A</c:v>
                </c:pt>
                <c:pt idx="5055">
                  <c:v>#N/A</c:v>
                </c:pt>
                <c:pt idx="5056">
                  <c:v>#N/A</c:v>
                </c:pt>
                <c:pt idx="5057">
                  <c:v>#N/A</c:v>
                </c:pt>
                <c:pt idx="5058">
                  <c:v>#N/A</c:v>
                </c:pt>
                <c:pt idx="5059">
                  <c:v>#N/A</c:v>
                </c:pt>
                <c:pt idx="5060">
                  <c:v>#N/A</c:v>
                </c:pt>
                <c:pt idx="5061">
                  <c:v>#N/A</c:v>
                </c:pt>
                <c:pt idx="5062">
                  <c:v>#N/A</c:v>
                </c:pt>
                <c:pt idx="5063">
                  <c:v>#N/A</c:v>
                </c:pt>
                <c:pt idx="5064">
                  <c:v>#N/A</c:v>
                </c:pt>
                <c:pt idx="5065">
                  <c:v>#N/A</c:v>
                </c:pt>
                <c:pt idx="5066">
                  <c:v>#N/A</c:v>
                </c:pt>
                <c:pt idx="5067">
                  <c:v>#N/A</c:v>
                </c:pt>
                <c:pt idx="5068">
                  <c:v>#N/A</c:v>
                </c:pt>
                <c:pt idx="5069">
                  <c:v>#N/A</c:v>
                </c:pt>
                <c:pt idx="5070">
                  <c:v>#N/A</c:v>
                </c:pt>
                <c:pt idx="5071">
                  <c:v>#N/A</c:v>
                </c:pt>
                <c:pt idx="5072">
                  <c:v>#N/A</c:v>
                </c:pt>
                <c:pt idx="5073">
                  <c:v>#N/A</c:v>
                </c:pt>
                <c:pt idx="5074">
                  <c:v>#N/A</c:v>
                </c:pt>
                <c:pt idx="5075">
                  <c:v>#N/A</c:v>
                </c:pt>
                <c:pt idx="5076">
                  <c:v>#N/A</c:v>
                </c:pt>
                <c:pt idx="5077">
                  <c:v>#N/A</c:v>
                </c:pt>
                <c:pt idx="5078">
                  <c:v>#N/A</c:v>
                </c:pt>
                <c:pt idx="5079">
                  <c:v>#N/A</c:v>
                </c:pt>
                <c:pt idx="5080">
                  <c:v>#N/A</c:v>
                </c:pt>
                <c:pt idx="5081">
                  <c:v>#N/A</c:v>
                </c:pt>
                <c:pt idx="5082">
                  <c:v>#N/A</c:v>
                </c:pt>
                <c:pt idx="5083">
                  <c:v>#N/A</c:v>
                </c:pt>
                <c:pt idx="5084">
                  <c:v>#N/A</c:v>
                </c:pt>
                <c:pt idx="5085">
                  <c:v>#N/A</c:v>
                </c:pt>
                <c:pt idx="5086">
                  <c:v>#N/A</c:v>
                </c:pt>
                <c:pt idx="5087">
                  <c:v>#N/A</c:v>
                </c:pt>
                <c:pt idx="5088">
                  <c:v>#N/A</c:v>
                </c:pt>
                <c:pt idx="5089">
                  <c:v>#N/A</c:v>
                </c:pt>
                <c:pt idx="5090">
                  <c:v>#N/A</c:v>
                </c:pt>
                <c:pt idx="5091">
                  <c:v>#N/A</c:v>
                </c:pt>
                <c:pt idx="5092">
                  <c:v>#N/A</c:v>
                </c:pt>
                <c:pt idx="5093">
                  <c:v>#N/A</c:v>
                </c:pt>
                <c:pt idx="5094">
                  <c:v>#N/A</c:v>
                </c:pt>
                <c:pt idx="5095">
                  <c:v>#N/A</c:v>
                </c:pt>
                <c:pt idx="5096">
                  <c:v>#N/A</c:v>
                </c:pt>
                <c:pt idx="5097">
                  <c:v>#N/A</c:v>
                </c:pt>
                <c:pt idx="5098">
                  <c:v>#N/A</c:v>
                </c:pt>
                <c:pt idx="5099">
                  <c:v>#N/A</c:v>
                </c:pt>
                <c:pt idx="5100">
                  <c:v>#N/A</c:v>
                </c:pt>
                <c:pt idx="5101">
                  <c:v>#N/A</c:v>
                </c:pt>
                <c:pt idx="5102">
                  <c:v>#N/A</c:v>
                </c:pt>
                <c:pt idx="5103">
                  <c:v>#N/A</c:v>
                </c:pt>
                <c:pt idx="5104">
                  <c:v>#N/A</c:v>
                </c:pt>
                <c:pt idx="5105">
                  <c:v>#N/A</c:v>
                </c:pt>
                <c:pt idx="5106">
                  <c:v>#N/A</c:v>
                </c:pt>
                <c:pt idx="5107">
                  <c:v>#N/A</c:v>
                </c:pt>
                <c:pt idx="5108">
                  <c:v>#N/A</c:v>
                </c:pt>
                <c:pt idx="5109">
                  <c:v>#N/A</c:v>
                </c:pt>
                <c:pt idx="5110">
                  <c:v>#N/A</c:v>
                </c:pt>
                <c:pt idx="5111">
                  <c:v>#N/A</c:v>
                </c:pt>
                <c:pt idx="5112">
                  <c:v>#N/A</c:v>
                </c:pt>
                <c:pt idx="5113">
                  <c:v>#N/A</c:v>
                </c:pt>
                <c:pt idx="5114">
                  <c:v>#N/A</c:v>
                </c:pt>
                <c:pt idx="5115">
                  <c:v>#N/A</c:v>
                </c:pt>
                <c:pt idx="5116">
                  <c:v>#N/A</c:v>
                </c:pt>
                <c:pt idx="5117">
                  <c:v>#N/A</c:v>
                </c:pt>
                <c:pt idx="5118">
                  <c:v>#N/A</c:v>
                </c:pt>
                <c:pt idx="5119">
                  <c:v>#N/A</c:v>
                </c:pt>
                <c:pt idx="5120">
                  <c:v>#N/A</c:v>
                </c:pt>
                <c:pt idx="5121">
                  <c:v>#N/A</c:v>
                </c:pt>
                <c:pt idx="5122">
                  <c:v>#N/A</c:v>
                </c:pt>
                <c:pt idx="5123">
                  <c:v>#N/A</c:v>
                </c:pt>
                <c:pt idx="5124">
                  <c:v>#N/A</c:v>
                </c:pt>
                <c:pt idx="5125">
                  <c:v>#N/A</c:v>
                </c:pt>
                <c:pt idx="5126">
                  <c:v>#N/A</c:v>
                </c:pt>
                <c:pt idx="5127">
                  <c:v>#N/A</c:v>
                </c:pt>
                <c:pt idx="5128">
                  <c:v>#N/A</c:v>
                </c:pt>
                <c:pt idx="5129">
                  <c:v>#N/A</c:v>
                </c:pt>
                <c:pt idx="5130">
                  <c:v>#N/A</c:v>
                </c:pt>
                <c:pt idx="5131">
                  <c:v>#N/A</c:v>
                </c:pt>
                <c:pt idx="5132">
                  <c:v>#N/A</c:v>
                </c:pt>
                <c:pt idx="5133">
                  <c:v>#N/A</c:v>
                </c:pt>
                <c:pt idx="5134">
                  <c:v>#N/A</c:v>
                </c:pt>
                <c:pt idx="5135">
                  <c:v>#N/A</c:v>
                </c:pt>
                <c:pt idx="5136">
                  <c:v>#N/A</c:v>
                </c:pt>
                <c:pt idx="5137">
                  <c:v>#N/A</c:v>
                </c:pt>
                <c:pt idx="5138">
                  <c:v>#N/A</c:v>
                </c:pt>
                <c:pt idx="5139">
                  <c:v>#N/A</c:v>
                </c:pt>
                <c:pt idx="5140">
                  <c:v>#N/A</c:v>
                </c:pt>
                <c:pt idx="5141">
                  <c:v>#N/A</c:v>
                </c:pt>
                <c:pt idx="5142">
                  <c:v>#N/A</c:v>
                </c:pt>
                <c:pt idx="5143">
                  <c:v>#N/A</c:v>
                </c:pt>
                <c:pt idx="5144">
                  <c:v>#N/A</c:v>
                </c:pt>
                <c:pt idx="5145">
                  <c:v>#N/A</c:v>
                </c:pt>
                <c:pt idx="5146">
                  <c:v>#N/A</c:v>
                </c:pt>
                <c:pt idx="5147">
                  <c:v>#N/A</c:v>
                </c:pt>
                <c:pt idx="5148">
                  <c:v>#N/A</c:v>
                </c:pt>
                <c:pt idx="5149">
                  <c:v>#N/A</c:v>
                </c:pt>
                <c:pt idx="5150">
                  <c:v>#N/A</c:v>
                </c:pt>
                <c:pt idx="5151">
                  <c:v>#N/A</c:v>
                </c:pt>
                <c:pt idx="5152">
                  <c:v>#N/A</c:v>
                </c:pt>
                <c:pt idx="5153">
                  <c:v>#N/A</c:v>
                </c:pt>
                <c:pt idx="5154">
                  <c:v>#N/A</c:v>
                </c:pt>
                <c:pt idx="5155">
                  <c:v>#N/A</c:v>
                </c:pt>
                <c:pt idx="5156">
                  <c:v>#N/A</c:v>
                </c:pt>
                <c:pt idx="5157">
                  <c:v>#N/A</c:v>
                </c:pt>
                <c:pt idx="5158">
                  <c:v>#N/A</c:v>
                </c:pt>
                <c:pt idx="5159">
                  <c:v>#N/A</c:v>
                </c:pt>
                <c:pt idx="5160">
                  <c:v>#N/A</c:v>
                </c:pt>
                <c:pt idx="5161">
                  <c:v>#N/A</c:v>
                </c:pt>
                <c:pt idx="5162">
                  <c:v>#N/A</c:v>
                </c:pt>
                <c:pt idx="5163">
                  <c:v>#N/A</c:v>
                </c:pt>
                <c:pt idx="5164">
                  <c:v>#N/A</c:v>
                </c:pt>
                <c:pt idx="5165">
                  <c:v>#N/A</c:v>
                </c:pt>
                <c:pt idx="5166">
                  <c:v>#N/A</c:v>
                </c:pt>
                <c:pt idx="5167">
                  <c:v>#N/A</c:v>
                </c:pt>
                <c:pt idx="5168">
                  <c:v>#N/A</c:v>
                </c:pt>
                <c:pt idx="5169">
                  <c:v>#N/A</c:v>
                </c:pt>
                <c:pt idx="5170">
                  <c:v>#N/A</c:v>
                </c:pt>
                <c:pt idx="5171">
                  <c:v>#N/A</c:v>
                </c:pt>
                <c:pt idx="5172">
                  <c:v>#N/A</c:v>
                </c:pt>
                <c:pt idx="5173">
                  <c:v>#N/A</c:v>
                </c:pt>
                <c:pt idx="5174">
                  <c:v>#N/A</c:v>
                </c:pt>
                <c:pt idx="5175">
                  <c:v>#N/A</c:v>
                </c:pt>
                <c:pt idx="5176">
                  <c:v>#N/A</c:v>
                </c:pt>
                <c:pt idx="5177">
                  <c:v>#N/A</c:v>
                </c:pt>
                <c:pt idx="5178">
                  <c:v>#N/A</c:v>
                </c:pt>
                <c:pt idx="5179">
                  <c:v>#N/A</c:v>
                </c:pt>
                <c:pt idx="5180">
                  <c:v>#N/A</c:v>
                </c:pt>
                <c:pt idx="5181">
                  <c:v>#N/A</c:v>
                </c:pt>
                <c:pt idx="5182">
                  <c:v>#N/A</c:v>
                </c:pt>
                <c:pt idx="5183">
                  <c:v>#N/A</c:v>
                </c:pt>
                <c:pt idx="5184">
                  <c:v>#N/A</c:v>
                </c:pt>
                <c:pt idx="5185">
                  <c:v>#N/A</c:v>
                </c:pt>
                <c:pt idx="5186">
                  <c:v>#N/A</c:v>
                </c:pt>
                <c:pt idx="5187">
                  <c:v>#N/A</c:v>
                </c:pt>
                <c:pt idx="5188">
                  <c:v>#N/A</c:v>
                </c:pt>
                <c:pt idx="5189">
                  <c:v>#N/A</c:v>
                </c:pt>
                <c:pt idx="5190">
                  <c:v>#N/A</c:v>
                </c:pt>
                <c:pt idx="5191">
                  <c:v>#N/A</c:v>
                </c:pt>
                <c:pt idx="5192">
                  <c:v>#N/A</c:v>
                </c:pt>
                <c:pt idx="5193">
                  <c:v>#N/A</c:v>
                </c:pt>
                <c:pt idx="5194">
                  <c:v>#N/A</c:v>
                </c:pt>
                <c:pt idx="5195">
                  <c:v>#N/A</c:v>
                </c:pt>
                <c:pt idx="5196">
                  <c:v>#N/A</c:v>
                </c:pt>
                <c:pt idx="5197">
                  <c:v>#N/A</c:v>
                </c:pt>
                <c:pt idx="5198">
                  <c:v>#N/A</c:v>
                </c:pt>
                <c:pt idx="5199">
                  <c:v>#N/A</c:v>
                </c:pt>
                <c:pt idx="5200">
                  <c:v>#N/A</c:v>
                </c:pt>
                <c:pt idx="5201">
                  <c:v>#N/A</c:v>
                </c:pt>
                <c:pt idx="5202">
                  <c:v>#N/A</c:v>
                </c:pt>
                <c:pt idx="5203">
                  <c:v>#N/A</c:v>
                </c:pt>
                <c:pt idx="5204">
                  <c:v>#N/A</c:v>
                </c:pt>
                <c:pt idx="5205">
                  <c:v>#N/A</c:v>
                </c:pt>
                <c:pt idx="5206">
                  <c:v>#N/A</c:v>
                </c:pt>
                <c:pt idx="5207">
                  <c:v>#N/A</c:v>
                </c:pt>
                <c:pt idx="5208">
                  <c:v>#N/A</c:v>
                </c:pt>
                <c:pt idx="5209">
                  <c:v>#N/A</c:v>
                </c:pt>
                <c:pt idx="5210">
                  <c:v>#N/A</c:v>
                </c:pt>
                <c:pt idx="5211">
                  <c:v>#N/A</c:v>
                </c:pt>
                <c:pt idx="5212">
                  <c:v>#N/A</c:v>
                </c:pt>
                <c:pt idx="5213">
                  <c:v>#N/A</c:v>
                </c:pt>
                <c:pt idx="5214">
                  <c:v>#N/A</c:v>
                </c:pt>
                <c:pt idx="5215">
                  <c:v>#N/A</c:v>
                </c:pt>
                <c:pt idx="5216">
                  <c:v>#N/A</c:v>
                </c:pt>
                <c:pt idx="5217">
                  <c:v>#N/A</c:v>
                </c:pt>
                <c:pt idx="5218">
                  <c:v>#N/A</c:v>
                </c:pt>
                <c:pt idx="5219">
                  <c:v>#N/A</c:v>
                </c:pt>
                <c:pt idx="5220">
                  <c:v>#N/A</c:v>
                </c:pt>
                <c:pt idx="5221">
                  <c:v>#N/A</c:v>
                </c:pt>
                <c:pt idx="5222">
                  <c:v>#N/A</c:v>
                </c:pt>
                <c:pt idx="5223">
                  <c:v>#N/A</c:v>
                </c:pt>
                <c:pt idx="5224">
                  <c:v>#N/A</c:v>
                </c:pt>
                <c:pt idx="5225">
                  <c:v>#N/A</c:v>
                </c:pt>
                <c:pt idx="5226">
                  <c:v>#N/A</c:v>
                </c:pt>
                <c:pt idx="5227">
                  <c:v>#N/A</c:v>
                </c:pt>
                <c:pt idx="5228">
                  <c:v>#N/A</c:v>
                </c:pt>
                <c:pt idx="5229">
                  <c:v>#N/A</c:v>
                </c:pt>
                <c:pt idx="5230">
                  <c:v>#N/A</c:v>
                </c:pt>
                <c:pt idx="5231">
                  <c:v>#N/A</c:v>
                </c:pt>
                <c:pt idx="5232">
                  <c:v>#N/A</c:v>
                </c:pt>
                <c:pt idx="5233">
                  <c:v>#N/A</c:v>
                </c:pt>
                <c:pt idx="5234">
                  <c:v>#N/A</c:v>
                </c:pt>
                <c:pt idx="5235">
                  <c:v>#N/A</c:v>
                </c:pt>
                <c:pt idx="5236">
                  <c:v>#N/A</c:v>
                </c:pt>
                <c:pt idx="5237">
                  <c:v>#N/A</c:v>
                </c:pt>
                <c:pt idx="5238">
                  <c:v>#N/A</c:v>
                </c:pt>
                <c:pt idx="5239">
                  <c:v>#N/A</c:v>
                </c:pt>
                <c:pt idx="5240">
                  <c:v>#N/A</c:v>
                </c:pt>
                <c:pt idx="5241">
                  <c:v>#N/A</c:v>
                </c:pt>
                <c:pt idx="5242">
                  <c:v>#N/A</c:v>
                </c:pt>
                <c:pt idx="5243">
                  <c:v>#N/A</c:v>
                </c:pt>
                <c:pt idx="5244">
                  <c:v>#N/A</c:v>
                </c:pt>
                <c:pt idx="5245">
                  <c:v>#N/A</c:v>
                </c:pt>
                <c:pt idx="5246">
                  <c:v>#N/A</c:v>
                </c:pt>
                <c:pt idx="5247">
                  <c:v>#N/A</c:v>
                </c:pt>
                <c:pt idx="5248">
                  <c:v>#N/A</c:v>
                </c:pt>
                <c:pt idx="5249">
                  <c:v>#N/A</c:v>
                </c:pt>
                <c:pt idx="5250">
                  <c:v>#N/A</c:v>
                </c:pt>
                <c:pt idx="5251">
                  <c:v>#N/A</c:v>
                </c:pt>
                <c:pt idx="5252">
                  <c:v>#N/A</c:v>
                </c:pt>
                <c:pt idx="5253">
                  <c:v>#N/A</c:v>
                </c:pt>
                <c:pt idx="5254">
                  <c:v>#N/A</c:v>
                </c:pt>
                <c:pt idx="5255">
                  <c:v>#N/A</c:v>
                </c:pt>
                <c:pt idx="5256">
                  <c:v>#N/A</c:v>
                </c:pt>
                <c:pt idx="5257">
                  <c:v>#N/A</c:v>
                </c:pt>
                <c:pt idx="5258">
                  <c:v>#N/A</c:v>
                </c:pt>
                <c:pt idx="5259">
                  <c:v>#N/A</c:v>
                </c:pt>
                <c:pt idx="5260">
                  <c:v>#N/A</c:v>
                </c:pt>
                <c:pt idx="5261">
                  <c:v>#N/A</c:v>
                </c:pt>
                <c:pt idx="5262">
                  <c:v>#N/A</c:v>
                </c:pt>
                <c:pt idx="5263">
                  <c:v>#N/A</c:v>
                </c:pt>
                <c:pt idx="5264">
                  <c:v>#N/A</c:v>
                </c:pt>
                <c:pt idx="5265">
                  <c:v>#N/A</c:v>
                </c:pt>
                <c:pt idx="5266">
                  <c:v>#N/A</c:v>
                </c:pt>
                <c:pt idx="5267">
                  <c:v>#N/A</c:v>
                </c:pt>
                <c:pt idx="5268">
                  <c:v>#N/A</c:v>
                </c:pt>
                <c:pt idx="5269">
                  <c:v>#N/A</c:v>
                </c:pt>
                <c:pt idx="5270">
                  <c:v>#N/A</c:v>
                </c:pt>
                <c:pt idx="5271">
                  <c:v>#N/A</c:v>
                </c:pt>
                <c:pt idx="5272">
                  <c:v>#N/A</c:v>
                </c:pt>
                <c:pt idx="5273">
                  <c:v>#N/A</c:v>
                </c:pt>
                <c:pt idx="5274">
                  <c:v>#N/A</c:v>
                </c:pt>
                <c:pt idx="5275">
                  <c:v>#N/A</c:v>
                </c:pt>
                <c:pt idx="5276">
                  <c:v>#N/A</c:v>
                </c:pt>
                <c:pt idx="5277">
                  <c:v>#N/A</c:v>
                </c:pt>
                <c:pt idx="5278">
                  <c:v>#N/A</c:v>
                </c:pt>
                <c:pt idx="5279">
                  <c:v>#N/A</c:v>
                </c:pt>
                <c:pt idx="5280">
                  <c:v>#N/A</c:v>
                </c:pt>
                <c:pt idx="5281">
                  <c:v>#N/A</c:v>
                </c:pt>
                <c:pt idx="5282">
                  <c:v>#N/A</c:v>
                </c:pt>
                <c:pt idx="5283">
                  <c:v>#N/A</c:v>
                </c:pt>
                <c:pt idx="5284">
                  <c:v>#N/A</c:v>
                </c:pt>
                <c:pt idx="5285">
                  <c:v>#N/A</c:v>
                </c:pt>
                <c:pt idx="5286">
                  <c:v>#N/A</c:v>
                </c:pt>
                <c:pt idx="5287">
                  <c:v>#N/A</c:v>
                </c:pt>
                <c:pt idx="5288">
                  <c:v>#N/A</c:v>
                </c:pt>
                <c:pt idx="5289">
                  <c:v>#N/A</c:v>
                </c:pt>
                <c:pt idx="5290">
                  <c:v>#N/A</c:v>
                </c:pt>
                <c:pt idx="5291">
                  <c:v>#N/A</c:v>
                </c:pt>
                <c:pt idx="5292">
                  <c:v>#N/A</c:v>
                </c:pt>
                <c:pt idx="5293">
                  <c:v>#N/A</c:v>
                </c:pt>
                <c:pt idx="5294">
                  <c:v>#N/A</c:v>
                </c:pt>
                <c:pt idx="5295">
                  <c:v>#N/A</c:v>
                </c:pt>
                <c:pt idx="5296">
                  <c:v>#N/A</c:v>
                </c:pt>
                <c:pt idx="5297">
                  <c:v>#N/A</c:v>
                </c:pt>
                <c:pt idx="5298">
                  <c:v>#N/A</c:v>
                </c:pt>
                <c:pt idx="5299">
                  <c:v>#N/A</c:v>
                </c:pt>
                <c:pt idx="5300">
                  <c:v>#N/A</c:v>
                </c:pt>
                <c:pt idx="5301">
                  <c:v>#N/A</c:v>
                </c:pt>
                <c:pt idx="5302">
                  <c:v>#N/A</c:v>
                </c:pt>
                <c:pt idx="5303">
                  <c:v>#N/A</c:v>
                </c:pt>
                <c:pt idx="5304">
                  <c:v>#N/A</c:v>
                </c:pt>
                <c:pt idx="5305">
                  <c:v>#N/A</c:v>
                </c:pt>
                <c:pt idx="5306">
                  <c:v>#N/A</c:v>
                </c:pt>
                <c:pt idx="5307">
                  <c:v>#N/A</c:v>
                </c:pt>
                <c:pt idx="5308">
                  <c:v>#N/A</c:v>
                </c:pt>
                <c:pt idx="5309">
                  <c:v>#N/A</c:v>
                </c:pt>
                <c:pt idx="5310">
                  <c:v>#N/A</c:v>
                </c:pt>
                <c:pt idx="5311">
                  <c:v>#N/A</c:v>
                </c:pt>
                <c:pt idx="5312">
                  <c:v>#N/A</c:v>
                </c:pt>
                <c:pt idx="5313">
                  <c:v>#N/A</c:v>
                </c:pt>
                <c:pt idx="5314">
                  <c:v>#N/A</c:v>
                </c:pt>
                <c:pt idx="5315">
                  <c:v>#N/A</c:v>
                </c:pt>
                <c:pt idx="5316">
                  <c:v>#N/A</c:v>
                </c:pt>
                <c:pt idx="5317">
                  <c:v>#N/A</c:v>
                </c:pt>
                <c:pt idx="5318">
                  <c:v>#N/A</c:v>
                </c:pt>
                <c:pt idx="5319">
                  <c:v>#N/A</c:v>
                </c:pt>
                <c:pt idx="5320">
                  <c:v>#N/A</c:v>
                </c:pt>
                <c:pt idx="5321">
                  <c:v>#N/A</c:v>
                </c:pt>
                <c:pt idx="5322">
                  <c:v>#N/A</c:v>
                </c:pt>
                <c:pt idx="5323">
                  <c:v>#N/A</c:v>
                </c:pt>
                <c:pt idx="5324">
                  <c:v>#N/A</c:v>
                </c:pt>
                <c:pt idx="5325">
                  <c:v>#N/A</c:v>
                </c:pt>
                <c:pt idx="5326">
                  <c:v>#N/A</c:v>
                </c:pt>
                <c:pt idx="5327">
                  <c:v>#N/A</c:v>
                </c:pt>
                <c:pt idx="5328">
                  <c:v>#N/A</c:v>
                </c:pt>
                <c:pt idx="5329">
                  <c:v>#N/A</c:v>
                </c:pt>
                <c:pt idx="5330">
                  <c:v>#N/A</c:v>
                </c:pt>
                <c:pt idx="5331">
                  <c:v>#N/A</c:v>
                </c:pt>
                <c:pt idx="5332">
                  <c:v>#N/A</c:v>
                </c:pt>
                <c:pt idx="5333">
                  <c:v>#N/A</c:v>
                </c:pt>
                <c:pt idx="5334">
                  <c:v>#N/A</c:v>
                </c:pt>
                <c:pt idx="5335">
                  <c:v>#N/A</c:v>
                </c:pt>
                <c:pt idx="5336">
                  <c:v>#N/A</c:v>
                </c:pt>
                <c:pt idx="5337">
                  <c:v>#N/A</c:v>
                </c:pt>
                <c:pt idx="5338">
                  <c:v>#N/A</c:v>
                </c:pt>
                <c:pt idx="5339">
                  <c:v>#N/A</c:v>
                </c:pt>
                <c:pt idx="5340">
                  <c:v>#N/A</c:v>
                </c:pt>
                <c:pt idx="5341">
                  <c:v>#N/A</c:v>
                </c:pt>
                <c:pt idx="5342">
                  <c:v>#N/A</c:v>
                </c:pt>
                <c:pt idx="5343">
                  <c:v>#N/A</c:v>
                </c:pt>
                <c:pt idx="5344">
                  <c:v>#N/A</c:v>
                </c:pt>
                <c:pt idx="5345">
                  <c:v>#N/A</c:v>
                </c:pt>
                <c:pt idx="5346">
                  <c:v>#N/A</c:v>
                </c:pt>
                <c:pt idx="5347">
                  <c:v>#N/A</c:v>
                </c:pt>
                <c:pt idx="5348">
                  <c:v>#N/A</c:v>
                </c:pt>
                <c:pt idx="5349">
                  <c:v>#N/A</c:v>
                </c:pt>
                <c:pt idx="5350">
                  <c:v>#N/A</c:v>
                </c:pt>
                <c:pt idx="5351">
                  <c:v>#N/A</c:v>
                </c:pt>
                <c:pt idx="5352">
                  <c:v>#N/A</c:v>
                </c:pt>
                <c:pt idx="5353">
                  <c:v>#N/A</c:v>
                </c:pt>
                <c:pt idx="5354">
                  <c:v>#N/A</c:v>
                </c:pt>
                <c:pt idx="5355">
                  <c:v>#N/A</c:v>
                </c:pt>
                <c:pt idx="5356">
                  <c:v>#N/A</c:v>
                </c:pt>
                <c:pt idx="5357">
                  <c:v>#N/A</c:v>
                </c:pt>
                <c:pt idx="5358">
                  <c:v>#N/A</c:v>
                </c:pt>
                <c:pt idx="5359">
                  <c:v>#N/A</c:v>
                </c:pt>
                <c:pt idx="5360">
                  <c:v>#N/A</c:v>
                </c:pt>
                <c:pt idx="5361">
                  <c:v>#N/A</c:v>
                </c:pt>
                <c:pt idx="5362">
                  <c:v>#N/A</c:v>
                </c:pt>
                <c:pt idx="5363">
                  <c:v>#N/A</c:v>
                </c:pt>
                <c:pt idx="5364">
                  <c:v>#N/A</c:v>
                </c:pt>
                <c:pt idx="5365">
                  <c:v>#N/A</c:v>
                </c:pt>
                <c:pt idx="5366">
                  <c:v>#N/A</c:v>
                </c:pt>
                <c:pt idx="5367">
                  <c:v>#N/A</c:v>
                </c:pt>
                <c:pt idx="5368">
                  <c:v>#N/A</c:v>
                </c:pt>
                <c:pt idx="5369">
                  <c:v>#N/A</c:v>
                </c:pt>
                <c:pt idx="5370">
                  <c:v>#N/A</c:v>
                </c:pt>
                <c:pt idx="5371">
                  <c:v>#N/A</c:v>
                </c:pt>
                <c:pt idx="5372">
                  <c:v>#N/A</c:v>
                </c:pt>
                <c:pt idx="5373">
                  <c:v>#N/A</c:v>
                </c:pt>
                <c:pt idx="5374">
                  <c:v>#N/A</c:v>
                </c:pt>
                <c:pt idx="5375">
                  <c:v>#N/A</c:v>
                </c:pt>
                <c:pt idx="5376">
                  <c:v>#N/A</c:v>
                </c:pt>
                <c:pt idx="5377">
                  <c:v>#N/A</c:v>
                </c:pt>
                <c:pt idx="5378">
                  <c:v>#N/A</c:v>
                </c:pt>
                <c:pt idx="5379">
                  <c:v>#N/A</c:v>
                </c:pt>
                <c:pt idx="5380">
                  <c:v>#N/A</c:v>
                </c:pt>
                <c:pt idx="5381">
                  <c:v>#N/A</c:v>
                </c:pt>
                <c:pt idx="5382">
                  <c:v>#N/A</c:v>
                </c:pt>
                <c:pt idx="5383">
                  <c:v>#N/A</c:v>
                </c:pt>
                <c:pt idx="5384">
                  <c:v>#N/A</c:v>
                </c:pt>
                <c:pt idx="5385">
                  <c:v>#N/A</c:v>
                </c:pt>
                <c:pt idx="5386">
                  <c:v>#N/A</c:v>
                </c:pt>
                <c:pt idx="5387">
                  <c:v>#N/A</c:v>
                </c:pt>
                <c:pt idx="5388">
                  <c:v>#N/A</c:v>
                </c:pt>
                <c:pt idx="5389">
                  <c:v>#N/A</c:v>
                </c:pt>
                <c:pt idx="5390">
                  <c:v>#N/A</c:v>
                </c:pt>
                <c:pt idx="5391">
                  <c:v>#N/A</c:v>
                </c:pt>
                <c:pt idx="5392">
                  <c:v>#N/A</c:v>
                </c:pt>
                <c:pt idx="5393">
                  <c:v>#N/A</c:v>
                </c:pt>
                <c:pt idx="5394">
                  <c:v>#N/A</c:v>
                </c:pt>
                <c:pt idx="5395">
                  <c:v>#N/A</c:v>
                </c:pt>
                <c:pt idx="5396">
                  <c:v>#N/A</c:v>
                </c:pt>
                <c:pt idx="5397">
                  <c:v>#N/A</c:v>
                </c:pt>
                <c:pt idx="5398">
                  <c:v>#N/A</c:v>
                </c:pt>
                <c:pt idx="5399">
                  <c:v>#N/A</c:v>
                </c:pt>
                <c:pt idx="5400">
                  <c:v>#N/A</c:v>
                </c:pt>
                <c:pt idx="5401">
                  <c:v>#N/A</c:v>
                </c:pt>
                <c:pt idx="5402">
                  <c:v>#N/A</c:v>
                </c:pt>
                <c:pt idx="5403">
                  <c:v>#N/A</c:v>
                </c:pt>
                <c:pt idx="5404">
                  <c:v>#N/A</c:v>
                </c:pt>
                <c:pt idx="5405">
                  <c:v>#N/A</c:v>
                </c:pt>
                <c:pt idx="5406">
                  <c:v>#N/A</c:v>
                </c:pt>
                <c:pt idx="5407">
                  <c:v>#N/A</c:v>
                </c:pt>
                <c:pt idx="5408">
                  <c:v>#N/A</c:v>
                </c:pt>
                <c:pt idx="5409">
                  <c:v>#N/A</c:v>
                </c:pt>
                <c:pt idx="5410">
                  <c:v>#N/A</c:v>
                </c:pt>
                <c:pt idx="5411">
                  <c:v>#N/A</c:v>
                </c:pt>
                <c:pt idx="5412">
                  <c:v>#N/A</c:v>
                </c:pt>
                <c:pt idx="5413">
                  <c:v>#N/A</c:v>
                </c:pt>
                <c:pt idx="5414">
                  <c:v>#N/A</c:v>
                </c:pt>
                <c:pt idx="5415">
                  <c:v>#N/A</c:v>
                </c:pt>
                <c:pt idx="5416">
                  <c:v>#N/A</c:v>
                </c:pt>
                <c:pt idx="5417">
                  <c:v>#N/A</c:v>
                </c:pt>
                <c:pt idx="5418">
                  <c:v>#N/A</c:v>
                </c:pt>
                <c:pt idx="5419">
                  <c:v>#N/A</c:v>
                </c:pt>
                <c:pt idx="5420">
                  <c:v>#N/A</c:v>
                </c:pt>
                <c:pt idx="5421">
                  <c:v>#N/A</c:v>
                </c:pt>
                <c:pt idx="5422">
                  <c:v>#N/A</c:v>
                </c:pt>
                <c:pt idx="5423">
                  <c:v>#N/A</c:v>
                </c:pt>
                <c:pt idx="5424">
                  <c:v>#N/A</c:v>
                </c:pt>
                <c:pt idx="5425">
                  <c:v>#N/A</c:v>
                </c:pt>
                <c:pt idx="5426">
                  <c:v>#N/A</c:v>
                </c:pt>
                <c:pt idx="5427">
                  <c:v>#N/A</c:v>
                </c:pt>
                <c:pt idx="5428">
                  <c:v>#N/A</c:v>
                </c:pt>
                <c:pt idx="5429">
                  <c:v>#N/A</c:v>
                </c:pt>
                <c:pt idx="5430">
                  <c:v>#N/A</c:v>
                </c:pt>
                <c:pt idx="5431">
                  <c:v>#N/A</c:v>
                </c:pt>
                <c:pt idx="5432">
                  <c:v>#N/A</c:v>
                </c:pt>
                <c:pt idx="5433">
                  <c:v>#N/A</c:v>
                </c:pt>
                <c:pt idx="5434">
                  <c:v>#N/A</c:v>
                </c:pt>
                <c:pt idx="5435">
                  <c:v>#N/A</c:v>
                </c:pt>
                <c:pt idx="5436">
                  <c:v>#N/A</c:v>
                </c:pt>
                <c:pt idx="5437">
                  <c:v>#N/A</c:v>
                </c:pt>
                <c:pt idx="5438">
                  <c:v>#N/A</c:v>
                </c:pt>
                <c:pt idx="5439">
                  <c:v>#N/A</c:v>
                </c:pt>
                <c:pt idx="5440">
                  <c:v>#N/A</c:v>
                </c:pt>
                <c:pt idx="5441">
                  <c:v>#N/A</c:v>
                </c:pt>
                <c:pt idx="5442">
                  <c:v>#N/A</c:v>
                </c:pt>
                <c:pt idx="5443">
                  <c:v>#N/A</c:v>
                </c:pt>
                <c:pt idx="5444">
                  <c:v>#N/A</c:v>
                </c:pt>
                <c:pt idx="5445">
                  <c:v>#N/A</c:v>
                </c:pt>
                <c:pt idx="5446">
                  <c:v>#N/A</c:v>
                </c:pt>
                <c:pt idx="5447">
                  <c:v>#N/A</c:v>
                </c:pt>
                <c:pt idx="5448">
                  <c:v>#N/A</c:v>
                </c:pt>
                <c:pt idx="5449">
                  <c:v>#N/A</c:v>
                </c:pt>
                <c:pt idx="5450">
                  <c:v>#N/A</c:v>
                </c:pt>
                <c:pt idx="5451">
                  <c:v>#N/A</c:v>
                </c:pt>
                <c:pt idx="5452">
                  <c:v>#N/A</c:v>
                </c:pt>
                <c:pt idx="5453">
                  <c:v>#N/A</c:v>
                </c:pt>
                <c:pt idx="5454">
                  <c:v>#N/A</c:v>
                </c:pt>
                <c:pt idx="5455">
                  <c:v>#N/A</c:v>
                </c:pt>
                <c:pt idx="5456">
                  <c:v>#N/A</c:v>
                </c:pt>
                <c:pt idx="5457">
                  <c:v>#N/A</c:v>
                </c:pt>
                <c:pt idx="5458">
                  <c:v>#N/A</c:v>
                </c:pt>
                <c:pt idx="5459">
                  <c:v>#N/A</c:v>
                </c:pt>
                <c:pt idx="5460">
                  <c:v>#N/A</c:v>
                </c:pt>
                <c:pt idx="5461">
                  <c:v>#N/A</c:v>
                </c:pt>
                <c:pt idx="5462">
                  <c:v>#N/A</c:v>
                </c:pt>
                <c:pt idx="5463">
                  <c:v>#N/A</c:v>
                </c:pt>
                <c:pt idx="5464">
                  <c:v>#N/A</c:v>
                </c:pt>
                <c:pt idx="5465">
                  <c:v>#N/A</c:v>
                </c:pt>
                <c:pt idx="5466">
                  <c:v>#N/A</c:v>
                </c:pt>
                <c:pt idx="5467">
                  <c:v>#N/A</c:v>
                </c:pt>
                <c:pt idx="5468">
                  <c:v>#N/A</c:v>
                </c:pt>
                <c:pt idx="5469">
                  <c:v>#N/A</c:v>
                </c:pt>
                <c:pt idx="5470">
                  <c:v>#N/A</c:v>
                </c:pt>
                <c:pt idx="5471">
                  <c:v>#N/A</c:v>
                </c:pt>
                <c:pt idx="5472">
                  <c:v>#N/A</c:v>
                </c:pt>
                <c:pt idx="5473">
                  <c:v>#N/A</c:v>
                </c:pt>
                <c:pt idx="5474">
                  <c:v>#N/A</c:v>
                </c:pt>
                <c:pt idx="5475">
                  <c:v>#N/A</c:v>
                </c:pt>
                <c:pt idx="5476">
                  <c:v>#N/A</c:v>
                </c:pt>
                <c:pt idx="5477">
                  <c:v>#N/A</c:v>
                </c:pt>
                <c:pt idx="5478">
                  <c:v>#N/A</c:v>
                </c:pt>
                <c:pt idx="5479">
                  <c:v>#N/A</c:v>
                </c:pt>
                <c:pt idx="5480">
                  <c:v>#N/A</c:v>
                </c:pt>
                <c:pt idx="5481">
                  <c:v>#N/A</c:v>
                </c:pt>
                <c:pt idx="5482">
                  <c:v>#N/A</c:v>
                </c:pt>
                <c:pt idx="5483">
                  <c:v>#N/A</c:v>
                </c:pt>
                <c:pt idx="5484">
                  <c:v>#N/A</c:v>
                </c:pt>
                <c:pt idx="5485">
                  <c:v>#N/A</c:v>
                </c:pt>
                <c:pt idx="5486">
                  <c:v>#N/A</c:v>
                </c:pt>
                <c:pt idx="5487">
                  <c:v>#N/A</c:v>
                </c:pt>
                <c:pt idx="5488">
                  <c:v>#N/A</c:v>
                </c:pt>
                <c:pt idx="5489">
                  <c:v>#N/A</c:v>
                </c:pt>
                <c:pt idx="5490">
                  <c:v>#N/A</c:v>
                </c:pt>
                <c:pt idx="5491">
                  <c:v>#N/A</c:v>
                </c:pt>
                <c:pt idx="5492">
                  <c:v>#N/A</c:v>
                </c:pt>
                <c:pt idx="5493">
                  <c:v>#N/A</c:v>
                </c:pt>
                <c:pt idx="5494">
                  <c:v>#N/A</c:v>
                </c:pt>
                <c:pt idx="5495">
                  <c:v>#N/A</c:v>
                </c:pt>
                <c:pt idx="5496">
                  <c:v>#N/A</c:v>
                </c:pt>
                <c:pt idx="5497">
                  <c:v>#N/A</c:v>
                </c:pt>
                <c:pt idx="5498">
                  <c:v>#N/A</c:v>
                </c:pt>
                <c:pt idx="5499">
                  <c:v>#N/A</c:v>
                </c:pt>
                <c:pt idx="5500">
                  <c:v>#N/A</c:v>
                </c:pt>
                <c:pt idx="5501">
                  <c:v>#N/A</c:v>
                </c:pt>
                <c:pt idx="5502">
                  <c:v>#N/A</c:v>
                </c:pt>
                <c:pt idx="5503">
                  <c:v>#N/A</c:v>
                </c:pt>
                <c:pt idx="5504">
                  <c:v>#N/A</c:v>
                </c:pt>
                <c:pt idx="5505">
                  <c:v>#N/A</c:v>
                </c:pt>
                <c:pt idx="5506">
                  <c:v>#N/A</c:v>
                </c:pt>
                <c:pt idx="5507">
                  <c:v>#N/A</c:v>
                </c:pt>
                <c:pt idx="5508">
                  <c:v>#N/A</c:v>
                </c:pt>
                <c:pt idx="5509">
                  <c:v>#N/A</c:v>
                </c:pt>
                <c:pt idx="5510">
                  <c:v>#N/A</c:v>
                </c:pt>
                <c:pt idx="5511">
                  <c:v>#N/A</c:v>
                </c:pt>
                <c:pt idx="5512">
                  <c:v>#N/A</c:v>
                </c:pt>
                <c:pt idx="5513">
                  <c:v>#N/A</c:v>
                </c:pt>
                <c:pt idx="5514">
                  <c:v>#N/A</c:v>
                </c:pt>
                <c:pt idx="5515">
                  <c:v>#N/A</c:v>
                </c:pt>
                <c:pt idx="5516">
                  <c:v>#N/A</c:v>
                </c:pt>
                <c:pt idx="5517">
                  <c:v>#N/A</c:v>
                </c:pt>
                <c:pt idx="5518">
                  <c:v>#N/A</c:v>
                </c:pt>
                <c:pt idx="5519">
                  <c:v>#N/A</c:v>
                </c:pt>
                <c:pt idx="5520">
                  <c:v>#N/A</c:v>
                </c:pt>
                <c:pt idx="5521">
                  <c:v>#N/A</c:v>
                </c:pt>
                <c:pt idx="5522">
                  <c:v>#N/A</c:v>
                </c:pt>
                <c:pt idx="5523">
                  <c:v>#N/A</c:v>
                </c:pt>
                <c:pt idx="5524">
                  <c:v>#N/A</c:v>
                </c:pt>
                <c:pt idx="5525">
                  <c:v>#N/A</c:v>
                </c:pt>
                <c:pt idx="5526">
                  <c:v>#N/A</c:v>
                </c:pt>
                <c:pt idx="5527">
                  <c:v>#N/A</c:v>
                </c:pt>
                <c:pt idx="5528">
                  <c:v>#N/A</c:v>
                </c:pt>
                <c:pt idx="5529">
                  <c:v>#N/A</c:v>
                </c:pt>
                <c:pt idx="5530">
                  <c:v>#N/A</c:v>
                </c:pt>
                <c:pt idx="5531">
                  <c:v>#N/A</c:v>
                </c:pt>
                <c:pt idx="5532">
                  <c:v>#N/A</c:v>
                </c:pt>
                <c:pt idx="5533">
                  <c:v>#N/A</c:v>
                </c:pt>
                <c:pt idx="5534">
                  <c:v>#N/A</c:v>
                </c:pt>
                <c:pt idx="5535">
                  <c:v>#N/A</c:v>
                </c:pt>
                <c:pt idx="5536">
                  <c:v>#N/A</c:v>
                </c:pt>
                <c:pt idx="5537">
                  <c:v>#N/A</c:v>
                </c:pt>
                <c:pt idx="5538">
                  <c:v>#N/A</c:v>
                </c:pt>
                <c:pt idx="5539">
                  <c:v>#N/A</c:v>
                </c:pt>
                <c:pt idx="5540">
                  <c:v>#N/A</c:v>
                </c:pt>
                <c:pt idx="5541">
                  <c:v>#N/A</c:v>
                </c:pt>
                <c:pt idx="5542">
                  <c:v>#N/A</c:v>
                </c:pt>
                <c:pt idx="5543">
                  <c:v>#N/A</c:v>
                </c:pt>
                <c:pt idx="5544">
                  <c:v>#N/A</c:v>
                </c:pt>
                <c:pt idx="5545">
                  <c:v>#N/A</c:v>
                </c:pt>
                <c:pt idx="5546">
                  <c:v>#N/A</c:v>
                </c:pt>
                <c:pt idx="5547">
                  <c:v>#N/A</c:v>
                </c:pt>
                <c:pt idx="5548">
                  <c:v>#N/A</c:v>
                </c:pt>
                <c:pt idx="5549">
                  <c:v>#N/A</c:v>
                </c:pt>
                <c:pt idx="5550">
                  <c:v>#N/A</c:v>
                </c:pt>
                <c:pt idx="5551">
                  <c:v>#N/A</c:v>
                </c:pt>
                <c:pt idx="5552">
                  <c:v>#N/A</c:v>
                </c:pt>
                <c:pt idx="5553">
                  <c:v>#N/A</c:v>
                </c:pt>
                <c:pt idx="5554">
                  <c:v>#N/A</c:v>
                </c:pt>
                <c:pt idx="5555">
                  <c:v>#N/A</c:v>
                </c:pt>
                <c:pt idx="5556">
                  <c:v>#N/A</c:v>
                </c:pt>
                <c:pt idx="5557">
                  <c:v>#N/A</c:v>
                </c:pt>
                <c:pt idx="5558">
                  <c:v>#N/A</c:v>
                </c:pt>
                <c:pt idx="5559">
                  <c:v>#N/A</c:v>
                </c:pt>
                <c:pt idx="5560">
                  <c:v>#N/A</c:v>
                </c:pt>
                <c:pt idx="5561">
                  <c:v>#N/A</c:v>
                </c:pt>
                <c:pt idx="5562">
                  <c:v>#N/A</c:v>
                </c:pt>
                <c:pt idx="5563">
                  <c:v>#N/A</c:v>
                </c:pt>
                <c:pt idx="5564">
                  <c:v>#N/A</c:v>
                </c:pt>
                <c:pt idx="5565">
                  <c:v>#N/A</c:v>
                </c:pt>
                <c:pt idx="5566">
                  <c:v>#N/A</c:v>
                </c:pt>
                <c:pt idx="5567">
                  <c:v>#N/A</c:v>
                </c:pt>
                <c:pt idx="5568">
                  <c:v>#N/A</c:v>
                </c:pt>
                <c:pt idx="5569">
                  <c:v>#N/A</c:v>
                </c:pt>
                <c:pt idx="5570">
                  <c:v>#N/A</c:v>
                </c:pt>
                <c:pt idx="5571">
                  <c:v>#N/A</c:v>
                </c:pt>
                <c:pt idx="5572">
                  <c:v>#N/A</c:v>
                </c:pt>
                <c:pt idx="5573">
                  <c:v>#N/A</c:v>
                </c:pt>
                <c:pt idx="5574">
                  <c:v>#N/A</c:v>
                </c:pt>
                <c:pt idx="5575">
                  <c:v>#N/A</c:v>
                </c:pt>
                <c:pt idx="5576">
                  <c:v>#N/A</c:v>
                </c:pt>
                <c:pt idx="5577">
                  <c:v>#N/A</c:v>
                </c:pt>
                <c:pt idx="5578">
                  <c:v>#N/A</c:v>
                </c:pt>
                <c:pt idx="5579">
                  <c:v>#N/A</c:v>
                </c:pt>
                <c:pt idx="5580">
                  <c:v>#N/A</c:v>
                </c:pt>
                <c:pt idx="5581">
                  <c:v>#N/A</c:v>
                </c:pt>
                <c:pt idx="5582">
                  <c:v>#N/A</c:v>
                </c:pt>
                <c:pt idx="5583">
                  <c:v>#N/A</c:v>
                </c:pt>
                <c:pt idx="5584">
                  <c:v>#N/A</c:v>
                </c:pt>
                <c:pt idx="5585">
                  <c:v>#N/A</c:v>
                </c:pt>
                <c:pt idx="5586">
                  <c:v>#N/A</c:v>
                </c:pt>
                <c:pt idx="5587">
                  <c:v>#N/A</c:v>
                </c:pt>
                <c:pt idx="5588">
                  <c:v>#N/A</c:v>
                </c:pt>
                <c:pt idx="5589">
                  <c:v>#N/A</c:v>
                </c:pt>
                <c:pt idx="5590">
                  <c:v>#N/A</c:v>
                </c:pt>
                <c:pt idx="5591">
                  <c:v>#N/A</c:v>
                </c:pt>
                <c:pt idx="5592">
                  <c:v>#N/A</c:v>
                </c:pt>
                <c:pt idx="5593">
                  <c:v>#N/A</c:v>
                </c:pt>
                <c:pt idx="5594">
                  <c:v>#N/A</c:v>
                </c:pt>
                <c:pt idx="5595">
                  <c:v>#N/A</c:v>
                </c:pt>
                <c:pt idx="5596">
                  <c:v>#N/A</c:v>
                </c:pt>
                <c:pt idx="5597">
                  <c:v>#N/A</c:v>
                </c:pt>
                <c:pt idx="5598">
                  <c:v>#N/A</c:v>
                </c:pt>
                <c:pt idx="5599">
                  <c:v>#N/A</c:v>
                </c:pt>
                <c:pt idx="5600">
                  <c:v>#N/A</c:v>
                </c:pt>
                <c:pt idx="5601">
                  <c:v>#N/A</c:v>
                </c:pt>
                <c:pt idx="5602">
                  <c:v>#N/A</c:v>
                </c:pt>
                <c:pt idx="5603">
                  <c:v>#N/A</c:v>
                </c:pt>
                <c:pt idx="5604">
                  <c:v>#N/A</c:v>
                </c:pt>
                <c:pt idx="5605">
                  <c:v>#N/A</c:v>
                </c:pt>
                <c:pt idx="5606">
                  <c:v>#N/A</c:v>
                </c:pt>
                <c:pt idx="5607">
                  <c:v>#N/A</c:v>
                </c:pt>
                <c:pt idx="5608">
                  <c:v>#N/A</c:v>
                </c:pt>
                <c:pt idx="5609">
                  <c:v>#N/A</c:v>
                </c:pt>
                <c:pt idx="5610">
                  <c:v>#N/A</c:v>
                </c:pt>
                <c:pt idx="5611">
                  <c:v>#N/A</c:v>
                </c:pt>
                <c:pt idx="5612">
                  <c:v>#N/A</c:v>
                </c:pt>
                <c:pt idx="5613">
                  <c:v>#N/A</c:v>
                </c:pt>
                <c:pt idx="5614">
                  <c:v>#N/A</c:v>
                </c:pt>
                <c:pt idx="5615">
                  <c:v>#N/A</c:v>
                </c:pt>
                <c:pt idx="5616">
                  <c:v>#N/A</c:v>
                </c:pt>
                <c:pt idx="5617">
                  <c:v>#N/A</c:v>
                </c:pt>
                <c:pt idx="5618">
                  <c:v>#N/A</c:v>
                </c:pt>
                <c:pt idx="5619">
                  <c:v>#N/A</c:v>
                </c:pt>
                <c:pt idx="5620">
                  <c:v>#N/A</c:v>
                </c:pt>
                <c:pt idx="5621">
                  <c:v>#N/A</c:v>
                </c:pt>
                <c:pt idx="5622">
                  <c:v>#N/A</c:v>
                </c:pt>
                <c:pt idx="5623">
                  <c:v>#N/A</c:v>
                </c:pt>
                <c:pt idx="5624">
                  <c:v>#N/A</c:v>
                </c:pt>
                <c:pt idx="5625">
                  <c:v>#N/A</c:v>
                </c:pt>
                <c:pt idx="5626">
                  <c:v>#N/A</c:v>
                </c:pt>
                <c:pt idx="5627">
                  <c:v>#N/A</c:v>
                </c:pt>
                <c:pt idx="5628">
                  <c:v>#N/A</c:v>
                </c:pt>
                <c:pt idx="5629">
                  <c:v>#N/A</c:v>
                </c:pt>
                <c:pt idx="5630">
                  <c:v>#N/A</c:v>
                </c:pt>
                <c:pt idx="5631">
                  <c:v>#N/A</c:v>
                </c:pt>
                <c:pt idx="5632">
                  <c:v>#N/A</c:v>
                </c:pt>
                <c:pt idx="5633">
                  <c:v>#N/A</c:v>
                </c:pt>
                <c:pt idx="5634">
                  <c:v>#N/A</c:v>
                </c:pt>
                <c:pt idx="5635">
                  <c:v>#N/A</c:v>
                </c:pt>
                <c:pt idx="5636">
                  <c:v>#N/A</c:v>
                </c:pt>
                <c:pt idx="5637">
                  <c:v>#N/A</c:v>
                </c:pt>
                <c:pt idx="5638">
                  <c:v>#N/A</c:v>
                </c:pt>
                <c:pt idx="5639">
                  <c:v>#N/A</c:v>
                </c:pt>
                <c:pt idx="5640">
                  <c:v>#N/A</c:v>
                </c:pt>
                <c:pt idx="5641">
                  <c:v>#N/A</c:v>
                </c:pt>
                <c:pt idx="5642">
                  <c:v>#N/A</c:v>
                </c:pt>
                <c:pt idx="5643">
                  <c:v>#N/A</c:v>
                </c:pt>
                <c:pt idx="5644">
                  <c:v>#N/A</c:v>
                </c:pt>
                <c:pt idx="5645">
                  <c:v>#N/A</c:v>
                </c:pt>
                <c:pt idx="5646">
                  <c:v>#N/A</c:v>
                </c:pt>
                <c:pt idx="5647">
                  <c:v>#N/A</c:v>
                </c:pt>
                <c:pt idx="5648">
                  <c:v>#N/A</c:v>
                </c:pt>
                <c:pt idx="5649">
                  <c:v>#N/A</c:v>
                </c:pt>
                <c:pt idx="5650">
                  <c:v>#N/A</c:v>
                </c:pt>
                <c:pt idx="5651">
                  <c:v>#N/A</c:v>
                </c:pt>
                <c:pt idx="5652">
                  <c:v>#N/A</c:v>
                </c:pt>
                <c:pt idx="5653">
                  <c:v>#N/A</c:v>
                </c:pt>
                <c:pt idx="5654">
                  <c:v>#N/A</c:v>
                </c:pt>
                <c:pt idx="5655">
                  <c:v>#N/A</c:v>
                </c:pt>
                <c:pt idx="5656">
                  <c:v>#N/A</c:v>
                </c:pt>
                <c:pt idx="5657">
                  <c:v>#N/A</c:v>
                </c:pt>
                <c:pt idx="5658">
                  <c:v>#N/A</c:v>
                </c:pt>
                <c:pt idx="5659">
                  <c:v>#N/A</c:v>
                </c:pt>
                <c:pt idx="5660">
                  <c:v>#N/A</c:v>
                </c:pt>
                <c:pt idx="5661">
                  <c:v>#N/A</c:v>
                </c:pt>
                <c:pt idx="5662">
                  <c:v>#N/A</c:v>
                </c:pt>
                <c:pt idx="5663">
                  <c:v>#N/A</c:v>
                </c:pt>
                <c:pt idx="5664">
                  <c:v>#N/A</c:v>
                </c:pt>
                <c:pt idx="5665">
                  <c:v>#N/A</c:v>
                </c:pt>
                <c:pt idx="5666">
                  <c:v>#N/A</c:v>
                </c:pt>
                <c:pt idx="5667">
                  <c:v>#N/A</c:v>
                </c:pt>
                <c:pt idx="5668">
                  <c:v>#N/A</c:v>
                </c:pt>
                <c:pt idx="5669">
                  <c:v>#N/A</c:v>
                </c:pt>
                <c:pt idx="5670">
                  <c:v>#N/A</c:v>
                </c:pt>
                <c:pt idx="5671">
                  <c:v>#N/A</c:v>
                </c:pt>
                <c:pt idx="5672">
                  <c:v>#N/A</c:v>
                </c:pt>
                <c:pt idx="5673">
                  <c:v>#N/A</c:v>
                </c:pt>
                <c:pt idx="5674">
                  <c:v>#N/A</c:v>
                </c:pt>
                <c:pt idx="5675">
                  <c:v>#N/A</c:v>
                </c:pt>
                <c:pt idx="5676">
                  <c:v>#N/A</c:v>
                </c:pt>
                <c:pt idx="5677">
                  <c:v>#N/A</c:v>
                </c:pt>
                <c:pt idx="5678">
                  <c:v>#N/A</c:v>
                </c:pt>
                <c:pt idx="5679">
                  <c:v>#N/A</c:v>
                </c:pt>
                <c:pt idx="5680">
                  <c:v>#N/A</c:v>
                </c:pt>
                <c:pt idx="5681">
                  <c:v>#N/A</c:v>
                </c:pt>
                <c:pt idx="5682">
                  <c:v>#N/A</c:v>
                </c:pt>
                <c:pt idx="5683">
                  <c:v>#N/A</c:v>
                </c:pt>
                <c:pt idx="5684">
                  <c:v>#N/A</c:v>
                </c:pt>
                <c:pt idx="5685">
                  <c:v>#N/A</c:v>
                </c:pt>
                <c:pt idx="5686">
                  <c:v>#N/A</c:v>
                </c:pt>
                <c:pt idx="5687">
                  <c:v>#N/A</c:v>
                </c:pt>
                <c:pt idx="5688">
                  <c:v>#N/A</c:v>
                </c:pt>
                <c:pt idx="5689">
                  <c:v>#N/A</c:v>
                </c:pt>
                <c:pt idx="5690">
                  <c:v>#N/A</c:v>
                </c:pt>
                <c:pt idx="5691">
                  <c:v>#N/A</c:v>
                </c:pt>
                <c:pt idx="5692">
                  <c:v>#N/A</c:v>
                </c:pt>
                <c:pt idx="5693">
                  <c:v>#N/A</c:v>
                </c:pt>
                <c:pt idx="5694">
                  <c:v>#N/A</c:v>
                </c:pt>
                <c:pt idx="5695">
                  <c:v>#N/A</c:v>
                </c:pt>
                <c:pt idx="5696">
                  <c:v>#N/A</c:v>
                </c:pt>
                <c:pt idx="5697">
                  <c:v>#N/A</c:v>
                </c:pt>
                <c:pt idx="5698">
                  <c:v>#N/A</c:v>
                </c:pt>
                <c:pt idx="5699">
                  <c:v>#N/A</c:v>
                </c:pt>
                <c:pt idx="5700">
                  <c:v>#N/A</c:v>
                </c:pt>
                <c:pt idx="5701">
                  <c:v>#N/A</c:v>
                </c:pt>
                <c:pt idx="5702">
                  <c:v>#N/A</c:v>
                </c:pt>
                <c:pt idx="5703">
                  <c:v>#N/A</c:v>
                </c:pt>
                <c:pt idx="5704">
                  <c:v>#N/A</c:v>
                </c:pt>
                <c:pt idx="5705">
                  <c:v>#N/A</c:v>
                </c:pt>
                <c:pt idx="5706">
                  <c:v>#N/A</c:v>
                </c:pt>
                <c:pt idx="5707">
                  <c:v>#N/A</c:v>
                </c:pt>
                <c:pt idx="5708">
                  <c:v>#N/A</c:v>
                </c:pt>
                <c:pt idx="5709">
                  <c:v>#N/A</c:v>
                </c:pt>
                <c:pt idx="5710">
                  <c:v>#N/A</c:v>
                </c:pt>
                <c:pt idx="5711">
                  <c:v>#N/A</c:v>
                </c:pt>
                <c:pt idx="5712">
                  <c:v>#N/A</c:v>
                </c:pt>
                <c:pt idx="5713">
                  <c:v>#N/A</c:v>
                </c:pt>
                <c:pt idx="5714">
                  <c:v>#N/A</c:v>
                </c:pt>
                <c:pt idx="5715">
                  <c:v>#N/A</c:v>
                </c:pt>
                <c:pt idx="5716">
                  <c:v>#N/A</c:v>
                </c:pt>
                <c:pt idx="5717">
                  <c:v>#N/A</c:v>
                </c:pt>
                <c:pt idx="5718">
                  <c:v>#N/A</c:v>
                </c:pt>
                <c:pt idx="5719">
                  <c:v>#N/A</c:v>
                </c:pt>
                <c:pt idx="5720">
                  <c:v>#N/A</c:v>
                </c:pt>
                <c:pt idx="5721">
                  <c:v>#N/A</c:v>
                </c:pt>
                <c:pt idx="5722">
                  <c:v>#N/A</c:v>
                </c:pt>
                <c:pt idx="5723">
                  <c:v>#N/A</c:v>
                </c:pt>
                <c:pt idx="5724">
                  <c:v>#N/A</c:v>
                </c:pt>
                <c:pt idx="5725">
                  <c:v>#N/A</c:v>
                </c:pt>
                <c:pt idx="5726">
                  <c:v>#N/A</c:v>
                </c:pt>
                <c:pt idx="5727">
                  <c:v>#N/A</c:v>
                </c:pt>
                <c:pt idx="5728">
                  <c:v>#N/A</c:v>
                </c:pt>
                <c:pt idx="5729">
                  <c:v>#N/A</c:v>
                </c:pt>
                <c:pt idx="5730">
                  <c:v>#N/A</c:v>
                </c:pt>
                <c:pt idx="5731">
                  <c:v>#N/A</c:v>
                </c:pt>
                <c:pt idx="5732">
                  <c:v>#N/A</c:v>
                </c:pt>
                <c:pt idx="5733">
                  <c:v>#N/A</c:v>
                </c:pt>
                <c:pt idx="5734">
                  <c:v>#N/A</c:v>
                </c:pt>
                <c:pt idx="5735">
                  <c:v>#N/A</c:v>
                </c:pt>
                <c:pt idx="5736">
                  <c:v>#N/A</c:v>
                </c:pt>
                <c:pt idx="5737">
                  <c:v>#N/A</c:v>
                </c:pt>
                <c:pt idx="5738">
                  <c:v>#N/A</c:v>
                </c:pt>
                <c:pt idx="5739">
                  <c:v>#N/A</c:v>
                </c:pt>
                <c:pt idx="5740">
                  <c:v>#N/A</c:v>
                </c:pt>
                <c:pt idx="5741">
                  <c:v>#N/A</c:v>
                </c:pt>
                <c:pt idx="5742">
                  <c:v>#N/A</c:v>
                </c:pt>
                <c:pt idx="5743">
                  <c:v>#N/A</c:v>
                </c:pt>
                <c:pt idx="5744">
                  <c:v>#N/A</c:v>
                </c:pt>
                <c:pt idx="5745">
                  <c:v>#N/A</c:v>
                </c:pt>
                <c:pt idx="5746">
                  <c:v>#N/A</c:v>
                </c:pt>
                <c:pt idx="5747">
                  <c:v>#N/A</c:v>
                </c:pt>
                <c:pt idx="5748">
                  <c:v>#N/A</c:v>
                </c:pt>
                <c:pt idx="5749">
                  <c:v>#N/A</c:v>
                </c:pt>
                <c:pt idx="5750">
                  <c:v>#N/A</c:v>
                </c:pt>
                <c:pt idx="5751">
                  <c:v>#N/A</c:v>
                </c:pt>
                <c:pt idx="5752">
                  <c:v>#N/A</c:v>
                </c:pt>
                <c:pt idx="5753">
                  <c:v>#N/A</c:v>
                </c:pt>
                <c:pt idx="5754">
                  <c:v>#N/A</c:v>
                </c:pt>
                <c:pt idx="5755">
                  <c:v>#N/A</c:v>
                </c:pt>
                <c:pt idx="5756">
                  <c:v>#N/A</c:v>
                </c:pt>
                <c:pt idx="5757">
                  <c:v>#N/A</c:v>
                </c:pt>
                <c:pt idx="5758">
                  <c:v>#N/A</c:v>
                </c:pt>
                <c:pt idx="5759">
                  <c:v>#N/A</c:v>
                </c:pt>
                <c:pt idx="5760">
                  <c:v>#N/A</c:v>
                </c:pt>
                <c:pt idx="5761">
                  <c:v>#N/A</c:v>
                </c:pt>
                <c:pt idx="5762">
                  <c:v>#N/A</c:v>
                </c:pt>
                <c:pt idx="5763">
                  <c:v>#N/A</c:v>
                </c:pt>
                <c:pt idx="5764">
                  <c:v>#N/A</c:v>
                </c:pt>
                <c:pt idx="5765">
                  <c:v>#N/A</c:v>
                </c:pt>
                <c:pt idx="5766">
                  <c:v>#N/A</c:v>
                </c:pt>
                <c:pt idx="5767">
                  <c:v>#N/A</c:v>
                </c:pt>
                <c:pt idx="5768">
                  <c:v>#N/A</c:v>
                </c:pt>
                <c:pt idx="5769">
                  <c:v>#N/A</c:v>
                </c:pt>
                <c:pt idx="5770">
                  <c:v>#N/A</c:v>
                </c:pt>
                <c:pt idx="5771">
                  <c:v>#N/A</c:v>
                </c:pt>
                <c:pt idx="5772">
                  <c:v>#N/A</c:v>
                </c:pt>
                <c:pt idx="5773">
                  <c:v>#N/A</c:v>
                </c:pt>
                <c:pt idx="5774">
                  <c:v>#N/A</c:v>
                </c:pt>
                <c:pt idx="5775">
                  <c:v>#N/A</c:v>
                </c:pt>
                <c:pt idx="5776">
                  <c:v>#N/A</c:v>
                </c:pt>
                <c:pt idx="5777">
                  <c:v>#N/A</c:v>
                </c:pt>
                <c:pt idx="5778">
                  <c:v>#N/A</c:v>
                </c:pt>
                <c:pt idx="5779">
                  <c:v>#N/A</c:v>
                </c:pt>
                <c:pt idx="5780">
                  <c:v>#N/A</c:v>
                </c:pt>
                <c:pt idx="5781">
                  <c:v>#N/A</c:v>
                </c:pt>
                <c:pt idx="5782">
                  <c:v>#N/A</c:v>
                </c:pt>
                <c:pt idx="5783">
                  <c:v>#N/A</c:v>
                </c:pt>
                <c:pt idx="5784">
                  <c:v>#N/A</c:v>
                </c:pt>
                <c:pt idx="5785">
                  <c:v>#N/A</c:v>
                </c:pt>
                <c:pt idx="5786">
                  <c:v>#N/A</c:v>
                </c:pt>
                <c:pt idx="5787">
                  <c:v>#N/A</c:v>
                </c:pt>
                <c:pt idx="5788">
                  <c:v>#N/A</c:v>
                </c:pt>
                <c:pt idx="5789">
                  <c:v>#N/A</c:v>
                </c:pt>
                <c:pt idx="5790">
                  <c:v>#N/A</c:v>
                </c:pt>
                <c:pt idx="5791">
                  <c:v>#N/A</c:v>
                </c:pt>
                <c:pt idx="5792">
                  <c:v>#N/A</c:v>
                </c:pt>
                <c:pt idx="5793">
                  <c:v>#N/A</c:v>
                </c:pt>
                <c:pt idx="5794">
                  <c:v>#N/A</c:v>
                </c:pt>
                <c:pt idx="5795">
                  <c:v>#N/A</c:v>
                </c:pt>
                <c:pt idx="5796">
                  <c:v>#N/A</c:v>
                </c:pt>
                <c:pt idx="5797">
                  <c:v>#N/A</c:v>
                </c:pt>
                <c:pt idx="5798">
                  <c:v>#N/A</c:v>
                </c:pt>
                <c:pt idx="5799">
                  <c:v>#N/A</c:v>
                </c:pt>
                <c:pt idx="5800">
                  <c:v>#N/A</c:v>
                </c:pt>
                <c:pt idx="5801">
                  <c:v>#N/A</c:v>
                </c:pt>
                <c:pt idx="5802">
                  <c:v>#N/A</c:v>
                </c:pt>
                <c:pt idx="5803">
                  <c:v>#N/A</c:v>
                </c:pt>
                <c:pt idx="5804">
                  <c:v>#N/A</c:v>
                </c:pt>
                <c:pt idx="5805">
                  <c:v>#N/A</c:v>
                </c:pt>
                <c:pt idx="5806">
                  <c:v>#N/A</c:v>
                </c:pt>
                <c:pt idx="5807">
                  <c:v>#N/A</c:v>
                </c:pt>
                <c:pt idx="5808">
                  <c:v>#N/A</c:v>
                </c:pt>
                <c:pt idx="5809">
                  <c:v>#N/A</c:v>
                </c:pt>
                <c:pt idx="5810">
                  <c:v>#N/A</c:v>
                </c:pt>
                <c:pt idx="5811">
                  <c:v>#N/A</c:v>
                </c:pt>
                <c:pt idx="5812">
                  <c:v>#N/A</c:v>
                </c:pt>
                <c:pt idx="5813">
                  <c:v>#N/A</c:v>
                </c:pt>
                <c:pt idx="5814">
                  <c:v>#N/A</c:v>
                </c:pt>
                <c:pt idx="5815">
                  <c:v>#N/A</c:v>
                </c:pt>
                <c:pt idx="5816">
                  <c:v>#N/A</c:v>
                </c:pt>
                <c:pt idx="5817">
                  <c:v>#N/A</c:v>
                </c:pt>
                <c:pt idx="5818">
                  <c:v>#N/A</c:v>
                </c:pt>
                <c:pt idx="5819">
                  <c:v>#N/A</c:v>
                </c:pt>
                <c:pt idx="5820">
                  <c:v>#N/A</c:v>
                </c:pt>
                <c:pt idx="5821">
                  <c:v>#N/A</c:v>
                </c:pt>
                <c:pt idx="5822">
                  <c:v>#N/A</c:v>
                </c:pt>
                <c:pt idx="5823">
                  <c:v>#N/A</c:v>
                </c:pt>
                <c:pt idx="5824">
                  <c:v>#N/A</c:v>
                </c:pt>
                <c:pt idx="5825">
                  <c:v>#N/A</c:v>
                </c:pt>
                <c:pt idx="5826">
                  <c:v>#N/A</c:v>
                </c:pt>
                <c:pt idx="5827">
                  <c:v>#N/A</c:v>
                </c:pt>
                <c:pt idx="5828">
                  <c:v>#N/A</c:v>
                </c:pt>
                <c:pt idx="5829">
                  <c:v>#N/A</c:v>
                </c:pt>
                <c:pt idx="5830">
                  <c:v>#N/A</c:v>
                </c:pt>
                <c:pt idx="5831">
                  <c:v>#N/A</c:v>
                </c:pt>
                <c:pt idx="5832">
                  <c:v>#N/A</c:v>
                </c:pt>
                <c:pt idx="5833">
                  <c:v>#N/A</c:v>
                </c:pt>
                <c:pt idx="5834">
                  <c:v>#N/A</c:v>
                </c:pt>
                <c:pt idx="5835">
                  <c:v>#N/A</c:v>
                </c:pt>
                <c:pt idx="5836">
                  <c:v>#N/A</c:v>
                </c:pt>
                <c:pt idx="5837">
                  <c:v>#N/A</c:v>
                </c:pt>
                <c:pt idx="5838">
                  <c:v>#N/A</c:v>
                </c:pt>
                <c:pt idx="5839">
                  <c:v>#N/A</c:v>
                </c:pt>
                <c:pt idx="5840">
                  <c:v>#N/A</c:v>
                </c:pt>
                <c:pt idx="5841">
                  <c:v>#N/A</c:v>
                </c:pt>
                <c:pt idx="5842">
                  <c:v>#N/A</c:v>
                </c:pt>
                <c:pt idx="5843">
                  <c:v>#N/A</c:v>
                </c:pt>
                <c:pt idx="5844">
                  <c:v>#N/A</c:v>
                </c:pt>
                <c:pt idx="5845">
                  <c:v>#N/A</c:v>
                </c:pt>
                <c:pt idx="5846">
                  <c:v>#N/A</c:v>
                </c:pt>
                <c:pt idx="5847">
                  <c:v>#N/A</c:v>
                </c:pt>
                <c:pt idx="5848">
                  <c:v>#N/A</c:v>
                </c:pt>
                <c:pt idx="5849">
                  <c:v>#N/A</c:v>
                </c:pt>
                <c:pt idx="5850">
                  <c:v>#N/A</c:v>
                </c:pt>
                <c:pt idx="5851">
                  <c:v>#N/A</c:v>
                </c:pt>
                <c:pt idx="5852">
                  <c:v>#N/A</c:v>
                </c:pt>
                <c:pt idx="5853">
                  <c:v>#N/A</c:v>
                </c:pt>
                <c:pt idx="5854">
                  <c:v>#N/A</c:v>
                </c:pt>
                <c:pt idx="5855">
                  <c:v>#N/A</c:v>
                </c:pt>
                <c:pt idx="5856">
                  <c:v>#N/A</c:v>
                </c:pt>
                <c:pt idx="5857">
                  <c:v>#N/A</c:v>
                </c:pt>
                <c:pt idx="5858">
                  <c:v>#N/A</c:v>
                </c:pt>
                <c:pt idx="5859">
                  <c:v>#N/A</c:v>
                </c:pt>
                <c:pt idx="5860">
                  <c:v>#N/A</c:v>
                </c:pt>
                <c:pt idx="5861">
                  <c:v>#N/A</c:v>
                </c:pt>
                <c:pt idx="5862">
                  <c:v>#N/A</c:v>
                </c:pt>
                <c:pt idx="5863">
                  <c:v>#N/A</c:v>
                </c:pt>
                <c:pt idx="5864">
                  <c:v>#N/A</c:v>
                </c:pt>
                <c:pt idx="5865">
                  <c:v>#N/A</c:v>
                </c:pt>
                <c:pt idx="5866">
                  <c:v>#N/A</c:v>
                </c:pt>
                <c:pt idx="5867">
                  <c:v>#N/A</c:v>
                </c:pt>
                <c:pt idx="5868">
                  <c:v>#N/A</c:v>
                </c:pt>
                <c:pt idx="5869">
                  <c:v>#N/A</c:v>
                </c:pt>
                <c:pt idx="5870">
                  <c:v>#N/A</c:v>
                </c:pt>
                <c:pt idx="5871">
                  <c:v>#N/A</c:v>
                </c:pt>
                <c:pt idx="5872">
                  <c:v>#N/A</c:v>
                </c:pt>
                <c:pt idx="5873">
                  <c:v>#N/A</c:v>
                </c:pt>
                <c:pt idx="5874">
                  <c:v>#N/A</c:v>
                </c:pt>
                <c:pt idx="5875">
                  <c:v>#N/A</c:v>
                </c:pt>
                <c:pt idx="5876">
                  <c:v>#N/A</c:v>
                </c:pt>
                <c:pt idx="5877">
                  <c:v>#N/A</c:v>
                </c:pt>
                <c:pt idx="5878">
                  <c:v>#N/A</c:v>
                </c:pt>
                <c:pt idx="5879">
                  <c:v>#N/A</c:v>
                </c:pt>
                <c:pt idx="5880">
                  <c:v>#N/A</c:v>
                </c:pt>
                <c:pt idx="5881">
                  <c:v>#N/A</c:v>
                </c:pt>
                <c:pt idx="5882">
                  <c:v>#N/A</c:v>
                </c:pt>
                <c:pt idx="5883">
                  <c:v>#N/A</c:v>
                </c:pt>
                <c:pt idx="5884">
                  <c:v>#N/A</c:v>
                </c:pt>
                <c:pt idx="5885">
                  <c:v>#N/A</c:v>
                </c:pt>
                <c:pt idx="5886">
                  <c:v>#N/A</c:v>
                </c:pt>
                <c:pt idx="5887">
                  <c:v>#N/A</c:v>
                </c:pt>
                <c:pt idx="5888">
                  <c:v>#N/A</c:v>
                </c:pt>
                <c:pt idx="5889">
                  <c:v>#N/A</c:v>
                </c:pt>
                <c:pt idx="5890">
                  <c:v>#N/A</c:v>
                </c:pt>
                <c:pt idx="5891">
                  <c:v>#N/A</c:v>
                </c:pt>
                <c:pt idx="5892">
                  <c:v>#N/A</c:v>
                </c:pt>
                <c:pt idx="5893">
                  <c:v>#N/A</c:v>
                </c:pt>
                <c:pt idx="5894">
                  <c:v>#N/A</c:v>
                </c:pt>
                <c:pt idx="5895">
                  <c:v>#N/A</c:v>
                </c:pt>
                <c:pt idx="5896">
                  <c:v>#N/A</c:v>
                </c:pt>
                <c:pt idx="5897">
                  <c:v>#N/A</c:v>
                </c:pt>
                <c:pt idx="5898">
                  <c:v>#N/A</c:v>
                </c:pt>
                <c:pt idx="5899">
                  <c:v>#N/A</c:v>
                </c:pt>
                <c:pt idx="5900">
                  <c:v>#N/A</c:v>
                </c:pt>
                <c:pt idx="5901">
                  <c:v>#N/A</c:v>
                </c:pt>
                <c:pt idx="5902">
                  <c:v>#N/A</c:v>
                </c:pt>
                <c:pt idx="5903">
                  <c:v>#N/A</c:v>
                </c:pt>
                <c:pt idx="5904">
                  <c:v>#N/A</c:v>
                </c:pt>
                <c:pt idx="5905">
                  <c:v>#N/A</c:v>
                </c:pt>
                <c:pt idx="5906">
                  <c:v>#N/A</c:v>
                </c:pt>
                <c:pt idx="5907">
                  <c:v>#N/A</c:v>
                </c:pt>
                <c:pt idx="5908">
                  <c:v>#N/A</c:v>
                </c:pt>
                <c:pt idx="5909">
                  <c:v>#N/A</c:v>
                </c:pt>
                <c:pt idx="5910">
                  <c:v>#N/A</c:v>
                </c:pt>
                <c:pt idx="5911">
                  <c:v>#N/A</c:v>
                </c:pt>
                <c:pt idx="5912">
                  <c:v>#N/A</c:v>
                </c:pt>
                <c:pt idx="5913">
                  <c:v>#N/A</c:v>
                </c:pt>
                <c:pt idx="5914">
                  <c:v>#N/A</c:v>
                </c:pt>
                <c:pt idx="5915">
                  <c:v>#N/A</c:v>
                </c:pt>
                <c:pt idx="5916">
                  <c:v>#N/A</c:v>
                </c:pt>
                <c:pt idx="5917">
                  <c:v>#N/A</c:v>
                </c:pt>
                <c:pt idx="5918">
                  <c:v>#N/A</c:v>
                </c:pt>
                <c:pt idx="5919">
                  <c:v>#N/A</c:v>
                </c:pt>
                <c:pt idx="5920">
                  <c:v>#N/A</c:v>
                </c:pt>
                <c:pt idx="5921">
                  <c:v>#N/A</c:v>
                </c:pt>
                <c:pt idx="5922">
                  <c:v>#N/A</c:v>
                </c:pt>
                <c:pt idx="5923">
                  <c:v>#N/A</c:v>
                </c:pt>
                <c:pt idx="5924">
                  <c:v>#N/A</c:v>
                </c:pt>
                <c:pt idx="5925">
                  <c:v>#N/A</c:v>
                </c:pt>
                <c:pt idx="5926">
                  <c:v>#N/A</c:v>
                </c:pt>
                <c:pt idx="5927">
                  <c:v>#N/A</c:v>
                </c:pt>
                <c:pt idx="5928">
                  <c:v>#N/A</c:v>
                </c:pt>
                <c:pt idx="5929">
                  <c:v>#N/A</c:v>
                </c:pt>
                <c:pt idx="5930">
                  <c:v>#N/A</c:v>
                </c:pt>
                <c:pt idx="5931">
                  <c:v>#N/A</c:v>
                </c:pt>
                <c:pt idx="5932">
                  <c:v>#N/A</c:v>
                </c:pt>
                <c:pt idx="5933">
                  <c:v>#N/A</c:v>
                </c:pt>
                <c:pt idx="5934">
                  <c:v>#N/A</c:v>
                </c:pt>
                <c:pt idx="5935">
                  <c:v>#N/A</c:v>
                </c:pt>
                <c:pt idx="5936">
                  <c:v>#N/A</c:v>
                </c:pt>
                <c:pt idx="5937">
                  <c:v>#N/A</c:v>
                </c:pt>
                <c:pt idx="5938">
                  <c:v>#N/A</c:v>
                </c:pt>
                <c:pt idx="5939">
                  <c:v>#N/A</c:v>
                </c:pt>
                <c:pt idx="5940">
                  <c:v>#N/A</c:v>
                </c:pt>
                <c:pt idx="5941">
                  <c:v>#N/A</c:v>
                </c:pt>
                <c:pt idx="5942">
                  <c:v>#N/A</c:v>
                </c:pt>
                <c:pt idx="5943">
                  <c:v>#N/A</c:v>
                </c:pt>
                <c:pt idx="5944">
                  <c:v>#N/A</c:v>
                </c:pt>
                <c:pt idx="5945">
                  <c:v>#N/A</c:v>
                </c:pt>
                <c:pt idx="5946">
                  <c:v>#N/A</c:v>
                </c:pt>
                <c:pt idx="5947">
                  <c:v>#N/A</c:v>
                </c:pt>
                <c:pt idx="5948">
                  <c:v>#N/A</c:v>
                </c:pt>
                <c:pt idx="5949">
                  <c:v>#N/A</c:v>
                </c:pt>
                <c:pt idx="5950">
                  <c:v>#N/A</c:v>
                </c:pt>
                <c:pt idx="5951">
                  <c:v>#N/A</c:v>
                </c:pt>
                <c:pt idx="5952">
                  <c:v>#N/A</c:v>
                </c:pt>
                <c:pt idx="5953">
                  <c:v>#N/A</c:v>
                </c:pt>
                <c:pt idx="5954">
                  <c:v>#N/A</c:v>
                </c:pt>
                <c:pt idx="5955">
                  <c:v>#N/A</c:v>
                </c:pt>
                <c:pt idx="5956">
                  <c:v>#N/A</c:v>
                </c:pt>
                <c:pt idx="5957">
                  <c:v>#N/A</c:v>
                </c:pt>
                <c:pt idx="5958">
                  <c:v>#N/A</c:v>
                </c:pt>
                <c:pt idx="5959">
                  <c:v>#N/A</c:v>
                </c:pt>
                <c:pt idx="5960">
                  <c:v>#N/A</c:v>
                </c:pt>
                <c:pt idx="5961">
                  <c:v>#N/A</c:v>
                </c:pt>
                <c:pt idx="5962">
                  <c:v>#N/A</c:v>
                </c:pt>
                <c:pt idx="5963">
                  <c:v>#N/A</c:v>
                </c:pt>
                <c:pt idx="5964">
                  <c:v>#N/A</c:v>
                </c:pt>
                <c:pt idx="5965">
                  <c:v>#N/A</c:v>
                </c:pt>
                <c:pt idx="5966">
                  <c:v>#N/A</c:v>
                </c:pt>
                <c:pt idx="5967">
                  <c:v>#N/A</c:v>
                </c:pt>
                <c:pt idx="5968">
                  <c:v>#N/A</c:v>
                </c:pt>
                <c:pt idx="5969">
                  <c:v>#N/A</c:v>
                </c:pt>
                <c:pt idx="5970">
                  <c:v>#N/A</c:v>
                </c:pt>
                <c:pt idx="5971">
                  <c:v>#N/A</c:v>
                </c:pt>
                <c:pt idx="5972">
                  <c:v>#N/A</c:v>
                </c:pt>
                <c:pt idx="5973">
                  <c:v>#N/A</c:v>
                </c:pt>
                <c:pt idx="5974">
                  <c:v>#N/A</c:v>
                </c:pt>
                <c:pt idx="5975">
                  <c:v>#N/A</c:v>
                </c:pt>
                <c:pt idx="5976">
                  <c:v>#N/A</c:v>
                </c:pt>
                <c:pt idx="5977">
                  <c:v>#N/A</c:v>
                </c:pt>
                <c:pt idx="5978">
                  <c:v>#N/A</c:v>
                </c:pt>
                <c:pt idx="5979">
                  <c:v>#N/A</c:v>
                </c:pt>
                <c:pt idx="5980">
                  <c:v>#N/A</c:v>
                </c:pt>
                <c:pt idx="5981">
                  <c:v>#N/A</c:v>
                </c:pt>
                <c:pt idx="5982">
                  <c:v>#N/A</c:v>
                </c:pt>
                <c:pt idx="5983">
                  <c:v>#N/A</c:v>
                </c:pt>
                <c:pt idx="5984">
                  <c:v>#N/A</c:v>
                </c:pt>
                <c:pt idx="5985">
                  <c:v>#N/A</c:v>
                </c:pt>
                <c:pt idx="5986">
                  <c:v>#N/A</c:v>
                </c:pt>
                <c:pt idx="5987">
                  <c:v>#N/A</c:v>
                </c:pt>
                <c:pt idx="5988">
                  <c:v>#N/A</c:v>
                </c:pt>
                <c:pt idx="5989">
                  <c:v>#N/A</c:v>
                </c:pt>
                <c:pt idx="5990">
                  <c:v>#N/A</c:v>
                </c:pt>
                <c:pt idx="5991">
                  <c:v>#N/A</c:v>
                </c:pt>
                <c:pt idx="5992">
                  <c:v>#N/A</c:v>
                </c:pt>
                <c:pt idx="5993">
                  <c:v>#N/A</c:v>
                </c:pt>
                <c:pt idx="5994">
                  <c:v>#N/A</c:v>
                </c:pt>
                <c:pt idx="5995">
                  <c:v>#N/A</c:v>
                </c:pt>
                <c:pt idx="5996">
                  <c:v>#N/A</c:v>
                </c:pt>
                <c:pt idx="5997">
                  <c:v>#N/A</c:v>
                </c:pt>
                <c:pt idx="5998">
                  <c:v>#N/A</c:v>
                </c:pt>
                <c:pt idx="5999">
                  <c:v>#N/A</c:v>
                </c:pt>
                <c:pt idx="6000">
                  <c:v>#N/A</c:v>
                </c:pt>
                <c:pt idx="6001">
                  <c:v>#N/A</c:v>
                </c:pt>
                <c:pt idx="6002">
                  <c:v>#N/A</c:v>
                </c:pt>
                <c:pt idx="6003">
                  <c:v>#N/A</c:v>
                </c:pt>
                <c:pt idx="6004">
                  <c:v>#N/A</c:v>
                </c:pt>
                <c:pt idx="6005">
                  <c:v>#N/A</c:v>
                </c:pt>
                <c:pt idx="6006">
                  <c:v>#N/A</c:v>
                </c:pt>
                <c:pt idx="6007">
                  <c:v>#N/A</c:v>
                </c:pt>
                <c:pt idx="6008">
                  <c:v>#N/A</c:v>
                </c:pt>
                <c:pt idx="6009">
                  <c:v>#N/A</c:v>
                </c:pt>
                <c:pt idx="6010">
                  <c:v>#N/A</c:v>
                </c:pt>
                <c:pt idx="6011">
                  <c:v>#N/A</c:v>
                </c:pt>
                <c:pt idx="6012">
                  <c:v>#N/A</c:v>
                </c:pt>
                <c:pt idx="6013">
                  <c:v>#N/A</c:v>
                </c:pt>
                <c:pt idx="6014">
                  <c:v>#N/A</c:v>
                </c:pt>
                <c:pt idx="6015">
                  <c:v>#N/A</c:v>
                </c:pt>
                <c:pt idx="6016">
                  <c:v>#N/A</c:v>
                </c:pt>
                <c:pt idx="6017">
                  <c:v>#N/A</c:v>
                </c:pt>
                <c:pt idx="6018">
                  <c:v>#N/A</c:v>
                </c:pt>
                <c:pt idx="6019">
                  <c:v>#N/A</c:v>
                </c:pt>
                <c:pt idx="6020">
                  <c:v>#N/A</c:v>
                </c:pt>
                <c:pt idx="6021">
                  <c:v>#N/A</c:v>
                </c:pt>
                <c:pt idx="6022">
                  <c:v>#N/A</c:v>
                </c:pt>
                <c:pt idx="6023">
                  <c:v>#N/A</c:v>
                </c:pt>
                <c:pt idx="6024">
                  <c:v>#N/A</c:v>
                </c:pt>
                <c:pt idx="6025">
                  <c:v>#N/A</c:v>
                </c:pt>
                <c:pt idx="6026">
                  <c:v>#N/A</c:v>
                </c:pt>
                <c:pt idx="6027">
                  <c:v>#N/A</c:v>
                </c:pt>
                <c:pt idx="6028">
                  <c:v>#N/A</c:v>
                </c:pt>
                <c:pt idx="6029">
                  <c:v>#N/A</c:v>
                </c:pt>
                <c:pt idx="6030">
                  <c:v>#N/A</c:v>
                </c:pt>
                <c:pt idx="6031">
                  <c:v>#N/A</c:v>
                </c:pt>
                <c:pt idx="6032">
                  <c:v>#N/A</c:v>
                </c:pt>
                <c:pt idx="6033">
                  <c:v>#N/A</c:v>
                </c:pt>
                <c:pt idx="6034">
                  <c:v>#N/A</c:v>
                </c:pt>
                <c:pt idx="6035">
                  <c:v>#N/A</c:v>
                </c:pt>
                <c:pt idx="6036">
                  <c:v>#N/A</c:v>
                </c:pt>
                <c:pt idx="6037">
                  <c:v>#N/A</c:v>
                </c:pt>
                <c:pt idx="6038">
                  <c:v>#N/A</c:v>
                </c:pt>
                <c:pt idx="6039">
                  <c:v>#N/A</c:v>
                </c:pt>
                <c:pt idx="6040">
                  <c:v>#N/A</c:v>
                </c:pt>
                <c:pt idx="6041">
                  <c:v>#N/A</c:v>
                </c:pt>
                <c:pt idx="6042">
                  <c:v>#N/A</c:v>
                </c:pt>
                <c:pt idx="6043">
                  <c:v>#N/A</c:v>
                </c:pt>
                <c:pt idx="6044">
                  <c:v>#N/A</c:v>
                </c:pt>
                <c:pt idx="6045">
                  <c:v>#N/A</c:v>
                </c:pt>
                <c:pt idx="6046">
                  <c:v>#N/A</c:v>
                </c:pt>
                <c:pt idx="6047">
                  <c:v>#N/A</c:v>
                </c:pt>
                <c:pt idx="6048">
                  <c:v>#N/A</c:v>
                </c:pt>
                <c:pt idx="6049">
                  <c:v>#N/A</c:v>
                </c:pt>
                <c:pt idx="6050">
                  <c:v>#N/A</c:v>
                </c:pt>
                <c:pt idx="6051">
                  <c:v>#N/A</c:v>
                </c:pt>
                <c:pt idx="6052">
                  <c:v>#N/A</c:v>
                </c:pt>
                <c:pt idx="6053">
                  <c:v>#N/A</c:v>
                </c:pt>
                <c:pt idx="6054">
                  <c:v>#N/A</c:v>
                </c:pt>
                <c:pt idx="6055">
                  <c:v>#N/A</c:v>
                </c:pt>
                <c:pt idx="6056">
                  <c:v>#N/A</c:v>
                </c:pt>
                <c:pt idx="6057">
                  <c:v>#N/A</c:v>
                </c:pt>
                <c:pt idx="6058">
                  <c:v>#N/A</c:v>
                </c:pt>
                <c:pt idx="6059">
                  <c:v>#N/A</c:v>
                </c:pt>
                <c:pt idx="6060">
                  <c:v>#N/A</c:v>
                </c:pt>
                <c:pt idx="6061">
                  <c:v>#N/A</c:v>
                </c:pt>
                <c:pt idx="6062">
                  <c:v>#N/A</c:v>
                </c:pt>
                <c:pt idx="6063">
                  <c:v>#N/A</c:v>
                </c:pt>
                <c:pt idx="6064">
                  <c:v>#N/A</c:v>
                </c:pt>
                <c:pt idx="6065">
                  <c:v>#N/A</c:v>
                </c:pt>
                <c:pt idx="6066">
                  <c:v>#N/A</c:v>
                </c:pt>
                <c:pt idx="6067">
                  <c:v>#N/A</c:v>
                </c:pt>
                <c:pt idx="6068">
                  <c:v>#N/A</c:v>
                </c:pt>
                <c:pt idx="6069">
                  <c:v>#N/A</c:v>
                </c:pt>
                <c:pt idx="6070">
                  <c:v>#N/A</c:v>
                </c:pt>
                <c:pt idx="6071">
                  <c:v>#N/A</c:v>
                </c:pt>
                <c:pt idx="6072">
                  <c:v>#N/A</c:v>
                </c:pt>
                <c:pt idx="6073">
                  <c:v>#N/A</c:v>
                </c:pt>
                <c:pt idx="6074">
                  <c:v>#N/A</c:v>
                </c:pt>
                <c:pt idx="6075">
                  <c:v>#N/A</c:v>
                </c:pt>
                <c:pt idx="6076">
                  <c:v>#N/A</c:v>
                </c:pt>
                <c:pt idx="6077">
                  <c:v>#N/A</c:v>
                </c:pt>
                <c:pt idx="6078">
                  <c:v>#N/A</c:v>
                </c:pt>
                <c:pt idx="6079">
                  <c:v>#N/A</c:v>
                </c:pt>
                <c:pt idx="6080">
                  <c:v>#N/A</c:v>
                </c:pt>
                <c:pt idx="6081">
                  <c:v>#N/A</c:v>
                </c:pt>
                <c:pt idx="6082">
                  <c:v>#N/A</c:v>
                </c:pt>
                <c:pt idx="6083">
                  <c:v>#N/A</c:v>
                </c:pt>
                <c:pt idx="6084">
                  <c:v>#N/A</c:v>
                </c:pt>
                <c:pt idx="6085">
                  <c:v>#N/A</c:v>
                </c:pt>
                <c:pt idx="6086">
                  <c:v>#N/A</c:v>
                </c:pt>
                <c:pt idx="6087">
                  <c:v>#N/A</c:v>
                </c:pt>
                <c:pt idx="6088">
                  <c:v>#N/A</c:v>
                </c:pt>
                <c:pt idx="6089">
                  <c:v>#N/A</c:v>
                </c:pt>
                <c:pt idx="6090">
                  <c:v>#N/A</c:v>
                </c:pt>
                <c:pt idx="6091">
                  <c:v>#N/A</c:v>
                </c:pt>
                <c:pt idx="6092">
                  <c:v>#N/A</c:v>
                </c:pt>
                <c:pt idx="6093">
                  <c:v>#N/A</c:v>
                </c:pt>
                <c:pt idx="6094">
                  <c:v>#N/A</c:v>
                </c:pt>
                <c:pt idx="6095">
                  <c:v>#N/A</c:v>
                </c:pt>
                <c:pt idx="6096">
                  <c:v>#N/A</c:v>
                </c:pt>
                <c:pt idx="6097">
                  <c:v>#N/A</c:v>
                </c:pt>
                <c:pt idx="6098">
                  <c:v>#N/A</c:v>
                </c:pt>
                <c:pt idx="6099">
                  <c:v>#N/A</c:v>
                </c:pt>
                <c:pt idx="6100">
                  <c:v>#N/A</c:v>
                </c:pt>
                <c:pt idx="6101">
                  <c:v>#N/A</c:v>
                </c:pt>
                <c:pt idx="6102">
                  <c:v>#N/A</c:v>
                </c:pt>
                <c:pt idx="6103">
                  <c:v>#N/A</c:v>
                </c:pt>
                <c:pt idx="6104">
                  <c:v>#N/A</c:v>
                </c:pt>
                <c:pt idx="6105">
                  <c:v>#N/A</c:v>
                </c:pt>
                <c:pt idx="6106">
                  <c:v>#N/A</c:v>
                </c:pt>
                <c:pt idx="6107">
                  <c:v>#N/A</c:v>
                </c:pt>
                <c:pt idx="6108">
                  <c:v>#N/A</c:v>
                </c:pt>
                <c:pt idx="6109">
                  <c:v>#N/A</c:v>
                </c:pt>
                <c:pt idx="6110">
                  <c:v>#N/A</c:v>
                </c:pt>
                <c:pt idx="6111">
                  <c:v>#N/A</c:v>
                </c:pt>
                <c:pt idx="6112">
                  <c:v>#N/A</c:v>
                </c:pt>
                <c:pt idx="6113">
                  <c:v>#N/A</c:v>
                </c:pt>
                <c:pt idx="6114">
                  <c:v>#N/A</c:v>
                </c:pt>
                <c:pt idx="6115">
                  <c:v>#N/A</c:v>
                </c:pt>
                <c:pt idx="6116">
                  <c:v>#N/A</c:v>
                </c:pt>
                <c:pt idx="6117">
                  <c:v>#N/A</c:v>
                </c:pt>
                <c:pt idx="6118">
                  <c:v>#N/A</c:v>
                </c:pt>
                <c:pt idx="6119">
                  <c:v>#N/A</c:v>
                </c:pt>
                <c:pt idx="6120">
                  <c:v>#N/A</c:v>
                </c:pt>
                <c:pt idx="6121">
                  <c:v>#N/A</c:v>
                </c:pt>
                <c:pt idx="6122">
                  <c:v>#N/A</c:v>
                </c:pt>
                <c:pt idx="6123">
                  <c:v>#N/A</c:v>
                </c:pt>
                <c:pt idx="6124">
                  <c:v>#N/A</c:v>
                </c:pt>
                <c:pt idx="6125">
                  <c:v>#N/A</c:v>
                </c:pt>
                <c:pt idx="6126">
                  <c:v>#N/A</c:v>
                </c:pt>
                <c:pt idx="6127">
                  <c:v>#N/A</c:v>
                </c:pt>
                <c:pt idx="6128">
                  <c:v>#N/A</c:v>
                </c:pt>
                <c:pt idx="6129">
                  <c:v>#N/A</c:v>
                </c:pt>
                <c:pt idx="6130">
                  <c:v>#N/A</c:v>
                </c:pt>
                <c:pt idx="6131">
                  <c:v>#N/A</c:v>
                </c:pt>
                <c:pt idx="6132">
                  <c:v>#N/A</c:v>
                </c:pt>
                <c:pt idx="6133">
                  <c:v>#N/A</c:v>
                </c:pt>
                <c:pt idx="6134">
                  <c:v>#N/A</c:v>
                </c:pt>
                <c:pt idx="6135">
                  <c:v>#N/A</c:v>
                </c:pt>
                <c:pt idx="6136">
                  <c:v>#N/A</c:v>
                </c:pt>
                <c:pt idx="6137">
                  <c:v>#N/A</c:v>
                </c:pt>
                <c:pt idx="6138">
                  <c:v>#N/A</c:v>
                </c:pt>
                <c:pt idx="6139">
                  <c:v>#N/A</c:v>
                </c:pt>
                <c:pt idx="6140">
                  <c:v>#N/A</c:v>
                </c:pt>
                <c:pt idx="6141">
                  <c:v>#N/A</c:v>
                </c:pt>
                <c:pt idx="6142">
                  <c:v>#N/A</c:v>
                </c:pt>
                <c:pt idx="6143">
                  <c:v>#N/A</c:v>
                </c:pt>
                <c:pt idx="6144">
                  <c:v>#N/A</c:v>
                </c:pt>
                <c:pt idx="6145">
                  <c:v>#N/A</c:v>
                </c:pt>
                <c:pt idx="6146">
                  <c:v>#N/A</c:v>
                </c:pt>
                <c:pt idx="6147">
                  <c:v>#N/A</c:v>
                </c:pt>
                <c:pt idx="6148">
                  <c:v>#N/A</c:v>
                </c:pt>
                <c:pt idx="6149">
                  <c:v>#N/A</c:v>
                </c:pt>
                <c:pt idx="6150">
                  <c:v>#N/A</c:v>
                </c:pt>
                <c:pt idx="6151">
                  <c:v>#N/A</c:v>
                </c:pt>
                <c:pt idx="6152">
                  <c:v>#N/A</c:v>
                </c:pt>
                <c:pt idx="6153">
                  <c:v>#N/A</c:v>
                </c:pt>
                <c:pt idx="6154">
                  <c:v>#N/A</c:v>
                </c:pt>
                <c:pt idx="6155">
                  <c:v>#N/A</c:v>
                </c:pt>
                <c:pt idx="6156">
                  <c:v>#N/A</c:v>
                </c:pt>
                <c:pt idx="6157">
                  <c:v>#N/A</c:v>
                </c:pt>
                <c:pt idx="6158">
                  <c:v>#N/A</c:v>
                </c:pt>
                <c:pt idx="6159">
                  <c:v>#N/A</c:v>
                </c:pt>
                <c:pt idx="6160">
                  <c:v>#N/A</c:v>
                </c:pt>
                <c:pt idx="6161">
                  <c:v>#N/A</c:v>
                </c:pt>
                <c:pt idx="6162">
                  <c:v>#N/A</c:v>
                </c:pt>
                <c:pt idx="6163">
                  <c:v>#N/A</c:v>
                </c:pt>
                <c:pt idx="6164">
                  <c:v>#N/A</c:v>
                </c:pt>
                <c:pt idx="6165">
                  <c:v>#N/A</c:v>
                </c:pt>
                <c:pt idx="6166">
                  <c:v>#N/A</c:v>
                </c:pt>
                <c:pt idx="6167">
                  <c:v>#N/A</c:v>
                </c:pt>
                <c:pt idx="6168">
                  <c:v>#N/A</c:v>
                </c:pt>
                <c:pt idx="6169">
                  <c:v>#N/A</c:v>
                </c:pt>
                <c:pt idx="6170">
                  <c:v>#N/A</c:v>
                </c:pt>
                <c:pt idx="6171">
                  <c:v>#N/A</c:v>
                </c:pt>
                <c:pt idx="6172">
                  <c:v>#N/A</c:v>
                </c:pt>
                <c:pt idx="6173">
                  <c:v>#N/A</c:v>
                </c:pt>
                <c:pt idx="6174">
                  <c:v>#N/A</c:v>
                </c:pt>
                <c:pt idx="6175">
                  <c:v>#N/A</c:v>
                </c:pt>
                <c:pt idx="6176">
                  <c:v>#N/A</c:v>
                </c:pt>
                <c:pt idx="6177">
                  <c:v>#N/A</c:v>
                </c:pt>
                <c:pt idx="6178">
                  <c:v>#N/A</c:v>
                </c:pt>
                <c:pt idx="6179">
                  <c:v>#N/A</c:v>
                </c:pt>
                <c:pt idx="6180">
                  <c:v>#N/A</c:v>
                </c:pt>
                <c:pt idx="6181">
                  <c:v>#N/A</c:v>
                </c:pt>
                <c:pt idx="6182">
                  <c:v>#N/A</c:v>
                </c:pt>
                <c:pt idx="6183">
                  <c:v>#N/A</c:v>
                </c:pt>
                <c:pt idx="6184">
                  <c:v>#N/A</c:v>
                </c:pt>
                <c:pt idx="6185">
                  <c:v>#N/A</c:v>
                </c:pt>
                <c:pt idx="6186">
                  <c:v>#N/A</c:v>
                </c:pt>
                <c:pt idx="6187">
                  <c:v>#N/A</c:v>
                </c:pt>
                <c:pt idx="6188">
                  <c:v>#N/A</c:v>
                </c:pt>
                <c:pt idx="6189">
                  <c:v>#N/A</c:v>
                </c:pt>
                <c:pt idx="6190">
                  <c:v>#N/A</c:v>
                </c:pt>
                <c:pt idx="6191">
                  <c:v>#N/A</c:v>
                </c:pt>
                <c:pt idx="6192">
                  <c:v>#N/A</c:v>
                </c:pt>
                <c:pt idx="6193">
                  <c:v>#N/A</c:v>
                </c:pt>
                <c:pt idx="6194">
                  <c:v>#N/A</c:v>
                </c:pt>
                <c:pt idx="6195">
                  <c:v>#N/A</c:v>
                </c:pt>
                <c:pt idx="6196">
                  <c:v>#N/A</c:v>
                </c:pt>
                <c:pt idx="6197">
                  <c:v>#N/A</c:v>
                </c:pt>
                <c:pt idx="6198">
                  <c:v>#N/A</c:v>
                </c:pt>
                <c:pt idx="6199">
                  <c:v>#N/A</c:v>
                </c:pt>
                <c:pt idx="6200">
                  <c:v>#N/A</c:v>
                </c:pt>
                <c:pt idx="6201">
                  <c:v>#N/A</c:v>
                </c:pt>
                <c:pt idx="6202">
                  <c:v>#N/A</c:v>
                </c:pt>
                <c:pt idx="6203">
                  <c:v>#N/A</c:v>
                </c:pt>
                <c:pt idx="6204">
                  <c:v>#N/A</c:v>
                </c:pt>
                <c:pt idx="6205">
                  <c:v>#N/A</c:v>
                </c:pt>
                <c:pt idx="6206">
                  <c:v>#N/A</c:v>
                </c:pt>
                <c:pt idx="6207">
                  <c:v>#N/A</c:v>
                </c:pt>
                <c:pt idx="6208">
                  <c:v>#N/A</c:v>
                </c:pt>
                <c:pt idx="6209">
                  <c:v>#N/A</c:v>
                </c:pt>
                <c:pt idx="6210">
                  <c:v>#N/A</c:v>
                </c:pt>
                <c:pt idx="6211">
                  <c:v>#N/A</c:v>
                </c:pt>
                <c:pt idx="6212">
                  <c:v>#N/A</c:v>
                </c:pt>
                <c:pt idx="6213">
                  <c:v>#N/A</c:v>
                </c:pt>
                <c:pt idx="6214">
                  <c:v>#N/A</c:v>
                </c:pt>
                <c:pt idx="6215">
                  <c:v>#N/A</c:v>
                </c:pt>
                <c:pt idx="6216">
                  <c:v>#N/A</c:v>
                </c:pt>
                <c:pt idx="6217">
                  <c:v>#N/A</c:v>
                </c:pt>
                <c:pt idx="6218">
                  <c:v>#N/A</c:v>
                </c:pt>
                <c:pt idx="6219">
                  <c:v>#N/A</c:v>
                </c:pt>
                <c:pt idx="6220">
                  <c:v>#N/A</c:v>
                </c:pt>
                <c:pt idx="6221">
                  <c:v>#N/A</c:v>
                </c:pt>
                <c:pt idx="6222">
                  <c:v>#N/A</c:v>
                </c:pt>
                <c:pt idx="6223">
                  <c:v>#N/A</c:v>
                </c:pt>
                <c:pt idx="6224">
                  <c:v>#N/A</c:v>
                </c:pt>
                <c:pt idx="6225">
                  <c:v>#N/A</c:v>
                </c:pt>
                <c:pt idx="6226">
                  <c:v>#N/A</c:v>
                </c:pt>
                <c:pt idx="6227">
                  <c:v>#N/A</c:v>
                </c:pt>
                <c:pt idx="6228">
                  <c:v>#N/A</c:v>
                </c:pt>
                <c:pt idx="6229">
                  <c:v>#N/A</c:v>
                </c:pt>
                <c:pt idx="6230">
                  <c:v>#N/A</c:v>
                </c:pt>
                <c:pt idx="6231">
                  <c:v>#N/A</c:v>
                </c:pt>
                <c:pt idx="6232">
                  <c:v>#N/A</c:v>
                </c:pt>
                <c:pt idx="6233">
                  <c:v>#N/A</c:v>
                </c:pt>
                <c:pt idx="6234">
                  <c:v>#N/A</c:v>
                </c:pt>
                <c:pt idx="6235">
                  <c:v>#N/A</c:v>
                </c:pt>
                <c:pt idx="6236">
                  <c:v>#N/A</c:v>
                </c:pt>
                <c:pt idx="6237">
                  <c:v>#N/A</c:v>
                </c:pt>
                <c:pt idx="6238">
                  <c:v>#N/A</c:v>
                </c:pt>
                <c:pt idx="6239">
                  <c:v>#N/A</c:v>
                </c:pt>
                <c:pt idx="6240">
                  <c:v>#N/A</c:v>
                </c:pt>
                <c:pt idx="6241">
                  <c:v>#N/A</c:v>
                </c:pt>
                <c:pt idx="6242">
                  <c:v>#N/A</c:v>
                </c:pt>
                <c:pt idx="6243">
                  <c:v>#N/A</c:v>
                </c:pt>
                <c:pt idx="6244">
                  <c:v>#N/A</c:v>
                </c:pt>
                <c:pt idx="6245">
                  <c:v>#N/A</c:v>
                </c:pt>
                <c:pt idx="6246">
                  <c:v>#N/A</c:v>
                </c:pt>
                <c:pt idx="6247">
                  <c:v>#N/A</c:v>
                </c:pt>
                <c:pt idx="6248">
                  <c:v>#N/A</c:v>
                </c:pt>
                <c:pt idx="6249">
                  <c:v>#N/A</c:v>
                </c:pt>
                <c:pt idx="6250">
                  <c:v>#N/A</c:v>
                </c:pt>
                <c:pt idx="6251">
                  <c:v>#N/A</c:v>
                </c:pt>
                <c:pt idx="6252">
                  <c:v>#N/A</c:v>
                </c:pt>
                <c:pt idx="6253">
                  <c:v>#N/A</c:v>
                </c:pt>
                <c:pt idx="6254">
                  <c:v>#N/A</c:v>
                </c:pt>
                <c:pt idx="6255">
                  <c:v>#N/A</c:v>
                </c:pt>
                <c:pt idx="6256">
                  <c:v>#N/A</c:v>
                </c:pt>
                <c:pt idx="6257">
                  <c:v>#N/A</c:v>
                </c:pt>
                <c:pt idx="6258">
                  <c:v>#N/A</c:v>
                </c:pt>
                <c:pt idx="6259">
                  <c:v>#N/A</c:v>
                </c:pt>
                <c:pt idx="6260">
                  <c:v>#N/A</c:v>
                </c:pt>
                <c:pt idx="6261">
                  <c:v>#N/A</c:v>
                </c:pt>
                <c:pt idx="6262">
                  <c:v>#N/A</c:v>
                </c:pt>
                <c:pt idx="6263">
                  <c:v>#N/A</c:v>
                </c:pt>
                <c:pt idx="6264">
                  <c:v>#N/A</c:v>
                </c:pt>
                <c:pt idx="6265">
                  <c:v>#N/A</c:v>
                </c:pt>
                <c:pt idx="6266">
                  <c:v>#N/A</c:v>
                </c:pt>
                <c:pt idx="6267">
                  <c:v>#N/A</c:v>
                </c:pt>
                <c:pt idx="6268">
                  <c:v>#N/A</c:v>
                </c:pt>
                <c:pt idx="6269">
                  <c:v>#N/A</c:v>
                </c:pt>
                <c:pt idx="6270">
                  <c:v>#N/A</c:v>
                </c:pt>
                <c:pt idx="6271">
                  <c:v>#N/A</c:v>
                </c:pt>
                <c:pt idx="6272">
                  <c:v>#N/A</c:v>
                </c:pt>
                <c:pt idx="6273">
                  <c:v>#N/A</c:v>
                </c:pt>
                <c:pt idx="6274">
                  <c:v>#N/A</c:v>
                </c:pt>
                <c:pt idx="6275">
                  <c:v>#N/A</c:v>
                </c:pt>
                <c:pt idx="6276">
                  <c:v>#N/A</c:v>
                </c:pt>
                <c:pt idx="6277">
                  <c:v>#N/A</c:v>
                </c:pt>
                <c:pt idx="6278">
                  <c:v>#N/A</c:v>
                </c:pt>
                <c:pt idx="6279">
                  <c:v>#N/A</c:v>
                </c:pt>
                <c:pt idx="6280">
                  <c:v>#N/A</c:v>
                </c:pt>
                <c:pt idx="6281">
                  <c:v>#N/A</c:v>
                </c:pt>
                <c:pt idx="6282">
                  <c:v>#N/A</c:v>
                </c:pt>
                <c:pt idx="6283">
                  <c:v>#N/A</c:v>
                </c:pt>
                <c:pt idx="6284">
                  <c:v>#N/A</c:v>
                </c:pt>
                <c:pt idx="6285">
                  <c:v>#N/A</c:v>
                </c:pt>
                <c:pt idx="6286">
                  <c:v>#N/A</c:v>
                </c:pt>
                <c:pt idx="6287">
                  <c:v>#N/A</c:v>
                </c:pt>
                <c:pt idx="6288">
                  <c:v>#N/A</c:v>
                </c:pt>
                <c:pt idx="6289">
                  <c:v>#N/A</c:v>
                </c:pt>
                <c:pt idx="6290">
                  <c:v>#N/A</c:v>
                </c:pt>
                <c:pt idx="6291">
                  <c:v>#N/A</c:v>
                </c:pt>
                <c:pt idx="6292">
                  <c:v>#N/A</c:v>
                </c:pt>
                <c:pt idx="6293">
                  <c:v>#N/A</c:v>
                </c:pt>
                <c:pt idx="6294">
                  <c:v>#N/A</c:v>
                </c:pt>
                <c:pt idx="6295">
                  <c:v>#N/A</c:v>
                </c:pt>
                <c:pt idx="6296">
                  <c:v>#N/A</c:v>
                </c:pt>
                <c:pt idx="6297">
                  <c:v>#N/A</c:v>
                </c:pt>
                <c:pt idx="6298">
                  <c:v>#N/A</c:v>
                </c:pt>
                <c:pt idx="6299">
                  <c:v>#N/A</c:v>
                </c:pt>
                <c:pt idx="6300">
                  <c:v>#N/A</c:v>
                </c:pt>
                <c:pt idx="6301">
                  <c:v>#N/A</c:v>
                </c:pt>
                <c:pt idx="6302">
                  <c:v>#N/A</c:v>
                </c:pt>
                <c:pt idx="6303">
                  <c:v>#N/A</c:v>
                </c:pt>
                <c:pt idx="6304">
                  <c:v>#N/A</c:v>
                </c:pt>
                <c:pt idx="6305">
                  <c:v>#N/A</c:v>
                </c:pt>
                <c:pt idx="6306">
                  <c:v>#N/A</c:v>
                </c:pt>
                <c:pt idx="6307">
                  <c:v>#N/A</c:v>
                </c:pt>
                <c:pt idx="6308">
                  <c:v>#N/A</c:v>
                </c:pt>
                <c:pt idx="6309">
                  <c:v>#N/A</c:v>
                </c:pt>
                <c:pt idx="6310">
                  <c:v>#N/A</c:v>
                </c:pt>
                <c:pt idx="6311">
                  <c:v>#N/A</c:v>
                </c:pt>
                <c:pt idx="6312">
                  <c:v>#N/A</c:v>
                </c:pt>
                <c:pt idx="6313">
                  <c:v>#N/A</c:v>
                </c:pt>
                <c:pt idx="6314">
                  <c:v>#N/A</c:v>
                </c:pt>
                <c:pt idx="6315">
                  <c:v>#N/A</c:v>
                </c:pt>
                <c:pt idx="6316">
                  <c:v>#N/A</c:v>
                </c:pt>
                <c:pt idx="6317">
                  <c:v>#N/A</c:v>
                </c:pt>
                <c:pt idx="6318">
                  <c:v>#N/A</c:v>
                </c:pt>
                <c:pt idx="6319">
                  <c:v>#N/A</c:v>
                </c:pt>
                <c:pt idx="6320">
                  <c:v>#N/A</c:v>
                </c:pt>
                <c:pt idx="6321">
                  <c:v>#N/A</c:v>
                </c:pt>
                <c:pt idx="6322">
                  <c:v>#N/A</c:v>
                </c:pt>
                <c:pt idx="6323">
                  <c:v>#N/A</c:v>
                </c:pt>
                <c:pt idx="6324">
                  <c:v>#N/A</c:v>
                </c:pt>
                <c:pt idx="6325">
                  <c:v>#N/A</c:v>
                </c:pt>
                <c:pt idx="6326">
                  <c:v>#N/A</c:v>
                </c:pt>
                <c:pt idx="6327">
                  <c:v>#N/A</c:v>
                </c:pt>
                <c:pt idx="6328">
                  <c:v>#N/A</c:v>
                </c:pt>
                <c:pt idx="6329">
                  <c:v>#N/A</c:v>
                </c:pt>
                <c:pt idx="6330">
                  <c:v>#N/A</c:v>
                </c:pt>
                <c:pt idx="6331">
                  <c:v>#N/A</c:v>
                </c:pt>
                <c:pt idx="6332">
                  <c:v>#N/A</c:v>
                </c:pt>
                <c:pt idx="6333">
                  <c:v>#N/A</c:v>
                </c:pt>
                <c:pt idx="6334">
                  <c:v>#N/A</c:v>
                </c:pt>
                <c:pt idx="6335">
                  <c:v>#N/A</c:v>
                </c:pt>
                <c:pt idx="6336">
                  <c:v>#N/A</c:v>
                </c:pt>
                <c:pt idx="6337">
                  <c:v>#N/A</c:v>
                </c:pt>
                <c:pt idx="6338">
                  <c:v>#N/A</c:v>
                </c:pt>
                <c:pt idx="6339">
                  <c:v>#N/A</c:v>
                </c:pt>
                <c:pt idx="6340">
                  <c:v>#N/A</c:v>
                </c:pt>
                <c:pt idx="6341">
                  <c:v>#N/A</c:v>
                </c:pt>
                <c:pt idx="6342">
                  <c:v>#N/A</c:v>
                </c:pt>
                <c:pt idx="6343">
                  <c:v>#N/A</c:v>
                </c:pt>
                <c:pt idx="6344">
                  <c:v>#N/A</c:v>
                </c:pt>
                <c:pt idx="6345">
                  <c:v>#N/A</c:v>
                </c:pt>
                <c:pt idx="6346">
                  <c:v>#N/A</c:v>
                </c:pt>
                <c:pt idx="6347">
                  <c:v>#N/A</c:v>
                </c:pt>
                <c:pt idx="6348">
                  <c:v>#N/A</c:v>
                </c:pt>
                <c:pt idx="6349">
                  <c:v>#N/A</c:v>
                </c:pt>
                <c:pt idx="6350">
                  <c:v>#N/A</c:v>
                </c:pt>
                <c:pt idx="6351">
                  <c:v>#N/A</c:v>
                </c:pt>
                <c:pt idx="6352">
                  <c:v>#N/A</c:v>
                </c:pt>
                <c:pt idx="6353">
                  <c:v>#N/A</c:v>
                </c:pt>
                <c:pt idx="6354">
                  <c:v>#N/A</c:v>
                </c:pt>
                <c:pt idx="6355">
                  <c:v>#N/A</c:v>
                </c:pt>
                <c:pt idx="6356">
                  <c:v>#N/A</c:v>
                </c:pt>
                <c:pt idx="6357">
                  <c:v>#N/A</c:v>
                </c:pt>
                <c:pt idx="6358">
                  <c:v>#N/A</c:v>
                </c:pt>
                <c:pt idx="6359">
                  <c:v>#N/A</c:v>
                </c:pt>
                <c:pt idx="6360">
                  <c:v>#N/A</c:v>
                </c:pt>
                <c:pt idx="6361">
                  <c:v>#N/A</c:v>
                </c:pt>
                <c:pt idx="6362">
                  <c:v>#N/A</c:v>
                </c:pt>
                <c:pt idx="6363">
                  <c:v>#N/A</c:v>
                </c:pt>
                <c:pt idx="6364">
                  <c:v>#N/A</c:v>
                </c:pt>
                <c:pt idx="6365">
                  <c:v>#N/A</c:v>
                </c:pt>
                <c:pt idx="6366">
                  <c:v>#N/A</c:v>
                </c:pt>
                <c:pt idx="6367">
                  <c:v>#N/A</c:v>
                </c:pt>
                <c:pt idx="6368">
                  <c:v>#N/A</c:v>
                </c:pt>
                <c:pt idx="6369">
                  <c:v>#N/A</c:v>
                </c:pt>
                <c:pt idx="6370">
                  <c:v>#N/A</c:v>
                </c:pt>
                <c:pt idx="6371">
                  <c:v>#N/A</c:v>
                </c:pt>
                <c:pt idx="6372">
                  <c:v>#N/A</c:v>
                </c:pt>
                <c:pt idx="6373">
                  <c:v>#N/A</c:v>
                </c:pt>
                <c:pt idx="6374">
                  <c:v>#N/A</c:v>
                </c:pt>
                <c:pt idx="6375">
                  <c:v>#N/A</c:v>
                </c:pt>
                <c:pt idx="6376">
                  <c:v>#N/A</c:v>
                </c:pt>
                <c:pt idx="6377">
                  <c:v>#N/A</c:v>
                </c:pt>
                <c:pt idx="6378">
                  <c:v>#N/A</c:v>
                </c:pt>
                <c:pt idx="6379">
                  <c:v>#N/A</c:v>
                </c:pt>
                <c:pt idx="6380">
                  <c:v>#N/A</c:v>
                </c:pt>
                <c:pt idx="6381">
                  <c:v>#N/A</c:v>
                </c:pt>
                <c:pt idx="6382">
                  <c:v>#N/A</c:v>
                </c:pt>
                <c:pt idx="6383">
                  <c:v>#N/A</c:v>
                </c:pt>
                <c:pt idx="6384">
                  <c:v>#N/A</c:v>
                </c:pt>
                <c:pt idx="6385">
                  <c:v>#N/A</c:v>
                </c:pt>
                <c:pt idx="6386">
                  <c:v>#N/A</c:v>
                </c:pt>
                <c:pt idx="6387">
                  <c:v>#N/A</c:v>
                </c:pt>
                <c:pt idx="6388">
                  <c:v>#N/A</c:v>
                </c:pt>
                <c:pt idx="6389">
                  <c:v>#N/A</c:v>
                </c:pt>
                <c:pt idx="6390">
                  <c:v>#N/A</c:v>
                </c:pt>
                <c:pt idx="6391">
                  <c:v>#N/A</c:v>
                </c:pt>
                <c:pt idx="6392">
                  <c:v>#N/A</c:v>
                </c:pt>
                <c:pt idx="6393">
                  <c:v>#N/A</c:v>
                </c:pt>
                <c:pt idx="6394">
                  <c:v>#N/A</c:v>
                </c:pt>
                <c:pt idx="6395">
                  <c:v>#N/A</c:v>
                </c:pt>
                <c:pt idx="6396">
                  <c:v>#N/A</c:v>
                </c:pt>
                <c:pt idx="6397">
                  <c:v>#N/A</c:v>
                </c:pt>
                <c:pt idx="6398">
                  <c:v>#N/A</c:v>
                </c:pt>
                <c:pt idx="6399">
                  <c:v>#N/A</c:v>
                </c:pt>
                <c:pt idx="6400">
                  <c:v>#N/A</c:v>
                </c:pt>
                <c:pt idx="6401">
                  <c:v>#N/A</c:v>
                </c:pt>
                <c:pt idx="6402">
                  <c:v>#N/A</c:v>
                </c:pt>
                <c:pt idx="6403">
                  <c:v>#N/A</c:v>
                </c:pt>
                <c:pt idx="6404">
                  <c:v>#N/A</c:v>
                </c:pt>
                <c:pt idx="6405">
                  <c:v>#N/A</c:v>
                </c:pt>
                <c:pt idx="6406">
                  <c:v>#N/A</c:v>
                </c:pt>
                <c:pt idx="6407">
                  <c:v>#N/A</c:v>
                </c:pt>
                <c:pt idx="6408">
                  <c:v>#N/A</c:v>
                </c:pt>
                <c:pt idx="6409">
                  <c:v>#N/A</c:v>
                </c:pt>
                <c:pt idx="6410">
                  <c:v>#N/A</c:v>
                </c:pt>
                <c:pt idx="6411">
                  <c:v>#N/A</c:v>
                </c:pt>
                <c:pt idx="6412">
                  <c:v>#N/A</c:v>
                </c:pt>
                <c:pt idx="6413">
                  <c:v>#N/A</c:v>
                </c:pt>
                <c:pt idx="6414">
                  <c:v>#N/A</c:v>
                </c:pt>
                <c:pt idx="6415">
                  <c:v>#N/A</c:v>
                </c:pt>
                <c:pt idx="6416">
                  <c:v>#N/A</c:v>
                </c:pt>
                <c:pt idx="6417">
                  <c:v>#N/A</c:v>
                </c:pt>
                <c:pt idx="6418">
                  <c:v>#N/A</c:v>
                </c:pt>
                <c:pt idx="6419">
                  <c:v>#N/A</c:v>
                </c:pt>
                <c:pt idx="6420">
                  <c:v>#N/A</c:v>
                </c:pt>
                <c:pt idx="6421">
                  <c:v>#N/A</c:v>
                </c:pt>
                <c:pt idx="6422">
                  <c:v>#N/A</c:v>
                </c:pt>
                <c:pt idx="6423">
                  <c:v>#N/A</c:v>
                </c:pt>
                <c:pt idx="6424">
                  <c:v>#N/A</c:v>
                </c:pt>
                <c:pt idx="6425">
                  <c:v>#N/A</c:v>
                </c:pt>
                <c:pt idx="6426">
                  <c:v>#N/A</c:v>
                </c:pt>
                <c:pt idx="6427">
                  <c:v>#N/A</c:v>
                </c:pt>
                <c:pt idx="6428">
                  <c:v>#N/A</c:v>
                </c:pt>
                <c:pt idx="6429">
                  <c:v>#N/A</c:v>
                </c:pt>
                <c:pt idx="6430">
                  <c:v>#N/A</c:v>
                </c:pt>
                <c:pt idx="6431">
                  <c:v>#N/A</c:v>
                </c:pt>
                <c:pt idx="6432">
                  <c:v>#N/A</c:v>
                </c:pt>
                <c:pt idx="6433">
                  <c:v>#N/A</c:v>
                </c:pt>
                <c:pt idx="6434">
                  <c:v>#N/A</c:v>
                </c:pt>
                <c:pt idx="6435">
                  <c:v>#N/A</c:v>
                </c:pt>
                <c:pt idx="6436">
                  <c:v>#N/A</c:v>
                </c:pt>
                <c:pt idx="6437">
                  <c:v>#N/A</c:v>
                </c:pt>
                <c:pt idx="6438">
                  <c:v>#N/A</c:v>
                </c:pt>
                <c:pt idx="6439">
                  <c:v>#N/A</c:v>
                </c:pt>
                <c:pt idx="6440">
                  <c:v>#N/A</c:v>
                </c:pt>
                <c:pt idx="6441">
                  <c:v>#N/A</c:v>
                </c:pt>
                <c:pt idx="6442">
                  <c:v>#N/A</c:v>
                </c:pt>
                <c:pt idx="6443">
                  <c:v>#N/A</c:v>
                </c:pt>
                <c:pt idx="6444">
                  <c:v>#N/A</c:v>
                </c:pt>
                <c:pt idx="6445">
                  <c:v>#N/A</c:v>
                </c:pt>
                <c:pt idx="6446">
                  <c:v>#N/A</c:v>
                </c:pt>
                <c:pt idx="6447">
                  <c:v>#N/A</c:v>
                </c:pt>
                <c:pt idx="6448">
                  <c:v>#N/A</c:v>
                </c:pt>
                <c:pt idx="6449">
                  <c:v>#N/A</c:v>
                </c:pt>
                <c:pt idx="6450">
                  <c:v>#N/A</c:v>
                </c:pt>
                <c:pt idx="6451">
                  <c:v>#N/A</c:v>
                </c:pt>
                <c:pt idx="6452">
                  <c:v>#N/A</c:v>
                </c:pt>
                <c:pt idx="6453">
                  <c:v>#N/A</c:v>
                </c:pt>
                <c:pt idx="6454">
                  <c:v>#N/A</c:v>
                </c:pt>
                <c:pt idx="6455">
                  <c:v>#N/A</c:v>
                </c:pt>
                <c:pt idx="6456">
                  <c:v>#N/A</c:v>
                </c:pt>
                <c:pt idx="6457">
                  <c:v>#N/A</c:v>
                </c:pt>
                <c:pt idx="6458">
                  <c:v>#N/A</c:v>
                </c:pt>
                <c:pt idx="6459">
                  <c:v>#N/A</c:v>
                </c:pt>
                <c:pt idx="6460">
                  <c:v>#N/A</c:v>
                </c:pt>
                <c:pt idx="6461">
                  <c:v>#N/A</c:v>
                </c:pt>
                <c:pt idx="6462">
                  <c:v>#N/A</c:v>
                </c:pt>
                <c:pt idx="6463">
                  <c:v>#N/A</c:v>
                </c:pt>
                <c:pt idx="6464">
                  <c:v>#N/A</c:v>
                </c:pt>
                <c:pt idx="6465">
                  <c:v>#N/A</c:v>
                </c:pt>
                <c:pt idx="6466">
                  <c:v>#N/A</c:v>
                </c:pt>
                <c:pt idx="6467">
                  <c:v>#N/A</c:v>
                </c:pt>
                <c:pt idx="6468">
                  <c:v>#N/A</c:v>
                </c:pt>
                <c:pt idx="6469">
                  <c:v>#N/A</c:v>
                </c:pt>
                <c:pt idx="6470">
                  <c:v>#N/A</c:v>
                </c:pt>
                <c:pt idx="6471">
                  <c:v>#N/A</c:v>
                </c:pt>
                <c:pt idx="6472">
                  <c:v>#N/A</c:v>
                </c:pt>
                <c:pt idx="6473">
                  <c:v>#N/A</c:v>
                </c:pt>
                <c:pt idx="6474">
                  <c:v>#N/A</c:v>
                </c:pt>
                <c:pt idx="6475">
                  <c:v>#N/A</c:v>
                </c:pt>
                <c:pt idx="6476">
                  <c:v>#N/A</c:v>
                </c:pt>
                <c:pt idx="6477">
                  <c:v>#N/A</c:v>
                </c:pt>
                <c:pt idx="6478">
                  <c:v>#N/A</c:v>
                </c:pt>
                <c:pt idx="6479">
                  <c:v>#N/A</c:v>
                </c:pt>
                <c:pt idx="6480">
                  <c:v>#N/A</c:v>
                </c:pt>
                <c:pt idx="6481">
                  <c:v>#N/A</c:v>
                </c:pt>
                <c:pt idx="6482">
                  <c:v>#N/A</c:v>
                </c:pt>
                <c:pt idx="6483">
                  <c:v>#N/A</c:v>
                </c:pt>
                <c:pt idx="6484">
                  <c:v>#N/A</c:v>
                </c:pt>
                <c:pt idx="6485">
                  <c:v>#N/A</c:v>
                </c:pt>
                <c:pt idx="6486">
                  <c:v>#N/A</c:v>
                </c:pt>
                <c:pt idx="6487">
                  <c:v>#N/A</c:v>
                </c:pt>
                <c:pt idx="6488">
                  <c:v>#N/A</c:v>
                </c:pt>
                <c:pt idx="6489">
                  <c:v>#N/A</c:v>
                </c:pt>
                <c:pt idx="6490">
                  <c:v>#N/A</c:v>
                </c:pt>
                <c:pt idx="6491">
                  <c:v>#N/A</c:v>
                </c:pt>
                <c:pt idx="6492">
                  <c:v>#N/A</c:v>
                </c:pt>
                <c:pt idx="6493">
                  <c:v>#N/A</c:v>
                </c:pt>
                <c:pt idx="6494">
                  <c:v>#N/A</c:v>
                </c:pt>
                <c:pt idx="6495">
                  <c:v>#N/A</c:v>
                </c:pt>
                <c:pt idx="6496">
                  <c:v>#N/A</c:v>
                </c:pt>
                <c:pt idx="6497">
                  <c:v>#N/A</c:v>
                </c:pt>
                <c:pt idx="6498">
                  <c:v>#N/A</c:v>
                </c:pt>
                <c:pt idx="6499">
                  <c:v>#N/A</c:v>
                </c:pt>
                <c:pt idx="6500">
                  <c:v>#N/A</c:v>
                </c:pt>
                <c:pt idx="6501">
                  <c:v>#N/A</c:v>
                </c:pt>
                <c:pt idx="6502">
                  <c:v>#N/A</c:v>
                </c:pt>
                <c:pt idx="6503">
                  <c:v>#N/A</c:v>
                </c:pt>
                <c:pt idx="6504">
                  <c:v>#N/A</c:v>
                </c:pt>
                <c:pt idx="6505">
                  <c:v>#N/A</c:v>
                </c:pt>
                <c:pt idx="6506">
                  <c:v>#N/A</c:v>
                </c:pt>
                <c:pt idx="6507">
                  <c:v>#N/A</c:v>
                </c:pt>
                <c:pt idx="6508">
                  <c:v>#N/A</c:v>
                </c:pt>
                <c:pt idx="6509">
                  <c:v>#N/A</c:v>
                </c:pt>
                <c:pt idx="6510">
                  <c:v>#N/A</c:v>
                </c:pt>
                <c:pt idx="6511">
                  <c:v>#N/A</c:v>
                </c:pt>
                <c:pt idx="6512">
                  <c:v>#N/A</c:v>
                </c:pt>
                <c:pt idx="6513">
                  <c:v>#N/A</c:v>
                </c:pt>
                <c:pt idx="6514">
                  <c:v>#N/A</c:v>
                </c:pt>
                <c:pt idx="6515">
                  <c:v>#N/A</c:v>
                </c:pt>
                <c:pt idx="6516">
                  <c:v>#N/A</c:v>
                </c:pt>
                <c:pt idx="6517">
                  <c:v>#N/A</c:v>
                </c:pt>
                <c:pt idx="6518">
                  <c:v>#N/A</c:v>
                </c:pt>
                <c:pt idx="6519">
                  <c:v>#N/A</c:v>
                </c:pt>
                <c:pt idx="6520">
                  <c:v>#N/A</c:v>
                </c:pt>
                <c:pt idx="6521">
                  <c:v>#N/A</c:v>
                </c:pt>
                <c:pt idx="6522">
                  <c:v>#N/A</c:v>
                </c:pt>
                <c:pt idx="6523">
                  <c:v>#N/A</c:v>
                </c:pt>
                <c:pt idx="6524">
                  <c:v>#N/A</c:v>
                </c:pt>
                <c:pt idx="6525">
                  <c:v>#N/A</c:v>
                </c:pt>
                <c:pt idx="6526">
                  <c:v>#N/A</c:v>
                </c:pt>
                <c:pt idx="6527">
                  <c:v>#N/A</c:v>
                </c:pt>
                <c:pt idx="6528">
                  <c:v>#N/A</c:v>
                </c:pt>
                <c:pt idx="6529">
                  <c:v>#N/A</c:v>
                </c:pt>
                <c:pt idx="6530">
                  <c:v>#N/A</c:v>
                </c:pt>
                <c:pt idx="6531">
                  <c:v>#N/A</c:v>
                </c:pt>
                <c:pt idx="6532">
                  <c:v>#N/A</c:v>
                </c:pt>
                <c:pt idx="6533">
                  <c:v>#N/A</c:v>
                </c:pt>
                <c:pt idx="6534">
                  <c:v>#N/A</c:v>
                </c:pt>
                <c:pt idx="6535">
                  <c:v>#N/A</c:v>
                </c:pt>
                <c:pt idx="6536">
                  <c:v>#N/A</c:v>
                </c:pt>
                <c:pt idx="6537">
                  <c:v>#N/A</c:v>
                </c:pt>
                <c:pt idx="6538">
                  <c:v>#N/A</c:v>
                </c:pt>
                <c:pt idx="6539">
                  <c:v>#N/A</c:v>
                </c:pt>
                <c:pt idx="6540">
                  <c:v>#N/A</c:v>
                </c:pt>
                <c:pt idx="6541">
                  <c:v>2.3863013698630136</c:v>
                </c:pt>
                <c:pt idx="6542">
                  <c:v>#N/A</c:v>
                </c:pt>
                <c:pt idx="6543">
                  <c:v>#N/A</c:v>
                </c:pt>
                <c:pt idx="6544">
                  <c:v>#N/A</c:v>
                </c:pt>
                <c:pt idx="6545">
                  <c:v>#N/A</c:v>
                </c:pt>
                <c:pt idx="6546">
                  <c:v>#N/A</c:v>
                </c:pt>
                <c:pt idx="6547">
                  <c:v>#N/A</c:v>
                </c:pt>
                <c:pt idx="6548">
                  <c:v>#N/A</c:v>
                </c:pt>
                <c:pt idx="6549">
                  <c:v>#N/A</c:v>
                </c:pt>
                <c:pt idx="6550">
                  <c:v>#N/A</c:v>
                </c:pt>
                <c:pt idx="6551">
                  <c:v>#N/A</c:v>
                </c:pt>
                <c:pt idx="6552">
                  <c:v>#N/A</c:v>
                </c:pt>
                <c:pt idx="6553">
                  <c:v>#N/A</c:v>
                </c:pt>
                <c:pt idx="6554">
                  <c:v>#N/A</c:v>
                </c:pt>
                <c:pt idx="6555">
                  <c:v>#N/A</c:v>
                </c:pt>
                <c:pt idx="6556">
                  <c:v>#N/A</c:v>
                </c:pt>
                <c:pt idx="6557">
                  <c:v>#N/A</c:v>
                </c:pt>
                <c:pt idx="6558">
                  <c:v>#N/A</c:v>
                </c:pt>
                <c:pt idx="6559">
                  <c:v>#N/A</c:v>
                </c:pt>
                <c:pt idx="6560">
                  <c:v>#N/A</c:v>
                </c:pt>
                <c:pt idx="6561">
                  <c:v>#N/A</c:v>
                </c:pt>
                <c:pt idx="6562">
                  <c:v>#N/A</c:v>
                </c:pt>
                <c:pt idx="6563">
                  <c:v>#N/A</c:v>
                </c:pt>
                <c:pt idx="6564">
                  <c:v>#N/A</c:v>
                </c:pt>
                <c:pt idx="6565">
                  <c:v>#N/A</c:v>
                </c:pt>
                <c:pt idx="6566">
                  <c:v>#N/A</c:v>
                </c:pt>
                <c:pt idx="6567">
                  <c:v>#N/A</c:v>
                </c:pt>
                <c:pt idx="6568">
                  <c:v>#N/A</c:v>
                </c:pt>
                <c:pt idx="6569">
                  <c:v>#N/A</c:v>
                </c:pt>
                <c:pt idx="6570">
                  <c:v>#N/A</c:v>
                </c:pt>
                <c:pt idx="6571">
                  <c:v>#N/A</c:v>
                </c:pt>
                <c:pt idx="6572">
                  <c:v>#N/A</c:v>
                </c:pt>
                <c:pt idx="6573">
                  <c:v>#N/A</c:v>
                </c:pt>
                <c:pt idx="6574">
                  <c:v>#N/A</c:v>
                </c:pt>
                <c:pt idx="6575">
                  <c:v>#N/A</c:v>
                </c:pt>
                <c:pt idx="6576">
                  <c:v>#N/A</c:v>
                </c:pt>
                <c:pt idx="6577">
                  <c:v>#N/A</c:v>
                </c:pt>
                <c:pt idx="6578">
                  <c:v>#N/A</c:v>
                </c:pt>
                <c:pt idx="6579">
                  <c:v>#N/A</c:v>
                </c:pt>
                <c:pt idx="6580">
                  <c:v>#N/A</c:v>
                </c:pt>
                <c:pt idx="6581">
                  <c:v>#N/A</c:v>
                </c:pt>
                <c:pt idx="6582">
                  <c:v>#N/A</c:v>
                </c:pt>
                <c:pt idx="6583">
                  <c:v>#N/A</c:v>
                </c:pt>
                <c:pt idx="6584">
                  <c:v>#N/A</c:v>
                </c:pt>
                <c:pt idx="6585">
                  <c:v>#N/A</c:v>
                </c:pt>
                <c:pt idx="6586">
                  <c:v>#N/A</c:v>
                </c:pt>
                <c:pt idx="6587">
                  <c:v>#N/A</c:v>
                </c:pt>
                <c:pt idx="6588">
                  <c:v>#N/A</c:v>
                </c:pt>
                <c:pt idx="6589">
                  <c:v>#N/A</c:v>
                </c:pt>
                <c:pt idx="6590">
                  <c:v>#N/A</c:v>
                </c:pt>
                <c:pt idx="6591">
                  <c:v>#N/A</c:v>
                </c:pt>
                <c:pt idx="6592">
                  <c:v>#N/A</c:v>
                </c:pt>
                <c:pt idx="6593">
                  <c:v>#N/A</c:v>
                </c:pt>
                <c:pt idx="6594">
                  <c:v>#N/A</c:v>
                </c:pt>
                <c:pt idx="6595">
                  <c:v>#N/A</c:v>
                </c:pt>
                <c:pt idx="6596">
                  <c:v>#N/A</c:v>
                </c:pt>
                <c:pt idx="6597">
                  <c:v>#N/A</c:v>
                </c:pt>
                <c:pt idx="6598">
                  <c:v>#N/A</c:v>
                </c:pt>
                <c:pt idx="6599">
                  <c:v>#N/A</c:v>
                </c:pt>
                <c:pt idx="6600">
                  <c:v>#N/A</c:v>
                </c:pt>
                <c:pt idx="6601">
                  <c:v>#N/A</c:v>
                </c:pt>
                <c:pt idx="6602">
                  <c:v>#N/A</c:v>
                </c:pt>
                <c:pt idx="6603">
                  <c:v>#N/A</c:v>
                </c:pt>
                <c:pt idx="6604">
                  <c:v>#N/A</c:v>
                </c:pt>
                <c:pt idx="6605">
                  <c:v>#N/A</c:v>
                </c:pt>
                <c:pt idx="6606">
                  <c:v>#N/A</c:v>
                </c:pt>
                <c:pt idx="6607">
                  <c:v>#N/A</c:v>
                </c:pt>
                <c:pt idx="6608">
                  <c:v>#N/A</c:v>
                </c:pt>
                <c:pt idx="6609">
                  <c:v>#N/A</c:v>
                </c:pt>
                <c:pt idx="6610">
                  <c:v>#N/A</c:v>
                </c:pt>
                <c:pt idx="6611">
                  <c:v>#N/A</c:v>
                </c:pt>
                <c:pt idx="6612">
                  <c:v>#N/A</c:v>
                </c:pt>
                <c:pt idx="6613">
                  <c:v>#N/A</c:v>
                </c:pt>
                <c:pt idx="6614">
                  <c:v>#N/A</c:v>
                </c:pt>
                <c:pt idx="6615">
                  <c:v>#N/A</c:v>
                </c:pt>
                <c:pt idx="6616">
                  <c:v>#N/A</c:v>
                </c:pt>
                <c:pt idx="6617">
                  <c:v>#N/A</c:v>
                </c:pt>
                <c:pt idx="6618">
                  <c:v>#N/A</c:v>
                </c:pt>
                <c:pt idx="6619">
                  <c:v>#N/A</c:v>
                </c:pt>
                <c:pt idx="6620">
                  <c:v>#N/A</c:v>
                </c:pt>
                <c:pt idx="6621">
                  <c:v>#N/A</c:v>
                </c:pt>
                <c:pt idx="6622">
                  <c:v>#N/A</c:v>
                </c:pt>
                <c:pt idx="6623">
                  <c:v>#N/A</c:v>
                </c:pt>
                <c:pt idx="6624">
                  <c:v>#N/A</c:v>
                </c:pt>
                <c:pt idx="6625">
                  <c:v>#N/A</c:v>
                </c:pt>
                <c:pt idx="6626">
                  <c:v>#N/A</c:v>
                </c:pt>
                <c:pt idx="6627">
                  <c:v>#N/A</c:v>
                </c:pt>
                <c:pt idx="6628">
                  <c:v>#N/A</c:v>
                </c:pt>
                <c:pt idx="6629">
                  <c:v>#N/A</c:v>
                </c:pt>
                <c:pt idx="6630">
                  <c:v>#N/A</c:v>
                </c:pt>
                <c:pt idx="6631">
                  <c:v>#N/A</c:v>
                </c:pt>
                <c:pt idx="6632">
                  <c:v>#N/A</c:v>
                </c:pt>
                <c:pt idx="6633">
                  <c:v>#N/A</c:v>
                </c:pt>
                <c:pt idx="6634">
                  <c:v>#N/A</c:v>
                </c:pt>
                <c:pt idx="6635">
                  <c:v>#N/A</c:v>
                </c:pt>
                <c:pt idx="6636">
                  <c:v>#N/A</c:v>
                </c:pt>
                <c:pt idx="6637">
                  <c:v>#N/A</c:v>
                </c:pt>
                <c:pt idx="6638">
                  <c:v>#N/A</c:v>
                </c:pt>
                <c:pt idx="6639">
                  <c:v>#N/A</c:v>
                </c:pt>
                <c:pt idx="6640">
                  <c:v>#N/A</c:v>
                </c:pt>
                <c:pt idx="6641">
                  <c:v>#N/A</c:v>
                </c:pt>
                <c:pt idx="6642">
                  <c:v>#N/A</c:v>
                </c:pt>
                <c:pt idx="6643">
                  <c:v>#N/A</c:v>
                </c:pt>
                <c:pt idx="6644">
                  <c:v>#N/A</c:v>
                </c:pt>
                <c:pt idx="6645">
                  <c:v>#N/A</c:v>
                </c:pt>
                <c:pt idx="6646">
                  <c:v>#N/A</c:v>
                </c:pt>
                <c:pt idx="6647">
                  <c:v>#N/A</c:v>
                </c:pt>
                <c:pt idx="6648">
                  <c:v>#N/A</c:v>
                </c:pt>
                <c:pt idx="6649">
                  <c:v>#N/A</c:v>
                </c:pt>
                <c:pt idx="6650">
                  <c:v>#N/A</c:v>
                </c:pt>
                <c:pt idx="6651">
                  <c:v>#N/A</c:v>
                </c:pt>
                <c:pt idx="6652">
                  <c:v>#N/A</c:v>
                </c:pt>
                <c:pt idx="6653">
                  <c:v>#N/A</c:v>
                </c:pt>
                <c:pt idx="6654">
                  <c:v>#N/A</c:v>
                </c:pt>
                <c:pt idx="6655">
                  <c:v>#N/A</c:v>
                </c:pt>
                <c:pt idx="6656">
                  <c:v>#N/A</c:v>
                </c:pt>
                <c:pt idx="6657">
                  <c:v>#N/A</c:v>
                </c:pt>
                <c:pt idx="6658">
                  <c:v>#N/A</c:v>
                </c:pt>
                <c:pt idx="6659">
                  <c:v>#N/A</c:v>
                </c:pt>
                <c:pt idx="6660">
                  <c:v>#N/A</c:v>
                </c:pt>
                <c:pt idx="6661">
                  <c:v>#N/A</c:v>
                </c:pt>
                <c:pt idx="6662">
                  <c:v>#N/A</c:v>
                </c:pt>
                <c:pt idx="6663">
                  <c:v>#N/A</c:v>
                </c:pt>
                <c:pt idx="6664">
                  <c:v>#N/A</c:v>
                </c:pt>
                <c:pt idx="6665">
                  <c:v>#N/A</c:v>
                </c:pt>
                <c:pt idx="6666">
                  <c:v>#N/A</c:v>
                </c:pt>
                <c:pt idx="6667">
                  <c:v>#N/A</c:v>
                </c:pt>
                <c:pt idx="6668">
                  <c:v>#N/A</c:v>
                </c:pt>
                <c:pt idx="6669">
                  <c:v>#N/A</c:v>
                </c:pt>
                <c:pt idx="6670">
                  <c:v>#N/A</c:v>
                </c:pt>
                <c:pt idx="6671">
                  <c:v>#N/A</c:v>
                </c:pt>
                <c:pt idx="6672">
                  <c:v>#N/A</c:v>
                </c:pt>
                <c:pt idx="6673">
                  <c:v>#N/A</c:v>
                </c:pt>
                <c:pt idx="6674">
                  <c:v>#N/A</c:v>
                </c:pt>
                <c:pt idx="6675">
                  <c:v>#N/A</c:v>
                </c:pt>
                <c:pt idx="6676">
                  <c:v>#N/A</c:v>
                </c:pt>
                <c:pt idx="6677">
                  <c:v>#N/A</c:v>
                </c:pt>
                <c:pt idx="6678">
                  <c:v>#N/A</c:v>
                </c:pt>
                <c:pt idx="6679">
                  <c:v>#N/A</c:v>
                </c:pt>
                <c:pt idx="6680">
                  <c:v>#N/A</c:v>
                </c:pt>
                <c:pt idx="6681">
                  <c:v>#N/A</c:v>
                </c:pt>
                <c:pt idx="6682">
                  <c:v>#N/A</c:v>
                </c:pt>
                <c:pt idx="6683">
                  <c:v>#N/A</c:v>
                </c:pt>
                <c:pt idx="6684">
                  <c:v>#N/A</c:v>
                </c:pt>
                <c:pt idx="6685">
                  <c:v>#N/A</c:v>
                </c:pt>
                <c:pt idx="6686">
                  <c:v>#N/A</c:v>
                </c:pt>
                <c:pt idx="6687">
                  <c:v>#N/A</c:v>
                </c:pt>
                <c:pt idx="6688">
                  <c:v>#N/A</c:v>
                </c:pt>
                <c:pt idx="6689">
                  <c:v>#N/A</c:v>
                </c:pt>
                <c:pt idx="6690">
                  <c:v>#N/A</c:v>
                </c:pt>
                <c:pt idx="6691">
                  <c:v>#N/A</c:v>
                </c:pt>
                <c:pt idx="6692">
                  <c:v>#N/A</c:v>
                </c:pt>
                <c:pt idx="6693">
                  <c:v>#N/A</c:v>
                </c:pt>
                <c:pt idx="6694">
                  <c:v>#N/A</c:v>
                </c:pt>
                <c:pt idx="6695">
                  <c:v>#N/A</c:v>
                </c:pt>
                <c:pt idx="6696">
                  <c:v>#N/A</c:v>
                </c:pt>
                <c:pt idx="6697">
                  <c:v>#N/A</c:v>
                </c:pt>
                <c:pt idx="6698">
                  <c:v>#N/A</c:v>
                </c:pt>
                <c:pt idx="6699">
                  <c:v>#N/A</c:v>
                </c:pt>
                <c:pt idx="6700">
                  <c:v>#N/A</c:v>
                </c:pt>
                <c:pt idx="6701">
                  <c:v>#N/A</c:v>
                </c:pt>
                <c:pt idx="6702">
                  <c:v>#N/A</c:v>
                </c:pt>
                <c:pt idx="6703">
                  <c:v>#N/A</c:v>
                </c:pt>
                <c:pt idx="6704">
                  <c:v>#N/A</c:v>
                </c:pt>
                <c:pt idx="6705">
                  <c:v>#N/A</c:v>
                </c:pt>
                <c:pt idx="6706">
                  <c:v>#N/A</c:v>
                </c:pt>
                <c:pt idx="6707">
                  <c:v>#N/A</c:v>
                </c:pt>
                <c:pt idx="6708">
                  <c:v>#N/A</c:v>
                </c:pt>
                <c:pt idx="6709">
                  <c:v>#N/A</c:v>
                </c:pt>
                <c:pt idx="6710">
                  <c:v>#N/A</c:v>
                </c:pt>
                <c:pt idx="6711">
                  <c:v>#N/A</c:v>
                </c:pt>
                <c:pt idx="6712">
                  <c:v>#N/A</c:v>
                </c:pt>
                <c:pt idx="6713">
                  <c:v>#N/A</c:v>
                </c:pt>
                <c:pt idx="6714">
                  <c:v>#N/A</c:v>
                </c:pt>
                <c:pt idx="6715">
                  <c:v>#N/A</c:v>
                </c:pt>
                <c:pt idx="6716">
                  <c:v>#N/A</c:v>
                </c:pt>
                <c:pt idx="6717">
                  <c:v>#N/A</c:v>
                </c:pt>
                <c:pt idx="6718">
                  <c:v>#N/A</c:v>
                </c:pt>
                <c:pt idx="6719">
                  <c:v>#N/A</c:v>
                </c:pt>
                <c:pt idx="6720">
                  <c:v>#N/A</c:v>
                </c:pt>
                <c:pt idx="6721">
                  <c:v>#N/A</c:v>
                </c:pt>
                <c:pt idx="6722">
                  <c:v>#N/A</c:v>
                </c:pt>
                <c:pt idx="6723">
                  <c:v>#N/A</c:v>
                </c:pt>
                <c:pt idx="6724">
                  <c:v>#N/A</c:v>
                </c:pt>
                <c:pt idx="6725">
                  <c:v>#N/A</c:v>
                </c:pt>
                <c:pt idx="6726">
                  <c:v>#N/A</c:v>
                </c:pt>
                <c:pt idx="6727">
                  <c:v>#N/A</c:v>
                </c:pt>
                <c:pt idx="6728">
                  <c:v>#N/A</c:v>
                </c:pt>
                <c:pt idx="6729">
                  <c:v>#N/A</c:v>
                </c:pt>
                <c:pt idx="6730">
                  <c:v>#N/A</c:v>
                </c:pt>
                <c:pt idx="6731">
                  <c:v>#N/A</c:v>
                </c:pt>
                <c:pt idx="6732">
                  <c:v>#N/A</c:v>
                </c:pt>
                <c:pt idx="6733">
                  <c:v>#N/A</c:v>
                </c:pt>
                <c:pt idx="6734">
                  <c:v>#N/A</c:v>
                </c:pt>
                <c:pt idx="6735">
                  <c:v>#N/A</c:v>
                </c:pt>
                <c:pt idx="6736">
                  <c:v>#N/A</c:v>
                </c:pt>
                <c:pt idx="6737">
                  <c:v>#N/A</c:v>
                </c:pt>
                <c:pt idx="6738">
                  <c:v>#N/A</c:v>
                </c:pt>
                <c:pt idx="6739">
                  <c:v>#N/A</c:v>
                </c:pt>
                <c:pt idx="6740">
                  <c:v>#N/A</c:v>
                </c:pt>
                <c:pt idx="6741">
                  <c:v>#N/A</c:v>
                </c:pt>
                <c:pt idx="6742">
                  <c:v>#N/A</c:v>
                </c:pt>
                <c:pt idx="6743">
                  <c:v>#N/A</c:v>
                </c:pt>
                <c:pt idx="6744">
                  <c:v>#N/A</c:v>
                </c:pt>
                <c:pt idx="6745">
                  <c:v>#N/A</c:v>
                </c:pt>
                <c:pt idx="6746">
                  <c:v>#N/A</c:v>
                </c:pt>
                <c:pt idx="6747">
                  <c:v>#N/A</c:v>
                </c:pt>
                <c:pt idx="6748">
                  <c:v>#N/A</c:v>
                </c:pt>
                <c:pt idx="6749">
                  <c:v>#N/A</c:v>
                </c:pt>
                <c:pt idx="6750">
                  <c:v>#N/A</c:v>
                </c:pt>
                <c:pt idx="6751">
                  <c:v>#N/A</c:v>
                </c:pt>
                <c:pt idx="6752">
                  <c:v>#N/A</c:v>
                </c:pt>
                <c:pt idx="6753">
                  <c:v>#N/A</c:v>
                </c:pt>
                <c:pt idx="6754">
                  <c:v>#N/A</c:v>
                </c:pt>
                <c:pt idx="6755">
                  <c:v>#N/A</c:v>
                </c:pt>
                <c:pt idx="6756">
                  <c:v>#N/A</c:v>
                </c:pt>
                <c:pt idx="6757">
                  <c:v>#N/A</c:v>
                </c:pt>
                <c:pt idx="6758">
                  <c:v>#N/A</c:v>
                </c:pt>
                <c:pt idx="6759">
                  <c:v>#N/A</c:v>
                </c:pt>
                <c:pt idx="6760">
                  <c:v>#N/A</c:v>
                </c:pt>
                <c:pt idx="6761">
                  <c:v>#N/A</c:v>
                </c:pt>
                <c:pt idx="6762">
                  <c:v>#N/A</c:v>
                </c:pt>
                <c:pt idx="6763">
                  <c:v>#N/A</c:v>
                </c:pt>
                <c:pt idx="6764">
                  <c:v>#N/A</c:v>
                </c:pt>
                <c:pt idx="6765">
                  <c:v>#N/A</c:v>
                </c:pt>
                <c:pt idx="6766">
                  <c:v>#N/A</c:v>
                </c:pt>
                <c:pt idx="6767">
                  <c:v>#N/A</c:v>
                </c:pt>
                <c:pt idx="6768">
                  <c:v>#N/A</c:v>
                </c:pt>
                <c:pt idx="6769">
                  <c:v>#N/A</c:v>
                </c:pt>
                <c:pt idx="6770">
                  <c:v>#N/A</c:v>
                </c:pt>
                <c:pt idx="6771">
                  <c:v>#N/A</c:v>
                </c:pt>
                <c:pt idx="6772">
                  <c:v>#N/A</c:v>
                </c:pt>
                <c:pt idx="6773">
                  <c:v>#N/A</c:v>
                </c:pt>
                <c:pt idx="6774">
                  <c:v>#N/A</c:v>
                </c:pt>
                <c:pt idx="6775">
                  <c:v>#N/A</c:v>
                </c:pt>
                <c:pt idx="6776">
                  <c:v>#N/A</c:v>
                </c:pt>
                <c:pt idx="6777">
                  <c:v>#N/A</c:v>
                </c:pt>
                <c:pt idx="6778">
                  <c:v>#N/A</c:v>
                </c:pt>
                <c:pt idx="6779">
                  <c:v>#N/A</c:v>
                </c:pt>
                <c:pt idx="6780">
                  <c:v>#N/A</c:v>
                </c:pt>
                <c:pt idx="6781">
                  <c:v>#N/A</c:v>
                </c:pt>
                <c:pt idx="6782">
                  <c:v>#N/A</c:v>
                </c:pt>
                <c:pt idx="6783">
                  <c:v>#N/A</c:v>
                </c:pt>
                <c:pt idx="6784">
                  <c:v>#N/A</c:v>
                </c:pt>
                <c:pt idx="6785">
                  <c:v>#N/A</c:v>
                </c:pt>
                <c:pt idx="6786">
                  <c:v>#N/A</c:v>
                </c:pt>
                <c:pt idx="6787">
                  <c:v>#N/A</c:v>
                </c:pt>
                <c:pt idx="6788">
                  <c:v>#N/A</c:v>
                </c:pt>
                <c:pt idx="6789">
                  <c:v>#N/A</c:v>
                </c:pt>
                <c:pt idx="6790">
                  <c:v>#N/A</c:v>
                </c:pt>
                <c:pt idx="6791">
                  <c:v>#N/A</c:v>
                </c:pt>
                <c:pt idx="6792">
                  <c:v>#N/A</c:v>
                </c:pt>
                <c:pt idx="6793">
                  <c:v>#N/A</c:v>
                </c:pt>
                <c:pt idx="6794">
                  <c:v>#N/A</c:v>
                </c:pt>
                <c:pt idx="6795">
                  <c:v>#N/A</c:v>
                </c:pt>
                <c:pt idx="6796">
                  <c:v>#N/A</c:v>
                </c:pt>
                <c:pt idx="6797">
                  <c:v>#N/A</c:v>
                </c:pt>
                <c:pt idx="6798">
                  <c:v>#N/A</c:v>
                </c:pt>
                <c:pt idx="6799">
                  <c:v>#N/A</c:v>
                </c:pt>
                <c:pt idx="6800">
                  <c:v>#N/A</c:v>
                </c:pt>
                <c:pt idx="6801">
                  <c:v>#N/A</c:v>
                </c:pt>
                <c:pt idx="6802">
                  <c:v>#N/A</c:v>
                </c:pt>
                <c:pt idx="6803">
                  <c:v>#N/A</c:v>
                </c:pt>
                <c:pt idx="6804">
                  <c:v>#N/A</c:v>
                </c:pt>
                <c:pt idx="6805">
                  <c:v>#N/A</c:v>
                </c:pt>
                <c:pt idx="6806">
                  <c:v>#N/A</c:v>
                </c:pt>
                <c:pt idx="6807">
                  <c:v>#N/A</c:v>
                </c:pt>
                <c:pt idx="6808">
                  <c:v>#N/A</c:v>
                </c:pt>
                <c:pt idx="6809">
                  <c:v>#N/A</c:v>
                </c:pt>
                <c:pt idx="6810">
                  <c:v>#N/A</c:v>
                </c:pt>
                <c:pt idx="6811">
                  <c:v>#N/A</c:v>
                </c:pt>
                <c:pt idx="6812">
                  <c:v>#N/A</c:v>
                </c:pt>
                <c:pt idx="6813">
                  <c:v>#N/A</c:v>
                </c:pt>
                <c:pt idx="6814">
                  <c:v>#N/A</c:v>
                </c:pt>
                <c:pt idx="6815">
                  <c:v>#N/A</c:v>
                </c:pt>
                <c:pt idx="6816">
                  <c:v>#N/A</c:v>
                </c:pt>
                <c:pt idx="6817">
                  <c:v>#N/A</c:v>
                </c:pt>
                <c:pt idx="6818">
                  <c:v>#N/A</c:v>
                </c:pt>
                <c:pt idx="6819">
                  <c:v>#N/A</c:v>
                </c:pt>
                <c:pt idx="6820">
                  <c:v>#N/A</c:v>
                </c:pt>
                <c:pt idx="6821">
                  <c:v>#N/A</c:v>
                </c:pt>
                <c:pt idx="6822">
                  <c:v>#N/A</c:v>
                </c:pt>
                <c:pt idx="6823">
                  <c:v>#N/A</c:v>
                </c:pt>
                <c:pt idx="6824">
                  <c:v>#N/A</c:v>
                </c:pt>
                <c:pt idx="6825">
                  <c:v>#N/A</c:v>
                </c:pt>
                <c:pt idx="6826">
                  <c:v>#N/A</c:v>
                </c:pt>
                <c:pt idx="6827">
                  <c:v>#N/A</c:v>
                </c:pt>
                <c:pt idx="6828">
                  <c:v>#N/A</c:v>
                </c:pt>
                <c:pt idx="6829">
                  <c:v>#N/A</c:v>
                </c:pt>
                <c:pt idx="6830">
                  <c:v>#N/A</c:v>
                </c:pt>
                <c:pt idx="6831">
                  <c:v>#N/A</c:v>
                </c:pt>
                <c:pt idx="6832">
                  <c:v>#N/A</c:v>
                </c:pt>
                <c:pt idx="6833">
                  <c:v>#N/A</c:v>
                </c:pt>
                <c:pt idx="6834">
                  <c:v>#N/A</c:v>
                </c:pt>
                <c:pt idx="6835">
                  <c:v>#N/A</c:v>
                </c:pt>
                <c:pt idx="6836">
                  <c:v>#N/A</c:v>
                </c:pt>
                <c:pt idx="6837">
                  <c:v>#N/A</c:v>
                </c:pt>
                <c:pt idx="6838">
                  <c:v>#N/A</c:v>
                </c:pt>
                <c:pt idx="6839">
                  <c:v>#N/A</c:v>
                </c:pt>
                <c:pt idx="6840">
                  <c:v>#N/A</c:v>
                </c:pt>
                <c:pt idx="6841">
                  <c:v>#N/A</c:v>
                </c:pt>
                <c:pt idx="6842">
                  <c:v>#N/A</c:v>
                </c:pt>
                <c:pt idx="6843">
                  <c:v>#N/A</c:v>
                </c:pt>
                <c:pt idx="6844">
                  <c:v>#N/A</c:v>
                </c:pt>
                <c:pt idx="6845">
                  <c:v>#N/A</c:v>
                </c:pt>
                <c:pt idx="6846">
                  <c:v>#N/A</c:v>
                </c:pt>
                <c:pt idx="6847">
                  <c:v>#N/A</c:v>
                </c:pt>
                <c:pt idx="6848">
                  <c:v>#N/A</c:v>
                </c:pt>
                <c:pt idx="6849">
                  <c:v>#N/A</c:v>
                </c:pt>
                <c:pt idx="6850">
                  <c:v>#N/A</c:v>
                </c:pt>
                <c:pt idx="6851">
                  <c:v>#N/A</c:v>
                </c:pt>
                <c:pt idx="6852">
                  <c:v>#N/A</c:v>
                </c:pt>
                <c:pt idx="6853">
                  <c:v>#N/A</c:v>
                </c:pt>
                <c:pt idx="6854">
                  <c:v>#N/A</c:v>
                </c:pt>
                <c:pt idx="6855">
                  <c:v>#N/A</c:v>
                </c:pt>
                <c:pt idx="6856">
                  <c:v>#N/A</c:v>
                </c:pt>
                <c:pt idx="6857">
                  <c:v>#N/A</c:v>
                </c:pt>
                <c:pt idx="6858">
                  <c:v>#N/A</c:v>
                </c:pt>
                <c:pt idx="6859">
                  <c:v>#N/A</c:v>
                </c:pt>
                <c:pt idx="6860">
                  <c:v>#N/A</c:v>
                </c:pt>
                <c:pt idx="6861">
                  <c:v>#N/A</c:v>
                </c:pt>
                <c:pt idx="6862">
                  <c:v>#N/A</c:v>
                </c:pt>
                <c:pt idx="6863">
                  <c:v>#N/A</c:v>
                </c:pt>
                <c:pt idx="6864">
                  <c:v>#N/A</c:v>
                </c:pt>
                <c:pt idx="6865">
                  <c:v>#N/A</c:v>
                </c:pt>
                <c:pt idx="6866">
                  <c:v>#N/A</c:v>
                </c:pt>
                <c:pt idx="6867">
                  <c:v>#N/A</c:v>
                </c:pt>
                <c:pt idx="6868">
                  <c:v>#N/A</c:v>
                </c:pt>
                <c:pt idx="6869">
                  <c:v>#N/A</c:v>
                </c:pt>
                <c:pt idx="6870">
                  <c:v>#N/A</c:v>
                </c:pt>
                <c:pt idx="6871">
                  <c:v>#N/A</c:v>
                </c:pt>
                <c:pt idx="6872">
                  <c:v>#N/A</c:v>
                </c:pt>
                <c:pt idx="6873">
                  <c:v>#N/A</c:v>
                </c:pt>
                <c:pt idx="6874">
                  <c:v>#N/A</c:v>
                </c:pt>
                <c:pt idx="6875">
                  <c:v>#N/A</c:v>
                </c:pt>
                <c:pt idx="6876">
                  <c:v>#N/A</c:v>
                </c:pt>
                <c:pt idx="6877">
                  <c:v>#N/A</c:v>
                </c:pt>
                <c:pt idx="6878">
                  <c:v>#N/A</c:v>
                </c:pt>
                <c:pt idx="6879">
                  <c:v>#N/A</c:v>
                </c:pt>
                <c:pt idx="6880">
                  <c:v>#N/A</c:v>
                </c:pt>
                <c:pt idx="6881">
                  <c:v>#N/A</c:v>
                </c:pt>
                <c:pt idx="6882">
                  <c:v>#N/A</c:v>
                </c:pt>
                <c:pt idx="6883">
                  <c:v>#N/A</c:v>
                </c:pt>
                <c:pt idx="6884">
                  <c:v>#N/A</c:v>
                </c:pt>
                <c:pt idx="6885">
                  <c:v>#N/A</c:v>
                </c:pt>
                <c:pt idx="6886">
                  <c:v>#N/A</c:v>
                </c:pt>
                <c:pt idx="6887">
                  <c:v>#N/A</c:v>
                </c:pt>
                <c:pt idx="6888">
                  <c:v>#N/A</c:v>
                </c:pt>
                <c:pt idx="6889">
                  <c:v>#N/A</c:v>
                </c:pt>
                <c:pt idx="6890">
                  <c:v>#N/A</c:v>
                </c:pt>
                <c:pt idx="6891">
                  <c:v>#N/A</c:v>
                </c:pt>
                <c:pt idx="6892">
                  <c:v>#N/A</c:v>
                </c:pt>
                <c:pt idx="6893">
                  <c:v>#N/A</c:v>
                </c:pt>
                <c:pt idx="6894">
                  <c:v>#N/A</c:v>
                </c:pt>
                <c:pt idx="6895">
                  <c:v>#N/A</c:v>
                </c:pt>
                <c:pt idx="6896">
                  <c:v>#N/A</c:v>
                </c:pt>
                <c:pt idx="6897">
                  <c:v>#N/A</c:v>
                </c:pt>
                <c:pt idx="6898">
                  <c:v>#N/A</c:v>
                </c:pt>
                <c:pt idx="6899">
                  <c:v>#N/A</c:v>
                </c:pt>
                <c:pt idx="6900">
                  <c:v>#N/A</c:v>
                </c:pt>
                <c:pt idx="6901">
                  <c:v>#N/A</c:v>
                </c:pt>
                <c:pt idx="6902">
                  <c:v>#N/A</c:v>
                </c:pt>
                <c:pt idx="6903">
                  <c:v>#N/A</c:v>
                </c:pt>
                <c:pt idx="6904">
                  <c:v>#N/A</c:v>
                </c:pt>
                <c:pt idx="6905">
                  <c:v>#N/A</c:v>
                </c:pt>
                <c:pt idx="6906">
                  <c:v>#N/A</c:v>
                </c:pt>
                <c:pt idx="6907">
                  <c:v>#N/A</c:v>
                </c:pt>
                <c:pt idx="6908">
                  <c:v>#N/A</c:v>
                </c:pt>
                <c:pt idx="6909">
                  <c:v>#N/A</c:v>
                </c:pt>
                <c:pt idx="6910">
                  <c:v>#N/A</c:v>
                </c:pt>
                <c:pt idx="6911">
                  <c:v>#N/A</c:v>
                </c:pt>
                <c:pt idx="6912">
                  <c:v>#N/A</c:v>
                </c:pt>
                <c:pt idx="6913">
                  <c:v>#N/A</c:v>
                </c:pt>
                <c:pt idx="6914">
                  <c:v>#N/A</c:v>
                </c:pt>
                <c:pt idx="6915">
                  <c:v>#N/A</c:v>
                </c:pt>
                <c:pt idx="6916">
                  <c:v>#N/A</c:v>
                </c:pt>
                <c:pt idx="6917">
                  <c:v>#N/A</c:v>
                </c:pt>
                <c:pt idx="6918">
                  <c:v>#N/A</c:v>
                </c:pt>
                <c:pt idx="6919">
                  <c:v>#N/A</c:v>
                </c:pt>
                <c:pt idx="6920">
                  <c:v>#N/A</c:v>
                </c:pt>
                <c:pt idx="6921">
                  <c:v>#N/A</c:v>
                </c:pt>
                <c:pt idx="6922">
                  <c:v>#N/A</c:v>
                </c:pt>
                <c:pt idx="6923">
                  <c:v>#N/A</c:v>
                </c:pt>
                <c:pt idx="6924">
                  <c:v>#N/A</c:v>
                </c:pt>
                <c:pt idx="6925">
                  <c:v>#N/A</c:v>
                </c:pt>
                <c:pt idx="6926">
                  <c:v>#N/A</c:v>
                </c:pt>
                <c:pt idx="6927">
                  <c:v>#N/A</c:v>
                </c:pt>
                <c:pt idx="6928">
                  <c:v>#N/A</c:v>
                </c:pt>
                <c:pt idx="6929">
                  <c:v>#N/A</c:v>
                </c:pt>
                <c:pt idx="6930">
                  <c:v>#N/A</c:v>
                </c:pt>
                <c:pt idx="6931">
                  <c:v>#N/A</c:v>
                </c:pt>
                <c:pt idx="6932">
                  <c:v>#N/A</c:v>
                </c:pt>
                <c:pt idx="6933">
                  <c:v>#N/A</c:v>
                </c:pt>
                <c:pt idx="6934">
                  <c:v>#N/A</c:v>
                </c:pt>
                <c:pt idx="6935">
                  <c:v>#N/A</c:v>
                </c:pt>
                <c:pt idx="6936">
                  <c:v>#N/A</c:v>
                </c:pt>
                <c:pt idx="6937">
                  <c:v>#N/A</c:v>
                </c:pt>
                <c:pt idx="6938">
                  <c:v>#N/A</c:v>
                </c:pt>
                <c:pt idx="6939">
                  <c:v>#N/A</c:v>
                </c:pt>
                <c:pt idx="6940">
                  <c:v>#N/A</c:v>
                </c:pt>
                <c:pt idx="6941">
                  <c:v>#N/A</c:v>
                </c:pt>
                <c:pt idx="6942">
                  <c:v>#N/A</c:v>
                </c:pt>
                <c:pt idx="6943">
                  <c:v>#N/A</c:v>
                </c:pt>
                <c:pt idx="6944">
                  <c:v>#N/A</c:v>
                </c:pt>
                <c:pt idx="6945">
                  <c:v>#N/A</c:v>
                </c:pt>
                <c:pt idx="6946">
                  <c:v>#N/A</c:v>
                </c:pt>
                <c:pt idx="6947">
                  <c:v>#N/A</c:v>
                </c:pt>
                <c:pt idx="6948">
                  <c:v>#N/A</c:v>
                </c:pt>
                <c:pt idx="6949">
                  <c:v>#N/A</c:v>
                </c:pt>
                <c:pt idx="6950">
                  <c:v>#N/A</c:v>
                </c:pt>
                <c:pt idx="6951">
                  <c:v>#N/A</c:v>
                </c:pt>
                <c:pt idx="6952">
                  <c:v>#N/A</c:v>
                </c:pt>
                <c:pt idx="6953">
                  <c:v>#N/A</c:v>
                </c:pt>
                <c:pt idx="6954">
                  <c:v>#N/A</c:v>
                </c:pt>
                <c:pt idx="6955">
                  <c:v>#N/A</c:v>
                </c:pt>
                <c:pt idx="6956">
                  <c:v>#N/A</c:v>
                </c:pt>
                <c:pt idx="6957">
                  <c:v>#N/A</c:v>
                </c:pt>
                <c:pt idx="6958">
                  <c:v>#N/A</c:v>
                </c:pt>
                <c:pt idx="6959">
                  <c:v>#N/A</c:v>
                </c:pt>
                <c:pt idx="6960">
                  <c:v>#N/A</c:v>
                </c:pt>
                <c:pt idx="6961">
                  <c:v>#N/A</c:v>
                </c:pt>
                <c:pt idx="6962">
                  <c:v>#N/A</c:v>
                </c:pt>
                <c:pt idx="6963">
                  <c:v>#N/A</c:v>
                </c:pt>
                <c:pt idx="6964">
                  <c:v>#N/A</c:v>
                </c:pt>
                <c:pt idx="6965">
                  <c:v>#N/A</c:v>
                </c:pt>
                <c:pt idx="6966">
                  <c:v>#N/A</c:v>
                </c:pt>
                <c:pt idx="6967">
                  <c:v>#N/A</c:v>
                </c:pt>
                <c:pt idx="6968">
                  <c:v>#N/A</c:v>
                </c:pt>
                <c:pt idx="6969">
                  <c:v>#N/A</c:v>
                </c:pt>
                <c:pt idx="6970">
                  <c:v>#N/A</c:v>
                </c:pt>
                <c:pt idx="6971">
                  <c:v>#N/A</c:v>
                </c:pt>
                <c:pt idx="6972">
                  <c:v>#N/A</c:v>
                </c:pt>
                <c:pt idx="6973">
                  <c:v>#N/A</c:v>
                </c:pt>
                <c:pt idx="6974">
                  <c:v>#N/A</c:v>
                </c:pt>
                <c:pt idx="6975">
                  <c:v>#N/A</c:v>
                </c:pt>
                <c:pt idx="6976">
                  <c:v>#N/A</c:v>
                </c:pt>
                <c:pt idx="6977">
                  <c:v>#N/A</c:v>
                </c:pt>
                <c:pt idx="6978">
                  <c:v>#N/A</c:v>
                </c:pt>
                <c:pt idx="6979">
                  <c:v>#N/A</c:v>
                </c:pt>
                <c:pt idx="6980">
                  <c:v>#N/A</c:v>
                </c:pt>
                <c:pt idx="6981">
                  <c:v>#N/A</c:v>
                </c:pt>
                <c:pt idx="6982">
                  <c:v>#N/A</c:v>
                </c:pt>
                <c:pt idx="6983">
                  <c:v>#N/A</c:v>
                </c:pt>
                <c:pt idx="6984">
                  <c:v>#N/A</c:v>
                </c:pt>
                <c:pt idx="6985">
                  <c:v>#N/A</c:v>
                </c:pt>
                <c:pt idx="6986">
                  <c:v>#N/A</c:v>
                </c:pt>
                <c:pt idx="6987">
                  <c:v>#N/A</c:v>
                </c:pt>
                <c:pt idx="6988">
                  <c:v>#N/A</c:v>
                </c:pt>
                <c:pt idx="6989">
                  <c:v>#N/A</c:v>
                </c:pt>
                <c:pt idx="6990">
                  <c:v>#N/A</c:v>
                </c:pt>
                <c:pt idx="6991">
                  <c:v>#N/A</c:v>
                </c:pt>
                <c:pt idx="6992">
                  <c:v>#N/A</c:v>
                </c:pt>
                <c:pt idx="6993">
                  <c:v>#N/A</c:v>
                </c:pt>
                <c:pt idx="6994">
                  <c:v>#N/A</c:v>
                </c:pt>
                <c:pt idx="6995">
                  <c:v>#N/A</c:v>
                </c:pt>
                <c:pt idx="6996">
                  <c:v>#N/A</c:v>
                </c:pt>
                <c:pt idx="6997">
                  <c:v>#N/A</c:v>
                </c:pt>
                <c:pt idx="6998">
                  <c:v>#N/A</c:v>
                </c:pt>
                <c:pt idx="6999">
                  <c:v>#N/A</c:v>
                </c:pt>
                <c:pt idx="7000">
                  <c:v>#N/A</c:v>
                </c:pt>
                <c:pt idx="7001">
                  <c:v>#N/A</c:v>
                </c:pt>
                <c:pt idx="7002">
                  <c:v>#N/A</c:v>
                </c:pt>
                <c:pt idx="7003">
                  <c:v>#N/A</c:v>
                </c:pt>
                <c:pt idx="7004">
                  <c:v>#N/A</c:v>
                </c:pt>
                <c:pt idx="7005">
                  <c:v>#N/A</c:v>
                </c:pt>
                <c:pt idx="7006">
                  <c:v>#N/A</c:v>
                </c:pt>
                <c:pt idx="7007">
                  <c:v>#N/A</c:v>
                </c:pt>
                <c:pt idx="7008">
                  <c:v>#N/A</c:v>
                </c:pt>
                <c:pt idx="7009">
                  <c:v>#N/A</c:v>
                </c:pt>
                <c:pt idx="7010">
                  <c:v>#N/A</c:v>
                </c:pt>
                <c:pt idx="7011">
                  <c:v>#N/A</c:v>
                </c:pt>
                <c:pt idx="7012">
                  <c:v>#N/A</c:v>
                </c:pt>
                <c:pt idx="7013">
                  <c:v>#N/A</c:v>
                </c:pt>
                <c:pt idx="7014">
                  <c:v>#N/A</c:v>
                </c:pt>
                <c:pt idx="7015">
                  <c:v>#N/A</c:v>
                </c:pt>
                <c:pt idx="7016">
                  <c:v>#N/A</c:v>
                </c:pt>
                <c:pt idx="7017">
                  <c:v>#N/A</c:v>
                </c:pt>
                <c:pt idx="7018">
                  <c:v>#N/A</c:v>
                </c:pt>
                <c:pt idx="7019">
                  <c:v>#N/A</c:v>
                </c:pt>
                <c:pt idx="7020">
                  <c:v>#N/A</c:v>
                </c:pt>
                <c:pt idx="7021">
                  <c:v>#N/A</c:v>
                </c:pt>
                <c:pt idx="7022">
                  <c:v>#N/A</c:v>
                </c:pt>
                <c:pt idx="7023">
                  <c:v>#N/A</c:v>
                </c:pt>
                <c:pt idx="7024">
                  <c:v>#N/A</c:v>
                </c:pt>
                <c:pt idx="7025">
                  <c:v>#N/A</c:v>
                </c:pt>
                <c:pt idx="7026">
                  <c:v>#N/A</c:v>
                </c:pt>
                <c:pt idx="7027">
                  <c:v>#N/A</c:v>
                </c:pt>
                <c:pt idx="7028">
                  <c:v>#N/A</c:v>
                </c:pt>
                <c:pt idx="7029">
                  <c:v>#N/A</c:v>
                </c:pt>
                <c:pt idx="7030">
                  <c:v>#N/A</c:v>
                </c:pt>
                <c:pt idx="7031">
                  <c:v>#N/A</c:v>
                </c:pt>
                <c:pt idx="7032">
                  <c:v>#N/A</c:v>
                </c:pt>
                <c:pt idx="7033">
                  <c:v>#N/A</c:v>
                </c:pt>
                <c:pt idx="7034">
                  <c:v>#N/A</c:v>
                </c:pt>
                <c:pt idx="7035">
                  <c:v>#N/A</c:v>
                </c:pt>
                <c:pt idx="7036">
                  <c:v>#N/A</c:v>
                </c:pt>
                <c:pt idx="7037">
                  <c:v>#N/A</c:v>
                </c:pt>
                <c:pt idx="7038">
                  <c:v>#N/A</c:v>
                </c:pt>
                <c:pt idx="7039">
                  <c:v>#N/A</c:v>
                </c:pt>
                <c:pt idx="7040">
                  <c:v>#N/A</c:v>
                </c:pt>
                <c:pt idx="7041">
                  <c:v>#N/A</c:v>
                </c:pt>
                <c:pt idx="7042">
                  <c:v>#N/A</c:v>
                </c:pt>
                <c:pt idx="7043">
                  <c:v>#N/A</c:v>
                </c:pt>
                <c:pt idx="7044">
                  <c:v>#N/A</c:v>
                </c:pt>
                <c:pt idx="7045">
                  <c:v>#N/A</c:v>
                </c:pt>
                <c:pt idx="7046">
                  <c:v>#N/A</c:v>
                </c:pt>
                <c:pt idx="7047">
                  <c:v>#N/A</c:v>
                </c:pt>
                <c:pt idx="7048">
                  <c:v>#N/A</c:v>
                </c:pt>
                <c:pt idx="7049">
                  <c:v>#N/A</c:v>
                </c:pt>
                <c:pt idx="7050">
                  <c:v>#N/A</c:v>
                </c:pt>
                <c:pt idx="7051">
                  <c:v>#N/A</c:v>
                </c:pt>
                <c:pt idx="7052">
                  <c:v>#N/A</c:v>
                </c:pt>
                <c:pt idx="7053">
                  <c:v>#N/A</c:v>
                </c:pt>
                <c:pt idx="7054">
                  <c:v>#N/A</c:v>
                </c:pt>
                <c:pt idx="7055">
                  <c:v>#N/A</c:v>
                </c:pt>
                <c:pt idx="7056">
                  <c:v>#N/A</c:v>
                </c:pt>
                <c:pt idx="7057">
                  <c:v>#N/A</c:v>
                </c:pt>
                <c:pt idx="7058">
                  <c:v>#N/A</c:v>
                </c:pt>
                <c:pt idx="7059">
                  <c:v>#N/A</c:v>
                </c:pt>
                <c:pt idx="7060">
                  <c:v>#N/A</c:v>
                </c:pt>
                <c:pt idx="7061">
                  <c:v>#N/A</c:v>
                </c:pt>
                <c:pt idx="7062">
                  <c:v>#N/A</c:v>
                </c:pt>
                <c:pt idx="7063">
                  <c:v>#N/A</c:v>
                </c:pt>
                <c:pt idx="7064">
                  <c:v>#N/A</c:v>
                </c:pt>
                <c:pt idx="7065">
                  <c:v>#N/A</c:v>
                </c:pt>
                <c:pt idx="7066">
                  <c:v>#N/A</c:v>
                </c:pt>
                <c:pt idx="7067">
                  <c:v>#N/A</c:v>
                </c:pt>
                <c:pt idx="7068">
                  <c:v>#N/A</c:v>
                </c:pt>
                <c:pt idx="7069">
                  <c:v>#N/A</c:v>
                </c:pt>
                <c:pt idx="7070">
                  <c:v>#N/A</c:v>
                </c:pt>
                <c:pt idx="7071">
                  <c:v>#N/A</c:v>
                </c:pt>
                <c:pt idx="7072">
                  <c:v>#N/A</c:v>
                </c:pt>
                <c:pt idx="7073">
                  <c:v>#N/A</c:v>
                </c:pt>
                <c:pt idx="7074">
                  <c:v>#N/A</c:v>
                </c:pt>
                <c:pt idx="7075">
                  <c:v>#N/A</c:v>
                </c:pt>
                <c:pt idx="7076">
                  <c:v>#N/A</c:v>
                </c:pt>
                <c:pt idx="7077">
                  <c:v>#N/A</c:v>
                </c:pt>
                <c:pt idx="7078">
                  <c:v>#N/A</c:v>
                </c:pt>
                <c:pt idx="7079">
                  <c:v>#N/A</c:v>
                </c:pt>
                <c:pt idx="7080">
                  <c:v>#N/A</c:v>
                </c:pt>
                <c:pt idx="7081">
                  <c:v>#N/A</c:v>
                </c:pt>
                <c:pt idx="7082">
                  <c:v>#N/A</c:v>
                </c:pt>
                <c:pt idx="7083">
                  <c:v>#N/A</c:v>
                </c:pt>
                <c:pt idx="7084">
                  <c:v>#N/A</c:v>
                </c:pt>
                <c:pt idx="7085">
                  <c:v>#N/A</c:v>
                </c:pt>
                <c:pt idx="7086">
                  <c:v>#N/A</c:v>
                </c:pt>
                <c:pt idx="7087">
                  <c:v>#N/A</c:v>
                </c:pt>
                <c:pt idx="7088">
                  <c:v>#N/A</c:v>
                </c:pt>
                <c:pt idx="7089">
                  <c:v>#N/A</c:v>
                </c:pt>
                <c:pt idx="7090">
                  <c:v>#N/A</c:v>
                </c:pt>
                <c:pt idx="7091">
                  <c:v>#N/A</c:v>
                </c:pt>
                <c:pt idx="7092">
                  <c:v>#N/A</c:v>
                </c:pt>
                <c:pt idx="7093">
                  <c:v>#N/A</c:v>
                </c:pt>
                <c:pt idx="7094">
                  <c:v>#N/A</c:v>
                </c:pt>
                <c:pt idx="7095">
                  <c:v>#N/A</c:v>
                </c:pt>
                <c:pt idx="7096">
                  <c:v>#N/A</c:v>
                </c:pt>
                <c:pt idx="7097">
                  <c:v>#N/A</c:v>
                </c:pt>
                <c:pt idx="7098">
                  <c:v>#N/A</c:v>
                </c:pt>
                <c:pt idx="7099">
                  <c:v>#N/A</c:v>
                </c:pt>
                <c:pt idx="7100">
                  <c:v>#N/A</c:v>
                </c:pt>
                <c:pt idx="7101">
                  <c:v>#N/A</c:v>
                </c:pt>
                <c:pt idx="7102">
                  <c:v>#N/A</c:v>
                </c:pt>
                <c:pt idx="7103">
                  <c:v>#N/A</c:v>
                </c:pt>
                <c:pt idx="7104">
                  <c:v>#N/A</c:v>
                </c:pt>
                <c:pt idx="7105">
                  <c:v>#N/A</c:v>
                </c:pt>
                <c:pt idx="7106">
                  <c:v>#N/A</c:v>
                </c:pt>
                <c:pt idx="7107">
                  <c:v>#N/A</c:v>
                </c:pt>
                <c:pt idx="7108">
                  <c:v>#N/A</c:v>
                </c:pt>
                <c:pt idx="7109">
                  <c:v>#N/A</c:v>
                </c:pt>
                <c:pt idx="7110">
                  <c:v>#N/A</c:v>
                </c:pt>
                <c:pt idx="7111">
                  <c:v>#N/A</c:v>
                </c:pt>
                <c:pt idx="7112">
                  <c:v>#N/A</c:v>
                </c:pt>
                <c:pt idx="7113">
                  <c:v>#N/A</c:v>
                </c:pt>
                <c:pt idx="7114">
                  <c:v>#N/A</c:v>
                </c:pt>
                <c:pt idx="7115">
                  <c:v>#N/A</c:v>
                </c:pt>
                <c:pt idx="7116">
                  <c:v>#N/A</c:v>
                </c:pt>
                <c:pt idx="7117">
                  <c:v>#N/A</c:v>
                </c:pt>
                <c:pt idx="7118">
                  <c:v>#N/A</c:v>
                </c:pt>
                <c:pt idx="7119">
                  <c:v>#N/A</c:v>
                </c:pt>
                <c:pt idx="7120">
                  <c:v>#N/A</c:v>
                </c:pt>
                <c:pt idx="7121">
                  <c:v>#N/A</c:v>
                </c:pt>
                <c:pt idx="7122">
                  <c:v>#N/A</c:v>
                </c:pt>
                <c:pt idx="7123">
                  <c:v>#N/A</c:v>
                </c:pt>
                <c:pt idx="7124">
                  <c:v>#N/A</c:v>
                </c:pt>
                <c:pt idx="7125">
                  <c:v>#N/A</c:v>
                </c:pt>
                <c:pt idx="7126">
                  <c:v>#N/A</c:v>
                </c:pt>
                <c:pt idx="7127">
                  <c:v>#N/A</c:v>
                </c:pt>
                <c:pt idx="7128">
                  <c:v>#N/A</c:v>
                </c:pt>
                <c:pt idx="7129">
                  <c:v>#N/A</c:v>
                </c:pt>
                <c:pt idx="7130">
                  <c:v>#N/A</c:v>
                </c:pt>
                <c:pt idx="7131">
                  <c:v>#N/A</c:v>
                </c:pt>
                <c:pt idx="7132">
                  <c:v>#N/A</c:v>
                </c:pt>
                <c:pt idx="7133">
                  <c:v>#N/A</c:v>
                </c:pt>
                <c:pt idx="7134">
                  <c:v>#N/A</c:v>
                </c:pt>
                <c:pt idx="7135">
                  <c:v>#N/A</c:v>
                </c:pt>
                <c:pt idx="7136">
                  <c:v>#N/A</c:v>
                </c:pt>
                <c:pt idx="7137">
                  <c:v>#N/A</c:v>
                </c:pt>
                <c:pt idx="7138">
                  <c:v>#N/A</c:v>
                </c:pt>
                <c:pt idx="7139">
                  <c:v>#N/A</c:v>
                </c:pt>
                <c:pt idx="7140">
                  <c:v>#N/A</c:v>
                </c:pt>
                <c:pt idx="7141">
                  <c:v>#N/A</c:v>
                </c:pt>
                <c:pt idx="7142">
                  <c:v>#N/A</c:v>
                </c:pt>
                <c:pt idx="7143">
                  <c:v>#N/A</c:v>
                </c:pt>
                <c:pt idx="7144">
                  <c:v>#N/A</c:v>
                </c:pt>
                <c:pt idx="7145">
                  <c:v>#N/A</c:v>
                </c:pt>
                <c:pt idx="7146">
                  <c:v>#N/A</c:v>
                </c:pt>
                <c:pt idx="7147">
                  <c:v>#N/A</c:v>
                </c:pt>
                <c:pt idx="7148">
                  <c:v>#N/A</c:v>
                </c:pt>
                <c:pt idx="7149">
                  <c:v>#N/A</c:v>
                </c:pt>
                <c:pt idx="7150">
                  <c:v>#N/A</c:v>
                </c:pt>
                <c:pt idx="7151">
                  <c:v>#N/A</c:v>
                </c:pt>
                <c:pt idx="7152">
                  <c:v>#N/A</c:v>
                </c:pt>
                <c:pt idx="7153">
                  <c:v>#N/A</c:v>
                </c:pt>
                <c:pt idx="7154">
                  <c:v>#N/A</c:v>
                </c:pt>
                <c:pt idx="7155">
                  <c:v>#N/A</c:v>
                </c:pt>
                <c:pt idx="7156">
                  <c:v>#N/A</c:v>
                </c:pt>
                <c:pt idx="7157">
                  <c:v>#N/A</c:v>
                </c:pt>
                <c:pt idx="7158">
                  <c:v>#N/A</c:v>
                </c:pt>
                <c:pt idx="7159">
                  <c:v>#N/A</c:v>
                </c:pt>
                <c:pt idx="7160">
                  <c:v>#N/A</c:v>
                </c:pt>
                <c:pt idx="7161">
                  <c:v>#N/A</c:v>
                </c:pt>
                <c:pt idx="7162">
                  <c:v>#N/A</c:v>
                </c:pt>
                <c:pt idx="7163">
                  <c:v>#N/A</c:v>
                </c:pt>
                <c:pt idx="7164">
                  <c:v>#N/A</c:v>
                </c:pt>
                <c:pt idx="7165">
                  <c:v>#N/A</c:v>
                </c:pt>
                <c:pt idx="7166">
                  <c:v>#N/A</c:v>
                </c:pt>
                <c:pt idx="7167">
                  <c:v>#N/A</c:v>
                </c:pt>
                <c:pt idx="7168">
                  <c:v>#N/A</c:v>
                </c:pt>
                <c:pt idx="7169">
                  <c:v>#N/A</c:v>
                </c:pt>
                <c:pt idx="7170">
                  <c:v>#N/A</c:v>
                </c:pt>
                <c:pt idx="7171">
                  <c:v>#N/A</c:v>
                </c:pt>
                <c:pt idx="7172">
                  <c:v>#N/A</c:v>
                </c:pt>
                <c:pt idx="7173">
                  <c:v>#N/A</c:v>
                </c:pt>
                <c:pt idx="7174">
                  <c:v>#N/A</c:v>
                </c:pt>
                <c:pt idx="7175">
                  <c:v>#N/A</c:v>
                </c:pt>
                <c:pt idx="7176">
                  <c:v>#N/A</c:v>
                </c:pt>
                <c:pt idx="7177">
                  <c:v>#N/A</c:v>
                </c:pt>
                <c:pt idx="7178">
                  <c:v>#N/A</c:v>
                </c:pt>
                <c:pt idx="7179">
                  <c:v>#N/A</c:v>
                </c:pt>
                <c:pt idx="7180">
                  <c:v>#N/A</c:v>
                </c:pt>
                <c:pt idx="7181">
                  <c:v>#N/A</c:v>
                </c:pt>
                <c:pt idx="7182">
                  <c:v>#N/A</c:v>
                </c:pt>
                <c:pt idx="7183">
                  <c:v>#N/A</c:v>
                </c:pt>
                <c:pt idx="7184">
                  <c:v>#N/A</c:v>
                </c:pt>
                <c:pt idx="7185">
                  <c:v>#N/A</c:v>
                </c:pt>
                <c:pt idx="7186">
                  <c:v>#N/A</c:v>
                </c:pt>
                <c:pt idx="7187">
                  <c:v>#N/A</c:v>
                </c:pt>
                <c:pt idx="7188">
                  <c:v>#N/A</c:v>
                </c:pt>
                <c:pt idx="7189">
                  <c:v>#N/A</c:v>
                </c:pt>
                <c:pt idx="7190">
                  <c:v>#N/A</c:v>
                </c:pt>
                <c:pt idx="7191">
                  <c:v>#N/A</c:v>
                </c:pt>
                <c:pt idx="7192">
                  <c:v>#N/A</c:v>
                </c:pt>
                <c:pt idx="7193">
                  <c:v>#N/A</c:v>
                </c:pt>
                <c:pt idx="7194">
                  <c:v>#N/A</c:v>
                </c:pt>
                <c:pt idx="7195">
                  <c:v>#N/A</c:v>
                </c:pt>
                <c:pt idx="7196">
                  <c:v>#N/A</c:v>
                </c:pt>
                <c:pt idx="7197">
                  <c:v>#N/A</c:v>
                </c:pt>
                <c:pt idx="7198">
                  <c:v>#N/A</c:v>
                </c:pt>
                <c:pt idx="7199">
                  <c:v>#N/A</c:v>
                </c:pt>
                <c:pt idx="7200">
                  <c:v>#N/A</c:v>
                </c:pt>
                <c:pt idx="7201">
                  <c:v>#N/A</c:v>
                </c:pt>
                <c:pt idx="7202">
                  <c:v>#N/A</c:v>
                </c:pt>
                <c:pt idx="7203">
                  <c:v>#N/A</c:v>
                </c:pt>
                <c:pt idx="7204">
                  <c:v>#N/A</c:v>
                </c:pt>
                <c:pt idx="7205">
                  <c:v>#N/A</c:v>
                </c:pt>
                <c:pt idx="7206">
                  <c:v>#N/A</c:v>
                </c:pt>
                <c:pt idx="7207">
                  <c:v>#N/A</c:v>
                </c:pt>
                <c:pt idx="7208">
                  <c:v>#N/A</c:v>
                </c:pt>
                <c:pt idx="7209">
                  <c:v>#N/A</c:v>
                </c:pt>
                <c:pt idx="7210">
                  <c:v>#N/A</c:v>
                </c:pt>
                <c:pt idx="7211">
                  <c:v>#N/A</c:v>
                </c:pt>
                <c:pt idx="7212">
                  <c:v>#N/A</c:v>
                </c:pt>
                <c:pt idx="7213">
                  <c:v>#N/A</c:v>
                </c:pt>
                <c:pt idx="7214">
                  <c:v>#N/A</c:v>
                </c:pt>
                <c:pt idx="7215">
                  <c:v>#N/A</c:v>
                </c:pt>
                <c:pt idx="7216">
                  <c:v>#N/A</c:v>
                </c:pt>
                <c:pt idx="7217">
                  <c:v>#N/A</c:v>
                </c:pt>
                <c:pt idx="7218">
                  <c:v>#N/A</c:v>
                </c:pt>
                <c:pt idx="7219">
                  <c:v>#N/A</c:v>
                </c:pt>
                <c:pt idx="7220">
                  <c:v>#N/A</c:v>
                </c:pt>
                <c:pt idx="7221">
                  <c:v>#N/A</c:v>
                </c:pt>
                <c:pt idx="7222">
                  <c:v>#N/A</c:v>
                </c:pt>
                <c:pt idx="7223">
                  <c:v>#N/A</c:v>
                </c:pt>
                <c:pt idx="7224">
                  <c:v>#N/A</c:v>
                </c:pt>
                <c:pt idx="7225">
                  <c:v>#N/A</c:v>
                </c:pt>
                <c:pt idx="7226">
                  <c:v>#N/A</c:v>
                </c:pt>
                <c:pt idx="7227">
                  <c:v>#N/A</c:v>
                </c:pt>
                <c:pt idx="7228">
                  <c:v>#N/A</c:v>
                </c:pt>
                <c:pt idx="7229">
                  <c:v>#N/A</c:v>
                </c:pt>
                <c:pt idx="7230">
                  <c:v>#N/A</c:v>
                </c:pt>
                <c:pt idx="7231">
                  <c:v>#N/A</c:v>
                </c:pt>
                <c:pt idx="7232">
                  <c:v>#N/A</c:v>
                </c:pt>
                <c:pt idx="7233">
                  <c:v>#N/A</c:v>
                </c:pt>
                <c:pt idx="7234">
                  <c:v>#N/A</c:v>
                </c:pt>
                <c:pt idx="7235">
                  <c:v>#N/A</c:v>
                </c:pt>
                <c:pt idx="7236">
                  <c:v>#N/A</c:v>
                </c:pt>
                <c:pt idx="7237">
                  <c:v>#N/A</c:v>
                </c:pt>
                <c:pt idx="7238">
                  <c:v>#N/A</c:v>
                </c:pt>
                <c:pt idx="7239">
                  <c:v>#N/A</c:v>
                </c:pt>
                <c:pt idx="7240">
                  <c:v>#N/A</c:v>
                </c:pt>
                <c:pt idx="7241">
                  <c:v>#N/A</c:v>
                </c:pt>
                <c:pt idx="7242">
                  <c:v>#N/A</c:v>
                </c:pt>
                <c:pt idx="7243">
                  <c:v>#N/A</c:v>
                </c:pt>
                <c:pt idx="7244">
                  <c:v>#N/A</c:v>
                </c:pt>
                <c:pt idx="7245">
                  <c:v>#N/A</c:v>
                </c:pt>
                <c:pt idx="7246">
                  <c:v>#N/A</c:v>
                </c:pt>
                <c:pt idx="7247">
                  <c:v>#N/A</c:v>
                </c:pt>
                <c:pt idx="7248">
                  <c:v>#N/A</c:v>
                </c:pt>
                <c:pt idx="7249">
                  <c:v>#N/A</c:v>
                </c:pt>
                <c:pt idx="7250">
                  <c:v>#N/A</c:v>
                </c:pt>
                <c:pt idx="7251">
                  <c:v>#N/A</c:v>
                </c:pt>
                <c:pt idx="7252">
                  <c:v>#N/A</c:v>
                </c:pt>
                <c:pt idx="7253">
                  <c:v>#N/A</c:v>
                </c:pt>
                <c:pt idx="7254">
                  <c:v>#N/A</c:v>
                </c:pt>
                <c:pt idx="7255">
                  <c:v>#N/A</c:v>
                </c:pt>
                <c:pt idx="7256">
                  <c:v>#N/A</c:v>
                </c:pt>
                <c:pt idx="7257">
                  <c:v>#N/A</c:v>
                </c:pt>
                <c:pt idx="7258">
                  <c:v>#N/A</c:v>
                </c:pt>
                <c:pt idx="7259">
                  <c:v>#N/A</c:v>
                </c:pt>
                <c:pt idx="7260">
                  <c:v>#N/A</c:v>
                </c:pt>
                <c:pt idx="7261">
                  <c:v>#N/A</c:v>
                </c:pt>
                <c:pt idx="7262">
                  <c:v>#N/A</c:v>
                </c:pt>
                <c:pt idx="7263">
                  <c:v>#N/A</c:v>
                </c:pt>
                <c:pt idx="7264">
                  <c:v>#N/A</c:v>
                </c:pt>
                <c:pt idx="7265">
                  <c:v>#N/A</c:v>
                </c:pt>
                <c:pt idx="7266">
                  <c:v>#N/A</c:v>
                </c:pt>
                <c:pt idx="7267">
                  <c:v>#N/A</c:v>
                </c:pt>
                <c:pt idx="7268">
                  <c:v>#N/A</c:v>
                </c:pt>
                <c:pt idx="7269">
                  <c:v>#N/A</c:v>
                </c:pt>
                <c:pt idx="7270">
                  <c:v>#N/A</c:v>
                </c:pt>
                <c:pt idx="7271">
                  <c:v>#N/A</c:v>
                </c:pt>
                <c:pt idx="7272">
                  <c:v>#N/A</c:v>
                </c:pt>
                <c:pt idx="7273">
                  <c:v>#N/A</c:v>
                </c:pt>
                <c:pt idx="7274">
                  <c:v>#N/A</c:v>
                </c:pt>
                <c:pt idx="7275">
                  <c:v>#N/A</c:v>
                </c:pt>
                <c:pt idx="7276">
                  <c:v>#N/A</c:v>
                </c:pt>
                <c:pt idx="7277">
                  <c:v>#N/A</c:v>
                </c:pt>
                <c:pt idx="7278">
                  <c:v>#N/A</c:v>
                </c:pt>
                <c:pt idx="7279">
                  <c:v>#N/A</c:v>
                </c:pt>
                <c:pt idx="7280">
                  <c:v>#N/A</c:v>
                </c:pt>
                <c:pt idx="7281">
                  <c:v>#N/A</c:v>
                </c:pt>
                <c:pt idx="7282">
                  <c:v>#N/A</c:v>
                </c:pt>
                <c:pt idx="7283">
                  <c:v>#N/A</c:v>
                </c:pt>
                <c:pt idx="7284">
                  <c:v>#N/A</c:v>
                </c:pt>
                <c:pt idx="7285">
                  <c:v>#N/A</c:v>
                </c:pt>
                <c:pt idx="7286">
                  <c:v>#N/A</c:v>
                </c:pt>
                <c:pt idx="7287">
                  <c:v>#N/A</c:v>
                </c:pt>
                <c:pt idx="7288">
                  <c:v>#N/A</c:v>
                </c:pt>
                <c:pt idx="7289">
                  <c:v>#N/A</c:v>
                </c:pt>
                <c:pt idx="7290">
                  <c:v>#N/A</c:v>
                </c:pt>
                <c:pt idx="7291">
                  <c:v>#N/A</c:v>
                </c:pt>
                <c:pt idx="7292">
                  <c:v>#N/A</c:v>
                </c:pt>
                <c:pt idx="7293">
                  <c:v>#N/A</c:v>
                </c:pt>
                <c:pt idx="7294">
                  <c:v>#N/A</c:v>
                </c:pt>
                <c:pt idx="7295">
                  <c:v>#N/A</c:v>
                </c:pt>
                <c:pt idx="7296">
                  <c:v>#N/A</c:v>
                </c:pt>
                <c:pt idx="7297">
                  <c:v>#N/A</c:v>
                </c:pt>
                <c:pt idx="7298">
                  <c:v>#N/A</c:v>
                </c:pt>
                <c:pt idx="7299">
                  <c:v>#N/A</c:v>
                </c:pt>
                <c:pt idx="7300">
                  <c:v>#N/A</c:v>
                </c:pt>
                <c:pt idx="7301">
                  <c:v>#N/A</c:v>
                </c:pt>
                <c:pt idx="7302">
                  <c:v>#N/A</c:v>
                </c:pt>
                <c:pt idx="7303">
                  <c:v>#N/A</c:v>
                </c:pt>
                <c:pt idx="7304">
                  <c:v>#N/A</c:v>
                </c:pt>
                <c:pt idx="7305">
                  <c:v>#N/A</c:v>
                </c:pt>
                <c:pt idx="7306">
                  <c:v>#N/A</c:v>
                </c:pt>
                <c:pt idx="7307">
                  <c:v>#N/A</c:v>
                </c:pt>
                <c:pt idx="7308">
                  <c:v>#N/A</c:v>
                </c:pt>
                <c:pt idx="7309">
                  <c:v>#N/A</c:v>
                </c:pt>
                <c:pt idx="7310">
                  <c:v>#N/A</c:v>
                </c:pt>
                <c:pt idx="7311">
                  <c:v>#N/A</c:v>
                </c:pt>
                <c:pt idx="7312">
                  <c:v>#N/A</c:v>
                </c:pt>
                <c:pt idx="7313">
                  <c:v>#N/A</c:v>
                </c:pt>
                <c:pt idx="7314">
                  <c:v>#N/A</c:v>
                </c:pt>
                <c:pt idx="7315">
                  <c:v>#N/A</c:v>
                </c:pt>
                <c:pt idx="7316">
                  <c:v>#N/A</c:v>
                </c:pt>
                <c:pt idx="7317">
                  <c:v>#N/A</c:v>
                </c:pt>
                <c:pt idx="7318">
                  <c:v>#N/A</c:v>
                </c:pt>
                <c:pt idx="7319">
                  <c:v>#N/A</c:v>
                </c:pt>
                <c:pt idx="7320">
                  <c:v>#N/A</c:v>
                </c:pt>
                <c:pt idx="7321">
                  <c:v>#N/A</c:v>
                </c:pt>
                <c:pt idx="7322">
                  <c:v>#N/A</c:v>
                </c:pt>
                <c:pt idx="7323">
                  <c:v>#N/A</c:v>
                </c:pt>
                <c:pt idx="7324">
                  <c:v>#N/A</c:v>
                </c:pt>
                <c:pt idx="7325">
                  <c:v>#N/A</c:v>
                </c:pt>
                <c:pt idx="7326">
                  <c:v>#N/A</c:v>
                </c:pt>
                <c:pt idx="7327">
                  <c:v>#N/A</c:v>
                </c:pt>
                <c:pt idx="7328">
                  <c:v>#N/A</c:v>
                </c:pt>
                <c:pt idx="7329">
                  <c:v>#N/A</c:v>
                </c:pt>
                <c:pt idx="7330">
                  <c:v>#N/A</c:v>
                </c:pt>
                <c:pt idx="7331">
                  <c:v>#N/A</c:v>
                </c:pt>
                <c:pt idx="7332">
                  <c:v>#N/A</c:v>
                </c:pt>
                <c:pt idx="7333">
                  <c:v>#N/A</c:v>
                </c:pt>
                <c:pt idx="7334">
                  <c:v>#N/A</c:v>
                </c:pt>
                <c:pt idx="7335">
                  <c:v>#N/A</c:v>
                </c:pt>
                <c:pt idx="7336">
                  <c:v>#N/A</c:v>
                </c:pt>
                <c:pt idx="7337">
                  <c:v>#N/A</c:v>
                </c:pt>
                <c:pt idx="7338">
                  <c:v>#N/A</c:v>
                </c:pt>
                <c:pt idx="7339">
                  <c:v>#N/A</c:v>
                </c:pt>
                <c:pt idx="7340">
                  <c:v>#N/A</c:v>
                </c:pt>
                <c:pt idx="7341">
                  <c:v>#N/A</c:v>
                </c:pt>
                <c:pt idx="7342">
                  <c:v>#N/A</c:v>
                </c:pt>
                <c:pt idx="7343">
                  <c:v>#N/A</c:v>
                </c:pt>
                <c:pt idx="7344">
                  <c:v>#N/A</c:v>
                </c:pt>
                <c:pt idx="7345">
                  <c:v>#N/A</c:v>
                </c:pt>
                <c:pt idx="7346">
                  <c:v>#N/A</c:v>
                </c:pt>
                <c:pt idx="7347">
                  <c:v>#N/A</c:v>
                </c:pt>
                <c:pt idx="7348">
                  <c:v>#N/A</c:v>
                </c:pt>
                <c:pt idx="7349">
                  <c:v>#N/A</c:v>
                </c:pt>
                <c:pt idx="7350">
                  <c:v>#N/A</c:v>
                </c:pt>
                <c:pt idx="7351">
                  <c:v>#N/A</c:v>
                </c:pt>
                <c:pt idx="7352">
                  <c:v>#N/A</c:v>
                </c:pt>
                <c:pt idx="7353">
                  <c:v>#N/A</c:v>
                </c:pt>
                <c:pt idx="7354">
                  <c:v>#N/A</c:v>
                </c:pt>
                <c:pt idx="7355">
                  <c:v>#N/A</c:v>
                </c:pt>
                <c:pt idx="7356">
                  <c:v>#N/A</c:v>
                </c:pt>
                <c:pt idx="7357">
                  <c:v>#N/A</c:v>
                </c:pt>
                <c:pt idx="7358">
                  <c:v>#N/A</c:v>
                </c:pt>
                <c:pt idx="7359">
                  <c:v>#N/A</c:v>
                </c:pt>
                <c:pt idx="7360">
                  <c:v>#N/A</c:v>
                </c:pt>
                <c:pt idx="7361">
                  <c:v>#N/A</c:v>
                </c:pt>
                <c:pt idx="7362">
                  <c:v>#N/A</c:v>
                </c:pt>
                <c:pt idx="7363">
                  <c:v>#N/A</c:v>
                </c:pt>
                <c:pt idx="7364">
                  <c:v>#N/A</c:v>
                </c:pt>
                <c:pt idx="7365">
                  <c:v>#N/A</c:v>
                </c:pt>
                <c:pt idx="7366">
                  <c:v>#N/A</c:v>
                </c:pt>
                <c:pt idx="7367">
                  <c:v>#N/A</c:v>
                </c:pt>
                <c:pt idx="7368">
                  <c:v>#N/A</c:v>
                </c:pt>
                <c:pt idx="7369">
                  <c:v>#N/A</c:v>
                </c:pt>
                <c:pt idx="7370">
                  <c:v>#N/A</c:v>
                </c:pt>
                <c:pt idx="7371">
                  <c:v>#N/A</c:v>
                </c:pt>
                <c:pt idx="7372">
                  <c:v>#N/A</c:v>
                </c:pt>
                <c:pt idx="7373">
                  <c:v>#N/A</c:v>
                </c:pt>
                <c:pt idx="7374">
                  <c:v>#N/A</c:v>
                </c:pt>
                <c:pt idx="7375">
                  <c:v>#N/A</c:v>
                </c:pt>
                <c:pt idx="7376">
                  <c:v>#N/A</c:v>
                </c:pt>
                <c:pt idx="7377">
                  <c:v>#N/A</c:v>
                </c:pt>
                <c:pt idx="7378">
                  <c:v>#N/A</c:v>
                </c:pt>
                <c:pt idx="7379">
                  <c:v>#N/A</c:v>
                </c:pt>
                <c:pt idx="7380">
                  <c:v>#N/A</c:v>
                </c:pt>
                <c:pt idx="7381">
                  <c:v>#N/A</c:v>
                </c:pt>
                <c:pt idx="7382">
                  <c:v>#N/A</c:v>
                </c:pt>
                <c:pt idx="7383">
                  <c:v>#N/A</c:v>
                </c:pt>
                <c:pt idx="7384">
                  <c:v>#N/A</c:v>
                </c:pt>
                <c:pt idx="7385">
                  <c:v>#N/A</c:v>
                </c:pt>
                <c:pt idx="7386">
                  <c:v>#N/A</c:v>
                </c:pt>
                <c:pt idx="7387">
                  <c:v>#N/A</c:v>
                </c:pt>
                <c:pt idx="7388">
                  <c:v>#N/A</c:v>
                </c:pt>
                <c:pt idx="7389">
                  <c:v>#N/A</c:v>
                </c:pt>
                <c:pt idx="7390">
                  <c:v>#N/A</c:v>
                </c:pt>
                <c:pt idx="7391">
                  <c:v>#N/A</c:v>
                </c:pt>
                <c:pt idx="7392">
                  <c:v>#N/A</c:v>
                </c:pt>
                <c:pt idx="7393">
                  <c:v>#N/A</c:v>
                </c:pt>
                <c:pt idx="7394">
                  <c:v>#N/A</c:v>
                </c:pt>
                <c:pt idx="7395">
                  <c:v>#N/A</c:v>
                </c:pt>
                <c:pt idx="7396">
                  <c:v>#N/A</c:v>
                </c:pt>
                <c:pt idx="7397">
                  <c:v>#N/A</c:v>
                </c:pt>
                <c:pt idx="7398">
                  <c:v>#N/A</c:v>
                </c:pt>
                <c:pt idx="7399">
                  <c:v>#N/A</c:v>
                </c:pt>
                <c:pt idx="7400">
                  <c:v>#N/A</c:v>
                </c:pt>
                <c:pt idx="7401">
                  <c:v>#N/A</c:v>
                </c:pt>
                <c:pt idx="7402">
                  <c:v>2.7589041095890412</c:v>
                </c:pt>
                <c:pt idx="7403">
                  <c:v>2.7589041095890412</c:v>
                </c:pt>
                <c:pt idx="7404">
                  <c:v>#N/A</c:v>
                </c:pt>
                <c:pt idx="7405">
                  <c:v>#N/A</c:v>
                </c:pt>
                <c:pt idx="7406">
                  <c:v>#N/A</c:v>
                </c:pt>
                <c:pt idx="7407">
                  <c:v>#N/A</c:v>
                </c:pt>
                <c:pt idx="7408">
                  <c:v>#N/A</c:v>
                </c:pt>
                <c:pt idx="7409">
                  <c:v>#N/A</c:v>
                </c:pt>
                <c:pt idx="7410">
                  <c:v>#N/A</c:v>
                </c:pt>
                <c:pt idx="7411">
                  <c:v>#N/A</c:v>
                </c:pt>
                <c:pt idx="7412">
                  <c:v>#N/A</c:v>
                </c:pt>
                <c:pt idx="7413">
                  <c:v>#N/A</c:v>
                </c:pt>
                <c:pt idx="7414">
                  <c:v>#N/A</c:v>
                </c:pt>
                <c:pt idx="7415">
                  <c:v>#N/A</c:v>
                </c:pt>
                <c:pt idx="7416">
                  <c:v>#N/A</c:v>
                </c:pt>
                <c:pt idx="7417">
                  <c:v>#N/A</c:v>
                </c:pt>
                <c:pt idx="7418">
                  <c:v>#N/A</c:v>
                </c:pt>
                <c:pt idx="7419">
                  <c:v>#N/A</c:v>
                </c:pt>
                <c:pt idx="7420">
                  <c:v>#N/A</c:v>
                </c:pt>
                <c:pt idx="7421">
                  <c:v>#N/A</c:v>
                </c:pt>
                <c:pt idx="7422">
                  <c:v>#N/A</c:v>
                </c:pt>
                <c:pt idx="7423">
                  <c:v>#N/A</c:v>
                </c:pt>
                <c:pt idx="7424">
                  <c:v>#N/A</c:v>
                </c:pt>
                <c:pt idx="7425">
                  <c:v>#N/A</c:v>
                </c:pt>
                <c:pt idx="7426">
                  <c:v>#N/A</c:v>
                </c:pt>
                <c:pt idx="7427">
                  <c:v>#N/A</c:v>
                </c:pt>
                <c:pt idx="7428">
                  <c:v>#N/A</c:v>
                </c:pt>
                <c:pt idx="7429">
                  <c:v>#N/A</c:v>
                </c:pt>
                <c:pt idx="7430">
                  <c:v>2.7835616438356166</c:v>
                </c:pt>
                <c:pt idx="7431">
                  <c:v>#N/A</c:v>
                </c:pt>
                <c:pt idx="7432">
                  <c:v>#N/A</c:v>
                </c:pt>
                <c:pt idx="7433">
                  <c:v>#N/A</c:v>
                </c:pt>
                <c:pt idx="7434">
                  <c:v>#N/A</c:v>
                </c:pt>
                <c:pt idx="7435">
                  <c:v>#N/A</c:v>
                </c:pt>
                <c:pt idx="7436">
                  <c:v>#N/A</c:v>
                </c:pt>
                <c:pt idx="7437">
                  <c:v>#N/A</c:v>
                </c:pt>
                <c:pt idx="7438">
                  <c:v>#N/A</c:v>
                </c:pt>
                <c:pt idx="7439">
                  <c:v>#N/A</c:v>
                </c:pt>
                <c:pt idx="7440">
                  <c:v>#N/A</c:v>
                </c:pt>
                <c:pt idx="7441">
                  <c:v>#N/A</c:v>
                </c:pt>
                <c:pt idx="7442">
                  <c:v>#N/A</c:v>
                </c:pt>
                <c:pt idx="7443">
                  <c:v>#N/A</c:v>
                </c:pt>
                <c:pt idx="7444">
                  <c:v>#N/A</c:v>
                </c:pt>
                <c:pt idx="7445">
                  <c:v>#N/A</c:v>
                </c:pt>
                <c:pt idx="7446">
                  <c:v>#N/A</c:v>
                </c:pt>
                <c:pt idx="7447">
                  <c:v>#N/A</c:v>
                </c:pt>
                <c:pt idx="7448">
                  <c:v>#N/A</c:v>
                </c:pt>
                <c:pt idx="7449">
                  <c:v>#N/A</c:v>
                </c:pt>
                <c:pt idx="7450">
                  <c:v>#N/A</c:v>
                </c:pt>
                <c:pt idx="7451">
                  <c:v>#N/A</c:v>
                </c:pt>
                <c:pt idx="7452">
                  <c:v>#N/A</c:v>
                </c:pt>
                <c:pt idx="7453">
                  <c:v>#N/A</c:v>
                </c:pt>
                <c:pt idx="7454">
                  <c:v>#N/A</c:v>
                </c:pt>
                <c:pt idx="7455">
                  <c:v>#N/A</c:v>
                </c:pt>
                <c:pt idx="7456">
                  <c:v>#N/A</c:v>
                </c:pt>
                <c:pt idx="7457">
                  <c:v>#N/A</c:v>
                </c:pt>
                <c:pt idx="7458">
                  <c:v>#N/A</c:v>
                </c:pt>
                <c:pt idx="7459">
                  <c:v>#N/A</c:v>
                </c:pt>
                <c:pt idx="7460">
                  <c:v>#N/A</c:v>
                </c:pt>
                <c:pt idx="7461">
                  <c:v>#N/A</c:v>
                </c:pt>
                <c:pt idx="7462">
                  <c:v>#N/A</c:v>
                </c:pt>
                <c:pt idx="7463">
                  <c:v>#N/A</c:v>
                </c:pt>
                <c:pt idx="7464">
                  <c:v>#N/A</c:v>
                </c:pt>
                <c:pt idx="7465">
                  <c:v>#N/A</c:v>
                </c:pt>
                <c:pt idx="7466">
                  <c:v>#N/A</c:v>
                </c:pt>
                <c:pt idx="7467">
                  <c:v>#N/A</c:v>
                </c:pt>
                <c:pt idx="7468">
                  <c:v>#N/A</c:v>
                </c:pt>
                <c:pt idx="7469">
                  <c:v>#N/A</c:v>
                </c:pt>
                <c:pt idx="7470">
                  <c:v>#N/A</c:v>
                </c:pt>
                <c:pt idx="7471">
                  <c:v>#N/A</c:v>
                </c:pt>
                <c:pt idx="7472">
                  <c:v>#N/A</c:v>
                </c:pt>
                <c:pt idx="7473">
                  <c:v>#N/A</c:v>
                </c:pt>
                <c:pt idx="7474">
                  <c:v>#N/A</c:v>
                </c:pt>
                <c:pt idx="7475">
                  <c:v>#N/A</c:v>
                </c:pt>
                <c:pt idx="7476">
                  <c:v>#N/A</c:v>
                </c:pt>
                <c:pt idx="7477">
                  <c:v>#N/A</c:v>
                </c:pt>
                <c:pt idx="7478">
                  <c:v>#N/A</c:v>
                </c:pt>
                <c:pt idx="7479">
                  <c:v>#N/A</c:v>
                </c:pt>
                <c:pt idx="7480">
                  <c:v>#N/A</c:v>
                </c:pt>
                <c:pt idx="7481">
                  <c:v>#N/A</c:v>
                </c:pt>
                <c:pt idx="7482">
                  <c:v>#N/A</c:v>
                </c:pt>
                <c:pt idx="7483">
                  <c:v>#N/A</c:v>
                </c:pt>
                <c:pt idx="7484">
                  <c:v>#N/A</c:v>
                </c:pt>
                <c:pt idx="7485">
                  <c:v>#N/A</c:v>
                </c:pt>
                <c:pt idx="7486">
                  <c:v>#N/A</c:v>
                </c:pt>
                <c:pt idx="7487">
                  <c:v>#N/A</c:v>
                </c:pt>
                <c:pt idx="7488">
                  <c:v>#N/A</c:v>
                </c:pt>
                <c:pt idx="7489">
                  <c:v>#N/A</c:v>
                </c:pt>
                <c:pt idx="7490">
                  <c:v>#N/A</c:v>
                </c:pt>
                <c:pt idx="7491">
                  <c:v>2.8191780821917809</c:v>
                </c:pt>
                <c:pt idx="7492">
                  <c:v>#N/A</c:v>
                </c:pt>
                <c:pt idx="7493">
                  <c:v>#N/A</c:v>
                </c:pt>
                <c:pt idx="7494">
                  <c:v>#N/A</c:v>
                </c:pt>
                <c:pt idx="7495">
                  <c:v>#N/A</c:v>
                </c:pt>
                <c:pt idx="7496">
                  <c:v>#N/A</c:v>
                </c:pt>
                <c:pt idx="7497">
                  <c:v>#N/A</c:v>
                </c:pt>
                <c:pt idx="7498">
                  <c:v>#N/A</c:v>
                </c:pt>
                <c:pt idx="7499">
                  <c:v>#N/A</c:v>
                </c:pt>
                <c:pt idx="7500">
                  <c:v>#N/A</c:v>
                </c:pt>
                <c:pt idx="7501">
                  <c:v>#N/A</c:v>
                </c:pt>
                <c:pt idx="7502">
                  <c:v>#N/A</c:v>
                </c:pt>
                <c:pt idx="7503">
                  <c:v>#N/A</c:v>
                </c:pt>
                <c:pt idx="7504">
                  <c:v>#N/A</c:v>
                </c:pt>
                <c:pt idx="7505">
                  <c:v>#N/A</c:v>
                </c:pt>
                <c:pt idx="7506">
                  <c:v>#N/A</c:v>
                </c:pt>
                <c:pt idx="7507">
                  <c:v>#N/A</c:v>
                </c:pt>
                <c:pt idx="7508">
                  <c:v>#N/A</c:v>
                </c:pt>
                <c:pt idx="7509">
                  <c:v>#N/A</c:v>
                </c:pt>
                <c:pt idx="7510">
                  <c:v>#N/A</c:v>
                </c:pt>
                <c:pt idx="7511">
                  <c:v>#N/A</c:v>
                </c:pt>
                <c:pt idx="7512">
                  <c:v>#N/A</c:v>
                </c:pt>
                <c:pt idx="7513">
                  <c:v>#N/A</c:v>
                </c:pt>
                <c:pt idx="7514">
                  <c:v>#N/A</c:v>
                </c:pt>
                <c:pt idx="7515">
                  <c:v>#N/A</c:v>
                </c:pt>
                <c:pt idx="7516">
                  <c:v>#N/A</c:v>
                </c:pt>
                <c:pt idx="7517">
                  <c:v>#N/A</c:v>
                </c:pt>
                <c:pt idx="7518">
                  <c:v>#N/A</c:v>
                </c:pt>
                <c:pt idx="7519">
                  <c:v>#N/A</c:v>
                </c:pt>
                <c:pt idx="7520">
                  <c:v>#N/A</c:v>
                </c:pt>
                <c:pt idx="7521">
                  <c:v>#N/A</c:v>
                </c:pt>
                <c:pt idx="7522">
                  <c:v>#N/A</c:v>
                </c:pt>
                <c:pt idx="7523">
                  <c:v>#N/A</c:v>
                </c:pt>
                <c:pt idx="7524">
                  <c:v>#N/A</c:v>
                </c:pt>
                <c:pt idx="7525">
                  <c:v>#N/A</c:v>
                </c:pt>
                <c:pt idx="7526">
                  <c:v>#N/A</c:v>
                </c:pt>
                <c:pt idx="7527">
                  <c:v>#N/A</c:v>
                </c:pt>
                <c:pt idx="7528">
                  <c:v>#N/A</c:v>
                </c:pt>
                <c:pt idx="7529">
                  <c:v>#N/A</c:v>
                </c:pt>
                <c:pt idx="7530">
                  <c:v>#N/A</c:v>
                </c:pt>
                <c:pt idx="7531">
                  <c:v>#N/A</c:v>
                </c:pt>
                <c:pt idx="7532">
                  <c:v>#N/A</c:v>
                </c:pt>
                <c:pt idx="7533">
                  <c:v>#N/A</c:v>
                </c:pt>
                <c:pt idx="7534">
                  <c:v>#N/A</c:v>
                </c:pt>
                <c:pt idx="7535">
                  <c:v>#N/A</c:v>
                </c:pt>
                <c:pt idx="7536">
                  <c:v>#N/A</c:v>
                </c:pt>
                <c:pt idx="7537">
                  <c:v>#N/A</c:v>
                </c:pt>
                <c:pt idx="7538">
                  <c:v>#N/A</c:v>
                </c:pt>
                <c:pt idx="7539">
                  <c:v>#N/A</c:v>
                </c:pt>
                <c:pt idx="7540">
                  <c:v>#N/A</c:v>
                </c:pt>
                <c:pt idx="7541">
                  <c:v>#N/A</c:v>
                </c:pt>
                <c:pt idx="7542">
                  <c:v>#N/A</c:v>
                </c:pt>
                <c:pt idx="7543">
                  <c:v>#N/A</c:v>
                </c:pt>
                <c:pt idx="7544">
                  <c:v>#N/A</c:v>
                </c:pt>
                <c:pt idx="7545">
                  <c:v>#N/A</c:v>
                </c:pt>
                <c:pt idx="7546">
                  <c:v>#N/A</c:v>
                </c:pt>
                <c:pt idx="7547">
                  <c:v>#N/A</c:v>
                </c:pt>
                <c:pt idx="7548">
                  <c:v>#N/A</c:v>
                </c:pt>
                <c:pt idx="7549">
                  <c:v>#N/A</c:v>
                </c:pt>
                <c:pt idx="7550">
                  <c:v>#N/A</c:v>
                </c:pt>
                <c:pt idx="7551">
                  <c:v>#N/A</c:v>
                </c:pt>
                <c:pt idx="7552">
                  <c:v>#N/A</c:v>
                </c:pt>
                <c:pt idx="7553">
                  <c:v>#N/A</c:v>
                </c:pt>
                <c:pt idx="7554">
                  <c:v>#N/A</c:v>
                </c:pt>
                <c:pt idx="7555">
                  <c:v>#N/A</c:v>
                </c:pt>
                <c:pt idx="7556">
                  <c:v>#N/A</c:v>
                </c:pt>
                <c:pt idx="7557">
                  <c:v>#N/A</c:v>
                </c:pt>
                <c:pt idx="7558">
                  <c:v>#N/A</c:v>
                </c:pt>
                <c:pt idx="7559">
                  <c:v>#N/A</c:v>
                </c:pt>
                <c:pt idx="7560">
                  <c:v>#N/A</c:v>
                </c:pt>
                <c:pt idx="7561">
                  <c:v>#N/A</c:v>
                </c:pt>
                <c:pt idx="7562">
                  <c:v>#N/A</c:v>
                </c:pt>
                <c:pt idx="7563">
                  <c:v>#N/A</c:v>
                </c:pt>
                <c:pt idx="7564">
                  <c:v>#N/A</c:v>
                </c:pt>
                <c:pt idx="7565">
                  <c:v>#N/A</c:v>
                </c:pt>
                <c:pt idx="7566">
                  <c:v>#N/A</c:v>
                </c:pt>
                <c:pt idx="7567">
                  <c:v>#N/A</c:v>
                </c:pt>
                <c:pt idx="7568">
                  <c:v>#N/A</c:v>
                </c:pt>
                <c:pt idx="7569">
                  <c:v>#N/A</c:v>
                </c:pt>
                <c:pt idx="7570">
                  <c:v>#N/A</c:v>
                </c:pt>
                <c:pt idx="7571">
                  <c:v>#N/A</c:v>
                </c:pt>
                <c:pt idx="7572">
                  <c:v>#N/A</c:v>
                </c:pt>
                <c:pt idx="7573">
                  <c:v>#N/A</c:v>
                </c:pt>
                <c:pt idx="7574">
                  <c:v>#N/A</c:v>
                </c:pt>
                <c:pt idx="7575">
                  <c:v>#N/A</c:v>
                </c:pt>
                <c:pt idx="7576">
                  <c:v>#N/A</c:v>
                </c:pt>
                <c:pt idx="7577">
                  <c:v>#N/A</c:v>
                </c:pt>
                <c:pt idx="7578">
                  <c:v>#N/A</c:v>
                </c:pt>
                <c:pt idx="7579">
                  <c:v>#N/A</c:v>
                </c:pt>
                <c:pt idx="7580">
                  <c:v>#N/A</c:v>
                </c:pt>
                <c:pt idx="7581">
                  <c:v>#N/A</c:v>
                </c:pt>
                <c:pt idx="7582">
                  <c:v>#N/A</c:v>
                </c:pt>
                <c:pt idx="7583">
                  <c:v>#N/A</c:v>
                </c:pt>
                <c:pt idx="7584">
                  <c:v>#N/A</c:v>
                </c:pt>
                <c:pt idx="7585">
                  <c:v>#N/A</c:v>
                </c:pt>
                <c:pt idx="7586">
                  <c:v>#N/A</c:v>
                </c:pt>
                <c:pt idx="7587">
                  <c:v>#N/A</c:v>
                </c:pt>
                <c:pt idx="7588">
                  <c:v>#N/A</c:v>
                </c:pt>
                <c:pt idx="7589">
                  <c:v>#N/A</c:v>
                </c:pt>
                <c:pt idx="7590">
                  <c:v>#N/A</c:v>
                </c:pt>
                <c:pt idx="7591">
                  <c:v>#N/A</c:v>
                </c:pt>
                <c:pt idx="7592">
                  <c:v>#N/A</c:v>
                </c:pt>
                <c:pt idx="7593">
                  <c:v>#N/A</c:v>
                </c:pt>
                <c:pt idx="7594">
                  <c:v>#N/A</c:v>
                </c:pt>
                <c:pt idx="7595">
                  <c:v>#N/A</c:v>
                </c:pt>
                <c:pt idx="7596">
                  <c:v>#N/A</c:v>
                </c:pt>
                <c:pt idx="7597">
                  <c:v>#N/A</c:v>
                </c:pt>
                <c:pt idx="7598">
                  <c:v>#N/A</c:v>
                </c:pt>
                <c:pt idx="7599">
                  <c:v>#N/A</c:v>
                </c:pt>
                <c:pt idx="7600">
                  <c:v>#N/A</c:v>
                </c:pt>
                <c:pt idx="7601">
                  <c:v>#N/A</c:v>
                </c:pt>
                <c:pt idx="7602">
                  <c:v>#N/A</c:v>
                </c:pt>
                <c:pt idx="7603">
                  <c:v>#N/A</c:v>
                </c:pt>
                <c:pt idx="7604">
                  <c:v>#N/A</c:v>
                </c:pt>
                <c:pt idx="7605">
                  <c:v>#N/A</c:v>
                </c:pt>
                <c:pt idx="7606">
                  <c:v>#N/A</c:v>
                </c:pt>
                <c:pt idx="7607">
                  <c:v>#N/A</c:v>
                </c:pt>
                <c:pt idx="7608">
                  <c:v>#N/A</c:v>
                </c:pt>
                <c:pt idx="7609">
                  <c:v>#N/A</c:v>
                </c:pt>
                <c:pt idx="7610">
                  <c:v>#N/A</c:v>
                </c:pt>
                <c:pt idx="7611">
                  <c:v>#N/A</c:v>
                </c:pt>
                <c:pt idx="7612">
                  <c:v>#N/A</c:v>
                </c:pt>
                <c:pt idx="7613">
                  <c:v>#N/A</c:v>
                </c:pt>
                <c:pt idx="7614">
                  <c:v>#N/A</c:v>
                </c:pt>
                <c:pt idx="7615">
                  <c:v>#N/A</c:v>
                </c:pt>
                <c:pt idx="7616">
                  <c:v>#N/A</c:v>
                </c:pt>
                <c:pt idx="7617">
                  <c:v>#N/A</c:v>
                </c:pt>
                <c:pt idx="7618">
                  <c:v>#N/A</c:v>
                </c:pt>
                <c:pt idx="7619">
                  <c:v>#N/A</c:v>
                </c:pt>
                <c:pt idx="7620">
                  <c:v>#N/A</c:v>
                </c:pt>
                <c:pt idx="7621">
                  <c:v>#N/A</c:v>
                </c:pt>
                <c:pt idx="7622">
                  <c:v>#N/A</c:v>
                </c:pt>
                <c:pt idx="7623">
                  <c:v>#N/A</c:v>
                </c:pt>
                <c:pt idx="7624">
                  <c:v>#N/A</c:v>
                </c:pt>
                <c:pt idx="7625">
                  <c:v>#N/A</c:v>
                </c:pt>
                <c:pt idx="7626">
                  <c:v>#N/A</c:v>
                </c:pt>
                <c:pt idx="7627">
                  <c:v>#N/A</c:v>
                </c:pt>
                <c:pt idx="7628">
                  <c:v>#N/A</c:v>
                </c:pt>
                <c:pt idx="7629">
                  <c:v>#N/A</c:v>
                </c:pt>
                <c:pt idx="7630">
                  <c:v>#N/A</c:v>
                </c:pt>
                <c:pt idx="7631">
                  <c:v>#N/A</c:v>
                </c:pt>
                <c:pt idx="7632">
                  <c:v>#N/A</c:v>
                </c:pt>
                <c:pt idx="7633">
                  <c:v>#N/A</c:v>
                </c:pt>
                <c:pt idx="7634">
                  <c:v>#N/A</c:v>
                </c:pt>
                <c:pt idx="7635">
                  <c:v>#N/A</c:v>
                </c:pt>
                <c:pt idx="7636">
                  <c:v>#N/A</c:v>
                </c:pt>
                <c:pt idx="7637">
                  <c:v>#N/A</c:v>
                </c:pt>
                <c:pt idx="7638">
                  <c:v>#N/A</c:v>
                </c:pt>
                <c:pt idx="7639">
                  <c:v>#N/A</c:v>
                </c:pt>
                <c:pt idx="7640">
                  <c:v>#N/A</c:v>
                </c:pt>
                <c:pt idx="7641">
                  <c:v>#N/A</c:v>
                </c:pt>
                <c:pt idx="7642">
                  <c:v>#N/A</c:v>
                </c:pt>
                <c:pt idx="7643">
                  <c:v>#N/A</c:v>
                </c:pt>
                <c:pt idx="7644">
                  <c:v>#N/A</c:v>
                </c:pt>
                <c:pt idx="7645">
                  <c:v>#N/A</c:v>
                </c:pt>
                <c:pt idx="7646">
                  <c:v>#N/A</c:v>
                </c:pt>
                <c:pt idx="7647">
                  <c:v>#N/A</c:v>
                </c:pt>
                <c:pt idx="7648">
                  <c:v>#N/A</c:v>
                </c:pt>
                <c:pt idx="7649">
                  <c:v>#N/A</c:v>
                </c:pt>
                <c:pt idx="7650">
                  <c:v>#N/A</c:v>
                </c:pt>
                <c:pt idx="7651">
                  <c:v>#N/A</c:v>
                </c:pt>
                <c:pt idx="7652">
                  <c:v>#N/A</c:v>
                </c:pt>
                <c:pt idx="7653">
                  <c:v>#N/A</c:v>
                </c:pt>
                <c:pt idx="7654">
                  <c:v>#N/A</c:v>
                </c:pt>
                <c:pt idx="7655">
                  <c:v>#N/A</c:v>
                </c:pt>
                <c:pt idx="7656">
                  <c:v>#N/A</c:v>
                </c:pt>
                <c:pt idx="7657">
                  <c:v>#N/A</c:v>
                </c:pt>
                <c:pt idx="7658">
                  <c:v>#N/A</c:v>
                </c:pt>
                <c:pt idx="7659">
                  <c:v>#N/A</c:v>
                </c:pt>
                <c:pt idx="7660">
                  <c:v>#N/A</c:v>
                </c:pt>
                <c:pt idx="7661">
                  <c:v>#N/A</c:v>
                </c:pt>
                <c:pt idx="7662">
                  <c:v>#N/A</c:v>
                </c:pt>
                <c:pt idx="7663">
                  <c:v>#N/A</c:v>
                </c:pt>
                <c:pt idx="7664">
                  <c:v>#N/A</c:v>
                </c:pt>
                <c:pt idx="7665">
                  <c:v>#N/A</c:v>
                </c:pt>
                <c:pt idx="7666">
                  <c:v>#N/A</c:v>
                </c:pt>
                <c:pt idx="7667">
                  <c:v>#N/A</c:v>
                </c:pt>
                <c:pt idx="7668">
                  <c:v>#N/A</c:v>
                </c:pt>
                <c:pt idx="7669">
                  <c:v>#N/A</c:v>
                </c:pt>
                <c:pt idx="7670">
                  <c:v>#N/A</c:v>
                </c:pt>
                <c:pt idx="7671">
                  <c:v>#N/A</c:v>
                </c:pt>
                <c:pt idx="7672">
                  <c:v>#N/A</c:v>
                </c:pt>
                <c:pt idx="7673">
                  <c:v>#N/A</c:v>
                </c:pt>
                <c:pt idx="7674">
                  <c:v>#N/A</c:v>
                </c:pt>
                <c:pt idx="7675">
                  <c:v>#N/A</c:v>
                </c:pt>
                <c:pt idx="7676">
                  <c:v>#N/A</c:v>
                </c:pt>
                <c:pt idx="7677">
                  <c:v>#N/A</c:v>
                </c:pt>
                <c:pt idx="7678">
                  <c:v>#N/A</c:v>
                </c:pt>
                <c:pt idx="7679">
                  <c:v>#N/A</c:v>
                </c:pt>
                <c:pt idx="7680">
                  <c:v>#N/A</c:v>
                </c:pt>
                <c:pt idx="7681">
                  <c:v>#N/A</c:v>
                </c:pt>
                <c:pt idx="7682">
                  <c:v>#N/A</c:v>
                </c:pt>
                <c:pt idx="7683">
                  <c:v>#N/A</c:v>
                </c:pt>
                <c:pt idx="7684">
                  <c:v>#N/A</c:v>
                </c:pt>
                <c:pt idx="7685">
                  <c:v>#N/A</c:v>
                </c:pt>
                <c:pt idx="7686">
                  <c:v>#N/A</c:v>
                </c:pt>
                <c:pt idx="7687">
                  <c:v>#N/A</c:v>
                </c:pt>
                <c:pt idx="7688">
                  <c:v>#N/A</c:v>
                </c:pt>
                <c:pt idx="7689">
                  <c:v>#N/A</c:v>
                </c:pt>
                <c:pt idx="7690">
                  <c:v>#N/A</c:v>
                </c:pt>
                <c:pt idx="7691">
                  <c:v>#N/A</c:v>
                </c:pt>
                <c:pt idx="7692">
                  <c:v>#N/A</c:v>
                </c:pt>
                <c:pt idx="7693">
                  <c:v>#N/A</c:v>
                </c:pt>
                <c:pt idx="7694">
                  <c:v>#N/A</c:v>
                </c:pt>
                <c:pt idx="7695">
                  <c:v>#N/A</c:v>
                </c:pt>
                <c:pt idx="7696">
                  <c:v>#N/A</c:v>
                </c:pt>
                <c:pt idx="7697">
                  <c:v>#N/A</c:v>
                </c:pt>
                <c:pt idx="7698">
                  <c:v>#N/A</c:v>
                </c:pt>
                <c:pt idx="7699">
                  <c:v>#N/A</c:v>
                </c:pt>
                <c:pt idx="7700">
                  <c:v>#N/A</c:v>
                </c:pt>
                <c:pt idx="7701">
                  <c:v>#N/A</c:v>
                </c:pt>
                <c:pt idx="7702">
                  <c:v>#N/A</c:v>
                </c:pt>
                <c:pt idx="7703">
                  <c:v>#N/A</c:v>
                </c:pt>
                <c:pt idx="7704">
                  <c:v>#N/A</c:v>
                </c:pt>
                <c:pt idx="7705">
                  <c:v>#N/A</c:v>
                </c:pt>
                <c:pt idx="7706">
                  <c:v>#N/A</c:v>
                </c:pt>
                <c:pt idx="7707">
                  <c:v>#N/A</c:v>
                </c:pt>
                <c:pt idx="7708">
                  <c:v>#N/A</c:v>
                </c:pt>
                <c:pt idx="7709">
                  <c:v>#N/A</c:v>
                </c:pt>
                <c:pt idx="7710">
                  <c:v>#N/A</c:v>
                </c:pt>
                <c:pt idx="7711">
                  <c:v>#N/A</c:v>
                </c:pt>
                <c:pt idx="7712">
                  <c:v>#N/A</c:v>
                </c:pt>
                <c:pt idx="7713">
                  <c:v>#N/A</c:v>
                </c:pt>
                <c:pt idx="7714">
                  <c:v>#N/A</c:v>
                </c:pt>
                <c:pt idx="7715">
                  <c:v>#N/A</c:v>
                </c:pt>
                <c:pt idx="7716">
                  <c:v>#N/A</c:v>
                </c:pt>
                <c:pt idx="7717">
                  <c:v>#N/A</c:v>
                </c:pt>
                <c:pt idx="7718">
                  <c:v>#N/A</c:v>
                </c:pt>
                <c:pt idx="7719">
                  <c:v>#N/A</c:v>
                </c:pt>
                <c:pt idx="7720">
                  <c:v>#N/A</c:v>
                </c:pt>
                <c:pt idx="7721">
                  <c:v>#N/A</c:v>
                </c:pt>
                <c:pt idx="7722">
                  <c:v>#N/A</c:v>
                </c:pt>
                <c:pt idx="7723">
                  <c:v>#N/A</c:v>
                </c:pt>
                <c:pt idx="7724">
                  <c:v>#N/A</c:v>
                </c:pt>
                <c:pt idx="7725">
                  <c:v>#N/A</c:v>
                </c:pt>
                <c:pt idx="7726">
                  <c:v>#N/A</c:v>
                </c:pt>
                <c:pt idx="7727">
                  <c:v>#N/A</c:v>
                </c:pt>
                <c:pt idx="7728">
                  <c:v>#N/A</c:v>
                </c:pt>
                <c:pt idx="7729">
                  <c:v>#N/A</c:v>
                </c:pt>
                <c:pt idx="7730">
                  <c:v>#N/A</c:v>
                </c:pt>
                <c:pt idx="7731">
                  <c:v>#N/A</c:v>
                </c:pt>
                <c:pt idx="7732">
                  <c:v>#N/A</c:v>
                </c:pt>
                <c:pt idx="7733">
                  <c:v>#N/A</c:v>
                </c:pt>
                <c:pt idx="7734">
                  <c:v>#N/A</c:v>
                </c:pt>
                <c:pt idx="7735">
                  <c:v>#N/A</c:v>
                </c:pt>
                <c:pt idx="7736">
                  <c:v>#N/A</c:v>
                </c:pt>
                <c:pt idx="7737">
                  <c:v>#N/A</c:v>
                </c:pt>
                <c:pt idx="7738">
                  <c:v>#N/A</c:v>
                </c:pt>
                <c:pt idx="7739">
                  <c:v>#N/A</c:v>
                </c:pt>
                <c:pt idx="7740">
                  <c:v>#N/A</c:v>
                </c:pt>
                <c:pt idx="7741">
                  <c:v>#N/A</c:v>
                </c:pt>
                <c:pt idx="7742">
                  <c:v>#N/A</c:v>
                </c:pt>
                <c:pt idx="7743">
                  <c:v>#N/A</c:v>
                </c:pt>
                <c:pt idx="7744">
                  <c:v>#N/A</c:v>
                </c:pt>
                <c:pt idx="7745">
                  <c:v>#N/A</c:v>
                </c:pt>
                <c:pt idx="7746">
                  <c:v>#N/A</c:v>
                </c:pt>
                <c:pt idx="7747">
                  <c:v>#N/A</c:v>
                </c:pt>
                <c:pt idx="7748">
                  <c:v>#N/A</c:v>
                </c:pt>
                <c:pt idx="7749">
                  <c:v>#N/A</c:v>
                </c:pt>
                <c:pt idx="7750">
                  <c:v>#N/A</c:v>
                </c:pt>
                <c:pt idx="7751">
                  <c:v>#N/A</c:v>
                </c:pt>
                <c:pt idx="7752">
                  <c:v>#N/A</c:v>
                </c:pt>
                <c:pt idx="7753">
                  <c:v>#N/A</c:v>
                </c:pt>
                <c:pt idx="7754">
                  <c:v>#N/A</c:v>
                </c:pt>
                <c:pt idx="7755">
                  <c:v>#N/A</c:v>
                </c:pt>
                <c:pt idx="7756">
                  <c:v>#N/A</c:v>
                </c:pt>
                <c:pt idx="7757">
                  <c:v>#N/A</c:v>
                </c:pt>
                <c:pt idx="7758">
                  <c:v>#N/A</c:v>
                </c:pt>
                <c:pt idx="7759">
                  <c:v>#N/A</c:v>
                </c:pt>
                <c:pt idx="7760">
                  <c:v>#N/A</c:v>
                </c:pt>
                <c:pt idx="7761">
                  <c:v>#N/A</c:v>
                </c:pt>
                <c:pt idx="7762">
                  <c:v>#N/A</c:v>
                </c:pt>
                <c:pt idx="7763">
                  <c:v>#N/A</c:v>
                </c:pt>
                <c:pt idx="7764">
                  <c:v>#N/A</c:v>
                </c:pt>
                <c:pt idx="7765">
                  <c:v>#N/A</c:v>
                </c:pt>
                <c:pt idx="7766">
                  <c:v>#N/A</c:v>
                </c:pt>
                <c:pt idx="7767">
                  <c:v>#N/A</c:v>
                </c:pt>
                <c:pt idx="7768">
                  <c:v>#N/A</c:v>
                </c:pt>
                <c:pt idx="7769">
                  <c:v>#N/A</c:v>
                </c:pt>
                <c:pt idx="7770">
                  <c:v>#N/A</c:v>
                </c:pt>
                <c:pt idx="7771">
                  <c:v>#N/A</c:v>
                </c:pt>
                <c:pt idx="7772">
                  <c:v>#N/A</c:v>
                </c:pt>
                <c:pt idx="7773">
                  <c:v>#N/A</c:v>
                </c:pt>
                <c:pt idx="7774">
                  <c:v>#N/A</c:v>
                </c:pt>
                <c:pt idx="7775">
                  <c:v>#N/A</c:v>
                </c:pt>
                <c:pt idx="7776">
                  <c:v>#N/A</c:v>
                </c:pt>
                <c:pt idx="7777">
                  <c:v>#N/A</c:v>
                </c:pt>
                <c:pt idx="7778">
                  <c:v>#N/A</c:v>
                </c:pt>
                <c:pt idx="7779">
                  <c:v>#N/A</c:v>
                </c:pt>
                <c:pt idx="7780">
                  <c:v>#N/A</c:v>
                </c:pt>
                <c:pt idx="7781">
                  <c:v>#N/A</c:v>
                </c:pt>
                <c:pt idx="7782">
                  <c:v>#N/A</c:v>
                </c:pt>
                <c:pt idx="7783">
                  <c:v>#N/A</c:v>
                </c:pt>
                <c:pt idx="7784">
                  <c:v>#N/A</c:v>
                </c:pt>
                <c:pt idx="7785">
                  <c:v>#N/A</c:v>
                </c:pt>
                <c:pt idx="7786">
                  <c:v>#N/A</c:v>
                </c:pt>
                <c:pt idx="7787">
                  <c:v>#N/A</c:v>
                </c:pt>
                <c:pt idx="7788">
                  <c:v>#N/A</c:v>
                </c:pt>
                <c:pt idx="7789">
                  <c:v>#N/A</c:v>
                </c:pt>
                <c:pt idx="7790">
                  <c:v>#N/A</c:v>
                </c:pt>
                <c:pt idx="7791">
                  <c:v>#N/A</c:v>
                </c:pt>
                <c:pt idx="7792">
                  <c:v>#N/A</c:v>
                </c:pt>
                <c:pt idx="7793">
                  <c:v>#N/A</c:v>
                </c:pt>
                <c:pt idx="7794">
                  <c:v>#N/A</c:v>
                </c:pt>
                <c:pt idx="7795">
                  <c:v>#N/A</c:v>
                </c:pt>
                <c:pt idx="7796">
                  <c:v>#N/A</c:v>
                </c:pt>
                <c:pt idx="7797">
                  <c:v>#N/A</c:v>
                </c:pt>
                <c:pt idx="7798">
                  <c:v>#N/A</c:v>
                </c:pt>
                <c:pt idx="7799">
                  <c:v>#N/A</c:v>
                </c:pt>
                <c:pt idx="7800">
                  <c:v>#N/A</c:v>
                </c:pt>
                <c:pt idx="7801">
                  <c:v>#N/A</c:v>
                </c:pt>
                <c:pt idx="7802">
                  <c:v>#N/A</c:v>
                </c:pt>
                <c:pt idx="7803">
                  <c:v>#N/A</c:v>
                </c:pt>
                <c:pt idx="7804">
                  <c:v>#N/A</c:v>
                </c:pt>
                <c:pt idx="7805">
                  <c:v>#N/A</c:v>
                </c:pt>
                <c:pt idx="7806">
                  <c:v>#N/A</c:v>
                </c:pt>
                <c:pt idx="7807">
                  <c:v>#N/A</c:v>
                </c:pt>
                <c:pt idx="7808">
                  <c:v>#N/A</c:v>
                </c:pt>
                <c:pt idx="7809">
                  <c:v>#N/A</c:v>
                </c:pt>
                <c:pt idx="7810">
                  <c:v>3.0136986301369864</c:v>
                </c:pt>
                <c:pt idx="7811">
                  <c:v>3.0136986301369864</c:v>
                </c:pt>
                <c:pt idx="7812">
                  <c:v>#N/A</c:v>
                </c:pt>
                <c:pt idx="7813">
                  <c:v>#N/A</c:v>
                </c:pt>
                <c:pt idx="7814">
                  <c:v>#N/A</c:v>
                </c:pt>
                <c:pt idx="7815">
                  <c:v>#N/A</c:v>
                </c:pt>
                <c:pt idx="7816">
                  <c:v>#N/A</c:v>
                </c:pt>
                <c:pt idx="7817">
                  <c:v>#N/A</c:v>
                </c:pt>
                <c:pt idx="7818">
                  <c:v>#N/A</c:v>
                </c:pt>
                <c:pt idx="7819">
                  <c:v>#N/A</c:v>
                </c:pt>
                <c:pt idx="7820">
                  <c:v>#N/A</c:v>
                </c:pt>
                <c:pt idx="7821">
                  <c:v>#N/A</c:v>
                </c:pt>
                <c:pt idx="7822">
                  <c:v>#N/A</c:v>
                </c:pt>
                <c:pt idx="7823">
                  <c:v>#N/A</c:v>
                </c:pt>
                <c:pt idx="7824">
                  <c:v>#N/A</c:v>
                </c:pt>
                <c:pt idx="7825">
                  <c:v>#N/A</c:v>
                </c:pt>
                <c:pt idx="7826">
                  <c:v>#N/A</c:v>
                </c:pt>
                <c:pt idx="7827">
                  <c:v>#N/A</c:v>
                </c:pt>
                <c:pt idx="7828">
                  <c:v>#N/A</c:v>
                </c:pt>
                <c:pt idx="7829">
                  <c:v>#N/A</c:v>
                </c:pt>
                <c:pt idx="7830">
                  <c:v>#N/A</c:v>
                </c:pt>
                <c:pt idx="7831">
                  <c:v>#N/A</c:v>
                </c:pt>
                <c:pt idx="7832">
                  <c:v>#N/A</c:v>
                </c:pt>
                <c:pt idx="7833">
                  <c:v>#N/A</c:v>
                </c:pt>
                <c:pt idx="7834">
                  <c:v>#N/A</c:v>
                </c:pt>
                <c:pt idx="7835">
                  <c:v>#N/A</c:v>
                </c:pt>
                <c:pt idx="7836">
                  <c:v>#N/A</c:v>
                </c:pt>
                <c:pt idx="7837">
                  <c:v>#N/A</c:v>
                </c:pt>
                <c:pt idx="7838">
                  <c:v>#N/A</c:v>
                </c:pt>
                <c:pt idx="7839">
                  <c:v>#N/A</c:v>
                </c:pt>
                <c:pt idx="7840">
                  <c:v>#N/A</c:v>
                </c:pt>
                <c:pt idx="7841">
                  <c:v>#N/A</c:v>
                </c:pt>
                <c:pt idx="7842">
                  <c:v>#N/A</c:v>
                </c:pt>
                <c:pt idx="7843">
                  <c:v>#N/A</c:v>
                </c:pt>
                <c:pt idx="7844">
                  <c:v>#N/A</c:v>
                </c:pt>
                <c:pt idx="7845">
                  <c:v>#N/A</c:v>
                </c:pt>
                <c:pt idx="7846">
                  <c:v>#N/A</c:v>
                </c:pt>
                <c:pt idx="7847">
                  <c:v>#N/A</c:v>
                </c:pt>
                <c:pt idx="7848">
                  <c:v>#N/A</c:v>
                </c:pt>
                <c:pt idx="7849">
                  <c:v>#N/A</c:v>
                </c:pt>
                <c:pt idx="7850">
                  <c:v>#N/A</c:v>
                </c:pt>
                <c:pt idx="7851">
                  <c:v>#N/A</c:v>
                </c:pt>
                <c:pt idx="7852">
                  <c:v>#N/A</c:v>
                </c:pt>
                <c:pt idx="7853">
                  <c:v>#N/A</c:v>
                </c:pt>
                <c:pt idx="7854">
                  <c:v>#N/A</c:v>
                </c:pt>
                <c:pt idx="7855">
                  <c:v>#N/A</c:v>
                </c:pt>
                <c:pt idx="7856">
                  <c:v>#N/A</c:v>
                </c:pt>
                <c:pt idx="7857">
                  <c:v>#N/A</c:v>
                </c:pt>
                <c:pt idx="7858">
                  <c:v>#N/A</c:v>
                </c:pt>
                <c:pt idx="7859">
                  <c:v>#N/A</c:v>
                </c:pt>
                <c:pt idx="7860">
                  <c:v>#N/A</c:v>
                </c:pt>
                <c:pt idx="7861">
                  <c:v>#N/A</c:v>
                </c:pt>
                <c:pt idx="7862">
                  <c:v>#N/A</c:v>
                </c:pt>
                <c:pt idx="7863">
                  <c:v>#N/A</c:v>
                </c:pt>
                <c:pt idx="7864">
                  <c:v>#N/A</c:v>
                </c:pt>
                <c:pt idx="7865">
                  <c:v>#N/A</c:v>
                </c:pt>
                <c:pt idx="7866">
                  <c:v>#N/A</c:v>
                </c:pt>
                <c:pt idx="7867">
                  <c:v>#N/A</c:v>
                </c:pt>
                <c:pt idx="7868">
                  <c:v>#N/A</c:v>
                </c:pt>
                <c:pt idx="7869">
                  <c:v>#N/A</c:v>
                </c:pt>
                <c:pt idx="7870">
                  <c:v>#N/A</c:v>
                </c:pt>
                <c:pt idx="7871">
                  <c:v>#N/A</c:v>
                </c:pt>
                <c:pt idx="7872">
                  <c:v>#N/A</c:v>
                </c:pt>
                <c:pt idx="7873">
                  <c:v>#N/A</c:v>
                </c:pt>
                <c:pt idx="7874">
                  <c:v>#N/A</c:v>
                </c:pt>
                <c:pt idx="7875">
                  <c:v>#N/A</c:v>
                </c:pt>
                <c:pt idx="7876">
                  <c:v>#N/A</c:v>
                </c:pt>
                <c:pt idx="7877">
                  <c:v>#N/A</c:v>
                </c:pt>
                <c:pt idx="7878">
                  <c:v>#N/A</c:v>
                </c:pt>
                <c:pt idx="7879">
                  <c:v>#N/A</c:v>
                </c:pt>
                <c:pt idx="7880">
                  <c:v>#N/A</c:v>
                </c:pt>
                <c:pt idx="7881">
                  <c:v>#N/A</c:v>
                </c:pt>
                <c:pt idx="7882">
                  <c:v>#N/A</c:v>
                </c:pt>
                <c:pt idx="7883">
                  <c:v>#N/A</c:v>
                </c:pt>
                <c:pt idx="7884">
                  <c:v>#N/A</c:v>
                </c:pt>
                <c:pt idx="7885">
                  <c:v>#N/A</c:v>
                </c:pt>
                <c:pt idx="7886">
                  <c:v>#N/A</c:v>
                </c:pt>
                <c:pt idx="7887">
                  <c:v>#N/A</c:v>
                </c:pt>
                <c:pt idx="7888">
                  <c:v>#N/A</c:v>
                </c:pt>
                <c:pt idx="7889">
                  <c:v>#N/A</c:v>
                </c:pt>
                <c:pt idx="7890">
                  <c:v>#N/A</c:v>
                </c:pt>
                <c:pt idx="7891">
                  <c:v>#N/A</c:v>
                </c:pt>
                <c:pt idx="7892">
                  <c:v>#N/A</c:v>
                </c:pt>
                <c:pt idx="7893">
                  <c:v>#N/A</c:v>
                </c:pt>
                <c:pt idx="7894">
                  <c:v>#N/A</c:v>
                </c:pt>
                <c:pt idx="7895">
                  <c:v>#N/A</c:v>
                </c:pt>
                <c:pt idx="7896">
                  <c:v>#N/A</c:v>
                </c:pt>
                <c:pt idx="7897">
                  <c:v>#N/A</c:v>
                </c:pt>
                <c:pt idx="7898">
                  <c:v>#N/A</c:v>
                </c:pt>
                <c:pt idx="7899">
                  <c:v>#N/A</c:v>
                </c:pt>
                <c:pt idx="7900">
                  <c:v>#N/A</c:v>
                </c:pt>
                <c:pt idx="7901">
                  <c:v>#N/A</c:v>
                </c:pt>
                <c:pt idx="7902">
                  <c:v>#N/A</c:v>
                </c:pt>
                <c:pt idx="7903">
                  <c:v>#N/A</c:v>
                </c:pt>
                <c:pt idx="7904">
                  <c:v>#N/A</c:v>
                </c:pt>
                <c:pt idx="7905">
                  <c:v>#N/A</c:v>
                </c:pt>
                <c:pt idx="7906">
                  <c:v>#N/A</c:v>
                </c:pt>
                <c:pt idx="7907">
                  <c:v>#N/A</c:v>
                </c:pt>
                <c:pt idx="7908">
                  <c:v>#N/A</c:v>
                </c:pt>
                <c:pt idx="7909">
                  <c:v>#N/A</c:v>
                </c:pt>
                <c:pt idx="7910">
                  <c:v>#N/A</c:v>
                </c:pt>
                <c:pt idx="7911">
                  <c:v>#N/A</c:v>
                </c:pt>
                <c:pt idx="7912">
                  <c:v>#N/A</c:v>
                </c:pt>
                <c:pt idx="7913">
                  <c:v>#N/A</c:v>
                </c:pt>
                <c:pt idx="7914">
                  <c:v>#N/A</c:v>
                </c:pt>
                <c:pt idx="7915">
                  <c:v>#N/A</c:v>
                </c:pt>
                <c:pt idx="7916">
                  <c:v>#N/A</c:v>
                </c:pt>
                <c:pt idx="7917">
                  <c:v>#N/A</c:v>
                </c:pt>
                <c:pt idx="7918">
                  <c:v>#N/A</c:v>
                </c:pt>
                <c:pt idx="7919">
                  <c:v>#N/A</c:v>
                </c:pt>
                <c:pt idx="7920">
                  <c:v>#N/A</c:v>
                </c:pt>
                <c:pt idx="7921">
                  <c:v>#N/A</c:v>
                </c:pt>
                <c:pt idx="7922">
                  <c:v>#N/A</c:v>
                </c:pt>
                <c:pt idx="7923">
                  <c:v>#N/A</c:v>
                </c:pt>
                <c:pt idx="7924">
                  <c:v>#N/A</c:v>
                </c:pt>
                <c:pt idx="7925">
                  <c:v>#N/A</c:v>
                </c:pt>
                <c:pt idx="7926">
                  <c:v>#N/A</c:v>
                </c:pt>
                <c:pt idx="7927">
                  <c:v>#N/A</c:v>
                </c:pt>
                <c:pt idx="7928">
                  <c:v>#N/A</c:v>
                </c:pt>
                <c:pt idx="7929">
                  <c:v>#N/A</c:v>
                </c:pt>
                <c:pt idx="7930">
                  <c:v>#N/A</c:v>
                </c:pt>
                <c:pt idx="7931">
                  <c:v>#N/A</c:v>
                </c:pt>
                <c:pt idx="7932">
                  <c:v>#N/A</c:v>
                </c:pt>
                <c:pt idx="7933">
                  <c:v>#N/A</c:v>
                </c:pt>
                <c:pt idx="7934">
                  <c:v>#N/A</c:v>
                </c:pt>
                <c:pt idx="7935">
                  <c:v>#N/A</c:v>
                </c:pt>
                <c:pt idx="7936">
                  <c:v>#N/A</c:v>
                </c:pt>
                <c:pt idx="7937">
                  <c:v>#N/A</c:v>
                </c:pt>
                <c:pt idx="7938">
                  <c:v>#N/A</c:v>
                </c:pt>
                <c:pt idx="7939">
                  <c:v>#N/A</c:v>
                </c:pt>
                <c:pt idx="7940">
                  <c:v>#N/A</c:v>
                </c:pt>
                <c:pt idx="7941">
                  <c:v>#N/A</c:v>
                </c:pt>
                <c:pt idx="7942">
                  <c:v>#N/A</c:v>
                </c:pt>
                <c:pt idx="7943">
                  <c:v>#N/A</c:v>
                </c:pt>
                <c:pt idx="7944">
                  <c:v>#N/A</c:v>
                </c:pt>
                <c:pt idx="7945">
                  <c:v>#N/A</c:v>
                </c:pt>
                <c:pt idx="7946">
                  <c:v>#N/A</c:v>
                </c:pt>
                <c:pt idx="7947">
                  <c:v>#N/A</c:v>
                </c:pt>
                <c:pt idx="7948">
                  <c:v>#N/A</c:v>
                </c:pt>
                <c:pt idx="7949">
                  <c:v>#N/A</c:v>
                </c:pt>
                <c:pt idx="7950">
                  <c:v>#N/A</c:v>
                </c:pt>
                <c:pt idx="7951">
                  <c:v>#N/A</c:v>
                </c:pt>
                <c:pt idx="7952">
                  <c:v>#N/A</c:v>
                </c:pt>
                <c:pt idx="7953">
                  <c:v>#N/A</c:v>
                </c:pt>
                <c:pt idx="7954">
                  <c:v>#N/A</c:v>
                </c:pt>
                <c:pt idx="7955">
                  <c:v>#N/A</c:v>
                </c:pt>
                <c:pt idx="7956">
                  <c:v>#N/A</c:v>
                </c:pt>
                <c:pt idx="7957">
                  <c:v>#N/A</c:v>
                </c:pt>
                <c:pt idx="7958">
                  <c:v>#N/A</c:v>
                </c:pt>
                <c:pt idx="7959">
                  <c:v>#N/A</c:v>
                </c:pt>
                <c:pt idx="7960">
                  <c:v>#N/A</c:v>
                </c:pt>
                <c:pt idx="7961">
                  <c:v>#N/A</c:v>
                </c:pt>
                <c:pt idx="7962">
                  <c:v>#N/A</c:v>
                </c:pt>
                <c:pt idx="7963">
                  <c:v>#N/A</c:v>
                </c:pt>
                <c:pt idx="7964">
                  <c:v>#N/A</c:v>
                </c:pt>
                <c:pt idx="7965">
                  <c:v>#N/A</c:v>
                </c:pt>
                <c:pt idx="7966">
                  <c:v>#N/A</c:v>
                </c:pt>
                <c:pt idx="7967">
                  <c:v>#N/A</c:v>
                </c:pt>
                <c:pt idx="7968">
                  <c:v>#N/A</c:v>
                </c:pt>
                <c:pt idx="7969">
                  <c:v>#N/A</c:v>
                </c:pt>
                <c:pt idx="7970">
                  <c:v>#N/A</c:v>
                </c:pt>
                <c:pt idx="7971">
                  <c:v>#N/A</c:v>
                </c:pt>
                <c:pt idx="7972">
                  <c:v>#N/A</c:v>
                </c:pt>
                <c:pt idx="7973">
                  <c:v>#N/A</c:v>
                </c:pt>
                <c:pt idx="7974">
                  <c:v>#N/A</c:v>
                </c:pt>
                <c:pt idx="7975">
                  <c:v>#N/A</c:v>
                </c:pt>
                <c:pt idx="7976">
                  <c:v>#N/A</c:v>
                </c:pt>
                <c:pt idx="7977">
                  <c:v>#N/A</c:v>
                </c:pt>
                <c:pt idx="7978">
                  <c:v>#N/A</c:v>
                </c:pt>
                <c:pt idx="7979">
                  <c:v>#N/A</c:v>
                </c:pt>
                <c:pt idx="7980">
                  <c:v>#N/A</c:v>
                </c:pt>
                <c:pt idx="7981">
                  <c:v>#N/A</c:v>
                </c:pt>
                <c:pt idx="7982">
                  <c:v>#N/A</c:v>
                </c:pt>
                <c:pt idx="7983">
                  <c:v>#N/A</c:v>
                </c:pt>
                <c:pt idx="7984">
                  <c:v>#N/A</c:v>
                </c:pt>
                <c:pt idx="7985">
                  <c:v>#N/A</c:v>
                </c:pt>
                <c:pt idx="7986">
                  <c:v>#N/A</c:v>
                </c:pt>
                <c:pt idx="7987">
                  <c:v>#N/A</c:v>
                </c:pt>
                <c:pt idx="7988">
                  <c:v>#N/A</c:v>
                </c:pt>
                <c:pt idx="7989">
                  <c:v>#N/A</c:v>
                </c:pt>
                <c:pt idx="7990">
                  <c:v>#N/A</c:v>
                </c:pt>
                <c:pt idx="7991">
                  <c:v>#N/A</c:v>
                </c:pt>
                <c:pt idx="7992">
                  <c:v>#N/A</c:v>
                </c:pt>
                <c:pt idx="7993">
                  <c:v>#N/A</c:v>
                </c:pt>
                <c:pt idx="7994">
                  <c:v>#N/A</c:v>
                </c:pt>
                <c:pt idx="7995">
                  <c:v>#N/A</c:v>
                </c:pt>
                <c:pt idx="7996">
                  <c:v>#N/A</c:v>
                </c:pt>
                <c:pt idx="7997">
                  <c:v>#N/A</c:v>
                </c:pt>
                <c:pt idx="7998">
                  <c:v>#N/A</c:v>
                </c:pt>
                <c:pt idx="7999">
                  <c:v>#N/A</c:v>
                </c:pt>
                <c:pt idx="8000">
                  <c:v>#N/A</c:v>
                </c:pt>
                <c:pt idx="8001">
                  <c:v>#N/A</c:v>
                </c:pt>
                <c:pt idx="8002">
                  <c:v>#N/A</c:v>
                </c:pt>
                <c:pt idx="8003">
                  <c:v>#N/A</c:v>
                </c:pt>
                <c:pt idx="8004">
                  <c:v>#N/A</c:v>
                </c:pt>
                <c:pt idx="8005">
                  <c:v>#N/A</c:v>
                </c:pt>
                <c:pt idx="8006">
                  <c:v>#N/A</c:v>
                </c:pt>
                <c:pt idx="8007">
                  <c:v>#N/A</c:v>
                </c:pt>
                <c:pt idx="8008">
                  <c:v>#N/A</c:v>
                </c:pt>
                <c:pt idx="8009">
                  <c:v>#N/A</c:v>
                </c:pt>
                <c:pt idx="8010">
                  <c:v>#N/A</c:v>
                </c:pt>
                <c:pt idx="8011">
                  <c:v>#N/A</c:v>
                </c:pt>
                <c:pt idx="8012">
                  <c:v>#N/A</c:v>
                </c:pt>
                <c:pt idx="8013">
                  <c:v>#N/A</c:v>
                </c:pt>
                <c:pt idx="8014">
                  <c:v>#N/A</c:v>
                </c:pt>
                <c:pt idx="8015">
                  <c:v>#N/A</c:v>
                </c:pt>
                <c:pt idx="8016">
                  <c:v>#N/A</c:v>
                </c:pt>
                <c:pt idx="8017">
                  <c:v>#N/A</c:v>
                </c:pt>
                <c:pt idx="8018">
                  <c:v>#N/A</c:v>
                </c:pt>
                <c:pt idx="8019">
                  <c:v>#N/A</c:v>
                </c:pt>
                <c:pt idx="8020">
                  <c:v>#N/A</c:v>
                </c:pt>
                <c:pt idx="8021">
                  <c:v>#N/A</c:v>
                </c:pt>
                <c:pt idx="8022">
                  <c:v>#N/A</c:v>
                </c:pt>
                <c:pt idx="8023">
                  <c:v>#N/A</c:v>
                </c:pt>
                <c:pt idx="8024">
                  <c:v>#N/A</c:v>
                </c:pt>
                <c:pt idx="8025">
                  <c:v>#N/A</c:v>
                </c:pt>
                <c:pt idx="8026">
                  <c:v>#N/A</c:v>
                </c:pt>
                <c:pt idx="8027">
                  <c:v>#N/A</c:v>
                </c:pt>
                <c:pt idx="8028">
                  <c:v>#N/A</c:v>
                </c:pt>
                <c:pt idx="8029">
                  <c:v>#N/A</c:v>
                </c:pt>
                <c:pt idx="8030">
                  <c:v>#N/A</c:v>
                </c:pt>
                <c:pt idx="8031">
                  <c:v>#N/A</c:v>
                </c:pt>
                <c:pt idx="8032">
                  <c:v>#N/A</c:v>
                </c:pt>
                <c:pt idx="8033">
                  <c:v>#N/A</c:v>
                </c:pt>
                <c:pt idx="8034">
                  <c:v>#N/A</c:v>
                </c:pt>
                <c:pt idx="8035">
                  <c:v>#N/A</c:v>
                </c:pt>
                <c:pt idx="8036">
                  <c:v>#N/A</c:v>
                </c:pt>
                <c:pt idx="8037">
                  <c:v>#N/A</c:v>
                </c:pt>
                <c:pt idx="8038">
                  <c:v>#N/A</c:v>
                </c:pt>
                <c:pt idx="8039">
                  <c:v>#N/A</c:v>
                </c:pt>
                <c:pt idx="8040">
                  <c:v>#N/A</c:v>
                </c:pt>
                <c:pt idx="8041">
                  <c:v>#N/A</c:v>
                </c:pt>
                <c:pt idx="8042">
                  <c:v>#N/A</c:v>
                </c:pt>
                <c:pt idx="8043">
                  <c:v>#N/A</c:v>
                </c:pt>
                <c:pt idx="8044">
                  <c:v>#N/A</c:v>
                </c:pt>
                <c:pt idx="8045">
                  <c:v>#N/A</c:v>
                </c:pt>
                <c:pt idx="8046">
                  <c:v>#N/A</c:v>
                </c:pt>
                <c:pt idx="8047">
                  <c:v>#N/A</c:v>
                </c:pt>
                <c:pt idx="8048">
                  <c:v>#N/A</c:v>
                </c:pt>
                <c:pt idx="8049">
                  <c:v>#N/A</c:v>
                </c:pt>
                <c:pt idx="8050">
                  <c:v>#N/A</c:v>
                </c:pt>
                <c:pt idx="8051">
                  <c:v>#N/A</c:v>
                </c:pt>
                <c:pt idx="8052">
                  <c:v>#N/A</c:v>
                </c:pt>
                <c:pt idx="8053">
                  <c:v>#N/A</c:v>
                </c:pt>
                <c:pt idx="8054">
                  <c:v>#N/A</c:v>
                </c:pt>
                <c:pt idx="8055">
                  <c:v>#N/A</c:v>
                </c:pt>
                <c:pt idx="8056">
                  <c:v>#N/A</c:v>
                </c:pt>
                <c:pt idx="8057">
                  <c:v>#N/A</c:v>
                </c:pt>
                <c:pt idx="8058">
                  <c:v>#N/A</c:v>
                </c:pt>
                <c:pt idx="8059">
                  <c:v>#N/A</c:v>
                </c:pt>
                <c:pt idx="8060">
                  <c:v>#N/A</c:v>
                </c:pt>
                <c:pt idx="8061">
                  <c:v>#N/A</c:v>
                </c:pt>
                <c:pt idx="8062">
                  <c:v>#N/A</c:v>
                </c:pt>
                <c:pt idx="8063">
                  <c:v>#N/A</c:v>
                </c:pt>
                <c:pt idx="8064">
                  <c:v>#N/A</c:v>
                </c:pt>
                <c:pt idx="8065">
                  <c:v>#N/A</c:v>
                </c:pt>
                <c:pt idx="8066">
                  <c:v>#N/A</c:v>
                </c:pt>
                <c:pt idx="8067">
                  <c:v>#N/A</c:v>
                </c:pt>
                <c:pt idx="8068">
                  <c:v>#N/A</c:v>
                </c:pt>
                <c:pt idx="8069">
                  <c:v>#N/A</c:v>
                </c:pt>
                <c:pt idx="8070">
                  <c:v>#N/A</c:v>
                </c:pt>
                <c:pt idx="8071">
                  <c:v>#N/A</c:v>
                </c:pt>
                <c:pt idx="8072">
                  <c:v>#N/A</c:v>
                </c:pt>
                <c:pt idx="8073">
                  <c:v>#N/A</c:v>
                </c:pt>
                <c:pt idx="8074">
                  <c:v>#N/A</c:v>
                </c:pt>
                <c:pt idx="8075">
                  <c:v>#N/A</c:v>
                </c:pt>
                <c:pt idx="8076">
                  <c:v>#N/A</c:v>
                </c:pt>
                <c:pt idx="8077">
                  <c:v>#N/A</c:v>
                </c:pt>
                <c:pt idx="8078">
                  <c:v>#N/A</c:v>
                </c:pt>
                <c:pt idx="8079">
                  <c:v>#N/A</c:v>
                </c:pt>
                <c:pt idx="8080">
                  <c:v>#N/A</c:v>
                </c:pt>
                <c:pt idx="8081">
                  <c:v>#N/A</c:v>
                </c:pt>
                <c:pt idx="8082">
                  <c:v>#N/A</c:v>
                </c:pt>
                <c:pt idx="8083">
                  <c:v>#N/A</c:v>
                </c:pt>
                <c:pt idx="8084">
                  <c:v>#N/A</c:v>
                </c:pt>
                <c:pt idx="8085">
                  <c:v>#N/A</c:v>
                </c:pt>
                <c:pt idx="8086">
                  <c:v>#N/A</c:v>
                </c:pt>
                <c:pt idx="8087">
                  <c:v>#N/A</c:v>
                </c:pt>
                <c:pt idx="8088">
                  <c:v>#N/A</c:v>
                </c:pt>
                <c:pt idx="8089">
                  <c:v>#N/A</c:v>
                </c:pt>
                <c:pt idx="8090">
                  <c:v>#N/A</c:v>
                </c:pt>
                <c:pt idx="8091">
                  <c:v>#N/A</c:v>
                </c:pt>
                <c:pt idx="8092">
                  <c:v>#N/A</c:v>
                </c:pt>
                <c:pt idx="8093">
                  <c:v>#N/A</c:v>
                </c:pt>
                <c:pt idx="8094">
                  <c:v>#N/A</c:v>
                </c:pt>
                <c:pt idx="8095">
                  <c:v>#N/A</c:v>
                </c:pt>
                <c:pt idx="8096">
                  <c:v>#N/A</c:v>
                </c:pt>
                <c:pt idx="8097">
                  <c:v>#N/A</c:v>
                </c:pt>
                <c:pt idx="8098">
                  <c:v>#N/A</c:v>
                </c:pt>
                <c:pt idx="8099">
                  <c:v>#N/A</c:v>
                </c:pt>
                <c:pt idx="8100">
                  <c:v>#N/A</c:v>
                </c:pt>
                <c:pt idx="8101">
                  <c:v>#N/A</c:v>
                </c:pt>
                <c:pt idx="8102">
                  <c:v>#N/A</c:v>
                </c:pt>
                <c:pt idx="8103">
                  <c:v>#N/A</c:v>
                </c:pt>
                <c:pt idx="8104">
                  <c:v>#N/A</c:v>
                </c:pt>
                <c:pt idx="8105">
                  <c:v>#N/A</c:v>
                </c:pt>
                <c:pt idx="8106">
                  <c:v>#N/A</c:v>
                </c:pt>
                <c:pt idx="8107">
                  <c:v>#N/A</c:v>
                </c:pt>
                <c:pt idx="8108">
                  <c:v>#N/A</c:v>
                </c:pt>
                <c:pt idx="8109">
                  <c:v>#N/A</c:v>
                </c:pt>
                <c:pt idx="8110">
                  <c:v>#N/A</c:v>
                </c:pt>
                <c:pt idx="8111">
                  <c:v>#N/A</c:v>
                </c:pt>
                <c:pt idx="8112">
                  <c:v>#N/A</c:v>
                </c:pt>
                <c:pt idx="8113">
                  <c:v>#N/A</c:v>
                </c:pt>
                <c:pt idx="8114">
                  <c:v>#N/A</c:v>
                </c:pt>
                <c:pt idx="8115">
                  <c:v>#N/A</c:v>
                </c:pt>
                <c:pt idx="8116">
                  <c:v>#N/A</c:v>
                </c:pt>
                <c:pt idx="8117">
                  <c:v>#N/A</c:v>
                </c:pt>
                <c:pt idx="8118">
                  <c:v>#N/A</c:v>
                </c:pt>
                <c:pt idx="8119">
                  <c:v>#N/A</c:v>
                </c:pt>
                <c:pt idx="8120">
                  <c:v>#N/A</c:v>
                </c:pt>
                <c:pt idx="8121">
                  <c:v>#N/A</c:v>
                </c:pt>
                <c:pt idx="8122">
                  <c:v>#N/A</c:v>
                </c:pt>
                <c:pt idx="8123">
                  <c:v>#N/A</c:v>
                </c:pt>
                <c:pt idx="8124">
                  <c:v>#N/A</c:v>
                </c:pt>
                <c:pt idx="8125">
                  <c:v>#N/A</c:v>
                </c:pt>
                <c:pt idx="8126">
                  <c:v>#N/A</c:v>
                </c:pt>
                <c:pt idx="8127">
                  <c:v>#N/A</c:v>
                </c:pt>
                <c:pt idx="8128">
                  <c:v>#N/A</c:v>
                </c:pt>
                <c:pt idx="8129">
                  <c:v>#N/A</c:v>
                </c:pt>
                <c:pt idx="8130">
                  <c:v>#N/A</c:v>
                </c:pt>
                <c:pt idx="8131">
                  <c:v>#N/A</c:v>
                </c:pt>
                <c:pt idx="8132">
                  <c:v>#N/A</c:v>
                </c:pt>
                <c:pt idx="8133">
                  <c:v>#N/A</c:v>
                </c:pt>
                <c:pt idx="8134">
                  <c:v>#N/A</c:v>
                </c:pt>
                <c:pt idx="8135">
                  <c:v>#N/A</c:v>
                </c:pt>
                <c:pt idx="8136">
                  <c:v>#N/A</c:v>
                </c:pt>
                <c:pt idx="8137">
                  <c:v>#N/A</c:v>
                </c:pt>
                <c:pt idx="8138">
                  <c:v>#N/A</c:v>
                </c:pt>
                <c:pt idx="8139">
                  <c:v>#N/A</c:v>
                </c:pt>
                <c:pt idx="8140">
                  <c:v>#N/A</c:v>
                </c:pt>
                <c:pt idx="8141">
                  <c:v>#N/A</c:v>
                </c:pt>
                <c:pt idx="8142">
                  <c:v>#N/A</c:v>
                </c:pt>
                <c:pt idx="8143">
                  <c:v>#N/A</c:v>
                </c:pt>
                <c:pt idx="8144">
                  <c:v>#N/A</c:v>
                </c:pt>
                <c:pt idx="8145">
                  <c:v>#N/A</c:v>
                </c:pt>
                <c:pt idx="8146">
                  <c:v>#N/A</c:v>
                </c:pt>
                <c:pt idx="8147">
                  <c:v>#N/A</c:v>
                </c:pt>
                <c:pt idx="8148">
                  <c:v>#N/A</c:v>
                </c:pt>
                <c:pt idx="8149">
                  <c:v>#N/A</c:v>
                </c:pt>
                <c:pt idx="8150">
                  <c:v>#N/A</c:v>
                </c:pt>
                <c:pt idx="8151">
                  <c:v>#N/A</c:v>
                </c:pt>
                <c:pt idx="8152">
                  <c:v>#N/A</c:v>
                </c:pt>
                <c:pt idx="8153">
                  <c:v>#N/A</c:v>
                </c:pt>
                <c:pt idx="8154">
                  <c:v>#N/A</c:v>
                </c:pt>
                <c:pt idx="8155">
                  <c:v>#N/A</c:v>
                </c:pt>
                <c:pt idx="8156">
                  <c:v>#N/A</c:v>
                </c:pt>
                <c:pt idx="8157">
                  <c:v>#N/A</c:v>
                </c:pt>
                <c:pt idx="8158">
                  <c:v>#N/A</c:v>
                </c:pt>
                <c:pt idx="8159">
                  <c:v>#N/A</c:v>
                </c:pt>
                <c:pt idx="8160">
                  <c:v>#N/A</c:v>
                </c:pt>
                <c:pt idx="8161">
                  <c:v>#N/A</c:v>
                </c:pt>
                <c:pt idx="8162">
                  <c:v>#N/A</c:v>
                </c:pt>
                <c:pt idx="8163">
                  <c:v>#N/A</c:v>
                </c:pt>
                <c:pt idx="8164">
                  <c:v>#N/A</c:v>
                </c:pt>
                <c:pt idx="8165">
                  <c:v>#N/A</c:v>
                </c:pt>
                <c:pt idx="8166">
                  <c:v>#N/A</c:v>
                </c:pt>
                <c:pt idx="8167">
                  <c:v>#N/A</c:v>
                </c:pt>
                <c:pt idx="8168">
                  <c:v>#N/A</c:v>
                </c:pt>
                <c:pt idx="8169">
                  <c:v>#N/A</c:v>
                </c:pt>
                <c:pt idx="8170">
                  <c:v>#N/A</c:v>
                </c:pt>
                <c:pt idx="8171">
                  <c:v>#N/A</c:v>
                </c:pt>
                <c:pt idx="8172">
                  <c:v>#N/A</c:v>
                </c:pt>
                <c:pt idx="8173">
                  <c:v>#N/A</c:v>
                </c:pt>
                <c:pt idx="8174">
                  <c:v>#N/A</c:v>
                </c:pt>
                <c:pt idx="8175">
                  <c:v>#N/A</c:v>
                </c:pt>
                <c:pt idx="8176">
                  <c:v>#N/A</c:v>
                </c:pt>
                <c:pt idx="8177">
                  <c:v>#N/A</c:v>
                </c:pt>
                <c:pt idx="8178">
                  <c:v>#N/A</c:v>
                </c:pt>
                <c:pt idx="8179">
                  <c:v>#N/A</c:v>
                </c:pt>
                <c:pt idx="8180">
                  <c:v>#N/A</c:v>
                </c:pt>
                <c:pt idx="8181">
                  <c:v>#N/A</c:v>
                </c:pt>
                <c:pt idx="8182">
                  <c:v>#N/A</c:v>
                </c:pt>
                <c:pt idx="8183">
                  <c:v>#N/A</c:v>
                </c:pt>
                <c:pt idx="8184">
                  <c:v>#N/A</c:v>
                </c:pt>
                <c:pt idx="8185">
                  <c:v>#N/A</c:v>
                </c:pt>
                <c:pt idx="8186">
                  <c:v>#N/A</c:v>
                </c:pt>
                <c:pt idx="8187">
                  <c:v>#N/A</c:v>
                </c:pt>
                <c:pt idx="8188">
                  <c:v>#N/A</c:v>
                </c:pt>
                <c:pt idx="8189">
                  <c:v>#N/A</c:v>
                </c:pt>
                <c:pt idx="8190">
                  <c:v>#N/A</c:v>
                </c:pt>
                <c:pt idx="8191">
                  <c:v>#N/A</c:v>
                </c:pt>
                <c:pt idx="8192">
                  <c:v>#N/A</c:v>
                </c:pt>
                <c:pt idx="8193">
                  <c:v>#N/A</c:v>
                </c:pt>
                <c:pt idx="8194">
                  <c:v>#N/A</c:v>
                </c:pt>
                <c:pt idx="8195">
                  <c:v>#N/A</c:v>
                </c:pt>
                <c:pt idx="8196">
                  <c:v>#N/A</c:v>
                </c:pt>
                <c:pt idx="8197">
                  <c:v>#N/A</c:v>
                </c:pt>
                <c:pt idx="8198">
                  <c:v>#N/A</c:v>
                </c:pt>
                <c:pt idx="8199">
                  <c:v>#N/A</c:v>
                </c:pt>
                <c:pt idx="8200">
                  <c:v>#N/A</c:v>
                </c:pt>
                <c:pt idx="8201">
                  <c:v>#N/A</c:v>
                </c:pt>
                <c:pt idx="8202">
                  <c:v>#N/A</c:v>
                </c:pt>
                <c:pt idx="8203">
                  <c:v>#N/A</c:v>
                </c:pt>
                <c:pt idx="8204">
                  <c:v>#N/A</c:v>
                </c:pt>
                <c:pt idx="8205">
                  <c:v>#N/A</c:v>
                </c:pt>
                <c:pt idx="8206">
                  <c:v>#N/A</c:v>
                </c:pt>
                <c:pt idx="8207">
                  <c:v>#N/A</c:v>
                </c:pt>
                <c:pt idx="8208">
                  <c:v>#N/A</c:v>
                </c:pt>
                <c:pt idx="8209">
                  <c:v>#N/A</c:v>
                </c:pt>
                <c:pt idx="8210">
                  <c:v>#N/A</c:v>
                </c:pt>
                <c:pt idx="8211">
                  <c:v>#N/A</c:v>
                </c:pt>
                <c:pt idx="8212">
                  <c:v>#N/A</c:v>
                </c:pt>
                <c:pt idx="8213">
                  <c:v>#N/A</c:v>
                </c:pt>
                <c:pt idx="8214">
                  <c:v>#N/A</c:v>
                </c:pt>
                <c:pt idx="8215">
                  <c:v>#N/A</c:v>
                </c:pt>
                <c:pt idx="8216">
                  <c:v>#N/A</c:v>
                </c:pt>
                <c:pt idx="8217">
                  <c:v>#N/A</c:v>
                </c:pt>
                <c:pt idx="8218">
                  <c:v>#N/A</c:v>
                </c:pt>
                <c:pt idx="8219">
                  <c:v>#N/A</c:v>
                </c:pt>
                <c:pt idx="8220">
                  <c:v>#N/A</c:v>
                </c:pt>
                <c:pt idx="8221">
                  <c:v>#N/A</c:v>
                </c:pt>
                <c:pt idx="8222">
                  <c:v>#N/A</c:v>
                </c:pt>
                <c:pt idx="8223">
                  <c:v>#N/A</c:v>
                </c:pt>
                <c:pt idx="8224">
                  <c:v>#N/A</c:v>
                </c:pt>
                <c:pt idx="8225">
                  <c:v>#N/A</c:v>
                </c:pt>
                <c:pt idx="8226">
                  <c:v>#N/A</c:v>
                </c:pt>
                <c:pt idx="8227">
                  <c:v>#N/A</c:v>
                </c:pt>
                <c:pt idx="8228">
                  <c:v>#N/A</c:v>
                </c:pt>
                <c:pt idx="8229">
                  <c:v>#N/A</c:v>
                </c:pt>
                <c:pt idx="8230">
                  <c:v>#N/A</c:v>
                </c:pt>
                <c:pt idx="8231">
                  <c:v>#N/A</c:v>
                </c:pt>
                <c:pt idx="8232">
                  <c:v>#N/A</c:v>
                </c:pt>
                <c:pt idx="8233">
                  <c:v>#N/A</c:v>
                </c:pt>
                <c:pt idx="8234">
                  <c:v>#N/A</c:v>
                </c:pt>
                <c:pt idx="8235">
                  <c:v>#N/A</c:v>
                </c:pt>
                <c:pt idx="8236">
                  <c:v>#N/A</c:v>
                </c:pt>
                <c:pt idx="8237">
                  <c:v>#N/A</c:v>
                </c:pt>
                <c:pt idx="8238">
                  <c:v>#N/A</c:v>
                </c:pt>
                <c:pt idx="8239">
                  <c:v>#N/A</c:v>
                </c:pt>
                <c:pt idx="8240">
                  <c:v>#N/A</c:v>
                </c:pt>
                <c:pt idx="8241">
                  <c:v>#N/A</c:v>
                </c:pt>
                <c:pt idx="8242">
                  <c:v>#N/A</c:v>
                </c:pt>
                <c:pt idx="8243">
                  <c:v>#N/A</c:v>
                </c:pt>
                <c:pt idx="8244">
                  <c:v>#N/A</c:v>
                </c:pt>
                <c:pt idx="8245">
                  <c:v>#N/A</c:v>
                </c:pt>
                <c:pt idx="8246">
                  <c:v>#N/A</c:v>
                </c:pt>
                <c:pt idx="8247">
                  <c:v>#N/A</c:v>
                </c:pt>
                <c:pt idx="8248">
                  <c:v>#N/A</c:v>
                </c:pt>
                <c:pt idx="8249">
                  <c:v>#N/A</c:v>
                </c:pt>
                <c:pt idx="8250">
                  <c:v>#N/A</c:v>
                </c:pt>
                <c:pt idx="8251">
                  <c:v>#N/A</c:v>
                </c:pt>
                <c:pt idx="8252">
                  <c:v>#N/A</c:v>
                </c:pt>
                <c:pt idx="8253">
                  <c:v>#N/A</c:v>
                </c:pt>
                <c:pt idx="8254">
                  <c:v>#N/A</c:v>
                </c:pt>
                <c:pt idx="8255">
                  <c:v>#N/A</c:v>
                </c:pt>
                <c:pt idx="8256">
                  <c:v>#N/A</c:v>
                </c:pt>
                <c:pt idx="8257">
                  <c:v>#N/A</c:v>
                </c:pt>
                <c:pt idx="8258">
                  <c:v>#N/A</c:v>
                </c:pt>
                <c:pt idx="8259">
                  <c:v>#N/A</c:v>
                </c:pt>
                <c:pt idx="8260">
                  <c:v>#N/A</c:v>
                </c:pt>
                <c:pt idx="8261">
                  <c:v>#N/A</c:v>
                </c:pt>
                <c:pt idx="8262">
                  <c:v>#N/A</c:v>
                </c:pt>
                <c:pt idx="8263">
                  <c:v>#N/A</c:v>
                </c:pt>
                <c:pt idx="8264">
                  <c:v>#N/A</c:v>
                </c:pt>
                <c:pt idx="8265">
                  <c:v>#N/A</c:v>
                </c:pt>
                <c:pt idx="8266">
                  <c:v>#N/A</c:v>
                </c:pt>
                <c:pt idx="8267">
                  <c:v>#N/A</c:v>
                </c:pt>
                <c:pt idx="8268">
                  <c:v>#N/A</c:v>
                </c:pt>
                <c:pt idx="8269">
                  <c:v>#N/A</c:v>
                </c:pt>
                <c:pt idx="8270">
                  <c:v>#N/A</c:v>
                </c:pt>
                <c:pt idx="8271">
                  <c:v>#N/A</c:v>
                </c:pt>
                <c:pt idx="8272">
                  <c:v>#N/A</c:v>
                </c:pt>
                <c:pt idx="8273">
                  <c:v>#N/A</c:v>
                </c:pt>
                <c:pt idx="8274">
                  <c:v>#N/A</c:v>
                </c:pt>
                <c:pt idx="8275">
                  <c:v>#N/A</c:v>
                </c:pt>
                <c:pt idx="8276">
                  <c:v>#N/A</c:v>
                </c:pt>
                <c:pt idx="8277">
                  <c:v>#N/A</c:v>
                </c:pt>
                <c:pt idx="8278">
                  <c:v>#N/A</c:v>
                </c:pt>
                <c:pt idx="8279">
                  <c:v>#N/A</c:v>
                </c:pt>
                <c:pt idx="8280">
                  <c:v>#N/A</c:v>
                </c:pt>
                <c:pt idx="8281">
                  <c:v>#N/A</c:v>
                </c:pt>
                <c:pt idx="8282">
                  <c:v>#N/A</c:v>
                </c:pt>
                <c:pt idx="8283">
                  <c:v>#N/A</c:v>
                </c:pt>
                <c:pt idx="8284">
                  <c:v>#N/A</c:v>
                </c:pt>
                <c:pt idx="8285">
                  <c:v>#N/A</c:v>
                </c:pt>
                <c:pt idx="8286">
                  <c:v>#N/A</c:v>
                </c:pt>
                <c:pt idx="8287">
                  <c:v>#N/A</c:v>
                </c:pt>
                <c:pt idx="8288">
                  <c:v>#N/A</c:v>
                </c:pt>
                <c:pt idx="8289">
                  <c:v>#N/A</c:v>
                </c:pt>
                <c:pt idx="8290">
                  <c:v>#N/A</c:v>
                </c:pt>
                <c:pt idx="8291">
                  <c:v>#N/A</c:v>
                </c:pt>
                <c:pt idx="8292">
                  <c:v>#N/A</c:v>
                </c:pt>
                <c:pt idx="8293">
                  <c:v>#N/A</c:v>
                </c:pt>
                <c:pt idx="8294">
                  <c:v>#N/A</c:v>
                </c:pt>
                <c:pt idx="8295">
                  <c:v>#N/A</c:v>
                </c:pt>
                <c:pt idx="8296">
                  <c:v>#N/A</c:v>
                </c:pt>
                <c:pt idx="8297">
                  <c:v>#N/A</c:v>
                </c:pt>
                <c:pt idx="8298">
                  <c:v>#N/A</c:v>
                </c:pt>
                <c:pt idx="8299">
                  <c:v>#N/A</c:v>
                </c:pt>
                <c:pt idx="8300">
                  <c:v>#N/A</c:v>
                </c:pt>
                <c:pt idx="8301">
                  <c:v>#N/A</c:v>
                </c:pt>
                <c:pt idx="8302">
                  <c:v>#N/A</c:v>
                </c:pt>
                <c:pt idx="8303">
                  <c:v>#N/A</c:v>
                </c:pt>
                <c:pt idx="8304">
                  <c:v>#N/A</c:v>
                </c:pt>
                <c:pt idx="8305">
                  <c:v>#N/A</c:v>
                </c:pt>
                <c:pt idx="8306">
                  <c:v>#N/A</c:v>
                </c:pt>
                <c:pt idx="8307">
                  <c:v>#N/A</c:v>
                </c:pt>
                <c:pt idx="8308">
                  <c:v>#N/A</c:v>
                </c:pt>
                <c:pt idx="8309">
                  <c:v>#N/A</c:v>
                </c:pt>
                <c:pt idx="8310">
                  <c:v>#N/A</c:v>
                </c:pt>
                <c:pt idx="8311">
                  <c:v>#N/A</c:v>
                </c:pt>
                <c:pt idx="8312">
                  <c:v>#N/A</c:v>
                </c:pt>
                <c:pt idx="8313">
                  <c:v>#N/A</c:v>
                </c:pt>
                <c:pt idx="8314">
                  <c:v>#N/A</c:v>
                </c:pt>
                <c:pt idx="8315">
                  <c:v>#N/A</c:v>
                </c:pt>
                <c:pt idx="8316">
                  <c:v>#N/A</c:v>
                </c:pt>
                <c:pt idx="8317">
                  <c:v>#N/A</c:v>
                </c:pt>
                <c:pt idx="8318">
                  <c:v>#N/A</c:v>
                </c:pt>
                <c:pt idx="8319">
                  <c:v>#N/A</c:v>
                </c:pt>
                <c:pt idx="8320">
                  <c:v>#N/A</c:v>
                </c:pt>
                <c:pt idx="8321">
                  <c:v>#N/A</c:v>
                </c:pt>
                <c:pt idx="8322">
                  <c:v>#N/A</c:v>
                </c:pt>
                <c:pt idx="8323">
                  <c:v>#N/A</c:v>
                </c:pt>
                <c:pt idx="8324">
                  <c:v>#N/A</c:v>
                </c:pt>
                <c:pt idx="8325">
                  <c:v>#N/A</c:v>
                </c:pt>
                <c:pt idx="8326">
                  <c:v>#N/A</c:v>
                </c:pt>
                <c:pt idx="8327">
                  <c:v>#N/A</c:v>
                </c:pt>
                <c:pt idx="8328">
                  <c:v>#N/A</c:v>
                </c:pt>
                <c:pt idx="8329">
                  <c:v>#N/A</c:v>
                </c:pt>
                <c:pt idx="8330">
                  <c:v>#N/A</c:v>
                </c:pt>
                <c:pt idx="8331">
                  <c:v>#N/A</c:v>
                </c:pt>
                <c:pt idx="8332">
                  <c:v>#N/A</c:v>
                </c:pt>
                <c:pt idx="8333">
                  <c:v>#N/A</c:v>
                </c:pt>
                <c:pt idx="8334">
                  <c:v>#N/A</c:v>
                </c:pt>
                <c:pt idx="8335">
                  <c:v>#N/A</c:v>
                </c:pt>
                <c:pt idx="8336">
                  <c:v>#N/A</c:v>
                </c:pt>
                <c:pt idx="8337">
                  <c:v>#N/A</c:v>
                </c:pt>
                <c:pt idx="8338">
                  <c:v>#N/A</c:v>
                </c:pt>
                <c:pt idx="8339">
                  <c:v>#N/A</c:v>
                </c:pt>
                <c:pt idx="8340">
                  <c:v>#N/A</c:v>
                </c:pt>
                <c:pt idx="8341">
                  <c:v>#N/A</c:v>
                </c:pt>
                <c:pt idx="8342">
                  <c:v>#N/A</c:v>
                </c:pt>
                <c:pt idx="8343">
                  <c:v>#N/A</c:v>
                </c:pt>
                <c:pt idx="8344">
                  <c:v>#N/A</c:v>
                </c:pt>
                <c:pt idx="8345">
                  <c:v>#N/A</c:v>
                </c:pt>
                <c:pt idx="8346">
                  <c:v>#N/A</c:v>
                </c:pt>
                <c:pt idx="8347">
                  <c:v>#N/A</c:v>
                </c:pt>
                <c:pt idx="8348">
                  <c:v>#N/A</c:v>
                </c:pt>
                <c:pt idx="8349">
                  <c:v>#N/A</c:v>
                </c:pt>
                <c:pt idx="8350">
                  <c:v>#N/A</c:v>
                </c:pt>
                <c:pt idx="8351">
                  <c:v>#N/A</c:v>
                </c:pt>
                <c:pt idx="8352">
                  <c:v>#N/A</c:v>
                </c:pt>
                <c:pt idx="8353">
                  <c:v>#N/A</c:v>
                </c:pt>
                <c:pt idx="8354">
                  <c:v>#N/A</c:v>
                </c:pt>
                <c:pt idx="8355">
                  <c:v>#N/A</c:v>
                </c:pt>
                <c:pt idx="8356">
                  <c:v>#N/A</c:v>
                </c:pt>
                <c:pt idx="8357">
                  <c:v>#N/A</c:v>
                </c:pt>
                <c:pt idx="8358">
                  <c:v>#N/A</c:v>
                </c:pt>
                <c:pt idx="8359">
                  <c:v>#N/A</c:v>
                </c:pt>
                <c:pt idx="8360">
                  <c:v>#N/A</c:v>
                </c:pt>
                <c:pt idx="8361">
                  <c:v>#N/A</c:v>
                </c:pt>
                <c:pt idx="8362">
                  <c:v>#N/A</c:v>
                </c:pt>
                <c:pt idx="8363">
                  <c:v>#N/A</c:v>
                </c:pt>
                <c:pt idx="8364">
                  <c:v>#N/A</c:v>
                </c:pt>
                <c:pt idx="8365">
                  <c:v>#N/A</c:v>
                </c:pt>
                <c:pt idx="8366">
                  <c:v>#N/A</c:v>
                </c:pt>
                <c:pt idx="8367">
                  <c:v>#N/A</c:v>
                </c:pt>
                <c:pt idx="8368">
                  <c:v>#N/A</c:v>
                </c:pt>
                <c:pt idx="8369">
                  <c:v>#N/A</c:v>
                </c:pt>
                <c:pt idx="8370">
                  <c:v>#N/A</c:v>
                </c:pt>
                <c:pt idx="8371">
                  <c:v>#N/A</c:v>
                </c:pt>
                <c:pt idx="8372">
                  <c:v>#N/A</c:v>
                </c:pt>
                <c:pt idx="8373">
                  <c:v>#N/A</c:v>
                </c:pt>
                <c:pt idx="8374">
                  <c:v>#N/A</c:v>
                </c:pt>
                <c:pt idx="8375">
                  <c:v>#N/A</c:v>
                </c:pt>
                <c:pt idx="8376">
                  <c:v>#N/A</c:v>
                </c:pt>
                <c:pt idx="8377">
                  <c:v>#N/A</c:v>
                </c:pt>
                <c:pt idx="8378">
                  <c:v>#N/A</c:v>
                </c:pt>
                <c:pt idx="8379">
                  <c:v>#N/A</c:v>
                </c:pt>
                <c:pt idx="8380">
                  <c:v>#N/A</c:v>
                </c:pt>
                <c:pt idx="8381">
                  <c:v>#N/A</c:v>
                </c:pt>
                <c:pt idx="8382">
                  <c:v>#N/A</c:v>
                </c:pt>
                <c:pt idx="8383">
                  <c:v>#N/A</c:v>
                </c:pt>
                <c:pt idx="8384">
                  <c:v>#N/A</c:v>
                </c:pt>
                <c:pt idx="8385">
                  <c:v>#N/A</c:v>
                </c:pt>
                <c:pt idx="8386">
                  <c:v>#N/A</c:v>
                </c:pt>
                <c:pt idx="8387">
                  <c:v>#N/A</c:v>
                </c:pt>
                <c:pt idx="8388">
                  <c:v>#N/A</c:v>
                </c:pt>
                <c:pt idx="8389">
                  <c:v>#N/A</c:v>
                </c:pt>
                <c:pt idx="8390">
                  <c:v>#N/A</c:v>
                </c:pt>
                <c:pt idx="8391">
                  <c:v>#N/A</c:v>
                </c:pt>
                <c:pt idx="8392">
                  <c:v>#N/A</c:v>
                </c:pt>
                <c:pt idx="8393">
                  <c:v>#N/A</c:v>
                </c:pt>
                <c:pt idx="8394">
                  <c:v>#N/A</c:v>
                </c:pt>
                <c:pt idx="8395">
                  <c:v>#N/A</c:v>
                </c:pt>
                <c:pt idx="8396">
                  <c:v>#N/A</c:v>
                </c:pt>
                <c:pt idx="8397">
                  <c:v>#N/A</c:v>
                </c:pt>
                <c:pt idx="8398">
                  <c:v>#N/A</c:v>
                </c:pt>
                <c:pt idx="8399">
                  <c:v>#N/A</c:v>
                </c:pt>
                <c:pt idx="8400">
                  <c:v>#N/A</c:v>
                </c:pt>
                <c:pt idx="8401">
                  <c:v>#N/A</c:v>
                </c:pt>
                <c:pt idx="8402">
                  <c:v>#N/A</c:v>
                </c:pt>
                <c:pt idx="8403">
                  <c:v>#N/A</c:v>
                </c:pt>
                <c:pt idx="8404">
                  <c:v>#N/A</c:v>
                </c:pt>
                <c:pt idx="8405">
                  <c:v>#N/A</c:v>
                </c:pt>
                <c:pt idx="8406">
                  <c:v>#N/A</c:v>
                </c:pt>
                <c:pt idx="8407">
                  <c:v>#N/A</c:v>
                </c:pt>
                <c:pt idx="8408">
                  <c:v>#N/A</c:v>
                </c:pt>
                <c:pt idx="8409">
                  <c:v>#N/A</c:v>
                </c:pt>
                <c:pt idx="8410">
                  <c:v>#N/A</c:v>
                </c:pt>
                <c:pt idx="8411">
                  <c:v>#N/A</c:v>
                </c:pt>
                <c:pt idx="8412">
                  <c:v>#N/A</c:v>
                </c:pt>
                <c:pt idx="8413">
                  <c:v>#N/A</c:v>
                </c:pt>
                <c:pt idx="8414">
                  <c:v>#N/A</c:v>
                </c:pt>
                <c:pt idx="8415">
                  <c:v>#N/A</c:v>
                </c:pt>
                <c:pt idx="8416">
                  <c:v>#N/A</c:v>
                </c:pt>
                <c:pt idx="8417">
                  <c:v>#N/A</c:v>
                </c:pt>
                <c:pt idx="8418">
                  <c:v>#N/A</c:v>
                </c:pt>
                <c:pt idx="8419">
                  <c:v>#N/A</c:v>
                </c:pt>
                <c:pt idx="8420">
                  <c:v>#N/A</c:v>
                </c:pt>
                <c:pt idx="8421">
                  <c:v>#N/A</c:v>
                </c:pt>
                <c:pt idx="8422">
                  <c:v>#N/A</c:v>
                </c:pt>
                <c:pt idx="8423">
                  <c:v>#N/A</c:v>
                </c:pt>
                <c:pt idx="8424">
                  <c:v>#N/A</c:v>
                </c:pt>
                <c:pt idx="8425">
                  <c:v>#N/A</c:v>
                </c:pt>
                <c:pt idx="8426">
                  <c:v>#N/A</c:v>
                </c:pt>
                <c:pt idx="8427">
                  <c:v>#N/A</c:v>
                </c:pt>
                <c:pt idx="8428">
                  <c:v>#N/A</c:v>
                </c:pt>
                <c:pt idx="8429">
                  <c:v>#N/A</c:v>
                </c:pt>
                <c:pt idx="8430">
                  <c:v>#N/A</c:v>
                </c:pt>
                <c:pt idx="8431">
                  <c:v>#N/A</c:v>
                </c:pt>
                <c:pt idx="8432">
                  <c:v>#N/A</c:v>
                </c:pt>
                <c:pt idx="8433">
                  <c:v>#N/A</c:v>
                </c:pt>
                <c:pt idx="8434">
                  <c:v>#N/A</c:v>
                </c:pt>
                <c:pt idx="8435">
                  <c:v>#N/A</c:v>
                </c:pt>
                <c:pt idx="8436">
                  <c:v>#N/A</c:v>
                </c:pt>
                <c:pt idx="8437">
                  <c:v>#N/A</c:v>
                </c:pt>
                <c:pt idx="8438">
                  <c:v>#N/A</c:v>
                </c:pt>
                <c:pt idx="8439">
                  <c:v>#N/A</c:v>
                </c:pt>
                <c:pt idx="8440">
                  <c:v>#N/A</c:v>
                </c:pt>
                <c:pt idx="8441">
                  <c:v>#N/A</c:v>
                </c:pt>
                <c:pt idx="8442">
                  <c:v>#N/A</c:v>
                </c:pt>
                <c:pt idx="8443">
                  <c:v>#N/A</c:v>
                </c:pt>
                <c:pt idx="8444">
                  <c:v>#N/A</c:v>
                </c:pt>
                <c:pt idx="8445">
                  <c:v>#N/A</c:v>
                </c:pt>
                <c:pt idx="8446">
                  <c:v>#N/A</c:v>
                </c:pt>
                <c:pt idx="8447">
                  <c:v>#N/A</c:v>
                </c:pt>
                <c:pt idx="8448">
                  <c:v>#N/A</c:v>
                </c:pt>
                <c:pt idx="8449">
                  <c:v>#N/A</c:v>
                </c:pt>
                <c:pt idx="8450">
                  <c:v>#N/A</c:v>
                </c:pt>
                <c:pt idx="8451">
                  <c:v>#N/A</c:v>
                </c:pt>
                <c:pt idx="8452">
                  <c:v>#N/A</c:v>
                </c:pt>
                <c:pt idx="8453">
                  <c:v>#N/A</c:v>
                </c:pt>
                <c:pt idx="8454">
                  <c:v>#N/A</c:v>
                </c:pt>
                <c:pt idx="8455">
                  <c:v>#N/A</c:v>
                </c:pt>
                <c:pt idx="8456">
                  <c:v>#N/A</c:v>
                </c:pt>
                <c:pt idx="8457">
                  <c:v>#N/A</c:v>
                </c:pt>
                <c:pt idx="8458">
                  <c:v>#N/A</c:v>
                </c:pt>
                <c:pt idx="8459">
                  <c:v>#N/A</c:v>
                </c:pt>
                <c:pt idx="8460">
                  <c:v>#N/A</c:v>
                </c:pt>
                <c:pt idx="8461">
                  <c:v>#N/A</c:v>
                </c:pt>
                <c:pt idx="8462">
                  <c:v>#N/A</c:v>
                </c:pt>
                <c:pt idx="8463">
                  <c:v>#N/A</c:v>
                </c:pt>
                <c:pt idx="8464">
                  <c:v>#N/A</c:v>
                </c:pt>
                <c:pt idx="8465">
                  <c:v>#N/A</c:v>
                </c:pt>
                <c:pt idx="8466">
                  <c:v>#N/A</c:v>
                </c:pt>
                <c:pt idx="8467">
                  <c:v>#N/A</c:v>
                </c:pt>
                <c:pt idx="8468">
                  <c:v>#N/A</c:v>
                </c:pt>
                <c:pt idx="8469">
                  <c:v>#N/A</c:v>
                </c:pt>
                <c:pt idx="8470">
                  <c:v>#N/A</c:v>
                </c:pt>
                <c:pt idx="8471">
                  <c:v>#N/A</c:v>
                </c:pt>
                <c:pt idx="8472">
                  <c:v>#N/A</c:v>
                </c:pt>
                <c:pt idx="8473">
                  <c:v>#N/A</c:v>
                </c:pt>
                <c:pt idx="8474">
                  <c:v>#N/A</c:v>
                </c:pt>
                <c:pt idx="8475">
                  <c:v>#N/A</c:v>
                </c:pt>
                <c:pt idx="8476">
                  <c:v>#N/A</c:v>
                </c:pt>
                <c:pt idx="8477">
                  <c:v>#N/A</c:v>
                </c:pt>
                <c:pt idx="8478">
                  <c:v>#N/A</c:v>
                </c:pt>
                <c:pt idx="8479">
                  <c:v>#N/A</c:v>
                </c:pt>
                <c:pt idx="8480">
                  <c:v>#N/A</c:v>
                </c:pt>
                <c:pt idx="8481">
                  <c:v>#N/A</c:v>
                </c:pt>
                <c:pt idx="8482">
                  <c:v>#N/A</c:v>
                </c:pt>
                <c:pt idx="8483">
                  <c:v>#N/A</c:v>
                </c:pt>
                <c:pt idx="8484">
                  <c:v>#N/A</c:v>
                </c:pt>
                <c:pt idx="8485">
                  <c:v>#N/A</c:v>
                </c:pt>
                <c:pt idx="8486">
                  <c:v>#N/A</c:v>
                </c:pt>
                <c:pt idx="8487">
                  <c:v>#N/A</c:v>
                </c:pt>
                <c:pt idx="8488">
                  <c:v>#N/A</c:v>
                </c:pt>
                <c:pt idx="8489">
                  <c:v>#N/A</c:v>
                </c:pt>
                <c:pt idx="8490">
                  <c:v>#N/A</c:v>
                </c:pt>
                <c:pt idx="8491">
                  <c:v>#N/A</c:v>
                </c:pt>
                <c:pt idx="8492">
                  <c:v>#N/A</c:v>
                </c:pt>
                <c:pt idx="8493">
                  <c:v>#N/A</c:v>
                </c:pt>
                <c:pt idx="8494">
                  <c:v>#N/A</c:v>
                </c:pt>
                <c:pt idx="8495">
                  <c:v>#N/A</c:v>
                </c:pt>
                <c:pt idx="8496">
                  <c:v>#N/A</c:v>
                </c:pt>
                <c:pt idx="8497">
                  <c:v>#N/A</c:v>
                </c:pt>
                <c:pt idx="8498">
                  <c:v>#N/A</c:v>
                </c:pt>
                <c:pt idx="8499">
                  <c:v>#N/A</c:v>
                </c:pt>
                <c:pt idx="8500">
                  <c:v>#N/A</c:v>
                </c:pt>
                <c:pt idx="8501">
                  <c:v>#N/A</c:v>
                </c:pt>
                <c:pt idx="8502">
                  <c:v>#N/A</c:v>
                </c:pt>
                <c:pt idx="8503">
                  <c:v>#N/A</c:v>
                </c:pt>
                <c:pt idx="8504">
                  <c:v>#N/A</c:v>
                </c:pt>
                <c:pt idx="8505">
                  <c:v>#N/A</c:v>
                </c:pt>
                <c:pt idx="8506">
                  <c:v>#N/A</c:v>
                </c:pt>
                <c:pt idx="8507">
                  <c:v>#N/A</c:v>
                </c:pt>
                <c:pt idx="8508">
                  <c:v>#N/A</c:v>
                </c:pt>
                <c:pt idx="8509">
                  <c:v>#N/A</c:v>
                </c:pt>
                <c:pt idx="8510">
                  <c:v>#N/A</c:v>
                </c:pt>
                <c:pt idx="8511">
                  <c:v>#N/A</c:v>
                </c:pt>
                <c:pt idx="8512">
                  <c:v>#N/A</c:v>
                </c:pt>
                <c:pt idx="8513">
                  <c:v>#N/A</c:v>
                </c:pt>
                <c:pt idx="8514">
                  <c:v>#N/A</c:v>
                </c:pt>
                <c:pt idx="8515">
                  <c:v>#N/A</c:v>
                </c:pt>
                <c:pt idx="8516">
                  <c:v>#N/A</c:v>
                </c:pt>
                <c:pt idx="8517">
                  <c:v>#N/A</c:v>
                </c:pt>
                <c:pt idx="8518">
                  <c:v>#N/A</c:v>
                </c:pt>
                <c:pt idx="8519">
                  <c:v>#N/A</c:v>
                </c:pt>
                <c:pt idx="8520">
                  <c:v>#N/A</c:v>
                </c:pt>
                <c:pt idx="8521">
                  <c:v>#N/A</c:v>
                </c:pt>
                <c:pt idx="8522">
                  <c:v>#N/A</c:v>
                </c:pt>
                <c:pt idx="8523">
                  <c:v>#N/A</c:v>
                </c:pt>
                <c:pt idx="8524">
                  <c:v>#N/A</c:v>
                </c:pt>
                <c:pt idx="8525">
                  <c:v>#N/A</c:v>
                </c:pt>
                <c:pt idx="8526">
                  <c:v>#N/A</c:v>
                </c:pt>
                <c:pt idx="8527">
                  <c:v>#N/A</c:v>
                </c:pt>
                <c:pt idx="8528">
                  <c:v>#N/A</c:v>
                </c:pt>
                <c:pt idx="8529">
                  <c:v>#N/A</c:v>
                </c:pt>
                <c:pt idx="8530">
                  <c:v>#N/A</c:v>
                </c:pt>
                <c:pt idx="8531">
                  <c:v>#N/A</c:v>
                </c:pt>
                <c:pt idx="8532">
                  <c:v>#N/A</c:v>
                </c:pt>
                <c:pt idx="8533">
                  <c:v>#N/A</c:v>
                </c:pt>
                <c:pt idx="8534">
                  <c:v>#N/A</c:v>
                </c:pt>
                <c:pt idx="8535">
                  <c:v>#N/A</c:v>
                </c:pt>
                <c:pt idx="8536">
                  <c:v>#N/A</c:v>
                </c:pt>
                <c:pt idx="8537">
                  <c:v>#N/A</c:v>
                </c:pt>
                <c:pt idx="8538">
                  <c:v>#N/A</c:v>
                </c:pt>
                <c:pt idx="8539">
                  <c:v>#N/A</c:v>
                </c:pt>
                <c:pt idx="8540">
                  <c:v>#N/A</c:v>
                </c:pt>
                <c:pt idx="8541">
                  <c:v>#N/A</c:v>
                </c:pt>
                <c:pt idx="8542">
                  <c:v>#N/A</c:v>
                </c:pt>
                <c:pt idx="8543">
                  <c:v>#N/A</c:v>
                </c:pt>
                <c:pt idx="8544">
                  <c:v>#N/A</c:v>
                </c:pt>
                <c:pt idx="8545">
                  <c:v>#N/A</c:v>
                </c:pt>
                <c:pt idx="8546">
                  <c:v>#N/A</c:v>
                </c:pt>
                <c:pt idx="8547">
                  <c:v>#N/A</c:v>
                </c:pt>
                <c:pt idx="8548">
                  <c:v>#N/A</c:v>
                </c:pt>
                <c:pt idx="8549">
                  <c:v>#N/A</c:v>
                </c:pt>
                <c:pt idx="8550">
                  <c:v>#N/A</c:v>
                </c:pt>
                <c:pt idx="8551">
                  <c:v>#N/A</c:v>
                </c:pt>
                <c:pt idx="8552">
                  <c:v>#N/A</c:v>
                </c:pt>
                <c:pt idx="8553">
                  <c:v>#N/A</c:v>
                </c:pt>
                <c:pt idx="8554">
                  <c:v>#N/A</c:v>
                </c:pt>
                <c:pt idx="8555">
                  <c:v>#N/A</c:v>
                </c:pt>
                <c:pt idx="8556">
                  <c:v>#N/A</c:v>
                </c:pt>
                <c:pt idx="8557">
                  <c:v>#N/A</c:v>
                </c:pt>
                <c:pt idx="8558">
                  <c:v>#N/A</c:v>
                </c:pt>
                <c:pt idx="8559">
                  <c:v>#N/A</c:v>
                </c:pt>
                <c:pt idx="8560">
                  <c:v>#N/A</c:v>
                </c:pt>
                <c:pt idx="8561">
                  <c:v>#N/A</c:v>
                </c:pt>
                <c:pt idx="8562">
                  <c:v>#N/A</c:v>
                </c:pt>
                <c:pt idx="8563">
                  <c:v>#N/A</c:v>
                </c:pt>
                <c:pt idx="8564">
                  <c:v>#N/A</c:v>
                </c:pt>
                <c:pt idx="8565">
                  <c:v>#N/A</c:v>
                </c:pt>
                <c:pt idx="8566">
                  <c:v>#N/A</c:v>
                </c:pt>
                <c:pt idx="8567">
                  <c:v>#N/A</c:v>
                </c:pt>
                <c:pt idx="8568">
                  <c:v>#N/A</c:v>
                </c:pt>
                <c:pt idx="8569">
                  <c:v>#N/A</c:v>
                </c:pt>
                <c:pt idx="8570">
                  <c:v>#N/A</c:v>
                </c:pt>
                <c:pt idx="8571">
                  <c:v>#N/A</c:v>
                </c:pt>
                <c:pt idx="8572">
                  <c:v>#N/A</c:v>
                </c:pt>
                <c:pt idx="8573">
                  <c:v>#N/A</c:v>
                </c:pt>
                <c:pt idx="8574">
                  <c:v>#N/A</c:v>
                </c:pt>
                <c:pt idx="8575">
                  <c:v>#N/A</c:v>
                </c:pt>
                <c:pt idx="8576">
                  <c:v>#N/A</c:v>
                </c:pt>
                <c:pt idx="8577">
                  <c:v>#N/A</c:v>
                </c:pt>
                <c:pt idx="8578">
                  <c:v>#N/A</c:v>
                </c:pt>
                <c:pt idx="8579">
                  <c:v>#N/A</c:v>
                </c:pt>
                <c:pt idx="8580">
                  <c:v>#N/A</c:v>
                </c:pt>
                <c:pt idx="8581">
                  <c:v>#N/A</c:v>
                </c:pt>
                <c:pt idx="8582">
                  <c:v>#N/A</c:v>
                </c:pt>
                <c:pt idx="8583">
                  <c:v>#N/A</c:v>
                </c:pt>
                <c:pt idx="8584">
                  <c:v>#N/A</c:v>
                </c:pt>
                <c:pt idx="8585">
                  <c:v>#N/A</c:v>
                </c:pt>
                <c:pt idx="8586">
                  <c:v>#N/A</c:v>
                </c:pt>
                <c:pt idx="8587">
                  <c:v>#N/A</c:v>
                </c:pt>
                <c:pt idx="8588">
                  <c:v>#N/A</c:v>
                </c:pt>
                <c:pt idx="8589">
                  <c:v>#N/A</c:v>
                </c:pt>
                <c:pt idx="8590">
                  <c:v>#N/A</c:v>
                </c:pt>
                <c:pt idx="8591">
                  <c:v>#N/A</c:v>
                </c:pt>
                <c:pt idx="8592">
                  <c:v>#N/A</c:v>
                </c:pt>
                <c:pt idx="8593">
                  <c:v>#N/A</c:v>
                </c:pt>
                <c:pt idx="8594">
                  <c:v>#N/A</c:v>
                </c:pt>
                <c:pt idx="8595">
                  <c:v>#N/A</c:v>
                </c:pt>
                <c:pt idx="8596">
                  <c:v>#N/A</c:v>
                </c:pt>
                <c:pt idx="8597">
                  <c:v>#N/A</c:v>
                </c:pt>
                <c:pt idx="8598">
                  <c:v>#N/A</c:v>
                </c:pt>
                <c:pt idx="8599">
                  <c:v>#N/A</c:v>
                </c:pt>
                <c:pt idx="8600">
                  <c:v>#N/A</c:v>
                </c:pt>
                <c:pt idx="8601">
                  <c:v>#N/A</c:v>
                </c:pt>
                <c:pt idx="8602">
                  <c:v>#N/A</c:v>
                </c:pt>
                <c:pt idx="8603">
                  <c:v>#N/A</c:v>
                </c:pt>
                <c:pt idx="8604">
                  <c:v>#N/A</c:v>
                </c:pt>
                <c:pt idx="8605">
                  <c:v>#N/A</c:v>
                </c:pt>
                <c:pt idx="8606">
                  <c:v>#N/A</c:v>
                </c:pt>
                <c:pt idx="8607">
                  <c:v>#N/A</c:v>
                </c:pt>
                <c:pt idx="8608">
                  <c:v>#N/A</c:v>
                </c:pt>
                <c:pt idx="8609">
                  <c:v>#N/A</c:v>
                </c:pt>
                <c:pt idx="8610">
                  <c:v>#N/A</c:v>
                </c:pt>
                <c:pt idx="8611">
                  <c:v>#N/A</c:v>
                </c:pt>
                <c:pt idx="8612">
                  <c:v>#N/A</c:v>
                </c:pt>
                <c:pt idx="8613">
                  <c:v>#N/A</c:v>
                </c:pt>
                <c:pt idx="8614">
                  <c:v>#N/A</c:v>
                </c:pt>
                <c:pt idx="8615">
                  <c:v>#N/A</c:v>
                </c:pt>
                <c:pt idx="8616">
                  <c:v>#N/A</c:v>
                </c:pt>
                <c:pt idx="8617">
                  <c:v>#N/A</c:v>
                </c:pt>
                <c:pt idx="8618">
                  <c:v>#N/A</c:v>
                </c:pt>
                <c:pt idx="8619">
                  <c:v>#N/A</c:v>
                </c:pt>
                <c:pt idx="8620">
                  <c:v>#N/A</c:v>
                </c:pt>
                <c:pt idx="8621">
                  <c:v>#N/A</c:v>
                </c:pt>
                <c:pt idx="8622">
                  <c:v>#N/A</c:v>
                </c:pt>
                <c:pt idx="8623">
                  <c:v>#N/A</c:v>
                </c:pt>
                <c:pt idx="8624">
                  <c:v>#N/A</c:v>
                </c:pt>
                <c:pt idx="8625">
                  <c:v>#N/A</c:v>
                </c:pt>
                <c:pt idx="8626">
                  <c:v>#N/A</c:v>
                </c:pt>
                <c:pt idx="8627">
                  <c:v>#N/A</c:v>
                </c:pt>
                <c:pt idx="8628">
                  <c:v>#N/A</c:v>
                </c:pt>
                <c:pt idx="8629">
                  <c:v>#N/A</c:v>
                </c:pt>
                <c:pt idx="8630">
                  <c:v>#N/A</c:v>
                </c:pt>
                <c:pt idx="8631">
                  <c:v>#N/A</c:v>
                </c:pt>
                <c:pt idx="8632">
                  <c:v>#N/A</c:v>
                </c:pt>
                <c:pt idx="8633">
                  <c:v>#N/A</c:v>
                </c:pt>
                <c:pt idx="8634">
                  <c:v>#N/A</c:v>
                </c:pt>
                <c:pt idx="8635">
                  <c:v>#N/A</c:v>
                </c:pt>
                <c:pt idx="8636">
                  <c:v>#N/A</c:v>
                </c:pt>
                <c:pt idx="8637">
                  <c:v>#N/A</c:v>
                </c:pt>
                <c:pt idx="8638">
                  <c:v>#N/A</c:v>
                </c:pt>
                <c:pt idx="8639">
                  <c:v>#N/A</c:v>
                </c:pt>
                <c:pt idx="8640">
                  <c:v>#N/A</c:v>
                </c:pt>
                <c:pt idx="8641">
                  <c:v>#N/A</c:v>
                </c:pt>
                <c:pt idx="8642">
                  <c:v>#N/A</c:v>
                </c:pt>
                <c:pt idx="8643">
                  <c:v>#N/A</c:v>
                </c:pt>
                <c:pt idx="8644">
                  <c:v>#N/A</c:v>
                </c:pt>
                <c:pt idx="8645">
                  <c:v>#N/A</c:v>
                </c:pt>
                <c:pt idx="8646">
                  <c:v>#N/A</c:v>
                </c:pt>
                <c:pt idx="8647">
                  <c:v>#N/A</c:v>
                </c:pt>
                <c:pt idx="8648">
                  <c:v>#N/A</c:v>
                </c:pt>
                <c:pt idx="8649">
                  <c:v>#N/A</c:v>
                </c:pt>
                <c:pt idx="8650">
                  <c:v>#N/A</c:v>
                </c:pt>
                <c:pt idx="8651">
                  <c:v>#N/A</c:v>
                </c:pt>
                <c:pt idx="8652">
                  <c:v>#N/A</c:v>
                </c:pt>
                <c:pt idx="8653">
                  <c:v>#N/A</c:v>
                </c:pt>
                <c:pt idx="8654">
                  <c:v>#N/A</c:v>
                </c:pt>
                <c:pt idx="8655">
                  <c:v>#N/A</c:v>
                </c:pt>
                <c:pt idx="8656">
                  <c:v>#N/A</c:v>
                </c:pt>
                <c:pt idx="8657">
                  <c:v>#N/A</c:v>
                </c:pt>
                <c:pt idx="8658">
                  <c:v>#N/A</c:v>
                </c:pt>
                <c:pt idx="8659">
                  <c:v>#N/A</c:v>
                </c:pt>
                <c:pt idx="8660">
                  <c:v>#N/A</c:v>
                </c:pt>
                <c:pt idx="8661">
                  <c:v>#N/A</c:v>
                </c:pt>
                <c:pt idx="8662">
                  <c:v>#N/A</c:v>
                </c:pt>
                <c:pt idx="8663">
                  <c:v>#N/A</c:v>
                </c:pt>
                <c:pt idx="8664">
                  <c:v>#N/A</c:v>
                </c:pt>
                <c:pt idx="8665">
                  <c:v>#N/A</c:v>
                </c:pt>
                <c:pt idx="8666">
                  <c:v>#N/A</c:v>
                </c:pt>
                <c:pt idx="8667">
                  <c:v>#N/A</c:v>
                </c:pt>
                <c:pt idx="8668">
                  <c:v>#N/A</c:v>
                </c:pt>
                <c:pt idx="8669">
                  <c:v>#N/A</c:v>
                </c:pt>
                <c:pt idx="8670">
                  <c:v>#N/A</c:v>
                </c:pt>
                <c:pt idx="8671">
                  <c:v>#N/A</c:v>
                </c:pt>
                <c:pt idx="8672">
                  <c:v>#N/A</c:v>
                </c:pt>
                <c:pt idx="8673">
                  <c:v>#N/A</c:v>
                </c:pt>
                <c:pt idx="8674">
                  <c:v>#N/A</c:v>
                </c:pt>
                <c:pt idx="8675">
                  <c:v>#N/A</c:v>
                </c:pt>
                <c:pt idx="8676">
                  <c:v>#N/A</c:v>
                </c:pt>
                <c:pt idx="8677">
                  <c:v>#N/A</c:v>
                </c:pt>
                <c:pt idx="8678">
                  <c:v>#N/A</c:v>
                </c:pt>
                <c:pt idx="8679">
                  <c:v>#N/A</c:v>
                </c:pt>
                <c:pt idx="8680">
                  <c:v>#N/A</c:v>
                </c:pt>
                <c:pt idx="8681">
                  <c:v>#N/A</c:v>
                </c:pt>
                <c:pt idx="8682">
                  <c:v>#N/A</c:v>
                </c:pt>
                <c:pt idx="8683">
                  <c:v>#N/A</c:v>
                </c:pt>
                <c:pt idx="8684">
                  <c:v>#N/A</c:v>
                </c:pt>
                <c:pt idx="8685">
                  <c:v>#N/A</c:v>
                </c:pt>
                <c:pt idx="8686">
                  <c:v>#N/A</c:v>
                </c:pt>
                <c:pt idx="8687">
                  <c:v>#N/A</c:v>
                </c:pt>
                <c:pt idx="8688">
                  <c:v>#N/A</c:v>
                </c:pt>
                <c:pt idx="8689">
                  <c:v>#N/A</c:v>
                </c:pt>
                <c:pt idx="8690">
                  <c:v>#N/A</c:v>
                </c:pt>
                <c:pt idx="8691">
                  <c:v>#N/A</c:v>
                </c:pt>
                <c:pt idx="8692">
                  <c:v>#N/A</c:v>
                </c:pt>
                <c:pt idx="8693">
                  <c:v>#N/A</c:v>
                </c:pt>
                <c:pt idx="8694">
                  <c:v>#N/A</c:v>
                </c:pt>
                <c:pt idx="8695">
                  <c:v>#N/A</c:v>
                </c:pt>
                <c:pt idx="8696">
                  <c:v>#N/A</c:v>
                </c:pt>
                <c:pt idx="8697">
                  <c:v>#N/A</c:v>
                </c:pt>
                <c:pt idx="8698">
                  <c:v>#N/A</c:v>
                </c:pt>
                <c:pt idx="8699">
                  <c:v>#N/A</c:v>
                </c:pt>
                <c:pt idx="8700">
                  <c:v>#N/A</c:v>
                </c:pt>
                <c:pt idx="8701">
                  <c:v>#N/A</c:v>
                </c:pt>
                <c:pt idx="8702">
                  <c:v>#N/A</c:v>
                </c:pt>
                <c:pt idx="8703">
                  <c:v>#N/A</c:v>
                </c:pt>
                <c:pt idx="8704">
                  <c:v>#N/A</c:v>
                </c:pt>
                <c:pt idx="8705">
                  <c:v>#N/A</c:v>
                </c:pt>
                <c:pt idx="8706">
                  <c:v>#N/A</c:v>
                </c:pt>
                <c:pt idx="8707">
                  <c:v>#N/A</c:v>
                </c:pt>
                <c:pt idx="8708">
                  <c:v>#N/A</c:v>
                </c:pt>
                <c:pt idx="8709">
                  <c:v>#N/A</c:v>
                </c:pt>
                <c:pt idx="8710">
                  <c:v>#N/A</c:v>
                </c:pt>
                <c:pt idx="8711">
                  <c:v>#N/A</c:v>
                </c:pt>
                <c:pt idx="8712">
                  <c:v>#N/A</c:v>
                </c:pt>
                <c:pt idx="8713">
                  <c:v>#N/A</c:v>
                </c:pt>
                <c:pt idx="8714">
                  <c:v>#N/A</c:v>
                </c:pt>
                <c:pt idx="8715">
                  <c:v>#N/A</c:v>
                </c:pt>
                <c:pt idx="8716">
                  <c:v>#N/A</c:v>
                </c:pt>
                <c:pt idx="8717">
                  <c:v>#N/A</c:v>
                </c:pt>
                <c:pt idx="8718">
                  <c:v>#N/A</c:v>
                </c:pt>
                <c:pt idx="8719">
                  <c:v>#N/A</c:v>
                </c:pt>
                <c:pt idx="8720">
                  <c:v>#N/A</c:v>
                </c:pt>
                <c:pt idx="8721">
                  <c:v>#N/A</c:v>
                </c:pt>
                <c:pt idx="8722">
                  <c:v>#N/A</c:v>
                </c:pt>
                <c:pt idx="8723">
                  <c:v>#N/A</c:v>
                </c:pt>
                <c:pt idx="8724">
                  <c:v>#N/A</c:v>
                </c:pt>
                <c:pt idx="8725">
                  <c:v>#N/A</c:v>
                </c:pt>
                <c:pt idx="8726">
                  <c:v>#N/A</c:v>
                </c:pt>
                <c:pt idx="8727">
                  <c:v>#N/A</c:v>
                </c:pt>
                <c:pt idx="8728">
                  <c:v>#N/A</c:v>
                </c:pt>
                <c:pt idx="8729">
                  <c:v>#N/A</c:v>
                </c:pt>
                <c:pt idx="8730">
                  <c:v>#N/A</c:v>
                </c:pt>
                <c:pt idx="8731">
                  <c:v>#N/A</c:v>
                </c:pt>
                <c:pt idx="8732">
                  <c:v>#N/A</c:v>
                </c:pt>
                <c:pt idx="8733">
                  <c:v>#N/A</c:v>
                </c:pt>
                <c:pt idx="8734">
                  <c:v>#N/A</c:v>
                </c:pt>
                <c:pt idx="8735">
                  <c:v>#N/A</c:v>
                </c:pt>
                <c:pt idx="8736">
                  <c:v>#N/A</c:v>
                </c:pt>
                <c:pt idx="8737">
                  <c:v>#N/A</c:v>
                </c:pt>
                <c:pt idx="8738">
                  <c:v>#N/A</c:v>
                </c:pt>
                <c:pt idx="8739">
                  <c:v>#N/A</c:v>
                </c:pt>
                <c:pt idx="8740">
                  <c:v>#N/A</c:v>
                </c:pt>
                <c:pt idx="8741">
                  <c:v>#N/A</c:v>
                </c:pt>
                <c:pt idx="8742">
                  <c:v>#N/A</c:v>
                </c:pt>
                <c:pt idx="8743">
                  <c:v>#N/A</c:v>
                </c:pt>
                <c:pt idx="8744">
                  <c:v>#N/A</c:v>
                </c:pt>
                <c:pt idx="8745">
                  <c:v>#N/A</c:v>
                </c:pt>
                <c:pt idx="8746">
                  <c:v>#N/A</c:v>
                </c:pt>
                <c:pt idx="8747">
                  <c:v>#N/A</c:v>
                </c:pt>
                <c:pt idx="8748">
                  <c:v>#N/A</c:v>
                </c:pt>
                <c:pt idx="8749">
                  <c:v>#N/A</c:v>
                </c:pt>
                <c:pt idx="8750">
                  <c:v>#N/A</c:v>
                </c:pt>
                <c:pt idx="8751">
                  <c:v>#N/A</c:v>
                </c:pt>
                <c:pt idx="8752">
                  <c:v>#N/A</c:v>
                </c:pt>
                <c:pt idx="8753">
                  <c:v>#N/A</c:v>
                </c:pt>
                <c:pt idx="8754">
                  <c:v>#N/A</c:v>
                </c:pt>
                <c:pt idx="8755">
                  <c:v>#N/A</c:v>
                </c:pt>
                <c:pt idx="8756">
                  <c:v>#N/A</c:v>
                </c:pt>
                <c:pt idx="8757">
                  <c:v>#N/A</c:v>
                </c:pt>
                <c:pt idx="8758">
                  <c:v>#N/A</c:v>
                </c:pt>
                <c:pt idx="8759">
                  <c:v>#N/A</c:v>
                </c:pt>
                <c:pt idx="8760">
                  <c:v>#N/A</c:v>
                </c:pt>
                <c:pt idx="8761">
                  <c:v>#N/A</c:v>
                </c:pt>
                <c:pt idx="8762">
                  <c:v>#N/A</c:v>
                </c:pt>
                <c:pt idx="8763">
                  <c:v>#N/A</c:v>
                </c:pt>
                <c:pt idx="8764">
                  <c:v>#N/A</c:v>
                </c:pt>
                <c:pt idx="8765">
                  <c:v>#N/A</c:v>
                </c:pt>
                <c:pt idx="8766">
                  <c:v>#N/A</c:v>
                </c:pt>
                <c:pt idx="8767">
                  <c:v>#N/A</c:v>
                </c:pt>
                <c:pt idx="8768">
                  <c:v>#N/A</c:v>
                </c:pt>
                <c:pt idx="8769">
                  <c:v>#N/A</c:v>
                </c:pt>
                <c:pt idx="8770">
                  <c:v>#N/A</c:v>
                </c:pt>
                <c:pt idx="8771">
                  <c:v>#N/A</c:v>
                </c:pt>
                <c:pt idx="8772">
                  <c:v>#N/A</c:v>
                </c:pt>
                <c:pt idx="8773">
                  <c:v>#N/A</c:v>
                </c:pt>
                <c:pt idx="8774">
                  <c:v>#N/A</c:v>
                </c:pt>
                <c:pt idx="8775">
                  <c:v>#N/A</c:v>
                </c:pt>
                <c:pt idx="8776">
                  <c:v>#N/A</c:v>
                </c:pt>
                <c:pt idx="8777">
                  <c:v>#N/A</c:v>
                </c:pt>
                <c:pt idx="8778">
                  <c:v>#N/A</c:v>
                </c:pt>
                <c:pt idx="8779">
                  <c:v>#N/A</c:v>
                </c:pt>
                <c:pt idx="8780">
                  <c:v>#N/A</c:v>
                </c:pt>
                <c:pt idx="8781">
                  <c:v>#N/A</c:v>
                </c:pt>
                <c:pt idx="8782">
                  <c:v>#N/A</c:v>
                </c:pt>
                <c:pt idx="8783">
                  <c:v>#N/A</c:v>
                </c:pt>
                <c:pt idx="8784">
                  <c:v>#N/A</c:v>
                </c:pt>
                <c:pt idx="8785">
                  <c:v>#N/A</c:v>
                </c:pt>
                <c:pt idx="8786">
                  <c:v>#N/A</c:v>
                </c:pt>
                <c:pt idx="8787">
                  <c:v>#N/A</c:v>
                </c:pt>
                <c:pt idx="8788">
                  <c:v>#N/A</c:v>
                </c:pt>
                <c:pt idx="8789">
                  <c:v>#N/A</c:v>
                </c:pt>
                <c:pt idx="8790">
                  <c:v>#N/A</c:v>
                </c:pt>
                <c:pt idx="8791">
                  <c:v>#N/A</c:v>
                </c:pt>
                <c:pt idx="8792">
                  <c:v>#N/A</c:v>
                </c:pt>
                <c:pt idx="8793">
                  <c:v>#N/A</c:v>
                </c:pt>
                <c:pt idx="8794">
                  <c:v>#N/A</c:v>
                </c:pt>
                <c:pt idx="8795">
                  <c:v>#N/A</c:v>
                </c:pt>
                <c:pt idx="8796">
                  <c:v>#N/A</c:v>
                </c:pt>
                <c:pt idx="8797">
                  <c:v>#N/A</c:v>
                </c:pt>
                <c:pt idx="8798">
                  <c:v>#N/A</c:v>
                </c:pt>
                <c:pt idx="8799">
                  <c:v>#N/A</c:v>
                </c:pt>
                <c:pt idx="8800">
                  <c:v>#N/A</c:v>
                </c:pt>
                <c:pt idx="8801">
                  <c:v>#N/A</c:v>
                </c:pt>
                <c:pt idx="8802">
                  <c:v>#N/A</c:v>
                </c:pt>
                <c:pt idx="8803">
                  <c:v>#N/A</c:v>
                </c:pt>
                <c:pt idx="8804">
                  <c:v>#N/A</c:v>
                </c:pt>
                <c:pt idx="8805">
                  <c:v>#N/A</c:v>
                </c:pt>
                <c:pt idx="8806">
                  <c:v>#N/A</c:v>
                </c:pt>
                <c:pt idx="8807">
                  <c:v>#N/A</c:v>
                </c:pt>
                <c:pt idx="8808">
                  <c:v>#N/A</c:v>
                </c:pt>
                <c:pt idx="8809">
                  <c:v>#N/A</c:v>
                </c:pt>
                <c:pt idx="8810">
                  <c:v>#N/A</c:v>
                </c:pt>
                <c:pt idx="8811">
                  <c:v>#N/A</c:v>
                </c:pt>
                <c:pt idx="8812">
                  <c:v>#N/A</c:v>
                </c:pt>
                <c:pt idx="8813">
                  <c:v>#N/A</c:v>
                </c:pt>
                <c:pt idx="8814">
                  <c:v>#N/A</c:v>
                </c:pt>
                <c:pt idx="8815">
                  <c:v>#N/A</c:v>
                </c:pt>
                <c:pt idx="8816">
                  <c:v>#N/A</c:v>
                </c:pt>
                <c:pt idx="8817">
                  <c:v>#N/A</c:v>
                </c:pt>
                <c:pt idx="8818">
                  <c:v>#N/A</c:v>
                </c:pt>
                <c:pt idx="8819">
                  <c:v>#N/A</c:v>
                </c:pt>
                <c:pt idx="8820">
                  <c:v>#N/A</c:v>
                </c:pt>
                <c:pt idx="8821">
                  <c:v>#N/A</c:v>
                </c:pt>
                <c:pt idx="8822">
                  <c:v>#N/A</c:v>
                </c:pt>
                <c:pt idx="8823">
                  <c:v>#N/A</c:v>
                </c:pt>
                <c:pt idx="8824">
                  <c:v>#N/A</c:v>
                </c:pt>
                <c:pt idx="8825">
                  <c:v>#N/A</c:v>
                </c:pt>
                <c:pt idx="8826">
                  <c:v>#N/A</c:v>
                </c:pt>
                <c:pt idx="8827">
                  <c:v>#N/A</c:v>
                </c:pt>
                <c:pt idx="8828">
                  <c:v>#N/A</c:v>
                </c:pt>
                <c:pt idx="8829">
                  <c:v>#N/A</c:v>
                </c:pt>
                <c:pt idx="8830">
                  <c:v>#N/A</c:v>
                </c:pt>
                <c:pt idx="8831">
                  <c:v>#N/A</c:v>
                </c:pt>
                <c:pt idx="8832">
                  <c:v>#N/A</c:v>
                </c:pt>
                <c:pt idx="8833">
                  <c:v>#N/A</c:v>
                </c:pt>
                <c:pt idx="8834">
                  <c:v>#N/A</c:v>
                </c:pt>
                <c:pt idx="8835">
                  <c:v>#N/A</c:v>
                </c:pt>
                <c:pt idx="8836">
                  <c:v>#N/A</c:v>
                </c:pt>
                <c:pt idx="8837">
                  <c:v>#N/A</c:v>
                </c:pt>
                <c:pt idx="8838">
                  <c:v>#N/A</c:v>
                </c:pt>
                <c:pt idx="8839">
                  <c:v>#N/A</c:v>
                </c:pt>
                <c:pt idx="8840">
                  <c:v>#N/A</c:v>
                </c:pt>
                <c:pt idx="8841">
                  <c:v>#N/A</c:v>
                </c:pt>
                <c:pt idx="8842">
                  <c:v>#N/A</c:v>
                </c:pt>
                <c:pt idx="8843">
                  <c:v>#N/A</c:v>
                </c:pt>
                <c:pt idx="8844">
                  <c:v>#N/A</c:v>
                </c:pt>
                <c:pt idx="8845">
                  <c:v>#N/A</c:v>
                </c:pt>
                <c:pt idx="8846">
                  <c:v>#N/A</c:v>
                </c:pt>
                <c:pt idx="8847">
                  <c:v>#N/A</c:v>
                </c:pt>
                <c:pt idx="8848">
                  <c:v>#N/A</c:v>
                </c:pt>
                <c:pt idx="8849">
                  <c:v>#N/A</c:v>
                </c:pt>
                <c:pt idx="8850">
                  <c:v>#N/A</c:v>
                </c:pt>
                <c:pt idx="8851">
                  <c:v>#N/A</c:v>
                </c:pt>
                <c:pt idx="8852">
                  <c:v>#N/A</c:v>
                </c:pt>
                <c:pt idx="8853">
                  <c:v>#N/A</c:v>
                </c:pt>
                <c:pt idx="8854">
                  <c:v>#N/A</c:v>
                </c:pt>
                <c:pt idx="8855">
                  <c:v>#N/A</c:v>
                </c:pt>
                <c:pt idx="8856">
                  <c:v>#N/A</c:v>
                </c:pt>
                <c:pt idx="8857">
                  <c:v>#N/A</c:v>
                </c:pt>
                <c:pt idx="8858">
                  <c:v>#N/A</c:v>
                </c:pt>
                <c:pt idx="8859">
                  <c:v>#N/A</c:v>
                </c:pt>
                <c:pt idx="8860">
                  <c:v>#N/A</c:v>
                </c:pt>
                <c:pt idx="8861">
                  <c:v>#N/A</c:v>
                </c:pt>
                <c:pt idx="8862">
                  <c:v>#N/A</c:v>
                </c:pt>
                <c:pt idx="8863">
                  <c:v>#N/A</c:v>
                </c:pt>
                <c:pt idx="8864">
                  <c:v>#N/A</c:v>
                </c:pt>
                <c:pt idx="8865">
                  <c:v>#N/A</c:v>
                </c:pt>
                <c:pt idx="8866">
                  <c:v>#N/A</c:v>
                </c:pt>
                <c:pt idx="8867">
                  <c:v>#N/A</c:v>
                </c:pt>
                <c:pt idx="8868">
                  <c:v>#N/A</c:v>
                </c:pt>
                <c:pt idx="8869">
                  <c:v>#N/A</c:v>
                </c:pt>
                <c:pt idx="8870">
                  <c:v>#N/A</c:v>
                </c:pt>
                <c:pt idx="8871">
                  <c:v>#N/A</c:v>
                </c:pt>
                <c:pt idx="8872">
                  <c:v>#N/A</c:v>
                </c:pt>
                <c:pt idx="8873">
                  <c:v>#N/A</c:v>
                </c:pt>
                <c:pt idx="8874">
                  <c:v>#N/A</c:v>
                </c:pt>
                <c:pt idx="8875">
                  <c:v>#N/A</c:v>
                </c:pt>
                <c:pt idx="8876">
                  <c:v>#N/A</c:v>
                </c:pt>
                <c:pt idx="8877">
                  <c:v>#N/A</c:v>
                </c:pt>
                <c:pt idx="8878">
                  <c:v>#N/A</c:v>
                </c:pt>
                <c:pt idx="8879">
                  <c:v>#N/A</c:v>
                </c:pt>
                <c:pt idx="8880">
                  <c:v>#N/A</c:v>
                </c:pt>
                <c:pt idx="8881">
                  <c:v>#N/A</c:v>
                </c:pt>
                <c:pt idx="8882">
                  <c:v>#N/A</c:v>
                </c:pt>
                <c:pt idx="8883">
                  <c:v>#N/A</c:v>
                </c:pt>
                <c:pt idx="8884">
                  <c:v>#N/A</c:v>
                </c:pt>
                <c:pt idx="8885">
                  <c:v>#N/A</c:v>
                </c:pt>
                <c:pt idx="8886">
                  <c:v>#N/A</c:v>
                </c:pt>
                <c:pt idx="8887">
                  <c:v>#N/A</c:v>
                </c:pt>
                <c:pt idx="8888">
                  <c:v>#N/A</c:v>
                </c:pt>
                <c:pt idx="8889">
                  <c:v>#N/A</c:v>
                </c:pt>
                <c:pt idx="8890">
                  <c:v>#N/A</c:v>
                </c:pt>
                <c:pt idx="8891">
                  <c:v>#N/A</c:v>
                </c:pt>
                <c:pt idx="8892">
                  <c:v>#N/A</c:v>
                </c:pt>
                <c:pt idx="8893">
                  <c:v>#N/A</c:v>
                </c:pt>
                <c:pt idx="8894">
                  <c:v>#N/A</c:v>
                </c:pt>
                <c:pt idx="8895">
                  <c:v>#N/A</c:v>
                </c:pt>
                <c:pt idx="8896">
                  <c:v>#N/A</c:v>
                </c:pt>
                <c:pt idx="8897">
                  <c:v>#N/A</c:v>
                </c:pt>
                <c:pt idx="8898">
                  <c:v>#N/A</c:v>
                </c:pt>
                <c:pt idx="8899">
                  <c:v>#N/A</c:v>
                </c:pt>
                <c:pt idx="8900">
                  <c:v>#N/A</c:v>
                </c:pt>
                <c:pt idx="8901">
                  <c:v>#N/A</c:v>
                </c:pt>
                <c:pt idx="8902">
                  <c:v>#N/A</c:v>
                </c:pt>
                <c:pt idx="8903">
                  <c:v>#N/A</c:v>
                </c:pt>
                <c:pt idx="8904">
                  <c:v>#N/A</c:v>
                </c:pt>
                <c:pt idx="8905">
                  <c:v>#N/A</c:v>
                </c:pt>
                <c:pt idx="8906">
                  <c:v>#N/A</c:v>
                </c:pt>
                <c:pt idx="8907">
                  <c:v>#N/A</c:v>
                </c:pt>
                <c:pt idx="8908">
                  <c:v>#N/A</c:v>
                </c:pt>
                <c:pt idx="8909">
                  <c:v>#N/A</c:v>
                </c:pt>
                <c:pt idx="8910">
                  <c:v>#N/A</c:v>
                </c:pt>
                <c:pt idx="8911">
                  <c:v>#N/A</c:v>
                </c:pt>
                <c:pt idx="8912">
                  <c:v>#N/A</c:v>
                </c:pt>
                <c:pt idx="8913">
                  <c:v>#N/A</c:v>
                </c:pt>
                <c:pt idx="8914">
                  <c:v>#N/A</c:v>
                </c:pt>
                <c:pt idx="8915">
                  <c:v>#N/A</c:v>
                </c:pt>
                <c:pt idx="8916">
                  <c:v>#N/A</c:v>
                </c:pt>
                <c:pt idx="8917">
                  <c:v>#N/A</c:v>
                </c:pt>
                <c:pt idx="8918">
                  <c:v>#N/A</c:v>
                </c:pt>
                <c:pt idx="8919">
                  <c:v>#N/A</c:v>
                </c:pt>
                <c:pt idx="8920">
                  <c:v>#N/A</c:v>
                </c:pt>
                <c:pt idx="8921">
                  <c:v>#N/A</c:v>
                </c:pt>
                <c:pt idx="8922">
                  <c:v>#N/A</c:v>
                </c:pt>
                <c:pt idx="8923">
                  <c:v>#N/A</c:v>
                </c:pt>
                <c:pt idx="8924">
                  <c:v>#N/A</c:v>
                </c:pt>
                <c:pt idx="8925">
                  <c:v>#N/A</c:v>
                </c:pt>
                <c:pt idx="8926">
                  <c:v>#N/A</c:v>
                </c:pt>
                <c:pt idx="8927">
                  <c:v>#N/A</c:v>
                </c:pt>
                <c:pt idx="8928">
                  <c:v>#N/A</c:v>
                </c:pt>
                <c:pt idx="8929">
                  <c:v>#N/A</c:v>
                </c:pt>
                <c:pt idx="8930">
                  <c:v>#N/A</c:v>
                </c:pt>
                <c:pt idx="8931">
                  <c:v>#N/A</c:v>
                </c:pt>
                <c:pt idx="8932">
                  <c:v>#N/A</c:v>
                </c:pt>
                <c:pt idx="8933">
                  <c:v>#N/A</c:v>
                </c:pt>
                <c:pt idx="8934">
                  <c:v>#N/A</c:v>
                </c:pt>
                <c:pt idx="8935">
                  <c:v>#N/A</c:v>
                </c:pt>
                <c:pt idx="8936">
                  <c:v>#N/A</c:v>
                </c:pt>
                <c:pt idx="8937">
                  <c:v>#N/A</c:v>
                </c:pt>
                <c:pt idx="8938">
                  <c:v>#N/A</c:v>
                </c:pt>
                <c:pt idx="8939">
                  <c:v>#N/A</c:v>
                </c:pt>
                <c:pt idx="8940">
                  <c:v>#N/A</c:v>
                </c:pt>
                <c:pt idx="8941">
                  <c:v>#N/A</c:v>
                </c:pt>
                <c:pt idx="8942">
                  <c:v>#N/A</c:v>
                </c:pt>
                <c:pt idx="8943">
                  <c:v>#N/A</c:v>
                </c:pt>
                <c:pt idx="8944">
                  <c:v>#N/A</c:v>
                </c:pt>
                <c:pt idx="8945">
                  <c:v>#N/A</c:v>
                </c:pt>
                <c:pt idx="8946">
                  <c:v>#N/A</c:v>
                </c:pt>
                <c:pt idx="8947">
                  <c:v>#N/A</c:v>
                </c:pt>
                <c:pt idx="8948">
                  <c:v>#N/A</c:v>
                </c:pt>
                <c:pt idx="8949">
                  <c:v>#N/A</c:v>
                </c:pt>
                <c:pt idx="8950">
                  <c:v>#N/A</c:v>
                </c:pt>
                <c:pt idx="8951">
                  <c:v>#N/A</c:v>
                </c:pt>
                <c:pt idx="8952">
                  <c:v>#N/A</c:v>
                </c:pt>
                <c:pt idx="8953">
                  <c:v>#N/A</c:v>
                </c:pt>
                <c:pt idx="8954">
                  <c:v>#N/A</c:v>
                </c:pt>
                <c:pt idx="8955">
                  <c:v>#N/A</c:v>
                </c:pt>
                <c:pt idx="8956">
                  <c:v>#N/A</c:v>
                </c:pt>
                <c:pt idx="8957">
                  <c:v>#N/A</c:v>
                </c:pt>
                <c:pt idx="8958">
                  <c:v>#N/A</c:v>
                </c:pt>
                <c:pt idx="8959">
                  <c:v>#N/A</c:v>
                </c:pt>
                <c:pt idx="8960">
                  <c:v>#N/A</c:v>
                </c:pt>
                <c:pt idx="8961">
                  <c:v>#N/A</c:v>
                </c:pt>
                <c:pt idx="8962">
                  <c:v>#N/A</c:v>
                </c:pt>
                <c:pt idx="8963">
                  <c:v>#N/A</c:v>
                </c:pt>
                <c:pt idx="8964">
                  <c:v>#N/A</c:v>
                </c:pt>
                <c:pt idx="8965">
                  <c:v>#N/A</c:v>
                </c:pt>
                <c:pt idx="8966">
                  <c:v>#N/A</c:v>
                </c:pt>
                <c:pt idx="8967">
                  <c:v>#N/A</c:v>
                </c:pt>
                <c:pt idx="8968">
                  <c:v>#N/A</c:v>
                </c:pt>
                <c:pt idx="8969">
                  <c:v>#N/A</c:v>
                </c:pt>
                <c:pt idx="8970">
                  <c:v>#N/A</c:v>
                </c:pt>
                <c:pt idx="8971">
                  <c:v>#N/A</c:v>
                </c:pt>
                <c:pt idx="8972">
                  <c:v>#N/A</c:v>
                </c:pt>
                <c:pt idx="8973">
                  <c:v>#N/A</c:v>
                </c:pt>
                <c:pt idx="8974">
                  <c:v>#N/A</c:v>
                </c:pt>
                <c:pt idx="8975">
                  <c:v>#N/A</c:v>
                </c:pt>
                <c:pt idx="8976">
                  <c:v>#N/A</c:v>
                </c:pt>
                <c:pt idx="8977">
                  <c:v>#N/A</c:v>
                </c:pt>
                <c:pt idx="8978">
                  <c:v>#N/A</c:v>
                </c:pt>
                <c:pt idx="8979">
                  <c:v>#N/A</c:v>
                </c:pt>
                <c:pt idx="8980">
                  <c:v>#N/A</c:v>
                </c:pt>
                <c:pt idx="8981">
                  <c:v>#N/A</c:v>
                </c:pt>
                <c:pt idx="8982">
                  <c:v>#N/A</c:v>
                </c:pt>
                <c:pt idx="8983">
                  <c:v>#N/A</c:v>
                </c:pt>
                <c:pt idx="8984">
                  <c:v>#N/A</c:v>
                </c:pt>
                <c:pt idx="8985">
                  <c:v>#N/A</c:v>
                </c:pt>
                <c:pt idx="8986">
                  <c:v>#N/A</c:v>
                </c:pt>
                <c:pt idx="8987">
                  <c:v>#N/A</c:v>
                </c:pt>
                <c:pt idx="8988">
                  <c:v>#N/A</c:v>
                </c:pt>
                <c:pt idx="8989">
                  <c:v>#N/A</c:v>
                </c:pt>
                <c:pt idx="8990">
                  <c:v>#N/A</c:v>
                </c:pt>
                <c:pt idx="8991">
                  <c:v>#N/A</c:v>
                </c:pt>
                <c:pt idx="8992">
                  <c:v>#N/A</c:v>
                </c:pt>
                <c:pt idx="8993">
                  <c:v>#N/A</c:v>
                </c:pt>
                <c:pt idx="8994">
                  <c:v>#N/A</c:v>
                </c:pt>
                <c:pt idx="8995">
                  <c:v>#N/A</c:v>
                </c:pt>
                <c:pt idx="8996">
                  <c:v>#N/A</c:v>
                </c:pt>
                <c:pt idx="8997">
                  <c:v>#N/A</c:v>
                </c:pt>
                <c:pt idx="8998">
                  <c:v>#N/A</c:v>
                </c:pt>
                <c:pt idx="8999">
                  <c:v>#N/A</c:v>
                </c:pt>
                <c:pt idx="9000">
                  <c:v>#N/A</c:v>
                </c:pt>
                <c:pt idx="9001">
                  <c:v>#N/A</c:v>
                </c:pt>
                <c:pt idx="9002">
                  <c:v>#N/A</c:v>
                </c:pt>
                <c:pt idx="9003">
                  <c:v>#N/A</c:v>
                </c:pt>
                <c:pt idx="9004">
                  <c:v>#N/A</c:v>
                </c:pt>
                <c:pt idx="9005">
                  <c:v>#N/A</c:v>
                </c:pt>
                <c:pt idx="9006">
                  <c:v>#N/A</c:v>
                </c:pt>
                <c:pt idx="9007">
                  <c:v>#N/A</c:v>
                </c:pt>
                <c:pt idx="9008">
                  <c:v>#N/A</c:v>
                </c:pt>
                <c:pt idx="9009">
                  <c:v>#N/A</c:v>
                </c:pt>
                <c:pt idx="9010">
                  <c:v>#N/A</c:v>
                </c:pt>
                <c:pt idx="9011">
                  <c:v>#N/A</c:v>
                </c:pt>
                <c:pt idx="9012">
                  <c:v>#N/A</c:v>
                </c:pt>
                <c:pt idx="9013">
                  <c:v>#N/A</c:v>
                </c:pt>
                <c:pt idx="9014">
                  <c:v>#N/A</c:v>
                </c:pt>
                <c:pt idx="9015">
                  <c:v>#N/A</c:v>
                </c:pt>
                <c:pt idx="9016">
                  <c:v>#N/A</c:v>
                </c:pt>
                <c:pt idx="9017">
                  <c:v>#N/A</c:v>
                </c:pt>
                <c:pt idx="9018">
                  <c:v>#N/A</c:v>
                </c:pt>
                <c:pt idx="9019">
                  <c:v>#N/A</c:v>
                </c:pt>
                <c:pt idx="9020">
                  <c:v>#N/A</c:v>
                </c:pt>
                <c:pt idx="9021">
                  <c:v>#N/A</c:v>
                </c:pt>
                <c:pt idx="9022">
                  <c:v>#N/A</c:v>
                </c:pt>
                <c:pt idx="9023">
                  <c:v>#N/A</c:v>
                </c:pt>
                <c:pt idx="9024">
                  <c:v>#N/A</c:v>
                </c:pt>
                <c:pt idx="9025">
                  <c:v>#N/A</c:v>
                </c:pt>
                <c:pt idx="9026">
                  <c:v>#N/A</c:v>
                </c:pt>
                <c:pt idx="9027">
                  <c:v>#N/A</c:v>
                </c:pt>
                <c:pt idx="9028">
                  <c:v>#N/A</c:v>
                </c:pt>
                <c:pt idx="9029">
                  <c:v>#N/A</c:v>
                </c:pt>
                <c:pt idx="9030">
                  <c:v>#N/A</c:v>
                </c:pt>
                <c:pt idx="9031">
                  <c:v>#N/A</c:v>
                </c:pt>
                <c:pt idx="9032">
                  <c:v>#N/A</c:v>
                </c:pt>
                <c:pt idx="9033">
                  <c:v>#N/A</c:v>
                </c:pt>
                <c:pt idx="9034">
                  <c:v>#N/A</c:v>
                </c:pt>
                <c:pt idx="9035">
                  <c:v>#N/A</c:v>
                </c:pt>
                <c:pt idx="9036">
                  <c:v>#N/A</c:v>
                </c:pt>
                <c:pt idx="9037">
                  <c:v>#N/A</c:v>
                </c:pt>
                <c:pt idx="9038">
                  <c:v>#N/A</c:v>
                </c:pt>
                <c:pt idx="9039">
                  <c:v>#N/A</c:v>
                </c:pt>
                <c:pt idx="9040">
                  <c:v>#N/A</c:v>
                </c:pt>
                <c:pt idx="9041">
                  <c:v>#N/A</c:v>
                </c:pt>
                <c:pt idx="9042">
                  <c:v>#N/A</c:v>
                </c:pt>
                <c:pt idx="9043">
                  <c:v>#N/A</c:v>
                </c:pt>
                <c:pt idx="9044">
                  <c:v>#N/A</c:v>
                </c:pt>
                <c:pt idx="9045">
                  <c:v>#N/A</c:v>
                </c:pt>
                <c:pt idx="9046">
                  <c:v>#N/A</c:v>
                </c:pt>
                <c:pt idx="9047">
                  <c:v>#N/A</c:v>
                </c:pt>
                <c:pt idx="9048">
                  <c:v>#N/A</c:v>
                </c:pt>
                <c:pt idx="9049">
                  <c:v>#N/A</c:v>
                </c:pt>
                <c:pt idx="9050">
                  <c:v>#N/A</c:v>
                </c:pt>
                <c:pt idx="9051">
                  <c:v>#N/A</c:v>
                </c:pt>
                <c:pt idx="9052">
                  <c:v>#N/A</c:v>
                </c:pt>
                <c:pt idx="9053">
                  <c:v>#N/A</c:v>
                </c:pt>
                <c:pt idx="9054">
                  <c:v>#N/A</c:v>
                </c:pt>
                <c:pt idx="9055">
                  <c:v>#N/A</c:v>
                </c:pt>
                <c:pt idx="9056">
                  <c:v>#N/A</c:v>
                </c:pt>
                <c:pt idx="9057">
                  <c:v>#N/A</c:v>
                </c:pt>
                <c:pt idx="9058">
                  <c:v>#N/A</c:v>
                </c:pt>
                <c:pt idx="9059">
                  <c:v>#N/A</c:v>
                </c:pt>
                <c:pt idx="9060">
                  <c:v>#N/A</c:v>
                </c:pt>
                <c:pt idx="9061">
                  <c:v>#N/A</c:v>
                </c:pt>
                <c:pt idx="9062">
                  <c:v>#N/A</c:v>
                </c:pt>
                <c:pt idx="9063">
                  <c:v>#N/A</c:v>
                </c:pt>
                <c:pt idx="9064">
                  <c:v>#N/A</c:v>
                </c:pt>
                <c:pt idx="9065">
                  <c:v>#N/A</c:v>
                </c:pt>
                <c:pt idx="9066">
                  <c:v>#N/A</c:v>
                </c:pt>
                <c:pt idx="9067">
                  <c:v>#N/A</c:v>
                </c:pt>
                <c:pt idx="9068">
                  <c:v>#N/A</c:v>
                </c:pt>
                <c:pt idx="9069">
                  <c:v>#N/A</c:v>
                </c:pt>
                <c:pt idx="9070">
                  <c:v>#N/A</c:v>
                </c:pt>
                <c:pt idx="9071">
                  <c:v>#N/A</c:v>
                </c:pt>
                <c:pt idx="9072">
                  <c:v>#N/A</c:v>
                </c:pt>
                <c:pt idx="9073">
                  <c:v>#N/A</c:v>
                </c:pt>
                <c:pt idx="9074">
                  <c:v>#N/A</c:v>
                </c:pt>
                <c:pt idx="9075">
                  <c:v>#N/A</c:v>
                </c:pt>
                <c:pt idx="9076">
                  <c:v>#N/A</c:v>
                </c:pt>
                <c:pt idx="9077">
                  <c:v>#N/A</c:v>
                </c:pt>
                <c:pt idx="9078">
                  <c:v>#N/A</c:v>
                </c:pt>
                <c:pt idx="9079">
                  <c:v>#N/A</c:v>
                </c:pt>
                <c:pt idx="9080">
                  <c:v>#N/A</c:v>
                </c:pt>
                <c:pt idx="9081">
                  <c:v>#N/A</c:v>
                </c:pt>
                <c:pt idx="9082">
                  <c:v>#N/A</c:v>
                </c:pt>
                <c:pt idx="9083">
                  <c:v>#N/A</c:v>
                </c:pt>
                <c:pt idx="9084">
                  <c:v>#N/A</c:v>
                </c:pt>
                <c:pt idx="9085">
                  <c:v>#N/A</c:v>
                </c:pt>
                <c:pt idx="9086">
                  <c:v>#N/A</c:v>
                </c:pt>
                <c:pt idx="9087">
                  <c:v>#N/A</c:v>
                </c:pt>
                <c:pt idx="9088">
                  <c:v>#N/A</c:v>
                </c:pt>
                <c:pt idx="9089">
                  <c:v>#N/A</c:v>
                </c:pt>
                <c:pt idx="9090">
                  <c:v>#N/A</c:v>
                </c:pt>
                <c:pt idx="9091">
                  <c:v>#N/A</c:v>
                </c:pt>
                <c:pt idx="9092">
                  <c:v>#N/A</c:v>
                </c:pt>
                <c:pt idx="9093">
                  <c:v>#N/A</c:v>
                </c:pt>
                <c:pt idx="9094">
                  <c:v>#N/A</c:v>
                </c:pt>
                <c:pt idx="9095">
                  <c:v>#N/A</c:v>
                </c:pt>
                <c:pt idx="9096">
                  <c:v>#N/A</c:v>
                </c:pt>
                <c:pt idx="9097">
                  <c:v>#N/A</c:v>
                </c:pt>
                <c:pt idx="9098">
                  <c:v>#N/A</c:v>
                </c:pt>
                <c:pt idx="9099">
                  <c:v>#N/A</c:v>
                </c:pt>
                <c:pt idx="9100">
                  <c:v>#N/A</c:v>
                </c:pt>
                <c:pt idx="9101">
                  <c:v>#N/A</c:v>
                </c:pt>
                <c:pt idx="9102">
                  <c:v>#N/A</c:v>
                </c:pt>
                <c:pt idx="9103">
                  <c:v>3.4684931506849317</c:v>
                </c:pt>
                <c:pt idx="9104">
                  <c:v>#N/A</c:v>
                </c:pt>
                <c:pt idx="9105">
                  <c:v>#N/A</c:v>
                </c:pt>
                <c:pt idx="9106">
                  <c:v>#N/A</c:v>
                </c:pt>
                <c:pt idx="9107">
                  <c:v>#N/A</c:v>
                </c:pt>
                <c:pt idx="9108">
                  <c:v>#N/A</c:v>
                </c:pt>
                <c:pt idx="9109">
                  <c:v>#N/A</c:v>
                </c:pt>
                <c:pt idx="9110">
                  <c:v>#N/A</c:v>
                </c:pt>
                <c:pt idx="9111">
                  <c:v>#N/A</c:v>
                </c:pt>
                <c:pt idx="9112">
                  <c:v>#N/A</c:v>
                </c:pt>
                <c:pt idx="9113">
                  <c:v>#N/A</c:v>
                </c:pt>
                <c:pt idx="9114">
                  <c:v>#N/A</c:v>
                </c:pt>
                <c:pt idx="9115">
                  <c:v>#N/A</c:v>
                </c:pt>
                <c:pt idx="9116">
                  <c:v>#N/A</c:v>
                </c:pt>
                <c:pt idx="9117">
                  <c:v>#N/A</c:v>
                </c:pt>
                <c:pt idx="9118">
                  <c:v>#N/A</c:v>
                </c:pt>
                <c:pt idx="9119">
                  <c:v>#N/A</c:v>
                </c:pt>
                <c:pt idx="9120">
                  <c:v>#N/A</c:v>
                </c:pt>
                <c:pt idx="9121">
                  <c:v>#N/A</c:v>
                </c:pt>
                <c:pt idx="9122">
                  <c:v>#N/A</c:v>
                </c:pt>
                <c:pt idx="9123">
                  <c:v>#N/A</c:v>
                </c:pt>
                <c:pt idx="9124">
                  <c:v>#N/A</c:v>
                </c:pt>
                <c:pt idx="9125">
                  <c:v>#N/A</c:v>
                </c:pt>
                <c:pt idx="9126">
                  <c:v>#N/A</c:v>
                </c:pt>
                <c:pt idx="9127">
                  <c:v>#N/A</c:v>
                </c:pt>
                <c:pt idx="9128">
                  <c:v>#N/A</c:v>
                </c:pt>
                <c:pt idx="9129">
                  <c:v>#N/A</c:v>
                </c:pt>
                <c:pt idx="9130">
                  <c:v>#N/A</c:v>
                </c:pt>
                <c:pt idx="9131">
                  <c:v>#N/A</c:v>
                </c:pt>
                <c:pt idx="9132">
                  <c:v>#N/A</c:v>
                </c:pt>
                <c:pt idx="9133">
                  <c:v>#N/A</c:v>
                </c:pt>
                <c:pt idx="9134">
                  <c:v>#N/A</c:v>
                </c:pt>
                <c:pt idx="9135">
                  <c:v>#N/A</c:v>
                </c:pt>
                <c:pt idx="9136">
                  <c:v>#N/A</c:v>
                </c:pt>
                <c:pt idx="9137">
                  <c:v>#N/A</c:v>
                </c:pt>
                <c:pt idx="9138">
                  <c:v>#N/A</c:v>
                </c:pt>
                <c:pt idx="9139">
                  <c:v>#N/A</c:v>
                </c:pt>
                <c:pt idx="9140">
                  <c:v>#N/A</c:v>
                </c:pt>
                <c:pt idx="9141">
                  <c:v>#N/A</c:v>
                </c:pt>
                <c:pt idx="9142">
                  <c:v>#N/A</c:v>
                </c:pt>
                <c:pt idx="9143">
                  <c:v>#N/A</c:v>
                </c:pt>
                <c:pt idx="9144">
                  <c:v>#N/A</c:v>
                </c:pt>
                <c:pt idx="9145">
                  <c:v>#N/A</c:v>
                </c:pt>
                <c:pt idx="9146">
                  <c:v>#N/A</c:v>
                </c:pt>
                <c:pt idx="9147">
                  <c:v>#N/A</c:v>
                </c:pt>
                <c:pt idx="9148">
                  <c:v>#N/A</c:v>
                </c:pt>
                <c:pt idx="9149">
                  <c:v>#N/A</c:v>
                </c:pt>
                <c:pt idx="9150">
                  <c:v>#N/A</c:v>
                </c:pt>
                <c:pt idx="9151">
                  <c:v>#N/A</c:v>
                </c:pt>
                <c:pt idx="9152">
                  <c:v>#N/A</c:v>
                </c:pt>
                <c:pt idx="9153">
                  <c:v>#N/A</c:v>
                </c:pt>
                <c:pt idx="9154">
                  <c:v>#N/A</c:v>
                </c:pt>
                <c:pt idx="9155">
                  <c:v>#N/A</c:v>
                </c:pt>
                <c:pt idx="9156">
                  <c:v>#N/A</c:v>
                </c:pt>
                <c:pt idx="9157">
                  <c:v>#N/A</c:v>
                </c:pt>
                <c:pt idx="9158">
                  <c:v>#N/A</c:v>
                </c:pt>
                <c:pt idx="9159">
                  <c:v>#N/A</c:v>
                </c:pt>
                <c:pt idx="9160">
                  <c:v>#N/A</c:v>
                </c:pt>
                <c:pt idx="9161">
                  <c:v>#N/A</c:v>
                </c:pt>
                <c:pt idx="9162">
                  <c:v>#N/A</c:v>
                </c:pt>
                <c:pt idx="9163">
                  <c:v>#N/A</c:v>
                </c:pt>
                <c:pt idx="9164">
                  <c:v>#N/A</c:v>
                </c:pt>
                <c:pt idx="9165">
                  <c:v>#N/A</c:v>
                </c:pt>
                <c:pt idx="9166">
                  <c:v>#N/A</c:v>
                </c:pt>
                <c:pt idx="9167">
                  <c:v>#N/A</c:v>
                </c:pt>
                <c:pt idx="9168">
                  <c:v>#N/A</c:v>
                </c:pt>
                <c:pt idx="9169">
                  <c:v>#N/A</c:v>
                </c:pt>
                <c:pt idx="9170">
                  <c:v>#N/A</c:v>
                </c:pt>
                <c:pt idx="9171">
                  <c:v>#N/A</c:v>
                </c:pt>
                <c:pt idx="9172">
                  <c:v>#N/A</c:v>
                </c:pt>
                <c:pt idx="9173">
                  <c:v>#N/A</c:v>
                </c:pt>
                <c:pt idx="9174">
                  <c:v>#N/A</c:v>
                </c:pt>
                <c:pt idx="9175">
                  <c:v>#N/A</c:v>
                </c:pt>
                <c:pt idx="9176">
                  <c:v>#N/A</c:v>
                </c:pt>
                <c:pt idx="9177">
                  <c:v>#N/A</c:v>
                </c:pt>
                <c:pt idx="9178">
                  <c:v>#N/A</c:v>
                </c:pt>
                <c:pt idx="9179">
                  <c:v>#N/A</c:v>
                </c:pt>
                <c:pt idx="9180">
                  <c:v>#N/A</c:v>
                </c:pt>
                <c:pt idx="9181">
                  <c:v>#N/A</c:v>
                </c:pt>
                <c:pt idx="9182">
                  <c:v>#N/A</c:v>
                </c:pt>
                <c:pt idx="9183">
                  <c:v>#N/A</c:v>
                </c:pt>
                <c:pt idx="9184">
                  <c:v>#N/A</c:v>
                </c:pt>
                <c:pt idx="9185">
                  <c:v>#N/A</c:v>
                </c:pt>
                <c:pt idx="9186">
                  <c:v>#N/A</c:v>
                </c:pt>
                <c:pt idx="9187">
                  <c:v>#N/A</c:v>
                </c:pt>
                <c:pt idx="9188">
                  <c:v>#N/A</c:v>
                </c:pt>
                <c:pt idx="9189">
                  <c:v>#N/A</c:v>
                </c:pt>
                <c:pt idx="9190">
                  <c:v>#N/A</c:v>
                </c:pt>
                <c:pt idx="9191">
                  <c:v>#N/A</c:v>
                </c:pt>
                <c:pt idx="9192">
                  <c:v>#N/A</c:v>
                </c:pt>
                <c:pt idx="9193">
                  <c:v>#N/A</c:v>
                </c:pt>
                <c:pt idx="9194">
                  <c:v>#N/A</c:v>
                </c:pt>
                <c:pt idx="9195">
                  <c:v>#N/A</c:v>
                </c:pt>
                <c:pt idx="9196">
                  <c:v>#N/A</c:v>
                </c:pt>
                <c:pt idx="9197">
                  <c:v>#N/A</c:v>
                </c:pt>
                <c:pt idx="9198">
                  <c:v>#N/A</c:v>
                </c:pt>
                <c:pt idx="9199">
                  <c:v>#N/A</c:v>
                </c:pt>
                <c:pt idx="9200">
                  <c:v>#N/A</c:v>
                </c:pt>
                <c:pt idx="9201">
                  <c:v>#N/A</c:v>
                </c:pt>
                <c:pt idx="9202">
                  <c:v>#N/A</c:v>
                </c:pt>
                <c:pt idx="9203">
                  <c:v>#N/A</c:v>
                </c:pt>
                <c:pt idx="9204">
                  <c:v>#N/A</c:v>
                </c:pt>
                <c:pt idx="9205">
                  <c:v>#N/A</c:v>
                </c:pt>
                <c:pt idx="9206">
                  <c:v>#N/A</c:v>
                </c:pt>
                <c:pt idx="9207">
                  <c:v>#N/A</c:v>
                </c:pt>
                <c:pt idx="9208">
                  <c:v>#N/A</c:v>
                </c:pt>
                <c:pt idx="9209">
                  <c:v>#N/A</c:v>
                </c:pt>
                <c:pt idx="9210">
                  <c:v>#N/A</c:v>
                </c:pt>
                <c:pt idx="9211">
                  <c:v>#N/A</c:v>
                </c:pt>
                <c:pt idx="9212">
                  <c:v>#N/A</c:v>
                </c:pt>
                <c:pt idx="9213">
                  <c:v>#N/A</c:v>
                </c:pt>
                <c:pt idx="9214">
                  <c:v>#N/A</c:v>
                </c:pt>
                <c:pt idx="9215">
                  <c:v>#N/A</c:v>
                </c:pt>
                <c:pt idx="9216">
                  <c:v>#N/A</c:v>
                </c:pt>
                <c:pt idx="9217">
                  <c:v>#N/A</c:v>
                </c:pt>
                <c:pt idx="9218">
                  <c:v>#N/A</c:v>
                </c:pt>
                <c:pt idx="9219">
                  <c:v>#N/A</c:v>
                </c:pt>
                <c:pt idx="9220">
                  <c:v>#N/A</c:v>
                </c:pt>
                <c:pt idx="9221">
                  <c:v>#N/A</c:v>
                </c:pt>
                <c:pt idx="9222">
                  <c:v>#N/A</c:v>
                </c:pt>
                <c:pt idx="9223">
                  <c:v>#N/A</c:v>
                </c:pt>
                <c:pt idx="9224">
                  <c:v>#N/A</c:v>
                </c:pt>
                <c:pt idx="9225">
                  <c:v>#N/A</c:v>
                </c:pt>
                <c:pt idx="9226">
                  <c:v>#N/A</c:v>
                </c:pt>
                <c:pt idx="9227">
                  <c:v>#N/A</c:v>
                </c:pt>
                <c:pt idx="9228">
                  <c:v>#N/A</c:v>
                </c:pt>
                <c:pt idx="9229">
                  <c:v>#N/A</c:v>
                </c:pt>
                <c:pt idx="9230">
                  <c:v>#N/A</c:v>
                </c:pt>
                <c:pt idx="9231">
                  <c:v>#N/A</c:v>
                </c:pt>
                <c:pt idx="9232">
                  <c:v>#N/A</c:v>
                </c:pt>
                <c:pt idx="9233">
                  <c:v>#N/A</c:v>
                </c:pt>
                <c:pt idx="9234">
                  <c:v>#N/A</c:v>
                </c:pt>
                <c:pt idx="9235">
                  <c:v>#N/A</c:v>
                </c:pt>
                <c:pt idx="9236">
                  <c:v>#N/A</c:v>
                </c:pt>
                <c:pt idx="9237">
                  <c:v>#N/A</c:v>
                </c:pt>
                <c:pt idx="9238">
                  <c:v>#N/A</c:v>
                </c:pt>
                <c:pt idx="9239">
                  <c:v>#N/A</c:v>
                </c:pt>
                <c:pt idx="9240">
                  <c:v>#N/A</c:v>
                </c:pt>
                <c:pt idx="9241">
                  <c:v>#N/A</c:v>
                </c:pt>
                <c:pt idx="9242">
                  <c:v>#N/A</c:v>
                </c:pt>
                <c:pt idx="9243">
                  <c:v>#N/A</c:v>
                </c:pt>
                <c:pt idx="9244">
                  <c:v>#N/A</c:v>
                </c:pt>
                <c:pt idx="9245">
                  <c:v>#N/A</c:v>
                </c:pt>
                <c:pt idx="9246">
                  <c:v>#N/A</c:v>
                </c:pt>
                <c:pt idx="9247">
                  <c:v>#N/A</c:v>
                </c:pt>
                <c:pt idx="9248">
                  <c:v>#N/A</c:v>
                </c:pt>
                <c:pt idx="9249">
                  <c:v>#N/A</c:v>
                </c:pt>
                <c:pt idx="9250">
                  <c:v>#N/A</c:v>
                </c:pt>
                <c:pt idx="9251">
                  <c:v>#N/A</c:v>
                </c:pt>
                <c:pt idx="9252">
                  <c:v>#N/A</c:v>
                </c:pt>
                <c:pt idx="9253">
                  <c:v>#N/A</c:v>
                </c:pt>
                <c:pt idx="9254">
                  <c:v>#N/A</c:v>
                </c:pt>
                <c:pt idx="9255">
                  <c:v>#N/A</c:v>
                </c:pt>
                <c:pt idx="9256">
                  <c:v>#N/A</c:v>
                </c:pt>
                <c:pt idx="9257">
                  <c:v>#N/A</c:v>
                </c:pt>
                <c:pt idx="9258">
                  <c:v>#N/A</c:v>
                </c:pt>
                <c:pt idx="9259">
                  <c:v>#N/A</c:v>
                </c:pt>
                <c:pt idx="9260">
                  <c:v>#N/A</c:v>
                </c:pt>
                <c:pt idx="9261">
                  <c:v>#N/A</c:v>
                </c:pt>
                <c:pt idx="9262">
                  <c:v>#N/A</c:v>
                </c:pt>
                <c:pt idx="9263">
                  <c:v>#N/A</c:v>
                </c:pt>
                <c:pt idx="9264">
                  <c:v>#N/A</c:v>
                </c:pt>
                <c:pt idx="9265">
                  <c:v>#N/A</c:v>
                </c:pt>
                <c:pt idx="9266">
                  <c:v>#N/A</c:v>
                </c:pt>
                <c:pt idx="9267">
                  <c:v>#N/A</c:v>
                </c:pt>
                <c:pt idx="9268">
                  <c:v>#N/A</c:v>
                </c:pt>
                <c:pt idx="9269">
                  <c:v>#N/A</c:v>
                </c:pt>
                <c:pt idx="9270">
                  <c:v>#N/A</c:v>
                </c:pt>
                <c:pt idx="9271">
                  <c:v>#N/A</c:v>
                </c:pt>
                <c:pt idx="9272">
                  <c:v>#N/A</c:v>
                </c:pt>
                <c:pt idx="9273">
                  <c:v>#N/A</c:v>
                </c:pt>
                <c:pt idx="9274">
                  <c:v>#N/A</c:v>
                </c:pt>
                <c:pt idx="9275">
                  <c:v>#N/A</c:v>
                </c:pt>
                <c:pt idx="9276">
                  <c:v>#N/A</c:v>
                </c:pt>
                <c:pt idx="9277">
                  <c:v>#N/A</c:v>
                </c:pt>
                <c:pt idx="9278">
                  <c:v>#N/A</c:v>
                </c:pt>
                <c:pt idx="9279">
                  <c:v>#N/A</c:v>
                </c:pt>
                <c:pt idx="9280">
                  <c:v>#N/A</c:v>
                </c:pt>
                <c:pt idx="9281">
                  <c:v>#N/A</c:v>
                </c:pt>
                <c:pt idx="9282">
                  <c:v>#N/A</c:v>
                </c:pt>
                <c:pt idx="9283">
                  <c:v>#N/A</c:v>
                </c:pt>
                <c:pt idx="9284">
                  <c:v>#N/A</c:v>
                </c:pt>
                <c:pt idx="9285">
                  <c:v>#N/A</c:v>
                </c:pt>
                <c:pt idx="9286">
                  <c:v>#N/A</c:v>
                </c:pt>
                <c:pt idx="9287">
                  <c:v>#N/A</c:v>
                </c:pt>
                <c:pt idx="9288">
                  <c:v>#N/A</c:v>
                </c:pt>
                <c:pt idx="9289">
                  <c:v>#N/A</c:v>
                </c:pt>
                <c:pt idx="9290">
                  <c:v>#N/A</c:v>
                </c:pt>
                <c:pt idx="9291">
                  <c:v>#N/A</c:v>
                </c:pt>
                <c:pt idx="9292">
                  <c:v>#N/A</c:v>
                </c:pt>
                <c:pt idx="9293">
                  <c:v>#N/A</c:v>
                </c:pt>
                <c:pt idx="9294">
                  <c:v>#N/A</c:v>
                </c:pt>
                <c:pt idx="9295">
                  <c:v>#N/A</c:v>
                </c:pt>
                <c:pt idx="9296">
                  <c:v>#N/A</c:v>
                </c:pt>
                <c:pt idx="9297">
                  <c:v>#N/A</c:v>
                </c:pt>
                <c:pt idx="9298">
                  <c:v>#N/A</c:v>
                </c:pt>
                <c:pt idx="9299">
                  <c:v>#N/A</c:v>
                </c:pt>
                <c:pt idx="9300">
                  <c:v>#N/A</c:v>
                </c:pt>
                <c:pt idx="9301">
                  <c:v>#N/A</c:v>
                </c:pt>
                <c:pt idx="9302">
                  <c:v>#N/A</c:v>
                </c:pt>
                <c:pt idx="9303">
                  <c:v>#N/A</c:v>
                </c:pt>
                <c:pt idx="9304">
                  <c:v>#N/A</c:v>
                </c:pt>
                <c:pt idx="9305">
                  <c:v>#N/A</c:v>
                </c:pt>
                <c:pt idx="9306">
                  <c:v>#N/A</c:v>
                </c:pt>
                <c:pt idx="9307">
                  <c:v>#N/A</c:v>
                </c:pt>
                <c:pt idx="9308">
                  <c:v>#N/A</c:v>
                </c:pt>
                <c:pt idx="9309">
                  <c:v>#N/A</c:v>
                </c:pt>
                <c:pt idx="9310">
                  <c:v>#N/A</c:v>
                </c:pt>
                <c:pt idx="9311">
                  <c:v>#N/A</c:v>
                </c:pt>
                <c:pt idx="9312">
                  <c:v>#N/A</c:v>
                </c:pt>
                <c:pt idx="9313">
                  <c:v>#N/A</c:v>
                </c:pt>
                <c:pt idx="9314">
                  <c:v>#N/A</c:v>
                </c:pt>
                <c:pt idx="9315">
                  <c:v>#N/A</c:v>
                </c:pt>
                <c:pt idx="9316">
                  <c:v>#N/A</c:v>
                </c:pt>
                <c:pt idx="9317">
                  <c:v>#N/A</c:v>
                </c:pt>
                <c:pt idx="9318">
                  <c:v>#N/A</c:v>
                </c:pt>
                <c:pt idx="9319">
                  <c:v>#N/A</c:v>
                </c:pt>
                <c:pt idx="9320">
                  <c:v>#N/A</c:v>
                </c:pt>
                <c:pt idx="9321">
                  <c:v>#N/A</c:v>
                </c:pt>
                <c:pt idx="9322">
                  <c:v>#N/A</c:v>
                </c:pt>
                <c:pt idx="9323">
                  <c:v>#N/A</c:v>
                </c:pt>
                <c:pt idx="9324">
                  <c:v>#N/A</c:v>
                </c:pt>
                <c:pt idx="9325">
                  <c:v>#N/A</c:v>
                </c:pt>
                <c:pt idx="9326">
                  <c:v>#N/A</c:v>
                </c:pt>
                <c:pt idx="9327">
                  <c:v>#N/A</c:v>
                </c:pt>
                <c:pt idx="9328">
                  <c:v>#N/A</c:v>
                </c:pt>
                <c:pt idx="9329">
                  <c:v>#N/A</c:v>
                </c:pt>
                <c:pt idx="9330">
                  <c:v>#N/A</c:v>
                </c:pt>
                <c:pt idx="9331">
                  <c:v>#N/A</c:v>
                </c:pt>
                <c:pt idx="9332">
                  <c:v>#N/A</c:v>
                </c:pt>
                <c:pt idx="9333">
                  <c:v>#N/A</c:v>
                </c:pt>
                <c:pt idx="9334">
                  <c:v>#N/A</c:v>
                </c:pt>
                <c:pt idx="9335">
                  <c:v>#N/A</c:v>
                </c:pt>
                <c:pt idx="9336">
                  <c:v>#N/A</c:v>
                </c:pt>
                <c:pt idx="9337">
                  <c:v>#N/A</c:v>
                </c:pt>
                <c:pt idx="9338">
                  <c:v>#N/A</c:v>
                </c:pt>
                <c:pt idx="9339">
                  <c:v>#N/A</c:v>
                </c:pt>
                <c:pt idx="9340">
                  <c:v>#N/A</c:v>
                </c:pt>
                <c:pt idx="9341">
                  <c:v>#N/A</c:v>
                </c:pt>
                <c:pt idx="9342">
                  <c:v>#N/A</c:v>
                </c:pt>
                <c:pt idx="9343">
                  <c:v>#N/A</c:v>
                </c:pt>
                <c:pt idx="9344">
                  <c:v>#N/A</c:v>
                </c:pt>
                <c:pt idx="9345">
                  <c:v>#N/A</c:v>
                </c:pt>
                <c:pt idx="9346">
                  <c:v>#N/A</c:v>
                </c:pt>
                <c:pt idx="9347">
                  <c:v>#N/A</c:v>
                </c:pt>
                <c:pt idx="9348">
                  <c:v>#N/A</c:v>
                </c:pt>
                <c:pt idx="9349">
                  <c:v>#N/A</c:v>
                </c:pt>
                <c:pt idx="9350">
                  <c:v>#N/A</c:v>
                </c:pt>
                <c:pt idx="9351">
                  <c:v>#N/A</c:v>
                </c:pt>
                <c:pt idx="9352">
                  <c:v>#N/A</c:v>
                </c:pt>
                <c:pt idx="9353">
                  <c:v>#N/A</c:v>
                </c:pt>
                <c:pt idx="9354">
                  <c:v>#N/A</c:v>
                </c:pt>
                <c:pt idx="9355">
                  <c:v>#N/A</c:v>
                </c:pt>
                <c:pt idx="9356">
                  <c:v>#N/A</c:v>
                </c:pt>
                <c:pt idx="9357">
                  <c:v>#N/A</c:v>
                </c:pt>
                <c:pt idx="9358">
                  <c:v>#N/A</c:v>
                </c:pt>
                <c:pt idx="9359">
                  <c:v>#N/A</c:v>
                </c:pt>
                <c:pt idx="9360">
                  <c:v>#N/A</c:v>
                </c:pt>
                <c:pt idx="9361">
                  <c:v>#N/A</c:v>
                </c:pt>
                <c:pt idx="9362">
                  <c:v>#N/A</c:v>
                </c:pt>
                <c:pt idx="9363">
                  <c:v>#N/A</c:v>
                </c:pt>
                <c:pt idx="9364">
                  <c:v>#N/A</c:v>
                </c:pt>
                <c:pt idx="9365">
                  <c:v>#N/A</c:v>
                </c:pt>
                <c:pt idx="9366">
                  <c:v>#N/A</c:v>
                </c:pt>
                <c:pt idx="9367">
                  <c:v>#N/A</c:v>
                </c:pt>
                <c:pt idx="9368">
                  <c:v>#N/A</c:v>
                </c:pt>
                <c:pt idx="9369">
                  <c:v>#N/A</c:v>
                </c:pt>
                <c:pt idx="9370">
                  <c:v>#N/A</c:v>
                </c:pt>
                <c:pt idx="9371">
                  <c:v>#N/A</c:v>
                </c:pt>
                <c:pt idx="9372">
                  <c:v>#N/A</c:v>
                </c:pt>
                <c:pt idx="9373">
                  <c:v>#N/A</c:v>
                </c:pt>
                <c:pt idx="9374">
                  <c:v>#N/A</c:v>
                </c:pt>
                <c:pt idx="9375">
                  <c:v>#N/A</c:v>
                </c:pt>
                <c:pt idx="9376">
                  <c:v>#N/A</c:v>
                </c:pt>
                <c:pt idx="9377">
                  <c:v>#N/A</c:v>
                </c:pt>
                <c:pt idx="9378">
                  <c:v>#N/A</c:v>
                </c:pt>
                <c:pt idx="9379">
                  <c:v>#N/A</c:v>
                </c:pt>
                <c:pt idx="9380">
                  <c:v>#N/A</c:v>
                </c:pt>
                <c:pt idx="9381">
                  <c:v>#N/A</c:v>
                </c:pt>
                <c:pt idx="9382">
                  <c:v>#N/A</c:v>
                </c:pt>
                <c:pt idx="9383">
                  <c:v>#N/A</c:v>
                </c:pt>
                <c:pt idx="9384">
                  <c:v>#N/A</c:v>
                </c:pt>
                <c:pt idx="9385">
                  <c:v>#N/A</c:v>
                </c:pt>
                <c:pt idx="9386">
                  <c:v>#N/A</c:v>
                </c:pt>
                <c:pt idx="9387">
                  <c:v>#N/A</c:v>
                </c:pt>
                <c:pt idx="9388">
                  <c:v>#N/A</c:v>
                </c:pt>
                <c:pt idx="9389">
                  <c:v>#N/A</c:v>
                </c:pt>
                <c:pt idx="9390">
                  <c:v>#N/A</c:v>
                </c:pt>
                <c:pt idx="9391">
                  <c:v>#N/A</c:v>
                </c:pt>
                <c:pt idx="9392">
                  <c:v>#N/A</c:v>
                </c:pt>
                <c:pt idx="9393">
                  <c:v>#N/A</c:v>
                </c:pt>
                <c:pt idx="9394">
                  <c:v>#N/A</c:v>
                </c:pt>
                <c:pt idx="9395">
                  <c:v>#N/A</c:v>
                </c:pt>
                <c:pt idx="9396">
                  <c:v>#N/A</c:v>
                </c:pt>
                <c:pt idx="9397">
                  <c:v>#N/A</c:v>
                </c:pt>
                <c:pt idx="9398">
                  <c:v>#N/A</c:v>
                </c:pt>
                <c:pt idx="9399">
                  <c:v>#N/A</c:v>
                </c:pt>
                <c:pt idx="9400">
                  <c:v>#N/A</c:v>
                </c:pt>
                <c:pt idx="9401">
                  <c:v>#N/A</c:v>
                </c:pt>
                <c:pt idx="9402">
                  <c:v>#N/A</c:v>
                </c:pt>
                <c:pt idx="9403">
                  <c:v>#N/A</c:v>
                </c:pt>
                <c:pt idx="9404">
                  <c:v>#N/A</c:v>
                </c:pt>
                <c:pt idx="9405">
                  <c:v>#N/A</c:v>
                </c:pt>
                <c:pt idx="9406">
                  <c:v>#N/A</c:v>
                </c:pt>
                <c:pt idx="9407">
                  <c:v>#N/A</c:v>
                </c:pt>
                <c:pt idx="9408">
                  <c:v>#N/A</c:v>
                </c:pt>
                <c:pt idx="9409">
                  <c:v>#N/A</c:v>
                </c:pt>
                <c:pt idx="9410">
                  <c:v>#N/A</c:v>
                </c:pt>
                <c:pt idx="9411">
                  <c:v>#N/A</c:v>
                </c:pt>
                <c:pt idx="9412">
                  <c:v>#N/A</c:v>
                </c:pt>
                <c:pt idx="9413">
                  <c:v>#N/A</c:v>
                </c:pt>
                <c:pt idx="9414">
                  <c:v>#N/A</c:v>
                </c:pt>
                <c:pt idx="9415">
                  <c:v>#N/A</c:v>
                </c:pt>
                <c:pt idx="9416">
                  <c:v>#N/A</c:v>
                </c:pt>
                <c:pt idx="9417">
                  <c:v>#N/A</c:v>
                </c:pt>
                <c:pt idx="9418">
                  <c:v>#N/A</c:v>
                </c:pt>
                <c:pt idx="9419">
                  <c:v>#N/A</c:v>
                </c:pt>
                <c:pt idx="9420">
                  <c:v>#N/A</c:v>
                </c:pt>
                <c:pt idx="9421">
                  <c:v>#N/A</c:v>
                </c:pt>
                <c:pt idx="9422">
                  <c:v>#N/A</c:v>
                </c:pt>
                <c:pt idx="9423">
                  <c:v>#N/A</c:v>
                </c:pt>
                <c:pt idx="9424">
                  <c:v>#N/A</c:v>
                </c:pt>
                <c:pt idx="9425">
                  <c:v>#N/A</c:v>
                </c:pt>
                <c:pt idx="9426">
                  <c:v>#N/A</c:v>
                </c:pt>
                <c:pt idx="9427">
                  <c:v>#N/A</c:v>
                </c:pt>
                <c:pt idx="9428">
                  <c:v>#N/A</c:v>
                </c:pt>
                <c:pt idx="9429">
                  <c:v>#N/A</c:v>
                </c:pt>
                <c:pt idx="9430">
                  <c:v>#N/A</c:v>
                </c:pt>
                <c:pt idx="9431">
                  <c:v>#N/A</c:v>
                </c:pt>
                <c:pt idx="9432">
                  <c:v>#N/A</c:v>
                </c:pt>
                <c:pt idx="9433">
                  <c:v>#N/A</c:v>
                </c:pt>
                <c:pt idx="9434">
                  <c:v>#N/A</c:v>
                </c:pt>
                <c:pt idx="9435">
                  <c:v>#N/A</c:v>
                </c:pt>
                <c:pt idx="9436">
                  <c:v>#N/A</c:v>
                </c:pt>
                <c:pt idx="9437">
                  <c:v>#N/A</c:v>
                </c:pt>
                <c:pt idx="9438">
                  <c:v>#N/A</c:v>
                </c:pt>
                <c:pt idx="9439">
                  <c:v>#N/A</c:v>
                </c:pt>
                <c:pt idx="9440">
                  <c:v>#N/A</c:v>
                </c:pt>
                <c:pt idx="9441">
                  <c:v>#N/A</c:v>
                </c:pt>
                <c:pt idx="9442">
                  <c:v>#N/A</c:v>
                </c:pt>
                <c:pt idx="9443">
                  <c:v>#N/A</c:v>
                </c:pt>
                <c:pt idx="9444">
                  <c:v>#N/A</c:v>
                </c:pt>
                <c:pt idx="9445">
                  <c:v>#N/A</c:v>
                </c:pt>
                <c:pt idx="9446">
                  <c:v>#N/A</c:v>
                </c:pt>
                <c:pt idx="9447">
                  <c:v>#N/A</c:v>
                </c:pt>
                <c:pt idx="9448">
                  <c:v>#N/A</c:v>
                </c:pt>
                <c:pt idx="9449">
                  <c:v>#N/A</c:v>
                </c:pt>
                <c:pt idx="9450">
                  <c:v>#N/A</c:v>
                </c:pt>
                <c:pt idx="9451">
                  <c:v>#N/A</c:v>
                </c:pt>
                <c:pt idx="9452">
                  <c:v>#N/A</c:v>
                </c:pt>
                <c:pt idx="9453">
                  <c:v>#N/A</c:v>
                </c:pt>
                <c:pt idx="9454">
                  <c:v>#N/A</c:v>
                </c:pt>
                <c:pt idx="9455">
                  <c:v>#N/A</c:v>
                </c:pt>
                <c:pt idx="9456">
                  <c:v>#N/A</c:v>
                </c:pt>
                <c:pt idx="9457">
                  <c:v>#N/A</c:v>
                </c:pt>
                <c:pt idx="9458">
                  <c:v>#N/A</c:v>
                </c:pt>
                <c:pt idx="9459">
                  <c:v>#N/A</c:v>
                </c:pt>
                <c:pt idx="9460">
                  <c:v>#N/A</c:v>
                </c:pt>
                <c:pt idx="9461">
                  <c:v>#N/A</c:v>
                </c:pt>
                <c:pt idx="9462">
                  <c:v>#N/A</c:v>
                </c:pt>
                <c:pt idx="9463">
                  <c:v>#N/A</c:v>
                </c:pt>
                <c:pt idx="9464">
                  <c:v>#N/A</c:v>
                </c:pt>
                <c:pt idx="9465">
                  <c:v>#N/A</c:v>
                </c:pt>
                <c:pt idx="9466">
                  <c:v>#N/A</c:v>
                </c:pt>
                <c:pt idx="9467">
                  <c:v>#N/A</c:v>
                </c:pt>
                <c:pt idx="9468">
                  <c:v>#N/A</c:v>
                </c:pt>
                <c:pt idx="9469">
                  <c:v>#N/A</c:v>
                </c:pt>
                <c:pt idx="9470">
                  <c:v>#N/A</c:v>
                </c:pt>
                <c:pt idx="9471">
                  <c:v>#N/A</c:v>
                </c:pt>
                <c:pt idx="9472">
                  <c:v>#N/A</c:v>
                </c:pt>
                <c:pt idx="9473">
                  <c:v>#N/A</c:v>
                </c:pt>
                <c:pt idx="9474">
                  <c:v>#N/A</c:v>
                </c:pt>
                <c:pt idx="9475">
                  <c:v>#N/A</c:v>
                </c:pt>
                <c:pt idx="9476">
                  <c:v>#N/A</c:v>
                </c:pt>
                <c:pt idx="9477">
                  <c:v>#N/A</c:v>
                </c:pt>
                <c:pt idx="9478">
                  <c:v>#N/A</c:v>
                </c:pt>
                <c:pt idx="9479">
                  <c:v>#N/A</c:v>
                </c:pt>
                <c:pt idx="9480">
                  <c:v>#N/A</c:v>
                </c:pt>
                <c:pt idx="9481">
                  <c:v>#N/A</c:v>
                </c:pt>
                <c:pt idx="9482">
                  <c:v>#N/A</c:v>
                </c:pt>
                <c:pt idx="9483">
                  <c:v>#N/A</c:v>
                </c:pt>
                <c:pt idx="9484">
                  <c:v>#N/A</c:v>
                </c:pt>
                <c:pt idx="9485">
                  <c:v>#N/A</c:v>
                </c:pt>
                <c:pt idx="9486">
                  <c:v>#N/A</c:v>
                </c:pt>
                <c:pt idx="9487">
                  <c:v>#N/A</c:v>
                </c:pt>
                <c:pt idx="9488">
                  <c:v>#N/A</c:v>
                </c:pt>
                <c:pt idx="9489">
                  <c:v>#N/A</c:v>
                </c:pt>
                <c:pt idx="9490">
                  <c:v>#N/A</c:v>
                </c:pt>
                <c:pt idx="9491">
                  <c:v>#N/A</c:v>
                </c:pt>
                <c:pt idx="9492">
                  <c:v>#N/A</c:v>
                </c:pt>
                <c:pt idx="9493">
                  <c:v>#N/A</c:v>
                </c:pt>
                <c:pt idx="9494">
                  <c:v>#N/A</c:v>
                </c:pt>
                <c:pt idx="9495">
                  <c:v>#N/A</c:v>
                </c:pt>
                <c:pt idx="9496">
                  <c:v>#N/A</c:v>
                </c:pt>
                <c:pt idx="9497">
                  <c:v>#N/A</c:v>
                </c:pt>
                <c:pt idx="9498">
                  <c:v>#N/A</c:v>
                </c:pt>
                <c:pt idx="9499">
                  <c:v>#N/A</c:v>
                </c:pt>
                <c:pt idx="9500">
                  <c:v>#N/A</c:v>
                </c:pt>
                <c:pt idx="9501">
                  <c:v>#N/A</c:v>
                </c:pt>
                <c:pt idx="9502">
                  <c:v>#N/A</c:v>
                </c:pt>
                <c:pt idx="9503">
                  <c:v>#N/A</c:v>
                </c:pt>
                <c:pt idx="9504">
                  <c:v>#N/A</c:v>
                </c:pt>
                <c:pt idx="9505">
                  <c:v>#N/A</c:v>
                </c:pt>
                <c:pt idx="9506">
                  <c:v>#N/A</c:v>
                </c:pt>
                <c:pt idx="9507">
                  <c:v>#N/A</c:v>
                </c:pt>
                <c:pt idx="9508">
                  <c:v>#N/A</c:v>
                </c:pt>
                <c:pt idx="9509">
                  <c:v>#N/A</c:v>
                </c:pt>
                <c:pt idx="9510">
                  <c:v>#N/A</c:v>
                </c:pt>
                <c:pt idx="9511">
                  <c:v>#N/A</c:v>
                </c:pt>
                <c:pt idx="9512">
                  <c:v>#N/A</c:v>
                </c:pt>
                <c:pt idx="9513">
                  <c:v>#N/A</c:v>
                </c:pt>
                <c:pt idx="9514">
                  <c:v>#N/A</c:v>
                </c:pt>
                <c:pt idx="9515">
                  <c:v>#N/A</c:v>
                </c:pt>
                <c:pt idx="9516">
                  <c:v>#N/A</c:v>
                </c:pt>
                <c:pt idx="9517">
                  <c:v>#N/A</c:v>
                </c:pt>
                <c:pt idx="9518">
                  <c:v>#N/A</c:v>
                </c:pt>
                <c:pt idx="9519">
                  <c:v>#N/A</c:v>
                </c:pt>
                <c:pt idx="9520">
                  <c:v>#N/A</c:v>
                </c:pt>
                <c:pt idx="9521">
                  <c:v>#N/A</c:v>
                </c:pt>
                <c:pt idx="9522">
                  <c:v>#N/A</c:v>
                </c:pt>
                <c:pt idx="9523">
                  <c:v>#N/A</c:v>
                </c:pt>
                <c:pt idx="9524">
                  <c:v>#N/A</c:v>
                </c:pt>
                <c:pt idx="9525">
                  <c:v>#N/A</c:v>
                </c:pt>
                <c:pt idx="9526">
                  <c:v>#N/A</c:v>
                </c:pt>
                <c:pt idx="9527">
                  <c:v>#N/A</c:v>
                </c:pt>
                <c:pt idx="9528">
                  <c:v>#N/A</c:v>
                </c:pt>
                <c:pt idx="9529">
                  <c:v>#N/A</c:v>
                </c:pt>
                <c:pt idx="9530">
                  <c:v>#N/A</c:v>
                </c:pt>
                <c:pt idx="9531">
                  <c:v>#N/A</c:v>
                </c:pt>
                <c:pt idx="9532">
                  <c:v>#N/A</c:v>
                </c:pt>
                <c:pt idx="9533">
                  <c:v>#N/A</c:v>
                </c:pt>
                <c:pt idx="9534">
                  <c:v>#N/A</c:v>
                </c:pt>
                <c:pt idx="9535">
                  <c:v>#N/A</c:v>
                </c:pt>
                <c:pt idx="9536">
                  <c:v>#N/A</c:v>
                </c:pt>
                <c:pt idx="9537">
                  <c:v>#N/A</c:v>
                </c:pt>
                <c:pt idx="9538">
                  <c:v>#N/A</c:v>
                </c:pt>
                <c:pt idx="9539">
                  <c:v>#N/A</c:v>
                </c:pt>
                <c:pt idx="9540">
                  <c:v>#N/A</c:v>
                </c:pt>
                <c:pt idx="9541">
                  <c:v>#N/A</c:v>
                </c:pt>
                <c:pt idx="9542">
                  <c:v>#N/A</c:v>
                </c:pt>
                <c:pt idx="9543">
                  <c:v>#N/A</c:v>
                </c:pt>
                <c:pt idx="9544">
                  <c:v>#N/A</c:v>
                </c:pt>
                <c:pt idx="9545">
                  <c:v>#N/A</c:v>
                </c:pt>
                <c:pt idx="9546">
                  <c:v>#N/A</c:v>
                </c:pt>
                <c:pt idx="9547">
                  <c:v>#N/A</c:v>
                </c:pt>
                <c:pt idx="9548">
                  <c:v>#N/A</c:v>
                </c:pt>
                <c:pt idx="9549">
                  <c:v>#N/A</c:v>
                </c:pt>
                <c:pt idx="9550">
                  <c:v>#N/A</c:v>
                </c:pt>
                <c:pt idx="9551">
                  <c:v>#N/A</c:v>
                </c:pt>
                <c:pt idx="9552">
                  <c:v>#N/A</c:v>
                </c:pt>
                <c:pt idx="9553">
                  <c:v>#N/A</c:v>
                </c:pt>
                <c:pt idx="9554">
                  <c:v>#N/A</c:v>
                </c:pt>
                <c:pt idx="9555">
                  <c:v>#N/A</c:v>
                </c:pt>
                <c:pt idx="9556">
                  <c:v>#N/A</c:v>
                </c:pt>
                <c:pt idx="9557">
                  <c:v>#N/A</c:v>
                </c:pt>
                <c:pt idx="9558">
                  <c:v>#N/A</c:v>
                </c:pt>
                <c:pt idx="9559">
                  <c:v>#N/A</c:v>
                </c:pt>
                <c:pt idx="9560">
                  <c:v>#N/A</c:v>
                </c:pt>
                <c:pt idx="9561">
                  <c:v>#N/A</c:v>
                </c:pt>
                <c:pt idx="9562">
                  <c:v>#N/A</c:v>
                </c:pt>
                <c:pt idx="9563">
                  <c:v>#N/A</c:v>
                </c:pt>
                <c:pt idx="9564">
                  <c:v>#N/A</c:v>
                </c:pt>
                <c:pt idx="9565">
                  <c:v>#N/A</c:v>
                </c:pt>
                <c:pt idx="9566">
                  <c:v>#N/A</c:v>
                </c:pt>
                <c:pt idx="9567">
                  <c:v>#N/A</c:v>
                </c:pt>
                <c:pt idx="9568">
                  <c:v>#N/A</c:v>
                </c:pt>
                <c:pt idx="9569">
                  <c:v>#N/A</c:v>
                </c:pt>
                <c:pt idx="9570">
                  <c:v>#N/A</c:v>
                </c:pt>
                <c:pt idx="9571">
                  <c:v>#N/A</c:v>
                </c:pt>
                <c:pt idx="9572">
                  <c:v>#N/A</c:v>
                </c:pt>
                <c:pt idx="9573">
                  <c:v>#N/A</c:v>
                </c:pt>
                <c:pt idx="9574">
                  <c:v>#N/A</c:v>
                </c:pt>
                <c:pt idx="9575">
                  <c:v>#N/A</c:v>
                </c:pt>
                <c:pt idx="9576">
                  <c:v>#N/A</c:v>
                </c:pt>
                <c:pt idx="9577">
                  <c:v>#N/A</c:v>
                </c:pt>
                <c:pt idx="9578">
                  <c:v>#N/A</c:v>
                </c:pt>
                <c:pt idx="9579">
                  <c:v>#N/A</c:v>
                </c:pt>
                <c:pt idx="9580">
                  <c:v>#N/A</c:v>
                </c:pt>
                <c:pt idx="9581">
                  <c:v>#N/A</c:v>
                </c:pt>
                <c:pt idx="9582">
                  <c:v>#N/A</c:v>
                </c:pt>
                <c:pt idx="9583">
                  <c:v>#N/A</c:v>
                </c:pt>
                <c:pt idx="9584">
                  <c:v>#N/A</c:v>
                </c:pt>
                <c:pt idx="9585">
                  <c:v>#N/A</c:v>
                </c:pt>
                <c:pt idx="9586">
                  <c:v>#N/A</c:v>
                </c:pt>
                <c:pt idx="9587">
                  <c:v>#N/A</c:v>
                </c:pt>
                <c:pt idx="9588">
                  <c:v>#N/A</c:v>
                </c:pt>
                <c:pt idx="9589">
                  <c:v>#N/A</c:v>
                </c:pt>
                <c:pt idx="9590">
                  <c:v>#N/A</c:v>
                </c:pt>
                <c:pt idx="9591">
                  <c:v>#N/A</c:v>
                </c:pt>
                <c:pt idx="9592">
                  <c:v>#N/A</c:v>
                </c:pt>
                <c:pt idx="9593">
                  <c:v>#N/A</c:v>
                </c:pt>
                <c:pt idx="9594">
                  <c:v>#N/A</c:v>
                </c:pt>
                <c:pt idx="9595">
                  <c:v>#N/A</c:v>
                </c:pt>
                <c:pt idx="9596">
                  <c:v>#N/A</c:v>
                </c:pt>
                <c:pt idx="9597">
                  <c:v>#N/A</c:v>
                </c:pt>
                <c:pt idx="9598">
                  <c:v>#N/A</c:v>
                </c:pt>
                <c:pt idx="9599">
                  <c:v>#N/A</c:v>
                </c:pt>
                <c:pt idx="9600">
                  <c:v>#N/A</c:v>
                </c:pt>
                <c:pt idx="9601">
                  <c:v>#N/A</c:v>
                </c:pt>
                <c:pt idx="9602">
                  <c:v>#N/A</c:v>
                </c:pt>
                <c:pt idx="9603">
                  <c:v>#N/A</c:v>
                </c:pt>
                <c:pt idx="9604">
                  <c:v>#N/A</c:v>
                </c:pt>
                <c:pt idx="9605">
                  <c:v>#N/A</c:v>
                </c:pt>
                <c:pt idx="9606">
                  <c:v>#N/A</c:v>
                </c:pt>
                <c:pt idx="9607">
                  <c:v>#N/A</c:v>
                </c:pt>
                <c:pt idx="9608">
                  <c:v>#N/A</c:v>
                </c:pt>
                <c:pt idx="9609">
                  <c:v>#N/A</c:v>
                </c:pt>
                <c:pt idx="9610">
                  <c:v>#N/A</c:v>
                </c:pt>
                <c:pt idx="9611">
                  <c:v>#N/A</c:v>
                </c:pt>
                <c:pt idx="9612">
                  <c:v>#N/A</c:v>
                </c:pt>
                <c:pt idx="9613">
                  <c:v>#N/A</c:v>
                </c:pt>
                <c:pt idx="9614">
                  <c:v>#N/A</c:v>
                </c:pt>
                <c:pt idx="9615">
                  <c:v>#N/A</c:v>
                </c:pt>
                <c:pt idx="9616">
                  <c:v>#N/A</c:v>
                </c:pt>
                <c:pt idx="9617">
                  <c:v>#N/A</c:v>
                </c:pt>
                <c:pt idx="9618">
                  <c:v>#N/A</c:v>
                </c:pt>
                <c:pt idx="9619">
                  <c:v>#N/A</c:v>
                </c:pt>
                <c:pt idx="9620">
                  <c:v>#N/A</c:v>
                </c:pt>
                <c:pt idx="9621">
                  <c:v>#N/A</c:v>
                </c:pt>
                <c:pt idx="9622">
                  <c:v>#N/A</c:v>
                </c:pt>
                <c:pt idx="9623">
                  <c:v>#N/A</c:v>
                </c:pt>
                <c:pt idx="9624">
                  <c:v>#N/A</c:v>
                </c:pt>
                <c:pt idx="9625">
                  <c:v>#N/A</c:v>
                </c:pt>
                <c:pt idx="9626">
                  <c:v>#N/A</c:v>
                </c:pt>
                <c:pt idx="9627">
                  <c:v>#N/A</c:v>
                </c:pt>
                <c:pt idx="9628">
                  <c:v>#N/A</c:v>
                </c:pt>
                <c:pt idx="9629">
                  <c:v>#N/A</c:v>
                </c:pt>
                <c:pt idx="9630">
                  <c:v>#N/A</c:v>
                </c:pt>
                <c:pt idx="9631">
                  <c:v>#N/A</c:v>
                </c:pt>
                <c:pt idx="9632">
                  <c:v>#N/A</c:v>
                </c:pt>
                <c:pt idx="9633">
                  <c:v>#N/A</c:v>
                </c:pt>
                <c:pt idx="9634">
                  <c:v>#N/A</c:v>
                </c:pt>
                <c:pt idx="9635">
                  <c:v>#N/A</c:v>
                </c:pt>
                <c:pt idx="9636">
                  <c:v>#N/A</c:v>
                </c:pt>
                <c:pt idx="9637">
                  <c:v>#N/A</c:v>
                </c:pt>
                <c:pt idx="9638">
                  <c:v>#N/A</c:v>
                </c:pt>
                <c:pt idx="9639">
                  <c:v>#N/A</c:v>
                </c:pt>
                <c:pt idx="9640">
                  <c:v>#N/A</c:v>
                </c:pt>
                <c:pt idx="9641">
                  <c:v>#N/A</c:v>
                </c:pt>
                <c:pt idx="9642">
                  <c:v>#N/A</c:v>
                </c:pt>
                <c:pt idx="9643">
                  <c:v>#N/A</c:v>
                </c:pt>
                <c:pt idx="9644">
                  <c:v>#N/A</c:v>
                </c:pt>
                <c:pt idx="9645">
                  <c:v>#N/A</c:v>
                </c:pt>
                <c:pt idx="9646">
                  <c:v>#N/A</c:v>
                </c:pt>
                <c:pt idx="9647">
                  <c:v>#N/A</c:v>
                </c:pt>
                <c:pt idx="9648">
                  <c:v>#N/A</c:v>
                </c:pt>
                <c:pt idx="9649">
                  <c:v>#N/A</c:v>
                </c:pt>
                <c:pt idx="9650">
                  <c:v>#N/A</c:v>
                </c:pt>
                <c:pt idx="9651">
                  <c:v>#N/A</c:v>
                </c:pt>
                <c:pt idx="9652">
                  <c:v>#N/A</c:v>
                </c:pt>
                <c:pt idx="9653">
                  <c:v>#N/A</c:v>
                </c:pt>
                <c:pt idx="9654">
                  <c:v>#N/A</c:v>
                </c:pt>
                <c:pt idx="9655">
                  <c:v>#N/A</c:v>
                </c:pt>
                <c:pt idx="9656">
                  <c:v>#N/A</c:v>
                </c:pt>
                <c:pt idx="9657">
                  <c:v>#N/A</c:v>
                </c:pt>
                <c:pt idx="9658">
                  <c:v>#N/A</c:v>
                </c:pt>
                <c:pt idx="9659">
                  <c:v>#N/A</c:v>
                </c:pt>
                <c:pt idx="9660">
                  <c:v>#N/A</c:v>
                </c:pt>
                <c:pt idx="9661">
                  <c:v>#N/A</c:v>
                </c:pt>
                <c:pt idx="9662">
                  <c:v>#N/A</c:v>
                </c:pt>
                <c:pt idx="9663">
                  <c:v>#N/A</c:v>
                </c:pt>
                <c:pt idx="9664">
                  <c:v>#N/A</c:v>
                </c:pt>
                <c:pt idx="9665">
                  <c:v>#N/A</c:v>
                </c:pt>
                <c:pt idx="9666">
                  <c:v>#N/A</c:v>
                </c:pt>
                <c:pt idx="9667">
                  <c:v>#N/A</c:v>
                </c:pt>
                <c:pt idx="9668">
                  <c:v>#N/A</c:v>
                </c:pt>
                <c:pt idx="9669">
                  <c:v>#N/A</c:v>
                </c:pt>
                <c:pt idx="9670">
                  <c:v>#N/A</c:v>
                </c:pt>
                <c:pt idx="9671">
                  <c:v>#N/A</c:v>
                </c:pt>
                <c:pt idx="9672">
                  <c:v>#N/A</c:v>
                </c:pt>
                <c:pt idx="9673">
                  <c:v>#N/A</c:v>
                </c:pt>
                <c:pt idx="9674">
                  <c:v>#N/A</c:v>
                </c:pt>
                <c:pt idx="9675">
                  <c:v>#N/A</c:v>
                </c:pt>
                <c:pt idx="9676">
                  <c:v>#N/A</c:v>
                </c:pt>
                <c:pt idx="9677">
                  <c:v>#N/A</c:v>
                </c:pt>
                <c:pt idx="9678">
                  <c:v>#N/A</c:v>
                </c:pt>
                <c:pt idx="9679">
                  <c:v>#N/A</c:v>
                </c:pt>
                <c:pt idx="9680">
                  <c:v>#N/A</c:v>
                </c:pt>
                <c:pt idx="9681">
                  <c:v>#N/A</c:v>
                </c:pt>
                <c:pt idx="9682">
                  <c:v>#N/A</c:v>
                </c:pt>
                <c:pt idx="9683">
                  <c:v>#N/A</c:v>
                </c:pt>
                <c:pt idx="9684">
                  <c:v>#N/A</c:v>
                </c:pt>
                <c:pt idx="9685">
                  <c:v>#N/A</c:v>
                </c:pt>
                <c:pt idx="9686">
                  <c:v>#N/A</c:v>
                </c:pt>
                <c:pt idx="9687">
                  <c:v>#N/A</c:v>
                </c:pt>
                <c:pt idx="9688">
                  <c:v>#N/A</c:v>
                </c:pt>
                <c:pt idx="9689">
                  <c:v>#N/A</c:v>
                </c:pt>
                <c:pt idx="9690">
                  <c:v>#N/A</c:v>
                </c:pt>
                <c:pt idx="9691">
                  <c:v>#N/A</c:v>
                </c:pt>
                <c:pt idx="9692">
                  <c:v>#N/A</c:v>
                </c:pt>
                <c:pt idx="9693">
                  <c:v>#N/A</c:v>
                </c:pt>
                <c:pt idx="9694">
                  <c:v>#N/A</c:v>
                </c:pt>
                <c:pt idx="9695">
                  <c:v>#N/A</c:v>
                </c:pt>
                <c:pt idx="9696">
                  <c:v>#N/A</c:v>
                </c:pt>
                <c:pt idx="9697">
                  <c:v>#N/A</c:v>
                </c:pt>
                <c:pt idx="9698">
                  <c:v>#N/A</c:v>
                </c:pt>
                <c:pt idx="9699">
                  <c:v>#N/A</c:v>
                </c:pt>
                <c:pt idx="9700">
                  <c:v>#N/A</c:v>
                </c:pt>
                <c:pt idx="9701">
                  <c:v>#N/A</c:v>
                </c:pt>
                <c:pt idx="9702">
                  <c:v>#N/A</c:v>
                </c:pt>
                <c:pt idx="9703">
                  <c:v>#N/A</c:v>
                </c:pt>
                <c:pt idx="9704">
                  <c:v>#N/A</c:v>
                </c:pt>
                <c:pt idx="9705">
                  <c:v>#N/A</c:v>
                </c:pt>
                <c:pt idx="9706">
                  <c:v>#N/A</c:v>
                </c:pt>
                <c:pt idx="9707">
                  <c:v>#N/A</c:v>
                </c:pt>
                <c:pt idx="9708">
                  <c:v>#N/A</c:v>
                </c:pt>
                <c:pt idx="9709">
                  <c:v>#N/A</c:v>
                </c:pt>
                <c:pt idx="9710">
                  <c:v>#N/A</c:v>
                </c:pt>
                <c:pt idx="9711">
                  <c:v>#N/A</c:v>
                </c:pt>
                <c:pt idx="9712">
                  <c:v>#N/A</c:v>
                </c:pt>
                <c:pt idx="9713">
                  <c:v>#N/A</c:v>
                </c:pt>
                <c:pt idx="9714">
                  <c:v>#N/A</c:v>
                </c:pt>
                <c:pt idx="9715">
                  <c:v>#N/A</c:v>
                </c:pt>
                <c:pt idx="9716">
                  <c:v>#N/A</c:v>
                </c:pt>
                <c:pt idx="9717">
                  <c:v>#N/A</c:v>
                </c:pt>
                <c:pt idx="9718">
                  <c:v>#N/A</c:v>
                </c:pt>
                <c:pt idx="9719">
                  <c:v>#N/A</c:v>
                </c:pt>
                <c:pt idx="9720">
                  <c:v>#N/A</c:v>
                </c:pt>
                <c:pt idx="9721">
                  <c:v>#N/A</c:v>
                </c:pt>
                <c:pt idx="9722">
                  <c:v>#N/A</c:v>
                </c:pt>
                <c:pt idx="9723">
                  <c:v>#N/A</c:v>
                </c:pt>
                <c:pt idx="9724">
                  <c:v>#N/A</c:v>
                </c:pt>
                <c:pt idx="9725">
                  <c:v>#N/A</c:v>
                </c:pt>
                <c:pt idx="9726">
                  <c:v>#N/A</c:v>
                </c:pt>
                <c:pt idx="9727">
                  <c:v>#N/A</c:v>
                </c:pt>
                <c:pt idx="9728">
                  <c:v>#N/A</c:v>
                </c:pt>
                <c:pt idx="9729">
                  <c:v>#N/A</c:v>
                </c:pt>
                <c:pt idx="9730">
                  <c:v>#N/A</c:v>
                </c:pt>
                <c:pt idx="9731">
                  <c:v>#N/A</c:v>
                </c:pt>
                <c:pt idx="9732">
                  <c:v>#N/A</c:v>
                </c:pt>
                <c:pt idx="9733">
                  <c:v>#N/A</c:v>
                </c:pt>
                <c:pt idx="9734">
                  <c:v>#N/A</c:v>
                </c:pt>
                <c:pt idx="9735">
                  <c:v>#N/A</c:v>
                </c:pt>
                <c:pt idx="9736">
                  <c:v>#N/A</c:v>
                </c:pt>
                <c:pt idx="9737">
                  <c:v>#N/A</c:v>
                </c:pt>
                <c:pt idx="9738">
                  <c:v>#N/A</c:v>
                </c:pt>
                <c:pt idx="9739">
                  <c:v>#N/A</c:v>
                </c:pt>
                <c:pt idx="9740">
                  <c:v>#N/A</c:v>
                </c:pt>
                <c:pt idx="9741">
                  <c:v>#N/A</c:v>
                </c:pt>
                <c:pt idx="9742">
                  <c:v>#N/A</c:v>
                </c:pt>
                <c:pt idx="9743">
                  <c:v>#N/A</c:v>
                </c:pt>
                <c:pt idx="9744">
                  <c:v>#N/A</c:v>
                </c:pt>
                <c:pt idx="9745">
                  <c:v>#N/A</c:v>
                </c:pt>
                <c:pt idx="9746">
                  <c:v>#N/A</c:v>
                </c:pt>
                <c:pt idx="9747">
                  <c:v>#N/A</c:v>
                </c:pt>
                <c:pt idx="9748">
                  <c:v>#N/A</c:v>
                </c:pt>
                <c:pt idx="9749">
                  <c:v>#N/A</c:v>
                </c:pt>
                <c:pt idx="9750">
                  <c:v>#N/A</c:v>
                </c:pt>
                <c:pt idx="9751">
                  <c:v>#N/A</c:v>
                </c:pt>
                <c:pt idx="9752">
                  <c:v>#N/A</c:v>
                </c:pt>
                <c:pt idx="9753">
                  <c:v>#N/A</c:v>
                </c:pt>
                <c:pt idx="9754">
                  <c:v>3.5863013698630137</c:v>
                </c:pt>
                <c:pt idx="9755">
                  <c:v>3.5863013698630137</c:v>
                </c:pt>
                <c:pt idx="9756">
                  <c:v>#N/A</c:v>
                </c:pt>
                <c:pt idx="9757">
                  <c:v>#N/A</c:v>
                </c:pt>
                <c:pt idx="9758">
                  <c:v>#N/A</c:v>
                </c:pt>
                <c:pt idx="9759">
                  <c:v>#N/A</c:v>
                </c:pt>
                <c:pt idx="9760">
                  <c:v>#N/A</c:v>
                </c:pt>
                <c:pt idx="9761">
                  <c:v>#N/A</c:v>
                </c:pt>
                <c:pt idx="9762">
                  <c:v>#N/A</c:v>
                </c:pt>
                <c:pt idx="9763">
                  <c:v>#N/A</c:v>
                </c:pt>
                <c:pt idx="9764">
                  <c:v>#N/A</c:v>
                </c:pt>
                <c:pt idx="9765">
                  <c:v>#N/A</c:v>
                </c:pt>
                <c:pt idx="9766">
                  <c:v>#N/A</c:v>
                </c:pt>
                <c:pt idx="9767">
                  <c:v>#N/A</c:v>
                </c:pt>
                <c:pt idx="9768">
                  <c:v>#N/A</c:v>
                </c:pt>
                <c:pt idx="9769">
                  <c:v>#N/A</c:v>
                </c:pt>
                <c:pt idx="9770">
                  <c:v>#N/A</c:v>
                </c:pt>
                <c:pt idx="9771">
                  <c:v>#N/A</c:v>
                </c:pt>
                <c:pt idx="9772">
                  <c:v>#N/A</c:v>
                </c:pt>
                <c:pt idx="9773">
                  <c:v>#N/A</c:v>
                </c:pt>
                <c:pt idx="9774">
                  <c:v>#N/A</c:v>
                </c:pt>
                <c:pt idx="9775">
                  <c:v>#N/A</c:v>
                </c:pt>
                <c:pt idx="9776">
                  <c:v>#N/A</c:v>
                </c:pt>
                <c:pt idx="9777">
                  <c:v>#N/A</c:v>
                </c:pt>
                <c:pt idx="9778">
                  <c:v>#N/A</c:v>
                </c:pt>
                <c:pt idx="9779">
                  <c:v>#N/A</c:v>
                </c:pt>
                <c:pt idx="9780">
                  <c:v>#N/A</c:v>
                </c:pt>
                <c:pt idx="9781">
                  <c:v>#N/A</c:v>
                </c:pt>
                <c:pt idx="9782">
                  <c:v>#N/A</c:v>
                </c:pt>
                <c:pt idx="9783">
                  <c:v>#N/A</c:v>
                </c:pt>
                <c:pt idx="9784">
                  <c:v>#N/A</c:v>
                </c:pt>
                <c:pt idx="9785">
                  <c:v>#N/A</c:v>
                </c:pt>
                <c:pt idx="9786">
                  <c:v>#N/A</c:v>
                </c:pt>
                <c:pt idx="9787">
                  <c:v>#N/A</c:v>
                </c:pt>
                <c:pt idx="9788">
                  <c:v>#N/A</c:v>
                </c:pt>
                <c:pt idx="9789">
                  <c:v>#N/A</c:v>
                </c:pt>
                <c:pt idx="9790">
                  <c:v>#N/A</c:v>
                </c:pt>
                <c:pt idx="9791">
                  <c:v>#N/A</c:v>
                </c:pt>
                <c:pt idx="9792">
                  <c:v>#N/A</c:v>
                </c:pt>
                <c:pt idx="9793">
                  <c:v>#N/A</c:v>
                </c:pt>
                <c:pt idx="9794">
                  <c:v>#N/A</c:v>
                </c:pt>
                <c:pt idx="9795">
                  <c:v>#N/A</c:v>
                </c:pt>
                <c:pt idx="9796">
                  <c:v>#N/A</c:v>
                </c:pt>
                <c:pt idx="9797">
                  <c:v>#N/A</c:v>
                </c:pt>
                <c:pt idx="9798">
                  <c:v>#N/A</c:v>
                </c:pt>
                <c:pt idx="9799">
                  <c:v>#N/A</c:v>
                </c:pt>
                <c:pt idx="9800">
                  <c:v>#N/A</c:v>
                </c:pt>
                <c:pt idx="9801">
                  <c:v>#N/A</c:v>
                </c:pt>
                <c:pt idx="9802">
                  <c:v>#N/A</c:v>
                </c:pt>
                <c:pt idx="9803">
                  <c:v>#N/A</c:v>
                </c:pt>
                <c:pt idx="9804">
                  <c:v>#N/A</c:v>
                </c:pt>
                <c:pt idx="9805">
                  <c:v>#N/A</c:v>
                </c:pt>
                <c:pt idx="9806">
                  <c:v>#N/A</c:v>
                </c:pt>
                <c:pt idx="9807">
                  <c:v>#N/A</c:v>
                </c:pt>
                <c:pt idx="9808">
                  <c:v>#N/A</c:v>
                </c:pt>
                <c:pt idx="9809">
                  <c:v>#N/A</c:v>
                </c:pt>
                <c:pt idx="9810">
                  <c:v>#N/A</c:v>
                </c:pt>
                <c:pt idx="9811">
                  <c:v>#N/A</c:v>
                </c:pt>
                <c:pt idx="9812">
                  <c:v>#N/A</c:v>
                </c:pt>
                <c:pt idx="9813">
                  <c:v>#N/A</c:v>
                </c:pt>
                <c:pt idx="9814">
                  <c:v>#N/A</c:v>
                </c:pt>
                <c:pt idx="9815">
                  <c:v>#N/A</c:v>
                </c:pt>
                <c:pt idx="9816">
                  <c:v>#N/A</c:v>
                </c:pt>
                <c:pt idx="9817">
                  <c:v>#N/A</c:v>
                </c:pt>
                <c:pt idx="9818">
                  <c:v>#N/A</c:v>
                </c:pt>
                <c:pt idx="9819">
                  <c:v>#N/A</c:v>
                </c:pt>
                <c:pt idx="9820">
                  <c:v>#N/A</c:v>
                </c:pt>
                <c:pt idx="9821">
                  <c:v>#N/A</c:v>
                </c:pt>
                <c:pt idx="9822">
                  <c:v>#N/A</c:v>
                </c:pt>
                <c:pt idx="9823">
                  <c:v>#N/A</c:v>
                </c:pt>
                <c:pt idx="9824">
                  <c:v>#N/A</c:v>
                </c:pt>
                <c:pt idx="9825">
                  <c:v>#N/A</c:v>
                </c:pt>
                <c:pt idx="9826">
                  <c:v>#N/A</c:v>
                </c:pt>
                <c:pt idx="9827">
                  <c:v>#N/A</c:v>
                </c:pt>
                <c:pt idx="9828">
                  <c:v>#N/A</c:v>
                </c:pt>
                <c:pt idx="9829">
                  <c:v>#N/A</c:v>
                </c:pt>
                <c:pt idx="9830">
                  <c:v>#N/A</c:v>
                </c:pt>
                <c:pt idx="9831">
                  <c:v>#N/A</c:v>
                </c:pt>
                <c:pt idx="9832">
                  <c:v>#N/A</c:v>
                </c:pt>
                <c:pt idx="9833">
                  <c:v>#N/A</c:v>
                </c:pt>
                <c:pt idx="9834">
                  <c:v>#N/A</c:v>
                </c:pt>
                <c:pt idx="9835">
                  <c:v>#N/A</c:v>
                </c:pt>
                <c:pt idx="9836">
                  <c:v>#N/A</c:v>
                </c:pt>
                <c:pt idx="9837">
                  <c:v>#N/A</c:v>
                </c:pt>
                <c:pt idx="9838">
                  <c:v>#N/A</c:v>
                </c:pt>
                <c:pt idx="9839">
                  <c:v>#N/A</c:v>
                </c:pt>
                <c:pt idx="9840">
                  <c:v>#N/A</c:v>
                </c:pt>
                <c:pt idx="9841">
                  <c:v>#N/A</c:v>
                </c:pt>
                <c:pt idx="9842">
                  <c:v>#N/A</c:v>
                </c:pt>
                <c:pt idx="9843">
                  <c:v>#N/A</c:v>
                </c:pt>
                <c:pt idx="9844">
                  <c:v>#N/A</c:v>
                </c:pt>
                <c:pt idx="9845">
                  <c:v>#N/A</c:v>
                </c:pt>
                <c:pt idx="9846">
                  <c:v>#N/A</c:v>
                </c:pt>
                <c:pt idx="9847">
                  <c:v>#N/A</c:v>
                </c:pt>
                <c:pt idx="9848">
                  <c:v>#N/A</c:v>
                </c:pt>
                <c:pt idx="9849">
                  <c:v>#N/A</c:v>
                </c:pt>
                <c:pt idx="9850">
                  <c:v>#N/A</c:v>
                </c:pt>
                <c:pt idx="9851">
                  <c:v>#N/A</c:v>
                </c:pt>
                <c:pt idx="9852">
                  <c:v>#N/A</c:v>
                </c:pt>
                <c:pt idx="9853">
                  <c:v>#N/A</c:v>
                </c:pt>
                <c:pt idx="9854">
                  <c:v>#N/A</c:v>
                </c:pt>
                <c:pt idx="9855">
                  <c:v>#N/A</c:v>
                </c:pt>
                <c:pt idx="9856">
                  <c:v>#N/A</c:v>
                </c:pt>
                <c:pt idx="9857">
                  <c:v>#N/A</c:v>
                </c:pt>
                <c:pt idx="9858">
                  <c:v>#N/A</c:v>
                </c:pt>
                <c:pt idx="9859">
                  <c:v>#N/A</c:v>
                </c:pt>
                <c:pt idx="9860">
                  <c:v>#N/A</c:v>
                </c:pt>
                <c:pt idx="9861">
                  <c:v>#N/A</c:v>
                </c:pt>
                <c:pt idx="9862">
                  <c:v>#N/A</c:v>
                </c:pt>
                <c:pt idx="9863">
                  <c:v>#N/A</c:v>
                </c:pt>
                <c:pt idx="9864">
                  <c:v>#N/A</c:v>
                </c:pt>
                <c:pt idx="9865">
                  <c:v>#N/A</c:v>
                </c:pt>
                <c:pt idx="9866">
                  <c:v>#N/A</c:v>
                </c:pt>
                <c:pt idx="9867">
                  <c:v>#N/A</c:v>
                </c:pt>
                <c:pt idx="9868">
                  <c:v>#N/A</c:v>
                </c:pt>
                <c:pt idx="9869">
                  <c:v>#N/A</c:v>
                </c:pt>
                <c:pt idx="9870">
                  <c:v>#N/A</c:v>
                </c:pt>
                <c:pt idx="9871">
                  <c:v>#N/A</c:v>
                </c:pt>
                <c:pt idx="9872">
                  <c:v>#N/A</c:v>
                </c:pt>
                <c:pt idx="9873">
                  <c:v>#N/A</c:v>
                </c:pt>
                <c:pt idx="9874">
                  <c:v>#N/A</c:v>
                </c:pt>
                <c:pt idx="9875">
                  <c:v>#N/A</c:v>
                </c:pt>
                <c:pt idx="9876">
                  <c:v>#N/A</c:v>
                </c:pt>
                <c:pt idx="9877">
                  <c:v>#N/A</c:v>
                </c:pt>
                <c:pt idx="9878">
                  <c:v>#N/A</c:v>
                </c:pt>
                <c:pt idx="9879">
                  <c:v>#N/A</c:v>
                </c:pt>
                <c:pt idx="9880">
                  <c:v>#N/A</c:v>
                </c:pt>
                <c:pt idx="9881">
                  <c:v>#N/A</c:v>
                </c:pt>
                <c:pt idx="9882">
                  <c:v>#N/A</c:v>
                </c:pt>
                <c:pt idx="9883">
                  <c:v>#N/A</c:v>
                </c:pt>
                <c:pt idx="9884">
                  <c:v>#N/A</c:v>
                </c:pt>
                <c:pt idx="9885">
                  <c:v>#N/A</c:v>
                </c:pt>
                <c:pt idx="9886">
                  <c:v>#N/A</c:v>
                </c:pt>
                <c:pt idx="9887">
                  <c:v>#N/A</c:v>
                </c:pt>
                <c:pt idx="9888">
                  <c:v>#N/A</c:v>
                </c:pt>
                <c:pt idx="9889">
                  <c:v>#N/A</c:v>
                </c:pt>
                <c:pt idx="9890">
                  <c:v>#N/A</c:v>
                </c:pt>
                <c:pt idx="9891">
                  <c:v>#N/A</c:v>
                </c:pt>
                <c:pt idx="9892">
                  <c:v>#N/A</c:v>
                </c:pt>
                <c:pt idx="9893">
                  <c:v>#N/A</c:v>
                </c:pt>
                <c:pt idx="9894">
                  <c:v>#N/A</c:v>
                </c:pt>
                <c:pt idx="9895">
                  <c:v>#N/A</c:v>
                </c:pt>
                <c:pt idx="9896">
                  <c:v>#N/A</c:v>
                </c:pt>
                <c:pt idx="9897">
                  <c:v>#N/A</c:v>
                </c:pt>
                <c:pt idx="9898">
                  <c:v>#N/A</c:v>
                </c:pt>
                <c:pt idx="9899">
                  <c:v>#N/A</c:v>
                </c:pt>
                <c:pt idx="9900">
                  <c:v>#N/A</c:v>
                </c:pt>
                <c:pt idx="9901">
                  <c:v>#N/A</c:v>
                </c:pt>
                <c:pt idx="9902">
                  <c:v>#N/A</c:v>
                </c:pt>
                <c:pt idx="9903">
                  <c:v>#N/A</c:v>
                </c:pt>
                <c:pt idx="9904">
                  <c:v>#N/A</c:v>
                </c:pt>
                <c:pt idx="9905">
                  <c:v>#N/A</c:v>
                </c:pt>
                <c:pt idx="9906">
                  <c:v>#N/A</c:v>
                </c:pt>
                <c:pt idx="9907">
                  <c:v>#N/A</c:v>
                </c:pt>
                <c:pt idx="9908">
                  <c:v>#N/A</c:v>
                </c:pt>
                <c:pt idx="9909">
                  <c:v>#N/A</c:v>
                </c:pt>
                <c:pt idx="9910">
                  <c:v>#N/A</c:v>
                </c:pt>
                <c:pt idx="9911">
                  <c:v>#N/A</c:v>
                </c:pt>
                <c:pt idx="9912">
                  <c:v>#N/A</c:v>
                </c:pt>
                <c:pt idx="9913">
                  <c:v>#N/A</c:v>
                </c:pt>
                <c:pt idx="9914">
                  <c:v>#N/A</c:v>
                </c:pt>
                <c:pt idx="9915">
                  <c:v>#N/A</c:v>
                </c:pt>
                <c:pt idx="9916">
                  <c:v>#N/A</c:v>
                </c:pt>
                <c:pt idx="9917">
                  <c:v>#N/A</c:v>
                </c:pt>
                <c:pt idx="9918">
                  <c:v>#N/A</c:v>
                </c:pt>
                <c:pt idx="9919">
                  <c:v>#N/A</c:v>
                </c:pt>
                <c:pt idx="9920">
                  <c:v>#N/A</c:v>
                </c:pt>
                <c:pt idx="9921">
                  <c:v>#N/A</c:v>
                </c:pt>
                <c:pt idx="9922">
                  <c:v>#N/A</c:v>
                </c:pt>
                <c:pt idx="9923">
                  <c:v>#N/A</c:v>
                </c:pt>
                <c:pt idx="9924">
                  <c:v>#N/A</c:v>
                </c:pt>
                <c:pt idx="9925">
                  <c:v>#N/A</c:v>
                </c:pt>
                <c:pt idx="9926">
                  <c:v>#N/A</c:v>
                </c:pt>
                <c:pt idx="9927">
                  <c:v>#N/A</c:v>
                </c:pt>
                <c:pt idx="9928">
                  <c:v>#N/A</c:v>
                </c:pt>
                <c:pt idx="9929">
                  <c:v>#N/A</c:v>
                </c:pt>
                <c:pt idx="9930">
                  <c:v>#N/A</c:v>
                </c:pt>
                <c:pt idx="9931">
                  <c:v>#N/A</c:v>
                </c:pt>
                <c:pt idx="9932">
                  <c:v>#N/A</c:v>
                </c:pt>
                <c:pt idx="9933">
                  <c:v>#N/A</c:v>
                </c:pt>
                <c:pt idx="9934">
                  <c:v>#N/A</c:v>
                </c:pt>
                <c:pt idx="9935">
                  <c:v>#N/A</c:v>
                </c:pt>
                <c:pt idx="9936">
                  <c:v>#N/A</c:v>
                </c:pt>
                <c:pt idx="9937">
                  <c:v>#N/A</c:v>
                </c:pt>
                <c:pt idx="9938">
                  <c:v>#N/A</c:v>
                </c:pt>
                <c:pt idx="9939">
                  <c:v>#N/A</c:v>
                </c:pt>
                <c:pt idx="9940">
                  <c:v>#N/A</c:v>
                </c:pt>
                <c:pt idx="9941">
                  <c:v>#N/A</c:v>
                </c:pt>
                <c:pt idx="9942">
                  <c:v>#N/A</c:v>
                </c:pt>
                <c:pt idx="9943">
                  <c:v>#N/A</c:v>
                </c:pt>
                <c:pt idx="9944">
                  <c:v>#N/A</c:v>
                </c:pt>
                <c:pt idx="9945">
                  <c:v>#N/A</c:v>
                </c:pt>
                <c:pt idx="9946">
                  <c:v>#N/A</c:v>
                </c:pt>
                <c:pt idx="9947">
                  <c:v>#N/A</c:v>
                </c:pt>
                <c:pt idx="9948">
                  <c:v>#N/A</c:v>
                </c:pt>
                <c:pt idx="9949">
                  <c:v>#N/A</c:v>
                </c:pt>
                <c:pt idx="9950">
                  <c:v>#N/A</c:v>
                </c:pt>
                <c:pt idx="9951">
                  <c:v>#N/A</c:v>
                </c:pt>
                <c:pt idx="9952">
                  <c:v>#N/A</c:v>
                </c:pt>
                <c:pt idx="9953">
                  <c:v>#N/A</c:v>
                </c:pt>
                <c:pt idx="9954">
                  <c:v>#N/A</c:v>
                </c:pt>
                <c:pt idx="9955">
                  <c:v>#N/A</c:v>
                </c:pt>
                <c:pt idx="9956">
                  <c:v>#N/A</c:v>
                </c:pt>
                <c:pt idx="9957">
                  <c:v>#N/A</c:v>
                </c:pt>
                <c:pt idx="9958">
                  <c:v>#N/A</c:v>
                </c:pt>
                <c:pt idx="9959">
                  <c:v>#N/A</c:v>
                </c:pt>
                <c:pt idx="9960">
                  <c:v>#N/A</c:v>
                </c:pt>
                <c:pt idx="9961">
                  <c:v>#N/A</c:v>
                </c:pt>
                <c:pt idx="9962">
                  <c:v>#N/A</c:v>
                </c:pt>
                <c:pt idx="9963">
                  <c:v>#N/A</c:v>
                </c:pt>
                <c:pt idx="9964">
                  <c:v>#N/A</c:v>
                </c:pt>
                <c:pt idx="9965">
                  <c:v>#N/A</c:v>
                </c:pt>
                <c:pt idx="9966">
                  <c:v>#N/A</c:v>
                </c:pt>
                <c:pt idx="9967">
                  <c:v>#N/A</c:v>
                </c:pt>
                <c:pt idx="9968">
                  <c:v>#N/A</c:v>
                </c:pt>
                <c:pt idx="9969">
                  <c:v>#N/A</c:v>
                </c:pt>
                <c:pt idx="9970">
                  <c:v>#N/A</c:v>
                </c:pt>
                <c:pt idx="9971">
                  <c:v>#N/A</c:v>
                </c:pt>
                <c:pt idx="9972">
                  <c:v>#N/A</c:v>
                </c:pt>
                <c:pt idx="9973">
                  <c:v>#N/A</c:v>
                </c:pt>
                <c:pt idx="9974">
                  <c:v>#N/A</c:v>
                </c:pt>
                <c:pt idx="9975">
                  <c:v>#N/A</c:v>
                </c:pt>
                <c:pt idx="9976">
                  <c:v>#N/A</c:v>
                </c:pt>
                <c:pt idx="9977">
                  <c:v>#N/A</c:v>
                </c:pt>
                <c:pt idx="9978">
                  <c:v>#N/A</c:v>
                </c:pt>
                <c:pt idx="9979">
                  <c:v>#N/A</c:v>
                </c:pt>
                <c:pt idx="9980">
                  <c:v>#N/A</c:v>
                </c:pt>
                <c:pt idx="9981">
                  <c:v>#N/A</c:v>
                </c:pt>
                <c:pt idx="9982">
                  <c:v>#N/A</c:v>
                </c:pt>
                <c:pt idx="9983">
                  <c:v>#N/A</c:v>
                </c:pt>
                <c:pt idx="9984">
                  <c:v>#N/A</c:v>
                </c:pt>
                <c:pt idx="9985">
                  <c:v>#N/A</c:v>
                </c:pt>
                <c:pt idx="9986">
                  <c:v>#N/A</c:v>
                </c:pt>
                <c:pt idx="9987">
                  <c:v>#N/A</c:v>
                </c:pt>
                <c:pt idx="9988">
                  <c:v>#N/A</c:v>
                </c:pt>
                <c:pt idx="9989">
                  <c:v>#N/A</c:v>
                </c:pt>
                <c:pt idx="9990">
                  <c:v>#N/A</c:v>
                </c:pt>
                <c:pt idx="9991">
                  <c:v>#N/A</c:v>
                </c:pt>
                <c:pt idx="9992">
                  <c:v>#N/A</c:v>
                </c:pt>
                <c:pt idx="9993">
                  <c:v>#N/A</c:v>
                </c:pt>
                <c:pt idx="9994">
                  <c:v>#N/A</c:v>
                </c:pt>
                <c:pt idx="9995">
                  <c:v>#N/A</c:v>
                </c:pt>
                <c:pt idx="9996">
                  <c:v>#N/A</c:v>
                </c:pt>
                <c:pt idx="9997">
                  <c:v>#N/A</c:v>
                </c:pt>
                <c:pt idx="9998">
                  <c:v>#N/A</c:v>
                </c:pt>
                <c:pt idx="9999">
                  <c:v>#N/A</c:v>
                </c:pt>
                <c:pt idx="10000">
                  <c:v>#N/A</c:v>
                </c:pt>
                <c:pt idx="10001">
                  <c:v>#N/A</c:v>
                </c:pt>
                <c:pt idx="10002">
                  <c:v>#N/A</c:v>
                </c:pt>
                <c:pt idx="10003">
                  <c:v>#N/A</c:v>
                </c:pt>
                <c:pt idx="10004">
                  <c:v>#N/A</c:v>
                </c:pt>
                <c:pt idx="10005">
                  <c:v>#N/A</c:v>
                </c:pt>
                <c:pt idx="10006">
                  <c:v>#N/A</c:v>
                </c:pt>
                <c:pt idx="10007">
                  <c:v>#N/A</c:v>
                </c:pt>
                <c:pt idx="10008">
                  <c:v>#N/A</c:v>
                </c:pt>
                <c:pt idx="10009">
                  <c:v>#N/A</c:v>
                </c:pt>
                <c:pt idx="10010">
                  <c:v>#N/A</c:v>
                </c:pt>
                <c:pt idx="10011">
                  <c:v>#N/A</c:v>
                </c:pt>
                <c:pt idx="10012">
                  <c:v>#N/A</c:v>
                </c:pt>
                <c:pt idx="10013">
                  <c:v>#N/A</c:v>
                </c:pt>
                <c:pt idx="10014">
                  <c:v>#N/A</c:v>
                </c:pt>
                <c:pt idx="10015">
                  <c:v>#N/A</c:v>
                </c:pt>
                <c:pt idx="10016">
                  <c:v>#N/A</c:v>
                </c:pt>
                <c:pt idx="10017">
                  <c:v>#N/A</c:v>
                </c:pt>
                <c:pt idx="10018">
                  <c:v>#N/A</c:v>
                </c:pt>
                <c:pt idx="10019">
                  <c:v>#N/A</c:v>
                </c:pt>
                <c:pt idx="10020">
                  <c:v>#N/A</c:v>
                </c:pt>
                <c:pt idx="10021">
                  <c:v>#N/A</c:v>
                </c:pt>
                <c:pt idx="10022">
                  <c:v>#N/A</c:v>
                </c:pt>
                <c:pt idx="10023">
                  <c:v>#N/A</c:v>
                </c:pt>
                <c:pt idx="10024">
                  <c:v>#N/A</c:v>
                </c:pt>
                <c:pt idx="10025">
                  <c:v>#N/A</c:v>
                </c:pt>
                <c:pt idx="10026">
                  <c:v>#N/A</c:v>
                </c:pt>
                <c:pt idx="10027">
                  <c:v>#N/A</c:v>
                </c:pt>
                <c:pt idx="10028">
                  <c:v>#N/A</c:v>
                </c:pt>
                <c:pt idx="10029">
                  <c:v>#N/A</c:v>
                </c:pt>
                <c:pt idx="10030">
                  <c:v>#N/A</c:v>
                </c:pt>
                <c:pt idx="10031">
                  <c:v>#N/A</c:v>
                </c:pt>
                <c:pt idx="10032">
                  <c:v>#N/A</c:v>
                </c:pt>
                <c:pt idx="10033">
                  <c:v>#N/A</c:v>
                </c:pt>
                <c:pt idx="10034">
                  <c:v>#N/A</c:v>
                </c:pt>
                <c:pt idx="10035">
                  <c:v>#N/A</c:v>
                </c:pt>
                <c:pt idx="10036">
                  <c:v>#N/A</c:v>
                </c:pt>
                <c:pt idx="10037">
                  <c:v>#N/A</c:v>
                </c:pt>
                <c:pt idx="10038">
                  <c:v>#N/A</c:v>
                </c:pt>
                <c:pt idx="10039">
                  <c:v>#N/A</c:v>
                </c:pt>
                <c:pt idx="10040">
                  <c:v>#N/A</c:v>
                </c:pt>
                <c:pt idx="10041">
                  <c:v>#N/A</c:v>
                </c:pt>
                <c:pt idx="10042">
                  <c:v>#N/A</c:v>
                </c:pt>
                <c:pt idx="10043">
                  <c:v>#N/A</c:v>
                </c:pt>
                <c:pt idx="10044">
                  <c:v>#N/A</c:v>
                </c:pt>
                <c:pt idx="10045">
                  <c:v>#N/A</c:v>
                </c:pt>
                <c:pt idx="10046">
                  <c:v>#N/A</c:v>
                </c:pt>
                <c:pt idx="10047">
                  <c:v>#N/A</c:v>
                </c:pt>
                <c:pt idx="10048">
                  <c:v>#N/A</c:v>
                </c:pt>
                <c:pt idx="10049">
                  <c:v>#N/A</c:v>
                </c:pt>
                <c:pt idx="10050">
                  <c:v>#N/A</c:v>
                </c:pt>
                <c:pt idx="10051">
                  <c:v>#N/A</c:v>
                </c:pt>
                <c:pt idx="10052">
                  <c:v>#N/A</c:v>
                </c:pt>
                <c:pt idx="10053">
                  <c:v>#N/A</c:v>
                </c:pt>
                <c:pt idx="10054">
                  <c:v>#N/A</c:v>
                </c:pt>
                <c:pt idx="10055">
                  <c:v>#N/A</c:v>
                </c:pt>
                <c:pt idx="10056">
                  <c:v>#N/A</c:v>
                </c:pt>
                <c:pt idx="10057">
                  <c:v>#N/A</c:v>
                </c:pt>
                <c:pt idx="10058">
                  <c:v>#N/A</c:v>
                </c:pt>
                <c:pt idx="10059">
                  <c:v>#N/A</c:v>
                </c:pt>
                <c:pt idx="10060">
                  <c:v>#N/A</c:v>
                </c:pt>
                <c:pt idx="10061">
                  <c:v>#N/A</c:v>
                </c:pt>
                <c:pt idx="10062">
                  <c:v>#N/A</c:v>
                </c:pt>
                <c:pt idx="10063">
                  <c:v>#N/A</c:v>
                </c:pt>
                <c:pt idx="10064">
                  <c:v>#N/A</c:v>
                </c:pt>
                <c:pt idx="10065">
                  <c:v>#N/A</c:v>
                </c:pt>
                <c:pt idx="10066">
                  <c:v>#N/A</c:v>
                </c:pt>
                <c:pt idx="10067">
                  <c:v>#N/A</c:v>
                </c:pt>
                <c:pt idx="10068">
                  <c:v>#N/A</c:v>
                </c:pt>
                <c:pt idx="10069">
                  <c:v>#N/A</c:v>
                </c:pt>
                <c:pt idx="10070">
                  <c:v>#N/A</c:v>
                </c:pt>
                <c:pt idx="10071">
                  <c:v>#N/A</c:v>
                </c:pt>
                <c:pt idx="10072">
                  <c:v>#N/A</c:v>
                </c:pt>
                <c:pt idx="10073">
                  <c:v>#N/A</c:v>
                </c:pt>
                <c:pt idx="10074">
                  <c:v>#N/A</c:v>
                </c:pt>
                <c:pt idx="10075">
                  <c:v>#N/A</c:v>
                </c:pt>
                <c:pt idx="10076">
                  <c:v>#N/A</c:v>
                </c:pt>
                <c:pt idx="10077">
                  <c:v>#N/A</c:v>
                </c:pt>
                <c:pt idx="10078">
                  <c:v>#N/A</c:v>
                </c:pt>
                <c:pt idx="10079">
                  <c:v>#N/A</c:v>
                </c:pt>
                <c:pt idx="10080">
                  <c:v>#N/A</c:v>
                </c:pt>
                <c:pt idx="10081">
                  <c:v>#N/A</c:v>
                </c:pt>
                <c:pt idx="10082">
                  <c:v>#N/A</c:v>
                </c:pt>
                <c:pt idx="10083">
                  <c:v>#N/A</c:v>
                </c:pt>
                <c:pt idx="10084">
                  <c:v>#N/A</c:v>
                </c:pt>
                <c:pt idx="10085">
                  <c:v>#N/A</c:v>
                </c:pt>
                <c:pt idx="10086">
                  <c:v>#N/A</c:v>
                </c:pt>
                <c:pt idx="10087">
                  <c:v>#N/A</c:v>
                </c:pt>
                <c:pt idx="10088">
                  <c:v>#N/A</c:v>
                </c:pt>
                <c:pt idx="10089">
                  <c:v>#N/A</c:v>
                </c:pt>
                <c:pt idx="10090">
                  <c:v>#N/A</c:v>
                </c:pt>
                <c:pt idx="10091">
                  <c:v>#N/A</c:v>
                </c:pt>
                <c:pt idx="10092">
                  <c:v>#N/A</c:v>
                </c:pt>
                <c:pt idx="10093">
                  <c:v>#N/A</c:v>
                </c:pt>
                <c:pt idx="10094">
                  <c:v>#N/A</c:v>
                </c:pt>
                <c:pt idx="10095">
                  <c:v>#N/A</c:v>
                </c:pt>
                <c:pt idx="10096">
                  <c:v>#N/A</c:v>
                </c:pt>
                <c:pt idx="10097">
                  <c:v>#N/A</c:v>
                </c:pt>
                <c:pt idx="10098">
                  <c:v>#N/A</c:v>
                </c:pt>
                <c:pt idx="10099">
                  <c:v>#N/A</c:v>
                </c:pt>
                <c:pt idx="10100">
                  <c:v>#N/A</c:v>
                </c:pt>
                <c:pt idx="10101">
                  <c:v>#N/A</c:v>
                </c:pt>
                <c:pt idx="10102">
                  <c:v>#N/A</c:v>
                </c:pt>
                <c:pt idx="10103">
                  <c:v>#N/A</c:v>
                </c:pt>
                <c:pt idx="10104">
                  <c:v>#N/A</c:v>
                </c:pt>
                <c:pt idx="10105">
                  <c:v>#N/A</c:v>
                </c:pt>
                <c:pt idx="10106">
                  <c:v>#N/A</c:v>
                </c:pt>
                <c:pt idx="10107">
                  <c:v>#N/A</c:v>
                </c:pt>
                <c:pt idx="10108">
                  <c:v>#N/A</c:v>
                </c:pt>
                <c:pt idx="10109">
                  <c:v>#N/A</c:v>
                </c:pt>
                <c:pt idx="10110">
                  <c:v>#N/A</c:v>
                </c:pt>
                <c:pt idx="10111">
                  <c:v>#N/A</c:v>
                </c:pt>
                <c:pt idx="10112">
                  <c:v>#N/A</c:v>
                </c:pt>
                <c:pt idx="10113">
                  <c:v>#N/A</c:v>
                </c:pt>
                <c:pt idx="10114">
                  <c:v>#N/A</c:v>
                </c:pt>
                <c:pt idx="10115">
                  <c:v>#N/A</c:v>
                </c:pt>
                <c:pt idx="10116">
                  <c:v>#N/A</c:v>
                </c:pt>
                <c:pt idx="10117">
                  <c:v>#N/A</c:v>
                </c:pt>
                <c:pt idx="10118">
                  <c:v>#N/A</c:v>
                </c:pt>
                <c:pt idx="10119">
                  <c:v>#N/A</c:v>
                </c:pt>
                <c:pt idx="10120">
                  <c:v>#N/A</c:v>
                </c:pt>
                <c:pt idx="10121">
                  <c:v>#N/A</c:v>
                </c:pt>
                <c:pt idx="10122">
                  <c:v>#N/A</c:v>
                </c:pt>
                <c:pt idx="10123">
                  <c:v>#N/A</c:v>
                </c:pt>
                <c:pt idx="10124">
                  <c:v>#N/A</c:v>
                </c:pt>
                <c:pt idx="10125">
                  <c:v>#N/A</c:v>
                </c:pt>
                <c:pt idx="10126">
                  <c:v>#N/A</c:v>
                </c:pt>
                <c:pt idx="10127">
                  <c:v>#N/A</c:v>
                </c:pt>
                <c:pt idx="10128">
                  <c:v>#N/A</c:v>
                </c:pt>
                <c:pt idx="10129">
                  <c:v>#N/A</c:v>
                </c:pt>
                <c:pt idx="10130">
                  <c:v>#N/A</c:v>
                </c:pt>
                <c:pt idx="10131">
                  <c:v>#N/A</c:v>
                </c:pt>
                <c:pt idx="10132">
                  <c:v>#N/A</c:v>
                </c:pt>
                <c:pt idx="10133">
                  <c:v>#N/A</c:v>
                </c:pt>
                <c:pt idx="10134">
                  <c:v>#N/A</c:v>
                </c:pt>
                <c:pt idx="10135">
                  <c:v>#N/A</c:v>
                </c:pt>
                <c:pt idx="10136">
                  <c:v>#N/A</c:v>
                </c:pt>
                <c:pt idx="10137">
                  <c:v>#N/A</c:v>
                </c:pt>
                <c:pt idx="10138">
                  <c:v>#N/A</c:v>
                </c:pt>
                <c:pt idx="10139">
                  <c:v>#N/A</c:v>
                </c:pt>
                <c:pt idx="10140">
                  <c:v>#N/A</c:v>
                </c:pt>
                <c:pt idx="10141">
                  <c:v>#N/A</c:v>
                </c:pt>
                <c:pt idx="10142">
                  <c:v>#N/A</c:v>
                </c:pt>
                <c:pt idx="10143">
                  <c:v>#N/A</c:v>
                </c:pt>
                <c:pt idx="10144">
                  <c:v>#N/A</c:v>
                </c:pt>
                <c:pt idx="10145">
                  <c:v>#N/A</c:v>
                </c:pt>
                <c:pt idx="10146">
                  <c:v>#N/A</c:v>
                </c:pt>
                <c:pt idx="10147">
                  <c:v>#N/A</c:v>
                </c:pt>
                <c:pt idx="10148">
                  <c:v>#N/A</c:v>
                </c:pt>
                <c:pt idx="10149">
                  <c:v>#N/A</c:v>
                </c:pt>
                <c:pt idx="10150">
                  <c:v>#N/A</c:v>
                </c:pt>
                <c:pt idx="10151">
                  <c:v>#N/A</c:v>
                </c:pt>
                <c:pt idx="10152">
                  <c:v>#N/A</c:v>
                </c:pt>
                <c:pt idx="10153">
                  <c:v>#N/A</c:v>
                </c:pt>
                <c:pt idx="10154">
                  <c:v>#N/A</c:v>
                </c:pt>
                <c:pt idx="10155">
                  <c:v>#N/A</c:v>
                </c:pt>
                <c:pt idx="10156">
                  <c:v>#N/A</c:v>
                </c:pt>
                <c:pt idx="10157">
                  <c:v>#N/A</c:v>
                </c:pt>
                <c:pt idx="10158">
                  <c:v>#N/A</c:v>
                </c:pt>
                <c:pt idx="10159">
                  <c:v>#N/A</c:v>
                </c:pt>
                <c:pt idx="10160">
                  <c:v>#N/A</c:v>
                </c:pt>
                <c:pt idx="10161">
                  <c:v>#N/A</c:v>
                </c:pt>
                <c:pt idx="10162">
                  <c:v>#N/A</c:v>
                </c:pt>
                <c:pt idx="10163">
                  <c:v>#N/A</c:v>
                </c:pt>
                <c:pt idx="10164">
                  <c:v>#N/A</c:v>
                </c:pt>
                <c:pt idx="10165">
                  <c:v>#N/A</c:v>
                </c:pt>
                <c:pt idx="10166">
                  <c:v>#N/A</c:v>
                </c:pt>
                <c:pt idx="10167">
                  <c:v>#N/A</c:v>
                </c:pt>
                <c:pt idx="10168">
                  <c:v>#N/A</c:v>
                </c:pt>
                <c:pt idx="10169">
                  <c:v>#N/A</c:v>
                </c:pt>
                <c:pt idx="10170">
                  <c:v>#N/A</c:v>
                </c:pt>
                <c:pt idx="10171">
                  <c:v>#N/A</c:v>
                </c:pt>
                <c:pt idx="10172">
                  <c:v>#N/A</c:v>
                </c:pt>
                <c:pt idx="10173">
                  <c:v>#N/A</c:v>
                </c:pt>
                <c:pt idx="10174">
                  <c:v>#N/A</c:v>
                </c:pt>
                <c:pt idx="10175">
                  <c:v>#N/A</c:v>
                </c:pt>
                <c:pt idx="10176">
                  <c:v>#N/A</c:v>
                </c:pt>
                <c:pt idx="10177">
                  <c:v>#N/A</c:v>
                </c:pt>
                <c:pt idx="10178">
                  <c:v>#N/A</c:v>
                </c:pt>
                <c:pt idx="10179">
                  <c:v>#N/A</c:v>
                </c:pt>
                <c:pt idx="10180">
                  <c:v>#N/A</c:v>
                </c:pt>
                <c:pt idx="10181">
                  <c:v>#N/A</c:v>
                </c:pt>
                <c:pt idx="10182">
                  <c:v>#N/A</c:v>
                </c:pt>
                <c:pt idx="10183">
                  <c:v>#N/A</c:v>
                </c:pt>
                <c:pt idx="10184">
                  <c:v>#N/A</c:v>
                </c:pt>
                <c:pt idx="10185">
                  <c:v>#N/A</c:v>
                </c:pt>
                <c:pt idx="10186">
                  <c:v>#N/A</c:v>
                </c:pt>
                <c:pt idx="10187">
                  <c:v>#N/A</c:v>
                </c:pt>
                <c:pt idx="10188">
                  <c:v>#N/A</c:v>
                </c:pt>
                <c:pt idx="10189">
                  <c:v>#N/A</c:v>
                </c:pt>
                <c:pt idx="10190">
                  <c:v>#N/A</c:v>
                </c:pt>
                <c:pt idx="10191">
                  <c:v>#N/A</c:v>
                </c:pt>
                <c:pt idx="10192">
                  <c:v>#N/A</c:v>
                </c:pt>
                <c:pt idx="10193">
                  <c:v>#N/A</c:v>
                </c:pt>
                <c:pt idx="10194">
                  <c:v>#N/A</c:v>
                </c:pt>
                <c:pt idx="10195">
                  <c:v>#N/A</c:v>
                </c:pt>
                <c:pt idx="10196">
                  <c:v>#N/A</c:v>
                </c:pt>
                <c:pt idx="10197">
                  <c:v>#N/A</c:v>
                </c:pt>
                <c:pt idx="10198">
                  <c:v>#N/A</c:v>
                </c:pt>
                <c:pt idx="10199">
                  <c:v>#N/A</c:v>
                </c:pt>
                <c:pt idx="10200">
                  <c:v>#N/A</c:v>
                </c:pt>
                <c:pt idx="10201">
                  <c:v>#N/A</c:v>
                </c:pt>
                <c:pt idx="10202">
                  <c:v>#N/A</c:v>
                </c:pt>
                <c:pt idx="10203">
                  <c:v>#N/A</c:v>
                </c:pt>
                <c:pt idx="10204">
                  <c:v>#N/A</c:v>
                </c:pt>
                <c:pt idx="10205">
                  <c:v>#N/A</c:v>
                </c:pt>
                <c:pt idx="10206">
                  <c:v>#N/A</c:v>
                </c:pt>
                <c:pt idx="10207">
                  <c:v>#N/A</c:v>
                </c:pt>
                <c:pt idx="10208">
                  <c:v>#N/A</c:v>
                </c:pt>
                <c:pt idx="10209">
                  <c:v>#N/A</c:v>
                </c:pt>
                <c:pt idx="10210">
                  <c:v>#N/A</c:v>
                </c:pt>
                <c:pt idx="10211">
                  <c:v>#N/A</c:v>
                </c:pt>
                <c:pt idx="10212">
                  <c:v>#N/A</c:v>
                </c:pt>
                <c:pt idx="10213">
                  <c:v>#N/A</c:v>
                </c:pt>
                <c:pt idx="10214">
                  <c:v>#N/A</c:v>
                </c:pt>
                <c:pt idx="10215">
                  <c:v>#N/A</c:v>
                </c:pt>
                <c:pt idx="10216">
                  <c:v>#N/A</c:v>
                </c:pt>
                <c:pt idx="10217">
                  <c:v>#N/A</c:v>
                </c:pt>
                <c:pt idx="10218">
                  <c:v>#N/A</c:v>
                </c:pt>
                <c:pt idx="10219">
                  <c:v>#N/A</c:v>
                </c:pt>
                <c:pt idx="10220">
                  <c:v>#N/A</c:v>
                </c:pt>
                <c:pt idx="10221">
                  <c:v>#N/A</c:v>
                </c:pt>
                <c:pt idx="10222">
                  <c:v>#N/A</c:v>
                </c:pt>
                <c:pt idx="10223">
                  <c:v>#N/A</c:v>
                </c:pt>
                <c:pt idx="10224">
                  <c:v>#N/A</c:v>
                </c:pt>
                <c:pt idx="10225">
                  <c:v>#N/A</c:v>
                </c:pt>
                <c:pt idx="10226">
                  <c:v>#N/A</c:v>
                </c:pt>
                <c:pt idx="10227">
                  <c:v>#N/A</c:v>
                </c:pt>
                <c:pt idx="10228">
                  <c:v>#N/A</c:v>
                </c:pt>
                <c:pt idx="10229">
                  <c:v>#N/A</c:v>
                </c:pt>
                <c:pt idx="10230">
                  <c:v>#N/A</c:v>
                </c:pt>
                <c:pt idx="10231">
                  <c:v>#N/A</c:v>
                </c:pt>
                <c:pt idx="10232">
                  <c:v>#N/A</c:v>
                </c:pt>
                <c:pt idx="10233">
                  <c:v>#N/A</c:v>
                </c:pt>
                <c:pt idx="10234">
                  <c:v>#N/A</c:v>
                </c:pt>
                <c:pt idx="10235">
                  <c:v>#N/A</c:v>
                </c:pt>
                <c:pt idx="10236">
                  <c:v>#N/A</c:v>
                </c:pt>
                <c:pt idx="10237">
                  <c:v>#N/A</c:v>
                </c:pt>
                <c:pt idx="10238">
                  <c:v>#N/A</c:v>
                </c:pt>
                <c:pt idx="10239">
                  <c:v>#N/A</c:v>
                </c:pt>
                <c:pt idx="10240">
                  <c:v>#N/A</c:v>
                </c:pt>
                <c:pt idx="10241">
                  <c:v>#N/A</c:v>
                </c:pt>
                <c:pt idx="10242">
                  <c:v>#N/A</c:v>
                </c:pt>
                <c:pt idx="10243">
                  <c:v>#N/A</c:v>
                </c:pt>
                <c:pt idx="10244">
                  <c:v>#N/A</c:v>
                </c:pt>
                <c:pt idx="10245">
                  <c:v>#N/A</c:v>
                </c:pt>
                <c:pt idx="10246">
                  <c:v>#N/A</c:v>
                </c:pt>
                <c:pt idx="10247">
                  <c:v>#N/A</c:v>
                </c:pt>
                <c:pt idx="10248">
                  <c:v>#N/A</c:v>
                </c:pt>
                <c:pt idx="10249">
                  <c:v>#N/A</c:v>
                </c:pt>
                <c:pt idx="10250">
                  <c:v>#N/A</c:v>
                </c:pt>
                <c:pt idx="10251">
                  <c:v>#N/A</c:v>
                </c:pt>
                <c:pt idx="10252">
                  <c:v>#N/A</c:v>
                </c:pt>
                <c:pt idx="10253">
                  <c:v>#N/A</c:v>
                </c:pt>
                <c:pt idx="10254">
                  <c:v>#N/A</c:v>
                </c:pt>
                <c:pt idx="10255">
                  <c:v>#N/A</c:v>
                </c:pt>
                <c:pt idx="10256">
                  <c:v>#N/A</c:v>
                </c:pt>
                <c:pt idx="10257">
                  <c:v>#N/A</c:v>
                </c:pt>
                <c:pt idx="10258">
                  <c:v>#N/A</c:v>
                </c:pt>
                <c:pt idx="10259">
                  <c:v>#N/A</c:v>
                </c:pt>
                <c:pt idx="10260">
                  <c:v>#N/A</c:v>
                </c:pt>
                <c:pt idx="10261">
                  <c:v>#N/A</c:v>
                </c:pt>
                <c:pt idx="10262">
                  <c:v>#N/A</c:v>
                </c:pt>
                <c:pt idx="10263">
                  <c:v>#N/A</c:v>
                </c:pt>
                <c:pt idx="10264">
                  <c:v>#N/A</c:v>
                </c:pt>
                <c:pt idx="10265">
                  <c:v>#N/A</c:v>
                </c:pt>
                <c:pt idx="10266">
                  <c:v>#N/A</c:v>
                </c:pt>
                <c:pt idx="10267">
                  <c:v>#N/A</c:v>
                </c:pt>
                <c:pt idx="10268">
                  <c:v>#N/A</c:v>
                </c:pt>
                <c:pt idx="10269">
                  <c:v>#N/A</c:v>
                </c:pt>
                <c:pt idx="10270">
                  <c:v>#N/A</c:v>
                </c:pt>
                <c:pt idx="10271">
                  <c:v>#N/A</c:v>
                </c:pt>
                <c:pt idx="10272">
                  <c:v>#N/A</c:v>
                </c:pt>
                <c:pt idx="10273">
                  <c:v>#N/A</c:v>
                </c:pt>
                <c:pt idx="10274">
                  <c:v>#N/A</c:v>
                </c:pt>
                <c:pt idx="10275">
                  <c:v>#N/A</c:v>
                </c:pt>
                <c:pt idx="10276">
                  <c:v>#N/A</c:v>
                </c:pt>
                <c:pt idx="10277">
                  <c:v>#N/A</c:v>
                </c:pt>
                <c:pt idx="10278">
                  <c:v>#N/A</c:v>
                </c:pt>
                <c:pt idx="10279">
                  <c:v>#N/A</c:v>
                </c:pt>
                <c:pt idx="10280">
                  <c:v>#N/A</c:v>
                </c:pt>
                <c:pt idx="10281">
                  <c:v>#N/A</c:v>
                </c:pt>
                <c:pt idx="10282">
                  <c:v>#N/A</c:v>
                </c:pt>
                <c:pt idx="10283">
                  <c:v>#N/A</c:v>
                </c:pt>
                <c:pt idx="10284">
                  <c:v>#N/A</c:v>
                </c:pt>
                <c:pt idx="10285">
                  <c:v>#N/A</c:v>
                </c:pt>
                <c:pt idx="10286">
                  <c:v>#N/A</c:v>
                </c:pt>
                <c:pt idx="10287">
                  <c:v>#N/A</c:v>
                </c:pt>
                <c:pt idx="10288">
                  <c:v>#N/A</c:v>
                </c:pt>
                <c:pt idx="10289">
                  <c:v>#N/A</c:v>
                </c:pt>
                <c:pt idx="10290">
                  <c:v>#N/A</c:v>
                </c:pt>
                <c:pt idx="10291">
                  <c:v>#N/A</c:v>
                </c:pt>
                <c:pt idx="10292">
                  <c:v>#N/A</c:v>
                </c:pt>
                <c:pt idx="10293">
                  <c:v>#N/A</c:v>
                </c:pt>
                <c:pt idx="10294">
                  <c:v>#N/A</c:v>
                </c:pt>
                <c:pt idx="10295">
                  <c:v>#N/A</c:v>
                </c:pt>
                <c:pt idx="10296">
                  <c:v>#N/A</c:v>
                </c:pt>
                <c:pt idx="10297">
                  <c:v>#N/A</c:v>
                </c:pt>
                <c:pt idx="10298">
                  <c:v>#N/A</c:v>
                </c:pt>
                <c:pt idx="10299">
                  <c:v>#N/A</c:v>
                </c:pt>
                <c:pt idx="10300">
                  <c:v>#N/A</c:v>
                </c:pt>
                <c:pt idx="10301">
                  <c:v>#N/A</c:v>
                </c:pt>
                <c:pt idx="10302">
                  <c:v>#N/A</c:v>
                </c:pt>
                <c:pt idx="10303">
                  <c:v>#N/A</c:v>
                </c:pt>
                <c:pt idx="10304">
                  <c:v>#N/A</c:v>
                </c:pt>
                <c:pt idx="10305">
                  <c:v>#N/A</c:v>
                </c:pt>
                <c:pt idx="10306">
                  <c:v>#N/A</c:v>
                </c:pt>
                <c:pt idx="10307">
                  <c:v>#N/A</c:v>
                </c:pt>
                <c:pt idx="10308">
                  <c:v>#N/A</c:v>
                </c:pt>
                <c:pt idx="10309">
                  <c:v>#N/A</c:v>
                </c:pt>
                <c:pt idx="10310">
                  <c:v>#N/A</c:v>
                </c:pt>
                <c:pt idx="10311">
                  <c:v>#N/A</c:v>
                </c:pt>
                <c:pt idx="10312">
                  <c:v>#N/A</c:v>
                </c:pt>
                <c:pt idx="10313">
                  <c:v>#N/A</c:v>
                </c:pt>
                <c:pt idx="10314">
                  <c:v>#N/A</c:v>
                </c:pt>
                <c:pt idx="10315">
                  <c:v>#N/A</c:v>
                </c:pt>
                <c:pt idx="10316">
                  <c:v>#N/A</c:v>
                </c:pt>
                <c:pt idx="10317">
                  <c:v>#N/A</c:v>
                </c:pt>
                <c:pt idx="10318">
                  <c:v>#N/A</c:v>
                </c:pt>
                <c:pt idx="10319">
                  <c:v>#N/A</c:v>
                </c:pt>
                <c:pt idx="10320">
                  <c:v>#N/A</c:v>
                </c:pt>
                <c:pt idx="10321">
                  <c:v>#N/A</c:v>
                </c:pt>
                <c:pt idx="10322">
                  <c:v>#N/A</c:v>
                </c:pt>
                <c:pt idx="10323">
                  <c:v>#N/A</c:v>
                </c:pt>
                <c:pt idx="10324">
                  <c:v>#N/A</c:v>
                </c:pt>
                <c:pt idx="10325">
                  <c:v>#N/A</c:v>
                </c:pt>
                <c:pt idx="10326">
                  <c:v>#N/A</c:v>
                </c:pt>
                <c:pt idx="10327">
                  <c:v>#N/A</c:v>
                </c:pt>
                <c:pt idx="10328">
                  <c:v>#N/A</c:v>
                </c:pt>
                <c:pt idx="10329">
                  <c:v>#N/A</c:v>
                </c:pt>
                <c:pt idx="10330">
                  <c:v>#N/A</c:v>
                </c:pt>
                <c:pt idx="10331">
                  <c:v>#N/A</c:v>
                </c:pt>
                <c:pt idx="10332">
                  <c:v>#N/A</c:v>
                </c:pt>
                <c:pt idx="10333">
                  <c:v>#N/A</c:v>
                </c:pt>
                <c:pt idx="10334">
                  <c:v>#N/A</c:v>
                </c:pt>
                <c:pt idx="10335">
                  <c:v>#N/A</c:v>
                </c:pt>
                <c:pt idx="10336">
                  <c:v>#N/A</c:v>
                </c:pt>
                <c:pt idx="10337">
                  <c:v>#N/A</c:v>
                </c:pt>
                <c:pt idx="10338">
                  <c:v>#N/A</c:v>
                </c:pt>
                <c:pt idx="10339">
                  <c:v>#N/A</c:v>
                </c:pt>
                <c:pt idx="10340">
                  <c:v>#N/A</c:v>
                </c:pt>
                <c:pt idx="10341">
                  <c:v>#N/A</c:v>
                </c:pt>
                <c:pt idx="10342">
                  <c:v>#N/A</c:v>
                </c:pt>
                <c:pt idx="10343">
                  <c:v>#N/A</c:v>
                </c:pt>
                <c:pt idx="10344">
                  <c:v>#N/A</c:v>
                </c:pt>
                <c:pt idx="10345">
                  <c:v>#N/A</c:v>
                </c:pt>
                <c:pt idx="10346">
                  <c:v>#N/A</c:v>
                </c:pt>
                <c:pt idx="10347">
                  <c:v>#N/A</c:v>
                </c:pt>
                <c:pt idx="10348">
                  <c:v>#N/A</c:v>
                </c:pt>
                <c:pt idx="10349">
                  <c:v>#N/A</c:v>
                </c:pt>
                <c:pt idx="10350">
                  <c:v>#N/A</c:v>
                </c:pt>
                <c:pt idx="10351">
                  <c:v>#N/A</c:v>
                </c:pt>
                <c:pt idx="10352">
                  <c:v>#N/A</c:v>
                </c:pt>
                <c:pt idx="10353">
                  <c:v>#N/A</c:v>
                </c:pt>
                <c:pt idx="10354">
                  <c:v>#N/A</c:v>
                </c:pt>
                <c:pt idx="10355">
                  <c:v>#N/A</c:v>
                </c:pt>
                <c:pt idx="10356">
                  <c:v>#N/A</c:v>
                </c:pt>
                <c:pt idx="10357">
                  <c:v>#N/A</c:v>
                </c:pt>
                <c:pt idx="10358">
                  <c:v>#N/A</c:v>
                </c:pt>
                <c:pt idx="10359">
                  <c:v>#N/A</c:v>
                </c:pt>
                <c:pt idx="10360">
                  <c:v>#N/A</c:v>
                </c:pt>
                <c:pt idx="10361">
                  <c:v>#N/A</c:v>
                </c:pt>
                <c:pt idx="10362">
                  <c:v>#N/A</c:v>
                </c:pt>
                <c:pt idx="10363">
                  <c:v>#N/A</c:v>
                </c:pt>
                <c:pt idx="10364">
                  <c:v>#N/A</c:v>
                </c:pt>
                <c:pt idx="10365">
                  <c:v>#N/A</c:v>
                </c:pt>
                <c:pt idx="10366">
                  <c:v>#N/A</c:v>
                </c:pt>
                <c:pt idx="10367">
                  <c:v>#N/A</c:v>
                </c:pt>
                <c:pt idx="10368">
                  <c:v>#N/A</c:v>
                </c:pt>
                <c:pt idx="10369">
                  <c:v>#N/A</c:v>
                </c:pt>
                <c:pt idx="10370">
                  <c:v>#N/A</c:v>
                </c:pt>
                <c:pt idx="10371">
                  <c:v>#N/A</c:v>
                </c:pt>
                <c:pt idx="10372">
                  <c:v>#N/A</c:v>
                </c:pt>
                <c:pt idx="10373">
                  <c:v>#N/A</c:v>
                </c:pt>
                <c:pt idx="10374">
                  <c:v>#N/A</c:v>
                </c:pt>
                <c:pt idx="10375">
                  <c:v>#N/A</c:v>
                </c:pt>
                <c:pt idx="10376">
                  <c:v>#N/A</c:v>
                </c:pt>
                <c:pt idx="10377">
                  <c:v>4.043835616438356</c:v>
                </c:pt>
                <c:pt idx="10378">
                  <c:v>#N/A</c:v>
                </c:pt>
                <c:pt idx="10379">
                  <c:v>#N/A</c:v>
                </c:pt>
                <c:pt idx="10380">
                  <c:v>#N/A</c:v>
                </c:pt>
                <c:pt idx="10381">
                  <c:v>#N/A</c:v>
                </c:pt>
                <c:pt idx="10382">
                  <c:v>#N/A</c:v>
                </c:pt>
                <c:pt idx="10383">
                  <c:v>#N/A</c:v>
                </c:pt>
                <c:pt idx="10384">
                  <c:v>#N/A</c:v>
                </c:pt>
                <c:pt idx="10385">
                  <c:v>#N/A</c:v>
                </c:pt>
                <c:pt idx="10386">
                  <c:v>#N/A</c:v>
                </c:pt>
                <c:pt idx="10387">
                  <c:v>#N/A</c:v>
                </c:pt>
                <c:pt idx="10388">
                  <c:v>#N/A</c:v>
                </c:pt>
                <c:pt idx="10389">
                  <c:v>#N/A</c:v>
                </c:pt>
                <c:pt idx="10390">
                  <c:v>#N/A</c:v>
                </c:pt>
                <c:pt idx="10391">
                  <c:v>#N/A</c:v>
                </c:pt>
                <c:pt idx="10392">
                  <c:v>#N/A</c:v>
                </c:pt>
                <c:pt idx="10393">
                  <c:v>#N/A</c:v>
                </c:pt>
                <c:pt idx="10394">
                  <c:v>#N/A</c:v>
                </c:pt>
                <c:pt idx="10395">
                  <c:v>#N/A</c:v>
                </c:pt>
                <c:pt idx="10396">
                  <c:v>#N/A</c:v>
                </c:pt>
                <c:pt idx="10397">
                  <c:v>#N/A</c:v>
                </c:pt>
                <c:pt idx="10398">
                  <c:v>#N/A</c:v>
                </c:pt>
                <c:pt idx="10399">
                  <c:v>#N/A</c:v>
                </c:pt>
                <c:pt idx="10400">
                  <c:v>#N/A</c:v>
                </c:pt>
                <c:pt idx="10401">
                  <c:v>#N/A</c:v>
                </c:pt>
                <c:pt idx="10402">
                  <c:v>#N/A</c:v>
                </c:pt>
                <c:pt idx="10403">
                  <c:v>#N/A</c:v>
                </c:pt>
                <c:pt idx="10404">
                  <c:v>#N/A</c:v>
                </c:pt>
                <c:pt idx="10405">
                  <c:v>#N/A</c:v>
                </c:pt>
                <c:pt idx="10406">
                  <c:v>#N/A</c:v>
                </c:pt>
                <c:pt idx="10407">
                  <c:v>#N/A</c:v>
                </c:pt>
                <c:pt idx="10408">
                  <c:v>#N/A</c:v>
                </c:pt>
                <c:pt idx="10409">
                  <c:v>#N/A</c:v>
                </c:pt>
                <c:pt idx="10410">
                  <c:v>#N/A</c:v>
                </c:pt>
                <c:pt idx="10411">
                  <c:v>#N/A</c:v>
                </c:pt>
                <c:pt idx="10412">
                  <c:v>#N/A</c:v>
                </c:pt>
                <c:pt idx="10413">
                  <c:v>#N/A</c:v>
                </c:pt>
                <c:pt idx="10414">
                  <c:v>#N/A</c:v>
                </c:pt>
                <c:pt idx="10415">
                  <c:v>#N/A</c:v>
                </c:pt>
                <c:pt idx="10416">
                  <c:v>#N/A</c:v>
                </c:pt>
                <c:pt idx="10417">
                  <c:v>#N/A</c:v>
                </c:pt>
                <c:pt idx="10418">
                  <c:v>#N/A</c:v>
                </c:pt>
                <c:pt idx="10419">
                  <c:v>#N/A</c:v>
                </c:pt>
                <c:pt idx="10420">
                  <c:v>#N/A</c:v>
                </c:pt>
                <c:pt idx="10421">
                  <c:v>#N/A</c:v>
                </c:pt>
                <c:pt idx="10422">
                  <c:v>#N/A</c:v>
                </c:pt>
                <c:pt idx="10423">
                  <c:v>#N/A</c:v>
                </c:pt>
                <c:pt idx="10424">
                  <c:v>#N/A</c:v>
                </c:pt>
                <c:pt idx="10425">
                  <c:v>#N/A</c:v>
                </c:pt>
                <c:pt idx="10426">
                  <c:v>#N/A</c:v>
                </c:pt>
                <c:pt idx="10427">
                  <c:v>#N/A</c:v>
                </c:pt>
                <c:pt idx="10428">
                  <c:v>#N/A</c:v>
                </c:pt>
                <c:pt idx="10429">
                  <c:v>#N/A</c:v>
                </c:pt>
                <c:pt idx="10430">
                  <c:v>#N/A</c:v>
                </c:pt>
                <c:pt idx="10431">
                  <c:v>#N/A</c:v>
                </c:pt>
                <c:pt idx="10432">
                  <c:v>#N/A</c:v>
                </c:pt>
                <c:pt idx="10433">
                  <c:v>#N/A</c:v>
                </c:pt>
                <c:pt idx="10434">
                  <c:v>#N/A</c:v>
                </c:pt>
                <c:pt idx="10435">
                  <c:v>#N/A</c:v>
                </c:pt>
                <c:pt idx="10436">
                  <c:v>#N/A</c:v>
                </c:pt>
                <c:pt idx="10437">
                  <c:v>#N/A</c:v>
                </c:pt>
                <c:pt idx="10438">
                  <c:v>#N/A</c:v>
                </c:pt>
                <c:pt idx="10439">
                  <c:v>#N/A</c:v>
                </c:pt>
                <c:pt idx="10440">
                  <c:v>#N/A</c:v>
                </c:pt>
                <c:pt idx="10441">
                  <c:v>#N/A</c:v>
                </c:pt>
                <c:pt idx="10442">
                  <c:v>#N/A</c:v>
                </c:pt>
                <c:pt idx="10443">
                  <c:v>#N/A</c:v>
                </c:pt>
                <c:pt idx="10444">
                  <c:v>#N/A</c:v>
                </c:pt>
                <c:pt idx="10445">
                  <c:v>#N/A</c:v>
                </c:pt>
                <c:pt idx="10446">
                  <c:v>#N/A</c:v>
                </c:pt>
                <c:pt idx="10447">
                  <c:v>#N/A</c:v>
                </c:pt>
                <c:pt idx="10448">
                  <c:v>#N/A</c:v>
                </c:pt>
                <c:pt idx="10449">
                  <c:v>#N/A</c:v>
                </c:pt>
                <c:pt idx="10450">
                  <c:v>#N/A</c:v>
                </c:pt>
                <c:pt idx="10451">
                  <c:v>#N/A</c:v>
                </c:pt>
                <c:pt idx="10452">
                  <c:v>#N/A</c:v>
                </c:pt>
                <c:pt idx="10453">
                  <c:v>#N/A</c:v>
                </c:pt>
                <c:pt idx="10454">
                  <c:v>#N/A</c:v>
                </c:pt>
                <c:pt idx="10455">
                  <c:v>#N/A</c:v>
                </c:pt>
                <c:pt idx="10456">
                  <c:v>#N/A</c:v>
                </c:pt>
                <c:pt idx="10457">
                  <c:v>#N/A</c:v>
                </c:pt>
                <c:pt idx="10458">
                  <c:v>#N/A</c:v>
                </c:pt>
                <c:pt idx="10459">
                  <c:v>#N/A</c:v>
                </c:pt>
                <c:pt idx="10460">
                  <c:v>#N/A</c:v>
                </c:pt>
                <c:pt idx="10461">
                  <c:v>#N/A</c:v>
                </c:pt>
                <c:pt idx="10462">
                  <c:v>#N/A</c:v>
                </c:pt>
                <c:pt idx="10463">
                  <c:v>#N/A</c:v>
                </c:pt>
                <c:pt idx="10464">
                  <c:v>#N/A</c:v>
                </c:pt>
                <c:pt idx="10465">
                  <c:v>#N/A</c:v>
                </c:pt>
                <c:pt idx="10466">
                  <c:v>#N/A</c:v>
                </c:pt>
                <c:pt idx="10467">
                  <c:v>#N/A</c:v>
                </c:pt>
                <c:pt idx="10468">
                  <c:v>#N/A</c:v>
                </c:pt>
                <c:pt idx="10469">
                  <c:v>#N/A</c:v>
                </c:pt>
                <c:pt idx="10470">
                  <c:v>#N/A</c:v>
                </c:pt>
                <c:pt idx="10471">
                  <c:v>#N/A</c:v>
                </c:pt>
                <c:pt idx="10472">
                  <c:v>#N/A</c:v>
                </c:pt>
                <c:pt idx="10473">
                  <c:v>#N/A</c:v>
                </c:pt>
                <c:pt idx="10474">
                  <c:v>#N/A</c:v>
                </c:pt>
                <c:pt idx="10475">
                  <c:v>#N/A</c:v>
                </c:pt>
                <c:pt idx="10476">
                  <c:v>#N/A</c:v>
                </c:pt>
                <c:pt idx="10477">
                  <c:v>#N/A</c:v>
                </c:pt>
                <c:pt idx="10478">
                  <c:v>#N/A</c:v>
                </c:pt>
                <c:pt idx="10479">
                  <c:v>#N/A</c:v>
                </c:pt>
                <c:pt idx="10480">
                  <c:v>#N/A</c:v>
                </c:pt>
                <c:pt idx="10481">
                  <c:v>#N/A</c:v>
                </c:pt>
                <c:pt idx="10482">
                  <c:v>#N/A</c:v>
                </c:pt>
                <c:pt idx="10483">
                  <c:v>#N/A</c:v>
                </c:pt>
                <c:pt idx="10484">
                  <c:v>#N/A</c:v>
                </c:pt>
                <c:pt idx="10485">
                  <c:v>#N/A</c:v>
                </c:pt>
                <c:pt idx="10486">
                  <c:v>#N/A</c:v>
                </c:pt>
                <c:pt idx="10487">
                  <c:v>#N/A</c:v>
                </c:pt>
                <c:pt idx="10488">
                  <c:v>#N/A</c:v>
                </c:pt>
                <c:pt idx="10489">
                  <c:v>#N/A</c:v>
                </c:pt>
                <c:pt idx="10490">
                  <c:v>#N/A</c:v>
                </c:pt>
                <c:pt idx="10491">
                  <c:v>#N/A</c:v>
                </c:pt>
                <c:pt idx="10492">
                  <c:v>#N/A</c:v>
                </c:pt>
                <c:pt idx="10493">
                  <c:v>#N/A</c:v>
                </c:pt>
                <c:pt idx="10494">
                  <c:v>#N/A</c:v>
                </c:pt>
                <c:pt idx="10495">
                  <c:v>#N/A</c:v>
                </c:pt>
                <c:pt idx="10496">
                  <c:v>#N/A</c:v>
                </c:pt>
                <c:pt idx="10497">
                  <c:v>#N/A</c:v>
                </c:pt>
                <c:pt idx="10498">
                  <c:v>#N/A</c:v>
                </c:pt>
                <c:pt idx="10499">
                  <c:v>#N/A</c:v>
                </c:pt>
                <c:pt idx="10500">
                  <c:v>#N/A</c:v>
                </c:pt>
                <c:pt idx="10501">
                  <c:v>#N/A</c:v>
                </c:pt>
                <c:pt idx="10502">
                  <c:v>#N/A</c:v>
                </c:pt>
                <c:pt idx="10503">
                  <c:v>#N/A</c:v>
                </c:pt>
                <c:pt idx="10504">
                  <c:v>#N/A</c:v>
                </c:pt>
                <c:pt idx="10505">
                  <c:v>#N/A</c:v>
                </c:pt>
                <c:pt idx="10506">
                  <c:v>#N/A</c:v>
                </c:pt>
                <c:pt idx="10507">
                  <c:v>#N/A</c:v>
                </c:pt>
                <c:pt idx="10508">
                  <c:v>#N/A</c:v>
                </c:pt>
                <c:pt idx="10509">
                  <c:v>#N/A</c:v>
                </c:pt>
                <c:pt idx="10510">
                  <c:v>#N/A</c:v>
                </c:pt>
                <c:pt idx="10511">
                  <c:v>#N/A</c:v>
                </c:pt>
                <c:pt idx="10512">
                  <c:v>#N/A</c:v>
                </c:pt>
                <c:pt idx="10513">
                  <c:v>#N/A</c:v>
                </c:pt>
                <c:pt idx="10514">
                  <c:v>#N/A</c:v>
                </c:pt>
                <c:pt idx="10515">
                  <c:v>#N/A</c:v>
                </c:pt>
                <c:pt idx="10516">
                  <c:v>#N/A</c:v>
                </c:pt>
                <c:pt idx="10517">
                  <c:v>#N/A</c:v>
                </c:pt>
                <c:pt idx="10518">
                  <c:v>#N/A</c:v>
                </c:pt>
                <c:pt idx="10519">
                  <c:v>#N/A</c:v>
                </c:pt>
                <c:pt idx="10520">
                  <c:v>#N/A</c:v>
                </c:pt>
                <c:pt idx="10521">
                  <c:v>#N/A</c:v>
                </c:pt>
                <c:pt idx="10522">
                  <c:v>#N/A</c:v>
                </c:pt>
                <c:pt idx="10523">
                  <c:v>#N/A</c:v>
                </c:pt>
                <c:pt idx="10524">
                  <c:v>#N/A</c:v>
                </c:pt>
                <c:pt idx="10525">
                  <c:v>#N/A</c:v>
                </c:pt>
                <c:pt idx="10526">
                  <c:v>#N/A</c:v>
                </c:pt>
                <c:pt idx="10527">
                  <c:v>#N/A</c:v>
                </c:pt>
                <c:pt idx="10528">
                  <c:v>#N/A</c:v>
                </c:pt>
                <c:pt idx="10529">
                  <c:v>#N/A</c:v>
                </c:pt>
                <c:pt idx="10530">
                  <c:v>#N/A</c:v>
                </c:pt>
                <c:pt idx="10531">
                  <c:v>#N/A</c:v>
                </c:pt>
                <c:pt idx="10532">
                  <c:v>#N/A</c:v>
                </c:pt>
                <c:pt idx="10533">
                  <c:v>#N/A</c:v>
                </c:pt>
                <c:pt idx="10534">
                  <c:v>#N/A</c:v>
                </c:pt>
                <c:pt idx="10535">
                  <c:v>#N/A</c:v>
                </c:pt>
                <c:pt idx="10536">
                  <c:v>#N/A</c:v>
                </c:pt>
                <c:pt idx="10537">
                  <c:v>#N/A</c:v>
                </c:pt>
                <c:pt idx="10538">
                  <c:v>#N/A</c:v>
                </c:pt>
                <c:pt idx="10539">
                  <c:v>#N/A</c:v>
                </c:pt>
                <c:pt idx="10540">
                  <c:v>#N/A</c:v>
                </c:pt>
                <c:pt idx="10541">
                  <c:v>#N/A</c:v>
                </c:pt>
                <c:pt idx="10542">
                  <c:v>#N/A</c:v>
                </c:pt>
                <c:pt idx="10543">
                  <c:v>#N/A</c:v>
                </c:pt>
                <c:pt idx="10544">
                  <c:v>#N/A</c:v>
                </c:pt>
                <c:pt idx="10545">
                  <c:v>#N/A</c:v>
                </c:pt>
                <c:pt idx="10546">
                  <c:v>#N/A</c:v>
                </c:pt>
                <c:pt idx="10547">
                  <c:v>#N/A</c:v>
                </c:pt>
                <c:pt idx="10548">
                  <c:v>#N/A</c:v>
                </c:pt>
                <c:pt idx="10549">
                  <c:v>#N/A</c:v>
                </c:pt>
                <c:pt idx="10550">
                  <c:v>#N/A</c:v>
                </c:pt>
                <c:pt idx="10551">
                  <c:v>#N/A</c:v>
                </c:pt>
                <c:pt idx="10552">
                  <c:v>#N/A</c:v>
                </c:pt>
                <c:pt idx="10553">
                  <c:v>#N/A</c:v>
                </c:pt>
                <c:pt idx="10554">
                  <c:v>#N/A</c:v>
                </c:pt>
                <c:pt idx="10555">
                  <c:v>#N/A</c:v>
                </c:pt>
                <c:pt idx="10556">
                  <c:v>#N/A</c:v>
                </c:pt>
                <c:pt idx="10557">
                  <c:v>#N/A</c:v>
                </c:pt>
                <c:pt idx="10558">
                  <c:v>#N/A</c:v>
                </c:pt>
                <c:pt idx="10559">
                  <c:v>#N/A</c:v>
                </c:pt>
                <c:pt idx="10560">
                  <c:v>#N/A</c:v>
                </c:pt>
                <c:pt idx="10561">
                  <c:v>#N/A</c:v>
                </c:pt>
                <c:pt idx="10562">
                  <c:v>#N/A</c:v>
                </c:pt>
                <c:pt idx="10563">
                  <c:v>#N/A</c:v>
                </c:pt>
                <c:pt idx="10564">
                  <c:v>#N/A</c:v>
                </c:pt>
                <c:pt idx="10565">
                  <c:v>#N/A</c:v>
                </c:pt>
                <c:pt idx="10566">
                  <c:v>#N/A</c:v>
                </c:pt>
                <c:pt idx="10567">
                  <c:v>#N/A</c:v>
                </c:pt>
                <c:pt idx="10568">
                  <c:v>#N/A</c:v>
                </c:pt>
                <c:pt idx="10569">
                  <c:v>#N/A</c:v>
                </c:pt>
                <c:pt idx="10570">
                  <c:v>#N/A</c:v>
                </c:pt>
                <c:pt idx="10571">
                  <c:v>#N/A</c:v>
                </c:pt>
                <c:pt idx="10572">
                  <c:v>#N/A</c:v>
                </c:pt>
                <c:pt idx="10573">
                  <c:v>#N/A</c:v>
                </c:pt>
                <c:pt idx="10574">
                  <c:v>#N/A</c:v>
                </c:pt>
                <c:pt idx="10575">
                  <c:v>#N/A</c:v>
                </c:pt>
                <c:pt idx="10576">
                  <c:v>#N/A</c:v>
                </c:pt>
                <c:pt idx="10577">
                  <c:v>#N/A</c:v>
                </c:pt>
                <c:pt idx="10578">
                  <c:v>#N/A</c:v>
                </c:pt>
                <c:pt idx="10579">
                  <c:v>#N/A</c:v>
                </c:pt>
                <c:pt idx="10580">
                  <c:v>#N/A</c:v>
                </c:pt>
                <c:pt idx="10581">
                  <c:v>#N/A</c:v>
                </c:pt>
                <c:pt idx="10582">
                  <c:v>#N/A</c:v>
                </c:pt>
                <c:pt idx="10583">
                  <c:v>#N/A</c:v>
                </c:pt>
                <c:pt idx="10584">
                  <c:v>#N/A</c:v>
                </c:pt>
                <c:pt idx="10585">
                  <c:v>#N/A</c:v>
                </c:pt>
                <c:pt idx="10586">
                  <c:v>#N/A</c:v>
                </c:pt>
                <c:pt idx="10587">
                  <c:v>#N/A</c:v>
                </c:pt>
                <c:pt idx="10588">
                  <c:v>#N/A</c:v>
                </c:pt>
                <c:pt idx="10589">
                  <c:v>#N/A</c:v>
                </c:pt>
                <c:pt idx="10590">
                  <c:v>#N/A</c:v>
                </c:pt>
                <c:pt idx="10591">
                  <c:v>#N/A</c:v>
                </c:pt>
                <c:pt idx="10592">
                  <c:v>#N/A</c:v>
                </c:pt>
                <c:pt idx="10593">
                  <c:v>#N/A</c:v>
                </c:pt>
                <c:pt idx="10594">
                  <c:v>#N/A</c:v>
                </c:pt>
                <c:pt idx="10595">
                  <c:v>#N/A</c:v>
                </c:pt>
                <c:pt idx="10596">
                  <c:v>#N/A</c:v>
                </c:pt>
                <c:pt idx="10597">
                  <c:v>#N/A</c:v>
                </c:pt>
                <c:pt idx="10598">
                  <c:v>#N/A</c:v>
                </c:pt>
                <c:pt idx="10599">
                  <c:v>#N/A</c:v>
                </c:pt>
                <c:pt idx="10600">
                  <c:v>#N/A</c:v>
                </c:pt>
                <c:pt idx="10601">
                  <c:v>#N/A</c:v>
                </c:pt>
                <c:pt idx="10602">
                  <c:v>#N/A</c:v>
                </c:pt>
                <c:pt idx="10603">
                  <c:v>#N/A</c:v>
                </c:pt>
                <c:pt idx="10604">
                  <c:v>#N/A</c:v>
                </c:pt>
                <c:pt idx="10605">
                  <c:v>#N/A</c:v>
                </c:pt>
                <c:pt idx="10606">
                  <c:v>#N/A</c:v>
                </c:pt>
                <c:pt idx="10607">
                  <c:v>#N/A</c:v>
                </c:pt>
                <c:pt idx="10608">
                  <c:v>#N/A</c:v>
                </c:pt>
                <c:pt idx="10609">
                  <c:v>#N/A</c:v>
                </c:pt>
                <c:pt idx="10610">
                  <c:v>#N/A</c:v>
                </c:pt>
                <c:pt idx="10611">
                  <c:v>#N/A</c:v>
                </c:pt>
                <c:pt idx="10612">
                  <c:v>#N/A</c:v>
                </c:pt>
                <c:pt idx="10613">
                  <c:v>#N/A</c:v>
                </c:pt>
                <c:pt idx="10614">
                  <c:v>#N/A</c:v>
                </c:pt>
                <c:pt idx="10615">
                  <c:v>#N/A</c:v>
                </c:pt>
                <c:pt idx="10616">
                  <c:v>#N/A</c:v>
                </c:pt>
                <c:pt idx="10617">
                  <c:v>#N/A</c:v>
                </c:pt>
                <c:pt idx="10618">
                  <c:v>#N/A</c:v>
                </c:pt>
                <c:pt idx="10619">
                  <c:v>#N/A</c:v>
                </c:pt>
                <c:pt idx="10620">
                  <c:v>#N/A</c:v>
                </c:pt>
                <c:pt idx="10621">
                  <c:v>#N/A</c:v>
                </c:pt>
                <c:pt idx="10622">
                  <c:v>#N/A</c:v>
                </c:pt>
                <c:pt idx="10623">
                  <c:v>#N/A</c:v>
                </c:pt>
                <c:pt idx="10624">
                  <c:v>#N/A</c:v>
                </c:pt>
                <c:pt idx="10625">
                  <c:v>#N/A</c:v>
                </c:pt>
                <c:pt idx="10626">
                  <c:v>#N/A</c:v>
                </c:pt>
                <c:pt idx="10627">
                  <c:v>#N/A</c:v>
                </c:pt>
                <c:pt idx="10628">
                  <c:v>#N/A</c:v>
                </c:pt>
                <c:pt idx="10629">
                  <c:v>#N/A</c:v>
                </c:pt>
                <c:pt idx="10630">
                  <c:v>#N/A</c:v>
                </c:pt>
                <c:pt idx="10631">
                  <c:v>#N/A</c:v>
                </c:pt>
                <c:pt idx="10632">
                  <c:v>#N/A</c:v>
                </c:pt>
                <c:pt idx="10633">
                  <c:v>#N/A</c:v>
                </c:pt>
                <c:pt idx="10634">
                  <c:v>#N/A</c:v>
                </c:pt>
                <c:pt idx="10635">
                  <c:v>#N/A</c:v>
                </c:pt>
                <c:pt idx="10636">
                  <c:v>#N/A</c:v>
                </c:pt>
                <c:pt idx="10637">
                  <c:v>#N/A</c:v>
                </c:pt>
                <c:pt idx="10638">
                  <c:v>#N/A</c:v>
                </c:pt>
                <c:pt idx="10639">
                  <c:v>#N/A</c:v>
                </c:pt>
                <c:pt idx="10640">
                  <c:v>#N/A</c:v>
                </c:pt>
                <c:pt idx="10641">
                  <c:v>#N/A</c:v>
                </c:pt>
                <c:pt idx="10642">
                  <c:v>#N/A</c:v>
                </c:pt>
                <c:pt idx="10643">
                  <c:v>#N/A</c:v>
                </c:pt>
                <c:pt idx="10644">
                  <c:v>#N/A</c:v>
                </c:pt>
                <c:pt idx="10645">
                  <c:v>#N/A</c:v>
                </c:pt>
                <c:pt idx="10646">
                  <c:v>#N/A</c:v>
                </c:pt>
                <c:pt idx="10647">
                  <c:v>#N/A</c:v>
                </c:pt>
                <c:pt idx="10648">
                  <c:v>#N/A</c:v>
                </c:pt>
                <c:pt idx="10649">
                  <c:v>#N/A</c:v>
                </c:pt>
                <c:pt idx="10650">
                  <c:v>#N/A</c:v>
                </c:pt>
                <c:pt idx="10651">
                  <c:v>#N/A</c:v>
                </c:pt>
                <c:pt idx="10652">
                  <c:v>#N/A</c:v>
                </c:pt>
                <c:pt idx="10653">
                  <c:v>#N/A</c:v>
                </c:pt>
                <c:pt idx="10654">
                  <c:v>#N/A</c:v>
                </c:pt>
                <c:pt idx="10655">
                  <c:v>#N/A</c:v>
                </c:pt>
                <c:pt idx="10656">
                  <c:v>#N/A</c:v>
                </c:pt>
                <c:pt idx="10657">
                  <c:v>#N/A</c:v>
                </c:pt>
                <c:pt idx="10658">
                  <c:v>#N/A</c:v>
                </c:pt>
                <c:pt idx="10659">
                  <c:v>#N/A</c:v>
                </c:pt>
                <c:pt idx="10660">
                  <c:v>#N/A</c:v>
                </c:pt>
                <c:pt idx="10661">
                  <c:v>#N/A</c:v>
                </c:pt>
                <c:pt idx="10662">
                  <c:v>#N/A</c:v>
                </c:pt>
                <c:pt idx="10663">
                  <c:v>#N/A</c:v>
                </c:pt>
                <c:pt idx="10664">
                  <c:v>#N/A</c:v>
                </c:pt>
                <c:pt idx="10665">
                  <c:v>#N/A</c:v>
                </c:pt>
                <c:pt idx="10666">
                  <c:v>#N/A</c:v>
                </c:pt>
                <c:pt idx="10667">
                  <c:v>#N/A</c:v>
                </c:pt>
                <c:pt idx="10668">
                  <c:v>#N/A</c:v>
                </c:pt>
                <c:pt idx="10669">
                  <c:v>#N/A</c:v>
                </c:pt>
                <c:pt idx="10670">
                  <c:v>#N/A</c:v>
                </c:pt>
                <c:pt idx="10671">
                  <c:v>#N/A</c:v>
                </c:pt>
                <c:pt idx="10672">
                  <c:v>#N/A</c:v>
                </c:pt>
                <c:pt idx="10673">
                  <c:v>#N/A</c:v>
                </c:pt>
                <c:pt idx="10674">
                  <c:v>#N/A</c:v>
                </c:pt>
                <c:pt idx="10675">
                  <c:v>#N/A</c:v>
                </c:pt>
                <c:pt idx="10676">
                  <c:v>#N/A</c:v>
                </c:pt>
                <c:pt idx="10677">
                  <c:v>#N/A</c:v>
                </c:pt>
                <c:pt idx="10678">
                  <c:v>#N/A</c:v>
                </c:pt>
                <c:pt idx="10679">
                  <c:v>#N/A</c:v>
                </c:pt>
                <c:pt idx="10680">
                  <c:v>#N/A</c:v>
                </c:pt>
                <c:pt idx="10681">
                  <c:v>#N/A</c:v>
                </c:pt>
                <c:pt idx="10682">
                  <c:v>#N/A</c:v>
                </c:pt>
                <c:pt idx="10683">
                  <c:v>#N/A</c:v>
                </c:pt>
                <c:pt idx="10684">
                  <c:v>#N/A</c:v>
                </c:pt>
                <c:pt idx="10685">
                  <c:v>#N/A</c:v>
                </c:pt>
                <c:pt idx="10686">
                  <c:v>#N/A</c:v>
                </c:pt>
                <c:pt idx="10687">
                  <c:v>#N/A</c:v>
                </c:pt>
                <c:pt idx="10688">
                  <c:v>#N/A</c:v>
                </c:pt>
                <c:pt idx="10689">
                  <c:v>#N/A</c:v>
                </c:pt>
                <c:pt idx="10690">
                  <c:v>#N/A</c:v>
                </c:pt>
                <c:pt idx="10691">
                  <c:v>#N/A</c:v>
                </c:pt>
                <c:pt idx="10692">
                  <c:v>#N/A</c:v>
                </c:pt>
                <c:pt idx="10693">
                  <c:v>#N/A</c:v>
                </c:pt>
                <c:pt idx="10694">
                  <c:v>#N/A</c:v>
                </c:pt>
                <c:pt idx="10695">
                  <c:v>#N/A</c:v>
                </c:pt>
                <c:pt idx="10696">
                  <c:v>#N/A</c:v>
                </c:pt>
                <c:pt idx="10697">
                  <c:v>#N/A</c:v>
                </c:pt>
                <c:pt idx="10698">
                  <c:v>#N/A</c:v>
                </c:pt>
                <c:pt idx="10699">
                  <c:v>#N/A</c:v>
                </c:pt>
                <c:pt idx="10700">
                  <c:v>#N/A</c:v>
                </c:pt>
                <c:pt idx="10701">
                  <c:v>#N/A</c:v>
                </c:pt>
                <c:pt idx="10702">
                  <c:v>#N/A</c:v>
                </c:pt>
                <c:pt idx="10703">
                  <c:v>#N/A</c:v>
                </c:pt>
                <c:pt idx="10704">
                  <c:v>#N/A</c:v>
                </c:pt>
                <c:pt idx="10705">
                  <c:v>#N/A</c:v>
                </c:pt>
                <c:pt idx="10706">
                  <c:v>#N/A</c:v>
                </c:pt>
                <c:pt idx="10707">
                  <c:v>#N/A</c:v>
                </c:pt>
                <c:pt idx="10708">
                  <c:v>#N/A</c:v>
                </c:pt>
                <c:pt idx="10709">
                  <c:v>#N/A</c:v>
                </c:pt>
                <c:pt idx="10710">
                  <c:v>#N/A</c:v>
                </c:pt>
                <c:pt idx="10711">
                  <c:v>#N/A</c:v>
                </c:pt>
                <c:pt idx="10712">
                  <c:v>#N/A</c:v>
                </c:pt>
                <c:pt idx="10713">
                  <c:v>#N/A</c:v>
                </c:pt>
                <c:pt idx="10714">
                  <c:v>#N/A</c:v>
                </c:pt>
                <c:pt idx="10715">
                  <c:v>#N/A</c:v>
                </c:pt>
                <c:pt idx="10716">
                  <c:v>#N/A</c:v>
                </c:pt>
                <c:pt idx="10717">
                  <c:v>#N/A</c:v>
                </c:pt>
                <c:pt idx="10718">
                  <c:v>#N/A</c:v>
                </c:pt>
                <c:pt idx="10719">
                  <c:v>#N/A</c:v>
                </c:pt>
                <c:pt idx="10720">
                  <c:v>#N/A</c:v>
                </c:pt>
                <c:pt idx="10721">
                  <c:v>#N/A</c:v>
                </c:pt>
                <c:pt idx="10722">
                  <c:v>#N/A</c:v>
                </c:pt>
                <c:pt idx="10723">
                  <c:v>#N/A</c:v>
                </c:pt>
                <c:pt idx="10724">
                  <c:v>#N/A</c:v>
                </c:pt>
                <c:pt idx="10725">
                  <c:v>#N/A</c:v>
                </c:pt>
                <c:pt idx="10726">
                  <c:v>#N/A</c:v>
                </c:pt>
                <c:pt idx="10727">
                  <c:v>#N/A</c:v>
                </c:pt>
                <c:pt idx="10728">
                  <c:v>#N/A</c:v>
                </c:pt>
                <c:pt idx="10729">
                  <c:v>#N/A</c:v>
                </c:pt>
                <c:pt idx="10730">
                  <c:v>#N/A</c:v>
                </c:pt>
                <c:pt idx="10731">
                  <c:v>#N/A</c:v>
                </c:pt>
                <c:pt idx="10732">
                  <c:v>#N/A</c:v>
                </c:pt>
                <c:pt idx="10733">
                  <c:v>#N/A</c:v>
                </c:pt>
                <c:pt idx="10734">
                  <c:v>#N/A</c:v>
                </c:pt>
                <c:pt idx="10735">
                  <c:v>#N/A</c:v>
                </c:pt>
                <c:pt idx="10736">
                  <c:v>#N/A</c:v>
                </c:pt>
                <c:pt idx="10737">
                  <c:v>#N/A</c:v>
                </c:pt>
                <c:pt idx="10738">
                  <c:v>#N/A</c:v>
                </c:pt>
                <c:pt idx="10739">
                  <c:v>#N/A</c:v>
                </c:pt>
                <c:pt idx="10740">
                  <c:v>#N/A</c:v>
                </c:pt>
                <c:pt idx="10741">
                  <c:v>#N/A</c:v>
                </c:pt>
                <c:pt idx="10742">
                  <c:v>#N/A</c:v>
                </c:pt>
                <c:pt idx="10743">
                  <c:v>#N/A</c:v>
                </c:pt>
                <c:pt idx="10744">
                  <c:v>#N/A</c:v>
                </c:pt>
                <c:pt idx="10745">
                  <c:v>#N/A</c:v>
                </c:pt>
                <c:pt idx="10746">
                  <c:v>#N/A</c:v>
                </c:pt>
                <c:pt idx="10747">
                  <c:v>#N/A</c:v>
                </c:pt>
                <c:pt idx="10748">
                  <c:v>#N/A</c:v>
                </c:pt>
                <c:pt idx="10749">
                  <c:v>#N/A</c:v>
                </c:pt>
                <c:pt idx="10750">
                  <c:v>#N/A</c:v>
                </c:pt>
                <c:pt idx="10751">
                  <c:v>#N/A</c:v>
                </c:pt>
                <c:pt idx="10752">
                  <c:v>#N/A</c:v>
                </c:pt>
                <c:pt idx="10753">
                  <c:v>#N/A</c:v>
                </c:pt>
                <c:pt idx="10754">
                  <c:v>#N/A</c:v>
                </c:pt>
                <c:pt idx="10755">
                  <c:v>#N/A</c:v>
                </c:pt>
                <c:pt idx="10756">
                  <c:v>#N/A</c:v>
                </c:pt>
                <c:pt idx="10757">
                  <c:v>#N/A</c:v>
                </c:pt>
                <c:pt idx="10758">
                  <c:v>#N/A</c:v>
                </c:pt>
                <c:pt idx="10759">
                  <c:v>#N/A</c:v>
                </c:pt>
                <c:pt idx="10760">
                  <c:v>#N/A</c:v>
                </c:pt>
                <c:pt idx="10761">
                  <c:v>#N/A</c:v>
                </c:pt>
                <c:pt idx="10762">
                  <c:v>#N/A</c:v>
                </c:pt>
                <c:pt idx="10763">
                  <c:v>#N/A</c:v>
                </c:pt>
                <c:pt idx="10764">
                  <c:v>#N/A</c:v>
                </c:pt>
                <c:pt idx="10765">
                  <c:v>#N/A</c:v>
                </c:pt>
                <c:pt idx="10766">
                  <c:v>#N/A</c:v>
                </c:pt>
                <c:pt idx="10767">
                  <c:v>#N/A</c:v>
                </c:pt>
                <c:pt idx="10768">
                  <c:v>#N/A</c:v>
                </c:pt>
                <c:pt idx="10769">
                  <c:v>#N/A</c:v>
                </c:pt>
                <c:pt idx="10770">
                  <c:v>#N/A</c:v>
                </c:pt>
                <c:pt idx="10771">
                  <c:v>#N/A</c:v>
                </c:pt>
                <c:pt idx="10772">
                  <c:v>#N/A</c:v>
                </c:pt>
                <c:pt idx="10773">
                  <c:v>#N/A</c:v>
                </c:pt>
                <c:pt idx="10774">
                  <c:v>#N/A</c:v>
                </c:pt>
                <c:pt idx="10775">
                  <c:v>#N/A</c:v>
                </c:pt>
                <c:pt idx="10776">
                  <c:v>#N/A</c:v>
                </c:pt>
                <c:pt idx="10777">
                  <c:v>#N/A</c:v>
                </c:pt>
                <c:pt idx="10778">
                  <c:v>#N/A</c:v>
                </c:pt>
                <c:pt idx="10779">
                  <c:v>#N/A</c:v>
                </c:pt>
                <c:pt idx="10780">
                  <c:v>#N/A</c:v>
                </c:pt>
                <c:pt idx="10781">
                  <c:v>#N/A</c:v>
                </c:pt>
                <c:pt idx="10782">
                  <c:v>#N/A</c:v>
                </c:pt>
                <c:pt idx="10783">
                  <c:v>#N/A</c:v>
                </c:pt>
                <c:pt idx="10784">
                  <c:v>#N/A</c:v>
                </c:pt>
                <c:pt idx="10785">
                  <c:v>#N/A</c:v>
                </c:pt>
                <c:pt idx="10786">
                  <c:v>#N/A</c:v>
                </c:pt>
                <c:pt idx="10787">
                  <c:v>#N/A</c:v>
                </c:pt>
                <c:pt idx="10788">
                  <c:v>#N/A</c:v>
                </c:pt>
                <c:pt idx="10789">
                  <c:v>#N/A</c:v>
                </c:pt>
                <c:pt idx="10790">
                  <c:v>#N/A</c:v>
                </c:pt>
                <c:pt idx="10791">
                  <c:v>#N/A</c:v>
                </c:pt>
                <c:pt idx="10792">
                  <c:v>#N/A</c:v>
                </c:pt>
                <c:pt idx="10793">
                  <c:v>#N/A</c:v>
                </c:pt>
                <c:pt idx="10794">
                  <c:v>#N/A</c:v>
                </c:pt>
                <c:pt idx="10795">
                  <c:v>#N/A</c:v>
                </c:pt>
                <c:pt idx="10796">
                  <c:v>#N/A</c:v>
                </c:pt>
                <c:pt idx="10797">
                  <c:v>#N/A</c:v>
                </c:pt>
                <c:pt idx="10798">
                  <c:v>#N/A</c:v>
                </c:pt>
                <c:pt idx="10799">
                  <c:v>#N/A</c:v>
                </c:pt>
                <c:pt idx="10800">
                  <c:v>#N/A</c:v>
                </c:pt>
                <c:pt idx="10801">
                  <c:v>#N/A</c:v>
                </c:pt>
                <c:pt idx="10802">
                  <c:v>#N/A</c:v>
                </c:pt>
                <c:pt idx="10803">
                  <c:v>#N/A</c:v>
                </c:pt>
                <c:pt idx="10804">
                  <c:v>#N/A</c:v>
                </c:pt>
                <c:pt idx="10805">
                  <c:v>#N/A</c:v>
                </c:pt>
                <c:pt idx="10806">
                  <c:v>#N/A</c:v>
                </c:pt>
                <c:pt idx="10807">
                  <c:v>#N/A</c:v>
                </c:pt>
                <c:pt idx="10808">
                  <c:v>#N/A</c:v>
                </c:pt>
                <c:pt idx="10809">
                  <c:v>#N/A</c:v>
                </c:pt>
                <c:pt idx="10810">
                  <c:v>#N/A</c:v>
                </c:pt>
                <c:pt idx="10811">
                  <c:v>#N/A</c:v>
                </c:pt>
                <c:pt idx="10812">
                  <c:v>#N/A</c:v>
                </c:pt>
                <c:pt idx="10813">
                  <c:v>#N/A</c:v>
                </c:pt>
                <c:pt idx="10814">
                  <c:v>#N/A</c:v>
                </c:pt>
                <c:pt idx="10815">
                  <c:v>#N/A</c:v>
                </c:pt>
                <c:pt idx="10816">
                  <c:v>#N/A</c:v>
                </c:pt>
                <c:pt idx="10817">
                  <c:v>#N/A</c:v>
                </c:pt>
                <c:pt idx="10818">
                  <c:v>#N/A</c:v>
                </c:pt>
                <c:pt idx="10819">
                  <c:v>#N/A</c:v>
                </c:pt>
                <c:pt idx="10820">
                  <c:v>#N/A</c:v>
                </c:pt>
                <c:pt idx="10821">
                  <c:v>#N/A</c:v>
                </c:pt>
                <c:pt idx="10822">
                  <c:v>#N/A</c:v>
                </c:pt>
                <c:pt idx="10823">
                  <c:v>#N/A</c:v>
                </c:pt>
                <c:pt idx="10824">
                  <c:v>#N/A</c:v>
                </c:pt>
                <c:pt idx="10825">
                  <c:v>#N/A</c:v>
                </c:pt>
                <c:pt idx="10826">
                  <c:v>#N/A</c:v>
                </c:pt>
                <c:pt idx="10827">
                  <c:v>#N/A</c:v>
                </c:pt>
                <c:pt idx="10828">
                  <c:v>#N/A</c:v>
                </c:pt>
                <c:pt idx="10829">
                  <c:v>#N/A</c:v>
                </c:pt>
                <c:pt idx="10830">
                  <c:v>#N/A</c:v>
                </c:pt>
                <c:pt idx="10831">
                  <c:v>#N/A</c:v>
                </c:pt>
                <c:pt idx="10832">
                  <c:v>#N/A</c:v>
                </c:pt>
                <c:pt idx="10833">
                  <c:v>#N/A</c:v>
                </c:pt>
                <c:pt idx="10834">
                  <c:v>#N/A</c:v>
                </c:pt>
                <c:pt idx="10835">
                  <c:v>#N/A</c:v>
                </c:pt>
                <c:pt idx="10836">
                  <c:v>#N/A</c:v>
                </c:pt>
                <c:pt idx="10837">
                  <c:v>#N/A</c:v>
                </c:pt>
                <c:pt idx="10838">
                  <c:v>#N/A</c:v>
                </c:pt>
                <c:pt idx="10839">
                  <c:v>#N/A</c:v>
                </c:pt>
                <c:pt idx="10840">
                  <c:v>#N/A</c:v>
                </c:pt>
                <c:pt idx="10841">
                  <c:v>#N/A</c:v>
                </c:pt>
                <c:pt idx="10842">
                  <c:v>#N/A</c:v>
                </c:pt>
                <c:pt idx="10843">
                  <c:v>#N/A</c:v>
                </c:pt>
                <c:pt idx="10844">
                  <c:v>#N/A</c:v>
                </c:pt>
                <c:pt idx="10845">
                  <c:v>#N/A</c:v>
                </c:pt>
                <c:pt idx="10846">
                  <c:v>#N/A</c:v>
                </c:pt>
                <c:pt idx="10847">
                  <c:v>#N/A</c:v>
                </c:pt>
                <c:pt idx="10848">
                  <c:v>#N/A</c:v>
                </c:pt>
                <c:pt idx="10849">
                  <c:v>#N/A</c:v>
                </c:pt>
                <c:pt idx="10850">
                  <c:v>#N/A</c:v>
                </c:pt>
                <c:pt idx="10851">
                  <c:v>#N/A</c:v>
                </c:pt>
                <c:pt idx="10852">
                  <c:v>#N/A</c:v>
                </c:pt>
                <c:pt idx="10853">
                  <c:v>#N/A</c:v>
                </c:pt>
                <c:pt idx="10854">
                  <c:v>#N/A</c:v>
                </c:pt>
                <c:pt idx="10855">
                  <c:v>#N/A</c:v>
                </c:pt>
                <c:pt idx="10856">
                  <c:v>#N/A</c:v>
                </c:pt>
                <c:pt idx="10857">
                  <c:v>#N/A</c:v>
                </c:pt>
                <c:pt idx="10858">
                  <c:v>#N/A</c:v>
                </c:pt>
                <c:pt idx="10859">
                  <c:v>#N/A</c:v>
                </c:pt>
                <c:pt idx="10860">
                  <c:v>#N/A</c:v>
                </c:pt>
                <c:pt idx="10861">
                  <c:v>#N/A</c:v>
                </c:pt>
                <c:pt idx="10862">
                  <c:v>#N/A</c:v>
                </c:pt>
                <c:pt idx="10863">
                  <c:v>#N/A</c:v>
                </c:pt>
                <c:pt idx="10864">
                  <c:v>#N/A</c:v>
                </c:pt>
                <c:pt idx="10865">
                  <c:v>#N/A</c:v>
                </c:pt>
                <c:pt idx="10866">
                  <c:v>#N/A</c:v>
                </c:pt>
                <c:pt idx="10867">
                  <c:v>#N/A</c:v>
                </c:pt>
                <c:pt idx="10868">
                  <c:v>#N/A</c:v>
                </c:pt>
                <c:pt idx="10869">
                  <c:v>#N/A</c:v>
                </c:pt>
                <c:pt idx="10870">
                  <c:v>#N/A</c:v>
                </c:pt>
                <c:pt idx="10871">
                  <c:v>#N/A</c:v>
                </c:pt>
                <c:pt idx="10872">
                  <c:v>#N/A</c:v>
                </c:pt>
                <c:pt idx="10873">
                  <c:v>#N/A</c:v>
                </c:pt>
                <c:pt idx="10874">
                  <c:v>#N/A</c:v>
                </c:pt>
                <c:pt idx="10875">
                  <c:v>#N/A</c:v>
                </c:pt>
                <c:pt idx="10876">
                  <c:v>#N/A</c:v>
                </c:pt>
                <c:pt idx="10877">
                  <c:v>#N/A</c:v>
                </c:pt>
                <c:pt idx="10878">
                  <c:v>#N/A</c:v>
                </c:pt>
                <c:pt idx="10879">
                  <c:v>#N/A</c:v>
                </c:pt>
                <c:pt idx="10880">
                  <c:v>#N/A</c:v>
                </c:pt>
                <c:pt idx="10881">
                  <c:v>#N/A</c:v>
                </c:pt>
                <c:pt idx="10882">
                  <c:v>#N/A</c:v>
                </c:pt>
                <c:pt idx="10883">
                  <c:v>#N/A</c:v>
                </c:pt>
                <c:pt idx="10884">
                  <c:v>#N/A</c:v>
                </c:pt>
                <c:pt idx="10885">
                  <c:v>#N/A</c:v>
                </c:pt>
                <c:pt idx="10886">
                  <c:v>#N/A</c:v>
                </c:pt>
                <c:pt idx="10887">
                  <c:v>#N/A</c:v>
                </c:pt>
                <c:pt idx="10888">
                  <c:v>#N/A</c:v>
                </c:pt>
                <c:pt idx="10889">
                  <c:v>#N/A</c:v>
                </c:pt>
                <c:pt idx="10890">
                  <c:v>#N/A</c:v>
                </c:pt>
                <c:pt idx="10891">
                  <c:v>#N/A</c:v>
                </c:pt>
                <c:pt idx="10892">
                  <c:v>#N/A</c:v>
                </c:pt>
                <c:pt idx="10893">
                  <c:v>#N/A</c:v>
                </c:pt>
                <c:pt idx="10894">
                  <c:v>#N/A</c:v>
                </c:pt>
                <c:pt idx="10895">
                  <c:v>#N/A</c:v>
                </c:pt>
                <c:pt idx="10896">
                  <c:v>#N/A</c:v>
                </c:pt>
                <c:pt idx="10897">
                  <c:v>#N/A</c:v>
                </c:pt>
                <c:pt idx="10898">
                  <c:v>#N/A</c:v>
                </c:pt>
                <c:pt idx="10899">
                  <c:v>#N/A</c:v>
                </c:pt>
                <c:pt idx="10900">
                  <c:v>#N/A</c:v>
                </c:pt>
                <c:pt idx="10901">
                  <c:v>#N/A</c:v>
                </c:pt>
                <c:pt idx="10902">
                  <c:v>#N/A</c:v>
                </c:pt>
                <c:pt idx="10903">
                  <c:v>#N/A</c:v>
                </c:pt>
                <c:pt idx="10904">
                  <c:v>#N/A</c:v>
                </c:pt>
                <c:pt idx="10905">
                  <c:v>#N/A</c:v>
                </c:pt>
                <c:pt idx="10906">
                  <c:v>#N/A</c:v>
                </c:pt>
                <c:pt idx="10907">
                  <c:v>#N/A</c:v>
                </c:pt>
                <c:pt idx="10908">
                  <c:v>#N/A</c:v>
                </c:pt>
                <c:pt idx="10909">
                  <c:v>#N/A</c:v>
                </c:pt>
                <c:pt idx="10910">
                  <c:v>#N/A</c:v>
                </c:pt>
                <c:pt idx="10911">
                  <c:v>#N/A</c:v>
                </c:pt>
                <c:pt idx="10912">
                  <c:v>#N/A</c:v>
                </c:pt>
                <c:pt idx="10913">
                  <c:v>#N/A</c:v>
                </c:pt>
                <c:pt idx="10914">
                  <c:v>#N/A</c:v>
                </c:pt>
                <c:pt idx="10915">
                  <c:v>#N/A</c:v>
                </c:pt>
                <c:pt idx="10916">
                  <c:v>#N/A</c:v>
                </c:pt>
                <c:pt idx="10917">
                  <c:v>#N/A</c:v>
                </c:pt>
                <c:pt idx="10918">
                  <c:v>#N/A</c:v>
                </c:pt>
                <c:pt idx="10919">
                  <c:v>#N/A</c:v>
                </c:pt>
                <c:pt idx="10920">
                  <c:v>#N/A</c:v>
                </c:pt>
                <c:pt idx="10921">
                  <c:v>#N/A</c:v>
                </c:pt>
                <c:pt idx="10922">
                  <c:v>#N/A</c:v>
                </c:pt>
                <c:pt idx="10923">
                  <c:v>#N/A</c:v>
                </c:pt>
                <c:pt idx="10924">
                  <c:v>#N/A</c:v>
                </c:pt>
                <c:pt idx="10925">
                  <c:v>#N/A</c:v>
                </c:pt>
                <c:pt idx="10926">
                  <c:v>#N/A</c:v>
                </c:pt>
                <c:pt idx="10927">
                  <c:v>#N/A</c:v>
                </c:pt>
                <c:pt idx="10928">
                  <c:v>#N/A</c:v>
                </c:pt>
                <c:pt idx="10929">
                  <c:v>#N/A</c:v>
                </c:pt>
                <c:pt idx="10930">
                  <c:v>#N/A</c:v>
                </c:pt>
                <c:pt idx="10931">
                  <c:v>#N/A</c:v>
                </c:pt>
                <c:pt idx="10932">
                  <c:v>#N/A</c:v>
                </c:pt>
                <c:pt idx="10933">
                  <c:v>#N/A</c:v>
                </c:pt>
                <c:pt idx="10934">
                  <c:v>#N/A</c:v>
                </c:pt>
                <c:pt idx="10935">
                  <c:v>#N/A</c:v>
                </c:pt>
                <c:pt idx="10936">
                  <c:v>#N/A</c:v>
                </c:pt>
                <c:pt idx="10937">
                  <c:v>#N/A</c:v>
                </c:pt>
                <c:pt idx="10938">
                  <c:v>#N/A</c:v>
                </c:pt>
                <c:pt idx="10939">
                  <c:v>#N/A</c:v>
                </c:pt>
                <c:pt idx="10940">
                  <c:v>#N/A</c:v>
                </c:pt>
                <c:pt idx="10941">
                  <c:v>#N/A</c:v>
                </c:pt>
                <c:pt idx="10942">
                  <c:v>#N/A</c:v>
                </c:pt>
                <c:pt idx="10943">
                  <c:v>#N/A</c:v>
                </c:pt>
                <c:pt idx="10944">
                  <c:v>#N/A</c:v>
                </c:pt>
                <c:pt idx="10945">
                  <c:v>#N/A</c:v>
                </c:pt>
                <c:pt idx="10946">
                  <c:v>#N/A</c:v>
                </c:pt>
                <c:pt idx="10947">
                  <c:v>#N/A</c:v>
                </c:pt>
                <c:pt idx="10948">
                  <c:v>#N/A</c:v>
                </c:pt>
                <c:pt idx="10949">
                  <c:v>#N/A</c:v>
                </c:pt>
                <c:pt idx="10950">
                  <c:v>#N/A</c:v>
                </c:pt>
                <c:pt idx="10951">
                  <c:v>#N/A</c:v>
                </c:pt>
                <c:pt idx="10952">
                  <c:v>#N/A</c:v>
                </c:pt>
                <c:pt idx="10953">
                  <c:v>#N/A</c:v>
                </c:pt>
                <c:pt idx="10954">
                  <c:v>#N/A</c:v>
                </c:pt>
                <c:pt idx="10955">
                  <c:v>#N/A</c:v>
                </c:pt>
                <c:pt idx="10956">
                  <c:v>#N/A</c:v>
                </c:pt>
                <c:pt idx="10957">
                  <c:v>#N/A</c:v>
                </c:pt>
                <c:pt idx="10958">
                  <c:v>#N/A</c:v>
                </c:pt>
                <c:pt idx="10959">
                  <c:v>#N/A</c:v>
                </c:pt>
                <c:pt idx="10960">
                  <c:v>#N/A</c:v>
                </c:pt>
                <c:pt idx="10961">
                  <c:v>#N/A</c:v>
                </c:pt>
                <c:pt idx="10962">
                  <c:v>#N/A</c:v>
                </c:pt>
                <c:pt idx="10963">
                  <c:v>#N/A</c:v>
                </c:pt>
                <c:pt idx="10964">
                  <c:v>#N/A</c:v>
                </c:pt>
                <c:pt idx="10965">
                  <c:v>#N/A</c:v>
                </c:pt>
                <c:pt idx="10966">
                  <c:v>#N/A</c:v>
                </c:pt>
                <c:pt idx="10967">
                  <c:v>#N/A</c:v>
                </c:pt>
                <c:pt idx="10968">
                  <c:v>#N/A</c:v>
                </c:pt>
                <c:pt idx="10969">
                  <c:v>#N/A</c:v>
                </c:pt>
                <c:pt idx="10970">
                  <c:v>#N/A</c:v>
                </c:pt>
                <c:pt idx="10971">
                  <c:v>#N/A</c:v>
                </c:pt>
                <c:pt idx="10972">
                  <c:v>#N/A</c:v>
                </c:pt>
                <c:pt idx="10973">
                  <c:v>#N/A</c:v>
                </c:pt>
                <c:pt idx="10974">
                  <c:v>#N/A</c:v>
                </c:pt>
                <c:pt idx="10975">
                  <c:v>#N/A</c:v>
                </c:pt>
                <c:pt idx="10976">
                  <c:v>#N/A</c:v>
                </c:pt>
                <c:pt idx="10977">
                  <c:v>#N/A</c:v>
                </c:pt>
                <c:pt idx="10978">
                  <c:v>#N/A</c:v>
                </c:pt>
                <c:pt idx="10979">
                  <c:v>#N/A</c:v>
                </c:pt>
                <c:pt idx="10980">
                  <c:v>#N/A</c:v>
                </c:pt>
                <c:pt idx="10981">
                  <c:v>#N/A</c:v>
                </c:pt>
                <c:pt idx="10982">
                  <c:v>#N/A</c:v>
                </c:pt>
                <c:pt idx="10983">
                  <c:v>#N/A</c:v>
                </c:pt>
                <c:pt idx="10984">
                  <c:v>#N/A</c:v>
                </c:pt>
                <c:pt idx="10985">
                  <c:v>#N/A</c:v>
                </c:pt>
                <c:pt idx="10986">
                  <c:v>#N/A</c:v>
                </c:pt>
                <c:pt idx="10987">
                  <c:v>#N/A</c:v>
                </c:pt>
                <c:pt idx="10988">
                  <c:v>#N/A</c:v>
                </c:pt>
                <c:pt idx="10989">
                  <c:v>#N/A</c:v>
                </c:pt>
                <c:pt idx="10990">
                  <c:v>#N/A</c:v>
                </c:pt>
                <c:pt idx="10991">
                  <c:v>#N/A</c:v>
                </c:pt>
                <c:pt idx="10992">
                  <c:v>#N/A</c:v>
                </c:pt>
                <c:pt idx="10993">
                  <c:v>#N/A</c:v>
                </c:pt>
                <c:pt idx="10994">
                  <c:v>#N/A</c:v>
                </c:pt>
                <c:pt idx="10995">
                  <c:v>#N/A</c:v>
                </c:pt>
                <c:pt idx="10996">
                  <c:v>#N/A</c:v>
                </c:pt>
                <c:pt idx="10997">
                  <c:v>#N/A</c:v>
                </c:pt>
                <c:pt idx="10998">
                  <c:v>#N/A</c:v>
                </c:pt>
                <c:pt idx="10999">
                  <c:v>#N/A</c:v>
                </c:pt>
                <c:pt idx="11000">
                  <c:v>#N/A</c:v>
                </c:pt>
                <c:pt idx="11001">
                  <c:v>#N/A</c:v>
                </c:pt>
                <c:pt idx="11002">
                  <c:v>#N/A</c:v>
                </c:pt>
                <c:pt idx="11003">
                  <c:v>#N/A</c:v>
                </c:pt>
                <c:pt idx="11004">
                  <c:v>#N/A</c:v>
                </c:pt>
                <c:pt idx="11005">
                  <c:v>#N/A</c:v>
                </c:pt>
                <c:pt idx="11006">
                  <c:v>#N/A</c:v>
                </c:pt>
                <c:pt idx="11007">
                  <c:v>#N/A</c:v>
                </c:pt>
                <c:pt idx="11008">
                  <c:v>#N/A</c:v>
                </c:pt>
                <c:pt idx="11009">
                  <c:v>#N/A</c:v>
                </c:pt>
                <c:pt idx="11010">
                  <c:v>#N/A</c:v>
                </c:pt>
                <c:pt idx="11011">
                  <c:v>#N/A</c:v>
                </c:pt>
                <c:pt idx="11012">
                  <c:v>#N/A</c:v>
                </c:pt>
                <c:pt idx="11013">
                  <c:v>#N/A</c:v>
                </c:pt>
                <c:pt idx="11014">
                  <c:v>#N/A</c:v>
                </c:pt>
                <c:pt idx="11015">
                  <c:v>#N/A</c:v>
                </c:pt>
                <c:pt idx="11016">
                  <c:v>#N/A</c:v>
                </c:pt>
                <c:pt idx="11017">
                  <c:v>#N/A</c:v>
                </c:pt>
                <c:pt idx="11018">
                  <c:v>#N/A</c:v>
                </c:pt>
                <c:pt idx="11019">
                  <c:v>#N/A</c:v>
                </c:pt>
                <c:pt idx="11020">
                  <c:v>#N/A</c:v>
                </c:pt>
                <c:pt idx="11021">
                  <c:v>#N/A</c:v>
                </c:pt>
                <c:pt idx="11022">
                  <c:v>#N/A</c:v>
                </c:pt>
                <c:pt idx="11023">
                  <c:v>#N/A</c:v>
                </c:pt>
                <c:pt idx="11024">
                  <c:v>#N/A</c:v>
                </c:pt>
                <c:pt idx="11025">
                  <c:v>#N/A</c:v>
                </c:pt>
                <c:pt idx="11026">
                  <c:v>#N/A</c:v>
                </c:pt>
                <c:pt idx="11027">
                  <c:v>#N/A</c:v>
                </c:pt>
                <c:pt idx="11028">
                  <c:v>#N/A</c:v>
                </c:pt>
                <c:pt idx="11029">
                  <c:v>#N/A</c:v>
                </c:pt>
                <c:pt idx="11030">
                  <c:v>#N/A</c:v>
                </c:pt>
                <c:pt idx="11031">
                  <c:v>#N/A</c:v>
                </c:pt>
                <c:pt idx="11032">
                  <c:v>#N/A</c:v>
                </c:pt>
                <c:pt idx="11033">
                  <c:v>#N/A</c:v>
                </c:pt>
                <c:pt idx="11034">
                  <c:v>#N/A</c:v>
                </c:pt>
                <c:pt idx="11035">
                  <c:v>#N/A</c:v>
                </c:pt>
                <c:pt idx="11036">
                  <c:v>#N/A</c:v>
                </c:pt>
                <c:pt idx="11037">
                  <c:v>#N/A</c:v>
                </c:pt>
                <c:pt idx="11038">
                  <c:v>#N/A</c:v>
                </c:pt>
                <c:pt idx="11039">
                  <c:v>#N/A</c:v>
                </c:pt>
                <c:pt idx="11040">
                  <c:v>#N/A</c:v>
                </c:pt>
                <c:pt idx="11041">
                  <c:v>#N/A</c:v>
                </c:pt>
                <c:pt idx="11042">
                  <c:v>#N/A</c:v>
                </c:pt>
                <c:pt idx="11043">
                  <c:v>#N/A</c:v>
                </c:pt>
                <c:pt idx="11044">
                  <c:v>#N/A</c:v>
                </c:pt>
                <c:pt idx="11045">
                  <c:v>#N/A</c:v>
                </c:pt>
                <c:pt idx="11046">
                  <c:v>#N/A</c:v>
                </c:pt>
                <c:pt idx="11047">
                  <c:v>#N/A</c:v>
                </c:pt>
                <c:pt idx="11048">
                  <c:v>#N/A</c:v>
                </c:pt>
                <c:pt idx="11049">
                  <c:v>#N/A</c:v>
                </c:pt>
                <c:pt idx="11050">
                  <c:v>#N/A</c:v>
                </c:pt>
                <c:pt idx="11051">
                  <c:v>#N/A</c:v>
                </c:pt>
                <c:pt idx="11052">
                  <c:v>#N/A</c:v>
                </c:pt>
                <c:pt idx="11053">
                  <c:v>#N/A</c:v>
                </c:pt>
                <c:pt idx="11054">
                  <c:v>#N/A</c:v>
                </c:pt>
                <c:pt idx="11055">
                  <c:v>#N/A</c:v>
                </c:pt>
                <c:pt idx="11056">
                  <c:v>#N/A</c:v>
                </c:pt>
                <c:pt idx="11057">
                  <c:v>#N/A</c:v>
                </c:pt>
                <c:pt idx="11058">
                  <c:v>#N/A</c:v>
                </c:pt>
                <c:pt idx="11059">
                  <c:v>#N/A</c:v>
                </c:pt>
                <c:pt idx="11060">
                  <c:v>#N/A</c:v>
                </c:pt>
                <c:pt idx="11061">
                  <c:v>#N/A</c:v>
                </c:pt>
                <c:pt idx="11062">
                  <c:v>#N/A</c:v>
                </c:pt>
                <c:pt idx="11063">
                  <c:v>#N/A</c:v>
                </c:pt>
                <c:pt idx="11064">
                  <c:v>#N/A</c:v>
                </c:pt>
                <c:pt idx="11065">
                  <c:v>#N/A</c:v>
                </c:pt>
                <c:pt idx="11066">
                  <c:v>#N/A</c:v>
                </c:pt>
                <c:pt idx="11067">
                  <c:v>#N/A</c:v>
                </c:pt>
                <c:pt idx="11068">
                  <c:v>#N/A</c:v>
                </c:pt>
                <c:pt idx="11069">
                  <c:v>#N/A</c:v>
                </c:pt>
                <c:pt idx="11070">
                  <c:v>#N/A</c:v>
                </c:pt>
                <c:pt idx="11071">
                  <c:v>#N/A</c:v>
                </c:pt>
                <c:pt idx="11072">
                  <c:v>#N/A</c:v>
                </c:pt>
                <c:pt idx="11073">
                  <c:v>#N/A</c:v>
                </c:pt>
                <c:pt idx="11074">
                  <c:v>#N/A</c:v>
                </c:pt>
                <c:pt idx="11075">
                  <c:v>#N/A</c:v>
                </c:pt>
                <c:pt idx="11076">
                  <c:v>#N/A</c:v>
                </c:pt>
                <c:pt idx="11077">
                  <c:v>#N/A</c:v>
                </c:pt>
                <c:pt idx="11078">
                  <c:v>#N/A</c:v>
                </c:pt>
                <c:pt idx="11079">
                  <c:v>#N/A</c:v>
                </c:pt>
                <c:pt idx="11080">
                  <c:v>#N/A</c:v>
                </c:pt>
                <c:pt idx="11081">
                  <c:v>#N/A</c:v>
                </c:pt>
                <c:pt idx="11082">
                  <c:v>#N/A</c:v>
                </c:pt>
                <c:pt idx="11083">
                  <c:v>#N/A</c:v>
                </c:pt>
                <c:pt idx="11084">
                  <c:v>#N/A</c:v>
                </c:pt>
                <c:pt idx="11085">
                  <c:v>#N/A</c:v>
                </c:pt>
                <c:pt idx="11086">
                  <c:v>#N/A</c:v>
                </c:pt>
                <c:pt idx="11087">
                  <c:v>#N/A</c:v>
                </c:pt>
                <c:pt idx="11088">
                  <c:v>#N/A</c:v>
                </c:pt>
                <c:pt idx="11089">
                  <c:v>#N/A</c:v>
                </c:pt>
                <c:pt idx="11090">
                  <c:v>#N/A</c:v>
                </c:pt>
                <c:pt idx="11091">
                  <c:v>#N/A</c:v>
                </c:pt>
                <c:pt idx="11092">
                  <c:v>#N/A</c:v>
                </c:pt>
                <c:pt idx="11093">
                  <c:v>#N/A</c:v>
                </c:pt>
                <c:pt idx="11094">
                  <c:v>#N/A</c:v>
                </c:pt>
                <c:pt idx="11095">
                  <c:v>#N/A</c:v>
                </c:pt>
                <c:pt idx="11096">
                  <c:v>#N/A</c:v>
                </c:pt>
                <c:pt idx="11097">
                  <c:v>#N/A</c:v>
                </c:pt>
                <c:pt idx="11098">
                  <c:v>#N/A</c:v>
                </c:pt>
                <c:pt idx="11099">
                  <c:v>#N/A</c:v>
                </c:pt>
                <c:pt idx="11100">
                  <c:v>#N/A</c:v>
                </c:pt>
                <c:pt idx="11101">
                  <c:v>#N/A</c:v>
                </c:pt>
                <c:pt idx="11102">
                  <c:v>#N/A</c:v>
                </c:pt>
                <c:pt idx="11103">
                  <c:v>#N/A</c:v>
                </c:pt>
                <c:pt idx="11104">
                  <c:v>#N/A</c:v>
                </c:pt>
                <c:pt idx="11105">
                  <c:v>#N/A</c:v>
                </c:pt>
                <c:pt idx="11106">
                  <c:v>#N/A</c:v>
                </c:pt>
                <c:pt idx="11107">
                  <c:v>#N/A</c:v>
                </c:pt>
                <c:pt idx="11108">
                  <c:v>#N/A</c:v>
                </c:pt>
                <c:pt idx="11109">
                  <c:v>#N/A</c:v>
                </c:pt>
                <c:pt idx="11110">
                  <c:v>#N/A</c:v>
                </c:pt>
                <c:pt idx="11111">
                  <c:v>#N/A</c:v>
                </c:pt>
                <c:pt idx="11112">
                  <c:v>#N/A</c:v>
                </c:pt>
                <c:pt idx="11113">
                  <c:v>#N/A</c:v>
                </c:pt>
                <c:pt idx="11114">
                  <c:v>#N/A</c:v>
                </c:pt>
                <c:pt idx="11115">
                  <c:v>#N/A</c:v>
                </c:pt>
                <c:pt idx="11116">
                  <c:v>#N/A</c:v>
                </c:pt>
                <c:pt idx="11117">
                  <c:v>#N/A</c:v>
                </c:pt>
                <c:pt idx="11118">
                  <c:v>#N/A</c:v>
                </c:pt>
                <c:pt idx="11119">
                  <c:v>#N/A</c:v>
                </c:pt>
                <c:pt idx="11120">
                  <c:v>#N/A</c:v>
                </c:pt>
                <c:pt idx="11121">
                  <c:v>#N/A</c:v>
                </c:pt>
                <c:pt idx="11122">
                  <c:v>#N/A</c:v>
                </c:pt>
                <c:pt idx="11123">
                  <c:v>#N/A</c:v>
                </c:pt>
                <c:pt idx="11124">
                  <c:v>#N/A</c:v>
                </c:pt>
                <c:pt idx="11125">
                  <c:v>#N/A</c:v>
                </c:pt>
                <c:pt idx="11126">
                  <c:v>#N/A</c:v>
                </c:pt>
                <c:pt idx="11127">
                  <c:v>#N/A</c:v>
                </c:pt>
                <c:pt idx="11128">
                  <c:v>#N/A</c:v>
                </c:pt>
                <c:pt idx="11129">
                  <c:v>#N/A</c:v>
                </c:pt>
                <c:pt idx="11130">
                  <c:v>#N/A</c:v>
                </c:pt>
                <c:pt idx="11131">
                  <c:v>#N/A</c:v>
                </c:pt>
                <c:pt idx="11132">
                  <c:v>#N/A</c:v>
                </c:pt>
                <c:pt idx="11133">
                  <c:v>#N/A</c:v>
                </c:pt>
                <c:pt idx="11134">
                  <c:v>#N/A</c:v>
                </c:pt>
                <c:pt idx="11135">
                  <c:v>#N/A</c:v>
                </c:pt>
                <c:pt idx="11136">
                  <c:v>#N/A</c:v>
                </c:pt>
                <c:pt idx="11137">
                  <c:v>#N/A</c:v>
                </c:pt>
                <c:pt idx="11138">
                  <c:v>4.5972602739726032</c:v>
                </c:pt>
                <c:pt idx="11139">
                  <c:v>4.5972602739726032</c:v>
                </c:pt>
                <c:pt idx="11140">
                  <c:v>#N/A</c:v>
                </c:pt>
                <c:pt idx="11141">
                  <c:v>4.5972602739726032</c:v>
                </c:pt>
                <c:pt idx="11142">
                  <c:v>#N/A</c:v>
                </c:pt>
                <c:pt idx="11143">
                  <c:v>#N/A</c:v>
                </c:pt>
                <c:pt idx="11144">
                  <c:v>#N/A</c:v>
                </c:pt>
                <c:pt idx="11145">
                  <c:v>#N/A</c:v>
                </c:pt>
                <c:pt idx="11146">
                  <c:v>#N/A</c:v>
                </c:pt>
                <c:pt idx="11147">
                  <c:v>#N/A</c:v>
                </c:pt>
                <c:pt idx="11148">
                  <c:v>#N/A</c:v>
                </c:pt>
                <c:pt idx="11149">
                  <c:v>#N/A</c:v>
                </c:pt>
                <c:pt idx="11150">
                  <c:v>#N/A</c:v>
                </c:pt>
                <c:pt idx="11151">
                  <c:v>#N/A</c:v>
                </c:pt>
                <c:pt idx="11152">
                  <c:v>#N/A</c:v>
                </c:pt>
                <c:pt idx="11153">
                  <c:v>#N/A</c:v>
                </c:pt>
                <c:pt idx="11154">
                  <c:v>#N/A</c:v>
                </c:pt>
                <c:pt idx="11155">
                  <c:v>#N/A</c:v>
                </c:pt>
                <c:pt idx="11156">
                  <c:v>#N/A</c:v>
                </c:pt>
                <c:pt idx="11157">
                  <c:v>#N/A</c:v>
                </c:pt>
                <c:pt idx="11158">
                  <c:v>#N/A</c:v>
                </c:pt>
                <c:pt idx="11159">
                  <c:v>#N/A</c:v>
                </c:pt>
                <c:pt idx="11160">
                  <c:v>#N/A</c:v>
                </c:pt>
                <c:pt idx="11161">
                  <c:v>#N/A</c:v>
                </c:pt>
                <c:pt idx="11162">
                  <c:v>#N/A</c:v>
                </c:pt>
                <c:pt idx="11163">
                  <c:v>#N/A</c:v>
                </c:pt>
                <c:pt idx="11164">
                  <c:v>#N/A</c:v>
                </c:pt>
                <c:pt idx="11165">
                  <c:v>#N/A</c:v>
                </c:pt>
                <c:pt idx="11166">
                  <c:v>#N/A</c:v>
                </c:pt>
                <c:pt idx="11167">
                  <c:v>#N/A</c:v>
                </c:pt>
                <c:pt idx="11168">
                  <c:v>#N/A</c:v>
                </c:pt>
                <c:pt idx="11169">
                  <c:v>#N/A</c:v>
                </c:pt>
                <c:pt idx="11170">
                  <c:v>#N/A</c:v>
                </c:pt>
                <c:pt idx="11171">
                  <c:v>#N/A</c:v>
                </c:pt>
                <c:pt idx="11172">
                  <c:v>#N/A</c:v>
                </c:pt>
                <c:pt idx="11173">
                  <c:v>#N/A</c:v>
                </c:pt>
                <c:pt idx="11174">
                  <c:v>#N/A</c:v>
                </c:pt>
                <c:pt idx="11175">
                  <c:v>#N/A</c:v>
                </c:pt>
                <c:pt idx="11176">
                  <c:v>#N/A</c:v>
                </c:pt>
                <c:pt idx="11177">
                  <c:v>#N/A</c:v>
                </c:pt>
                <c:pt idx="11178">
                  <c:v>#N/A</c:v>
                </c:pt>
                <c:pt idx="11179">
                  <c:v>#N/A</c:v>
                </c:pt>
                <c:pt idx="11180">
                  <c:v>#N/A</c:v>
                </c:pt>
                <c:pt idx="11181">
                  <c:v>#N/A</c:v>
                </c:pt>
                <c:pt idx="11182">
                  <c:v>#N/A</c:v>
                </c:pt>
                <c:pt idx="11183">
                  <c:v>#N/A</c:v>
                </c:pt>
                <c:pt idx="11184">
                  <c:v>#N/A</c:v>
                </c:pt>
                <c:pt idx="11185">
                  <c:v>#N/A</c:v>
                </c:pt>
                <c:pt idx="11186">
                  <c:v>#N/A</c:v>
                </c:pt>
                <c:pt idx="11187">
                  <c:v>#N/A</c:v>
                </c:pt>
                <c:pt idx="11188">
                  <c:v>#N/A</c:v>
                </c:pt>
                <c:pt idx="11189">
                  <c:v>#N/A</c:v>
                </c:pt>
                <c:pt idx="11190">
                  <c:v>#N/A</c:v>
                </c:pt>
                <c:pt idx="11191">
                  <c:v>#N/A</c:v>
                </c:pt>
                <c:pt idx="11192">
                  <c:v>#N/A</c:v>
                </c:pt>
                <c:pt idx="11193">
                  <c:v>#N/A</c:v>
                </c:pt>
                <c:pt idx="11194">
                  <c:v>#N/A</c:v>
                </c:pt>
                <c:pt idx="11195">
                  <c:v>#N/A</c:v>
                </c:pt>
                <c:pt idx="11196">
                  <c:v>#N/A</c:v>
                </c:pt>
                <c:pt idx="11197">
                  <c:v>#N/A</c:v>
                </c:pt>
                <c:pt idx="11198">
                  <c:v>#N/A</c:v>
                </c:pt>
                <c:pt idx="11199">
                  <c:v>#N/A</c:v>
                </c:pt>
                <c:pt idx="11200">
                  <c:v>#N/A</c:v>
                </c:pt>
                <c:pt idx="11201">
                  <c:v>#N/A</c:v>
                </c:pt>
                <c:pt idx="11202">
                  <c:v>#N/A</c:v>
                </c:pt>
                <c:pt idx="11203">
                  <c:v>#N/A</c:v>
                </c:pt>
                <c:pt idx="11204">
                  <c:v>#N/A</c:v>
                </c:pt>
                <c:pt idx="11205">
                  <c:v>#N/A</c:v>
                </c:pt>
                <c:pt idx="11206">
                  <c:v>#N/A</c:v>
                </c:pt>
                <c:pt idx="11207">
                  <c:v>#N/A</c:v>
                </c:pt>
                <c:pt idx="11208">
                  <c:v>#N/A</c:v>
                </c:pt>
                <c:pt idx="11209">
                  <c:v>#N/A</c:v>
                </c:pt>
                <c:pt idx="11210">
                  <c:v>#N/A</c:v>
                </c:pt>
                <c:pt idx="11211">
                  <c:v>#N/A</c:v>
                </c:pt>
                <c:pt idx="11212">
                  <c:v>#N/A</c:v>
                </c:pt>
                <c:pt idx="11213">
                  <c:v>#N/A</c:v>
                </c:pt>
                <c:pt idx="11214">
                  <c:v>#N/A</c:v>
                </c:pt>
                <c:pt idx="11215">
                  <c:v>#N/A</c:v>
                </c:pt>
                <c:pt idx="11216">
                  <c:v>#N/A</c:v>
                </c:pt>
                <c:pt idx="11217">
                  <c:v>#N/A</c:v>
                </c:pt>
                <c:pt idx="11218">
                  <c:v>#N/A</c:v>
                </c:pt>
                <c:pt idx="11219">
                  <c:v>#N/A</c:v>
                </c:pt>
                <c:pt idx="11220">
                  <c:v>#N/A</c:v>
                </c:pt>
                <c:pt idx="11221">
                  <c:v>#N/A</c:v>
                </c:pt>
                <c:pt idx="11222">
                  <c:v>#N/A</c:v>
                </c:pt>
                <c:pt idx="11223">
                  <c:v>#N/A</c:v>
                </c:pt>
                <c:pt idx="11224">
                  <c:v>#N/A</c:v>
                </c:pt>
                <c:pt idx="11225">
                  <c:v>#N/A</c:v>
                </c:pt>
                <c:pt idx="11226">
                  <c:v>#N/A</c:v>
                </c:pt>
                <c:pt idx="11227">
                  <c:v>#N/A</c:v>
                </c:pt>
                <c:pt idx="11228">
                  <c:v>#N/A</c:v>
                </c:pt>
                <c:pt idx="11229">
                  <c:v>#N/A</c:v>
                </c:pt>
                <c:pt idx="11230">
                  <c:v>#N/A</c:v>
                </c:pt>
                <c:pt idx="11231">
                  <c:v>#N/A</c:v>
                </c:pt>
                <c:pt idx="11232">
                  <c:v>#N/A</c:v>
                </c:pt>
                <c:pt idx="11233">
                  <c:v>#N/A</c:v>
                </c:pt>
                <c:pt idx="11234">
                  <c:v>#N/A</c:v>
                </c:pt>
                <c:pt idx="11235">
                  <c:v>#N/A</c:v>
                </c:pt>
                <c:pt idx="11236">
                  <c:v>4.7178082191780826</c:v>
                </c:pt>
                <c:pt idx="11237">
                  <c:v>#N/A</c:v>
                </c:pt>
                <c:pt idx="11238">
                  <c:v>#N/A</c:v>
                </c:pt>
                <c:pt idx="11239">
                  <c:v>#N/A</c:v>
                </c:pt>
                <c:pt idx="11240">
                  <c:v>#N/A</c:v>
                </c:pt>
                <c:pt idx="11241">
                  <c:v>#N/A</c:v>
                </c:pt>
                <c:pt idx="11242">
                  <c:v>#N/A</c:v>
                </c:pt>
                <c:pt idx="11243">
                  <c:v>#N/A</c:v>
                </c:pt>
                <c:pt idx="11244">
                  <c:v>#N/A</c:v>
                </c:pt>
                <c:pt idx="11245">
                  <c:v>#N/A</c:v>
                </c:pt>
                <c:pt idx="11246">
                  <c:v>#N/A</c:v>
                </c:pt>
                <c:pt idx="11247">
                  <c:v>#N/A</c:v>
                </c:pt>
                <c:pt idx="11248">
                  <c:v>#N/A</c:v>
                </c:pt>
                <c:pt idx="11249">
                  <c:v>#N/A</c:v>
                </c:pt>
                <c:pt idx="11250">
                  <c:v>#N/A</c:v>
                </c:pt>
                <c:pt idx="11251">
                  <c:v>#N/A</c:v>
                </c:pt>
                <c:pt idx="11252">
                  <c:v>#N/A</c:v>
                </c:pt>
                <c:pt idx="11253">
                  <c:v>#N/A</c:v>
                </c:pt>
                <c:pt idx="11254">
                  <c:v>#N/A</c:v>
                </c:pt>
                <c:pt idx="11255">
                  <c:v>#N/A</c:v>
                </c:pt>
                <c:pt idx="11256">
                  <c:v>#N/A</c:v>
                </c:pt>
                <c:pt idx="11257">
                  <c:v>#N/A</c:v>
                </c:pt>
                <c:pt idx="11258">
                  <c:v>#N/A</c:v>
                </c:pt>
                <c:pt idx="11259">
                  <c:v>#N/A</c:v>
                </c:pt>
                <c:pt idx="11260">
                  <c:v>#N/A</c:v>
                </c:pt>
                <c:pt idx="11261">
                  <c:v>#N/A</c:v>
                </c:pt>
                <c:pt idx="11262">
                  <c:v>#N/A</c:v>
                </c:pt>
                <c:pt idx="11263">
                  <c:v>#N/A</c:v>
                </c:pt>
                <c:pt idx="11264">
                  <c:v>#N/A</c:v>
                </c:pt>
                <c:pt idx="11265">
                  <c:v>#N/A</c:v>
                </c:pt>
                <c:pt idx="11266">
                  <c:v>#N/A</c:v>
                </c:pt>
                <c:pt idx="11267">
                  <c:v>#N/A</c:v>
                </c:pt>
                <c:pt idx="11268">
                  <c:v>#N/A</c:v>
                </c:pt>
                <c:pt idx="11269">
                  <c:v>#N/A</c:v>
                </c:pt>
                <c:pt idx="11270">
                  <c:v>#N/A</c:v>
                </c:pt>
                <c:pt idx="11271">
                  <c:v>#N/A</c:v>
                </c:pt>
                <c:pt idx="11272">
                  <c:v>#N/A</c:v>
                </c:pt>
                <c:pt idx="11273">
                  <c:v>#N/A</c:v>
                </c:pt>
                <c:pt idx="11274">
                  <c:v>#N/A</c:v>
                </c:pt>
                <c:pt idx="11275">
                  <c:v>#N/A</c:v>
                </c:pt>
                <c:pt idx="11276">
                  <c:v>#N/A</c:v>
                </c:pt>
                <c:pt idx="11277">
                  <c:v>#N/A</c:v>
                </c:pt>
                <c:pt idx="11278">
                  <c:v>#N/A</c:v>
                </c:pt>
                <c:pt idx="11279">
                  <c:v>#N/A</c:v>
                </c:pt>
                <c:pt idx="11280">
                  <c:v>#N/A</c:v>
                </c:pt>
                <c:pt idx="11281">
                  <c:v>#N/A</c:v>
                </c:pt>
                <c:pt idx="11282">
                  <c:v>#N/A</c:v>
                </c:pt>
                <c:pt idx="11283">
                  <c:v>#N/A</c:v>
                </c:pt>
                <c:pt idx="11284">
                  <c:v>#N/A</c:v>
                </c:pt>
                <c:pt idx="11285">
                  <c:v>#N/A</c:v>
                </c:pt>
                <c:pt idx="11286">
                  <c:v>#N/A</c:v>
                </c:pt>
                <c:pt idx="11287">
                  <c:v>#N/A</c:v>
                </c:pt>
                <c:pt idx="11288">
                  <c:v>#N/A</c:v>
                </c:pt>
                <c:pt idx="11289">
                  <c:v>#N/A</c:v>
                </c:pt>
                <c:pt idx="11290">
                  <c:v>#N/A</c:v>
                </c:pt>
                <c:pt idx="11291">
                  <c:v>#N/A</c:v>
                </c:pt>
                <c:pt idx="11292">
                  <c:v>#N/A</c:v>
                </c:pt>
                <c:pt idx="11293">
                  <c:v>#N/A</c:v>
                </c:pt>
                <c:pt idx="11294">
                  <c:v>#N/A</c:v>
                </c:pt>
                <c:pt idx="11295">
                  <c:v>#N/A</c:v>
                </c:pt>
                <c:pt idx="11296">
                  <c:v>#N/A</c:v>
                </c:pt>
                <c:pt idx="11297">
                  <c:v>#N/A</c:v>
                </c:pt>
                <c:pt idx="11298">
                  <c:v>#N/A</c:v>
                </c:pt>
                <c:pt idx="11299">
                  <c:v>#N/A</c:v>
                </c:pt>
                <c:pt idx="11300">
                  <c:v>#N/A</c:v>
                </c:pt>
                <c:pt idx="11301">
                  <c:v>#N/A</c:v>
                </c:pt>
                <c:pt idx="11302">
                  <c:v>#N/A</c:v>
                </c:pt>
                <c:pt idx="11303">
                  <c:v>#N/A</c:v>
                </c:pt>
                <c:pt idx="11304">
                  <c:v>#N/A</c:v>
                </c:pt>
                <c:pt idx="11305">
                  <c:v>#N/A</c:v>
                </c:pt>
                <c:pt idx="11306">
                  <c:v>#N/A</c:v>
                </c:pt>
                <c:pt idx="11307">
                  <c:v>#N/A</c:v>
                </c:pt>
                <c:pt idx="11308">
                  <c:v>#N/A</c:v>
                </c:pt>
                <c:pt idx="11309">
                  <c:v>#N/A</c:v>
                </c:pt>
                <c:pt idx="11310">
                  <c:v>#N/A</c:v>
                </c:pt>
                <c:pt idx="11311">
                  <c:v>#N/A</c:v>
                </c:pt>
                <c:pt idx="11312">
                  <c:v>#N/A</c:v>
                </c:pt>
                <c:pt idx="11313">
                  <c:v>#N/A</c:v>
                </c:pt>
                <c:pt idx="11314">
                  <c:v>#N/A</c:v>
                </c:pt>
                <c:pt idx="11315">
                  <c:v>#N/A</c:v>
                </c:pt>
                <c:pt idx="11316">
                  <c:v>#N/A</c:v>
                </c:pt>
                <c:pt idx="11317">
                  <c:v>#N/A</c:v>
                </c:pt>
                <c:pt idx="11318">
                  <c:v>#N/A</c:v>
                </c:pt>
                <c:pt idx="11319">
                  <c:v>#N/A</c:v>
                </c:pt>
                <c:pt idx="11320">
                  <c:v>#N/A</c:v>
                </c:pt>
                <c:pt idx="11321">
                  <c:v>#N/A</c:v>
                </c:pt>
                <c:pt idx="11322">
                  <c:v>#N/A</c:v>
                </c:pt>
                <c:pt idx="11323">
                  <c:v>#N/A</c:v>
                </c:pt>
                <c:pt idx="11324">
                  <c:v>#N/A</c:v>
                </c:pt>
                <c:pt idx="11325">
                  <c:v>#N/A</c:v>
                </c:pt>
                <c:pt idx="11326">
                  <c:v>#N/A</c:v>
                </c:pt>
                <c:pt idx="11327">
                  <c:v>#N/A</c:v>
                </c:pt>
                <c:pt idx="11328">
                  <c:v>#N/A</c:v>
                </c:pt>
                <c:pt idx="11329">
                  <c:v>#N/A</c:v>
                </c:pt>
                <c:pt idx="11330">
                  <c:v>#N/A</c:v>
                </c:pt>
                <c:pt idx="11331">
                  <c:v>#N/A</c:v>
                </c:pt>
                <c:pt idx="11332">
                  <c:v>#N/A</c:v>
                </c:pt>
                <c:pt idx="11333">
                  <c:v>#N/A</c:v>
                </c:pt>
                <c:pt idx="11334">
                  <c:v>#N/A</c:v>
                </c:pt>
                <c:pt idx="11335">
                  <c:v>#N/A</c:v>
                </c:pt>
                <c:pt idx="11336">
                  <c:v>#N/A</c:v>
                </c:pt>
                <c:pt idx="11337">
                  <c:v>#N/A</c:v>
                </c:pt>
                <c:pt idx="11338">
                  <c:v>#N/A</c:v>
                </c:pt>
                <c:pt idx="11339">
                  <c:v>#N/A</c:v>
                </c:pt>
                <c:pt idx="11340">
                  <c:v>#N/A</c:v>
                </c:pt>
                <c:pt idx="11341">
                  <c:v>#N/A</c:v>
                </c:pt>
                <c:pt idx="11342">
                  <c:v>#N/A</c:v>
                </c:pt>
                <c:pt idx="11343">
                  <c:v>#N/A</c:v>
                </c:pt>
                <c:pt idx="11344">
                  <c:v>#N/A</c:v>
                </c:pt>
                <c:pt idx="11345">
                  <c:v>#N/A</c:v>
                </c:pt>
                <c:pt idx="11346">
                  <c:v>#N/A</c:v>
                </c:pt>
                <c:pt idx="11347">
                  <c:v>#N/A</c:v>
                </c:pt>
                <c:pt idx="11348">
                  <c:v>#N/A</c:v>
                </c:pt>
                <c:pt idx="11349">
                  <c:v>#N/A</c:v>
                </c:pt>
                <c:pt idx="11350">
                  <c:v>#N/A</c:v>
                </c:pt>
                <c:pt idx="11351">
                  <c:v>#N/A</c:v>
                </c:pt>
                <c:pt idx="11352">
                  <c:v>#N/A</c:v>
                </c:pt>
                <c:pt idx="11353">
                  <c:v>#N/A</c:v>
                </c:pt>
                <c:pt idx="11354">
                  <c:v>#N/A</c:v>
                </c:pt>
                <c:pt idx="11355">
                  <c:v>#N/A</c:v>
                </c:pt>
                <c:pt idx="11356">
                  <c:v>#N/A</c:v>
                </c:pt>
                <c:pt idx="11357">
                  <c:v>#N/A</c:v>
                </c:pt>
                <c:pt idx="11358">
                  <c:v>#N/A</c:v>
                </c:pt>
                <c:pt idx="11359">
                  <c:v>#N/A</c:v>
                </c:pt>
                <c:pt idx="11360">
                  <c:v>#N/A</c:v>
                </c:pt>
                <c:pt idx="11361">
                  <c:v>#N/A</c:v>
                </c:pt>
                <c:pt idx="11362">
                  <c:v>#N/A</c:v>
                </c:pt>
                <c:pt idx="11363">
                  <c:v>#N/A</c:v>
                </c:pt>
                <c:pt idx="11364">
                  <c:v>#N/A</c:v>
                </c:pt>
                <c:pt idx="11365">
                  <c:v>#N/A</c:v>
                </c:pt>
                <c:pt idx="11366">
                  <c:v>#N/A</c:v>
                </c:pt>
                <c:pt idx="11367">
                  <c:v>#N/A</c:v>
                </c:pt>
                <c:pt idx="11368">
                  <c:v>#N/A</c:v>
                </c:pt>
                <c:pt idx="11369">
                  <c:v>#N/A</c:v>
                </c:pt>
                <c:pt idx="11370">
                  <c:v>#N/A</c:v>
                </c:pt>
                <c:pt idx="11371">
                  <c:v>#N/A</c:v>
                </c:pt>
                <c:pt idx="11372">
                  <c:v>#N/A</c:v>
                </c:pt>
                <c:pt idx="11373">
                  <c:v>#N/A</c:v>
                </c:pt>
                <c:pt idx="11374">
                  <c:v>#N/A</c:v>
                </c:pt>
                <c:pt idx="11375">
                  <c:v>#N/A</c:v>
                </c:pt>
                <c:pt idx="11376">
                  <c:v>#N/A</c:v>
                </c:pt>
                <c:pt idx="11377">
                  <c:v>#N/A</c:v>
                </c:pt>
                <c:pt idx="11378">
                  <c:v>#N/A</c:v>
                </c:pt>
                <c:pt idx="11379">
                  <c:v>#N/A</c:v>
                </c:pt>
                <c:pt idx="11380">
                  <c:v>#N/A</c:v>
                </c:pt>
                <c:pt idx="11381">
                  <c:v>#N/A</c:v>
                </c:pt>
                <c:pt idx="11382">
                  <c:v>#N/A</c:v>
                </c:pt>
                <c:pt idx="11383">
                  <c:v>#N/A</c:v>
                </c:pt>
                <c:pt idx="11384">
                  <c:v>#N/A</c:v>
                </c:pt>
                <c:pt idx="11385">
                  <c:v>#N/A</c:v>
                </c:pt>
                <c:pt idx="11386">
                  <c:v>#N/A</c:v>
                </c:pt>
                <c:pt idx="11387">
                  <c:v>#N/A</c:v>
                </c:pt>
                <c:pt idx="11388">
                  <c:v>#N/A</c:v>
                </c:pt>
                <c:pt idx="11389">
                  <c:v>#N/A</c:v>
                </c:pt>
                <c:pt idx="11390">
                  <c:v>#N/A</c:v>
                </c:pt>
                <c:pt idx="11391">
                  <c:v>#N/A</c:v>
                </c:pt>
                <c:pt idx="11392">
                  <c:v>#N/A</c:v>
                </c:pt>
                <c:pt idx="11393">
                  <c:v>#N/A</c:v>
                </c:pt>
                <c:pt idx="11394">
                  <c:v>#N/A</c:v>
                </c:pt>
                <c:pt idx="11395">
                  <c:v>#N/A</c:v>
                </c:pt>
                <c:pt idx="11396">
                  <c:v>#N/A</c:v>
                </c:pt>
                <c:pt idx="11397">
                  <c:v>#N/A</c:v>
                </c:pt>
                <c:pt idx="11398">
                  <c:v>#N/A</c:v>
                </c:pt>
                <c:pt idx="11399">
                  <c:v>#N/A</c:v>
                </c:pt>
                <c:pt idx="11400">
                  <c:v>#N/A</c:v>
                </c:pt>
                <c:pt idx="11401">
                  <c:v>#N/A</c:v>
                </c:pt>
                <c:pt idx="11402">
                  <c:v>#N/A</c:v>
                </c:pt>
                <c:pt idx="11403">
                  <c:v>#N/A</c:v>
                </c:pt>
                <c:pt idx="11404">
                  <c:v>#N/A</c:v>
                </c:pt>
                <c:pt idx="11405">
                  <c:v>#N/A</c:v>
                </c:pt>
                <c:pt idx="11406">
                  <c:v>#N/A</c:v>
                </c:pt>
                <c:pt idx="11407">
                  <c:v>#N/A</c:v>
                </c:pt>
                <c:pt idx="11408">
                  <c:v>#N/A</c:v>
                </c:pt>
                <c:pt idx="11409">
                  <c:v>#N/A</c:v>
                </c:pt>
                <c:pt idx="11410">
                  <c:v>#N/A</c:v>
                </c:pt>
                <c:pt idx="11411">
                  <c:v>#N/A</c:v>
                </c:pt>
                <c:pt idx="11412">
                  <c:v>#N/A</c:v>
                </c:pt>
                <c:pt idx="11413">
                  <c:v>#N/A</c:v>
                </c:pt>
                <c:pt idx="11414">
                  <c:v>#N/A</c:v>
                </c:pt>
                <c:pt idx="11415">
                  <c:v>#N/A</c:v>
                </c:pt>
                <c:pt idx="11416">
                  <c:v>#N/A</c:v>
                </c:pt>
                <c:pt idx="11417">
                  <c:v>#N/A</c:v>
                </c:pt>
                <c:pt idx="11418">
                  <c:v>#N/A</c:v>
                </c:pt>
                <c:pt idx="11419">
                  <c:v>#N/A</c:v>
                </c:pt>
                <c:pt idx="11420">
                  <c:v>#N/A</c:v>
                </c:pt>
                <c:pt idx="11421">
                  <c:v>#N/A</c:v>
                </c:pt>
                <c:pt idx="11422">
                  <c:v>#N/A</c:v>
                </c:pt>
                <c:pt idx="11423">
                  <c:v>#N/A</c:v>
                </c:pt>
                <c:pt idx="11424">
                  <c:v>#N/A</c:v>
                </c:pt>
                <c:pt idx="11425">
                  <c:v>#N/A</c:v>
                </c:pt>
                <c:pt idx="11426">
                  <c:v>#N/A</c:v>
                </c:pt>
                <c:pt idx="11427">
                  <c:v>#N/A</c:v>
                </c:pt>
                <c:pt idx="11428">
                  <c:v>#N/A</c:v>
                </c:pt>
                <c:pt idx="11429">
                  <c:v>#N/A</c:v>
                </c:pt>
                <c:pt idx="11430">
                  <c:v>#N/A</c:v>
                </c:pt>
                <c:pt idx="11431">
                  <c:v>#N/A</c:v>
                </c:pt>
                <c:pt idx="11432">
                  <c:v>#N/A</c:v>
                </c:pt>
                <c:pt idx="11433">
                  <c:v>#N/A</c:v>
                </c:pt>
                <c:pt idx="11434">
                  <c:v>#N/A</c:v>
                </c:pt>
                <c:pt idx="11435">
                  <c:v>#N/A</c:v>
                </c:pt>
                <c:pt idx="11436">
                  <c:v>#N/A</c:v>
                </c:pt>
                <c:pt idx="11437">
                  <c:v>#N/A</c:v>
                </c:pt>
                <c:pt idx="11438">
                  <c:v>#N/A</c:v>
                </c:pt>
                <c:pt idx="11439">
                  <c:v>#N/A</c:v>
                </c:pt>
                <c:pt idx="11440">
                  <c:v>#N/A</c:v>
                </c:pt>
                <c:pt idx="11441">
                  <c:v>#N/A</c:v>
                </c:pt>
                <c:pt idx="11442">
                  <c:v>#N/A</c:v>
                </c:pt>
                <c:pt idx="11443">
                  <c:v>#N/A</c:v>
                </c:pt>
                <c:pt idx="11444">
                  <c:v>#N/A</c:v>
                </c:pt>
                <c:pt idx="11445">
                  <c:v>#N/A</c:v>
                </c:pt>
                <c:pt idx="11446">
                  <c:v>#N/A</c:v>
                </c:pt>
                <c:pt idx="11447">
                  <c:v>#N/A</c:v>
                </c:pt>
                <c:pt idx="11448">
                  <c:v>#N/A</c:v>
                </c:pt>
                <c:pt idx="11449">
                  <c:v>#N/A</c:v>
                </c:pt>
                <c:pt idx="11450">
                  <c:v>#N/A</c:v>
                </c:pt>
                <c:pt idx="11451">
                  <c:v>#N/A</c:v>
                </c:pt>
                <c:pt idx="11452">
                  <c:v>#N/A</c:v>
                </c:pt>
                <c:pt idx="11453">
                  <c:v>#N/A</c:v>
                </c:pt>
                <c:pt idx="11454">
                  <c:v>#N/A</c:v>
                </c:pt>
                <c:pt idx="11455">
                  <c:v>#N/A</c:v>
                </c:pt>
                <c:pt idx="11456">
                  <c:v>#N/A</c:v>
                </c:pt>
                <c:pt idx="11457">
                  <c:v>#N/A</c:v>
                </c:pt>
                <c:pt idx="11458">
                  <c:v>#N/A</c:v>
                </c:pt>
                <c:pt idx="11459">
                  <c:v>#N/A</c:v>
                </c:pt>
                <c:pt idx="11460">
                  <c:v>#N/A</c:v>
                </c:pt>
                <c:pt idx="11461">
                  <c:v>#N/A</c:v>
                </c:pt>
                <c:pt idx="11462">
                  <c:v>#N/A</c:v>
                </c:pt>
                <c:pt idx="11463">
                  <c:v>#N/A</c:v>
                </c:pt>
                <c:pt idx="11464">
                  <c:v>#N/A</c:v>
                </c:pt>
                <c:pt idx="11465">
                  <c:v>#N/A</c:v>
                </c:pt>
                <c:pt idx="11466">
                  <c:v>#N/A</c:v>
                </c:pt>
                <c:pt idx="11467">
                  <c:v>#N/A</c:v>
                </c:pt>
                <c:pt idx="11468">
                  <c:v>#N/A</c:v>
                </c:pt>
                <c:pt idx="11469">
                  <c:v>#N/A</c:v>
                </c:pt>
                <c:pt idx="11470">
                  <c:v>#N/A</c:v>
                </c:pt>
                <c:pt idx="11471">
                  <c:v>#N/A</c:v>
                </c:pt>
                <c:pt idx="11472">
                  <c:v>#N/A</c:v>
                </c:pt>
                <c:pt idx="11473">
                  <c:v>#N/A</c:v>
                </c:pt>
                <c:pt idx="11474">
                  <c:v>#N/A</c:v>
                </c:pt>
                <c:pt idx="11475">
                  <c:v>#N/A</c:v>
                </c:pt>
                <c:pt idx="11476">
                  <c:v>#N/A</c:v>
                </c:pt>
                <c:pt idx="11477">
                  <c:v>#N/A</c:v>
                </c:pt>
                <c:pt idx="11478">
                  <c:v>#N/A</c:v>
                </c:pt>
                <c:pt idx="11479">
                  <c:v>#N/A</c:v>
                </c:pt>
                <c:pt idx="11480">
                  <c:v>#N/A</c:v>
                </c:pt>
                <c:pt idx="11481">
                  <c:v>#N/A</c:v>
                </c:pt>
                <c:pt idx="11482">
                  <c:v>#N/A</c:v>
                </c:pt>
                <c:pt idx="11483">
                  <c:v>#N/A</c:v>
                </c:pt>
                <c:pt idx="11484">
                  <c:v>#N/A</c:v>
                </c:pt>
                <c:pt idx="11485">
                  <c:v>#N/A</c:v>
                </c:pt>
                <c:pt idx="11486">
                  <c:v>#N/A</c:v>
                </c:pt>
                <c:pt idx="11487">
                  <c:v>#N/A</c:v>
                </c:pt>
                <c:pt idx="11488">
                  <c:v>#N/A</c:v>
                </c:pt>
                <c:pt idx="11489">
                  <c:v>#N/A</c:v>
                </c:pt>
                <c:pt idx="11490">
                  <c:v>#N/A</c:v>
                </c:pt>
                <c:pt idx="11491">
                  <c:v>#N/A</c:v>
                </c:pt>
                <c:pt idx="11492">
                  <c:v>#N/A</c:v>
                </c:pt>
                <c:pt idx="11493">
                  <c:v>#N/A</c:v>
                </c:pt>
                <c:pt idx="11494">
                  <c:v>#N/A</c:v>
                </c:pt>
                <c:pt idx="11495">
                  <c:v>#N/A</c:v>
                </c:pt>
                <c:pt idx="11496">
                  <c:v>#N/A</c:v>
                </c:pt>
                <c:pt idx="11497">
                  <c:v>#N/A</c:v>
                </c:pt>
                <c:pt idx="11498">
                  <c:v>#N/A</c:v>
                </c:pt>
                <c:pt idx="11499">
                  <c:v>#N/A</c:v>
                </c:pt>
                <c:pt idx="11500">
                  <c:v>#N/A</c:v>
                </c:pt>
                <c:pt idx="11501">
                  <c:v>#N/A</c:v>
                </c:pt>
                <c:pt idx="11502">
                  <c:v>#N/A</c:v>
                </c:pt>
                <c:pt idx="11503">
                  <c:v>#N/A</c:v>
                </c:pt>
                <c:pt idx="11504">
                  <c:v>#N/A</c:v>
                </c:pt>
                <c:pt idx="11505">
                  <c:v>#N/A</c:v>
                </c:pt>
                <c:pt idx="11506">
                  <c:v>#N/A</c:v>
                </c:pt>
                <c:pt idx="11507">
                  <c:v>#N/A</c:v>
                </c:pt>
                <c:pt idx="11508">
                  <c:v>#N/A</c:v>
                </c:pt>
                <c:pt idx="11509">
                  <c:v>#N/A</c:v>
                </c:pt>
                <c:pt idx="11510">
                  <c:v>#N/A</c:v>
                </c:pt>
                <c:pt idx="11511">
                  <c:v>#N/A</c:v>
                </c:pt>
                <c:pt idx="11512">
                  <c:v>#N/A</c:v>
                </c:pt>
                <c:pt idx="11513">
                  <c:v>#N/A</c:v>
                </c:pt>
                <c:pt idx="11514">
                  <c:v>#N/A</c:v>
                </c:pt>
                <c:pt idx="11515">
                  <c:v>#N/A</c:v>
                </c:pt>
                <c:pt idx="11516">
                  <c:v>#N/A</c:v>
                </c:pt>
                <c:pt idx="11517">
                  <c:v>#N/A</c:v>
                </c:pt>
                <c:pt idx="11518">
                  <c:v>#N/A</c:v>
                </c:pt>
                <c:pt idx="11519">
                  <c:v>#N/A</c:v>
                </c:pt>
                <c:pt idx="11520">
                  <c:v>#N/A</c:v>
                </c:pt>
                <c:pt idx="11521">
                  <c:v>#N/A</c:v>
                </c:pt>
                <c:pt idx="11522">
                  <c:v>#N/A</c:v>
                </c:pt>
                <c:pt idx="11523">
                  <c:v>#N/A</c:v>
                </c:pt>
                <c:pt idx="11524">
                  <c:v>#N/A</c:v>
                </c:pt>
                <c:pt idx="11525">
                  <c:v>#N/A</c:v>
                </c:pt>
                <c:pt idx="11526">
                  <c:v>#N/A</c:v>
                </c:pt>
                <c:pt idx="11527">
                  <c:v>#N/A</c:v>
                </c:pt>
                <c:pt idx="11528">
                  <c:v>#N/A</c:v>
                </c:pt>
                <c:pt idx="11529">
                  <c:v>#N/A</c:v>
                </c:pt>
                <c:pt idx="11530">
                  <c:v>#N/A</c:v>
                </c:pt>
                <c:pt idx="11531">
                  <c:v>#N/A</c:v>
                </c:pt>
                <c:pt idx="11532">
                  <c:v>#N/A</c:v>
                </c:pt>
                <c:pt idx="11533">
                  <c:v>#N/A</c:v>
                </c:pt>
                <c:pt idx="11534">
                  <c:v>#N/A</c:v>
                </c:pt>
                <c:pt idx="11535">
                  <c:v>#N/A</c:v>
                </c:pt>
                <c:pt idx="11536">
                  <c:v>#N/A</c:v>
                </c:pt>
                <c:pt idx="11537">
                  <c:v>#N/A</c:v>
                </c:pt>
                <c:pt idx="11538">
                  <c:v>#N/A</c:v>
                </c:pt>
                <c:pt idx="11539">
                  <c:v>#N/A</c:v>
                </c:pt>
                <c:pt idx="11540">
                  <c:v>#N/A</c:v>
                </c:pt>
                <c:pt idx="11541">
                  <c:v>#N/A</c:v>
                </c:pt>
                <c:pt idx="11542">
                  <c:v>#N/A</c:v>
                </c:pt>
                <c:pt idx="11543">
                  <c:v>#N/A</c:v>
                </c:pt>
                <c:pt idx="11544">
                  <c:v>#N/A</c:v>
                </c:pt>
                <c:pt idx="11545">
                  <c:v>#N/A</c:v>
                </c:pt>
                <c:pt idx="11546">
                  <c:v>#N/A</c:v>
                </c:pt>
                <c:pt idx="11547">
                  <c:v>#N/A</c:v>
                </c:pt>
                <c:pt idx="11548">
                  <c:v>#N/A</c:v>
                </c:pt>
                <c:pt idx="11549">
                  <c:v>#N/A</c:v>
                </c:pt>
                <c:pt idx="11550">
                  <c:v>#N/A</c:v>
                </c:pt>
                <c:pt idx="11551">
                  <c:v>#N/A</c:v>
                </c:pt>
                <c:pt idx="11552">
                  <c:v>#N/A</c:v>
                </c:pt>
                <c:pt idx="11553">
                  <c:v>#N/A</c:v>
                </c:pt>
                <c:pt idx="11554">
                  <c:v>#N/A</c:v>
                </c:pt>
                <c:pt idx="11555">
                  <c:v>#N/A</c:v>
                </c:pt>
                <c:pt idx="11556">
                  <c:v>#N/A</c:v>
                </c:pt>
                <c:pt idx="11557">
                  <c:v>#N/A</c:v>
                </c:pt>
                <c:pt idx="11558">
                  <c:v>#N/A</c:v>
                </c:pt>
                <c:pt idx="11559">
                  <c:v>#N/A</c:v>
                </c:pt>
                <c:pt idx="11560">
                  <c:v>#N/A</c:v>
                </c:pt>
                <c:pt idx="11561">
                  <c:v>#N/A</c:v>
                </c:pt>
                <c:pt idx="11562">
                  <c:v>#N/A</c:v>
                </c:pt>
                <c:pt idx="11563">
                  <c:v>#N/A</c:v>
                </c:pt>
                <c:pt idx="11564">
                  <c:v>#N/A</c:v>
                </c:pt>
                <c:pt idx="11565">
                  <c:v>#N/A</c:v>
                </c:pt>
                <c:pt idx="11566">
                  <c:v>#N/A</c:v>
                </c:pt>
                <c:pt idx="11567">
                  <c:v>#N/A</c:v>
                </c:pt>
                <c:pt idx="11568">
                  <c:v>#N/A</c:v>
                </c:pt>
                <c:pt idx="11569">
                  <c:v>#N/A</c:v>
                </c:pt>
                <c:pt idx="11570">
                  <c:v>#N/A</c:v>
                </c:pt>
                <c:pt idx="11571">
                  <c:v>#N/A</c:v>
                </c:pt>
                <c:pt idx="11572">
                  <c:v>#N/A</c:v>
                </c:pt>
                <c:pt idx="11573">
                  <c:v>#N/A</c:v>
                </c:pt>
                <c:pt idx="11574">
                  <c:v>#N/A</c:v>
                </c:pt>
                <c:pt idx="11575">
                  <c:v>#N/A</c:v>
                </c:pt>
                <c:pt idx="11576">
                  <c:v>#N/A</c:v>
                </c:pt>
                <c:pt idx="11577">
                  <c:v>#N/A</c:v>
                </c:pt>
                <c:pt idx="11578">
                  <c:v>#N/A</c:v>
                </c:pt>
                <c:pt idx="11579">
                  <c:v>#N/A</c:v>
                </c:pt>
                <c:pt idx="11580">
                  <c:v>#N/A</c:v>
                </c:pt>
                <c:pt idx="11581">
                  <c:v>#N/A</c:v>
                </c:pt>
                <c:pt idx="11582">
                  <c:v>#N/A</c:v>
                </c:pt>
                <c:pt idx="11583">
                  <c:v>#N/A</c:v>
                </c:pt>
                <c:pt idx="11584">
                  <c:v>#N/A</c:v>
                </c:pt>
                <c:pt idx="11585">
                  <c:v>#N/A</c:v>
                </c:pt>
                <c:pt idx="11586">
                  <c:v>#N/A</c:v>
                </c:pt>
                <c:pt idx="11587">
                  <c:v>#N/A</c:v>
                </c:pt>
                <c:pt idx="11588">
                  <c:v>#N/A</c:v>
                </c:pt>
                <c:pt idx="11589">
                  <c:v>#N/A</c:v>
                </c:pt>
                <c:pt idx="11590">
                  <c:v>#N/A</c:v>
                </c:pt>
                <c:pt idx="11591">
                  <c:v>#N/A</c:v>
                </c:pt>
                <c:pt idx="11592">
                  <c:v>#N/A</c:v>
                </c:pt>
                <c:pt idx="11593">
                  <c:v>#N/A</c:v>
                </c:pt>
                <c:pt idx="11594">
                  <c:v>#N/A</c:v>
                </c:pt>
                <c:pt idx="11595">
                  <c:v>#N/A</c:v>
                </c:pt>
                <c:pt idx="11596">
                  <c:v>#N/A</c:v>
                </c:pt>
                <c:pt idx="11597">
                  <c:v>#N/A</c:v>
                </c:pt>
                <c:pt idx="11598">
                  <c:v>#N/A</c:v>
                </c:pt>
                <c:pt idx="11599">
                  <c:v>#N/A</c:v>
                </c:pt>
                <c:pt idx="11600">
                  <c:v>#N/A</c:v>
                </c:pt>
                <c:pt idx="11601">
                  <c:v>#N/A</c:v>
                </c:pt>
                <c:pt idx="11602">
                  <c:v>#N/A</c:v>
                </c:pt>
                <c:pt idx="11603">
                  <c:v>#N/A</c:v>
                </c:pt>
                <c:pt idx="11604">
                  <c:v>#N/A</c:v>
                </c:pt>
                <c:pt idx="11605">
                  <c:v>#N/A</c:v>
                </c:pt>
                <c:pt idx="11606">
                  <c:v>#N/A</c:v>
                </c:pt>
                <c:pt idx="11607">
                  <c:v>#N/A</c:v>
                </c:pt>
                <c:pt idx="11608">
                  <c:v>#N/A</c:v>
                </c:pt>
                <c:pt idx="11609">
                  <c:v>#N/A</c:v>
                </c:pt>
                <c:pt idx="11610">
                  <c:v>#N/A</c:v>
                </c:pt>
                <c:pt idx="11611">
                  <c:v>#N/A</c:v>
                </c:pt>
                <c:pt idx="11612">
                  <c:v>#N/A</c:v>
                </c:pt>
                <c:pt idx="11613">
                  <c:v>#N/A</c:v>
                </c:pt>
                <c:pt idx="11614">
                  <c:v>#N/A</c:v>
                </c:pt>
                <c:pt idx="11615">
                  <c:v>#N/A</c:v>
                </c:pt>
                <c:pt idx="11616">
                  <c:v>#N/A</c:v>
                </c:pt>
                <c:pt idx="11617">
                  <c:v>#N/A</c:v>
                </c:pt>
                <c:pt idx="11618">
                  <c:v>#N/A</c:v>
                </c:pt>
                <c:pt idx="11619">
                  <c:v>#N/A</c:v>
                </c:pt>
                <c:pt idx="11620">
                  <c:v>#N/A</c:v>
                </c:pt>
                <c:pt idx="11621">
                  <c:v>#N/A</c:v>
                </c:pt>
                <c:pt idx="11622">
                  <c:v>#N/A</c:v>
                </c:pt>
                <c:pt idx="11623">
                  <c:v>#N/A</c:v>
                </c:pt>
                <c:pt idx="11624">
                  <c:v>#N/A</c:v>
                </c:pt>
                <c:pt idx="11625">
                  <c:v>#N/A</c:v>
                </c:pt>
                <c:pt idx="11626">
                  <c:v>#N/A</c:v>
                </c:pt>
                <c:pt idx="11627">
                  <c:v>#N/A</c:v>
                </c:pt>
                <c:pt idx="11628">
                  <c:v>#N/A</c:v>
                </c:pt>
                <c:pt idx="11629">
                  <c:v>#N/A</c:v>
                </c:pt>
                <c:pt idx="11630">
                  <c:v>#N/A</c:v>
                </c:pt>
                <c:pt idx="11631">
                  <c:v>#N/A</c:v>
                </c:pt>
                <c:pt idx="11632">
                  <c:v>#N/A</c:v>
                </c:pt>
                <c:pt idx="11633">
                  <c:v>#N/A</c:v>
                </c:pt>
                <c:pt idx="11634">
                  <c:v>#N/A</c:v>
                </c:pt>
                <c:pt idx="11635">
                  <c:v>#N/A</c:v>
                </c:pt>
                <c:pt idx="11636">
                  <c:v>#N/A</c:v>
                </c:pt>
                <c:pt idx="11637">
                  <c:v>#N/A</c:v>
                </c:pt>
                <c:pt idx="11638">
                  <c:v>#N/A</c:v>
                </c:pt>
                <c:pt idx="11639">
                  <c:v>#N/A</c:v>
                </c:pt>
                <c:pt idx="11640">
                  <c:v>#N/A</c:v>
                </c:pt>
                <c:pt idx="11641">
                  <c:v>#N/A</c:v>
                </c:pt>
                <c:pt idx="11642">
                  <c:v>#N/A</c:v>
                </c:pt>
                <c:pt idx="11643">
                  <c:v>#N/A</c:v>
                </c:pt>
                <c:pt idx="11644">
                  <c:v>#N/A</c:v>
                </c:pt>
                <c:pt idx="11645">
                  <c:v>#N/A</c:v>
                </c:pt>
                <c:pt idx="11646">
                  <c:v>#N/A</c:v>
                </c:pt>
                <c:pt idx="11647">
                  <c:v>#N/A</c:v>
                </c:pt>
                <c:pt idx="11648">
                  <c:v>#N/A</c:v>
                </c:pt>
                <c:pt idx="11649">
                  <c:v>#N/A</c:v>
                </c:pt>
                <c:pt idx="11650">
                  <c:v>#N/A</c:v>
                </c:pt>
                <c:pt idx="11651">
                  <c:v>#N/A</c:v>
                </c:pt>
                <c:pt idx="11652">
                  <c:v>#N/A</c:v>
                </c:pt>
                <c:pt idx="11653">
                  <c:v>#N/A</c:v>
                </c:pt>
                <c:pt idx="11654">
                  <c:v>#N/A</c:v>
                </c:pt>
                <c:pt idx="11655">
                  <c:v>#N/A</c:v>
                </c:pt>
                <c:pt idx="11656">
                  <c:v>#N/A</c:v>
                </c:pt>
                <c:pt idx="11657">
                  <c:v>#N/A</c:v>
                </c:pt>
                <c:pt idx="11658">
                  <c:v>#N/A</c:v>
                </c:pt>
                <c:pt idx="11659">
                  <c:v>#N/A</c:v>
                </c:pt>
                <c:pt idx="11660">
                  <c:v>#N/A</c:v>
                </c:pt>
                <c:pt idx="11661">
                  <c:v>#N/A</c:v>
                </c:pt>
                <c:pt idx="11662">
                  <c:v>#N/A</c:v>
                </c:pt>
                <c:pt idx="11663">
                  <c:v>#N/A</c:v>
                </c:pt>
                <c:pt idx="11664">
                  <c:v>#N/A</c:v>
                </c:pt>
                <c:pt idx="11665">
                  <c:v>#N/A</c:v>
                </c:pt>
                <c:pt idx="11666">
                  <c:v>#N/A</c:v>
                </c:pt>
                <c:pt idx="11667">
                  <c:v>#N/A</c:v>
                </c:pt>
                <c:pt idx="11668">
                  <c:v>#N/A</c:v>
                </c:pt>
                <c:pt idx="11669">
                  <c:v>#N/A</c:v>
                </c:pt>
                <c:pt idx="11670">
                  <c:v>#N/A</c:v>
                </c:pt>
                <c:pt idx="11671">
                  <c:v>#N/A</c:v>
                </c:pt>
                <c:pt idx="11672">
                  <c:v>#N/A</c:v>
                </c:pt>
                <c:pt idx="11673">
                  <c:v>#N/A</c:v>
                </c:pt>
                <c:pt idx="11674">
                  <c:v>#N/A</c:v>
                </c:pt>
                <c:pt idx="11675">
                  <c:v>#N/A</c:v>
                </c:pt>
                <c:pt idx="11676">
                  <c:v>#N/A</c:v>
                </c:pt>
                <c:pt idx="11677">
                  <c:v>#N/A</c:v>
                </c:pt>
                <c:pt idx="11678">
                  <c:v>#N/A</c:v>
                </c:pt>
                <c:pt idx="11679">
                  <c:v>#N/A</c:v>
                </c:pt>
                <c:pt idx="11680">
                  <c:v>#N/A</c:v>
                </c:pt>
                <c:pt idx="11681">
                  <c:v>#N/A</c:v>
                </c:pt>
                <c:pt idx="11682">
                  <c:v>#N/A</c:v>
                </c:pt>
                <c:pt idx="11683">
                  <c:v>#N/A</c:v>
                </c:pt>
                <c:pt idx="11684">
                  <c:v>#N/A</c:v>
                </c:pt>
                <c:pt idx="11685">
                  <c:v>#N/A</c:v>
                </c:pt>
                <c:pt idx="11686">
                  <c:v>#N/A</c:v>
                </c:pt>
                <c:pt idx="11687">
                  <c:v>#N/A</c:v>
                </c:pt>
                <c:pt idx="11688">
                  <c:v>#N/A</c:v>
                </c:pt>
                <c:pt idx="11689">
                  <c:v>#N/A</c:v>
                </c:pt>
                <c:pt idx="11690">
                  <c:v>#N/A</c:v>
                </c:pt>
                <c:pt idx="11691">
                  <c:v>#N/A</c:v>
                </c:pt>
                <c:pt idx="11692">
                  <c:v>#N/A</c:v>
                </c:pt>
                <c:pt idx="11693">
                  <c:v>#N/A</c:v>
                </c:pt>
                <c:pt idx="11694">
                  <c:v>#N/A</c:v>
                </c:pt>
                <c:pt idx="11695">
                  <c:v>#N/A</c:v>
                </c:pt>
                <c:pt idx="11696">
                  <c:v>#N/A</c:v>
                </c:pt>
                <c:pt idx="11697">
                  <c:v>#N/A</c:v>
                </c:pt>
                <c:pt idx="11698">
                  <c:v>#N/A</c:v>
                </c:pt>
                <c:pt idx="11699">
                  <c:v>#N/A</c:v>
                </c:pt>
                <c:pt idx="11700">
                  <c:v>#N/A</c:v>
                </c:pt>
                <c:pt idx="11701">
                  <c:v>#N/A</c:v>
                </c:pt>
                <c:pt idx="11702">
                  <c:v>#N/A</c:v>
                </c:pt>
                <c:pt idx="11703">
                  <c:v>#N/A</c:v>
                </c:pt>
                <c:pt idx="11704">
                  <c:v>#N/A</c:v>
                </c:pt>
                <c:pt idx="11705">
                  <c:v>#N/A</c:v>
                </c:pt>
                <c:pt idx="11706">
                  <c:v>#N/A</c:v>
                </c:pt>
                <c:pt idx="11707">
                  <c:v>#N/A</c:v>
                </c:pt>
                <c:pt idx="11708">
                  <c:v>#N/A</c:v>
                </c:pt>
                <c:pt idx="11709">
                  <c:v>#N/A</c:v>
                </c:pt>
                <c:pt idx="11710">
                  <c:v>#N/A</c:v>
                </c:pt>
                <c:pt idx="11711">
                  <c:v>#N/A</c:v>
                </c:pt>
                <c:pt idx="11712">
                  <c:v>#N/A</c:v>
                </c:pt>
                <c:pt idx="11713">
                  <c:v>#N/A</c:v>
                </c:pt>
                <c:pt idx="11714">
                  <c:v>#N/A</c:v>
                </c:pt>
                <c:pt idx="11715">
                  <c:v>#N/A</c:v>
                </c:pt>
                <c:pt idx="11716">
                  <c:v>#N/A</c:v>
                </c:pt>
                <c:pt idx="11717">
                  <c:v>#N/A</c:v>
                </c:pt>
                <c:pt idx="11718">
                  <c:v>#N/A</c:v>
                </c:pt>
                <c:pt idx="11719">
                  <c:v>#N/A</c:v>
                </c:pt>
                <c:pt idx="11720">
                  <c:v>#N/A</c:v>
                </c:pt>
                <c:pt idx="11721">
                  <c:v>#N/A</c:v>
                </c:pt>
                <c:pt idx="11722">
                  <c:v>#N/A</c:v>
                </c:pt>
                <c:pt idx="11723">
                  <c:v>#N/A</c:v>
                </c:pt>
                <c:pt idx="11724">
                  <c:v>#N/A</c:v>
                </c:pt>
                <c:pt idx="11725">
                  <c:v>#N/A</c:v>
                </c:pt>
                <c:pt idx="11726">
                  <c:v>#N/A</c:v>
                </c:pt>
                <c:pt idx="11727">
                  <c:v>#N/A</c:v>
                </c:pt>
                <c:pt idx="11728">
                  <c:v>#N/A</c:v>
                </c:pt>
                <c:pt idx="11729">
                  <c:v>#N/A</c:v>
                </c:pt>
                <c:pt idx="11730">
                  <c:v>#N/A</c:v>
                </c:pt>
                <c:pt idx="11731">
                  <c:v>#N/A</c:v>
                </c:pt>
                <c:pt idx="11732">
                  <c:v>#N/A</c:v>
                </c:pt>
                <c:pt idx="11733">
                  <c:v>#N/A</c:v>
                </c:pt>
                <c:pt idx="11734">
                  <c:v>#N/A</c:v>
                </c:pt>
                <c:pt idx="11735">
                  <c:v>#N/A</c:v>
                </c:pt>
                <c:pt idx="11736">
                  <c:v>#N/A</c:v>
                </c:pt>
                <c:pt idx="11737">
                  <c:v>#N/A</c:v>
                </c:pt>
                <c:pt idx="11738">
                  <c:v>#N/A</c:v>
                </c:pt>
                <c:pt idx="11739">
                  <c:v>#N/A</c:v>
                </c:pt>
                <c:pt idx="11740">
                  <c:v>#N/A</c:v>
                </c:pt>
                <c:pt idx="11741">
                  <c:v>#N/A</c:v>
                </c:pt>
                <c:pt idx="11742">
                  <c:v>#N/A</c:v>
                </c:pt>
                <c:pt idx="11743">
                  <c:v>#N/A</c:v>
                </c:pt>
                <c:pt idx="11744">
                  <c:v>#N/A</c:v>
                </c:pt>
                <c:pt idx="11745">
                  <c:v>#N/A</c:v>
                </c:pt>
                <c:pt idx="11746">
                  <c:v>#N/A</c:v>
                </c:pt>
                <c:pt idx="11747">
                  <c:v>#N/A</c:v>
                </c:pt>
                <c:pt idx="11748">
                  <c:v>#N/A</c:v>
                </c:pt>
                <c:pt idx="11749">
                  <c:v>#N/A</c:v>
                </c:pt>
                <c:pt idx="11750">
                  <c:v>#N/A</c:v>
                </c:pt>
                <c:pt idx="11751">
                  <c:v>#N/A</c:v>
                </c:pt>
                <c:pt idx="11752">
                  <c:v>#N/A</c:v>
                </c:pt>
                <c:pt idx="11753">
                  <c:v>#N/A</c:v>
                </c:pt>
                <c:pt idx="11754">
                  <c:v>#N/A</c:v>
                </c:pt>
                <c:pt idx="11755">
                  <c:v>#N/A</c:v>
                </c:pt>
                <c:pt idx="11756">
                  <c:v>#N/A</c:v>
                </c:pt>
                <c:pt idx="11757">
                  <c:v>#N/A</c:v>
                </c:pt>
                <c:pt idx="11758">
                  <c:v>#N/A</c:v>
                </c:pt>
                <c:pt idx="11759">
                  <c:v>#N/A</c:v>
                </c:pt>
                <c:pt idx="11760">
                  <c:v>#N/A</c:v>
                </c:pt>
                <c:pt idx="11761">
                  <c:v>#N/A</c:v>
                </c:pt>
                <c:pt idx="11762">
                  <c:v>#N/A</c:v>
                </c:pt>
                <c:pt idx="11763">
                  <c:v>#N/A</c:v>
                </c:pt>
                <c:pt idx="11764">
                  <c:v>#N/A</c:v>
                </c:pt>
                <c:pt idx="11765">
                  <c:v>#N/A</c:v>
                </c:pt>
                <c:pt idx="11766">
                  <c:v>#N/A</c:v>
                </c:pt>
                <c:pt idx="11767">
                  <c:v>#N/A</c:v>
                </c:pt>
                <c:pt idx="11768">
                  <c:v>#N/A</c:v>
                </c:pt>
                <c:pt idx="11769">
                  <c:v>#N/A</c:v>
                </c:pt>
                <c:pt idx="11770">
                  <c:v>#N/A</c:v>
                </c:pt>
                <c:pt idx="11771">
                  <c:v>#N/A</c:v>
                </c:pt>
                <c:pt idx="11772">
                  <c:v>#N/A</c:v>
                </c:pt>
                <c:pt idx="11773">
                  <c:v>#N/A</c:v>
                </c:pt>
                <c:pt idx="11774">
                  <c:v>#N/A</c:v>
                </c:pt>
                <c:pt idx="11775">
                  <c:v>#N/A</c:v>
                </c:pt>
                <c:pt idx="11776">
                  <c:v>#N/A</c:v>
                </c:pt>
                <c:pt idx="11777">
                  <c:v>#N/A</c:v>
                </c:pt>
                <c:pt idx="11778">
                  <c:v>#N/A</c:v>
                </c:pt>
                <c:pt idx="11779">
                  <c:v>#N/A</c:v>
                </c:pt>
                <c:pt idx="11780">
                  <c:v>#N/A</c:v>
                </c:pt>
                <c:pt idx="11781">
                  <c:v>#N/A</c:v>
                </c:pt>
                <c:pt idx="11782">
                  <c:v>#N/A</c:v>
                </c:pt>
                <c:pt idx="11783">
                  <c:v>#N/A</c:v>
                </c:pt>
                <c:pt idx="11784">
                  <c:v>#N/A</c:v>
                </c:pt>
                <c:pt idx="11785">
                  <c:v>#N/A</c:v>
                </c:pt>
                <c:pt idx="11786">
                  <c:v>#N/A</c:v>
                </c:pt>
                <c:pt idx="11787">
                  <c:v>#N/A</c:v>
                </c:pt>
                <c:pt idx="11788">
                  <c:v>#N/A</c:v>
                </c:pt>
                <c:pt idx="11789">
                  <c:v>#N/A</c:v>
                </c:pt>
                <c:pt idx="11790">
                  <c:v>#N/A</c:v>
                </c:pt>
                <c:pt idx="11791">
                  <c:v>#N/A</c:v>
                </c:pt>
                <c:pt idx="11792">
                  <c:v>#N/A</c:v>
                </c:pt>
                <c:pt idx="11793">
                  <c:v>#N/A</c:v>
                </c:pt>
                <c:pt idx="11794">
                  <c:v>#N/A</c:v>
                </c:pt>
                <c:pt idx="11795">
                  <c:v>#N/A</c:v>
                </c:pt>
                <c:pt idx="11796">
                  <c:v>#N/A</c:v>
                </c:pt>
                <c:pt idx="11797">
                  <c:v>#N/A</c:v>
                </c:pt>
                <c:pt idx="11798">
                  <c:v>#N/A</c:v>
                </c:pt>
                <c:pt idx="11799">
                  <c:v>#N/A</c:v>
                </c:pt>
                <c:pt idx="11800">
                  <c:v>#N/A</c:v>
                </c:pt>
                <c:pt idx="11801">
                  <c:v>#N/A</c:v>
                </c:pt>
                <c:pt idx="11802">
                  <c:v>#N/A</c:v>
                </c:pt>
                <c:pt idx="11803">
                  <c:v>#N/A</c:v>
                </c:pt>
                <c:pt idx="11804">
                  <c:v>#N/A</c:v>
                </c:pt>
                <c:pt idx="11805">
                  <c:v>#N/A</c:v>
                </c:pt>
                <c:pt idx="11806">
                  <c:v>#N/A</c:v>
                </c:pt>
                <c:pt idx="11807">
                  <c:v>#N/A</c:v>
                </c:pt>
                <c:pt idx="11808">
                  <c:v>#N/A</c:v>
                </c:pt>
                <c:pt idx="11809">
                  <c:v>#N/A</c:v>
                </c:pt>
                <c:pt idx="11810">
                  <c:v>#N/A</c:v>
                </c:pt>
                <c:pt idx="11811">
                  <c:v>#N/A</c:v>
                </c:pt>
                <c:pt idx="11812">
                  <c:v>#N/A</c:v>
                </c:pt>
                <c:pt idx="11813">
                  <c:v>#N/A</c:v>
                </c:pt>
                <c:pt idx="11814">
                  <c:v>#N/A</c:v>
                </c:pt>
                <c:pt idx="11815">
                  <c:v>#N/A</c:v>
                </c:pt>
                <c:pt idx="11816">
                  <c:v>#N/A</c:v>
                </c:pt>
                <c:pt idx="11817">
                  <c:v>#N/A</c:v>
                </c:pt>
                <c:pt idx="11818">
                  <c:v>#N/A</c:v>
                </c:pt>
                <c:pt idx="11819">
                  <c:v>#N/A</c:v>
                </c:pt>
                <c:pt idx="11820">
                  <c:v>#N/A</c:v>
                </c:pt>
                <c:pt idx="11821">
                  <c:v>#N/A</c:v>
                </c:pt>
                <c:pt idx="11822">
                  <c:v>#N/A</c:v>
                </c:pt>
                <c:pt idx="11823">
                  <c:v>#N/A</c:v>
                </c:pt>
                <c:pt idx="11824">
                  <c:v>#N/A</c:v>
                </c:pt>
                <c:pt idx="11825">
                  <c:v>#N/A</c:v>
                </c:pt>
                <c:pt idx="11826">
                  <c:v>#N/A</c:v>
                </c:pt>
                <c:pt idx="11827">
                  <c:v>#N/A</c:v>
                </c:pt>
                <c:pt idx="11828">
                  <c:v>#N/A</c:v>
                </c:pt>
                <c:pt idx="11829">
                  <c:v>#N/A</c:v>
                </c:pt>
                <c:pt idx="11830">
                  <c:v>#N/A</c:v>
                </c:pt>
                <c:pt idx="11831">
                  <c:v>#N/A</c:v>
                </c:pt>
                <c:pt idx="11832">
                  <c:v>#N/A</c:v>
                </c:pt>
                <c:pt idx="11833">
                  <c:v>#N/A</c:v>
                </c:pt>
                <c:pt idx="11834">
                  <c:v>#N/A</c:v>
                </c:pt>
                <c:pt idx="11835">
                  <c:v>#N/A</c:v>
                </c:pt>
                <c:pt idx="11836">
                  <c:v>#N/A</c:v>
                </c:pt>
                <c:pt idx="11837">
                  <c:v>#N/A</c:v>
                </c:pt>
                <c:pt idx="11838">
                  <c:v>#N/A</c:v>
                </c:pt>
                <c:pt idx="11839">
                  <c:v>#N/A</c:v>
                </c:pt>
                <c:pt idx="11840">
                  <c:v>#N/A</c:v>
                </c:pt>
                <c:pt idx="11841">
                  <c:v>#N/A</c:v>
                </c:pt>
                <c:pt idx="11842">
                  <c:v>#N/A</c:v>
                </c:pt>
                <c:pt idx="11843">
                  <c:v>#N/A</c:v>
                </c:pt>
                <c:pt idx="11844">
                  <c:v>#N/A</c:v>
                </c:pt>
                <c:pt idx="11845">
                  <c:v>#N/A</c:v>
                </c:pt>
                <c:pt idx="11846">
                  <c:v>#N/A</c:v>
                </c:pt>
                <c:pt idx="11847">
                  <c:v>#N/A</c:v>
                </c:pt>
                <c:pt idx="11848">
                  <c:v>#N/A</c:v>
                </c:pt>
                <c:pt idx="11849">
                  <c:v>#N/A</c:v>
                </c:pt>
                <c:pt idx="11850">
                  <c:v>#N/A</c:v>
                </c:pt>
                <c:pt idx="11851">
                  <c:v>#N/A</c:v>
                </c:pt>
                <c:pt idx="11852">
                  <c:v>#N/A</c:v>
                </c:pt>
                <c:pt idx="11853">
                  <c:v>#N/A</c:v>
                </c:pt>
                <c:pt idx="11854">
                  <c:v>#N/A</c:v>
                </c:pt>
                <c:pt idx="11855">
                  <c:v>#N/A</c:v>
                </c:pt>
                <c:pt idx="11856">
                  <c:v>#N/A</c:v>
                </c:pt>
                <c:pt idx="11857">
                  <c:v>#N/A</c:v>
                </c:pt>
                <c:pt idx="11858">
                  <c:v>#N/A</c:v>
                </c:pt>
                <c:pt idx="11859">
                  <c:v>#N/A</c:v>
                </c:pt>
                <c:pt idx="11860">
                  <c:v>#N/A</c:v>
                </c:pt>
                <c:pt idx="11861">
                  <c:v>#N/A</c:v>
                </c:pt>
                <c:pt idx="11862">
                  <c:v>#N/A</c:v>
                </c:pt>
                <c:pt idx="11863">
                  <c:v>#N/A</c:v>
                </c:pt>
                <c:pt idx="11864">
                  <c:v>#N/A</c:v>
                </c:pt>
                <c:pt idx="11865">
                  <c:v>#N/A</c:v>
                </c:pt>
                <c:pt idx="11866">
                  <c:v>#N/A</c:v>
                </c:pt>
                <c:pt idx="11867">
                  <c:v>#N/A</c:v>
                </c:pt>
                <c:pt idx="11868">
                  <c:v>#N/A</c:v>
                </c:pt>
                <c:pt idx="11869">
                  <c:v>#N/A</c:v>
                </c:pt>
                <c:pt idx="11870">
                  <c:v>#N/A</c:v>
                </c:pt>
                <c:pt idx="11871">
                  <c:v>#N/A</c:v>
                </c:pt>
                <c:pt idx="11872">
                  <c:v>#N/A</c:v>
                </c:pt>
                <c:pt idx="11873">
                  <c:v>#N/A</c:v>
                </c:pt>
                <c:pt idx="11874">
                  <c:v>#N/A</c:v>
                </c:pt>
                <c:pt idx="11875">
                  <c:v>#N/A</c:v>
                </c:pt>
                <c:pt idx="11876">
                  <c:v>#N/A</c:v>
                </c:pt>
                <c:pt idx="11877">
                  <c:v>#N/A</c:v>
                </c:pt>
                <c:pt idx="11878">
                  <c:v>#N/A</c:v>
                </c:pt>
                <c:pt idx="11879">
                  <c:v>#N/A</c:v>
                </c:pt>
                <c:pt idx="11880">
                  <c:v>#N/A</c:v>
                </c:pt>
                <c:pt idx="11881">
                  <c:v>#N/A</c:v>
                </c:pt>
                <c:pt idx="11882">
                  <c:v>#N/A</c:v>
                </c:pt>
                <c:pt idx="11883">
                  <c:v>#N/A</c:v>
                </c:pt>
                <c:pt idx="11884">
                  <c:v>#N/A</c:v>
                </c:pt>
                <c:pt idx="11885">
                  <c:v>#N/A</c:v>
                </c:pt>
                <c:pt idx="11886">
                  <c:v>#N/A</c:v>
                </c:pt>
                <c:pt idx="11887">
                  <c:v>#N/A</c:v>
                </c:pt>
                <c:pt idx="11888">
                  <c:v>#N/A</c:v>
                </c:pt>
                <c:pt idx="11889">
                  <c:v>#N/A</c:v>
                </c:pt>
                <c:pt idx="11890">
                  <c:v>#N/A</c:v>
                </c:pt>
                <c:pt idx="11891">
                  <c:v>#N/A</c:v>
                </c:pt>
                <c:pt idx="11892">
                  <c:v>#N/A</c:v>
                </c:pt>
                <c:pt idx="11893">
                  <c:v>#N/A</c:v>
                </c:pt>
                <c:pt idx="11894">
                  <c:v>#N/A</c:v>
                </c:pt>
                <c:pt idx="11895">
                  <c:v>#N/A</c:v>
                </c:pt>
                <c:pt idx="11896">
                  <c:v>#N/A</c:v>
                </c:pt>
                <c:pt idx="11897">
                  <c:v>#N/A</c:v>
                </c:pt>
                <c:pt idx="11898">
                  <c:v>#N/A</c:v>
                </c:pt>
                <c:pt idx="11899">
                  <c:v>#N/A</c:v>
                </c:pt>
                <c:pt idx="11900">
                  <c:v>#N/A</c:v>
                </c:pt>
                <c:pt idx="11901">
                  <c:v>#N/A</c:v>
                </c:pt>
                <c:pt idx="11902">
                  <c:v>#N/A</c:v>
                </c:pt>
                <c:pt idx="11903">
                  <c:v>#N/A</c:v>
                </c:pt>
                <c:pt idx="11904">
                  <c:v>#N/A</c:v>
                </c:pt>
                <c:pt idx="11905">
                  <c:v>#N/A</c:v>
                </c:pt>
                <c:pt idx="11906">
                  <c:v>#N/A</c:v>
                </c:pt>
                <c:pt idx="11907">
                  <c:v>#N/A</c:v>
                </c:pt>
                <c:pt idx="11908">
                  <c:v>#N/A</c:v>
                </c:pt>
                <c:pt idx="11909">
                  <c:v>#N/A</c:v>
                </c:pt>
                <c:pt idx="11910">
                  <c:v>#N/A</c:v>
                </c:pt>
                <c:pt idx="11911">
                  <c:v>#N/A</c:v>
                </c:pt>
                <c:pt idx="11912">
                  <c:v>#N/A</c:v>
                </c:pt>
                <c:pt idx="11913">
                  <c:v>#N/A</c:v>
                </c:pt>
                <c:pt idx="11914">
                  <c:v>#N/A</c:v>
                </c:pt>
                <c:pt idx="11915">
                  <c:v>#N/A</c:v>
                </c:pt>
                <c:pt idx="11916">
                  <c:v>#N/A</c:v>
                </c:pt>
                <c:pt idx="11917">
                  <c:v>#N/A</c:v>
                </c:pt>
                <c:pt idx="11918">
                  <c:v>#N/A</c:v>
                </c:pt>
                <c:pt idx="11919">
                  <c:v>#N/A</c:v>
                </c:pt>
                <c:pt idx="11920">
                  <c:v>#N/A</c:v>
                </c:pt>
                <c:pt idx="11921">
                  <c:v>#N/A</c:v>
                </c:pt>
                <c:pt idx="11922">
                  <c:v>#N/A</c:v>
                </c:pt>
                <c:pt idx="11923">
                  <c:v>#N/A</c:v>
                </c:pt>
                <c:pt idx="11924">
                  <c:v>#N/A</c:v>
                </c:pt>
                <c:pt idx="11925">
                  <c:v>#N/A</c:v>
                </c:pt>
                <c:pt idx="11926">
                  <c:v>#N/A</c:v>
                </c:pt>
                <c:pt idx="11927">
                  <c:v>#N/A</c:v>
                </c:pt>
                <c:pt idx="11928">
                  <c:v>#N/A</c:v>
                </c:pt>
                <c:pt idx="11929">
                  <c:v>#N/A</c:v>
                </c:pt>
                <c:pt idx="11930">
                  <c:v>#N/A</c:v>
                </c:pt>
                <c:pt idx="11931">
                  <c:v>#N/A</c:v>
                </c:pt>
                <c:pt idx="11932">
                  <c:v>#N/A</c:v>
                </c:pt>
                <c:pt idx="11933">
                  <c:v>#N/A</c:v>
                </c:pt>
                <c:pt idx="11934">
                  <c:v>#N/A</c:v>
                </c:pt>
                <c:pt idx="11935">
                  <c:v>#N/A</c:v>
                </c:pt>
                <c:pt idx="11936">
                  <c:v>#N/A</c:v>
                </c:pt>
                <c:pt idx="11937">
                  <c:v>#N/A</c:v>
                </c:pt>
                <c:pt idx="11938">
                  <c:v>#N/A</c:v>
                </c:pt>
                <c:pt idx="11939">
                  <c:v>#N/A</c:v>
                </c:pt>
                <c:pt idx="11940">
                  <c:v>#N/A</c:v>
                </c:pt>
                <c:pt idx="11941">
                  <c:v>#N/A</c:v>
                </c:pt>
                <c:pt idx="11942">
                  <c:v>#N/A</c:v>
                </c:pt>
                <c:pt idx="11943">
                  <c:v>#N/A</c:v>
                </c:pt>
                <c:pt idx="11944">
                  <c:v>#N/A</c:v>
                </c:pt>
                <c:pt idx="11945">
                  <c:v>#N/A</c:v>
                </c:pt>
                <c:pt idx="11946">
                  <c:v>#N/A</c:v>
                </c:pt>
                <c:pt idx="11947">
                  <c:v>#N/A</c:v>
                </c:pt>
                <c:pt idx="11948">
                  <c:v>#N/A</c:v>
                </c:pt>
                <c:pt idx="11949">
                  <c:v>#N/A</c:v>
                </c:pt>
                <c:pt idx="11950">
                  <c:v>#N/A</c:v>
                </c:pt>
                <c:pt idx="11951">
                  <c:v>#N/A</c:v>
                </c:pt>
                <c:pt idx="11952">
                  <c:v>#N/A</c:v>
                </c:pt>
                <c:pt idx="11953">
                  <c:v>#N/A</c:v>
                </c:pt>
                <c:pt idx="11954">
                  <c:v>#N/A</c:v>
                </c:pt>
                <c:pt idx="11955">
                  <c:v>#N/A</c:v>
                </c:pt>
                <c:pt idx="11956">
                  <c:v>#N/A</c:v>
                </c:pt>
                <c:pt idx="11957">
                  <c:v>#N/A</c:v>
                </c:pt>
                <c:pt idx="11958">
                  <c:v>#N/A</c:v>
                </c:pt>
                <c:pt idx="11959">
                  <c:v>#N/A</c:v>
                </c:pt>
                <c:pt idx="11960">
                  <c:v>#N/A</c:v>
                </c:pt>
                <c:pt idx="11961">
                  <c:v>#N/A</c:v>
                </c:pt>
                <c:pt idx="11962">
                  <c:v>#N/A</c:v>
                </c:pt>
                <c:pt idx="11963">
                  <c:v>#N/A</c:v>
                </c:pt>
                <c:pt idx="11964">
                  <c:v>#N/A</c:v>
                </c:pt>
                <c:pt idx="11965">
                  <c:v>#N/A</c:v>
                </c:pt>
                <c:pt idx="11966">
                  <c:v>#N/A</c:v>
                </c:pt>
                <c:pt idx="11967">
                  <c:v>#N/A</c:v>
                </c:pt>
                <c:pt idx="11968">
                  <c:v>#N/A</c:v>
                </c:pt>
                <c:pt idx="11969">
                  <c:v>#N/A</c:v>
                </c:pt>
                <c:pt idx="11970">
                  <c:v>#N/A</c:v>
                </c:pt>
                <c:pt idx="11971">
                  <c:v>#N/A</c:v>
                </c:pt>
                <c:pt idx="11972">
                  <c:v>#N/A</c:v>
                </c:pt>
                <c:pt idx="11973">
                  <c:v>#N/A</c:v>
                </c:pt>
                <c:pt idx="11974">
                  <c:v>#N/A</c:v>
                </c:pt>
                <c:pt idx="11975">
                  <c:v>#N/A</c:v>
                </c:pt>
                <c:pt idx="11976">
                  <c:v>#N/A</c:v>
                </c:pt>
                <c:pt idx="11977">
                  <c:v>#N/A</c:v>
                </c:pt>
                <c:pt idx="11978">
                  <c:v>#N/A</c:v>
                </c:pt>
                <c:pt idx="11979">
                  <c:v>#N/A</c:v>
                </c:pt>
                <c:pt idx="11980">
                  <c:v>#N/A</c:v>
                </c:pt>
                <c:pt idx="11981">
                  <c:v>#N/A</c:v>
                </c:pt>
                <c:pt idx="11982">
                  <c:v>#N/A</c:v>
                </c:pt>
                <c:pt idx="11983">
                  <c:v>#N/A</c:v>
                </c:pt>
                <c:pt idx="11984">
                  <c:v>#N/A</c:v>
                </c:pt>
                <c:pt idx="11985">
                  <c:v>#N/A</c:v>
                </c:pt>
                <c:pt idx="11986">
                  <c:v>#N/A</c:v>
                </c:pt>
                <c:pt idx="11987">
                  <c:v>#N/A</c:v>
                </c:pt>
                <c:pt idx="11988">
                  <c:v>#N/A</c:v>
                </c:pt>
                <c:pt idx="11989">
                  <c:v>#N/A</c:v>
                </c:pt>
                <c:pt idx="11990">
                  <c:v>#N/A</c:v>
                </c:pt>
                <c:pt idx="11991">
                  <c:v>#N/A</c:v>
                </c:pt>
                <c:pt idx="11992">
                  <c:v>#N/A</c:v>
                </c:pt>
                <c:pt idx="11993">
                  <c:v>#N/A</c:v>
                </c:pt>
                <c:pt idx="11994">
                  <c:v>#N/A</c:v>
                </c:pt>
                <c:pt idx="11995">
                  <c:v>#N/A</c:v>
                </c:pt>
                <c:pt idx="11996">
                  <c:v>#N/A</c:v>
                </c:pt>
                <c:pt idx="11997">
                  <c:v>#N/A</c:v>
                </c:pt>
                <c:pt idx="11998">
                  <c:v>#N/A</c:v>
                </c:pt>
                <c:pt idx="11999">
                  <c:v>#N/A</c:v>
                </c:pt>
                <c:pt idx="12000">
                  <c:v>#N/A</c:v>
                </c:pt>
                <c:pt idx="12001">
                  <c:v>#N/A</c:v>
                </c:pt>
                <c:pt idx="12002">
                  <c:v>#N/A</c:v>
                </c:pt>
                <c:pt idx="12003">
                  <c:v>#N/A</c:v>
                </c:pt>
                <c:pt idx="12004">
                  <c:v>#N/A</c:v>
                </c:pt>
                <c:pt idx="12005">
                  <c:v>#N/A</c:v>
                </c:pt>
                <c:pt idx="12006">
                  <c:v>#N/A</c:v>
                </c:pt>
                <c:pt idx="12007">
                  <c:v>#N/A</c:v>
                </c:pt>
                <c:pt idx="12008">
                  <c:v>#N/A</c:v>
                </c:pt>
                <c:pt idx="12009">
                  <c:v>#N/A</c:v>
                </c:pt>
                <c:pt idx="12010">
                  <c:v>#N/A</c:v>
                </c:pt>
                <c:pt idx="12011">
                  <c:v>#N/A</c:v>
                </c:pt>
                <c:pt idx="12012">
                  <c:v>#N/A</c:v>
                </c:pt>
                <c:pt idx="12013">
                  <c:v>#N/A</c:v>
                </c:pt>
                <c:pt idx="12014">
                  <c:v>#N/A</c:v>
                </c:pt>
                <c:pt idx="12015">
                  <c:v>#N/A</c:v>
                </c:pt>
                <c:pt idx="12016">
                  <c:v>#N/A</c:v>
                </c:pt>
                <c:pt idx="12017">
                  <c:v>#N/A</c:v>
                </c:pt>
                <c:pt idx="12018">
                  <c:v>#N/A</c:v>
                </c:pt>
                <c:pt idx="12019">
                  <c:v>#N/A</c:v>
                </c:pt>
                <c:pt idx="12020">
                  <c:v>#N/A</c:v>
                </c:pt>
                <c:pt idx="12021">
                  <c:v>#N/A</c:v>
                </c:pt>
                <c:pt idx="12022">
                  <c:v>#N/A</c:v>
                </c:pt>
                <c:pt idx="12023">
                  <c:v>#N/A</c:v>
                </c:pt>
                <c:pt idx="12024">
                  <c:v>#N/A</c:v>
                </c:pt>
                <c:pt idx="12025">
                  <c:v>#N/A</c:v>
                </c:pt>
                <c:pt idx="12026">
                  <c:v>#N/A</c:v>
                </c:pt>
                <c:pt idx="12027">
                  <c:v>#N/A</c:v>
                </c:pt>
                <c:pt idx="12028">
                  <c:v>#N/A</c:v>
                </c:pt>
                <c:pt idx="12029">
                  <c:v>#N/A</c:v>
                </c:pt>
                <c:pt idx="12030">
                  <c:v>#N/A</c:v>
                </c:pt>
                <c:pt idx="12031">
                  <c:v>#N/A</c:v>
                </c:pt>
                <c:pt idx="12032">
                  <c:v>#N/A</c:v>
                </c:pt>
                <c:pt idx="12033">
                  <c:v>#N/A</c:v>
                </c:pt>
                <c:pt idx="12034">
                  <c:v>#N/A</c:v>
                </c:pt>
                <c:pt idx="12035">
                  <c:v>#N/A</c:v>
                </c:pt>
                <c:pt idx="12036">
                  <c:v>#N/A</c:v>
                </c:pt>
                <c:pt idx="12037">
                  <c:v>#N/A</c:v>
                </c:pt>
                <c:pt idx="12038">
                  <c:v>#N/A</c:v>
                </c:pt>
                <c:pt idx="12039">
                  <c:v>#N/A</c:v>
                </c:pt>
                <c:pt idx="12040">
                  <c:v>#N/A</c:v>
                </c:pt>
                <c:pt idx="12041">
                  <c:v>#N/A</c:v>
                </c:pt>
                <c:pt idx="12042">
                  <c:v>#N/A</c:v>
                </c:pt>
                <c:pt idx="12043">
                  <c:v>#N/A</c:v>
                </c:pt>
                <c:pt idx="12044">
                  <c:v>#N/A</c:v>
                </c:pt>
                <c:pt idx="12045">
                  <c:v>#N/A</c:v>
                </c:pt>
                <c:pt idx="12046">
                  <c:v>#N/A</c:v>
                </c:pt>
                <c:pt idx="12047">
                  <c:v>#N/A</c:v>
                </c:pt>
                <c:pt idx="12048">
                  <c:v>#N/A</c:v>
                </c:pt>
                <c:pt idx="12049">
                  <c:v>#N/A</c:v>
                </c:pt>
                <c:pt idx="12050">
                  <c:v>#N/A</c:v>
                </c:pt>
                <c:pt idx="12051">
                  <c:v>#N/A</c:v>
                </c:pt>
                <c:pt idx="12052">
                  <c:v>#N/A</c:v>
                </c:pt>
                <c:pt idx="12053">
                  <c:v>#N/A</c:v>
                </c:pt>
                <c:pt idx="12054">
                  <c:v>#N/A</c:v>
                </c:pt>
                <c:pt idx="12055">
                  <c:v>#N/A</c:v>
                </c:pt>
                <c:pt idx="12056">
                  <c:v>#N/A</c:v>
                </c:pt>
                <c:pt idx="12057">
                  <c:v>#N/A</c:v>
                </c:pt>
                <c:pt idx="12058">
                  <c:v>#N/A</c:v>
                </c:pt>
                <c:pt idx="12059">
                  <c:v>#N/A</c:v>
                </c:pt>
                <c:pt idx="12060">
                  <c:v>#N/A</c:v>
                </c:pt>
                <c:pt idx="12061">
                  <c:v>#N/A</c:v>
                </c:pt>
                <c:pt idx="12062">
                  <c:v>#N/A</c:v>
                </c:pt>
                <c:pt idx="12063">
                  <c:v>#N/A</c:v>
                </c:pt>
                <c:pt idx="12064">
                  <c:v>#N/A</c:v>
                </c:pt>
                <c:pt idx="12065">
                  <c:v>#N/A</c:v>
                </c:pt>
                <c:pt idx="12066">
                  <c:v>#N/A</c:v>
                </c:pt>
                <c:pt idx="12067">
                  <c:v>#N/A</c:v>
                </c:pt>
                <c:pt idx="12068">
                  <c:v>#N/A</c:v>
                </c:pt>
                <c:pt idx="12069">
                  <c:v>#N/A</c:v>
                </c:pt>
                <c:pt idx="12070">
                  <c:v>#N/A</c:v>
                </c:pt>
                <c:pt idx="12071">
                  <c:v>#N/A</c:v>
                </c:pt>
                <c:pt idx="12072">
                  <c:v>#N/A</c:v>
                </c:pt>
                <c:pt idx="12073">
                  <c:v>#N/A</c:v>
                </c:pt>
                <c:pt idx="12074">
                  <c:v>#N/A</c:v>
                </c:pt>
                <c:pt idx="12075">
                  <c:v>#N/A</c:v>
                </c:pt>
                <c:pt idx="12076">
                  <c:v>#N/A</c:v>
                </c:pt>
                <c:pt idx="12077">
                  <c:v>#N/A</c:v>
                </c:pt>
                <c:pt idx="12078">
                  <c:v>#N/A</c:v>
                </c:pt>
                <c:pt idx="12079">
                  <c:v>#N/A</c:v>
                </c:pt>
                <c:pt idx="12080">
                  <c:v>#N/A</c:v>
                </c:pt>
                <c:pt idx="12081">
                  <c:v>#N/A</c:v>
                </c:pt>
                <c:pt idx="12082">
                  <c:v>#N/A</c:v>
                </c:pt>
                <c:pt idx="12083">
                  <c:v>#N/A</c:v>
                </c:pt>
                <c:pt idx="12084">
                  <c:v>#N/A</c:v>
                </c:pt>
                <c:pt idx="12085">
                  <c:v>#N/A</c:v>
                </c:pt>
                <c:pt idx="12086">
                  <c:v>#N/A</c:v>
                </c:pt>
                <c:pt idx="12087">
                  <c:v>#N/A</c:v>
                </c:pt>
                <c:pt idx="12088">
                  <c:v>#N/A</c:v>
                </c:pt>
                <c:pt idx="12089">
                  <c:v>#N/A</c:v>
                </c:pt>
                <c:pt idx="12090">
                  <c:v>#N/A</c:v>
                </c:pt>
                <c:pt idx="12091">
                  <c:v>#N/A</c:v>
                </c:pt>
                <c:pt idx="12092">
                  <c:v>#N/A</c:v>
                </c:pt>
                <c:pt idx="12093">
                  <c:v>#N/A</c:v>
                </c:pt>
                <c:pt idx="12094">
                  <c:v>#N/A</c:v>
                </c:pt>
                <c:pt idx="12095">
                  <c:v>#N/A</c:v>
                </c:pt>
                <c:pt idx="12096">
                  <c:v>#N/A</c:v>
                </c:pt>
                <c:pt idx="12097">
                  <c:v>#N/A</c:v>
                </c:pt>
                <c:pt idx="12098">
                  <c:v>#N/A</c:v>
                </c:pt>
                <c:pt idx="12099">
                  <c:v>#N/A</c:v>
                </c:pt>
                <c:pt idx="12100">
                  <c:v>#N/A</c:v>
                </c:pt>
                <c:pt idx="12101">
                  <c:v>#N/A</c:v>
                </c:pt>
                <c:pt idx="12102">
                  <c:v>#N/A</c:v>
                </c:pt>
                <c:pt idx="12103">
                  <c:v>#N/A</c:v>
                </c:pt>
                <c:pt idx="12104">
                  <c:v>#N/A</c:v>
                </c:pt>
                <c:pt idx="12105">
                  <c:v>#N/A</c:v>
                </c:pt>
                <c:pt idx="12106">
                  <c:v>#N/A</c:v>
                </c:pt>
                <c:pt idx="12107">
                  <c:v>#N/A</c:v>
                </c:pt>
                <c:pt idx="12108">
                  <c:v>#N/A</c:v>
                </c:pt>
                <c:pt idx="12109">
                  <c:v>#N/A</c:v>
                </c:pt>
                <c:pt idx="12110">
                  <c:v>#N/A</c:v>
                </c:pt>
                <c:pt idx="12111">
                  <c:v>#N/A</c:v>
                </c:pt>
                <c:pt idx="12112">
                  <c:v>#N/A</c:v>
                </c:pt>
                <c:pt idx="12113">
                  <c:v>#N/A</c:v>
                </c:pt>
                <c:pt idx="12114">
                  <c:v>#N/A</c:v>
                </c:pt>
                <c:pt idx="12115">
                  <c:v>#N/A</c:v>
                </c:pt>
                <c:pt idx="12116">
                  <c:v>#N/A</c:v>
                </c:pt>
                <c:pt idx="12117">
                  <c:v>#N/A</c:v>
                </c:pt>
                <c:pt idx="12118">
                  <c:v>#N/A</c:v>
                </c:pt>
                <c:pt idx="12119">
                  <c:v>#N/A</c:v>
                </c:pt>
                <c:pt idx="12120">
                  <c:v>#N/A</c:v>
                </c:pt>
                <c:pt idx="12121">
                  <c:v>#N/A</c:v>
                </c:pt>
                <c:pt idx="12122">
                  <c:v>#N/A</c:v>
                </c:pt>
                <c:pt idx="12123">
                  <c:v>#N/A</c:v>
                </c:pt>
                <c:pt idx="12124">
                  <c:v>#N/A</c:v>
                </c:pt>
                <c:pt idx="12125">
                  <c:v>#N/A</c:v>
                </c:pt>
                <c:pt idx="12126">
                  <c:v>#N/A</c:v>
                </c:pt>
                <c:pt idx="12127">
                  <c:v>#N/A</c:v>
                </c:pt>
                <c:pt idx="12128">
                  <c:v>#N/A</c:v>
                </c:pt>
                <c:pt idx="12129">
                  <c:v>#N/A</c:v>
                </c:pt>
                <c:pt idx="12130">
                  <c:v>#N/A</c:v>
                </c:pt>
                <c:pt idx="12131">
                  <c:v>#N/A</c:v>
                </c:pt>
                <c:pt idx="12132">
                  <c:v>#N/A</c:v>
                </c:pt>
                <c:pt idx="12133">
                  <c:v>#N/A</c:v>
                </c:pt>
                <c:pt idx="12134">
                  <c:v>#N/A</c:v>
                </c:pt>
                <c:pt idx="12135">
                  <c:v>#N/A</c:v>
                </c:pt>
                <c:pt idx="12136">
                  <c:v>#N/A</c:v>
                </c:pt>
                <c:pt idx="12137">
                  <c:v>#N/A</c:v>
                </c:pt>
                <c:pt idx="12138">
                  <c:v>#N/A</c:v>
                </c:pt>
                <c:pt idx="12139">
                  <c:v>#N/A</c:v>
                </c:pt>
                <c:pt idx="12140">
                  <c:v>#N/A</c:v>
                </c:pt>
                <c:pt idx="12141">
                  <c:v>#N/A</c:v>
                </c:pt>
                <c:pt idx="12142">
                  <c:v>#N/A</c:v>
                </c:pt>
                <c:pt idx="12143">
                  <c:v>#N/A</c:v>
                </c:pt>
                <c:pt idx="12144">
                  <c:v>#N/A</c:v>
                </c:pt>
                <c:pt idx="12145">
                  <c:v>#N/A</c:v>
                </c:pt>
                <c:pt idx="12146">
                  <c:v>#N/A</c:v>
                </c:pt>
                <c:pt idx="12147">
                  <c:v>#N/A</c:v>
                </c:pt>
                <c:pt idx="12148">
                  <c:v>#N/A</c:v>
                </c:pt>
                <c:pt idx="12149">
                  <c:v>#N/A</c:v>
                </c:pt>
                <c:pt idx="12150">
                  <c:v>#N/A</c:v>
                </c:pt>
                <c:pt idx="12151">
                  <c:v>#N/A</c:v>
                </c:pt>
                <c:pt idx="12152">
                  <c:v>#N/A</c:v>
                </c:pt>
                <c:pt idx="12153">
                  <c:v>#N/A</c:v>
                </c:pt>
                <c:pt idx="12154">
                  <c:v>#N/A</c:v>
                </c:pt>
                <c:pt idx="12155">
                  <c:v>#N/A</c:v>
                </c:pt>
                <c:pt idx="12156">
                  <c:v>#N/A</c:v>
                </c:pt>
                <c:pt idx="12157">
                  <c:v>#N/A</c:v>
                </c:pt>
                <c:pt idx="12158">
                  <c:v>#N/A</c:v>
                </c:pt>
                <c:pt idx="12159">
                  <c:v>#N/A</c:v>
                </c:pt>
                <c:pt idx="12160">
                  <c:v>#N/A</c:v>
                </c:pt>
                <c:pt idx="12161">
                  <c:v>#N/A</c:v>
                </c:pt>
                <c:pt idx="12162">
                  <c:v>#N/A</c:v>
                </c:pt>
                <c:pt idx="12163">
                  <c:v>#N/A</c:v>
                </c:pt>
                <c:pt idx="12164">
                  <c:v>#N/A</c:v>
                </c:pt>
                <c:pt idx="12165">
                  <c:v>#N/A</c:v>
                </c:pt>
                <c:pt idx="12166">
                  <c:v>#N/A</c:v>
                </c:pt>
                <c:pt idx="12167">
                  <c:v>#N/A</c:v>
                </c:pt>
                <c:pt idx="12168">
                  <c:v>#N/A</c:v>
                </c:pt>
                <c:pt idx="12169">
                  <c:v>#N/A</c:v>
                </c:pt>
                <c:pt idx="12170">
                  <c:v>#N/A</c:v>
                </c:pt>
                <c:pt idx="12171">
                  <c:v>#N/A</c:v>
                </c:pt>
                <c:pt idx="12172">
                  <c:v>#N/A</c:v>
                </c:pt>
                <c:pt idx="12173">
                  <c:v>#N/A</c:v>
                </c:pt>
                <c:pt idx="12174">
                  <c:v>#N/A</c:v>
                </c:pt>
                <c:pt idx="12175">
                  <c:v>#N/A</c:v>
                </c:pt>
                <c:pt idx="12176">
                  <c:v>#N/A</c:v>
                </c:pt>
                <c:pt idx="12177">
                  <c:v>#N/A</c:v>
                </c:pt>
                <c:pt idx="12178">
                  <c:v>#N/A</c:v>
                </c:pt>
                <c:pt idx="12179">
                  <c:v>#N/A</c:v>
                </c:pt>
                <c:pt idx="12180">
                  <c:v>#N/A</c:v>
                </c:pt>
                <c:pt idx="12181">
                  <c:v>#N/A</c:v>
                </c:pt>
                <c:pt idx="12182">
                  <c:v>#N/A</c:v>
                </c:pt>
                <c:pt idx="12183">
                  <c:v>#N/A</c:v>
                </c:pt>
                <c:pt idx="12184">
                  <c:v>#N/A</c:v>
                </c:pt>
                <c:pt idx="12185">
                  <c:v>#N/A</c:v>
                </c:pt>
                <c:pt idx="12186">
                  <c:v>#N/A</c:v>
                </c:pt>
                <c:pt idx="12187">
                  <c:v>#N/A</c:v>
                </c:pt>
                <c:pt idx="12188">
                  <c:v>#N/A</c:v>
                </c:pt>
                <c:pt idx="12189">
                  <c:v>#N/A</c:v>
                </c:pt>
                <c:pt idx="12190">
                  <c:v>#N/A</c:v>
                </c:pt>
                <c:pt idx="12191">
                  <c:v>#N/A</c:v>
                </c:pt>
                <c:pt idx="12192">
                  <c:v>#N/A</c:v>
                </c:pt>
                <c:pt idx="12193">
                  <c:v>#N/A</c:v>
                </c:pt>
                <c:pt idx="12194">
                  <c:v>#N/A</c:v>
                </c:pt>
                <c:pt idx="12195">
                  <c:v>#N/A</c:v>
                </c:pt>
                <c:pt idx="12196">
                  <c:v>#N/A</c:v>
                </c:pt>
                <c:pt idx="12197">
                  <c:v>#N/A</c:v>
                </c:pt>
                <c:pt idx="12198">
                  <c:v>#N/A</c:v>
                </c:pt>
                <c:pt idx="12199">
                  <c:v>#N/A</c:v>
                </c:pt>
                <c:pt idx="12200">
                  <c:v>#N/A</c:v>
                </c:pt>
                <c:pt idx="12201">
                  <c:v>#N/A</c:v>
                </c:pt>
                <c:pt idx="12202">
                  <c:v>#N/A</c:v>
                </c:pt>
                <c:pt idx="12203">
                  <c:v>#N/A</c:v>
                </c:pt>
                <c:pt idx="12204">
                  <c:v>#N/A</c:v>
                </c:pt>
                <c:pt idx="12205">
                  <c:v>#N/A</c:v>
                </c:pt>
                <c:pt idx="12206">
                  <c:v>#N/A</c:v>
                </c:pt>
                <c:pt idx="12207">
                  <c:v>#N/A</c:v>
                </c:pt>
                <c:pt idx="12208">
                  <c:v>#N/A</c:v>
                </c:pt>
                <c:pt idx="12209">
                  <c:v>#N/A</c:v>
                </c:pt>
                <c:pt idx="12210">
                  <c:v>#N/A</c:v>
                </c:pt>
                <c:pt idx="12211">
                  <c:v>#N/A</c:v>
                </c:pt>
                <c:pt idx="12212">
                  <c:v>#N/A</c:v>
                </c:pt>
                <c:pt idx="12213">
                  <c:v>#N/A</c:v>
                </c:pt>
                <c:pt idx="12214">
                  <c:v>#N/A</c:v>
                </c:pt>
                <c:pt idx="12215">
                  <c:v>#N/A</c:v>
                </c:pt>
                <c:pt idx="12216">
                  <c:v>#N/A</c:v>
                </c:pt>
                <c:pt idx="12217">
                  <c:v>#N/A</c:v>
                </c:pt>
                <c:pt idx="12218">
                  <c:v>#N/A</c:v>
                </c:pt>
                <c:pt idx="12219">
                  <c:v>#N/A</c:v>
                </c:pt>
                <c:pt idx="12220">
                  <c:v>#N/A</c:v>
                </c:pt>
                <c:pt idx="12221">
                  <c:v>#N/A</c:v>
                </c:pt>
                <c:pt idx="12222">
                  <c:v>#N/A</c:v>
                </c:pt>
                <c:pt idx="12223">
                  <c:v>#N/A</c:v>
                </c:pt>
                <c:pt idx="12224">
                  <c:v>#N/A</c:v>
                </c:pt>
                <c:pt idx="12225">
                  <c:v>#N/A</c:v>
                </c:pt>
                <c:pt idx="12226">
                  <c:v>#N/A</c:v>
                </c:pt>
                <c:pt idx="12227">
                  <c:v>#N/A</c:v>
                </c:pt>
                <c:pt idx="12228">
                  <c:v>#N/A</c:v>
                </c:pt>
                <c:pt idx="12229">
                  <c:v>#N/A</c:v>
                </c:pt>
                <c:pt idx="12230">
                  <c:v>#N/A</c:v>
                </c:pt>
                <c:pt idx="12231">
                  <c:v>#N/A</c:v>
                </c:pt>
                <c:pt idx="12232">
                  <c:v>#N/A</c:v>
                </c:pt>
                <c:pt idx="12233">
                  <c:v>#N/A</c:v>
                </c:pt>
                <c:pt idx="12234">
                  <c:v>#N/A</c:v>
                </c:pt>
                <c:pt idx="12235">
                  <c:v>#N/A</c:v>
                </c:pt>
                <c:pt idx="12236">
                  <c:v>#N/A</c:v>
                </c:pt>
                <c:pt idx="12237">
                  <c:v>#N/A</c:v>
                </c:pt>
                <c:pt idx="12238">
                  <c:v>#N/A</c:v>
                </c:pt>
                <c:pt idx="12239">
                  <c:v>#N/A</c:v>
                </c:pt>
                <c:pt idx="12240">
                  <c:v>#N/A</c:v>
                </c:pt>
                <c:pt idx="12241">
                  <c:v>#N/A</c:v>
                </c:pt>
                <c:pt idx="12242">
                  <c:v>#N/A</c:v>
                </c:pt>
                <c:pt idx="12243">
                  <c:v>#N/A</c:v>
                </c:pt>
                <c:pt idx="12244">
                  <c:v>#N/A</c:v>
                </c:pt>
                <c:pt idx="12245">
                  <c:v>#N/A</c:v>
                </c:pt>
                <c:pt idx="12246">
                  <c:v>#N/A</c:v>
                </c:pt>
                <c:pt idx="12247">
                  <c:v>#N/A</c:v>
                </c:pt>
                <c:pt idx="12248">
                  <c:v>6.2164383561643834</c:v>
                </c:pt>
                <c:pt idx="12249">
                  <c:v>#N/A</c:v>
                </c:pt>
                <c:pt idx="12250">
                  <c:v>#N/A</c:v>
                </c:pt>
                <c:pt idx="12251">
                  <c:v>#N/A</c:v>
                </c:pt>
                <c:pt idx="12252">
                  <c:v>#N/A</c:v>
                </c:pt>
                <c:pt idx="12253">
                  <c:v>#N/A</c:v>
                </c:pt>
                <c:pt idx="12254">
                  <c:v>#N/A</c:v>
                </c:pt>
                <c:pt idx="12255">
                  <c:v>#N/A</c:v>
                </c:pt>
                <c:pt idx="12256">
                  <c:v>#N/A</c:v>
                </c:pt>
                <c:pt idx="12257">
                  <c:v>#N/A</c:v>
                </c:pt>
                <c:pt idx="12258">
                  <c:v>#N/A</c:v>
                </c:pt>
                <c:pt idx="12259">
                  <c:v>#N/A</c:v>
                </c:pt>
                <c:pt idx="12260">
                  <c:v>#N/A</c:v>
                </c:pt>
                <c:pt idx="12261">
                  <c:v>#N/A</c:v>
                </c:pt>
                <c:pt idx="12262">
                  <c:v>#N/A</c:v>
                </c:pt>
                <c:pt idx="12263">
                  <c:v>#N/A</c:v>
                </c:pt>
                <c:pt idx="12264">
                  <c:v>#N/A</c:v>
                </c:pt>
                <c:pt idx="12265">
                  <c:v>#N/A</c:v>
                </c:pt>
                <c:pt idx="12266">
                  <c:v>#N/A</c:v>
                </c:pt>
                <c:pt idx="12267">
                  <c:v>#N/A</c:v>
                </c:pt>
                <c:pt idx="12268">
                  <c:v>#N/A</c:v>
                </c:pt>
                <c:pt idx="12269">
                  <c:v>#N/A</c:v>
                </c:pt>
                <c:pt idx="12270">
                  <c:v>#N/A</c:v>
                </c:pt>
                <c:pt idx="12271">
                  <c:v>#N/A</c:v>
                </c:pt>
                <c:pt idx="12272">
                  <c:v>#N/A</c:v>
                </c:pt>
                <c:pt idx="12273">
                  <c:v>#N/A</c:v>
                </c:pt>
                <c:pt idx="12274">
                  <c:v>#N/A</c:v>
                </c:pt>
                <c:pt idx="12275">
                  <c:v>#N/A</c:v>
                </c:pt>
                <c:pt idx="12276">
                  <c:v>#N/A</c:v>
                </c:pt>
                <c:pt idx="12277">
                  <c:v>#N/A</c:v>
                </c:pt>
                <c:pt idx="12278">
                  <c:v>#N/A</c:v>
                </c:pt>
                <c:pt idx="12279">
                  <c:v>#N/A</c:v>
                </c:pt>
                <c:pt idx="12280">
                  <c:v>#N/A</c:v>
                </c:pt>
                <c:pt idx="12281">
                  <c:v>#N/A</c:v>
                </c:pt>
                <c:pt idx="12282">
                  <c:v>#N/A</c:v>
                </c:pt>
                <c:pt idx="12283">
                  <c:v>#N/A</c:v>
                </c:pt>
                <c:pt idx="12284">
                  <c:v>#N/A</c:v>
                </c:pt>
                <c:pt idx="12285">
                  <c:v>#N/A</c:v>
                </c:pt>
                <c:pt idx="12286">
                  <c:v>#N/A</c:v>
                </c:pt>
                <c:pt idx="12287">
                  <c:v>#N/A</c:v>
                </c:pt>
                <c:pt idx="12288">
                  <c:v>#N/A</c:v>
                </c:pt>
                <c:pt idx="12289">
                  <c:v>#N/A</c:v>
                </c:pt>
                <c:pt idx="12290">
                  <c:v>#N/A</c:v>
                </c:pt>
                <c:pt idx="12291">
                  <c:v>#N/A</c:v>
                </c:pt>
                <c:pt idx="12292">
                  <c:v>#N/A</c:v>
                </c:pt>
                <c:pt idx="12293">
                  <c:v>#N/A</c:v>
                </c:pt>
                <c:pt idx="12294">
                  <c:v>#N/A</c:v>
                </c:pt>
                <c:pt idx="12295">
                  <c:v>#N/A</c:v>
                </c:pt>
                <c:pt idx="12296">
                  <c:v>#N/A</c:v>
                </c:pt>
                <c:pt idx="12297">
                  <c:v>#N/A</c:v>
                </c:pt>
                <c:pt idx="12298">
                  <c:v>#N/A</c:v>
                </c:pt>
                <c:pt idx="12299">
                  <c:v>#N/A</c:v>
                </c:pt>
                <c:pt idx="12300">
                  <c:v>#N/A</c:v>
                </c:pt>
                <c:pt idx="12301">
                  <c:v>#N/A</c:v>
                </c:pt>
                <c:pt idx="12302">
                  <c:v>#N/A</c:v>
                </c:pt>
                <c:pt idx="12303">
                  <c:v>#N/A</c:v>
                </c:pt>
                <c:pt idx="12304">
                  <c:v>#N/A</c:v>
                </c:pt>
                <c:pt idx="12305">
                  <c:v>#N/A</c:v>
                </c:pt>
                <c:pt idx="12306">
                  <c:v>#N/A</c:v>
                </c:pt>
                <c:pt idx="12307">
                  <c:v>#N/A</c:v>
                </c:pt>
                <c:pt idx="12308">
                  <c:v>#N/A</c:v>
                </c:pt>
                <c:pt idx="12309">
                  <c:v>#N/A</c:v>
                </c:pt>
                <c:pt idx="12310">
                  <c:v>#N/A</c:v>
                </c:pt>
                <c:pt idx="12311">
                  <c:v>#N/A</c:v>
                </c:pt>
                <c:pt idx="12312">
                  <c:v>#N/A</c:v>
                </c:pt>
                <c:pt idx="12313">
                  <c:v>#N/A</c:v>
                </c:pt>
                <c:pt idx="12314">
                  <c:v>#N/A</c:v>
                </c:pt>
                <c:pt idx="12315">
                  <c:v>#N/A</c:v>
                </c:pt>
                <c:pt idx="12316">
                  <c:v>#N/A</c:v>
                </c:pt>
                <c:pt idx="12317">
                  <c:v>#N/A</c:v>
                </c:pt>
                <c:pt idx="12318">
                  <c:v>#N/A</c:v>
                </c:pt>
                <c:pt idx="12319">
                  <c:v>#N/A</c:v>
                </c:pt>
                <c:pt idx="12320">
                  <c:v>#N/A</c:v>
                </c:pt>
                <c:pt idx="12321">
                  <c:v>#N/A</c:v>
                </c:pt>
                <c:pt idx="12322">
                  <c:v>#N/A</c:v>
                </c:pt>
                <c:pt idx="12323">
                  <c:v>#N/A</c:v>
                </c:pt>
                <c:pt idx="12324">
                  <c:v>#N/A</c:v>
                </c:pt>
                <c:pt idx="12325">
                  <c:v>#N/A</c:v>
                </c:pt>
                <c:pt idx="12326">
                  <c:v>#N/A</c:v>
                </c:pt>
                <c:pt idx="12327">
                  <c:v>#N/A</c:v>
                </c:pt>
                <c:pt idx="12328">
                  <c:v>#N/A</c:v>
                </c:pt>
                <c:pt idx="12329">
                  <c:v>#N/A</c:v>
                </c:pt>
                <c:pt idx="12330">
                  <c:v>#N/A</c:v>
                </c:pt>
                <c:pt idx="12331">
                  <c:v>#N/A</c:v>
                </c:pt>
                <c:pt idx="12332">
                  <c:v>#N/A</c:v>
                </c:pt>
                <c:pt idx="12333">
                  <c:v>#N/A</c:v>
                </c:pt>
                <c:pt idx="12334">
                  <c:v>#N/A</c:v>
                </c:pt>
                <c:pt idx="12335">
                  <c:v>#N/A</c:v>
                </c:pt>
                <c:pt idx="12336">
                  <c:v>#N/A</c:v>
                </c:pt>
                <c:pt idx="12337">
                  <c:v>#N/A</c:v>
                </c:pt>
                <c:pt idx="12338">
                  <c:v>#N/A</c:v>
                </c:pt>
                <c:pt idx="12339">
                  <c:v>#N/A</c:v>
                </c:pt>
                <c:pt idx="12340">
                  <c:v>#N/A</c:v>
                </c:pt>
                <c:pt idx="12341">
                  <c:v>#N/A</c:v>
                </c:pt>
                <c:pt idx="12342">
                  <c:v>#N/A</c:v>
                </c:pt>
                <c:pt idx="12343">
                  <c:v>#N/A</c:v>
                </c:pt>
                <c:pt idx="12344">
                  <c:v>#N/A</c:v>
                </c:pt>
                <c:pt idx="12345">
                  <c:v>#N/A</c:v>
                </c:pt>
                <c:pt idx="12346">
                  <c:v>#N/A</c:v>
                </c:pt>
                <c:pt idx="12347">
                  <c:v>#N/A</c:v>
                </c:pt>
                <c:pt idx="12348">
                  <c:v>#N/A</c:v>
                </c:pt>
                <c:pt idx="12349">
                  <c:v>#N/A</c:v>
                </c:pt>
                <c:pt idx="12350">
                  <c:v>#N/A</c:v>
                </c:pt>
                <c:pt idx="12351">
                  <c:v>#N/A</c:v>
                </c:pt>
                <c:pt idx="12352">
                  <c:v>#N/A</c:v>
                </c:pt>
                <c:pt idx="12353">
                  <c:v>#N/A</c:v>
                </c:pt>
                <c:pt idx="12354">
                  <c:v>#N/A</c:v>
                </c:pt>
                <c:pt idx="12355">
                  <c:v>#N/A</c:v>
                </c:pt>
                <c:pt idx="12356">
                  <c:v>#N/A</c:v>
                </c:pt>
                <c:pt idx="12357">
                  <c:v>#N/A</c:v>
                </c:pt>
                <c:pt idx="12358">
                  <c:v>#N/A</c:v>
                </c:pt>
                <c:pt idx="12359">
                  <c:v>#N/A</c:v>
                </c:pt>
                <c:pt idx="12360">
                  <c:v>#N/A</c:v>
                </c:pt>
                <c:pt idx="12361">
                  <c:v>#N/A</c:v>
                </c:pt>
                <c:pt idx="12362">
                  <c:v>#N/A</c:v>
                </c:pt>
                <c:pt idx="12363">
                  <c:v>#N/A</c:v>
                </c:pt>
                <c:pt idx="12364">
                  <c:v>#N/A</c:v>
                </c:pt>
                <c:pt idx="12365">
                  <c:v>#N/A</c:v>
                </c:pt>
                <c:pt idx="12366">
                  <c:v>#N/A</c:v>
                </c:pt>
                <c:pt idx="12367">
                  <c:v>#N/A</c:v>
                </c:pt>
                <c:pt idx="12368">
                  <c:v>#N/A</c:v>
                </c:pt>
                <c:pt idx="12369">
                  <c:v>#N/A</c:v>
                </c:pt>
                <c:pt idx="12370">
                  <c:v>#N/A</c:v>
                </c:pt>
                <c:pt idx="12371">
                  <c:v>#N/A</c:v>
                </c:pt>
                <c:pt idx="12372">
                  <c:v>#N/A</c:v>
                </c:pt>
                <c:pt idx="12373">
                  <c:v>#N/A</c:v>
                </c:pt>
                <c:pt idx="12374">
                  <c:v>#N/A</c:v>
                </c:pt>
                <c:pt idx="12375">
                  <c:v>#N/A</c:v>
                </c:pt>
                <c:pt idx="12376">
                  <c:v>#N/A</c:v>
                </c:pt>
                <c:pt idx="12377">
                  <c:v>#N/A</c:v>
                </c:pt>
                <c:pt idx="12378">
                  <c:v>#N/A</c:v>
                </c:pt>
                <c:pt idx="12379">
                  <c:v>#N/A</c:v>
                </c:pt>
                <c:pt idx="12380">
                  <c:v>#N/A</c:v>
                </c:pt>
                <c:pt idx="12381">
                  <c:v>#N/A</c:v>
                </c:pt>
                <c:pt idx="12382">
                  <c:v>#N/A</c:v>
                </c:pt>
                <c:pt idx="12383">
                  <c:v>#N/A</c:v>
                </c:pt>
                <c:pt idx="12384">
                  <c:v>#N/A</c:v>
                </c:pt>
                <c:pt idx="12385">
                  <c:v>#N/A</c:v>
                </c:pt>
                <c:pt idx="12386">
                  <c:v>#N/A</c:v>
                </c:pt>
                <c:pt idx="12387">
                  <c:v>#N/A</c:v>
                </c:pt>
                <c:pt idx="12388">
                  <c:v>#N/A</c:v>
                </c:pt>
                <c:pt idx="12389">
                  <c:v>#N/A</c:v>
                </c:pt>
                <c:pt idx="12390">
                  <c:v>#N/A</c:v>
                </c:pt>
                <c:pt idx="12391">
                  <c:v>#N/A</c:v>
                </c:pt>
                <c:pt idx="12392">
                  <c:v>#N/A</c:v>
                </c:pt>
                <c:pt idx="12393">
                  <c:v>#N/A</c:v>
                </c:pt>
                <c:pt idx="12394">
                  <c:v>#N/A</c:v>
                </c:pt>
                <c:pt idx="12395">
                  <c:v>#N/A</c:v>
                </c:pt>
                <c:pt idx="12396">
                  <c:v>#N/A</c:v>
                </c:pt>
                <c:pt idx="12397">
                  <c:v>#N/A</c:v>
                </c:pt>
                <c:pt idx="12398">
                  <c:v>#N/A</c:v>
                </c:pt>
                <c:pt idx="12399">
                  <c:v>#N/A</c:v>
                </c:pt>
                <c:pt idx="12400">
                  <c:v>#N/A</c:v>
                </c:pt>
                <c:pt idx="12401">
                  <c:v>#N/A</c:v>
                </c:pt>
                <c:pt idx="12402">
                  <c:v>#N/A</c:v>
                </c:pt>
                <c:pt idx="12403">
                  <c:v>#N/A</c:v>
                </c:pt>
                <c:pt idx="12404">
                  <c:v>#N/A</c:v>
                </c:pt>
                <c:pt idx="12405">
                  <c:v>#N/A</c:v>
                </c:pt>
                <c:pt idx="12406">
                  <c:v>#N/A</c:v>
                </c:pt>
                <c:pt idx="12407">
                  <c:v>#N/A</c:v>
                </c:pt>
                <c:pt idx="12408">
                  <c:v>#N/A</c:v>
                </c:pt>
                <c:pt idx="12409">
                  <c:v>#N/A</c:v>
                </c:pt>
                <c:pt idx="12410">
                  <c:v>#N/A</c:v>
                </c:pt>
                <c:pt idx="12411">
                  <c:v>#N/A</c:v>
                </c:pt>
                <c:pt idx="12412">
                  <c:v>#N/A</c:v>
                </c:pt>
                <c:pt idx="12413">
                  <c:v>#N/A</c:v>
                </c:pt>
                <c:pt idx="12414">
                  <c:v>#N/A</c:v>
                </c:pt>
                <c:pt idx="12415">
                  <c:v>#N/A</c:v>
                </c:pt>
                <c:pt idx="12416">
                  <c:v>#N/A</c:v>
                </c:pt>
                <c:pt idx="12417">
                  <c:v>#N/A</c:v>
                </c:pt>
                <c:pt idx="12418">
                  <c:v>#N/A</c:v>
                </c:pt>
                <c:pt idx="12419">
                  <c:v>#N/A</c:v>
                </c:pt>
                <c:pt idx="12420">
                  <c:v>#N/A</c:v>
                </c:pt>
                <c:pt idx="12421">
                  <c:v>#N/A</c:v>
                </c:pt>
                <c:pt idx="12422">
                  <c:v>#N/A</c:v>
                </c:pt>
                <c:pt idx="12423">
                  <c:v>#N/A</c:v>
                </c:pt>
                <c:pt idx="12424">
                  <c:v>#N/A</c:v>
                </c:pt>
                <c:pt idx="12425">
                  <c:v>#N/A</c:v>
                </c:pt>
                <c:pt idx="12426">
                  <c:v>#N/A</c:v>
                </c:pt>
                <c:pt idx="12427">
                  <c:v>#N/A</c:v>
                </c:pt>
                <c:pt idx="12428">
                  <c:v>#N/A</c:v>
                </c:pt>
                <c:pt idx="12429">
                  <c:v>#N/A</c:v>
                </c:pt>
                <c:pt idx="12430">
                  <c:v>#N/A</c:v>
                </c:pt>
                <c:pt idx="12431">
                  <c:v>#N/A</c:v>
                </c:pt>
                <c:pt idx="12432">
                  <c:v>#N/A</c:v>
                </c:pt>
                <c:pt idx="12433">
                  <c:v>#N/A</c:v>
                </c:pt>
                <c:pt idx="12434">
                  <c:v>#N/A</c:v>
                </c:pt>
                <c:pt idx="12435">
                  <c:v>#N/A</c:v>
                </c:pt>
                <c:pt idx="12436">
                  <c:v>#N/A</c:v>
                </c:pt>
                <c:pt idx="12437">
                  <c:v>#N/A</c:v>
                </c:pt>
                <c:pt idx="12438">
                  <c:v>#N/A</c:v>
                </c:pt>
                <c:pt idx="12439">
                  <c:v>#N/A</c:v>
                </c:pt>
                <c:pt idx="12440">
                  <c:v>#N/A</c:v>
                </c:pt>
                <c:pt idx="12441">
                  <c:v>#N/A</c:v>
                </c:pt>
                <c:pt idx="12442">
                  <c:v>#N/A</c:v>
                </c:pt>
                <c:pt idx="12443">
                  <c:v>#N/A</c:v>
                </c:pt>
                <c:pt idx="12444">
                  <c:v>#N/A</c:v>
                </c:pt>
                <c:pt idx="12445">
                  <c:v>#N/A</c:v>
                </c:pt>
                <c:pt idx="12446">
                  <c:v>#N/A</c:v>
                </c:pt>
                <c:pt idx="12447">
                  <c:v>#N/A</c:v>
                </c:pt>
                <c:pt idx="12448">
                  <c:v>#N/A</c:v>
                </c:pt>
                <c:pt idx="12449">
                  <c:v>#N/A</c:v>
                </c:pt>
                <c:pt idx="12450">
                  <c:v>#N/A</c:v>
                </c:pt>
                <c:pt idx="12451">
                  <c:v>#N/A</c:v>
                </c:pt>
                <c:pt idx="12452">
                  <c:v>#N/A</c:v>
                </c:pt>
                <c:pt idx="12453">
                  <c:v>#N/A</c:v>
                </c:pt>
                <c:pt idx="12454">
                  <c:v>#N/A</c:v>
                </c:pt>
                <c:pt idx="12455">
                  <c:v>#N/A</c:v>
                </c:pt>
                <c:pt idx="12456">
                  <c:v>#N/A</c:v>
                </c:pt>
                <c:pt idx="12457">
                  <c:v>#N/A</c:v>
                </c:pt>
                <c:pt idx="12458">
                  <c:v>#N/A</c:v>
                </c:pt>
                <c:pt idx="12459">
                  <c:v>#N/A</c:v>
                </c:pt>
                <c:pt idx="12460">
                  <c:v>#N/A</c:v>
                </c:pt>
                <c:pt idx="12461">
                  <c:v>#N/A</c:v>
                </c:pt>
                <c:pt idx="12462">
                  <c:v>#N/A</c:v>
                </c:pt>
                <c:pt idx="12463">
                  <c:v>#N/A</c:v>
                </c:pt>
                <c:pt idx="12464">
                  <c:v>#N/A</c:v>
                </c:pt>
                <c:pt idx="12465">
                  <c:v>#N/A</c:v>
                </c:pt>
                <c:pt idx="12466">
                  <c:v>#N/A</c:v>
                </c:pt>
                <c:pt idx="12467">
                  <c:v>#N/A</c:v>
                </c:pt>
                <c:pt idx="12468">
                  <c:v>#N/A</c:v>
                </c:pt>
                <c:pt idx="12469">
                  <c:v>#N/A</c:v>
                </c:pt>
                <c:pt idx="12470">
                  <c:v>#N/A</c:v>
                </c:pt>
                <c:pt idx="12471">
                  <c:v>#N/A</c:v>
                </c:pt>
                <c:pt idx="12472">
                  <c:v>#N/A</c:v>
                </c:pt>
                <c:pt idx="12473">
                  <c:v>#N/A</c:v>
                </c:pt>
                <c:pt idx="12474">
                  <c:v>#N/A</c:v>
                </c:pt>
                <c:pt idx="12475">
                  <c:v>#N/A</c:v>
                </c:pt>
                <c:pt idx="12476">
                  <c:v>#N/A</c:v>
                </c:pt>
                <c:pt idx="12477">
                  <c:v>#N/A</c:v>
                </c:pt>
                <c:pt idx="12478">
                  <c:v>#N/A</c:v>
                </c:pt>
                <c:pt idx="12479">
                  <c:v>#N/A</c:v>
                </c:pt>
                <c:pt idx="12480">
                  <c:v>#N/A</c:v>
                </c:pt>
                <c:pt idx="12481">
                  <c:v>#N/A</c:v>
                </c:pt>
                <c:pt idx="12482">
                  <c:v>#N/A</c:v>
                </c:pt>
                <c:pt idx="12483">
                  <c:v>#N/A</c:v>
                </c:pt>
                <c:pt idx="12484">
                  <c:v>#N/A</c:v>
                </c:pt>
                <c:pt idx="12485">
                  <c:v>#N/A</c:v>
                </c:pt>
                <c:pt idx="12486">
                  <c:v>#N/A</c:v>
                </c:pt>
                <c:pt idx="12487">
                  <c:v>#N/A</c:v>
                </c:pt>
                <c:pt idx="12488">
                  <c:v>#N/A</c:v>
                </c:pt>
                <c:pt idx="12489">
                  <c:v>#N/A</c:v>
                </c:pt>
                <c:pt idx="12490">
                  <c:v>#N/A</c:v>
                </c:pt>
                <c:pt idx="12491">
                  <c:v>#N/A</c:v>
                </c:pt>
                <c:pt idx="12492">
                  <c:v>#N/A</c:v>
                </c:pt>
                <c:pt idx="12493">
                  <c:v>#N/A</c:v>
                </c:pt>
                <c:pt idx="12494">
                  <c:v>#N/A</c:v>
                </c:pt>
                <c:pt idx="12495">
                  <c:v>#N/A</c:v>
                </c:pt>
                <c:pt idx="12496">
                  <c:v>#N/A</c:v>
                </c:pt>
                <c:pt idx="12497">
                  <c:v>#N/A</c:v>
                </c:pt>
                <c:pt idx="12498">
                  <c:v>#N/A</c:v>
                </c:pt>
                <c:pt idx="12499">
                  <c:v>#N/A</c:v>
                </c:pt>
                <c:pt idx="12500">
                  <c:v>#N/A</c:v>
                </c:pt>
                <c:pt idx="12501">
                  <c:v>#N/A</c:v>
                </c:pt>
                <c:pt idx="12502">
                  <c:v>#N/A</c:v>
                </c:pt>
                <c:pt idx="12503">
                  <c:v>#N/A</c:v>
                </c:pt>
                <c:pt idx="12504">
                  <c:v>#N/A</c:v>
                </c:pt>
                <c:pt idx="12505">
                  <c:v>#N/A</c:v>
                </c:pt>
                <c:pt idx="12506">
                  <c:v>#N/A</c:v>
                </c:pt>
                <c:pt idx="12507">
                  <c:v>#N/A</c:v>
                </c:pt>
                <c:pt idx="12508">
                  <c:v>#N/A</c:v>
                </c:pt>
                <c:pt idx="12509">
                  <c:v>#N/A</c:v>
                </c:pt>
                <c:pt idx="12510">
                  <c:v>#N/A</c:v>
                </c:pt>
                <c:pt idx="12511">
                  <c:v>#N/A</c:v>
                </c:pt>
                <c:pt idx="12512">
                  <c:v>#N/A</c:v>
                </c:pt>
                <c:pt idx="12513">
                  <c:v>#N/A</c:v>
                </c:pt>
                <c:pt idx="12514">
                  <c:v>#N/A</c:v>
                </c:pt>
                <c:pt idx="12515">
                  <c:v>#N/A</c:v>
                </c:pt>
                <c:pt idx="12516">
                  <c:v>#N/A</c:v>
                </c:pt>
                <c:pt idx="12517">
                  <c:v>#N/A</c:v>
                </c:pt>
                <c:pt idx="12518">
                  <c:v>#N/A</c:v>
                </c:pt>
                <c:pt idx="12519">
                  <c:v>#N/A</c:v>
                </c:pt>
                <c:pt idx="12520">
                  <c:v>#N/A</c:v>
                </c:pt>
                <c:pt idx="12521">
                  <c:v>#N/A</c:v>
                </c:pt>
                <c:pt idx="12522">
                  <c:v>#N/A</c:v>
                </c:pt>
                <c:pt idx="12523">
                  <c:v>#N/A</c:v>
                </c:pt>
                <c:pt idx="12524">
                  <c:v>#N/A</c:v>
                </c:pt>
                <c:pt idx="12525">
                  <c:v>#N/A</c:v>
                </c:pt>
                <c:pt idx="12526">
                  <c:v>#N/A</c:v>
                </c:pt>
                <c:pt idx="12527">
                  <c:v>#N/A</c:v>
                </c:pt>
                <c:pt idx="12528">
                  <c:v>#N/A</c:v>
                </c:pt>
                <c:pt idx="12529">
                  <c:v>#N/A</c:v>
                </c:pt>
                <c:pt idx="12530">
                  <c:v>#N/A</c:v>
                </c:pt>
                <c:pt idx="12531">
                  <c:v>#N/A</c:v>
                </c:pt>
                <c:pt idx="12532">
                  <c:v>#N/A</c:v>
                </c:pt>
                <c:pt idx="12533">
                  <c:v>#N/A</c:v>
                </c:pt>
                <c:pt idx="12534">
                  <c:v>#N/A</c:v>
                </c:pt>
                <c:pt idx="12535">
                  <c:v>#N/A</c:v>
                </c:pt>
                <c:pt idx="12536">
                  <c:v>#N/A</c:v>
                </c:pt>
                <c:pt idx="12537">
                  <c:v>#N/A</c:v>
                </c:pt>
                <c:pt idx="12538">
                  <c:v>#N/A</c:v>
                </c:pt>
                <c:pt idx="12539">
                  <c:v>#N/A</c:v>
                </c:pt>
                <c:pt idx="12540">
                  <c:v>#N/A</c:v>
                </c:pt>
                <c:pt idx="12541">
                  <c:v>#N/A</c:v>
                </c:pt>
                <c:pt idx="12542">
                  <c:v>7.043835616438356</c:v>
                </c:pt>
                <c:pt idx="12543">
                  <c:v>#N/A</c:v>
                </c:pt>
                <c:pt idx="12544">
                  <c:v>#N/A</c:v>
                </c:pt>
                <c:pt idx="12545">
                  <c:v>#N/A</c:v>
                </c:pt>
                <c:pt idx="12546">
                  <c:v>#N/A</c:v>
                </c:pt>
                <c:pt idx="12547">
                  <c:v>#N/A</c:v>
                </c:pt>
                <c:pt idx="12548">
                  <c:v>#N/A</c:v>
                </c:pt>
                <c:pt idx="12549">
                  <c:v>#N/A</c:v>
                </c:pt>
                <c:pt idx="12550">
                  <c:v>#N/A</c:v>
                </c:pt>
                <c:pt idx="12551">
                  <c:v>#N/A</c:v>
                </c:pt>
                <c:pt idx="12552">
                  <c:v>#N/A</c:v>
                </c:pt>
                <c:pt idx="12553">
                  <c:v>#N/A</c:v>
                </c:pt>
                <c:pt idx="12554">
                  <c:v>7.1369863013698627</c:v>
                </c:pt>
                <c:pt idx="12555">
                  <c:v>#N/A</c:v>
                </c:pt>
                <c:pt idx="12556">
                  <c:v>#N/A</c:v>
                </c:pt>
                <c:pt idx="12557">
                  <c:v>#N/A</c:v>
                </c:pt>
                <c:pt idx="12558">
                  <c:v>#N/A</c:v>
                </c:pt>
                <c:pt idx="12559">
                  <c:v>#N/A</c:v>
                </c:pt>
                <c:pt idx="12560">
                  <c:v>#N/A</c:v>
                </c:pt>
                <c:pt idx="12561">
                  <c:v>#N/A</c:v>
                </c:pt>
                <c:pt idx="12562">
                  <c:v>#N/A</c:v>
                </c:pt>
                <c:pt idx="12563">
                  <c:v>#N/A</c:v>
                </c:pt>
                <c:pt idx="12564">
                  <c:v>#N/A</c:v>
                </c:pt>
                <c:pt idx="12565">
                  <c:v>#N/A</c:v>
                </c:pt>
                <c:pt idx="12566">
                  <c:v>#N/A</c:v>
                </c:pt>
                <c:pt idx="12567">
                  <c:v>#N/A</c:v>
                </c:pt>
                <c:pt idx="12568">
                  <c:v>#N/A</c:v>
                </c:pt>
                <c:pt idx="12569">
                  <c:v>#N/A</c:v>
                </c:pt>
                <c:pt idx="12570">
                  <c:v>#N/A</c:v>
                </c:pt>
                <c:pt idx="12571">
                  <c:v>#N/A</c:v>
                </c:pt>
                <c:pt idx="12572">
                  <c:v>#N/A</c:v>
                </c:pt>
                <c:pt idx="12573">
                  <c:v>#N/A</c:v>
                </c:pt>
                <c:pt idx="12574">
                  <c:v>#N/A</c:v>
                </c:pt>
                <c:pt idx="12575">
                  <c:v>#N/A</c:v>
                </c:pt>
                <c:pt idx="12576">
                  <c:v>#N/A</c:v>
                </c:pt>
                <c:pt idx="12577">
                  <c:v>#N/A</c:v>
                </c:pt>
                <c:pt idx="12578">
                  <c:v>#N/A</c:v>
                </c:pt>
                <c:pt idx="12579">
                  <c:v>#N/A</c:v>
                </c:pt>
                <c:pt idx="12580">
                  <c:v>#N/A</c:v>
                </c:pt>
                <c:pt idx="12581">
                  <c:v>#N/A</c:v>
                </c:pt>
                <c:pt idx="12582">
                  <c:v>#N/A</c:v>
                </c:pt>
                <c:pt idx="12583">
                  <c:v>#N/A</c:v>
                </c:pt>
                <c:pt idx="12584">
                  <c:v>#N/A</c:v>
                </c:pt>
                <c:pt idx="12585">
                  <c:v>#N/A</c:v>
                </c:pt>
                <c:pt idx="12586">
                  <c:v>#N/A</c:v>
                </c:pt>
                <c:pt idx="12587">
                  <c:v>#N/A</c:v>
                </c:pt>
                <c:pt idx="12588">
                  <c:v>#N/A</c:v>
                </c:pt>
                <c:pt idx="12589">
                  <c:v>#N/A</c:v>
                </c:pt>
                <c:pt idx="12590">
                  <c:v>#N/A</c:v>
                </c:pt>
                <c:pt idx="12591">
                  <c:v>#N/A</c:v>
                </c:pt>
                <c:pt idx="12592">
                  <c:v>#N/A</c:v>
                </c:pt>
                <c:pt idx="12593">
                  <c:v>#N/A</c:v>
                </c:pt>
                <c:pt idx="12594">
                  <c:v>#N/A</c:v>
                </c:pt>
                <c:pt idx="12595">
                  <c:v>#N/A</c:v>
                </c:pt>
                <c:pt idx="12596">
                  <c:v>#N/A</c:v>
                </c:pt>
                <c:pt idx="12597">
                  <c:v>#N/A</c:v>
                </c:pt>
                <c:pt idx="12598">
                  <c:v>#N/A</c:v>
                </c:pt>
                <c:pt idx="12599">
                  <c:v>#N/A</c:v>
                </c:pt>
                <c:pt idx="12600">
                  <c:v>#N/A</c:v>
                </c:pt>
                <c:pt idx="12601">
                  <c:v>#N/A</c:v>
                </c:pt>
                <c:pt idx="12602">
                  <c:v>#N/A</c:v>
                </c:pt>
                <c:pt idx="12603">
                  <c:v>#N/A</c:v>
                </c:pt>
                <c:pt idx="12604">
                  <c:v>#N/A</c:v>
                </c:pt>
                <c:pt idx="12605">
                  <c:v>#N/A</c:v>
                </c:pt>
                <c:pt idx="12606">
                  <c:v>#N/A</c:v>
                </c:pt>
                <c:pt idx="12607">
                  <c:v>#N/A</c:v>
                </c:pt>
                <c:pt idx="12608">
                  <c:v>#N/A</c:v>
                </c:pt>
                <c:pt idx="12609">
                  <c:v>#N/A</c:v>
                </c:pt>
                <c:pt idx="12610">
                  <c:v>#N/A</c:v>
                </c:pt>
                <c:pt idx="12611">
                  <c:v>#N/A</c:v>
                </c:pt>
                <c:pt idx="12612">
                  <c:v>#N/A</c:v>
                </c:pt>
                <c:pt idx="12613">
                  <c:v>#N/A</c:v>
                </c:pt>
                <c:pt idx="12614">
                  <c:v>#N/A</c:v>
                </c:pt>
                <c:pt idx="12615">
                  <c:v>#N/A</c:v>
                </c:pt>
                <c:pt idx="12616">
                  <c:v>#N/A</c:v>
                </c:pt>
                <c:pt idx="12617">
                  <c:v>#N/A</c:v>
                </c:pt>
                <c:pt idx="12618">
                  <c:v>#N/A</c:v>
                </c:pt>
                <c:pt idx="12619">
                  <c:v>#N/A</c:v>
                </c:pt>
                <c:pt idx="12620">
                  <c:v>#N/A</c:v>
                </c:pt>
                <c:pt idx="12621">
                  <c:v>#N/A</c:v>
                </c:pt>
                <c:pt idx="12622">
                  <c:v>#N/A</c:v>
                </c:pt>
                <c:pt idx="12623">
                  <c:v>#N/A</c:v>
                </c:pt>
                <c:pt idx="12624">
                  <c:v>#N/A</c:v>
                </c:pt>
                <c:pt idx="12625">
                  <c:v>#N/A</c:v>
                </c:pt>
                <c:pt idx="12626">
                  <c:v>#N/A</c:v>
                </c:pt>
                <c:pt idx="12627">
                  <c:v>#N/A</c:v>
                </c:pt>
                <c:pt idx="12628">
                  <c:v>#N/A</c:v>
                </c:pt>
                <c:pt idx="12629">
                  <c:v>#N/A</c:v>
                </c:pt>
                <c:pt idx="12630">
                  <c:v>#N/A</c:v>
                </c:pt>
                <c:pt idx="12631">
                  <c:v>#N/A</c:v>
                </c:pt>
                <c:pt idx="12632">
                  <c:v>#N/A</c:v>
                </c:pt>
                <c:pt idx="12633">
                  <c:v>#N/A</c:v>
                </c:pt>
                <c:pt idx="12634">
                  <c:v>#N/A</c:v>
                </c:pt>
                <c:pt idx="12635">
                  <c:v>#N/A</c:v>
                </c:pt>
                <c:pt idx="12636">
                  <c:v>#N/A</c:v>
                </c:pt>
                <c:pt idx="12637">
                  <c:v>#N/A</c:v>
                </c:pt>
                <c:pt idx="12638">
                  <c:v>#N/A</c:v>
                </c:pt>
                <c:pt idx="12639">
                  <c:v>#N/A</c:v>
                </c:pt>
                <c:pt idx="12640">
                  <c:v>#N/A</c:v>
                </c:pt>
                <c:pt idx="12641">
                  <c:v>#N/A</c:v>
                </c:pt>
                <c:pt idx="12642">
                  <c:v>#N/A</c:v>
                </c:pt>
                <c:pt idx="12643">
                  <c:v>#N/A</c:v>
                </c:pt>
                <c:pt idx="12644">
                  <c:v>#N/A</c:v>
                </c:pt>
                <c:pt idx="12645">
                  <c:v>#N/A</c:v>
                </c:pt>
                <c:pt idx="12646">
                  <c:v>#N/A</c:v>
                </c:pt>
                <c:pt idx="12647">
                  <c:v>#N/A</c:v>
                </c:pt>
                <c:pt idx="12648">
                  <c:v>#N/A</c:v>
                </c:pt>
                <c:pt idx="12649">
                  <c:v>#N/A</c:v>
                </c:pt>
                <c:pt idx="12650">
                  <c:v>#N/A</c:v>
                </c:pt>
                <c:pt idx="12651">
                  <c:v>#N/A</c:v>
                </c:pt>
                <c:pt idx="12652">
                  <c:v>#N/A</c:v>
                </c:pt>
                <c:pt idx="12653">
                  <c:v>#N/A</c:v>
                </c:pt>
                <c:pt idx="12654">
                  <c:v>#N/A</c:v>
                </c:pt>
                <c:pt idx="12655">
                  <c:v>#N/A</c:v>
                </c:pt>
                <c:pt idx="12656">
                  <c:v>#N/A</c:v>
                </c:pt>
                <c:pt idx="12657">
                  <c:v>#N/A</c:v>
                </c:pt>
                <c:pt idx="12658">
                  <c:v>#N/A</c:v>
                </c:pt>
                <c:pt idx="12659">
                  <c:v>#N/A</c:v>
                </c:pt>
                <c:pt idx="12660">
                  <c:v>#N/A</c:v>
                </c:pt>
                <c:pt idx="12661">
                  <c:v>#N/A</c:v>
                </c:pt>
                <c:pt idx="12662">
                  <c:v>#N/A</c:v>
                </c:pt>
                <c:pt idx="12663">
                  <c:v>#N/A</c:v>
                </c:pt>
                <c:pt idx="12664">
                  <c:v>#N/A</c:v>
                </c:pt>
                <c:pt idx="12665">
                  <c:v>#N/A</c:v>
                </c:pt>
                <c:pt idx="12666">
                  <c:v>#N/A</c:v>
                </c:pt>
                <c:pt idx="12667">
                  <c:v>#N/A</c:v>
                </c:pt>
                <c:pt idx="12668">
                  <c:v>#N/A</c:v>
                </c:pt>
                <c:pt idx="12669">
                  <c:v>#N/A</c:v>
                </c:pt>
                <c:pt idx="12670">
                  <c:v>#N/A</c:v>
                </c:pt>
                <c:pt idx="12671">
                  <c:v>#N/A</c:v>
                </c:pt>
                <c:pt idx="12672">
                  <c:v>#N/A</c:v>
                </c:pt>
                <c:pt idx="12673">
                  <c:v>#N/A</c:v>
                </c:pt>
                <c:pt idx="12674">
                  <c:v>#N/A</c:v>
                </c:pt>
                <c:pt idx="12675">
                  <c:v>#N/A</c:v>
                </c:pt>
                <c:pt idx="12676">
                  <c:v>#N/A</c:v>
                </c:pt>
                <c:pt idx="12677">
                  <c:v>#N/A</c:v>
                </c:pt>
                <c:pt idx="12678">
                  <c:v>#N/A</c:v>
                </c:pt>
                <c:pt idx="12679">
                  <c:v>#N/A</c:v>
                </c:pt>
                <c:pt idx="12680">
                  <c:v>#N/A</c:v>
                </c:pt>
                <c:pt idx="12681">
                  <c:v>#N/A</c:v>
                </c:pt>
                <c:pt idx="12682">
                  <c:v>#N/A</c:v>
                </c:pt>
                <c:pt idx="12683">
                  <c:v>#N/A</c:v>
                </c:pt>
                <c:pt idx="12684">
                  <c:v>#N/A</c:v>
                </c:pt>
                <c:pt idx="12685">
                  <c:v>#N/A</c:v>
                </c:pt>
                <c:pt idx="12686">
                  <c:v>#N/A</c:v>
                </c:pt>
                <c:pt idx="12687">
                  <c:v>#N/A</c:v>
                </c:pt>
                <c:pt idx="12688">
                  <c:v>#N/A</c:v>
                </c:pt>
                <c:pt idx="12689">
                  <c:v>#N/A</c:v>
                </c:pt>
                <c:pt idx="12690">
                  <c:v>#N/A</c:v>
                </c:pt>
                <c:pt idx="12691">
                  <c:v>#N/A</c:v>
                </c:pt>
                <c:pt idx="12692">
                  <c:v>#N/A</c:v>
                </c:pt>
                <c:pt idx="12693">
                  <c:v>#N/A</c:v>
                </c:pt>
                <c:pt idx="12694">
                  <c:v>#N/A</c:v>
                </c:pt>
                <c:pt idx="12695">
                  <c:v>#N/A</c:v>
                </c:pt>
                <c:pt idx="12696">
                  <c:v>#N/A</c:v>
                </c:pt>
                <c:pt idx="12697">
                  <c:v>#N/A</c:v>
                </c:pt>
                <c:pt idx="12698">
                  <c:v>#N/A</c:v>
                </c:pt>
                <c:pt idx="12699">
                  <c:v>#N/A</c:v>
                </c:pt>
                <c:pt idx="12700">
                  <c:v>#N/A</c:v>
                </c:pt>
                <c:pt idx="12701">
                  <c:v>#N/A</c:v>
                </c:pt>
                <c:pt idx="12702">
                  <c:v>#N/A</c:v>
                </c:pt>
                <c:pt idx="12703">
                  <c:v>#N/A</c:v>
                </c:pt>
                <c:pt idx="12704">
                  <c:v>#N/A</c:v>
                </c:pt>
                <c:pt idx="12705">
                  <c:v>#N/A</c:v>
                </c:pt>
                <c:pt idx="12706">
                  <c:v>#N/A</c:v>
                </c:pt>
                <c:pt idx="12707">
                  <c:v>#N/A</c:v>
                </c:pt>
                <c:pt idx="12708">
                  <c:v>#N/A</c:v>
                </c:pt>
                <c:pt idx="12709">
                  <c:v>#N/A</c:v>
                </c:pt>
                <c:pt idx="12710">
                  <c:v>#N/A</c:v>
                </c:pt>
                <c:pt idx="12711">
                  <c:v>#N/A</c:v>
                </c:pt>
                <c:pt idx="12712">
                  <c:v>#N/A</c:v>
                </c:pt>
                <c:pt idx="12713">
                  <c:v>#N/A</c:v>
                </c:pt>
                <c:pt idx="12714">
                  <c:v>#N/A</c:v>
                </c:pt>
                <c:pt idx="12715">
                  <c:v>#N/A</c:v>
                </c:pt>
                <c:pt idx="12716">
                  <c:v>#N/A</c:v>
                </c:pt>
                <c:pt idx="12717">
                  <c:v>#N/A</c:v>
                </c:pt>
                <c:pt idx="12718">
                  <c:v>#N/A</c:v>
                </c:pt>
                <c:pt idx="12719">
                  <c:v>#N/A</c:v>
                </c:pt>
                <c:pt idx="12720">
                  <c:v>#N/A</c:v>
                </c:pt>
                <c:pt idx="12721">
                  <c:v>#N/A</c:v>
                </c:pt>
                <c:pt idx="12722">
                  <c:v>#N/A</c:v>
                </c:pt>
                <c:pt idx="12723">
                  <c:v>#N/A</c:v>
                </c:pt>
                <c:pt idx="12724">
                  <c:v>#N/A</c:v>
                </c:pt>
                <c:pt idx="12725">
                  <c:v>#N/A</c:v>
                </c:pt>
                <c:pt idx="12726">
                  <c:v>#N/A</c:v>
                </c:pt>
                <c:pt idx="12727">
                  <c:v>#N/A</c:v>
                </c:pt>
                <c:pt idx="12728">
                  <c:v>#N/A</c:v>
                </c:pt>
                <c:pt idx="12729">
                  <c:v>#N/A</c:v>
                </c:pt>
                <c:pt idx="12730">
                  <c:v>#N/A</c:v>
                </c:pt>
                <c:pt idx="12731">
                  <c:v>#N/A</c:v>
                </c:pt>
                <c:pt idx="12732">
                  <c:v>#N/A</c:v>
                </c:pt>
                <c:pt idx="12733">
                  <c:v>#N/A</c:v>
                </c:pt>
                <c:pt idx="12734">
                  <c:v>#N/A</c:v>
                </c:pt>
                <c:pt idx="12735">
                  <c:v>#N/A</c:v>
                </c:pt>
                <c:pt idx="12736">
                  <c:v>#N/A</c:v>
                </c:pt>
                <c:pt idx="12737">
                  <c:v>#N/A</c:v>
                </c:pt>
                <c:pt idx="12738">
                  <c:v>#N/A</c:v>
                </c:pt>
                <c:pt idx="12739">
                  <c:v>#N/A</c:v>
                </c:pt>
                <c:pt idx="12740">
                  <c:v>#N/A</c:v>
                </c:pt>
                <c:pt idx="12741">
                  <c:v>#N/A</c:v>
                </c:pt>
                <c:pt idx="12742">
                  <c:v>#N/A</c:v>
                </c:pt>
                <c:pt idx="12743">
                  <c:v>#N/A</c:v>
                </c:pt>
                <c:pt idx="12744">
                  <c:v>#N/A</c:v>
                </c:pt>
                <c:pt idx="12745">
                  <c:v>#N/A</c:v>
                </c:pt>
                <c:pt idx="12746">
                  <c:v>#N/A</c:v>
                </c:pt>
                <c:pt idx="12747">
                  <c:v>#N/A</c:v>
                </c:pt>
                <c:pt idx="12748">
                  <c:v>#N/A</c:v>
                </c:pt>
                <c:pt idx="12749">
                  <c:v>#N/A</c:v>
                </c:pt>
                <c:pt idx="12750">
                  <c:v>#N/A</c:v>
                </c:pt>
                <c:pt idx="12751">
                  <c:v>#N/A</c:v>
                </c:pt>
                <c:pt idx="12752">
                  <c:v>#N/A</c:v>
                </c:pt>
                <c:pt idx="12753">
                  <c:v>#N/A</c:v>
                </c:pt>
                <c:pt idx="12754">
                  <c:v>#N/A</c:v>
                </c:pt>
                <c:pt idx="12755">
                  <c:v>#N/A</c:v>
                </c:pt>
                <c:pt idx="12756">
                  <c:v>#N/A</c:v>
                </c:pt>
                <c:pt idx="12757">
                  <c:v>#N/A</c:v>
                </c:pt>
                <c:pt idx="12758">
                  <c:v>#N/A</c:v>
                </c:pt>
                <c:pt idx="12759">
                  <c:v>#N/A</c:v>
                </c:pt>
                <c:pt idx="12760">
                  <c:v>#N/A</c:v>
                </c:pt>
                <c:pt idx="12761">
                  <c:v>#N/A</c:v>
                </c:pt>
                <c:pt idx="12762">
                  <c:v>#N/A</c:v>
                </c:pt>
                <c:pt idx="12763">
                  <c:v>#N/A</c:v>
                </c:pt>
                <c:pt idx="12764">
                  <c:v>#N/A</c:v>
                </c:pt>
                <c:pt idx="12765">
                  <c:v>#N/A</c:v>
                </c:pt>
                <c:pt idx="12766">
                  <c:v>#N/A</c:v>
                </c:pt>
                <c:pt idx="12767">
                  <c:v>#N/A</c:v>
                </c:pt>
                <c:pt idx="12768">
                  <c:v>#N/A</c:v>
                </c:pt>
                <c:pt idx="12769">
                  <c:v>#N/A</c:v>
                </c:pt>
                <c:pt idx="12770">
                  <c:v>#N/A</c:v>
                </c:pt>
                <c:pt idx="12771">
                  <c:v>#N/A</c:v>
                </c:pt>
                <c:pt idx="12772">
                  <c:v>#N/A</c:v>
                </c:pt>
                <c:pt idx="12773">
                  <c:v>#N/A</c:v>
                </c:pt>
                <c:pt idx="12774">
                  <c:v>#N/A</c:v>
                </c:pt>
                <c:pt idx="12775">
                  <c:v>#N/A</c:v>
                </c:pt>
                <c:pt idx="12776">
                  <c:v>#N/A</c:v>
                </c:pt>
                <c:pt idx="12777">
                  <c:v>#N/A</c:v>
                </c:pt>
                <c:pt idx="12778">
                  <c:v>#N/A</c:v>
                </c:pt>
                <c:pt idx="12779">
                  <c:v>#N/A</c:v>
                </c:pt>
                <c:pt idx="12780">
                  <c:v>#N/A</c:v>
                </c:pt>
                <c:pt idx="12781">
                  <c:v>#N/A</c:v>
                </c:pt>
                <c:pt idx="12782">
                  <c:v>#N/A</c:v>
                </c:pt>
                <c:pt idx="12783">
                  <c:v>7.9726027397260273</c:v>
                </c:pt>
                <c:pt idx="12784">
                  <c:v>#N/A</c:v>
                </c:pt>
                <c:pt idx="12785">
                  <c:v>#N/A</c:v>
                </c:pt>
                <c:pt idx="12786">
                  <c:v>#N/A</c:v>
                </c:pt>
                <c:pt idx="12787">
                  <c:v>#N/A</c:v>
                </c:pt>
                <c:pt idx="12788">
                  <c:v>#N/A</c:v>
                </c:pt>
                <c:pt idx="12789">
                  <c:v>#N/A</c:v>
                </c:pt>
                <c:pt idx="12790">
                  <c:v>#N/A</c:v>
                </c:pt>
                <c:pt idx="12791">
                  <c:v>#N/A</c:v>
                </c:pt>
                <c:pt idx="12792">
                  <c:v>#N/A</c:v>
                </c:pt>
                <c:pt idx="12793">
                  <c:v>#N/A</c:v>
                </c:pt>
                <c:pt idx="12794">
                  <c:v>#N/A</c:v>
                </c:pt>
                <c:pt idx="12795">
                  <c:v>#N/A</c:v>
                </c:pt>
                <c:pt idx="12796">
                  <c:v>#N/A</c:v>
                </c:pt>
                <c:pt idx="12797">
                  <c:v>#N/A</c:v>
                </c:pt>
                <c:pt idx="12798">
                  <c:v>#N/A</c:v>
                </c:pt>
                <c:pt idx="12799">
                  <c:v>#N/A</c:v>
                </c:pt>
                <c:pt idx="12800">
                  <c:v>#N/A</c:v>
                </c:pt>
                <c:pt idx="12801">
                  <c:v>#N/A</c:v>
                </c:pt>
                <c:pt idx="12802">
                  <c:v>#N/A</c:v>
                </c:pt>
                <c:pt idx="12803">
                  <c:v>#N/A</c:v>
                </c:pt>
                <c:pt idx="12804">
                  <c:v>#N/A</c:v>
                </c:pt>
                <c:pt idx="12805">
                  <c:v>#N/A</c:v>
                </c:pt>
                <c:pt idx="12806">
                  <c:v>#N/A</c:v>
                </c:pt>
                <c:pt idx="12807">
                  <c:v>#N/A</c:v>
                </c:pt>
                <c:pt idx="12808">
                  <c:v>#N/A</c:v>
                </c:pt>
                <c:pt idx="12809">
                  <c:v>#N/A</c:v>
                </c:pt>
                <c:pt idx="12810">
                  <c:v>#N/A</c:v>
                </c:pt>
                <c:pt idx="12811">
                  <c:v>#N/A</c:v>
                </c:pt>
                <c:pt idx="12812">
                  <c:v>#N/A</c:v>
                </c:pt>
                <c:pt idx="12813">
                  <c:v>#N/A</c:v>
                </c:pt>
                <c:pt idx="12814">
                  <c:v>#N/A</c:v>
                </c:pt>
                <c:pt idx="12815">
                  <c:v>#N/A</c:v>
                </c:pt>
                <c:pt idx="12816">
                  <c:v>#N/A</c:v>
                </c:pt>
                <c:pt idx="12817">
                  <c:v>#N/A</c:v>
                </c:pt>
                <c:pt idx="12818">
                  <c:v>#N/A</c:v>
                </c:pt>
                <c:pt idx="12819">
                  <c:v>#N/A</c:v>
                </c:pt>
                <c:pt idx="12820">
                  <c:v>#N/A</c:v>
                </c:pt>
                <c:pt idx="12821">
                  <c:v>#N/A</c:v>
                </c:pt>
                <c:pt idx="12822">
                  <c:v>#N/A</c:v>
                </c:pt>
                <c:pt idx="12823">
                  <c:v>#N/A</c:v>
                </c:pt>
                <c:pt idx="12824">
                  <c:v>#N/A</c:v>
                </c:pt>
                <c:pt idx="12825">
                  <c:v>#N/A</c:v>
                </c:pt>
                <c:pt idx="12826">
                  <c:v>#N/A</c:v>
                </c:pt>
                <c:pt idx="12827">
                  <c:v>#N/A</c:v>
                </c:pt>
                <c:pt idx="12828">
                  <c:v>#N/A</c:v>
                </c:pt>
                <c:pt idx="12829">
                  <c:v>#N/A</c:v>
                </c:pt>
                <c:pt idx="12830">
                  <c:v>#N/A</c:v>
                </c:pt>
                <c:pt idx="12831">
                  <c:v>#N/A</c:v>
                </c:pt>
                <c:pt idx="12832">
                  <c:v>#N/A</c:v>
                </c:pt>
                <c:pt idx="12833">
                  <c:v>#N/A</c:v>
                </c:pt>
                <c:pt idx="12834">
                  <c:v>#N/A</c:v>
                </c:pt>
                <c:pt idx="12835">
                  <c:v>#N/A</c:v>
                </c:pt>
                <c:pt idx="12836">
                  <c:v>#N/A</c:v>
                </c:pt>
                <c:pt idx="12837">
                  <c:v>#N/A</c:v>
                </c:pt>
                <c:pt idx="12838">
                  <c:v>#N/A</c:v>
                </c:pt>
                <c:pt idx="12839">
                  <c:v>#N/A</c:v>
                </c:pt>
                <c:pt idx="12840">
                  <c:v>#N/A</c:v>
                </c:pt>
                <c:pt idx="12841">
                  <c:v>#N/A</c:v>
                </c:pt>
                <c:pt idx="12842">
                  <c:v>#N/A</c:v>
                </c:pt>
                <c:pt idx="12843">
                  <c:v>#N/A</c:v>
                </c:pt>
                <c:pt idx="12844">
                  <c:v>#N/A</c:v>
                </c:pt>
                <c:pt idx="12845">
                  <c:v>#N/A</c:v>
                </c:pt>
                <c:pt idx="12846">
                  <c:v>#N/A</c:v>
                </c:pt>
                <c:pt idx="12847">
                  <c:v>#N/A</c:v>
                </c:pt>
                <c:pt idx="12848">
                  <c:v>#N/A</c:v>
                </c:pt>
                <c:pt idx="12849">
                  <c:v>#N/A</c:v>
                </c:pt>
                <c:pt idx="12850">
                  <c:v>#N/A</c:v>
                </c:pt>
                <c:pt idx="12851">
                  <c:v>#N/A</c:v>
                </c:pt>
                <c:pt idx="12852">
                  <c:v>#N/A</c:v>
                </c:pt>
                <c:pt idx="12853">
                  <c:v>#N/A</c:v>
                </c:pt>
                <c:pt idx="12854">
                  <c:v>#N/A</c:v>
                </c:pt>
                <c:pt idx="12855">
                  <c:v>#N/A</c:v>
                </c:pt>
                <c:pt idx="12856">
                  <c:v>#N/A</c:v>
                </c:pt>
                <c:pt idx="12857">
                  <c:v>#N/A</c:v>
                </c:pt>
                <c:pt idx="12858">
                  <c:v>#N/A</c:v>
                </c:pt>
                <c:pt idx="12859">
                  <c:v>#N/A</c:v>
                </c:pt>
                <c:pt idx="12860">
                  <c:v>#N/A</c:v>
                </c:pt>
                <c:pt idx="12861">
                  <c:v>#N/A</c:v>
                </c:pt>
                <c:pt idx="12862">
                  <c:v>#N/A</c:v>
                </c:pt>
                <c:pt idx="12863">
                  <c:v>#N/A</c:v>
                </c:pt>
                <c:pt idx="12864">
                  <c:v>#N/A</c:v>
                </c:pt>
                <c:pt idx="12865">
                  <c:v>#N/A</c:v>
                </c:pt>
                <c:pt idx="12866">
                  <c:v>#N/A</c:v>
                </c:pt>
                <c:pt idx="12867">
                  <c:v>#N/A</c:v>
                </c:pt>
                <c:pt idx="12868">
                  <c:v>#N/A</c:v>
                </c:pt>
                <c:pt idx="12869">
                  <c:v>#N/A</c:v>
                </c:pt>
                <c:pt idx="12870">
                  <c:v>#N/A</c:v>
                </c:pt>
                <c:pt idx="12871">
                  <c:v>#N/A</c:v>
                </c:pt>
                <c:pt idx="12872">
                  <c:v>#N/A</c:v>
                </c:pt>
                <c:pt idx="12873">
                  <c:v>#N/A</c:v>
                </c:pt>
                <c:pt idx="12874">
                  <c:v>#N/A</c:v>
                </c:pt>
                <c:pt idx="12875">
                  <c:v>#N/A</c:v>
                </c:pt>
                <c:pt idx="12876">
                  <c:v>#N/A</c:v>
                </c:pt>
                <c:pt idx="12877">
                  <c:v>#N/A</c:v>
                </c:pt>
                <c:pt idx="12878">
                  <c:v>#N/A</c:v>
                </c:pt>
                <c:pt idx="12879">
                  <c:v>#N/A</c:v>
                </c:pt>
                <c:pt idx="12880">
                  <c:v>#N/A</c:v>
                </c:pt>
                <c:pt idx="12881">
                  <c:v>#N/A</c:v>
                </c:pt>
                <c:pt idx="12882">
                  <c:v>#N/A</c:v>
                </c:pt>
                <c:pt idx="12883">
                  <c:v>#N/A</c:v>
                </c:pt>
                <c:pt idx="12884">
                  <c:v>#N/A</c:v>
                </c:pt>
                <c:pt idx="12885">
                  <c:v>#N/A</c:v>
                </c:pt>
                <c:pt idx="12886">
                  <c:v>#N/A</c:v>
                </c:pt>
                <c:pt idx="12887">
                  <c:v>#N/A</c:v>
                </c:pt>
                <c:pt idx="12888">
                  <c:v>#N/A</c:v>
                </c:pt>
                <c:pt idx="12889">
                  <c:v>#N/A</c:v>
                </c:pt>
                <c:pt idx="12890">
                  <c:v>#N/A</c:v>
                </c:pt>
                <c:pt idx="12891">
                  <c:v>#N/A</c:v>
                </c:pt>
                <c:pt idx="12892">
                  <c:v>#N/A</c:v>
                </c:pt>
                <c:pt idx="12893">
                  <c:v>#N/A</c:v>
                </c:pt>
                <c:pt idx="12894">
                  <c:v>#N/A</c:v>
                </c:pt>
                <c:pt idx="12895">
                  <c:v>#N/A</c:v>
                </c:pt>
                <c:pt idx="12896">
                  <c:v>#N/A</c:v>
                </c:pt>
                <c:pt idx="12897">
                  <c:v>#N/A</c:v>
                </c:pt>
                <c:pt idx="12898">
                  <c:v>#N/A</c:v>
                </c:pt>
                <c:pt idx="12899">
                  <c:v>#N/A</c:v>
                </c:pt>
                <c:pt idx="12900">
                  <c:v>#N/A</c:v>
                </c:pt>
                <c:pt idx="12901">
                  <c:v>#N/A</c:v>
                </c:pt>
                <c:pt idx="12902">
                  <c:v>#N/A</c:v>
                </c:pt>
                <c:pt idx="12903">
                  <c:v>#N/A</c:v>
                </c:pt>
                <c:pt idx="12904">
                  <c:v>#N/A</c:v>
                </c:pt>
                <c:pt idx="12905">
                  <c:v>#N/A</c:v>
                </c:pt>
                <c:pt idx="12906">
                  <c:v>#N/A</c:v>
                </c:pt>
                <c:pt idx="12907">
                  <c:v>#N/A</c:v>
                </c:pt>
                <c:pt idx="12908">
                  <c:v>#N/A</c:v>
                </c:pt>
                <c:pt idx="12909">
                  <c:v>#N/A</c:v>
                </c:pt>
                <c:pt idx="12910">
                  <c:v>#N/A</c:v>
                </c:pt>
                <c:pt idx="12911">
                  <c:v>#N/A</c:v>
                </c:pt>
                <c:pt idx="12912">
                  <c:v>#N/A</c:v>
                </c:pt>
                <c:pt idx="12913">
                  <c:v>#N/A</c:v>
                </c:pt>
                <c:pt idx="12914">
                  <c:v>#N/A</c:v>
                </c:pt>
                <c:pt idx="12915">
                  <c:v>#N/A</c:v>
                </c:pt>
                <c:pt idx="12916">
                  <c:v>#N/A</c:v>
                </c:pt>
                <c:pt idx="12917">
                  <c:v>#N/A</c:v>
                </c:pt>
                <c:pt idx="12918">
                  <c:v>#N/A</c:v>
                </c:pt>
                <c:pt idx="12919">
                  <c:v>#N/A</c:v>
                </c:pt>
                <c:pt idx="12920">
                  <c:v>#N/A</c:v>
                </c:pt>
                <c:pt idx="12921">
                  <c:v>#N/A</c:v>
                </c:pt>
                <c:pt idx="12922">
                  <c:v>#N/A</c:v>
                </c:pt>
                <c:pt idx="12923">
                  <c:v>#N/A</c:v>
                </c:pt>
                <c:pt idx="12924">
                  <c:v>#N/A</c:v>
                </c:pt>
                <c:pt idx="12925">
                  <c:v>#N/A</c:v>
                </c:pt>
                <c:pt idx="12926">
                  <c:v>#N/A</c:v>
                </c:pt>
                <c:pt idx="12927">
                  <c:v>#N/A</c:v>
                </c:pt>
                <c:pt idx="12928">
                  <c:v>#N/A</c:v>
                </c:pt>
                <c:pt idx="12929">
                  <c:v>#N/A</c:v>
                </c:pt>
                <c:pt idx="12930">
                  <c:v>#N/A</c:v>
                </c:pt>
                <c:pt idx="12931">
                  <c:v>#N/A</c:v>
                </c:pt>
                <c:pt idx="12932">
                  <c:v>#N/A</c:v>
                </c:pt>
                <c:pt idx="12933">
                  <c:v>#N/A</c:v>
                </c:pt>
                <c:pt idx="12934">
                  <c:v>#N/A</c:v>
                </c:pt>
                <c:pt idx="12935">
                  <c:v>#N/A</c:v>
                </c:pt>
                <c:pt idx="12936">
                  <c:v>#N/A</c:v>
                </c:pt>
                <c:pt idx="12937">
                  <c:v>#N/A</c:v>
                </c:pt>
                <c:pt idx="12938">
                  <c:v>#N/A</c:v>
                </c:pt>
                <c:pt idx="12939">
                  <c:v>#N/A</c:v>
                </c:pt>
                <c:pt idx="12940">
                  <c:v>#N/A</c:v>
                </c:pt>
                <c:pt idx="12941">
                  <c:v>#N/A</c:v>
                </c:pt>
                <c:pt idx="12942">
                  <c:v>#N/A</c:v>
                </c:pt>
                <c:pt idx="12943">
                  <c:v>#N/A</c:v>
                </c:pt>
                <c:pt idx="12944">
                  <c:v>#N/A</c:v>
                </c:pt>
                <c:pt idx="12945">
                  <c:v>#N/A</c:v>
                </c:pt>
                <c:pt idx="12946">
                  <c:v>9.1890410958904116</c:v>
                </c:pt>
                <c:pt idx="12947">
                  <c:v>#N/A</c:v>
                </c:pt>
                <c:pt idx="12948">
                  <c:v>#N/A</c:v>
                </c:pt>
                <c:pt idx="12949">
                  <c:v>#N/A</c:v>
                </c:pt>
                <c:pt idx="12950">
                  <c:v>#N/A</c:v>
                </c:pt>
                <c:pt idx="12951">
                  <c:v>#N/A</c:v>
                </c:pt>
                <c:pt idx="12952">
                  <c:v>#N/A</c:v>
                </c:pt>
                <c:pt idx="12953">
                  <c:v>#N/A</c:v>
                </c:pt>
                <c:pt idx="12954">
                  <c:v>#N/A</c:v>
                </c:pt>
                <c:pt idx="12955">
                  <c:v>#N/A</c:v>
                </c:pt>
                <c:pt idx="12956">
                  <c:v>#N/A</c:v>
                </c:pt>
                <c:pt idx="12957">
                  <c:v>#N/A</c:v>
                </c:pt>
                <c:pt idx="12958">
                  <c:v>#N/A</c:v>
                </c:pt>
                <c:pt idx="12959">
                  <c:v>#N/A</c:v>
                </c:pt>
                <c:pt idx="12960">
                  <c:v>#N/A</c:v>
                </c:pt>
                <c:pt idx="12961">
                  <c:v>#N/A</c:v>
                </c:pt>
                <c:pt idx="12962">
                  <c:v>#N/A</c:v>
                </c:pt>
                <c:pt idx="12963">
                  <c:v>#N/A</c:v>
                </c:pt>
                <c:pt idx="12964">
                  <c:v>#N/A</c:v>
                </c:pt>
                <c:pt idx="12965">
                  <c:v>#N/A</c:v>
                </c:pt>
                <c:pt idx="12966">
                  <c:v>#N/A</c:v>
                </c:pt>
                <c:pt idx="12967">
                  <c:v>#N/A</c:v>
                </c:pt>
                <c:pt idx="12968">
                  <c:v>#N/A</c:v>
                </c:pt>
                <c:pt idx="12969">
                  <c:v>#N/A</c:v>
                </c:pt>
                <c:pt idx="12970">
                  <c:v>#N/A</c:v>
                </c:pt>
                <c:pt idx="12971">
                  <c:v>#N/A</c:v>
                </c:pt>
                <c:pt idx="12972">
                  <c:v>#N/A</c:v>
                </c:pt>
                <c:pt idx="12973">
                  <c:v>#N/A</c:v>
                </c:pt>
                <c:pt idx="12974">
                  <c:v>#N/A</c:v>
                </c:pt>
                <c:pt idx="12975">
                  <c:v>#N/A</c:v>
                </c:pt>
                <c:pt idx="12976">
                  <c:v>#N/A</c:v>
                </c:pt>
                <c:pt idx="12977">
                  <c:v>#N/A</c:v>
                </c:pt>
                <c:pt idx="12978">
                  <c:v>#N/A</c:v>
                </c:pt>
                <c:pt idx="12979">
                  <c:v>#N/A</c:v>
                </c:pt>
                <c:pt idx="12980">
                  <c:v>#N/A</c:v>
                </c:pt>
                <c:pt idx="12981">
                  <c:v>#N/A</c:v>
                </c:pt>
                <c:pt idx="12982">
                  <c:v>#N/A</c:v>
                </c:pt>
                <c:pt idx="12983">
                  <c:v>#N/A</c:v>
                </c:pt>
                <c:pt idx="12984">
                  <c:v>#N/A</c:v>
                </c:pt>
                <c:pt idx="12985">
                  <c:v>#N/A</c:v>
                </c:pt>
                <c:pt idx="12986">
                  <c:v>#N/A</c:v>
                </c:pt>
                <c:pt idx="12987">
                  <c:v>#N/A</c:v>
                </c:pt>
                <c:pt idx="12988">
                  <c:v>#N/A</c:v>
                </c:pt>
                <c:pt idx="12989">
                  <c:v>#N/A</c:v>
                </c:pt>
                <c:pt idx="12990">
                  <c:v>#N/A</c:v>
                </c:pt>
                <c:pt idx="12991">
                  <c:v>#N/A</c:v>
                </c:pt>
                <c:pt idx="12992">
                  <c:v>#N/A</c:v>
                </c:pt>
                <c:pt idx="12993">
                  <c:v>#N/A</c:v>
                </c:pt>
                <c:pt idx="12994">
                  <c:v>#N/A</c:v>
                </c:pt>
                <c:pt idx="12995">
                  <c:v>#N/A</c:v>
                </c:pt>
                <c:pt idx="12996">
                  <c:v>#N/A</c:v>
                </c:pt>
                <c:pt idx="12997">
                  <c:v>#N/A</c:v>
                </c:pt>
                <c:pt idx="12998">
                  <c:v>#N/A</c:v>
                </c:pt>
                <c:pt idx="12999">
                  <c:v>#N/A</c:v>
                </c:pt>
                <c:pt idx="13000">
                  <c:v>#N/A</c:v>
                </c:pt>
                <c:pt idx="13001">
                  <c:v>#N/A</c:v>
                </c:pt>
                <c:pt idx="13002">
                  <c:v>#N/A</c:v>
                </c:pt>
                <c:pt idx="13003">
                  <c:v>#N/A</c:v>
                </c:pt>
                <c:pt idx="13004">
                  <c:v>#N/A</c:v>
                </c:pt>
                <c:pt idx="13005">
                  <c:v>#N/A</c:v>
                </c:pt>
                <c:pt idx="13006">
                  <c:v>#N/A</c:v>
                </c:pt>
                <c:pt idx="13007">
                  <c:v>#N/A</c:v>
                </c:pt>
                <c:pt idx="13008">
                  <c:v>#N/A</c:v>
                </c:pt>
                <c:pt idx="13009">
                  <c:v>#N/A</c:v>
                </c:pt>
                <c:pt idx="13010">
                  <c:v>#N/A</c:v>
                </c:pt>
                <c:pt idx="13011">
                  <c:v>#N/A</c:v>
                </c:pt>
                <c:pt idx="13012">
                  <c:v>#N/A</c:v>
                </c:pt>
                <c:pt idx="13013">
                  <c:v>#N/A</c:v>
                </c:pt>
                <c:pt idx="13014">
                  <c:v>#N/A</c:v>
                </c:pt>
                <c:pt idx="13015">
                  <c:v>#N/A</c:v>
                </c:pt>
                <c:pt idx="13016">
                  <c:v>#N/A</c:v>
                </c:pt>
                <c:pt idx="13017">
                  <c:v>#N/A</c:v>
                </c:pt>
                <c:pt idx="13018">
                  <c:v>#N/A</c:v>
                </c:pt>
                <c:pt idx="13019">
                  <c:v>#N/A</c:v>
                </c:pt>
                <c:pt idx="13020">
                  <c:v>#N/A</c:v>
                </c:pt>
                <c:pt idx="13021">
                  <c:v>#N/A</c:v>
                </c:pt>
                <c:pt idx="13022">
                  <c:v>#N/A</c:v>
                </c:pt>
                <c:pt idx="13023">
                  <c:v>#N/A</c:v>
                </c:pt>
                <c:pt idx="13024">
                  <c:v>#N/A</c:v>
                </c:pt>
                <c:pt idx="13025">
                  <c:v>#N/A</c:v>
                </c:pt>
                <c:pt idx="13026">
                  <c:v>#N/A</c:v>
                </c:pt>
                <c:pt idx="13027">
                  <c:v>#N/A</c:v>
                </c:pt>
                <c:pt idx="13028">
                  <c:v>#N/A</c:v>
                </c:pt>
                <c:pt idx="13029">
                  <c:v>#N/A</c:v>
                </c:pt>
                <c:pt idx="13030">
                  <c:v>#N/A</c:v>
                </c:pt>
                <c:pt idx="13031">
                  <c:v>#N/A</c:v>
                </c:pt>
                <c:pt idx="13032">
                  <c:v>#N/A</c:v>
                </c:pt>
                <c:pt idx="13033">
                  <c:v>#N/A</c:v>
                </c:pt>
                <c:pt idx="13034">
                  <c:v>#N/A</c:v>
                </c:pt>
                <c:pt idx="13035">
                  <c:v>#N/A</c:v>
                </c:pt>
                <c:pt idx="13036">
                  <c:v>#N/A</c:v>
                </c:pt>
                <c:pt idx="13037">
                  <c:v>14.479452054794521</c:v>
                </c:pt>
                <c:pt idx="13038">
                  <c:v>#N/A</c:v>
                </c:pt>
                <c:pt idx="13039">
                  <c:v>#N/A</c:v>
                </c:pt>
                <c:pt idx="13040">
                  <c:v>#N/A</c:v>
                </c:pt>
                <c:pt idx="13041">
                  <c:v>#N/A</c:v>
                </c:pt>
                <c:pt idx="13042">
                  <c:v>#N/A</c:v>
                </c:pt>
                <c:pt idx="13043">
                  <c:v>#N/A</c:v>
                </c:pt>
                <c:pt idx="13044">
                  <c:v>#N/A</c:v>
                </c:pt>
                <c:pt idx="13045">
                  <c:v>#N/A</c:v>
                </c:pt>
                <c:pt idx="13046">
                  <c:v>#N/A</c:v>
                </c:pt>
                <c:pt idx="13047">
                  <c:v>#N/A</c:v>
                </c:pt>
                <c:pt idx="13048">
                  <c:v>#N/A</c:v>
                </c:pt>
                <c:pt idx="13049">
                  <c:v>#N/A</c:v>
                </c:pt>
                <c:pt idx="13050">
                  <c:v>#N/A</c:v>
                </c:pt>
                <c:pt idx="13051">
                  <c:v>#N/A</c:v>
                </c:pt>
                <c:pt idx="13052">
                  <c:v>#N/A</c:v>
                </c:pt>
                <c:pt idx="13053">
                  <c:v>#N/A</c:v>
                </c:pt>
                <c:pt idx="13054">
                  <c:v>#N/A</c:v>
                </c:pt>
                <c:pt idx="13055">
                  <c:v>#N/A</c:v>
                </c:pt>
                <c:pt idx="13056">
                  <c:v>#N/A</c:v>
                </c:pt>
                <c:pt idx="13057">
                  <c:v>#N/A</c:v>
                </c:pt>
                <c:pt idx="13058">
                  <c:v>#N/A</c:v>
                </c:pt>
                <c:pt idx="13059">
                  <c:v>#N/A</c:v>
                </c:pt>
                <c:pt idx="13060">
                  <c:v>#N/A</c:v>
                </c:pt>
                <c:pt idx="13061">
                  <c:v>#N/A</c:v>
                </c:pt>
                <c:pt idx="13062">
                  <c:v>#N/A</c:v>
                </c:pt>
                <c:pt idx="13063">
                  <c:v>#N/A</c:v>
                </c:pt>
                <c:pt idx="13064">
                  <c:v>#N/A</c:v>
                </c:pt>
                <c:pt idx="13065">
                  <c:v>#N/A</c:v>
                </c:pt>
                <c:pt idx="13066">
                  <c:v>#N/A</c:v>
                </c:pt>
                <c:pt idx="13067">
                  <c:v>#N/A</c:v>
                </c:pt>
                <c:pt idx="13068">
                  <c:v>#N/A</c:v>
                </c:pt>
                <c:pt idx="13069">
                  <c:v>#N/A</c:v>
                </c:pt>
                <c:pt idx="13070">
                  <c:v>#N/A</c:v>
                </c:pt>
                <c:pt idx="13071">
                  <c:v>#N/A</c:v>
                </c:pt>
                <c:pt idx="13072">
                  <c:v>#N/A</c:v>
                </c:pt>
                <c:pt idx="13073">
                  <c:v>#N/A</c:v>
                </c:pt>
                <c:pt idx="13074">
                  <c:v>#N/A</c:v>
                </c:pt>
                <c:pt idx="13075">
                  <c:v>#N/A</c:v>
                </c:pt>
                <c:pt idx="13076">
                  <c:v>#N/A</c:v>
                </c:pt>
                <c:pt idx="13077">
                  <c:v>#N/A</c:v>
                </c:pt>
                <c:pt idx="13078">
                  <c:v>#N/A</c:v>
                </c:pt>
                <c:pt idx="13079">
                  <c:v>#N/A</c:v>
                </c:pt>
                <c:pt idx="13080">
                  <c:v>#N/A</c:v>
                </c:pt>
              </c:numCache>
            </c:numRef>
          </c:xVal>
          <c:yVal>
            <c:numRef>
              <c:f>'power_generator-2024-09-23T (2)'!$U$2:$U$13082</c:f>
              <c:numCache>
                <c:formatCode>General</c:formatCode>
                <c:ptCount val="13081"/>
                <c:pt idx="0">
                  <c:v>5.0423620058489318</c:v>
                </c:pt>
                <c:pt idx="1">
                  <c:v>5.9984969734300204</c:v>
                </c:pt>
                <c:pt idx="2">
                  <c:v>6.028243266869449</c:v>
                </c:pt>
                <c:pt idx="3">
                  <c:v>6.027615680892267</c:v>
                </c:pt>
                <c:pt idx="4">
                  <c:v>6.0968802963641044</c:v>
                </c:pt>
                <c:pt idx="5">
                  <c:v>5.0833740576969442</c:v>
                </c:pt>
                <c:pt idx="6">
                  <c:v>4.8649706859237121</c:v>
                </c:pt>
                <c:pt idx="7">
                  <c:v>4.9838127763822371</c:v>
                </c:pt>
                <c:pt idx="8">
                  <c:v>3.9330733837753398</c:v>
                </c:pt>
                <c:pt idx="9">
                  <c:v>5.0274272656549748</c:v>
                </c:pt>
                <c:pt idx="10">
                  <c:v>4.2713519971552012</c:v>
                </c:pt>
                <c:pt idx="11">
                  <c:v>4.0230424193938301</c:v>
                </c:pt>
                <c:pt idx="12">
                  <c:v>5.1093266698785786</c:v>
                </c:pt>
                <c:pt idx="13">
                  <c:v>3.7789549155485394</c:v>
                </c:pt>
                <c:pt idx="14">
                  <c:v>5.1135823180669</c:v>
                </c:pt>
                <c:pt idx="15">
                  <c:v>5.1470967119613782</c:v>
                </c:pt>
                <c:pt idx="16">
                  <c:v>5.0933798732621636</c:v>
                </c:pt>
                <c:pt idx="17">
                  <c:v>6.1148849603222679</c:v>
                </c:pt>
                <c:pt idx="18">
                  <c:v>5.1840351127786324</c:v>
                </c:pt>
                <c:pt idx="19">
                  <c:v>4.9326101929562061</c:v>
                </c:pt>
                <c:pt idx="20">
                  <c:v>4.891495675253843</c:v>
                </c:pt>
                <c:pt idx="21">
                  <c:v>5.0342251415695536</c:v>
                </c:pt>
                <c:pt idx="22">
                  <c:v>5.0857390895175936</c:v>
                </c:pt>
                <c:pt idx="23">
                  <c:v>6.0305374433227987</c:v>
                </c:pt>
                <c:pt idx="24">
                  <c:v>5.867703502113379</c:v>
                </c:pt>
                <c:pt idx="25">
                  <c:v>5.2281367546392428</c:v>
                </c:pt>
                <c:pt idx="26">
                  <c:v>6.0403565569171107</c:v>
                </c:pt>
                <c:pt idx="27">
                  <c:v>4.9230729141968723</c:v>
                </c:pt>
                <c:pt idx="28">
                  <c:v>5.0047761039437617</c:v>
                </c:pt>
                <c:pt idx="29">
                  <c:v>4.1601352771088891</c:v>
                </c:pt>
                <c:pt idx="30">
                  <c:v>4.8531316785957088</c:v>
                </c:pt>
                <c:pt idx="31">
                  <c:v>5.1731757707995758</c:v>
                </c:pt>
                <c:pt idx="32">
                  <c:v>3.8841641575482173</c:v>
                </c:pt>
                <c:pt idx="33">
                  <c:v>4.9633263593285042</c:v>
                </c:pt>
                <c:pt idx="34">
                  <c:v>5.7934833686737042</c:v>
                </c:pt>
                <c:pt idx="35">
                  <c:v>5.776250892404355</c:v>
                </c:pt>
                <c:pt idx="36">
                  <c:v>4.9795114960604261</c:v>
                </c:pt>
                <c:pt idx="37">
                  <c:v>7.0567515492551678</c:v>
                </c:pt>
                <c:pt idx="38">
                  <c:v>5.9107818677330508</c:v>
                </c:pt>
                <c:pt idx="39">
                  <c:v>3.9863828012207243</c:v>
                </c:pt>
                <c:pt idx="40">
                  <c:v>5.0730218962980711</c:v>
                </c:pt>
                <c:pt idx="41">
                  <c:v>4.912029944991863</c:v>
                </c:pt>
                <c:pt idx="42">
                  <c:v>5.0048101777829253</c:v>
                </c:pt>
                <c:pt idx="43">
                  <c:v>5.8595127855509057</c:v>
                </c:pt>
                <c:pt idx="44">
                  <c:v>4.1076766125286248</c:v>
                </c:pt>
                <c:pt idx="45">
                  <c:v>6.9813927063759165</c:v>
                </c:pt>
                <c:pt idx="46">
                  <c:v>6.1455680024709345</c:v>
                </c:pt>
                <c:pt idx="47">
                  <c:v>5.002322790238539</c:v>
                </c:pt>
                <c:pt idx="48">
                  <c:v>3.9556188004152095</c:v>
                </c:pt>
                <c:pt idx="49">
                  <c:v>5.9668690691198574</c:v>
                </c:pt>
                <c:pt idx="50">
                  <c:v>6.1061528519625874</c:v>
                </c:pt>
                <c:pt idx="51">
                  <c:v>4.9568554683781558</c:v>
                </c:pt>
                <c:pt idx="52">
                  <c:v>5.9705560961442199</c:v>
                </c:pt>
                <c:pt idx="53">
                  <c:v>3.8649575757968564</c:v>
                </c:pt>
                <c:pt idx="54">
                  <c:v>5.0505858619730901</c:v>
                </c:pt>
                <c:pt idx="55">
                  <c:v>5.094145874629155</c:v>
                </c:pt>
                <c:pt idx="56">
                  <c:v>5.8074269643065435</c:v>
                </c:pt>
                <c:pt idx="57">
                  <c:v>5.953659090889821</c:v>
                </c:pt>
                <c:pt idx="58">
                  <c:v>4.8031963268992515</c:v>
                </c:pt>
                <c:pt idx="59">
                  <c:v>4.0680530396243464</c:v>
                </c:pt>
                <c:pt idx="60">
                  <c:v>5.1313087767133325</c:v>
                </c:pt>
                <c:pt idx="61">
                  <c:v>3.8579803787173397</c:v>
                </c:pt>
                <c:pt idx="62">
                  <c:v>5.8664847588884204</c:v>
                </c:pt>
                <c:pt idx="63">
                  <c:v>9.0794018642177576</c:v>
                </c:pt>
                <c:pt idx="64">
                  <c:v>5.0592714449641276</c:v>
                </c:pt>
                <c:pt idx="65">
                  <c:v>6.1206365581012303</c:v>
                </c:pt>
                <c:pt idx="66">
                  <c:v>4.8865991374950877</c:v>
                </c:pt>
                <c:pt idx="67">
                  <c:v>4.9021862801652549</c:v>
                </c:pt>
                <c:pt idx="68">
                  <c:v>5.1710506636393925</c:v>
                </c:pt>
                <c:pt idx="69">
                  <c:v>6.1361049125818008</c:v>
                </c:pt>
                <c:pt idx="70">
                  <c:v>5.9186018762335406</c:v>
                </c:pt>
                <c:pt idx="71">
                  <c:v>6.0127675753564214</c:v>
                </c:pt>
                <c:pt idx="72">
                  <c:v>5.9751240711200326</c:v>
                </c:pt>
                <c:pt idx="73">
                  <c:v>5.9048754423423997</c:v>
                </c:pt>
                <c:pt idx="74">
                  <c:v>6.0030827812151504</c:v>
                </c:pt>
                <c:pt idx="75">
                  <c:v>5.9356058018936881</c:v>
                </c:pt>
                <c:pt idx="76">
                  <c:v>4.9025467418290649</c:v>
                </c:pt>
                <c:pt idx="77">
                  <c:v>5.8577519470087003</c:v>
                </c:pt>
                <c:pt idx="78">
                  <c:v>4.917646632103513</c:v>
                </c:pt>
                <c:pt idx="79">
                  <c:v>4.9490580642890647</c:v>
                </c:pt>
                <c:pt idx="80">
                  <c:v>5.0974975255379489</c:v>
                </c:pt>
                <c:pt idx="81">
                  <c:v>5.9318785407512555</c:v>
                </c:pt>
                <c:pt idx="82">
                  <c:v>4.9220516310285447</c:v>
                </c:pt>
                <c:pt idx="83">
                  <c:v>5.078016067201184</c:v>
                </c:pt>
                <c:pt idx="84">
                  <c:v>5.1051260061440606</c:v>
                </c:pt>
                <c:pt idx="85">
                  <c:v>4.9754304970155259</c:v>
                </c:pt>
                <c:pt idx="86">
                  <c:v>5.9431455999129463</c:v>
                </c:pt>
                <c:pt idx="87">
                  <c:v>6.0190873451923839</c:v>
                </c:pt>
                <c:pt idx="88">
                  <c:v>5.1276009043277524</c:v>
                </c:pt>
                <c:pt idx="89">
                  <c:v>6.0970598419303919</c:v>
                </c:pt>
                <c:pt idx="90">
                  <c:v>5.0061002985165173</c:v>
                </c:pt>
                <c:pt idx="91">
                  <c:v>6.0247791384179923</c:v>
                </c:pt>
                <c:pt idx="92">
                  <c:v>5.9782425106237085</c:v>
                </c:pt>
                <c:pt idx="93">
                  <c:v>4.9007286570651205</c:v>
                </c:pt>
                <c:pt idx="94">
                  <c:v>5.962445986496177</c:v>
                </c:pt>
                <c:pt idx="95">
                  <c:v>6.1226960261946486</c:v>
                </c:pt>
                <c:pt idx="96">
                  <c:v>5.0999749424204692</c:v>
                </c:pt>
                <c:pt idx="97">
                  <c:v>5.0223016162710925</c:v>
                </c:pt>
                <c:pt idx="98">
                  <c:v>5.925556808952706</c:v>
                </c:pt>
                <c:pt idx="99">
                  <c:v>5.9122627195450885</c:v>
                </c:pt>
                <c:pt idx="100">
                  <c:v>5.9604077256928312</c:v>
                </c:pt>
                <c:pt idx="101">
                  <c:v>6.0114538526580734</c:v>
                </c:pt>
                <c:pt idx="102">
                  <c:v>6.2095468873314248</c:v>
                </c:pt>
                <c:pt idx="103">
                  <c:v>4.9598970253977299</c:v>
                </c:pt>
                <c:pt idx="104">
                  <c:v>6.1295661774850361</c:v>
                </c:pt>
                <c:pt idx="105">
                  <c:v>6.0973062095551605</c:v>
                </c:pt>
                <c:pt idx="106">
                  <c:v>4.973498553324597</c:v>
                </c:pt>
                <c:pt idx="107">
                  <c:v>4.9186300478743785</c:v>
                </c:pt>
                <c:pt idx="108">
                  <c:v>5.0099753647069001</c:v>
                </c:pt>
                <c:pt idx="109">
                  <c:v>4.9343798874746421</c:v>
                </c:pt>
                <c:pt idx="110">
                  <c:v>4.8266720303695108</c:v>
                </c:pt>
                <c:pt idx="111">
                  <c:v>4.9887374921046366</c:v>
                </c:pt>
                <c:pt idx="112">
                  <c:v>5.9214695848801044</c:v>
                </c:pt>
                <c:pt idx="113">
                  <c:v>5.2496843542288083</c:v>
                </c:pt>
                <c:pt idx="114">
                  <c:v>6.9017115400496101</c:v>
                </c:pt>
                <c:pt idx="115">
                  <c:v>4.8642807759450353</c:v>
                </c:pt>
                <c:pt idx="116">
                  <c:v>4.0107633082364842</c:v>
                </c:pt>
                <c:pt idx="117">
                  <c:v>5.716100812085207</c:v>
                </c:pt>
                <c:pt idx="118">
                  <c:v>3.9643128178614315</c:v>
                </c:pt>
                <c:pt idx="119">
                  <c:v>4.9274400474862983</c:v>
                </c:pt>
                <c:pt idx="120">
                  <c:v>5.9118105434917032</c:v>
                </c:pt>
                <c:pt idx="121">
                  <c:v>4.9687323800346315</c:v>
                </c:pt>
                <c:pt idx="122">
                  <c:v>5.0709090838859856</c:v>
                </c:pt>
                <c:pt idx="123">
                  <c:v>6.1895441805595812</c:v>
                </c:pt>
                <c:pt idx="124">
                  <c:v>5.0240952862107973</c:v>
                </c:pt>
                <c:pt idx="125">
                  <c:v>5.0158145501548654</c:v>
                </c:pt>
                <c:pt idx="126">
                  <c:v>4.9110702561664219</c:v>
                </c:pt>
                <c:pt idx="127">
                  <c:v>4.9505232340569609</c:v>
                </c:pt>
                <c:pt idx="128">
                  <c:v>4.9914528394628972</c:v>
                </c:pt>
                <c:pt idx="129">
                  <c:v>5.0485988376627606</c:v>
                </c:pt>
                <c:pt idx="130">
                  <c:v>5.9040392126915098</c:v>
                </c:pt>
                <c:pt idx="131">
                  <c:v>5.1263152877492377</c:v>
                </c:pt>
                <c:pt idx="132">
                  <c:v>3.8780653190770926</c:v>
                </c:pt>
                <c:pt idx="133">
                  <c:v>7.0810924603937728</c:v>
                </c:pt>
                <c:pt idx="134">
                  <c:v>4.1695790557500478</c:v>
                </c:pt>
                <c:pt idx="135">
                  <c:v>4.8333544444253231</c:v>
                </c:pt>
                <c:pt idx="136">
                  <c:v>5.047786140001068</c:v>
                </c:pt>
                <c:pt idx="137">
                  <c:v>4.9850374742404373</c:v>
                </c:pt>
                <c:pt idx="138">
                  <c:v>5.9966655440644159</c:v>
                </c:pt>
                <c:pt idx="139">
                  <c:v>5.9464070761871151</c:v>
                </c:pt>
                <c:pt idx="140">
                  <c:v>5.0261577459183897</c:v>
                </c:pt>
                <c:pt idx="141">
                  <c:v>6.0492630038458195</c:v>
                </c:pt>
                <c:pt idx="142">
                  <c:v>5.9904079223632039</c:v>
                </c:pt>
                <c:pt idx="143">
                  <c:v>5.1123386361373644</c:v>
                </c:pt>
                <c:pt idx="144">
                  <c:v>5.9627487621356012</c:v>
                </c:pt>
                <c:pt idx="145">
                  <c:v>5.0191285834595094</c:v>
                </c:pt>
                <c:pt idx="146">
                  <c:v>4.8464054626331707</c:v>
                </c:pt>
                <c:pt idx="147">
                  <c:v>6.1887514766896352</c:v>
                </c:pt>
                <c:pt idx="148">
                  <c:v>5.0198268604449474</c:v>
                </c:pt>
                <c:pt idx="149">
                  <c:v>4.9449494860754672</c:v>
                </c:pt>
                <c:pt idx="150">
                  <c:v>6.0367281491066711</c:v>
                </c:pt>
                <c:pt idx="151">
                  <c:v>5.0934908623560897</c:v>
                </c:pt>
                <c:pt idx="152">
                  <c:v>3.9807678242223608</c:v>
                </c:pt>
                <c:pt idx="153">
                  <c:v>6.0355725917546055</c:v>
                </c:pt>
                <c:pt idx="154">
                  <c:v>5.9603480468779209</c:v>
                </c:pt>
                <c:pt idx="155">
                  <c:v>5.9638408615907457</c:v>
                </c:pt>
                <c:pt idx="156">
                  <c:v>3.9539837663113113</c:v>
                </c:pt>
                <c:pt idx="157">
                  <c:v>4.1731656536706145</c:v>
                </c:pt>
                <c:pt idx="158">
                  <c:v>4.0214970395963894</c:v>
                </c:pt>
                <c:pt idx="159">
                  <c:v>6.8408029881742465</c:v>
                </c:pt>
                <c:pt idx="160">
                  <c:v>4.910736369240956</c:v>
                </c:pt>
                <c:pt idx="161">
                  <c:v>3.803027586613863</c:v>
                </c:pt>
                <c:pt idx="162">
                  <c:v>4.8912904841671416</c:v>
                </c:pt>
                <c:pt idx="163">
                  <c:v>5.0828837914567213</c:v>
                </c:pt>
                <c:pt idx="164">
                  <c:v>5.9008980929160826</c:v>
                </c:pt>
                <c:pt idx="165">
                  <c:v>5.0204716450650793</c:v>
                </c:pt>
                <c:pt idx="166">
                  <c:v>5.8305132069850591</c:v>
                </c:pt>
                <c:pt idx="167">
                  <c:v>7.0406017735940996</c:v>
                </c:pt>
                <c:pt idx="168">
                  <c:v>5.9859054573296024</c:v>
                </c:pt>
                <c:pt idx="169">
                  <c:v>4.9997223872251988</c:v>
                </c:pt>
                <c:pt idx="170">
                  <c:v>6.0103278301842487</c:v>
                </c:pt>
                <c:pt idx="171">
                  <c:v>7.1055740348015242</c:v>
                </c:pt>
                <c:pt idx="172">
                  <c:v>5.0173008044384222</c:v>
                </c:pt>
                <c:pt idx="173">
                  <c:v>6.1730306603458152</c:v>
                </c:pt>
                <c:pt idx="174">
                  <c:v>6.1826816457524929</c:v>
                </c:pt>
                <c:pt idx="175">
                  <c:v>4.9729191662701808</c:v>
                </c:pt>
                <c:pt idx="176">
                  <c:v>5.0330274337650973</c:v>
                </c:pt>
                <c:pt idx="177">
                  <c:v>7.1317304266108064</c:v>
                </c:pt>
                <c:pt idx="178">
                  <c:v>5.0889509198750593</c:v>
                </c:pt>
                <c:pt idx="179">
                  <c:v>6.8172523782089272</c:v>
                </c:pt>
                <c:pt idx="180">
                  <c:v>6.1648282916004895</c:v>
                </c:pt>
                <c:pt idx="181">
                  <c:v>6.9722014193880693</c:v>
                </c:pt>
                <c:pt idx="182">
                  <c:v>4.9969252129256176</c:v>
                </c:pt>
                <c:pt idx="183">
                  <c:v>4.8497439597186318</c:v>
                </c:pt>
                <c:pt idx="184">
                  <c:v>6.1491410038074044</c:v>
                </c:pt>
                <c:pt idx="185">
                  <c:v>6.8212694297105489</c:v>
                </c:pt>
                <c:pt idx="186">
                  <c:v>4.9067617809449633</c:v>
                </c:pt>
                <c:pt idx="187">
                  <c:v>5.9926035340808115</c:v>
                </c:pt>
                <c:pt idx="188">
                  <c:v>5.1682307987036351</c:v>
                </c:pt>
                <c:pt idx="189">
                  <c:v>4.9957825970204937</c:v>
                </c:pt>
                <c:pt idx="190">
                  <c:v>5.0982241597762847</c:v>
                </c:pt>
                <c:pt idx="191">
                  <c:v>6.0282998980335787</c:v>
                </c:pt>
                <c:pt idx="192">
                  <c:v>5.0541895358524371</c:v>
                </c:pt>
                <c:pt idx="193">
                  <c:v>4.9970709057776794</c:v>
                </c:pt>
                <c:pt idx="194">
                  <c:v>3.8003804184922676</c:v>
                </c:pt>
                <c:pt idx="195">
                  <c:v>7.0466582274554277</c:v>
                </c:pt>
                <c:pt idx="196">
                  <c:v>6.0212963952618574</c:v>
                </c:pt>
                <c:pt idx="197">
                  <c:v>4.793230031026722</c:v>
                </c:pt>
                <c:pt idx="198">
                  <c:v>6.080865798418067</c:v>
                </c:pt>
                <c:pt idx="199">
                  <c:v>4.8861636674611866</c:v>
                </c:pt>
                <c:pt idx="200">
                  <c:v>6.1234908645295203</c:v>
                </c:pt>
                <c:pt idx="201">
                  <c:v>4.999357389225942</c:v>
                </c:pt>
                <c:pt idx="202">
                  <c:v>5.980716292650639</c:v>
                </c:pt>
                <c:pt idx="203">
                  <c:v>6.0332082211200744</c:v>
                </c:pt>
                <c:pt idx="204">
                  <c:v>6.0915285932885723</c:v>
                </c:pt>
                <c:pt idx="205">
                  <c:v>6.0278542981032821</c:v>
                </c:pt>
                <c:pt idx="206">
                  <c:v>2.9477775731227913</c:v>
                </c:pt>
                <c:pt idx="207">
                  <c:v>6.0840400342303207</c:v>
                </c:pt>
                <c:pt idx="208">
                  <c:v>6.1682895985196717</c:v>
                </c:pt>
                <c:pt idx="209">
                  <c:v>5.0584110563120026</c:v>
                </c:pt>
                <c:pt idx="210">
                  <c:v>5.9020192961825133</c:v>
                </c:pt>
                <c:pt idx="211">
                  <c:v>5.0820017355251439</c:v>
                </c:pt>
                <c:pt idx="212">
                  <c:v>6.1041879349566557</c:v>
                </c:pt>
                <c:pt idx="213">
                  <c:v>4.842808517381517</c:v>
                </c:pt>
                <c:pt idx="214">
                  <c:v>5.0700700097661784</c:v>
                </c:pt>
                <c:pt idx="215">
                  <c:v>5.9056577603186318</c:v>
                </c:pt>
                <c:pt idx="216">
                  <c:v>5.9642940476681057</c:v>
                </c:pt>
                <c:pt idx="217">
                  <c:v>5.8165689246558028</c:v>
                </c:pt>
                <c:pt idx="218">
                  <c:v>6.0108322739224</c:v>
                </c:pt>
                <c:pt idx="219">
                  <c:v>4.8831536474413122</c:v>
                </c:pt>
                <c:pt idx="220">
                  <c:v>4.9390785790196503</c:v>
                </c:pt>
                <c:pt idx="221">
                  <c:v>6.8765981783800934</c:v>
                </c:pt>
                <c:pt idx="222">
                  <c:v>5.8793298720437672</c:v>
                </c:pt>
                <c:pt idx="223">
                  <c:v>5.962042194731616</c:v>
                </c:pt>
                <c:pt idx="224">
                  <c:v>7.1114495938419244</c:v>
                </c:pt>
                <c:pt idx="225">
                  <c:v>4.9892365360762199</c:v>
                </c:pt>
                <c:pt idx="226">
                  <c:v>4.9188345427678497</c:v>
                </c:pt>
                <c:pt idx="227">
                  <c:v>4.843636773135592</c:v>
                </c:pt>
                <c:pt idx="228">
                  <c:v>4.8146486174694072</c:v>
                </c:pt>
                <c:pt idx="229">
                  <c:v>6.9030673957482822</c:v>
                </c:pt>
                <c:pt idx="230">
                  <c:v>4.880718752787109</c:v>
                </c:pt>
                <c:pt idx="231">
                  <c:v>4.9002960353052485</c:v>
                </c:pt>
                <c:pt idx="232">
                  <c:v>4.7193027084078878</c:v>
                </c:pt>
                <c:pt idx="233">
                  <c:v>2.8697434451342234</c:v>
                </c:pt>
                <c:pt idx="234">
                  <c:v>5.0756071344489966</c:v>
                </c:pt>
                <c:pt idx="235">
                  <c:v>5.8944544926968101</c:v>
                </c:pt>
                <c:pt idx="236">
                  <c:v>4.9127453877650717</c:v>
                </c:pt>
                <c:pt idx="237">
                  <c:v>4.8017985781301844</c:v>
                </c:pt>
                <c:pt idx="238">
                  <c:v>5.9327315458412953</c:v>
                </c:pt>
                <c:pt idx="239">
                  <c:v>5.9041896594131291</c:v>
                </c:pt>
                <c:pt idx="240">
                  <c:v>4.8016771338059607</c:v>
                </c:pt>
                <c:pt idx="241">
                  <c:v>5.9641380952762617</c:v>
                </c:pt>
                <c:pt idx="242">
                  <c:v>5.952300035164785</c:v>
                </c:pt>
                <c:pt idx="243">
                  <c:v>6.0619676921819243</c:v>
                </c:pt>
                <c:pt idx="244">
                  <c:v>6.0111006631843953</c:v>
                </c:pt>
                <c:pt idx="245">
                  <c:v>4.851244598195402</c:v>
                </c:pt>
                <c:pt idx="246">
                  <c:v>4.9906080186302466</c:v>
                </c:pt>
                <c:pt idx="247">
                  <c:v>4.9064243993438685</c:v>
                </c:pt>
                <c:pt idx="248">
                  <c:v>5.8970273293123032</c:v>
                </c:pt>
                <c:pt idx="249">
                  <c:v>5.0452739296327449</c:v>
                </c:pt>
                <c:pt idx="250">
                  <c:v>5.1689640835037789</c:v>
                </c:pt>
                <c:pt idx="251">
                  <c:v>5.7823981166963154</c:v>
                </c:pt>
                <c:pt idx="252">
                  <c:v>5.9882387546657707</c:v>
                </c:pt>
                <c:pt idx="253">
                  <c:v>4.9312738496139774</c:v>
                </c:pt>
                <c:pt idx="254">
                  <c:v>4.9625860723113746</c:v>
                </c:pt>
                <c:pt idx="255">
                  <c:v>5.0109173225453576</c:v>
                </c:pt>
                <c:pt idx="256">
                  <c:v>5.2733558191826919</c:v>
                </c:pt>
                <c:pt idx="257">
                  <c:v>4.9274546571206894</c:v>
                </c:pt>
                <c:pt idx="258">
                  <c:v>5.9450012077590904</c:v>
                </c:pt>
                <c:pt idx="259">
                  <c:v>4.7775452926105935</c:v>
                </c:pt>
                <c:pt idx="260">
                  <c:v>5.073238990658262</c:v>
                </c:pt>
                <c:pt idx="261">
                  <c:v>5.0522821710366914</c:v>
                </c:pt>
                <c:pt idx="262">
                  <c:v>5.2364283529770788</c:v>
                </c:pt>
                <c:pt idx="263">
                  <c:v>5.0524473201889153</c:v>
                </c:pt>
                <c:pt idx="264">
                  <c:v>5.9465842556328274</c:v>
                </c:pt>
                <c:pt idx="265">
                  <c:v>4.8895291818552256</c:v>
                </c:pt>
                <c:pt idx="266">
                  <c:v>5.0805123652886399</c:v>
                </c:pt>
                <c:pt idx="267">
                  <c:v>4.8794320382777912</c:v>
                </c:pt>
                <c:pt idx="268">
                  <c:v>5.01838177870472</c:v>
                </c:pt>
                <c:pt idx="269">
                  <c:v>4.9918274488573955</c:v>
                </c:pt>
                <c:pt idx="270">
                  <c:v>6.1200409172211074</c:v>
                </c:pt>
                <c:pt idx="271">
                  <c:v>5.932653920391326</c:v>
                </c:pt>
                <c:pt idx="272">
                  <c:v>5.9701727787049306</c:v>
                </c:pt>
                <c:pt idx="273">
                  <c:v>6.1478878161993809</c:v>
                </c:pt>
                <c:pt idx="274">
                  <c:v>4.8317009545328231</c:v>
                </c:pt>
                <c:pt idx="275">
                  <c:v>2.9634620591025471</c:v>
                </c:pt>
                <c:pt idx="276">
                  <c:v>3.9806464797880272</c:v>
                </c:pt>
                <c:pt idx="277">
                  <c:v>5.9867573979320845</c:v>
                </c:pt>
                <c:pt idx="278">
                  <c:v>6.0781911475850325</c:v>
                </c:pt>
                <c:pt idx="279">
                  <c:v>6.0342051834257191</c:v>
                </c:pt>
                <c:pt idx="280">
                  <c:v>5.9271561542908229</c:v>
                </c:pt>
                <c:pt idx="281">
                  <c:v>6.1122342121904909</c:v>
                </c:pt>
                <c:pt idx="282">
                  <c:v>5.815451475759053</c:v>
                </c:pt>
                <c:pt idx="283">
                  <c:v>5.8798628396886503</c:v>
                </c:pt>
                <c:pt idx="284">
                  <c:v>4.9700053532855195</c:v>
                </c:pt>
                <c:pt idx="285">
                  <c:v>5.1303753972439967</c:v>
                </c:pt>
                <c:pt idx="286">
                  <c:v>4.9920553925093136</c:v>
                </c:pt>
                <c:pt idx="287">
                  <c:v>6.9827118123280414</c:v>
                </c:pt>
                <c:pt idx="288">
                  <c:v>5.9880190527504773</c:v>
                </c:pt>
                <c:pt idx="289">
                  <c:v>3.9919881112683298</c:v>
                </c:pt>
                <c:pt idx="290">
                  <c:v>6.0840417778173324</c:v>
                </c:pt>
                <c:pt idx="291">
                  <c:v>6.0194571192955193</c:v>
                </c:pt>
                <c:pt idx="292">
                  <c:v>6.1022896422957089</c:v>
                </c:pt>
                <c:pt idx="293">
                  <c:v>5.0392997264935273</c:v>
                </c:pt>
                <c:pt idx="294">
                  <c:v>6.0363952575660953</c:v>
                </c:pt>
                <c:pt idx="295">
                  <c:v>4.9871365582278697</c:v>
                </c:pt>
                <c:pt idx="296">
                  <c:v>6.0088966354097133</c:v>
                </c:pt>
                <c:pt idx="297">
                  <c:v>5.0622778632756074</c:v>
                </c:pt>
                <c:pt idx="298">
                  <c:v>3.9427991134193787</c:v>
                </c:pt>
                <c:pt idx="299">
                  <c:v>4.8892441963980575</c:v>
                </c:pt>
                <c:pt idx="300">
                  <c:v>5.0413153770015597</c:v>
                </c:pt>
                <c:pt idx="301">
                  <c:v>5.0652707849752199</c:v>
                </c:pt>
                <c:pt idx="302">
                  <c:v>5.0239740289447949</c:v>
                </c:pt>
                <c:pt idx="303">
                  <c:v>5.968839313017182</c:v>
                </c:pt>
                <c:pt idx="304">
                  <c:v>6.033625409387751</c:v>
                </c:pt>
                <c:pt idx="305">
                  <c:v>4.9154251328101868</c:v>
                </c:pt>
                <c:pt idx="306">
                  <c:v>5.0960135237818402</c:v>
                </c:pt>
                <c:pt idx="307">
                  <c:v>4.9013306189490136</c:v>
                </c:pt>
                <c:pt idx="308">
                  <c:v>5.8767408005972879</c:v>
                </c:pt>
                <c:pt idx="309">
                  <c:v>3.8219548454663124</c:v>
                </c:pt>
                <c:pt idx="310">
                  <c:v>5.1852830532321361</c:v>
                </c:pt>
                <c:pt idx="311">
                  <c:v>5.9895204201191588</c:v>
                </c:pt>
                <c:pt idx="312">
                  <c:v>6.2069554504064888</c:v>
                </c:pt>
                <c:pt idx="313">
                  <c:v>5.161462854999523</c:v>
                </c:pt>
                <c:pt idx="314">
                  <c:v>5.1493373094064729</c:v>
                </c:pt>
                <c:pt idx="315">
                  <c:v>4.8440120114589256</c:v>
                </c:pt>
                <c:pt idx="316">
                  <c:v>3.9032997784716916</c:v>
                </c:pt>
                <c:pt idx="317">
                  <c:v>4.9576213770016144</c:v>
                </c:pt>
                <c:pt idx="318">
                  <c:v>4.8503244241720846</c:v>
                </c:pt>
                <c:pt idx="319">
                  <c:v>5.9600145107325364</c:v>
                </c:pt>
                <c:pt idx="320">
                  <c:v>5.8987295344287523</c:v>
                </c:pt>
                <c:pt idx="321">
                  <c:v>6.057050866882923</c:v>
                </c:pt>
                <c:pt idx="322">
                  <c:v>6.0487230419033526</c:v>
                </c:pt>
                <c:pt idx="323">
                  <c:v>6.1336847944682846</c:v>
                </c:pt>
                <c:pt idx="324">
                  <c:v>6.9544399674089181</c:v>
                </c:pt>
                <c:pt idx="325">
                  <c:v>4.808816710036723</c:v>
                </c:pt>
                <c:pt idx="326">
                  <c:v>4.9794913942623946</c:v>
                </c:pt>
                <c:pt idx="327">
                  <c:v>6.1644405081891041</c:v>
                </c:pt>
                <c:pt idx="328">
                  <c:v>3.9218760587372112</c:v>
                </c:pt>
                <c:pt idx="329">
                  <c:v>4.8872602261411595</c:v>
                </c:pt>
                <c:pt idx="330">
                  <c:v>4.9853337761105507</c:v>
                </c:pt>
                <c:pt idx="331">
                  <c:v>7.065037717679794</c:v>
                </c:pt>
                <c:pt idx="332">
                  <c:v>5.2737874926974966</c:v>
                </c:pt>
                <c:pt idx="333">
                  <c:v>6.0572261608642428</c:v>
                </c:pt>
                <c:pt idx="334">
                  <c:v>4.8764830148170111</c:v>
                </c:pt>
                <c:pt idx="335">
                  <c:v>5.9679167828210709</c:v>
                </c:pt>
                <c:pt idx="336">
                  <c:v>5.1131043128302176</c:v>
                </c:pt>
                <c:pt idx="337">
                  <c:v>6.1343592522027919</c:v>
                </c:pt>
                <c:pt idx="338">
                  <c:v>6.0301297223411812</c:v>
                </c:pt>
                <c:pt idx="339">
                  <c:v>4.9457066337093911</c:v>
                </c:pt>
                <c:pt idx="340">
                  <c:v>5.0605160671991198</c:v>
                </c:pt>
                <c:pt idx="341">
                  <c:v>5.9550894755082133</c:v>
                </c:pt>
                <c:pt idx="342">
                  <c:v>6.0746855578257133</c:v>
                </c:pt>
                <c:pt idx="343">
                  <c:v>6.0978608957887674</c:v>
                </c:pt>
                <c:pt idx="344">
                  <c:v>5.8756101884225522</c:v>
                </c:pt>
                <c:pt idx="345">
                  <c:v>4.9188368870531995</c:v>
                </c:pt>
                <c:pt idx="346">
                  <c:v>5.0844212910354836</c:v>
                </c:pt>
                <c:pt idx="347">
                  <c:v>4.9181079764859836</c:v>
                </c:pt>
                <c:pt idx="348">
                  <c:v>5.044646254830921</c:v>
                </c:pt>
                <c:pt idx="349">
                  <c:v>5.8356833278369562</c:v>
                </c:pt>
                <c:pt idx="350">
                  <c:v>5.0884302924375566</c:v>
                </c:pt>
                <c:pt idx="351">
                  <c:v>5.0422446718746547</c:v>
                </c:pt>
                <c:pt idx="352">
                  <c:v>4.9106652376792059</c:v>
                </c:pt>
                <c:pt idx="353">
                  <c:v>6.0630771991423824</c:v>
                </c:pt>
                <c:pt idx="354">
                  <c:v>6.1129968480713783</c:v>
                </c:pt>
                <c:pt idx="355">
                  <c:v>6.0094966980013664</c:v>
                </c:pt>
                <c:pt idx="356">
                  <c:v>4.9610035780420514</c:v>
                </c:pt>
                <c:pt idx="357">
                  <c:v>4.9157121492655946</c:v>
                </c:pt>
                <c:pt idx="358">
                  <c:v>5.8033729384724273</c:v>
                </c:pt>
                <c:pt idx="359">
                  <c:v>4.9302084871776231</c:v>
                </c:pt>
                <c:pt idx="360">
                  <c:v>6.1025270978055346</c:v>
                </c:pt>
                <c:pt idx="361">
                  <c:v>5.0724853358064692</c:v>
                </c:pt>
                <c:pt idx="362">
                  <c:v>5.9053768351829614</c:v>
                </c:pt>
                <c:pt idx="363">
                  <c:v>5.926839235613806</c:v>
                </c:pt>
                <c:pt idx="364">
                  <c:v>6.0328040695080274</c:v>
                </c:pt>
                <c:pt idx="365">
                  <c:v>5.0406055666312701</c:v>
                </c:pt>
                <c:pt idx="366">
                  <c:v>4.9025989861004344</c:v>
                </c:pt>
                <c:pt idx="367">
                  <c:v>5.0939324641028891</c:v>
                </c:pt>
                <c:pt idx="368">
                  <c:v>4.9662255802727948</c:v>
                </c:pt>
                <c:pt idx="369">
                  <c:v>4.8765438556883014</c:v>
                </c:pt>
                <c:pt idx="370">
                  <c:v>4.9015945723515708</c:v>
                </c:pt>
                <c:pt idx="371">
                  <c:v>5.9417459041058338</c:v>
                </c:pt>
                <c:pt idx="372">
                  <c:v>4.9331555610057825</c:v>
                </c:pt>
                <c:pt idx="373">
                  <c:v>4.7366043874871453</c:v>
                </c:pt>
                <c:pt idx="374">
                  <c:v>6.0078344154387979</c:v>
                </c:pt>
                <c:pt idx="375">
                  <c:v>6.0603739624748609</c:v>
                </c:pt>
                <c:pt idx="376">
                  <c:v>6.0991121085320419</c:v>
                </c:pt>
                <c:pt idx="377">
                  <c:v>5.9089415303033306</c:v>
                </c:pt>
                <c:pt idx="378">
                  <c:v>5.0495417255407711</c:v>
                </c:pt>
                <c:pt idx="379">
                  <c:v>6.93794890130473</c:v>
                </c:pt>
                <c:pt idx="380">
                  <c:v>6.0602720675591666</c:v>
                </c:pt>
                <c:pt idx="381">
                  <c:v>5.0993048867104873</c:v>
                </c:pt>
                <c:pt idx="382">
                  <c:v>4.9905666272203675</c:v>
                </c:pt>
                <c:pt idx="383">
                  <c:v>6.1090324312273285</c:v>
                </c:pt>
                <c:pt idx="384">
                  <c:v>5.9780361767082599</c:v>
                </c:pt>
                <c:pt idx="385">
                  <c:v>5.8890602924289173</c:v>
                </c:pt>
                <c:pt idx="386">
                  <c:v>5.056646385808234</c:v>
                </c:pt>
                <c:pt idx="387">
                  <c:v>5.284458925171287</c:v>
                </c:pt>
                <c:pt idx="388">
                  <c:v>5.1113687628078281</c:v>
                </c:pt>
                <c:pt idx="389">
                  <c:v>4.9183420952386276</c:v>
                </c:pt>
                <c:pt idx="390">
                  <c:v>5.030871823904314</c:v>
                </c:pt>
                <c:pt idx="391">
                  <c:v>4.8765433610651749</c:v>
                </c:pt>
                <c:pt idx="392">
                  <c:v>7.0124312933875661</c:v>
                </c:pt>
                <c:pt idx="393">
                  <c:v>7.0693160854753057</c:v>
                </c:pt>
                <c:pt idx="394">
                  <c:v>6.9371584626636755</c:v>
                </c:pt>
                <c:pt idx="395">
                  <c:v>6.0898278013704354</c:v>
                </c:pt>
                <c:pt idx="396">
                  <c:v>6.0426094078689827</c:v>
                </c:pt>
                <c:pt idx="397">
                  <c:v>5.9611745825794724</c:v>
                </c:pt>
                <c:pt idx="398">
                  <c:v>7.0412816939840264</c:v>
                </c:pt>
                <c:pt idx="399">
                  <c:v>4.9447325019026582</c:v>
                </c:pt>
                <c:pt idx="400">
                  <c:v>6.2075700765928659</c:v>
                </c:pt>
                <c:pt idx="401">
                  <c:v>5.0110885648677801</c:v>
                </c:pt>
                <c:pt idx="402">
                  <c:v>4.9623912758908704</c:v>
                </c:pt>
                <c:pt idx="403">
                  <c:v>6.9167230423717045</c:v>
                </c:pt>
                <c:pt idx="404">
                  <c:v>5.9956243446709019</c:v>
                </c:pt>
                <c:pt idx="405">
                  <c:v>3.9446384928454195</c:v>
                </c:pt>
                <c:pt idx="406">
                  <c:v>3.9870649018227589</c:v>
                </c:pt>
                <c:pt idx="407">
                  <c:v>5.0742112911596777</c:v>
                </c:pt>
                <c:pt idx="408">
                  <c:v>1.7600022717928372</c:v>
                </c:pt>
                <c:pt idx="409">
                  <c:v>5.9346645359748305</c:v>
                </c:pt>
                <c:pt idx="410">
                  <c:v>6.0801702978504073</c:v>
                </c:pt>
                <c:pt idx="411">
                  <c:v>5.0839586460577895</c:v>
                </c:pt>
                <c:pt idx="412">
                  <c:v>4.9558819881149896</c:v>
                </c:pt>
                <c:pt idx="413">
                  <c:v>4.8559971816590046</c:v>
                </c:pt>
                <c:pt idx="414">
                  <c:v>5.0313173037435819</c:v>
                </c:pt>
                <c:pt idx="415">
                  <c:v>6.1549351502432712</c:v>
                </c:pt>
                <c:pt idx="416">
                  <c:v>4.8927343512993247</c:v>
                </c:pt>
                <c:pt idx="417">
                  <c:v>5.8652685620920781</c:v>
                </c:pt>
                <c:pt idx="418">
                  <c:v>4.7475229628460927</c:v>
                </c:pt>
                <c:pt idx="419">
                  <c:v>6.1363518309517993</c:v>
                </c:pt>
                <c:pt idx="420">
                  <c:v>6.2697334490773962</c:v>
                </c:pt>
                <c:pt idx="421">
                  <c:v>6.0831397145979444</c:v>
                </c:pt>
                <c:pt idx="422">
                  <c:v>4.8768987171812483</c:v>
                </c:pt>
                <c:pt idx="423">
                  <c:v>4.9988179492249971</c:v>
                </c:pt>
                <c:pt idx="424">
                  <c:v>5.1273767037704152</c:v>
                </c:pt>
                <c:pt idx="425">
                  <c:v>6.0770025717210405</c:v>
                </c:pt>
                <c:pt idx="426">
                  <c:v>5.0407145733156238</c:v>
                </c:pt>
                <c:pt idx="427">
                  <c:v>6.0124995025209005</c:v>
                </c:pt>
                <c:pt idx="428">
                  <c:v>4.95841273892598</c:v>
                </c:pt>
                <c:pt idx="429">
                  <c:v>5.9838594759965966</c:v>
                </c:pt>
                <c:pt idx="430">
                  <c:v>5.1257689989498116</c:v>
                </c:pt>
                <c:pt idx="431">
                  <c:v>6.1442562333815882</c:v>
                </c:pt>
                <c:pt idx="432">
                  <c:v>4.9527336553167869</c:v>
                </c:pt>
                <c:pt idx="433">
                  <c:v>4.8830023036906276</c:v>
                </c:pt>
                <c:pt idx="434">
                  <c:v>6.0424297172320465</c:v>
                </c:pt>
                <c:pt idx="435">
                  <c:v>7.0730754837387675</c:v>
                </c:pt>
                <c:pt idx="436">
                  <c:v>5.1106844708238697</c:v>
                </c:pt>
                <c:pt idx="437">
                  <c:v>4.9243033397499616</c:v>
                </c:pt>
                <c:pt idx="438">
                  <c:v>7.142942607756491</c:v>
                </c:pt>
                <c:pt idx="439">
                  <c:v>4.9392168898925641</c:v>
                </c:pt>
                <c:pt idx="440">
                  <c:v>4.9087847398426492</c:v>
                </c:pt>
                <c:pt idx="441">
                  <c:v>4.9832167176425646</c:v>
                </c:pt>
                <c:pt idx="442">
                  <c:v>4.976125437489392</c:v>
                </c:pt>
                <c:pt idx="443">
                  <c:v>6.9590335179699041</c:v>
                </c:pt>
                <c:pt idx="444">
                  <c:v>5.9202017444246904</c:v>
                </c:pt>
                <c:pt idx="445">
                  <c:v>4.9046364658992578</c:v>
                </c:pt>
                <c:pt idx="446">
                  <c:v>4.7539650406056442</c:v>
                </c:pt>
                <c:pt idx="447">
                  <c:v>4.8640678087130818</c:v>
                </c:pt>
                <c:pt idx="448">
                  <c:v>4.9710367438373471</c:v>
                </c:pt>
                <c:pt idx="449">
                  <c:v>5.046449567870396</c:v>
                </c:pt>
                <c:pt idx="450">
                  <c:v>6.0133449032723583</c:v>
                </c:pt>
                <c:pt idx="451">
                  <c:v>4.9882724840849413</c:v>
                </c:pt>
                <c:pt idx="452">
                  <c:v>6.0699392675876291</c:v>
                </c:pt>
                <c:pt idx="453">
                  <c:v>5.9879698578349432</c:v>
                </c:pt>
                <c:pt idx="454">
                  <c:v>4.8818067925804618</c:v>
                </c:pt>
                <c:pt idx="455">
                  <c:v>5.1562528075250125</c:v>
                </c:pt>
                <c:pt idx="456">
                  <c:v>5.0053652935344379</c:v>
                </c:pt>
                <c:pt idx="457">
                  <c:v>5.8727677645621474</c:v>
                </c:pt>
                <c:pt idx="458">
                  <c:v>5.0227111564056708</c:v>
                </c:pt>
                <c:pt idx="459">
                  <c:v>5.1001965331268959</c:v>
                </c:pt>
                <c:pt idx="460">
                  <c:v>5.9644951933147752</c:v>
                </c:pt>
                <c:pt idx="461">
                  <c:v>5.932992221100875</c:v>
                </c:pt>
                <c:pt idx="462">
                  <c:v>5.9399762568550099</c:v>
                </c:pt>
                <c:pt idx="463">
                  <c:v>6.2171061850162017</c:v>
                </c:pt>
                <c:pt idx="464">
                  <c:v>4.9800882624731342</c:v>
                </c:pt>
                <c:pt idx="465">
                  <c:v>5.8591225369495694</c:v>
                </c:pt>
                <c:pt idx="466">
                  <c:v>7.0686959545127346</c:v>
                </c:pt>
                <c:pt idx="467">
                  <c:v>4.8891792626019779</c:v>
                </c:pt>
                <c:pt idx="468">
                  <c:v>2.0789821234075188</c:v>
                </c:pt>
                <c:pt idx="469">
                  <c:v>5.144535094063575</c:v>
                </c:pt>
                <c:pt idx="470">
                  <c:v>5.8112500471987278</c:v>
                </c:pt>
                <c:pt idx="471">
                  <c:v>5.0253740512820171</c:v>
                </c:pt>
                <c:pt idx="472">
                  <c:v>5.0038668143292737</c:v>
                </c:pt>
                <c:pt idx="473">
                  <c:v>5.9977404018087057</c:v>
                </c:pt>
                <c:pt idx="474">
                  <c:v>4.9569426596837083</c:v>
                </c:pt>
                <c:pt idx="475">
                  <c:v>7.1971207960538592</c:v>
                </c:pt>
                <c:pt idx="476">
                  <c:v>5.9641893202534995</c:v>
                </c:pt>
                <c:pt idx="477">
                  <c:v>7.0047404854594966</c:v>
                </c:pt>
                <c:pt idx="478">
                  <c:v>6.0773687954956026</c:v>
                </c:pt>
                <c:pt idx="479">
                  <c:v>4.8875322584532306</c:v>
                </c:pt>
                <c:pt idx="480">
                  <c:v>4.8729472162900382</c:v>
                </c:pt>
                <c:pt idx="481">
                  <c:v>4.955627760016867</c:v>
                </c:pt>
                <c:pt idx="482">
                  <c:v>4.0566347213905187</c:v>
                </c:pt>
                <c:pt idx="483">
                  <c:v>4.8760667485759575</c:v>
                </c:pt>
                <c:pt idx="484">
                  <c:v>5.1049491871044372</c:v>
                </c:pt>
                <c:pt idx="485">
                  <c:v>5.7092205972022043</c:v>
                </c:pt>
                <c:pt idx="486">
                  <c:v>4.9594590522043731</c:v>
                </c:pt>
                <c:pt idx="487">
                  <c:v>4.9845482241049632</c:v>
                </c:pt>
                <c:pt idx="488">
                  <c:v>6.0150473616108071</c:v>
                </c:pt>
                <c:pt idx="489">
                  <c:v>4.174348773748056</c:v>
                </c:pt>
                <c:pt idx="490">
                  <c:v>6.9914659195835176</c:v>
                </c:pt>
                <c:pt idx="491">
                  <c:v>5.9400590151004051</c:v>
                </c:pt>
                <c:pt idx="492">
                  <c:v>4.9900032418761509</c:v>
                </c:pt>
                <c:pt idx="493">
                  <c:v>5.9498861002395707</c:v>
                </c:pt>
                <c:pt idx="494">
                  <c:v>4.8429191507405829</c:v>
                </c:pt>
                <c:pt idx="495">
                  <c:v>6.010832665229441</c:v>
                </c:pt>
                <c:pt idx="496">
                  <c:v>5.0234638782179513</c:v>
                </c:pt>
                <c:pt idx="497">
                  <c:v>5.9791631416215747</c:v>
                </c:pt>
                <c:pt idx="498">
                  <c:v>5.8490511271560894</c:v>
                </c:pt>
                <c:pt idx="499">
                  <c:v>4.8819831735620518</c:v>
                </c:pt>
                <c:pt idx="500">
                  <c:v>5.99716102455087</c:v>
                </c:pt>
                <c:pt idx="501">
                  <c:v>4.9830454288073369</c:v>
                </c:pt>
                <c:pt idx="502">
                  <c:v>4.9558829228165244</c:v>
                </c:pt>
                <c:pt idx="503">
                  <c:v>6.0557071127145399</c:v>
                </c:pt>
                <c:pt idx="504">
                  <c:v>6.0418878242014182</c:v>
                </c:pt>
                <c:pt idx="505">
                  <c:v>4.9783429164453548</c:v>
                </c:pt>
                <c:pt idx="506">
                  <c:v>5.8539470259696778</c:v>
                </c:pt>
                <c:pt idx="507">
                  <c:v>5.9516471558783577</c:v>
                </c:pt>
                <c:pt idx="508">
                  <c:v>5.9596734318073983</c:v>
                </c:pt>
                <c:pt idx="509">
                  <c:v>4.9641565685302149</c:v>
                </c:pt>
                <c:pt idx="510">
                  <c:v>6.9370217508740888</c:v>
                </c:pt>
                <c:pt idx="511">
                  <c:v>4.9280293121360668</c:v>
                </c:pt>
                <c:pt idx="512">
                  <c:v>4.9972366971669961</c:v>
                </c:pt>
                <c:pt idx="513">
                  <c:v>4.9268457886269648</c:v>
                </c:pt>
                <c:pt idx="514">
                  <c:v>5.9818627829398769</c:v>
                </c:pt>
                <c:pt idx="515">
                  <c:v>5.8209843973272148</c:v>
                </c:pt>
                <c:pt idx="516">
                  <c:v>5.9691501049851512</c:v>
                </c:pt>
                <c:pt idx="517">
                  <c:v>5.864935341405797</c:v>
                </c:pt>
                <c:pt idx="518">
                  <c:v>4.9843645371099674</c:v>
                </c:pt>
                <c:pt idx="519">
                  <c:v>4.09479677216813</c:v>
                </c:pt>
                <c:pt idx="520">
                  <c:v>6.1147883997539214</c:v>
                </c:pt>
                <c:pt idx="521">
                  <c:v>6.1117924724012855</c:v>
                </c:pt>
                <c:pt idx="522">
                  <c:v>5.1571815579707181</c:v>
                </c:pt>
                <c:pt idx="523">
                  <c:v>6.0620587845262177</c:v>
                </c:pt>
                <c:pt idx="524">
                  <c:v>4.9390376884006697</c:v>
                </c:pt>
                <c:pt idx="525">
                  <c:v>6.0779986422861629</c:v>
                </c:pt>
                <c:pt idx="526">
                  <c:v>6.0761853083399675</c:v>
                </c:pt>
                <c:pt idx="527">
                  <c:v>5.836437396181795</c:v>
                </c:pt>
                <c:pt idx="528">
                  <c:v>5.089248381933249</c:v>
                </c:pt>
                <c:pt idx="529">
                  <c:v>4.8920484673590945</c:v>
                </c:pt>
                <c:pt idx="530">
                  <c:v>5.0069960578263428</c:v>
                </c:pt>
                <c:pt idx="531">
                  <c:v>5.0705690019953193</c:v>
                </c:pt>
                <c:pt idx="532">
                  <c:v>5.9311126295820946</c:v>
                </c:pt>
                <c:pt idx="533">
                  <c:v>6.1071057909256607</c:v>
                </c:pt>
                <c:pt idx="534">
                  <c:v>7.1907957106306268</c:v>
                </c:pt>
                <c:pt idx="535">
                  <c:v>5.967270109776976</c:v>
                </c:pt>
                <c:pt idx="536">
                  <c:v>6.8813375871100027</c:v>
                </c:pt>
                <c:pt idx="537">
                  <c:v>6.1119370594381772</c:v>
                </c:pt>
                <c:pt idx="538">
                  <c:v>4.9812148007211556</c:v>
                </c:pt>
                <c:pt idx="539">
                  <c:v>4.9429126646839352</c:v>
                </c:pt>
                <c:pt idx="540">
                  <c:v>4.9320082423108946</c:v>
                </c:pt>
                <c:pt idx="541">
                  <c:v>6.0601631704968622</c:v>
                </c:pt>
                <c:pt idx="542">
                  <c:v>6.0556232472663432</c:v>
                </c:pt>
                <c:pt idx="543">
                  <c:v>5.1511358126799012</c:v>
                </c:pt>
                <c:pt idx="544">
                  <c:v>6.1293449254959667</c:v>
                </c:pt>
                <c:pt idx="545">
                  <c:v>4.9243692058923338</c:v>
                </c:pt>
                <c:pt idx="546">
                  <c:v>6.1027027544233379</c:v>
                </c:pt>
                <c:pt idx="547">
                  <c:v>6.0018490055461706</c:v>
                </c:pt>
                <c:pt idx="548">
                  <c:v>5.9663473222944203</c:v>
                </c:pt>
                <c:pt idx="549">
                  <c:v>6.1427213087020904</c:v>
                </c:pt>
                <c:pt idx="550">
                  <c:v>5.0047458646239464</c:v>
                </c:pt>
                <c:pt idx="551">
                  <c:v>5.8326016540467611</c:v>
                </c:pt>
                <c:pt idx="552">
                  <c:v>5.0193388266842085</c:v>
                </c:pt>
                <c:pt idx="553">
                  <c:v>6.0663035500825657</c:v>
                </c:pt>
                <c:pt idx="554">
                  <c:v>7.0357569489189942</c:v>
                </c:pt>
                <c:pt idx="555">
                  <c:v>5.9285337621616705</c:v>
                </c:pt>
                <c:pt idx="556">
                  <c:v>4.1234153126108888</c:v>
                </c:pt>
                <c:pt idx="557">
                  <c:v>5.8927965560181841</c:v>
                </c:pt>
                <c:pt idx="558">
                  <c:v>4.9718655718117288</c:v>
                </c:pt>
                <c:pt idx="559">
                  <c:v>7.1178711692216599</c:v>
                </c:pt>
                <c:pt idx="560">
                  <c:v>5.92141689027462</c:v>
                </c:pt>
                <c:pt idx="561">
                  <c:v>6.9773375268472062</c:v>
                </c:pt>
                <c:pt idx="562">
                  <c:v>7.0036115778822632</c:v>
                </c:pt>
                <c:pt idx="563">
                  <c:v>6.0197897211962292</c:v>
                </c:pt>
                <c:pt idx="564">
                  <c:v>6.1235295898718629</c:v>
                </c:pt>
                <c:pt idx="565">
                  <c:v>5.0927209876131938</c:v>
                </c:pt>
                <c:pt idx="566">
                  <c:v>5.1281030787682367</c:v>
                </c:pt>
                <c:pt idx="567">
                  <c:v>6.8730891328019066</c:v>
                </c:pt>
                <c:pt idx="568">
                  <c:v>5.9686392646104345</c:v>
                </c:pt>
                <c:pt idx="569">
                  <c:v>4.971714375725556</c:v>
                </c:pt>
                <c:pt idx="570">
                  <c:v>5.8854602361295667</c:v>
                </c:pt>
                <c:pt idx="571">
                  <c:v>7.0398045222047756</c:v>
                </c:pt>
                <c:pt idx="572">
                  <c:v>5.9335411534803546</c:v>
                </c:pt>
                <c:pt idx="573">
                  <c:v>6.0035084357344166</c:v>
                </c:pt>
                <c:pt idx="574">
                  <c:v>7.1612744563814932</c:v>
                </c:pt>
                <c:pt idx="575">
                  <c:v>5.9452007217816636</c:v>
                </c:pt>
                <c:pt idx="576">
                  <c:v>7.055492723278312</c:v>
                </c:pt>
                <c:pt idx="577">
                  <c:v>5.8867145007453718</c:v>
                </c:pt>
                <c:pt idx="578">
                  <c:v>6.980548029110988</c:v>
                </c:pt>
                <c:pt idx="579">
                  <c:v>5.8752362394512714</c:v>
                </c:pt>
                <c:pt idx="580">
                  <c:v>5.8603638362785668</c:v>
                </c:pt>
                <c:pt idx="581">
                  <c:v>5.8677916975003814</c:v>
                </c:pt>
                <c:pt idx="582">
                  <c:v>5.9861379334826763</c:v>
                </c:pt>
                <c:pt idx="583">
                  <c:v>7.0565611747645836</c:v>
                </c:pt>
                <c:pt idx="584">
                  <c:v>5.8768930731023001</c:v>
                </c:pt>
                <c:pt idx="585">
                  <c:v>7.0621236672951646</c:v>
                </c:pt>
                <c:pt idx="586">
                  <c:v>5.089166866244045</c:v>
                </c:pt>
                <c:pt idx="587">
                  <c:v>5.9636188153419383</c:v>
                </c:pt>
                <c:pt idx="588">
                  <c:v>4.8648246674029867</c:v>
                </c:pt>
                <c:pt idx="589">
                  <c:v>6.0143599725321515</c:v>
                </c:pt>
                <c:pt idx="590">
                  <c:v>4.8998527678363448</c:v>
                </c:pt>
                <c:pt idx="591">
                  <c:v>6.8797959050947535</c:v>
                </c:pt>
                <c:pt idx="592">
                  <c:v>5.029047616128377</c:v>
                </c:pt>
                <c:pt idx="593">
                  <c:v>7.0347699581971446</c:v>
                </c:pt>
                <c:pt idx="594">
                  <c:v>4.8291517897494671</c:v>
                </c:pt>
                <c:pt idx="595">
                  <c:v>4.031403780656226</c:v>
                </c:pt>
                <c:pt idx="596">
                  <c:v>6.1269427418719715</c:v>
                </c:pt>
                <c:pt idx="597">
                  <c:v>4.9142345699245169</c:v>
                </c:pt>
                <c:pt idx="598">
                  <c:v>6.1943912085750386</c:v>
                </c:pt>
                <c:pt idx="599">
                  <c:v>6.7639804192699682</c:v>
                </c:pt>
                <c:pt idx="600">
                  <c:v>5.7436495356945851</c:v>
                </c:pt>
                <c:pt idx="601">
                  <c:v>5.9006472239152803</c:v>
                </c:pt>
                <c:pt idx="602">
                  <c:v>6.8903700477329828</c:v>
                </c:pt>
                <c:pt idx="603">
                  <c:v>5.9847035858058328</c:v>
                </c:pt>
                <c:pt idx="604">
                  <c:v>6.1014073460012321</c:v>
                </c:pt>
                <c:pt idx="605">
                  <c:v>6.9476119244658614</c:v>
                </c:pt>
                <c:pt idx="606">
                  <c:v>5.9183023279340778</c:v>
                </c:pt>
                <c:pt idx="607">
                  <c:v>6.9949621686481036</c:v>
                </c:pt>
                <c:pt idx="608">
                  <c:v>4.8182265516766343</c:v>
                </c:pt>
                <c:pt idx="609">
                  <c:v>6.0707340111036299</c:v>
                </c:pt>
                <c:pt idx="610">
                  <c:v>5.0141668880829009</c:v>
                </c:pt>
                <c:pt idx="611">
                  <c:v>6.0134030899012973</c:v>
                </c:pt>
                <c:pt idx="612">
                  <c:v>5.7998851498196577</c:v>
                </c:pt>
                <c:pt idx="613">
                  <c:v>5.9863590122170613</c:v>
                </c:pt>
                <c:pt idx="614">
                  <c:v>4.9356085556178781</c:v>
                </c:pt>
                <c:pt idx="615">
                  <c:v>4.8900164311956553</c:v>
                </c:pt>
                <c:pt idx="616">
                  <c:v>7.1121094455930685</c:v>
                </c:pt>
                <c:pt idx="617">
                  <c:v>4.8710757785302858</c:v>
                </c:pt>
                <c:pt idx="618">
                  <c:v>6.023599076821478</c:v>
                </c:pt>
                <c:pt idx="619">
                  <c:v>3.030097819577978</c:v>
                </c:pt>
                <c:pt idx="620">
                  <c:v>5.0438936748186922</c:v>
                </c:pt>
                <c:pt idx="621">
                  <c:v>4.8237993741904495</c:v>
                </c:pt>
                <c:pt idx="622">
                  <c:v>5.0269797190947543</c:v>
                </c:pt>
                <c:pt idx="623">
                  <c:v>6.0275580308425916</c:v>
                </c:pt>
                <c:pt idx="624">
                  <c:v>7.1054191459963194</c:v>
                </c:pt>
                <c:pt idx="625">
                  <c:v>6.0152244191930873</c:v>
                </c:pt>
                <c:pt idx="626">
                  <c:v>6.0580160494681419</c:v>
                </c:pt>
                <c:pt idx="627">
                  <c:v>6.9082141625157547</c:v>
                </c:pt>
                <c:pt idx="628">
                  <c:v>5.0435697615513568</c:v>
                </c:pt>
                <c:pt idx="629">
                  <c:v>4.8827759191360167</c:v>
                </c:pt>
                <c:pt idx="630">
                  <c:v>4.9174590834182901</c:v>
                </c:pt>
                <c:pt idx="631">
                  <c:v>6.0576916913892918</c:v>
                </c:pt>
                <c:pt idx="632">
                  <c:v>5.8728421651923384</c:v>
                </c:pt>
                <c:pt idx="633">
                  <c:v>6.9778702641966337</c:v>
                </c:pt>
                <c:pt idx="634">
                  <c:v>5.9792270220913908</c:v>
                </c:pt>
                <c:pt idx="635">
                  <c:v>5.997971492755326</c:v>
                </c:pt>
                <c:pt idx="636">
                  <c:v>5.0679384448401565</c:v>
                </c:pt>
                <c:pt idx="637">
                  <c:v>6.9044002479461462</c:v>
                </c:pt>
                <c:pt idx="638">
                  <c:v>5.7691517499992608</c:v>
                </c:pt>
                <c:pt idx="639">
                  <c:v>7.096003893743382</c:v>
                </c:pt>
                <c:pt idx="640">
                  <c:v>4.9027893845836044</c:v>
                </c:pt>
                <c:pt idx="641">
                  <c:v>6.0980826625567834</c:v>
                </c:pt>
                <c:pt idx="642">
                  <c:v>5.9331690126096257</c:v>
                </c:pt>
                <c:pt idx="643">
                  <c:v>5.0583774211971164</c:v>
                </c:pt>
                <c:pt idx="644">
                  <c:v>5.9593419816854363</c:v>
                </c:pt>
                <c:pt idx="645">
                  <c:v>4.9867513000124042</c:v>
                </c:pt>
                <c:pt idx="646">
                  <c:v>6.0504145213085572</c:v>
                </c:pt>
                <c:pt idx="647">
                  <c:v>5.0125710764540754</c:v>
                </c:pt>
                <c:pt idx="648">
                  <c:v>6.0214535101464532</c:v>
                </c:pt>
                <c:pt idx="649">
                  <c:v>7.013959127165835</c:v>
                </c:pt>
                <c:pt idx="650">
                  <c:v>5.1181213579530249</c:v>
                </c:pt>
                <c:pt idx="651">
                  <c:v>5.8899754547095826</c:v>
                </c:pt>
                <c:pt idx="652">
                  <c:v>7.0677057228342699</c:v>
                </c:pt>
                <c:pt idx="653">
                  <c:v>5.0297295721735544</c:v>
                </c:pt>
                <c:pt idx="654">
                  <c:v>5.9521601889807512</c:v>
                </c:pt>
                <c:pt idx="655">
                  <c:v>5.8833212712352916</c:v>
                </c:pt>
                <c:pt idx="656">
                  <c:v>6.1239388457086781</c:v>
                </c:pt>
                <c:pt idx="657">
                  <c:v>5.8651524146257907</c:v>
                </c:pt>
                <c:pt idx="658">
                  <c:v>5.8538554542600352</c:v>
                </c:pt>
                <c:pt idx="659">
                  <c:v>5.9516342646591021</c:v>
                </c:pt>
                <c:pt idx="660">
                  <c:v>4.8607865505231613</c:v>
                </c:pt>
                <c:pt idx="661">
                  <c:v>7.0454579172298297</c:v>
                </c:pt>
                <c:pt idx="662">
                  <c:v>4.9037723259106434</c:v>
                </c:pt>
                <c:pt idx="663">
                  <c:v>5.9861973870843954</c:v>
                </c:pt>
                <c:pt idx="664">
                  <c:v>5.8659859631213065</c:v>
                </c:pt>
                <c:pt idx="665">
                  <c:v>7.1094859313012355</c:v>
                </c:pt>
                <c:pt idx="666">
                  <c:v>6.0834839658043203</c:v>
                </c:pt>
                <c:pt idx="667">
                  <c:v>6.012323560754127</c:v>
                </c:pt>
                <c:pt idx="668">
                  <c:v>6.0103491501487598</c:v>
                </c:pt>
                <c:pt idx="669">
                  <c:v>4.8930707977688952</c:v>
                </c:pt>
                <c:pt idx="670">
                  <c:v>6.0846969200908889</c:v>
                </c:pt>
                <c:pt idx="671">
                  <c:v>6.0475143532445577</c:v>
                </c:pt>
                <c:pt idx="672">
                  <c:v>4.0327839027679211</c:v>
                </c:pt>
                <c:pt idx="673">
                  <c:v>4.9152307621705917</c:v>
                </c:pt>
                <c:pt idx="674">
                  <c:v>6.1517742633524408</c:v>
                </c:pt>
                <c:pt idx="675">
                  <c:v>5.789051433536323</c:v>
                </c:pt>
                <c:pt idx="676">
                  <c:v>5.9784793280406721</c:v>
                </c:pt>
                <c:pt idx="677">
                  <c:v>4.9556223170404055</c:v>
                </c:pt>
                <c:pt idx="678">
                  <c:v>4.979502177483476</c:v>
                </c:pt>
                <c:pt idx="679">
                  <c:v>5.7842397610883216</c:v>
                </c:pt>
                <c:pt idx="680">
                  <c:v>5.077071400108883</c:v>
                </c:pt>
                <c:pt idx="681">
                  <c:v>4.852694990757815</c:v>
                </c:pt>
                <c:pt idx="682">
                  <c:v>6.1605018138623064</c:v>
                </c:pt>
                <c:pt idx="683">
                  <c:v>4.9516845940075589</c:v>
                </c:pt>
                <c:pt idx="684">
                  <c:v>5.8998864420676229</c:v>
                </c:pt>
                <c:pt idx="685">
                  <c:v>6.9503215079455209</c:v>
                </c:pt>
                <c:pt idx="686">
                  <c:v>7.0085356648546933</c:v>
                </c:pt>
                <c:pt idx="687">
                  <c:v>3.9778997973554486</c:v>
                </c:pt>
                <c:pt idx="688">
                  <c:v>4.8399531395618522</c:v>
                </c:pt>
                <c:pt idx="689">
                  <c:v>6.16960366363051</c:v>
                </c:pt>
                <c:pt idx="690">
                  <c:v>5.9020755639961333</c:v>
                </c:pt>
                <c:pt idx="691">
                  <c:v>5.985567106456573</c:v>
                </c:pt>
                <c:pt idx="692">
                  <c:v>5.240237020499106</c:v>
                </c:pt>
                <c:pt idx="693">
                  <c:v>6.1141759877248854</c:v>
                </c:pt>
                <c:pt idx="694">
                  <c:v>5.9548714025466847</c:v>
                </c:pt>
                <c:pt idx="695">
                  <c:v>5.2447775159633645</c:v>
                </c:pt>
                <c:pt idx="696">
                  <c:v>5.8271842296203431</c:v>
                </c:pt>
                <c:pt idx="697">
                  <c:v>4.9248630477986426</c:v>
                </c:pt>
                <c:pt idx="698">
                  <c:v>5.7138960203288987</c:v>
                </c:pt>
                <c:pt idx="699">
                  <c:v>6.062984410203522</c:v>
                </c:pt>
                <c:pt idx="700">
                  <c:v>5.071695813188084</c:v>
                </c:pt>
                <c:pt idx="701">
                  <c:v>5.0393378175552161</c:v>
                </c:pt>
                <c:pt idx="702">
                  <c:v>5.8839010460873507</c:v>
                </c:pt>
                <c:pt idx="703">
                  <c:v>4.9160592059606332</c:v>
                </c:pt>
                <c:pt idx="704">
                  <c:v>7.001859122520858</c:v>
                </c:pt>
                <c:pt idx="705">
                  <c:v>5.9583545022985716</c:v>
                </c:pt>
                <c:pt idx="706">
                  <c:v>5.9485476612870398</c:v>
                </c:pt>
                <c:pt idx="707">
                  <c:v>5.7671051006638931</c:v>
                </c:pt>
                <c:pt idx="708">
                  <c:v>4.1087069779647249</c:v>
                </c:pt>
                <c:pt idx="709">
                  <c:v>5.8203750980134012</c:v>
                </c:pt>
                <c:pt idx="710">
                  <c:v>5.9367377825053653</c:v>
                </c:pt>
                <c:pt idx="711">
                  <c:v>5.9574234285617624</c:v>
                </c:pt>
                <c:pt idx="712">
                  <c:v>4.8816364909532748</c:v>
                </c:pt>
                <c:pt idx="713">
                  <c:v>4.966545764200375</c:v>
                </c:pt>
                <c:pt idx="714">
                  <c:v>7.0494294721736388</c:v>
                </c:pt>
                <c:pt idx="715">
                  <c:v>5.997431175120207</c:v>
                </c:pt>
                <c:pt idx="716">
                  <c:v>6.1705777825956272</c:v>
                </c:pt>
                <c:pt idx="717">
                  <c:v>7.0527832885124928</c:v>
                </c:pt>
                <c:pt idx="718">
                  <c:v>4.9335782430709729</c:v>
                </c:pt>
                <c:pt idx="719">
                  <c:v>5.9674931496114079</c:v>
                </c:pt>
                <c:pt idx="720">
                  <c:v>5.1360164023790382</c:v>
                </c:pt>
                <c:pt idx="721">
                  <c:v>5.0405618615207493</c:v>
                </c:pt>
                <c:pt idx="722">
                  <c:v>6.1827801898479207</c:v>
                </c:pt>
                <c:pt idx="723">
                  <c:v>5.0406365618325184</c:v>
                </c:pt>
                <c:pt idx="724">
                  <c:v>5.8609124534205419</c:v>
                </c:pt>
                <c:pt idx="725">
                  <c:v>5.9130838098849345</c:v>
                </c:pt>
                <c:pt idx="726">
                  <c:v>5.0553302493755554</c:v>
                </c:pt>
                <c:pt idx="727">
                  <c:v>6.015942493556719</c:v>
                </c:pt>
                <c:pt idx="728">
                  <c:v>5.0513696387559595</c:v>
                </c:pt>
                <c:pt idx="729">
                  <c:v>7.1277211120771549</c:v>
                </c:pt>
                <c:pt idx="730">
                  <c:v>7.1348879575039135</c:v>
                </c:pt>
                <c:pt idx="731">
                  <c:v>7.0458042552761073</c:v>
                </c:pt>
                <c:pt idx="732">
                  <c:v>6.046245962920473</c:v>
                </c:pt>
                <c:pt idx="733">
                  <c:v>3.8544608910195532</c:v>
                </c:pt>
                <c:pt idx="734">
                  <c:v>7.1207531400216855</c:v>
                </c:pt>
                <c:pt idx="735">
                  <c:v>7.0614368142566812</c:v>
                </c:pt>
                <c:pt idx="736">
                  <c:v>5.9369369946447179</c:v>
                </c:pt>
                <c:pt idx="737">
                  <c:v>4.9066319239341363</c:v>
                </c:pt>
                <c:pt idx="738">
                  <c:v>5.1040302234343242</c:v>
                </c:pt>
                <c:pt idx="739">
                  <c:v>6.1776592527352356</c:v>
                </c:pt>
                <c:pt idx="740">
                  <c:v>7.0776761252081224</c:v>
                </c:pt>
                <c:pt idx="741">
                  <c:v>4.9735445587587606</c:v>
                </c:pt>
                <c:pt idx="742">
                  <c:v>3.9638340558752256</c:v>
                </c:pt>
                <c:pt idx="743">
                  <c:v>4.0282277927915757</c:v>
                </c:pt>
                <c:pt idx="744">
                  <c:v>6.978967942546995</c:v>
                </c:pt>
                <c:pt idx="745">
                  <c:v>5.9287941896140728</c:v>
                </c:pt>
                <c:pt idx="746">
                  <c:v>3.9830338785105321</c:v>
                </c:pt>
                <c:pt idx="747">
                  <c:v>5.9372304509173057</c:v>
                </c:pt>
                <c:pt idx="748">
                  <c:v>6.0499601620319892</c:v>
                </c:pt>
                <c:pt idx="749">
                  <c:v>6.0287392345630169</c:v>
                </c:pt>
                <c:pt idx="750">
                  <c:v>3.9785380952296183</c:v>
                </c:pt>
                <c:pt idx="751">
                  <c:v>4.8558962662704142</c:v>
                </c:pt>
                <c:pt idx="752">
                  <c:v>5.8872295683394498</c:v>
                </c:pt>
                <c:pt idx="753">
                  <c:v>4.0286727066372725</c:v>
                </c:pt>
                <c:pt idx="754">
                  <c:v>6.1007255320643781</c:v>
                </c:pt>
                <c:pt idx="755">
                  <c:v>6.1142092748035726</c:v>
                </c:pt>
                <c:pt idx="756">
                  <c:v>6.7647031750322757</c:v>
                </c:pt>
                <c:pt idx="757">
                  <c:v>4.8579594584882555</c:v>
                </c:pt>
                <c:pt idx="758">
                  <c:v>6.9875093373978263</c:v>
                </c:pt>
                <c:pt idx="759">
                  <c:v>6.0348146587576332</c:v>
                </c:pt>
                <c:pt idx="760">
                  <c:v>7.0420993778991186</c:v>
                </c:pt>
                <c:pt idx="761">
                  <c:v>6.9875112787319225</c:v>
                </c:pt>
                <c:pt idx="762">
                  <c:v>6.1150124822105631</c:v>
                </c:pt>
                <c:pt idx="763">
                  <c:v>6.1124094299093414</c:v>
                </c:pt>
                <c:pt idx="764">
                  <c:v>5.1241850666039879</c:v>
                </c:pt>
                <c:pt idx="765">
                  <c:v>5.9969423478700232</c:v>
                </c:pt>
                <c:pt idx="766">
                  <c:v>4.0288689739788888</c:v>
                </c:pt>
                <c:pt idx="767">
                  <c:v>7.1657511020335001</c:v>
                </c:pt>
                <c:pt idx="768">
                  <c:v>6.0248594583677448</c:v>
                </c:pt>
                <c:pt idx="769">
                  <c:v>6.0620097518403826</c:v>
                </c:pt>
                <c:pt idx="770">
                  <c:v>6.0631564673239033</c:v>
                </c:pt>
                <c:pt idx="771">
                  <c:v>5.9602952854345395</c:v>
                </c:pt>
                <c:pt idx="772">
                  <c:v>6.022706270436017</c:v>
                </c:pt>
                <c:pt idx="773">
                  <c:v>7.1620687599989177</c:v>
                </c:pt>
                <c:pt idx="774">
                  <c:v>5.8756435383941801</c:v>
                </c:pt>
                <c:pt idx="775">
                  <c:v>4.9639742620202281</c:v>
                </c:pt>
                <c:pt idx="776">
                  <c:v>6.1838736033217536</c:v>
                </c:pt>
                <c:pt idx="777">
                  <c:v>5.9639107702160201</c:v>
                </c:pt>
                <c:pt idx="778">
                  <c:v>4.9368071688932904</c:v>
                </c:pt>
                <c:pt idx="779">
                  <c:v>5.0621748528312072</c:v>
                </c:pt>
                <c:pt idx="780">
                  <c:v>5.856551748277699</c:v>
                </c:pt>
                <c:pt idx="781">
                  <c:v>4.9505028481606432</c:v>
                </c:pt>
                <c:pt idx="782">
                  <c:v>5.8756016234608008</c:v>
                </c:pt>
                <c:pt idx="783">
                  <c:v>4.0509162802827658</c:v>
                </c:pt>
                <c:pt idx="784">
                  <c:v>5.0178427292095273</c:v>
                </c:pt>
                <c:pt idx="785">
                  <c:v>4.8952445371369961</c:v>
                </c:pt>
                <c:pt idx="786">
                  <c:v>4.8973502476456012</c:v>
                </c:pt>
                <c:pt idx="787">
                  <c:v>6.0263964982924492</c:v>
                </c:pt>
                <c:pt idx="788">
                  <c:v>4.8297668107338509</c:v>
                </c:pt>
                <c:pt idx="789">
                  <c:v>6.0141083970772442</c:v>
                </c:pt>
                <c:pt idx="790">
                  <c:v>4.0112816868375889</c:v>
                </c:pt>
                <c:pt idx="791">
                  <c:v>6.0379931744781041</c:v>
                </c:pt>
                <c:pt idx="792">
                  <c:v>4.9770591439736682</c:v>
                </c:pt>
                <c:pt idx="793">
                  <c:v>6.0007836547433433</c:v>
                </c:pt>
                <c:pt idx="794">
                  <c:v>5.9813766968460298</c:v>
                </c:pt>
                <c:pt idx="795">
                  <c:v>6.1089928407146417</c:v>
                </c:pt>
                <c:pt idx="796">
                  <c:v>6.122121980080216</c:v>
                </c:pt>
                <c:pt idx="797">
                  <c:v>4.1055534308908053</c:v>
                </c:pt>
                <c:pt idx="798">
                  <c:v>6.0349238720149927</c:v>
                </c:pt>
                <c:pt idx="799">
                  <c:v>4.9973939743865516</c:v>
                </c:pt>
                <c:pt idx="800">
                  <c:v>5.1067164232216999</c:v>
                </c:pt>
                <c:pt idx="801">
                  <c:v>6.1934782714673293</c:v>
                </c:pt>
                <c:pt idx="802">
                  <c:v>6.006057224487952</c:v>
                </c:pt>
                <c:pt idx="803">
                  <c:v>6.8252063077723424</c:v>
                </c:pt>
                <c:pt idx="804">
                  <c:v>6.0643699451897941</c:v>
                </c:pt>
                <c:pt idx="805">
                  <c:v>6.043804330140671</c:v>
                </c:pt>
                <c:pt idx="806">
                  <c:v>5.116290615961133</c:v>
                </c:pt>
                <c:pt idx="807">
                  <c:v>5.9150392433899839</c:v>
                </c:pt>
                <c:pt idx="808">
                  <c:v>5.1623743612193653</c:v>
                </c:pt>
                <c:pt idx="809">
                  <c:v>5.1306127339122742</c:v>
                </c:pt>
                <c:pt idx="810">
                  <c:v>5.0023875144900858</c:v>
                </c:pt>
                <c:pt idx="811">
                  <c:v>6.0000242496083205</c:v>
                </c:pt>
                <c:pt idx="812">
                  <c:v>3.7911259443148637</c:v>
                </c:pt>
                <c:pt idx="813">
                  <c:v>6.1140787335836873</c:v>
                </c:pt>
                <c:pt idx="814">
                  <c:v>5.0190798336904745</c:v>
                </c:pt>
                <c:pt idx="815">
                  <c:v>6.0280939314997095</c:v>
                </c:pt>
                <c:pt idx="816">
                  <c:v>7.1194130032016325</c:v>
                </c:pt>
                <c:pt idx="817">
                  <c:v>6.068858140036915</c:v>
                </c:pt>
                <c:pt idx="818">
                  <c:v>6.9848586749113659</c:v>
                </c:pt>
                <c:pt idx="819">
                  <c:v>6.1318449598935976</c:v>
                </c:pt>
                <c:pt idx="820">
                  <c:v>5.0177554448607999</c:v>
                </c:pt>
                <c:pt idx="821">
                  <c:v>5.005417260514502</c:v>
                </c:pt>
                <c:pt idx="822">
                  <c:v>6.1003114967705532</c:v>
                </c:pt>
                <c:pt idx="823">
                  <c:v>6.0207621682761232</c:v>
                </c:pt>
                <c:pt idx="824">
                  <c:v>5.9971871915989308</c:v>
                </c:pt>
                <c:pt idx="825">
                  <c:v>6.0593277441675006</c:v>
                </c:pt>
                <c:pt idx="826">
                  <c:v>5.0494401026641951</c:v>
                </c:pt>
                <c:pt idx="827">
                  <c:v>5.9066200881038089</c:v>
                </c:pt>
                <c:pt idx="828">
                  <c:v>6.0512585448868128</c:v>
                </c:pt>
                <c:pt idx="829">
                  <c:v>6.0614691645466703</c:v>
                </c:pt>
                <c:pt idx="830">
                  <c:v>5.0018436561632678</c:v>
                </c:pt>
                <c:pt idx="831">
                  <c:v>7.1135294376657425</c:v>
                </c:pt>
                <c:pt idx="832">
                  <c:v>5.0589578424734363</c:v>
                </c:pt>
                <c:pt idx="833">
                  <c:v>5.1023055811659974</c:v>
                </c:pt>
                <c:pt idx="834">
                  <c:v>5.0237768638580169</c:v>
                </c:pt>
                <c:pt idx="835">
                  <c:v>5.0701649328321849</c:v>
                </c:pt>
                <c:pt idx="836">
                  <c:v>6.0126540138380058</c:v>
                </c:pt>
                <c:pt idx="837">
                  <c:v>7.0630501682634481</c:v>
                </c:pt>
                <c:pt idx="838">
                  <c:v>4.9567667568314393</c:v>
                </c:pt>
                <c:pt idx="839">
                  <c:v>4.9640115256924764</c:v>
                </c:pt>
                <c:pt idx="840">
                  <c:v>5.0414799214725585</c:v>
                </c:pt>
                <c:pt idx="841">
                  <c:v>4.8477445209853309</c:v>
                </c:pt>
                <c:pt idx="842">
                  <c:v>5.1204633024957893</c:v>
                </c:pt>
                <c:pt idx="843">
                  <c:v>4.9043029658105182</c:v>
                </c:pt>
                <c:pt idx="844">
                  <c:v>5.0210310522825052</c:v>
                </c:pt>
                <c:pt idx="845">
                  <c:v>4.0134933752688369</c:v>
                </c:pt>
                <c:pt idx="846">
                  <c:v>5.9650133408702271</c:v>
                </c:pt>
                <c:pt idx="847">
                  <c:v>5.9473834304652478</c:v>
                </c:pt>
                <c:pt idx="848">
                  <c:v>6.9080573491115524</c:v>
                </c:pt>
                <c:pt idx="849">
                  <c:v>4.964684548303544</c:v>
                </c:pt>
                <c:pt idx="850">
                  <c:v>4.0003085600062898</c:v>
                </c:pt>
                <c:pt idx="851">
                  <c:v>6.1365548992331327</c:v>
                </c:pt>
                <c:pt idx="852">
                  <c:v>5.9173810314860118</c:v>
                </c:pt>
                <c:pt idx="853">
                  <c:v>6.0059492824562994</c:v>
                </c:pt>
                <c:pt idx="854">
                  <c:v>6.0967667345234391</c:v>
                </c:pt>
                <c:pt idx="855">
                  <c:v>6.0779837494195537</c:v>
                </c:pt>
                <c:pt idx="856">
                  <c:v>5.0498823639165868</c:v>
                </c:pt>
                <c:pt idx="857">
                  <c:v>3.9670239660117046</c:v>
                </c:pt>
                <c:pt idx="858">
                  <c:v>4.9188677274937422</c:v>
                </c:pt>
                <c:pt idx="859">
                  <c:v>5.9754812553843504</c:v>
                </c:pt>
                <c:pt idx="860">
                  <c:v>5.2847792141901859</c:v>
                </c:pt>
                <c:pt idx="861">
                  <c:v>5.8712158286888041</c:v>
                </c:pt>
                <c:pt idx="862">
                  <c:v>6.0301776063826606</c:v>
                </c:pt>
                <c:pt idx="863">
                  <c:v>4.8600828078083245</c:v>
                </c:pt>
                <c:pt idx="864">
                  <c:v>6.0030917777830952</c:v>
                </c:pt>
                <c:pt idx="865">
                  <c:v>6.0585358897557144</c:v>
                </c:pt>
                <c:pt idx="866">
                  <c:v>6.0553802398676622</c:v>
                </c:pt>
                <c:pt idx="867">
                  <c:v>6.9486274246651636</c:v>
                </c:pt>
                <c:pt idx="868">
                  <c:v>5.0723803958118152</c:v>
                </c:pt>
                <c:pt idx="869">
                  <c:v>3.8382710890088449</c:v>
                </c:pt>
                <c:pt idx="870">
                  <c:v>5.9516736415968037</c:v>
                </c:pt>
                <c:pt idx="871">
                  <c:v>5.9050895065832449</c:v>
                </c:pt>
                <c:pt idx="872">
                  <c:v>7.0277092355540942</c:v>
                </c:pt>
                <c:pt idx="873">
                  <c:v>6.1219900202880373</c:v>
                </c:pt>
                <c:pt idx="874">
                  <c:v>6.9758359612121961</c:v>
                </c:pt>
                <c:pt idx="875">
                  <c:v>6.1207044627386988</c:v>
                </c:pt>
                <c:pt idx="876">
                  <c:v>6.1228377691718059</c:v>
                </c:pt>
                <c:pt idx="877">
                  <c:v>6.0578642215836851</c:v>
                </c:pt>
                <c:pt idx="878">
                  <c:v>4.844428767952019</c:v>
                </c:pt>
                <c:pt idx="879">
                  <c:v>6.9535215737507841</c:v>
                </c:pt>
                <c:pt idx="880">
                  <c:v>5.8793146336187467</c:v>
                </c:pt>
                <c:pt idx="881">
                  <c:v>6.1475129872445873</c:v>
                </c:pt>
                <c:pt idx="882">
                  <c:v>6.0948848599190208</c:v>
                </c:pt>
                <c:pt idx="883">
                  <c:v>6.0572501991170133</c:v>
                </c:pt>
                <c:pt idx="884">
                  <c:v>5.9295454518542305</c:v>
                </c:pt>
                <c:pt idx="885">
                  <c:v>7.1386272851174475</c:v>
                </c:pt>
                <c:pt idx="886">
                  <c:v>5.9000831533647382</c:v>
                </c:pt>
                <c:pt idx="887">
                  <c:v>6.1030878441115597</c:v>
                </c:pt>
                <c:pt idx="888">
                  <c:v>6.1534991448845968</c:v>
                </c:pt>
                <c:pt idx="889">
                  <c:v>4.9525350316955956</c:v>
                </c:pt>
                <c:pt idx="890">
                  <c:v>4.0460458038214098</c:v>
                </c:pt>
                <c:pt idx="891">
                  <c:v>4.978883531507444</c:v>
                </c:pt>
                <c:pt idx="892">
                  <c:v>4.8946780322056389</c:v>
                </c:pt>
                <c:pt idx="893">
                  <c:v>6.0859875182900653</c:v>
                </c:pt>
                <c:pt idx="894">
                  <c:v>4.071537229956494</c:v>
                </c:pt>
                <c:pt idx="895">
                  <c:v>5.0762892116051761</c:v>
                </c:pt>
                <c:pt idx="896">
                  <c:v>4.9652310584216712</c:v>
                </c:pt>
                <c:pt idx="897">
                  <c:v>6.959391390476414</c:v>
                </c:pt>
                <c:pt idx="898">
                  <c:v>6.09071639422221</c:v>
                </c:pt>
                <c:pt idx="899">
                  <c:v>6.0470404938803224</c:v>
                </c:pt>
                <c:pt idx="900">
                  <c:v>7.0601493640390673</c:v>
                </c:pt>
                <c:pt idx="901">
                  <c:v>6.1641700429508361</c:v>
                </c:pt>
                <c:pt idx="902">
                  <c:v>7.1149391367029571</c:v>
                </c:pt>
                <c:pt idx="903">
                  <c:v>4.8354568202326949</c:v>
                </c:pt>
                <c:pt idx="904">
                  <c:v>4.9854366724571113</c:v>
                </c:pt>
                <c:pt idx="905">
                  <c:v>6.0306160859396494</c:v>
                </c:pt>
                <c:pt idx="906">
                  <c:v>5.8142483484516987</c:v>
                </c:pt>
                <c:pt idx="907">
                  <c:v>6.0442836243940237</c:v>
                </c:pt>
                <c:pt idx="908">
                  <c:v>4.6804394592949006</c:v>
                </c:pt>
                <c:pt idx="909">
                  <c:v>5.863265140007738</c:v>
                </c:pt>
                <c:pt idx="910">
                  <c:v>4.8624745337823629</c:v>
                </c:pt>
                <c:pt idx="911">
                  <c:v>4.9438793167837964</c:v>
                </c:pt>
                <c:pt idx="912">
                  <c:v>5.7433109205260191</c:v>
                </c:pt>
                <c:pt idx="913">
                  <c:v>6.1871972408344833</c:v>
                </c:pt>
                <c:pt idx="914">
                  <c:v>4.9824725284955491</c:v>
                </c:pt>
                <c:pt idx="915">
                  <c:v>6.2691389178725165</c:v>
                </c:pt>
                <c:pt idx="916">
                  <c:v>5.0204197926301886</c:v>
                </c:pt>
                <c:pt idx="917">
                  <c:v>5.00337170300197</c:v>
                </c:pt>
                <c:pt idx="918">
                  <c:v>5.0079438060825865</c:v>
                </c:pt>
                <c:pt idx="919">
                  <c:v>5.6966615132923168</c:v>
                </c:pt>
                <c:pt idx="920">
                  <c:v>6.1076127106342115</c:v>
                </c:pt>
                <c:pt idx="921">
                  <c:v>7.0739069323434629</c:v>
                </c:pt>
                <c:pt idx="922">
                  <c:v>5.0312090146245625</c:v>
                </c:pt>
                <c:pt idx="923">
                  <c:v>4.7094172847978832</c:v>
                </c:pt>
                <c:pt idx="924">
                  <c:v>6.7958250194545382</c:v>
                </c:pt>
                <c:pt idx="925">
                  <c:v>6.990700684606252</c:v>
                </c:pt>
                <c:pt idx="926">
                  <c:v>6.970441882034244</c:v>
                </c:pt>
                <c:pt idx="927">
                  <c:v>6.0299929431429211</c:v>
                </c:pt>
                <c:pt idx="928">
                  <c:v>6.312741385739864</c:v>
                </c:pt>
                <c:pt idx="929">
                  <c:v>6.053224781560635</c:v>
                </c:pt>
                <c:pt idx="930">
                  <c:v>5.174974989632152</c:v>
                </c:pt>
                <c:pt idx="931">
                  <c:v>5.1747556327084725</c:v>
                </c:pt>
                <c:pt idx="932">
                  <c:v>5.0801015988579152</c:v>
                </c:pt>
                <c:pt idx="933">
                  <c:v>5.7619396679183419</c:v>
                </c:pt>
                <c:pt idx="934">
                  <c:v>5.9213350058212937</c:v>
                </c:pt>
                <c:pt idx="935">
                  <c:v>6.0514727486381394</c:v>
                </c:pt>
                <c:pt idx="936">
                  <c:v>5.0174263034462028</c:v>
                </c:pt>
                <c:pt idx="937">
                  <c:v>5.9095902500144684</c:v>
                </c:pt>
                <c:pt idx="938">
                  <c:v>7.017391779112593</c:v>
                </c:pt>
                <c:pt idx="939">
                  <c:v>5.0872515108566176</c:v>
                </c:pt>
                <c:pt idx="940">
                  <c:v>5.9071605665773559</c:v>
                </c:pt>
                <c:pt idx="941">
                  <c:v>5.1005728985179317</c:v>
                </c:pt>
                <c:pt idx="942">
                  <c:v>4.8685566156969546</c:v>
                </c:pt>
                <c:pt idx="943">
                  <c:v>6.156165719566113</c:v>
                </c:pt>
                <c:pt idx="944">
                  <c:v>5.8647693934870828</c:v>
                </c:pt>
                <c:pt idx="945">
                  <c:v>5.9843310335340147</c:v>
                </c:pt>
                <c:pt idx="946">
                  <c:v>7.0155951698143131</c:v>
                </c:pt>
                <c:pt idx="947">
                  <c:v>6.1119619242546346</c:v>
                </c:pt>
                <c:pt idx="948">
                  <c:v>5.9713134176075293</c:v>
                </c:pt>
                <c:pt idx="949">
                  <c:v>5.1921044650501988</c:v>
                </c:pt>
                <c:pt idx="950">
                  <c:v>4.9517360047542516</c:v>
                </c:pt>
                <c:pt idx="951">
                  <c:v>4.8640810556490699</c:v>
                </c:pt>
                <c:pt idx="952">
                  <c:v>4.9567643580437837</c:v>
                </c:pt>
                <c:pt idx="953">
                  <c:v>5.8654044329838504</c:v>
                </c:pt>
                <c:pt idx="954">
                  <c:v>4.988333021295885</c:v>
                </c:pt>
                <c:pt idx="955">
                  <c:v>6.037842134619325</c:v>
                </c:pt>
                <c:pt idx="956">
                  <c:v>4.9807179799714874</c:v>
                </c:pt>
                <c:pt idx="957">
                  <c:v>6.1216887893635166</c:v>
                </c:pt>
                <c:pt idx="958">
                  <c:v>4.920965192217726</c:v>
                </c:pt>
                <c:pt idx="959">
                  <c:v>5.8224171278872481</c:v>
                </c:pt>
                <c:pt idx="960">
                  <c:v>7.1666342108251042</c:v>
                </c:pt>
                <c:pt idx="961">
                  <c:v>6.8545225042416424</c:v>
                </c:pt>
                <c:pt idx="962">
                  <c:v>5.9519490479133728</c:v>
                </c:pt>
                <c:pt idx="963">
                  <c:v>6.0461278506257115</c:v>
                </c:pt>
                <c:pt idx="964">
                  <c:v>4.8565759163348075</c:v>
                </c:pt>
                <c:pt idx="965">
                  <c:v>5.908935374250512</c:v>
                </c:pt>
                <c:pt idx="966">
                  <c:v>5.7845222864471335</c:v>
                </c:pt>
                <c:pt idx="967">
                  <c:v>6.065377642791554</c:v>
                </c:pt>
                <c:pt idx="968">
                  <c:v>6.0504867611032829</c:v>
                </c:pt>
                <c:pt idx="969">
                  <c:v>7.0101787763309931</c:v>
                </c:pt>
                <c:pt idx="970">
                  <c:v>4.9968760136781425</c:v>
                </c:pt>
                <c:pt idx="971">
                  <c:v>4.9214411420843795</c:v>
                </c:pt>
                <c:pt idx="972">
                  <c:v>7.0553312560323498</c:v>
                </c:pt>
                <c:pt idx="973">
                  <c:v>4.9716817422120565</c:v>
                </c:pt>
                <c:pt idx="974">
                  <c:v>4.839310295791619</c:v>
                </c:pt>
                <c:pt idx="975">
                  <c:v>6.0168149141882461</c:v>
                </c:pt>
                <c:pt idx="976">
                  <c:v>5.0547430271997049</c:v>
                </c:pt>
                <c:pt idx="977">
                  <c:v>6.0755411528715326</c:v>
                </c:pt>
                <c:pt idx="978">
                  <c:v>5.1546814934983587</c:v>
                </c:pt>
                <c:pt idx="979">
                  <c:v>5.1836480298721712</c:v>
                </c:pt>
                <c:pt idx="980">
                  <c:v>5.0004366801315658</c:v>
                </c:pt>
                <c:pt idx="981">
                  <c:v>4.9802795943895353</c:v>
                </c:pt>
                <c:pt idx="982">
                  <c:v>5.0451624051801991</c:v>
                </c:pt>
                <c:pt idx="983">
                  <c:v>6.1000362388280109</c:v>
                </c:pt>
                <c:pt idx="984">
                  <c:v>4.9029631448508253</c:v>
                </c:pt>
                <c:pt idx="985">
                  <c:v>6.0547112734188975</c:v>
                </c:pt>
                <c:pt idx="986">
                  <c:v>4.9525064308429583</c:v>
                </c:pt>
                <c:pt idx="987">
                  <c:v>5.8488194596365819</c:v>
                </c:pt>
                <c:pt idx="988">
                  <c:v>6.0460220774941016</c:v>
                </c:pt>
                <c:pt idx="989">
                  <c:v>4.9966243890728173</c:v>
                </c:pt>
                <c:pt idx="990">
                  <c:v>5.9987729705280586</c:v>
                </c:pt>
                <c:pt idx="991">
                  <c:v>4.9817285880514799</c:v>
                </c:pt>
                <c:pt idx="992">
                  <c:v>6.0300810672983651</c:v>
                </c:pt>
                <c:pt idx="993">
                  <c:v>5.0245837035817873</c:v>
                </c:pt>
                <c:pt idx="994">
                  <c:v>4.6962356533655987</c:v>
                </c:pt>
                <c:pt idx="995">
                  <c:v>6.0806397384360347</c:v>
                </c:pt>
                <c:pt idx="996">
                  <c:v>6.0384929110691239</c:v>
                </c:pt>
                <c:pt idx="997">
                  <c:v>4.8857231785234889</c:v>
                </c:pt>
                <c:pt idx="998">
                  <c:v>5.9624120036314681</c:v>
                </c:pt>
                <c:pt idx="999">
                  <c:v>6.0876370056968581</c:v>
                </c:pt>
                <c:pt idx="1000">
                  <c:v>6.00750628026596</c:v>
                </c:pt>
                <c:pt idx="1001">
                  <c:v>6.0598575542225008</c:v>
                </c:pt>
                <c:pt idx="1002">
                  <c:v>6.118437401325262</c:v>
                </c:pt>
                <c:pt idx="1003">
                  <c:v>5.9781909117473671</c:v>
                </c:pt>
                <c:pt idx="1004">
                  <c:v>6.0182884812290451</c:v>
                </c:pt>
                <c:pt idx="1005">
                  <c:v>5.037060460229128</c:v>
                </c:pt>
                <c:pt idx="1006">
                  <c:v>6.034238654538699</c:v>
                </c:pt>
                <c:pt idx="1007">
                  <c:v>5.1357186012924458</c:v>
                </c:pt>
                <c:pt idx="1008">
                  <c:v>5.9683448823380134</c:v>
                </c:pt>
                <c:pt idx="1009">
                  <c:v>5.0172715460527808</c:v>
                </c:pt>
                <c:pt idx="1010">
                  <c:v>4.9366325934173743</c:v>
                </c:pt>
                <c:pt idx="1011">
                  <c:v>4.8600545734431915</c:v>
                </c:pt>
                <c:pt idx="1012">
                  <c:v>4.9682970041332046</c:v>
                </c:pt>
                <c:pt idx="1013">
                  <c:v>5.0105608574516065</c:v>
                </c:pt>
                <c:pt idx="1014">
                  <c:v>4.9423992236916554</c:v>
                </c:pt>
                <c:pt idx="1015">
                  <c:v>5.9445190236830756</c:v>
                </c:pt>
                <c:pt idx="1016">
                  <c:v>6.0801427988981338</c:v>
                </c:pt>
                <c:pt idx="1017">
                  <c:v>5.1329012867515802</c:v>
                </c:pt>
                <c:pt idx="1018">
                  <c:v>6.004748960132086</c:v>
                </c:pt>
                <c:pt idx="1019">
                  <c:v>4.9595290805728469</c:v>
                </c:pt>
                <c:pt idx="1020">
                  <c:v>5.9740008951881265</c:v>
                </c:pt>
                <c:pt idx="1021">
                  <c:v>5.0004176042915685</c:v>
                </c:pt>
                <c:pt idx="1022">
                  <c:v>6.2001474738687818</c:v>
                </c:pt>
                <c:pt idx="1023">
                  <c:v>4.8819066741586612</c:v>
                </c:pt>
                <c:pt idx="1024">
                  <c:v>4.9495867344097784</c:v>
                </c:pt>
                <c:pt idx="1025">
                  <c:v>5.9159248409278229</c:v>
                </c:pt>
                <c:pt idx="1026">
                  <c:v>5.0048953091008892</c:v>
                </c:pt>
                <c:pt idx="1027">
                  <c:v>6.053598410237119</c:v>
                </c:pt>
                <c:pt idx="1028">
                  <c:v>6.0332816011095884</c:v>
                </c:pt>
                <c:pt idx="1029">
                  <c:v>5.1112891395629223</c:v>
                </c:pt>
                <c:pt idx="1030">
                  <c:v>4.9223358018006733</c:v>
                </c:pt>
                <c:pt idx="1031">
                  <c:v>4.8852460864742495</c:v>
                </c:pt>
                <c:pt idx="1032">
                  <c:v>6.1218974448867742</c:v>
                </c:pt>
                <c:pt idx="1033">
                  <c:v>5.0881465611073518</c:v>
                </c:pt>
                <c:pt idx="1034">
                  <c:v>5.1133327137901867</c:v>
                </c:pt>
                <c:pt idx="1035">
                  <c:v>4.9415019277643166</c:v>
                </c:pt>
                <c:pt idx="1036">
                  <c:v>6.0480171780265195</c:v>
                </c:pt>
                <c:pt idx="1037">
                  <c:v>5.2435714191000455</c:v>
                </c:pt>
                <c:pt idx="1038">
                  <c:v>4.8690930718758567</c:v>
                </c:pt>
                <c:pt idx="1039">
                  <c:v>5.9460558520155624</c:v>
                </c:pt>
                <c:pt idx="1040">
                  <c:v>6.9279696608418897</c:v>
                </c:pt>
                <c:pt idx="1041">
                  <c:v>6.8402356024202238</c:v>
                </c:pt>
                <c:pt idx="1042">
                  <c:v>6.0364155301419746</c:v>
                </c:pt>
                <c:pt idx="1043">
                  <c:v>4.9785560646985081</c:v>
                </c:pt>
                <c:pt idx="1044">
                  <c:v>4.9392511284872533</c:v>
                </c:pt>
                <c:pt idx="1045">
                  <c:v>5.1020693786701008</c:v>
                </c:pt>
                <c:pt idx="1046">
                  <c:v>4.8769594640057843</c:v>
                </c:pt>
                <c:pt idx="1047">
                  <c:v>6.0933982771622617</c:v>
                </c:pt>
                <c:pt idx="1048">
                  <c:v>5.0848456254239593</c:v>
                </c:pt>
                <c:pt idx="1049">
                  <c:v>6.1289201227865018</c:v>
                </c:pt>
                <c:pt idx="1050">
                  <c:v>5.061692310818291</c:v>
                </c:pt>
                <c:pt idx="1051">
                  <c:v>6.0369344369402622</c:v>
                </c:pt>
                <c:pt idx="1052">
                  <c:v>5.8428009143610389</c:v>
                </c:pt>
                <c:pt idx="1053">
                  <c:v>6.0150586130096784</c:v>
                </c:pt>
                <c:pt idx="1054">
                  <c:v>5.9586639380716191</c:v>
                </c:pt>
                <c:pt idx="1055">
                  <c:v>4.8692216019165215</c:v>
                </c:pt>
                <c:pt idx="1056">
                  <c:v>5.8464858747693063</c:v>
                </c:pt>
                <c:pt idx="1057">
                  <c:v>6.1958178944125901</c:v>
                </c:pt>
                <c:pt idx="1058">
                  <c:v>5.9768001325465256</c:v>
                </c:pt>
                <c:pt idx="1059">
                  <c:v>5.0355992473164193</c:v>
                </c:pt>
                <c:pt idx="1060">
                  <c:v>7.03602977681029</c:v>
                </c:pt>
                <c:pt idx="1061">
                  <c:v>7.2141396315667778</c:v>
                </c:pt>
                <c:pt idx="1062">
                  <c:v>5.942366251177579</c:v>
                </c:pt>
                <c:pt idx="1063">
                  <c:v>6.994436044260433</c:v>
                </c:pt>
                <c:pt idx="1064">
                  <c:v>6.0101999717973174</c:v>
                </c:pt>
                <c:pt idx="1065">
                  <c:v>6.920836631288986</c:v>
                </c:pt>
                <c:pt idx="1066">
                  <c:v>5.0941478421408126</c:v>
                </c:pt>
                <c:pt idx="1067">
                  <c:v>6.9227427207498522</c:v>
                </c:pt>
                <c:pt idx="1068">
                  <c:v>5.7758711596886636</c:v>
                </c:pt>
                <c:pt idx="1069">
                  <c:v>6.0936985955903538</c:v>
                </c:pt>
                <c:pt idx="1070">
                  <c:v>6.0399325857778914</c:v>
                </c:pt>
                <c:pt idx="1071">
                  <c:v>5.9436313347603509</c:v>
                </c:pt>
                <c:pt idx="1072">
                  <c:v>6.0937451638781353</c:v>
                </c:pt>
                <c:pt idx="1073">
                  <c:v>6.9709166776727223</c:v>
                </c:pt>
                <c:pt idx="1074">
                  <c:v>6.0497560704099413</c:v>
                </c:pt>
                <c:pt idx="1075">
                  <c:v>7.048980394854695</c:v>
                </c:pt>
                <c:pt idx="1076">
                  <c:v>4.9620480362098647</c:v>
                </c:pt>
                <c:pt idx="1077">
                  <c:v>5.8404736875863117</c:v>
                </c:pt>
                <c:pt idx="1078">
                  <c:v>6.0149249696513252</c:v>
                </c:pt>
                <c:pt idx="1079">
                  <c:v>1.8020404022741703</c:v>
                </c:pt>
                <c:pt idx="1080">
                  <c:v>4.9608694385285821</c:v>
                </c:pt>
                <c:pt idx="1081">
                  <c:v>2.0842096056649915</c:v>
                </c:pt>
                <c:pt idx="1082">
                  <c:v>2.0579764488184389</c:v>
                </c:pt>
                <c:pt idx="1083">
                  <c:v>4.9480537703392278</c:v>
                </c:pt>
                <c:pt idx="1084">
                  <c:v>4.9716474125309302</c:v>
                </c:pt>
                <c:pt idx="1085">
                  <c:v>4.7815276216284008</c:v>
                </c:pt>
                <c:pt idx="1086">
                  <c:v>5.0884955727283394</c:v>
                </c:pt>
                <c:pt idx="1087">
                  <c:v>4.8789376459622398</c:v>
                </c:pt>
                <c:pt idx="1088">
                  <c:v>4.0228247636492869</c:v>
                </c:pt>
                <c:pt idx="1089">
                  <c:v>5.0087963483019209</c:v>
                </c:pt>
                <c:pt idx="1090">
                  <c:v>3.9926765530203046</c:v>
                </c:pt>
                <c:pt idx="1091">
                  <c:v>4.9913314043258907</c:v>
                </c:pt>
                <c:pt idx="1092">
                  <c:v>7.0678872191635858</c:v>
                </c:pt>
                <c:pt idx="1093">
                  <c:v>3.8762940355032804</c:v>
                </c:pt>
                <c:pt idx="1094">
                  <c:v>5.969322668158707</c:v>
                </c:pt>
                <c:pt idx="1095">
                  <c:v>6.1297201505746903</c:v>
                </c:pt>
                <c:pt idx="1096">
                  <c:v>6.8308096943748362</c:v>
                </c:pt>
                <c:pt idx="1097">
                  <c:v>6.9983263017224955</c:v>
                </c:pt>
                <c:pt idx="1098">
                  <c:v>6.0903983451463075</c:v>
                </c:pt>
                <c:pt idx="1099">
                  <c:v>6.0540902055188912</c:v>
                </c:pt>
                <c:pt idx="1100">
                  <c:v>6.0275675224655831</c:v>
                </c:pt>
                <c:pt idx="1101">
                  <c:v>6.1304209594871697</c:v>
                </c:pt>
                <c:pt idx="1102">
                  <c:v>6.9535174674094327</c:v>
                </c:pt>
                <c:pt idx="1103">
                  <c:v>6.1367203196466846</c:v>
                </c:pt>
                <c:pt idx="1104">
                  <c:v>5.0017461076024583</c:v>
                </c:pt>
                <c:pt idx="1105">
                  <c:v>6.0006581460278072</c:v>
                </c:pt>
                <c:pt idx="1106">
                  <c:v>6.8578150117009073</c:v>
                </c:pt>
                <c:pt idx="1107">
                  <c:v>5.9670126782502821</c:v>
                </c:pt>
                <c:pt idx="1108">
                  <c:v>6.0370172988503681</c:v>
                </c:pt>
                <c:pt idx="1109">
                  <c:v>4.9646233495839143</c:v>
                </c:pt>
                <c:pt idx="1110">
                  <c:v>5.0113204694098581</c:v>
                </c:pt>
                <c:pt idx="1111">
                  <c:v>4.8511085198431552</c:v>
                </c:pt>
                <c:pt idx="1112">
                  <c:v>4.9958837406795205</c:v>
                </c:pt>
                <c:pt idx="1113">
                  <c:v>5.0639348083019051</c:v>
                </c:pt>
                <c:pt idx="1114">
                  <c:v>6.0695405520546863</c:v>
                </c:pt>
                <c:pt idx="1115">
                  <c:v>5.1033911301702064</c:v>
                </c:pt>
                <c:pt idx="1116">
                  <c:v>4.0188097688577864</c:v>
                </c:pt>
                <c:pt idx="1117">
                  <c:v>5.1182746610944214</c:v>
                </c:pt>
                <c:pt idx="1118">
                  <c:v>4.9880447994259285</c:v>
                </c:pt>
                <c:pt idx="1119">
                  <c:v>6.8322729272032952</c:v>
                </c:pt>
                <c:pt idx="1120">
                  <c:v>5.1579672963696765</c:v>
                </c:pt>
                <c:pt idx="1121">
                  <c:v>5.0989848067206358</c:v>
                </c:pt>
                <c:pt idx="1122">
                  <c:v>4.8097196849473303</c:v>
                </c:pt>
                <c:pt idx="1123">
                  <c:v>5.1994404060124344</c:v>
                </c:pt>
                <c:pt idx="1124">
                  <c:v>4.7613275411598508</c:v>
                </c:pt>
                <c:pt idx="1125">
                  <c:v>6.0459858455444291</c:v>
                </c:pt>
                <c:pt idx="1126">
                  <c:v>5.8297177066167007</c:v>
                </c:pt>
                <c:pt idx="1127">
                  <c:v>6.0142923320201715</c:v>
                </c:pt>
                <c:pt idx="1128">
                  <c:v>6.969184187942087</c:v>
                </c:pt>
                <c:pt idx="1129">
                  <c:v>6.0390193979694047</c:v>
                </c:pt>
                <c:pt idx="1130">
                  <c:v>6.1264251904412861</c:v>
                </c:pt>
                <c:pt idx="1131">
                  <c:v>4.9596808429260513</c:v>
                </c:pt>
                <c:pt idx="1132">
                  <c:v>4.9198843581666987</c:v>
                </c:pt>
                <c:pt idx="1133">
                  <c:v>5.1170589232618093</c:v>
                </c:pt>
                <c:pt idx="1134">
                  <c:v>5.9140812401904794</c:v>
                </c:pt>
                <c:pt idx="1135">
                  <c:v>5.9634419156769241</c:v>
                </c:pt>
                <c:pt idx="1136">
                  <c:v>4.855980348851431</c:v>
                </c:pt>
                <c:pt idx="1137">
                  <c:v>6.2731576660144057</c:v>
                </c:pt>
                <c:pt idx="1138">
                  <c:v>6.0494790695568303</c:v>
                </c:pt>
                <c:pt idx="1139">
                  <c:v>4.9291168063837816</c:v>
                </c:pt>
                <c:pt idx="1140">
                  <c:v>5.7806460050958348</c:v>
                </c:pt>
                <c:pt idx="1141">
                  <c:v>4.8952100478639116</c:v>
                </c:pt>
                <c:pt idx="1142">
                  <c:v>4.849459012689521</c:v>
                </c:pt>
                <c:pt idx="1143">
                  <c:v>1.880461267430666</c:v>
                </c:pt>
                <c:pt idx="1144">
                  <c:v>4.9628394212364748</c:v>
                </c:pt>
                <c:pt idx="1145">
                  <c:v>4.9883034826306547</c:v>
                </c:pt>
                <c:pt idx="1146">
                  <c:v>4.9571178109552472</c:v>
                </c:pt>
                <c:pt idx="1147">
                  <c:v>4.9096935146834015</c:v>
                </c:pt>
                <c:pt idx="1148">
                  <c:v>4.9176829499414758</c:v>
                </c:pt>
                <c:pt idx="1149">
                  <c:v>5.9930982989444725</c:v>
                </c:pt>
                <c:pt idx="1150">
                  <c:v>5.8668775259382651</c:v>
                </c:pt>
                <c:pt idx="1151">
                  <c:v>6.1857443889640011</c:v>
                </c:pt>
                <c:pt idx="1152">
                  <c:v>6.172905002901544</c:v>
                </c:pt>
                <c:pt idx="1153">
                  <c:v>5.9684888083657297</c:v>
                </c:pt>
                <c:pt idx="1154">
                  <c:v>6.1545983028293145</c:v>
                </c:pt>
                <c:pt idx="1155">
                  <c:v>5.9736281795041517</c:v>
                </c:pt>
                <c:pt idx="1156">
                  <c:v>5.014424150386648</c:v>
                </c:pt>
                <c:pt idx="1157">
                  <c:v>4.7742834610029083</c:v>
                </c:pt>
                <c:pt idx="1158">
                  <c:v>5.9246862839447099</c:v>
                </c:pt>
                <c:pt idx="1159">
                  <c:v>5.9905533351908407</c:v>
                </c:pt>
                <c:pt idx="1160">
                  <c:v>6.0101028293552918</c:v>
                </c:pt>
                <c:pt idx="1161">
                  <c:v>6.0927237371024408</c:v>
                </c:pt>
                <c:pt idx="1162">
                  <c:v>4.9876894904153897</c:v>
                </c:pt>
                <c:pt idx="1163">
                  <c:v>4.8698358071745806</c:v>
                </c:pt>
                <c:pt idx="1164">
                  <c:v>6.1100311959223275</c:v>
                </c:pt>
                <c:pt idx="1165">
                  <c:v>5.1078641938878873</c:v>
                </c:pt>
                <c:pt idx="1166">
                  <c:v>6.8102438011207695</c:v>
                </c:pt>
                <c:pt idx="1167">
                  <c:v>5.9125924875234155</c:v>
                </c:pt>
                <c:pt idx="1168">
                  <c:v>5.0470289887937501</c:v>
                </c:pt>
                <c:pt idx="1169">
                  <c:v>5.9826063123410398</c:v>
                </c:pt>
                <c:pt idx="1170">
                  <c:v>4.9539123793248567</c:v>
                </c:pt>
                <c:pt idx="1171">
                  <c:v>5.793857577840412</c:v>
                </c:pt>
                <c:pt idx="1172">
                  <c:v>4.9944382091493633</c:v>
                </c:pt>
                <c:pt idx="1173">
                  <c:v>5.9913409313068495</c:v>
                </c:pt>
                <c:pt idx="1174">
                  <c:v>5.1529224057098455</c:v>
                </c:pt>
                <c:pt idx="1175">
                  <c:v>5.8551416207356324</c:v>
                </c:pt>
                <c:pt idx="1176">
                  <c:v>5.1469082790601624</c:v>
                </c:pt>
                <c:pt idx="1177">
                  <c:v>5.8309547820159757</c:v>
                </c:pt>
                <c:pt idx="1178">
                  <c:v>5.9044394537169822</c:v>
                </c:pt>
                <c:pt idx="1179">
                  <c:v>4.8584504402623967</c:v>
                </c:pt>
                <c:pt idx="1180">
                  <c:v>5.0791902510254676</c:v>
                </c:pt>
                <c:pt idx="1181">
                  <c:v>5.129236014518904</c:v>
                </c:pt>
                <c:pt idx="1182">
                  <c:v>5.1237175345299901</c:v>
                </c:pt>
                <c:pt idx="1183">
                  <c:v>4.8603742478369787</c:v>
                </c:pt>
                <c:pt idx="1184">
                  <c:v>5.1397845164377811</c:v>
                </c:pt>
                <c:pt idx="1185">
                  <c:v>5.8918350631344225</c:v>
                </c:pt>
                <c:pt idx="1186">
                  <c:v>5.8780112019879684</c:v>
                </c:pt>
                <c:pt idx="1187">
                  <c:v>4.7807559994769901</c:v>
                </c:pt>
                <c:pt idx="1188">
                  <c:v>4.9999332308235553</c:v>
                </c:pt>
                <c:pt idx="1189">
                  <c:v>5.1128366620468526</c:v>
                </c:pt>
                <c:pt idx="1190">
                  <c:v>4.9679515436143955</c:v>
                </c:pt>
                <c:pt idx="1191">
                  <c:v>6.1287444069815438</c:v>
                </c:pt>
                <c:pt idx="1192">
                  <c:v>5.2343301958928157</c:v>
                </c:pt>
                <c:pt idx="1193">
                  <c:v>5.8796517497125862</c:v>
                </c:pt>
                <c:pt idx="1194">
                  <c:v>6.0647752622294782</c:v>
                </c:pt>
                <c:pt idx="1195">
                  <c:v>6.0470114279335725</c:v>
                </c:pt>
                <c:pt idx="1196">
                  <c:v>5.0223933274248633</c:v>
                </c:pt>
                <c:pt idx="1197">
                  <c:v>5.9684086545060433</c:v>
                </c:pt>
                <c:pt idx="1198">
                  <c:v>6.11181466536146</c:v>
                </c:pt>
                <c:pt idx="1199">
                  <c:v>4.9216550036654461</c:v>
                </c:pt>
                <c:pt idx="1200">
                  <c:v>4.9846980866382156</c:v>
                </c:pt>
                <c:pt idx="1201">
                  <c:v>5.9136421376089405</c:v>
                </c:pt>
                <c:pt idx="1202">
                  <c:v>4.9752609183981242</c:v>
                </c:pt>
                <c:pt idx="1203">
                  <c:v>5.9963957675584654</c:v>
                </c:pt>
                <c:pt idx="1204">
                  <c:v>5.8750779725188238</c:v>
                </c:pt>
                <c:pt idx="1205">
                  <c:v>5.9506684984529459</c:v>
                </c:pt>
                <c:pt idx="1206">
                  <c:v>6.0167739971013638</c:v>
                </c:pt>
                <c:pt idx="1207">
                  <c:v>6.9727659793367502</c:v>
                </c:pt>
                <c:pt idx="1208">
                  <c:v>4.9480154595479009</c:v>
                </c:pt>
                <c:pt idx="1209">
                  <c:v>6.0138021592680753</c:v>
                </c:pt>
                <c:pt idx="1210">
                  <c:v>5.0341250447693167</c:v>
                </c:pt>
                <c:pt idx="1211">
                  <c:v>4.8707639023168605</c:v>
                </c:pt>
                <c:pt idx="1212">
                  <c:v>6.9618781097786879</c:v>
                </c:pt>
                <c:pt idx="1213">
                  <c:v>5.9142751381327274</c:v>
                </c:pt>
                <c:pt idx="1214">
                  <c:v>6.1428492939065595</c:v>
                </c:pt>
                <c:pt idx="1215">
                  <c:v>4.8967339175505682</c:v>
                </c:pt>
                <c:pt idx="1216">
                  <c:v>6.1237999196329227</c:v>
                </c:pt>
                <c:pt idx="1217">
                  <c:v>4.8211062624990495</c:v>
                </c:pt>
                <c:pt idx="1218">
                  <c:v>5.9965030496854554</c:v>
                </c:pt>
                <c:pt idx="1219">
                  <c:v>6.0775477176425428</c:v>
                </c:pt>
                <c:pt idx="1220">
                  <c:v>5.9732250081347678</c:v>
                </c:pt>
                <c:pt idx="1221">
                  <c:v>5.0133360421380111</c:v>
                </c:pt>
                <c:pt idx="1222">
                  <c:v>6.0034424187009767</c:v>
                </c:pt>
                <c:pt idx="1223">
                  <c:v>4.9347105635491788</c:v>
                </c:pt>
                <c:pt idx="1224">
                  <c:v>6.0422732372380015</c:v>
                </c:pt>
                <c:pt idx="1225">
                  <c:v>6.0384262018229302</c:v>
                </c:pt>
                <c:pt idx="1226">
                  <c:v>6.0778971374403152</c:v>
                </c:pt>
                <c:pt idx="1227">
                  <c:v>5.9804993965635198</c:v>
                </c:pt>
                <c:pt idx="1228">
                  <c:v>4.9215229964939304</c:v>
                </c:pt>
                <c:pt idx="1229">
                  <c:v>6.0312728741344577</c:v>
                </c:pt>
                <c:pt idx="1230">
                  <c:v>4.9469514960824377</c:v>
                </c:pt>
                <c:pt idx="1231">
                  <c:v>6.0320368389289545</c:v>
                </c:pt>
                <c:pt idx="1232">
                  <c:v>4.9861494589567554</c:v>
                </c:pt>
                <c:pt idx="1233">
                  <c:v>5.9336837570864471</c:v>
                </c:pt>
                <c:pt idx="1234">
                  <c:v>5.9393038349390039</c:v>
                </c:pt>
                <c:pt idx="1235">
                  <c:v>5.161600397741255</c:v>
                </c:pt>
                <c:pt idx="1236">
                  <c:v>7.1799318068910338</c:v>
                </c:pt>
                <c:pt idx="1237">
                  <c:v>5.8982305502841221</c:v>
                </c:pt>
                <c:pt idx="1238">
                  <c:v>5.0976875196955822</c:v>
                </c:pt>
                <c:pt idx="1239">
                  <c:v>5.0279030556485784</c:v>
                </c:pt>
                <c:pt idx="1240">
                  <c:v>5.0727419810020855</c:v>
                </c:pt>
                <c:pt idx="1241">
                  <c:v>6.0374538485421629</c:v>
                </c:pt>
                <c:pt idx="1242">
                  <c:v>4.886885684819811</c:v>
                </c:pt>
                <c:pt idx="1243">
                  <c:v>4.9880982104190048</c:v>
                </c:pt>
                <c:pt idx="1244">
                  <c:v>5.8493883801285689</c:v>
                </c:pt>
                <c:pt idx="1245">
                  <c:v>6.1805386434566003</c:v>
                </c:pt>
                <c:pt idx="1246">
                  <c:v>5.9396342783185592</c:v>
                </c:pt>
                <c:pt idx="1247">
                  <c:v>6.2160644657873334</c:v>
                </c:pt>
                <c:pt idx="1248">
                  <c:v>5.9825210356691496</c:v>
                </c:pt>
                <c:pt idx="1249">
                  <c:v>5.1369690041724763</c:v>
                </c:pt>
                <c:pt idx="1250">
                  <c:v>5.0221966236123219</c:v>
                </c:pt>
                <c:pt idx="1251">
                  <c:v>6.0154054347101535</c:v>
                </c:pt>
                <c:pt idx="1252">
                  <c:v>6.0867566745558239</c:v>
                </c:pt>
                <c:pt idx="1253">
                  <c:v>4.873243441785422</c:v>
                </c:pt>
                <c:pt idx="1254">
                  <c:v>4.9957323869107446</c:v>
                </c:pt>
                <c:pt idx="1255">
                  <c:v>4.889870112321975</c:v>
                </c:pt>
                <c:pt idx="1256">
                  <c:v>4.9599819746119298</c:v>
                </c:pt>
                <c:pt idx="1257">
                  <c:v>5.171621569218896</c:v>
                </c:pt>
                <c:pt idx="1258">
                  <c:v>6.8553231298788431</c:v>
                </c:pt>
                <c:pt idx="1259">
                  <c:v>6.0482897909055104</c:v>
                </c:pt>
                <c:pt idx="1260">
                  <c:v>6.0579560362997871</c:v>
                </c:pt>
                <c:pt idx="1261">
                  <c:v>4.8199923853267377</c:v>
                </c:pt>
                <c:pt idx="1262">
                  <c:v>4.9046135088136902</c:v>
                </c:pt>
                <c:pt idx="1263">
                  <c:v>6.2039967967010679</c:v>
                </c:pt>
                <c:pt idx="1264">
                  <c:v>4.0240260664449075</c:v>
                </c:pt>
                <c:pt idx="1265">
                  <c:v>6.0061902554062243</c:v>
                </c:pt>
                <c:pt idx="1266">
                  <c:v>5.0310594323256046</c:v>
                </c:pt>
                <c:pt idx="1267">
                  <c:v>5.0517036643949256</c:v>
                </c:pt>
                <c:pt idx="1268">
                  <c:v>4.7861088688639457</c:v>
                </c:pt>
                <c:pt idx="1269">
                  <c:v>4.9463953038497817</c:v>
                </c:pt>
                <c:pt idx="1270">
                  <c:v>5.9953765175932272</c:v>
                </c:pt>
                <c:pt idx="1271">
                  <c:v>4.9911525067395255</c:v>
                </c:pt>
                <c:pt idx="1272">
                  <c:v>5.0828147471179834</c:v>
                </c:pt>
                <c:pt idx="1273">
                  <c:v>4.9806501227196183</c:v>
                </c:pt>
                <c:pt idx="1274">
                  <c:v>4.9942868029490546</c:v>
                </c:pt>
                <c:pt idx="1275">
                  <c:v>4.9345697470396814</c:v>
                </c:pt>
                <c:pt idx="1276">
                  <c:v>5.9774752413790813</c:v>
                </c:pt>
                <c:pt idx="1277">
                  <c:v>5.8637488992337143</c:v>
                </c:pt>
                <c:pt idx="1278">
                  <c:v>4.9277256376821423</c:v>
                </c:pt>
                <c:pt idx="1279">
                  <c:v>4.9255483004024754</c:v>
                </c:pt>
                <c:pt idx="1280">
                  <c:v>5.0822149117891469</c:v>
                </c:pt>
                <c:pt idx="1281">
                  <c:v>4.9102393078799569</c:v>
                </c:pt>
                <c:pt idx="1282">
                  <c:v>5.0359681131119878</c:v>
                </c:pt>
                <c:pt idx="1283">
                  <c:v>6.0722855727548426</c:v>
                </c:pt>
                <c:pt idx="1284">
                  <c:v>6.0295110839206876</c:v>
                </c:pt>
                <c:pt idx="1285">
                  <c:v>5.9767608520710152</c:v>
                </c:pt>
                <c:pt idx="1286">
                  <c:v>5.9164507493710774</c:v>
                </c:pt>
                <c:pt idx="1287">
                  <c:v>5.9870766083004172</c:v>
                </c:pt>
                <c:pt idx="1288">
                  <c:v>5.0392672788402608</c:v>
                </c:pt>
                <c:pt idx="1289">
                  <c:v>7.0014514135287067</c:v>
                </c:pt>
                <c:pt idx="1290">
                  <c:v>3.898410058709044</c:v>
                </c:pt>
                <c:pt idx="1291">
                  <c:v>5.9402127550990134</c:v>
                </c:pt>
                <c:pt idx="1292">
                  <c:v>6.0582402894423986</c:v>
                </c:pt>
                <c:pt idx="1293">
                  <c:v>6.0138218529128622</c:v>
                </c:pt>
                <c:pt idx="1294">
                  <c:v>5.873374104205249</c:v>
                </c:pt>
                <c:pt idx="1295">
                  <c:v>5.9342478379668648</c:v>
                </c:pt>
                <c:pt idx="1296">
                  <c:v>6.9811545445836893</c:v>
                </c:pt>
                <c:pt idx="1297">
                  <c:v>4.0137913029180075</c:v>
                </c:pt>
                <c:pt idx="1298">
                  <c:v>6.0987711270121583</c:v>
                </c:pt>
                <c:pt idx="1299">
                  <c:v>4.1424189347965541</c:v>
                </c:pt>
                <c:pt idx="1300">
                  <c:v>7.0743652401819785</c:v>
                </c:pt>
                <c:pt idx="1301">
                  <c:v>3.8959814801654926</c:v>
                </c:pt>
                <c:pt idx="1302">
                  <c:v>5.1212353435677</c:v>
                </c:pt>
                <c:pt idx="1303">
                  <c:v>4.8971437179423463</c:v>
                </c:pt>
                <c:pt idx="1304">
                  <c:v>4.060143560013584</c:v>
                </c:pt>
                <c:pt idx="1305">
                  <c:v>3.9474749458040508</c:v>
                </c:pt>
                <c:pt idx="1306">
                  <c:v>5.9242919043409721</c:v>
                </c:pt>
                <c:pt idx="1307">
                  <c:v>5.9278610418376845</c:v>
                </c:pt>
                <c:pt idx="1308">
                  <c:v>4.0831830561481182</c:v>
                </c:pt>
                <c:pt idx="1309">
                  <c:v>3.9045467394547448</c:v>
                </c:pt>
                <c:pt idx="1310">
                  <c:v>6.0059351610928928</c:v>
                </c:pt>
                <c:pt idx="1311">
                  <c:v>3.8607298906425154</c:v>
                </c:pt>
                <c:pt idx="1312">
                  <c:v>3.9196966763330217</c:v>
                </c:pt>
                <c:pt idx="1313">
                  <c:v>5.9885758632359156</c:v>
                </c:pt>
                <c:pt idx="1314">
                  <c:v>4.0415946338975459</c:v>
                </c:pt>
                <c:pt idx="1315">
                  <c:v>5.8653770470749391</c:v>
                </c:pt>
                <c:pt idx="1316">
                  <c:v>6.908043134992595</c:v>
                </c:pt>
                <c:pt idx="1317">
                  <c:v>5.8382174903226112</c:v>
                </c:pt>
                <c:pt idx="1318">
                  <c:v>3.0764210309773001</c:v>
                </c:pt>
                <c:pt idx="1319">
                  <c:v>4.9830200083195217</c:v>
                </c:pt>
                <c:pt idx="1320">
                  <c:v>5.9646493233462472</c:v>
                </c:pt>
                <c:pt idx="1321">
                  <c:v>4.9817455511156616</c:v>
                </c:pt>
                <c:pt idx="1322">
                  <c:v>4.9805737109812762</c:v>
                </c:pt>
                <c:pt idx="1323">
                  <c:v>5.9242752769108984</c:v>
                </c:pt>
                <c:pt idx="1324">
                  <c:v>5.9834618256863266</c:v>
                </c:pt>
                <c:pt idx="1325">
                  <c:v>5.9788862064182302</c:v>
                </c:pt>
                <c:pt idx="1326">
                  <c:v>6.0663888091662379</c:v>
                </c:pt>
                <c:pt idx="1327">
                  <c:v>5.0056757942699868</c:v>
                </c:pt>
                <c:pt idx="1328">
                  <c:v>4.9205242738598924</c:v>
                </c:pt>
                <c:pt idx="1329">
                  <c:v>5.1929855674517915</c:v>
                </c:pt>
                <c:pt idx="1330">
                  <c:v>5.9386583149666867</c:v>
                </c:pt>
                <c:pt idx="1331">
                  <c:v>6.1178138351065137</c:v>
                </c:pt>
                <c:pt idx="1332">
                  <c:v>5.9549584175971759</c:v>
                </c:pt>
                <c:pt idx="1333">
                  <c:v>5.8114799877316798</c:v>
                </c:pt>
                <c:pt idx="1334">
                  <c:v>6.0536752726426659</c:v>
                </c:pt>
                <c:pt idx="1335">
                  <c:v>5.006035343239704</c:v>
                </c:pt>
                <c:pt idx="1336">
                  <c:v>5.8377112580218764</c:v>
                </c:pt>
                <c:pt idx="1337">
                  <c:v>6.0729296513079252</c:v>
                </c:pt>
                <c:pt idx="1338">
                  <c:v>4.9267095791197804</c:v>
                </c:pt>
                <c:pt idx="1339">
                  <c:v>5.869148650606216</c:v>
                </c:pt>
                <c:pt idx="1340">
                  <c:v>5.9994889858098546</c:v>
                </c:pt>
                <c:pt idx="1341">
                  <c:v>5.0332614606429678</c:v>
                </c:pt>
                <c:pt idx="1342">
                  <c:v>4.9629550034342165</c:v>
                </c:pt>
                <c:pt idx="1343">
                  <c:v>4.8232071816765316</c:v>
                </c:pt>
                <c:pt idx="1344">
                  <c:v>6.0744932362099204</c:v>
                </c:pt>
                <c:pt idx="1345">
                  <c:v>4.841822659327657</c:v>
                </c:pt>
                <c:pt idx="1346">
                  <c:v>5.1051303114906545</c:v>
                </c:pt>
                <c:pt idx="1347">
                  <c:v>4.8303257228659167</c:v>
                </c:pt>
                <c:pt idx="1348">
                  <c:v>4.881233584551679</c:v>
                </c:pt>
                <c:pt idx="1349">
                  <c:v>5.0062349146591387</c:v>
                </c:pt>
                <c:pt idx="1350">
                  <c:v>4.9451875923022657</c:v>
                </c:pt>
                <c:pt idx="1351">
                  <c:v>4.9409947632190443</c:v>
                </c:pt>
                <c:pt idx="1352">
                  <c:v>5.0232576741344825</c:v>
                </c:pt>
                <c:pt idx="1353">
                  <c:v>5.0105978597858938</c:v>
                </c:pt>
                <c:pt idx="1354">
                  <c:v>7.0942246347704927</c:v>
                </c:pt>
                <c:pt idx="1355">
                  <c:v>5.987480026826602</c:v>
                </c:pt>
                <c:pt idx="1356">
                  <c:v>6.0246276848364992</c:v>
                </c:pt>
                <c:pt idx="1357">
                  <c:v>5.8962077728354014</c:v>
                </c:pt>
                <c:pt idx="1358">
                  <c:v>4.934880258800864</c:v>
                </c:pt>
                <c:pt idx="1359">
                  <c:v>5.0014357001490151</c:v>
                </c:pt>
                <c:pt idx="1360">
                  <c:v>5.0511400536336311</c:v>
                </c:pt>
                <c:pt idx="1361">
                  <c:v>5.0820162551342483</c:v>
                </c:pt>
                <c:pt idx="1362">
                  <c:v>4.9603223592627783</c:v>
                </c:pt>
                <c:pt idx="1363">
                  <c:v>6.9792695705815149</c:v>
                </c:pt>
                <c:pt idx="1364">
                  <c:v>6.9445393156323583</c:v>
                </c:pt>
                <c:pt idx="1365">
                  <c:v>7.1712692504040003</c:v>
                </c:pt>
                <c:pt idx="1366">
                  <c:v>6.9792710739848971</c:v>
                </c:pt>
                <c:pt idx="1367">
                  <c:v>7.0513999009911155</c:v>
                </c:pt>
                <c:pt idx="1368">
                  <c:v>1.9793943847948936</c:v>
                </c:pt>
                <c:pt idx="1369">
                  <c:v>5.080627825660434</c:v>
                </c:pt>
                <c:pt idx="1370">
                  <c:v>5.0768117786924902</c:v>
                </c:pt>
                <c:pt idx="1371">
                  <c:v>5.9863907183798997</c:v>
                </c:pt>
                <c:pt idx="1372">
                  <c:v>7.0097455584935489</c:v>
                </c:pt>
                <c:pt idx="1373">
                  <c:v>4.9323637479060043</c:v>
                </c:pt>
                <c:pt idx="1374">
                  <c:v>3.9594953769512626</c:v>
                </c:pt>
                <c:pt idx="1375">
                  <c:v>6.1259545423670856</c:v>
                </c:pt>
                <c:pt idx="1376">
                  <c:v>6.0155176735457863</c:v>
                </c:pt>
                <c:pt idx="1377">
                  <c:v>4.9648324611698573</c:v>
                </c:pt>
                <c:pt idx="1378">
                  <c:v>5.8230115379932172</c:v>
                </c:pt>
                <c:pt idx="1379">
                  <c:v>4.8840219819051205</c:v>
                </c:pt>
                <c:pt idx="1380">
                  <c:v>4.9113812998690785</c:v>
                </c:pt>
                <c:pt idx="1381">
                  <c:v>5.1251622912547123</c:v>
                </c:pt>
                <c:pt idx="1382">
                  <c:v>4.9388626220239304</c:v>
                </c:pt>
                <c:pt idx="1383">
                  <c:v>5.0397902297288244</c:v>
                </c:pt>
                <c:pt idx="1384">
                  <c:v>5.963786773601818</c:v>
                </c:pt>
                <c:pt idx="1385">
                  <c:v>4.8984293157617911</c:v>
                </c:pt>
                <c:pt idx="1386">
                  <c:v>5.1965480594019633</c:v>
                </c:pt>
                <c:pt idx="1387">
                  <c:v>4.0686126281394532</c:v>
                </c:pt>
                <c:pt idx="1388">
                  <c:v>4.798171037923936</c:v>
                </c:pt>
                <c:pt idx="1389">
                  <c:v>5.1190927719649029</c:v>
                </c:pt>
                <c:pt idx="1390">
                  <c:v>5.0476955555260723</c:v>
                </c:pt>
                <c:pt idx="1391">
                  <c:v>4.8976018669312307</c:v>
                </c:pt>
                <c:pt idx="1392">
                  <c:v>5.1779858978338682</c:v>
                </c:pt>
                <c:pt idx="1393">
                  <c:v>4.9290939816535992</c:v>
                </c:pt>
                <c:pt idx="1394">
                  <c:v>5.0001841419889406</c:v>
                </c:pt>
                <c:pt idx="1395">
                  <c:v>5.0807904249191616</c:v>
                </c:pt>
                <c:pt idx="1396">
                  <c:v>5.1799587623890373</c:v>
                </c:pt>
                <c:pt idx="1397">
                  <c:v>5.9796873852068009</c:v>
                </c:pt>
                <c:pt idx="1398">
                  <c:v>5.9691198156768799</c:v>
                </c:pt>
                <c:pt idx="1399">
                  <c:v>5.0123888640240617</c:v>
                </c:pt>
                <c:pt idx="1400">
                  <c:v>6.1133864167127872</c:v>
                </c:pt>
                <c:pt idx="1401">
                  <c:v>5.1436884479239211</c:v>
                </c:pt>
                <c:pt idx="1402">
                  <c:v>4.9410037378272014</c:v>
                </c:pt>
                <c:pt idx="1403">
                  <c:v>4.9295508033281932</c:v>
                </c:pt>
                <c:pt idx="1404">
                  <c:v>5.1554477348669465</c:v>
                </c:pt>
                <c:pt idx="1405">
                  <c:v>4.9977165106870194</c:v>
                </c:pt>
                <c:pt idx="1406">
                  <c:v>4.9719489191025446</c:v>
                </c:pt>
                <c:pt idx="1407">
                  <c:v>4.928060510215035</c:v>
                </c:pt>
                <c:pt idx="1408">
                  <c:v>5.9093728722460446</c:v>
                </c:pt>
                <c:pt idx="1409">
                  <c:v>5.9068608806681473</c:v>
                </c:pt>
                <c:pt idx="1410">
                  <c:v>4.9614862669910256</c:v>
                </c:pt>
                <c:pt idx="1411">
                  <c:v>5.1034139978938091</c:v>
                </c:pt>
                <c:pt idx="1412">
                  <c:v>4.8336695059631474</c:v>
                </c:pt>
                <c:pt idx="1413">
                  <c:v>6.0544046773089972</c:v>
                </c:pt>
                <c:pt idx="1414">
                  <c:v>4.9103532390083018</c:v>
                </c:pt>
                <c:pt idx="1415">
                  <c:v>5.9873769656755185</c:v>
                </c:pt>
                <c:pt idx="1416">
                  <c:v>6.0413923748262501</c:v>
                </c:pt>
                <c:pt idx="1417">
                  <c:v>5.050596756365838</c:v>
                </c:pt>
                <c:pt idx="1418">
                  <c:v>6.0091084948240203</c:v>
                </c:pt>
                <c:pt idx="1419">
                  <c:v>5.0636938607266098</c:v>
                </c:pt>
                <c:pt idx="1420">
                  <c:v>4.76490557917404</c:v>
                </c:pt>
                <c:pt idx="1421">
                  <c:v>6.0031929132650177</c:v>
                </c:pt>
                <c:pt idx="1422">
                  <c:v>6.2309384834672752</c:v>
                </c:pt>
                <c:pt idx="1423">
                  <c:v>5.9340190164528055</c:v>
                </c:pt>
                <c:pt idx="1424">
                  <c:v>5.0061494600984418</c:v>
                </c:pt>
                <c:pt idx="1425">
                  <c:v>4.0866424694728192</c:v>
                </c:pt>
                <c:pt idx="1426">
                  <c:v>5.0794036309425659</c:v>
                </c:pt>
                <c:pt idx="1427">
                  <c:v>6.2221107199630348</c:v>
                </c:pt>
                <c:pt idx="1428">
                  <c:v>5.1006731088775634</c:v>
                </c:pt>
                <c:pt idx="1429">
                  <c:v>3.9671980336702366</c:v>
                </c:pt>
                <c:pt idx="1430">
                  <c:v>4.960111809379419</c:v>
                </c:pt>
                <c:pt idx="1431">
                  <c:v>4.9946245141371062</c:v>
                </c:pt>
                <c:pt idx="1432">
                  <c:v>6.0081300559175848</c:v>
                </c:pt>
                <c:pt idx="1433">
                  <c:v>5.1077217826048074</c:v>
                </c:pt>
                <c:pt idx="1434">
                  <c:v>4.7857215788933356</c:v>
                </c:pt>
                <c:pt idx="1435">
                  <c:v>4.0185837209383299</c:v>
                </c:pt>
                <c:pt idx="1436">
                  <c:v>5.803840817283505</c:v>
                </c:pt>
                <c:pt idx="1437">
                  <c:v>5.0768424395758398</c:v>
                </c:pt>
                <c:pt idx="1438">
                  <c:v>5.942387681661125</c:v>
                </c:pt>
                <c:pt idx="1439">
                  <c:v>4.9306598793130565</c:v>
                </c:pt>
                <c:pt idx="1440">
                  <c:v>5.0609695230528962</c:v>
                </c:pt>
                <c:pt idx="1441">
                  <c:v>4.8264570712997896</c:v>
                </c:pt>
                <c:pt idx="1442">
                  <c:v>6.013104687216928</c:v>
                </c:pt>
                <c:pt idx="1443">
                  <c:v>4.8261587874841521</c:v>
                </c:pt>
                <c:pt idx="1444">
                  <c:v>5.0748590455741267</c:v>
                </c:pt>
                <c:pt idx="1445">
                  <c:v>5.9105886004566166</c:v>
                </c:pt>
                <c:pt idx="1446">
                  <c:v>5.127280408851802</c:v>
                </c:pt>
                <c:pt idx="1447">
                  <c:v>5.1667941397074184</c:v>
                </c:pt>
                <c:pt idx="1448">
                  <c:v>6.0001812221193971</c:v>
                </c:pt>
                <c:pt idx="1449">
                  <c:v>5.0951106336919114</c:v>
                </c:pt>
                <c:pt idx="1450">
                  <c:v>5.0912139543028703</c:v>
                </c:pt>
                <c:pt idx="1451">
                  <c:v>6.0587822331602652</c:v>
                </c:pt>
                <c:pt idx="1452">
                  <c:v>3.0125944993891767</c:v>
                </c:pt>
                <c:pt idx="1453">
                  <c:v>4.957947351554056</c:v>
                </c:pt>
                <c:pt idx="1454">
                  <c:v>5.8034542487009251</c:v>
                </c:pt>
                <c:pt idx="1455">
                  <c:v>6.1094647571735221</c:v>
                </c:pt>
                <c:pt idx="1456">
                  <c:v>6.0049705405221889</c:v>
                </c:pt>
                <c:pt idx="1457">
                  <c:v>4.2234822839722597</c:v>
                </c:pt>
                <c:pt idx="1458">
                  <c:v>5.9360942756479274</c:v>
                </c:pt>
                <c:pt idx="1459">
                  <c:v>3.9256748416193856</c:v>
                </c:pt>
                <c:pt idx="1460">
                  <c:v>7.0754724328139691</c:v>
                </c:pt>
                <c:pt idx="1461">
                  <c:v>4.2068758414270819</c:v>
                </c:pt>
                <c:pt idx="1462">
                  <c:v>3.8464166921739213</c:v>
                </c:pt>
                <c:pt idx="1463">
                  <c:v>5.9589041719070011</c:v>
                </c:pt>
                <c:pt idx="1464">
                  <c:v>6.1208132326889269</c:v>
                </c:pt>
                <c:pt idx="1465">
                  <c:v>5.8886609250135384</c:v>
                </c:pt>
                <c:pt idx="1466">
                  <c:v>5.0460561376856106</c:v>
                </c:pt>
                <c:pt idx="1467">
                  <c:v>4.8198742997931969</c:v>
                </c:pt>
                <c:pt idx="1468">
                  <c:v>4.9295587074474696</c:v>
                </c:pt>
                <c:pt idx="1469">
                  <c:v>5.0062397146295501</c:v>
                </c:pt>
                <c:pt idx="1470">
                  <c:v>4.9377848731278249</c:v>
                </c:pt>
                <c:pt idx="1471">
                  <c:v>6.166417736570815</c:v>
                </c:pt>
                <c:pt idx="1472">
                  <c:v>5.9681733384796232</c:v>
                </c:pt>
                <c:pt idx="1473">
                  <c:v>6.2288233801681869</c:v>
                </c:pt>
                <c:pt idx="1474">
                  <c:v>5.0018259817421304</c:v>
                </c:pt>
                <c:pt idx="1475">
                  <c:v>4.8655432909700629</c:v>
                </c:pt>
                <c:pt idx="1476">
                  <c:v>6.0851694506913061</c:v>
                </c:pt>
                <c:pt idx="1477">
                  <c:v>5.937423178829663</c:v>
                </c:pt>
                <c:pt idx="1478">
                  <c:v>6.1474050634347366</c:v>
                </c:pt>
                <c:pt idx="1479">
                  <c:v>5.0689121840075853</c:v>
                </c:pt>
                <c:pt idx="1480">
                  <c:v>6.0565132522056944</c:v>
                </c:pt>
                <c:pt idx="1481">
                  <c:v>5.0811605290360795</c:v>
                </c:pt>
                <c:pt idx="1482">
                  <c:v>6.1170220653615548</c:v>
                </c:pt>
                <c:pt idx="1483">
                  <c:v>5.9547202219675244</c:v>
                </c:pt>
                <c:pt idx="1484">
                  <c:v>5.9967052923574222</c:v>
                </c:pt>
                <c:pt idx="1485">
                  <c:v>5.867229812440141</c:v>
                </c:pt>
                <c:pt idx="1486">
                  <c:v>5.0047521938986765</c:v>
                </c:pt>
                <c:pt idx="1487">
                  <c:v>5.0873052644601984</c:v>
                </c:pt>
                <c:pt idx="1488">
                  <c:v>6.824897125124723</c:v>
                </c:pt>
                <c:pt idx="1489">
                  <c:v>5.8697049294707702</c:v>
                </c:pt>
                <c:pt idx="1490">
                  <c:v>5.0449656711705382</c:v>
                </c:pt>
                <c:pt idx="1491">
                  <c:v>6.0023947426902664</c:v>
                </c:pt>
                <c:pt idx="1492">
                  <c:v>4.9595013318108974</c:v>
                </c:pt>
                <c:pt idx="1493">
                  <c:v>6.9822484941734739</c:v>
                </c:pt>
                <c:pt idx="1494">
                  <c:v>6.0416476113902942</c:v>
                </c:pt>
                <c:pt idx="1495">
                  <c:v>6.0408243042656284</c:v>
                </c:pt>
                <c:pt idx="1496">
                  <c:v>5.0231741696928225</c:v>
                </c:pt>
                <c:pt idx="1497">
                  <c:v>7.0111092441233875</c:v>
                </c:pt>
                <c:pt idx="1498">
                  <c:v>5.1850180564593389</c:v>
                </c:pt>
                <c:pt idx="1499">
                  <c:v>4.9447529385054105</c:v>
                </c:pt>
                <c:pt idx="1500">
                  <c:v>4.9491127328295796</c:v>
                </c:pt>
                <c:pt idx="1501">
                  <c:v>4.9171128588765258</c:v>
                </c:pt>
                <c:pt idx="1502">
                  <c:v>4.9570236729721371</c:v>
                </c:pt>
                <c:pt idx="1503">
                  <c:v>6.0348319279866391</c:v>
                </c:pt>
                <c:pt idx="1504">
                  <c:v>6.132555238612408</c:v>
                </c:pt>
                <c:pt idx="1505">
                  <c:v>4.0916030770846445</c:v>
                </c:pt>
                <c:pt idx="1506">
                  <c:v>5.8985141638030365</c:v>
                </c:pt>
                <c:pt idx="1507">
                  <c:v>4.9198960450744851</c:v>
                </c:pt>
                <c:pt idx="1508">
                  <c:v>3.9897154610321497</c:v>
                </c:pt>
                <c:pt idx="1509">
                  <c:v>5.1214094591127628</c:v>
                </c:pt>
                <c:pt idx="1510">
                  <c:v>4.9853155500174013</c:v>
                </c:pt>
                <c:pt idx="1511">
                  <c:v>5.845340387382949</c:v>
                </c:pt>
                <c:pt idx="1512">
                  <c:v>5.9613120285002772</c:v>
                </c:pt>
                <c:pt idx="1513">
                  <c:v>5.9976844460363532</c:v>
                </c:pt>
                <c:pt idx="1514">
                  <c:v>5.8490509193759559</c:v>
                </c:pt>
                <c:pt idx="1515">
                  <c:v>5.8668597343559705</c:v>
                </c:pt>
                <c:pt idx="1516">
                  <c:v>5.9962755347430585</c:v>
                </c:pt>
                <c:pt idx="1517">
                  <c:v>5.8398314730361607</c:v>
                </c:pt>
                <c:pt idx="1518">
                  <c:v>4.8924849355596374</c:v>
                </c:pt>
                <c:pt idx="1519">
                  <c:v>3.80005061718412</c:v>
                </c:pt>
                <c:pt idx="1520">
                  <c:v>6.1082069735763804</c:v>
                </c:pt>
                <c:pt idx="1521">
                  <c:v>6.0095975437153797</c:v>
                </c:pt>
                <c:pt idx="1522">
                  <c:v>6.050015229774159</c:v>
                </c:pt>
                <c:pt idx="1523">
                  <c:v>5.9789608443947246</c:v>
                </c:pt>
                <c:pt idx="1524">
                  <c:v>5.0810875706787408</c:v>
                </c:pt>
                <c:pt idx="1525">
                  <c:v>6.0089238318436884</c:v>
                </c:pt>
                <c:pt idx="1526">
                  <c:v>4.9589766269081865</c:v>
                </c:pt>
                <c:pt idx="1527">
                  <c:v>5.9611178247271734</c:v>
                </c:pt>
                <c:pt idx="1528">
                  <c:v>5.0825362569435022</c:v>
                </c:pt>
                <c:pt idx="1529">
                  <c:v>5.0827426836464635</c:v>
                </c:pt>
                <c:pt idx="1530">
                  <c:v>5.1003037719494486</c:v>
                </c:pt>
                <c:pt idx="1531">
                  <c:v>6.0279643208098097</c:v>
                </c:pt>
                <c:pt idx="1532">
                  <c:v>4.9839882418753607</c:v>
                </c:pt>
                <c:pt idx="1533">
                  <c:v>5.0493054115778877</c:v>
                </c:pt>
                <c:pt idx="1534">
                  <c:v>4.9861222900984492</c:v>
                </c:pt>
                <c:pt idx="1535">
                  <c:v>4.9357568475741074</c:v>
                </c:pt>
                <c:pt idx="1536">
                  <c:v>6.0461429726130911</c:v>
                </c:pt>
                <c:pt idx="1537">
                  <c:v>5.9494815782719543</c:v>
                </c:pt>
                <c:pt idx="1538">
                  <c:v>6.0038469414858948</c:v>
                </c:pt>
                <c:pt idx="1539">
                  <c:v>6.9367057866765238</c:v>
                </c:pt>
                <c:pt idx="1540">
                  <c:v>4.9301986046023707</c:v>
                </c:pt>
                <c:pt idx="1541">
                  <c:v>6.0208611233070659</c:v>
                </c:pt>
                <c:pt idx="1542">
                  <c:v>4.9680537468823802</c:v>
                </c:pt>
                <c:pt idx="1543">
                  <c:v>4.9586338018187623</c:v>
                </c:pt>
                <c:pt idx="1544">
                  <c:v>5.9662026325308553</c:v>
                </c:pt>
                <c:pt idx="1545">
                  <c:v>5.0892076914677906</c:v>
                </c:pt>
                <c:pt idx="1546">
                  <c:v>5.9781483995940707</c:v>
                </c:pt>
                <c:pt idx="1547">
                  <c:v>4.9893715651338493</c:v>
                </c:pt>
                <c:pt idx="1548">
                  <c:v>4.842799659739053</c:v>
                </c:pt>
                <c:pt idx="1549">
                  <c:v>4.9734519425762747</c:v>
                </c:pt>
                <c:pt idx="1550">
                  <c:v>5.020292087287717</c:v>
                </c:pt>
                <c:pt idx="1551">
                  <c:v>6.0068706048375207</c:v>
                </c:pt>
                <c:pt idx="1552">
                  <c:v>6.0718880310546481</c:v>
                </c:pt>
                <c:pt idx="1553">
                  <c:v>5.998508225613949</c:v>
                </c:pt>
                <c:pt idx="1554">
                  <c:v>6.0716885945889638</c:v>
                </c:pt>
                <c:pt idx="1555">
                  <c:v>5.0859131990079707</c:v>
                </c:pt>
                <c:pt idx="1556">
                  <c:v>4.9464327856672323</c:v>
                </c:pt>
                <c:pt idx="1557">
                  <c:v>5.8791336148930418</c:v>
                </c:pt>
                <c:pt idx="1558">
                  <c:v>5.1766695391056103</c:v>
                </c:pt>
                <c:pt idx="1559">
                  <c:v>4.8618784390254053</c:v>
                </c:pt>
                <c:pt idx="1560">
                  <c:v>5.0449327600918412</c:v>
                </c:pt>
                <c:pt idx="1561">
                  <c:v>4.9111122226586978</c:v>
                </c:pt>
                <c:pt idx="1562">
                  <c:v>4.8186737710605234</c:v>
                </c:pt>
                <c:pt idx="1563">
                  <c:v>6.9457952130843079</c:v>
                </c:pt>
                <c:pt idx="1564">
                  <c:v>4.9709100423699129</c:v>
                </c:pt>
                <c:pt idx="1565">
                  <c:v>5.9577685815713579</c:v>
                </c:pt>
                <c:pt idx="1566">
                  <c:v>4.934277153790779</c:v>
                </c:pt>
                <c:pt idx="1567">
                  <c:v>5.9040487725448729</c:v>
                </c:pt>
                <c:pt idx="1568">
                  <c:v>5.8285529105939844</c:v>
                </c:pt>
                <c:pt idx="1569">
                  <c:v>4.9837375453025823</c:v>
                </c:pt>
                <c:pt idx="1570">
                  <c:v>4.9242642634943348</c:v>
                </c:pt>
                <c:pt idx="1571">
                  <c:v>4.9688893393770837</c:v>
                </c:pt>
                <c:pt idx="1572">
                  <c:v>6.032121785399104</c:v>
                </c:pt>
                <c:pt idx="1573">
                  <c:v>5.0155669475592015</c:v>
                </c:pt>
                <c:pt idx="1574">
                  <c:v>4.8680456786225319</c:v>
                </c:pt>
                <c:pt idx="1575">
                  <c:v>5.0530441721977386</c:v>
                </c:pt>
                <c:pt idx="1576">
                  <c:v>5.0849779806945614</c:v>
                </c:pt>
                <c:pt idx="1577">
                  <c:v>6.1540344951898067</c:v>
                </c:pt>
                <c:pt idx="1578">
                  <c:v>4.7086337071285058</c:v>
                </c:pt>
                <c:pt idx="1579">
                  <c:v>4.814989713853139</c:v>
                </c:pt>
                <c:pt idx="1580">
                  <c:v>4.9764006832320486</c:v>
                </c:pt>
                <c:pt idx="1581">
                  <c:v>6.9741159047159256</c:v>
                </c:pt>
                <c:pt idx="1582">
                  <c:v>5.0064865789554736</c:v>
                </c:pt>
                <c:pt idx="1583">
                  <c:v>5.0645121141125049</c:v>
                </c:pt>
                <c:pt idx="1584">
                  <c:v>5.8480751106768398</c:v>
                </c:pt>
                <c:pt idx="1585">
                  <c:v>4.9174315224445513</c:v>
                </c:pt>
                <c:pt idx="1586">
                  <c:v>5.1358141486388256</c:v>
                </c:pt>
                <c:pt idx="1587">
                  <c:v>6.0550148369395904</c:v>
                </c:pt>
                <c:pt idx="1588">
                  <c:v>6.0388756549651772</c:v>
                </c:pt>
                <c:pt idx="1589">
                  <c:v>5.9456037897608294</c:v>
                </c:pt>
                <c:pt idx="1590">
                  <c:v>4.8876612059468556</c:v>
                </c:pt>
                <c:pt idx="1591">
                  <c:v>4.9302834662293611</c:v>
                </c:pt>
                <c:pt idx="1592">
                  <c:v>5.1248780853269942</c:v>
                </c:pt>
                <c:pt idx="1593">
                  <c:v>4.9889656192643015</c:v>
                </c:pt>
                <c:pt idx="1594">
                  <c:v>6.0423308486376932</c:v>
                </c:pt>
                <c:pt idx="1595">
                  <c:v>5.1482429645527796</c:v>
                </c:pt>
                <c:pt idx="1596">
                  <c:v>6.0698520783869965</c:v>
                </c:pt>
                <c:pt idx="1597">
                  <c:v>6.0198787373307292</c:v>
                </c:pt>
                <c:pt idx="1598">
                  <c:v>5.0239392257237467</c:v>
                </c:pt>
                <c:pt idx="1599">
                  <c:v>6.8994519357586439</c:v>
                </c:pt>
                <c:pt idx="1600">
                  <c:v>5.9426898908134733</c:v>
                </c:pt>
                <c:pt idx="1601">
                  <c:v>4.9512737368493571</c:v>
                </c:pt>
                <c:pt idx="1602">
                  <c:v>5.016811751011204</c:v>
                </c:pt>
                <c:pt idx="1603">
                  <c:v>6.0769687858037562</c:v>
                </c:pt>
                <c:pt idx="1604">
                  <c:v>5.02756902148887</c:v>
                </c:pt>
                <c:pt idx="1605">
                  <c:v>6.0794510723030273</c:v>
                </c:pt>
                <c:pt idx="1606">
                  <c:v>4.8138925518741527</c:v>
                </c:pt>
                <c:pt idx="1607">
                  <c:v>6.097146003314041</c:v>
                </c:pt>
                <c:pt idx="1608">
                  <c:v>6.1640262583258547</c:v>
                </c:pt>
                <c:pt idx="1609">
                  <c:v>5.1013682409547076</c:v>
                </c:pt>
                <c:pt idx="1610">
                  <c:v>5.8740073363986181</c:v>
                </c:pt>
                <c:pt idx="1611">
                  <c:v>5.9468040461806471</c:v>
                </c:pt>
                <c:pt idx="1612">
                  <c:v>6.0935087929108755</c:v>
                </c:pt>
                <c:pt idx="1613">
                  <c:v>5.8299598981463721</c:v>
                </c:pt>
                <c:pt idx="1614">
                  <c:v>6.0754805607255946</c:v>
                </c:pt>
                <c:pt idx="1615">
                  <c:v>5.8292385078480349</c:v>
                </c:pt>
                <c:pt idx="1616">
                  <c:v>6.0644635907741922</c:v>
                </c:pt>
                <c:pt idx="1617">
                  <c:v>6.0222869053474186</c:v>
                </c:pt>
                <c:pt idx="1618">
                  <c:v>5.0072494557642573</c:v>
                </c:pt>
                <c:pt idx="1619">
                  <c:v>6.0446459550889147</c:v>
                </c:pt>
                <c:pt idx="1620">
                  <c:v>5.9832665587517972</c:v>
                </c:pt>
                <c:pt idx="1621">
                  <c:v>5.0484286958392097</c:v>
                </c:pt>
                <c:pt idx="1622">
                  <c:v>4.8636805950710738</c:v>
                </c:pt>
                <c:pt idx="1623">
                  <c:v>6.1621290160024627</c:v>
                </c:pt>
                <c:pt idx="1624">
                  <c:v>4.9402358825573875</c:v>
                </c:pt>
                <c:pt idx="1625">
                  <c:v>5.7991090339238625</c:v>
                </c:pt>
                <c:pt idx="1626">
                  <c:v>5.7918254713655486</c:v>
                </c:pt>
                <c:pt idx="1627">
                  <c:v>5.9632265721059179</c:v>
                </c:pt>
                <c:pt idx="1628">
                  <c:v>4.8876202473119834</c:v>
                </c:pt>
                <c:pt idx="1629">
                  <c:v>6.1437152396836439</c:v>
                </c:pt>
                <c:pt idx="1630">
                  <c:v>6.1221903983915524</c:v>
                </c:pt>
                <c:pt idx="1631">
                  <c:v>4.9624739134349811</c:v>
                </c:pt>
                <c:pt idx="1632">
                  <c:v>4.9683110444877849</c:v>
                </c:pt>
                <c:pt idx="1633">
                  <c:v>5.2480588608432202</c:v>
                </c:pt>
                <c:pt idx="1634">
                  <c:v>4.74735852812295</c:v>
                </c:pt>
                <c:pt idx="1635">
                  <c:v>7.1588568522628044</c:v>
                </c:pt>
                <c:pt idx="1636">
                  <c:v>5.0122034919857708</c:v>
                </c:pt>
                <c:pt idx="1637">
                  <c:v>4.8858732119302015</c:v>
                </c:pt>
                <c:pt idx="1638">
                  <c:v>5.0445430634380815</c:v>
                </c:pt>
                <c:pt idx="1639">
                  <c:v>4.8368747116876625</c:v>
                </c:pt>
                <c:pt idx="1640">
                  <c:v>4.9130102368451931</c:v>
                </c:pt>
                <c:pt idx="1641">
                  <c:v>4.0568087796770982</c:v>
                </c:pt>
                <c:pt idx="1642">
                  <c:v>4.0717940008802334</c:v>
                </c:pt>
                <c:pt idx="1643">
                  <c:v>4.8460173896114078</c:v>
                </c:pt>
                <c:pt idx="1644">
                  <c:v>3.9652083442792754</c:v>
                </c:pt>
                <c:pt idx="1645">
                  <c:v>4.8560107311468821</c:v>
                </c:pt>
                <c:pt idx="1646">
                  <c:v>4.9902981786801428</c:v>
                </c:pt>
                <c:pt idx="1647">
                  <c:v>5.0519511087515392</c:v>
                </c:pt>
                <c:pt idx="1648">
                  <c:v>5.9849069029894393</c:v>
                </c:pt>
                <c:pt idx="1649">
                  <c:v>4.9805979476424724</c:v>
                </c:pt>
                <c:pt idx="1650">
                  <c:v>4.9518561966153616</c:v>
                </c:pt>
                <c:pt idx="1651">
                  <c:v>6.1268435304747006</c:v>
                </c:pt>
                <c:pt idx="1652">
                  <c:v>5.9277779476882824</c:v>
                </c:pt>
                <c:pt idx="1653">
                  <c:v>6.0044324793110224</c:v>
                </c:pt>
                <c:pt idx="1654">
                  <c:v>4.9794921156654501</c:v>
                </c:pt>
                <c:pt idx="1655">
                  <c:v>5.8965083023047935</c:v>
                </c:pt>
                <c:pt idx="1656">
                  <c:v>6.1129733354065028</c:v>
                </c:pt>
                <c:pt idx="1657">
                  <c:v>6.0824156767470159</c:v>
                </c:pt>
                <c:pt idx="1658">
                  <c:v>6.0056174527730937</c:v>
                </c:pt>
                <c:pt idx="1659">
                  <c:v>5.9551203512054007</c:v>
                </c:pt>
                <c:pt idx="1660">
                  <c:v>5.0800268402610413</c:v>
                </c:pt>
                <c:pt idx="1661">
                  <c:v>6.0953871116214504</c:v>
                </c:pt>
                <c:pt idx="1662">
                  <c:v>5.9780243316345674</c:v>
                </c:pt>
                <c:pt idx="1663">
                  <c:v>5.9467183379880728</c:v>
                </c:pt>
                <c:pt idx="1664">
                  <c:v>5.8480393291786585</c:v>
                </c:pt>
                <c:pt idx="1665">
                  <c:v>4.946190586525085</c:v>
                </c:pt>
                <c:pt idx="1666">
                  <c:v>5.1425426393122367</c:v>
                </c:pt>
                <c:pt idx="1667">
                  <c:v>5.0231568680827436</c:v>
                </c:pt>
                <c:pt idx="1668">
                  <c:v>5.1124419254701312</c:v>
                </c:pt>
                <c:pt idx="1669">
                  <c:v>5.9345883324534938</c:v>
                </c:pt>
                <c:pt idx="1670">
                  <c:v>4.9552258568370311</c:v>
                </c:pt>
                <c:pt idx="1671">
                  <c:v>5.8927047473224166</c:v>
                </c:pt>
                <c:pt idx="1672">
                  <c:v>5.1849156909881531</c:v>
                </c:pt>
                <c:pt idx="1673">
                  <c:v>4.9808950406419763</c:v>
                </c:pt>
                <c:pt idx="1674">
                  <c:v>5.989677831311548</c:v>
                </c:pt>
                <c:pt idx="1675">
                  <c:v>5.9834037971231284</c:v>
                </c:pt>
                <c:pt idx="1676">
                  <c:v>5.8324936232081148</c:v>
                </c:pt>
                <c:pt idx="1677">
                  <c:v>6.116095836878543</c:v>
                </c:pt>
                <c:pt idx="1678">
                  <c:v>5.0078871522200297</c:v>
                </c:pt>
                <c:pt idx="1679">
                  <c:v>4.8590788787663</c:v>
                </c:pt>
                <c:pt idx="1680">
                  <c:v>6.2000239635277765</c:v>
                </c:pt>
                <c:pt idx="1681">
                  <c:v>5.1116560927838535</c:v>
                </c:pt>
                <c:pt idx="1682">
                  <c:v>6.0350862199330519</c:v>
                </c:pt>
                <c:pt idx="1683">
                  <c:v>4.9431397368560051</c:v>
                </c:pt>
                <c:pt idx="1684">
                  <c:v>6.0529166820082789</c:v>
                </c:pt>
                <c:pt idx="1685">
                  <c:v>5.937878870251426</c:v>
                </c:pt>
                <c:pt idx="1686">
                  <c:v>5.9030984466826073</c:v>
                </c:pt>
                <c:pt idx="1687">
                  <c:v>5.9663760687832061</c:v>
                </c:pt>
                <c:pt idx="1688">
                  <c:v>4.9958593621578995</c:v>
                </c:pt>
                <c:pt idx="1689">
                  <c:v>5.956308523364144</c:v>
                </c:pt>
                <c:pt idx="1690">
                  <c:v>5.2379020443299034</c:v>
                </c:pt>
                <c:pt idx="1691">
                  <c:v>4.9019466371206377</c:v>
                </c:pt>
                <c:pt idx="1692">
                  <c:v>6.0422790651991205</c:v>
                </c:pt>
                <c:pt idx="1693">
                  <c:v>7.0536372004064978</c:v>
                </c:pt>
                <c:pt idx="1694">
                  <c:v>5.1463293766966212</c:v>
                </c:pt>
                <c:pt idx="1695">
                  <c:v>4.9174754394265676</c:v>
                </c:pt>
                <c:pt idx="1696">
                  <c:v>5.1675038119243979</c:v>
                </c:pt>
                <c:pt idx="1697">
                  <c:v>6.142760437741388</c:v>
                </c:pt>
                <c:pt idx="1698">
                  <c:v>5.003157606942624</c:v>
                </c:pt>
                <c:pt idx="1699">
                  <c:v>4.7997180646578732</c:v>
                </c:pt>
                <c:pt idx="1700">
                  <c:v>7.010775156421472</c:v>
                </c:pt>
                <c:pt idx="1701">
                  <c:v>6.0642888112883773</c:v>
                </c:pt>
                <c:pt idx="1702">
                  <c:v>5.8794314586448877</c:v>
                </c:pt>
                <c:pt idx="1703">
                  <c:v>6.1073940019664716</c:v>
                </c:pt>
                <c:pt idx="1704">
                  <c:v>6.1173287459887611</c:v>
                </c:pt>
                <c:pt idx="1705">
                  <c:v>4.8421319744324975</c:v>
                </c:pt>
                <c:pt idx="1706">
                  <c:v>4.9481736878241378</c:v>
                </c:pt>
                <c:pt idx="1707">
                  <c:v>5.9997440973033127</c:v>
                </c:pt>
                <c:pt idx="1708">
                  <c:v>5.9998158504125998</c:v>
                </c:pt>
                <c:pt idx="1709">
                  <c:v>5.8872233950937289</c:v>
                </c:pt>
                <c:pt idx="1710">
                  <c:v>5.0577872971097904</c:v>
                </c:pt>
                <c:pt idx="1711">
                  <c:v>6.0402280299672482</c:v>
                </c:pt>
                <c:pt idx="1712">
                  <c:v>5.0369402998500341</c:v>
                </c:pt>
                <c:pt idx="1713">
                  <c:v>6.0687542663535732</c:v>
                </c:pt>
                <c:pt idx="1714">
                  <c:v>5.1074470609559572</c:v>
                </c:pt>
                <c:pt idx="1715">
                  <c:v>4.9591039636061085</c:v>
                </c:pt>
                <c:pt idx="1716">
                  <c:v>4.9589175018003067</c:v>
                </c:pt>
                <c:pt idx="1717">
                  <c:v>6.0324211720092968</c:v>
                </c:pt>
                <c:pt idx="1718">
                  <c:v>4.9557464030816485</c:v>
                </c:pt>
                <c:pt idx="1719">
                  <c:v>5.0073470099336355</c:v>
                </c:pt>
                <c:pt idx="1720">
                  <c:v>4.9585231271684975</c:v>
                </c:pt>
                <c:pt idx="1721">
                  <c:v>4.9536980162583486</c:v>
                </c:pt>
                <c:pt idx="1722">
                  <c:v>5.0104799381652452</c:v>
                </c:pt>
                <c:pt idx="1723">
                  <c:v>4.9535526185937231</c:v>
                </c:pt>
                <c:pt idx="1724">
                  <c:v>5.8030444491984543</c:v>
                </c:pt>
                <c:pt idx="1725">
                  <c:v>8.0813146389412704</c:v>
                </c:pt>
                <c:pt idx="1726">
                  <c:v>6.0318079781479916</c:v>
                </c:pt>
                <c:pt idx="1727">
                  <c:v>6.0818817929035802</c:v>
                </c:pt>
                <c:pt idx="1728">
                  <c:v>5.0428860601789696</c:v>
                </c:pt>
                <c:pt idx="1729">
                  <c:v>6.0640122191981476</c:v>
                </c:pt>
                <c:pt idx="1730">
                  <c:v>4.8299553514755331</c:v>
                </c:pt>
                <c:pt idx="1731">
                  <c:v>4.8820492691416222</c:v>
                </c:pt>
                <c:pt idx="1732">
                  <c:v>6.0178369732750516</c:v>
                </c:pt>
                <c:pt idx="1733">
                  <c:v>6.0749891336618438</c:v>
                </c:pt>
                <c:pt idx="1734">
                  <c:v>5.0981179937987813</c:v>
                </c:pt>
                <c:pt idx="1735">
                  <c:v>6.0193022339934394</c:v>
                </c:pt>
                <c:pt idx="1736">
                  <c:v>5.9783379240996233</c:v>
                </c:pt>
                <c:pt idx="1737">
                  <c:v>4.9935769857790069</c:v>
                </c:pt>
                <c:pt idx="1738">
                  <c:v>6.0173771631129753</c:v>
                </c:pt>
                <c:pt idx="1739">
                  <c:v>5.9564139151139628</c:v>
                </c:pt>
                <c:pt idx="1740">
                  <c:v>6.0186644143235517</c:v>
                </c:pt>
                <c:pt idx="1741">
                  <c:v>6.0841275744077707</c:v>
                </c:pt>
                <c:pt idx="1742">
                  <c:v>4.939363854198823</c:v>
                </c:pt>
                <c:pt idx="1743">
                  <c:v>5.0209056256243576</c:v>
                </c:pt>
                <c:pt idx="1744">
                  <c:v>5.0896914770945445</c:v>
                </c:pt>
                <c:pt idx="1745">
                  <c:v>4.8843353109940315</c:v>
                </c:pt>
                <c:pt idx="1746">
                  <c:v>5.8573581035146836</c:v>
                </c:pt>
                <c:pt idx="1747">
                  <c:v>5.1464830439188232</c:v>
                </c:pt>
                <c:pt idx="1748">
                  <c:v>4.9875841425473002</c:v>
                </c:pt>
                <c:pt idx="1749">
                  <c:v>5.137286263988261</c:v>
                </c:pt>
                <c:pt idx="1750">
                  <c:v>4.9382685892016598</c:v>
                </c:pt>
                <c:pt idx="1751">
                  <c:v>5.0948724969759258</c:v>
                </c:pt>
                <c:pt idx="1752">
                  <c:v>4.95963643336645</c:v>
                </c:pt>
                <c:pt idx="1753">
                  <c:v>6.1155271975919199</c:v>
                </c:pt>
                <c:pt idx="1754">
                  <c:v>6.1934810136891558</c:v>
                </c:pt>
                <c:pt idx="1755">
                  <c:v>5.9722855793114773</c:v>
                </c:pt>
                <c:pt idx="1756">
                  <c:v>5.0330797874487541</c:v>
                </c:pt>
                <c:pt idx="1757">
                  <c:v>5.8649112305885911</c:v>
                </c:pt>
                <c:pt idx="1758">
                  <c:v>5.0288746708351661</c:v>
                </c:pt>
                <c:pt idx="1759">
                  <c:v>5.0759050376335875</c:v>
                </c:pt>
                <c:pt idx="1760">
                  <c:v>6.1808745233986278</c:v>
                </c:pt>
                <c:pt idx="1761">
                  <c:v>5.0849757094733441</c:v>
                </c:pt>
                <c:pt idx="1762">
                  <c:v>5.9705043357779886</c:v>
                </c:pt>
                <c:pt idx="1763">
                  <c:v>6.9432394029726252</c:v>
                </c:pt>
                <c:pt idx="1764">
                  <c:v>5.1736793779655557</c:v>
                </c:pt>
                <c:pt idx="1765">
                  <c:v>6.0415193177578388</c:v>
                </c:pt>
                <c:pt idx="1766">
                  <c:v>4.9525124879857083</c:v>
                </c:pt>
                <c:pt idx="1767">
                  <c:v>6.0577004633358085</c:v>
                </c:pt>
                <c:pt idx="1768">
                  <c:v>5.9480296879828245</c:v>
                </c:pt>
                <c:pt idx="1769">
                  <c:v>7.1208564105923857</c:v>
                </c:pt>
                <c:pt idx="1770">
                  <c:v>5.7847013161717866</c:v>
                </c:pt>
                <c:pt idx="1771">
                  <c:v>5.1916110196543119</c:v>
                </c:pt>
                <c:pt idx="1772">
                  <c:v>4.8849252239357535</c:v>
                </c:pt>
                <c:pt idx="1773">
                  <c:v>5.0728877469520119</c:v>
                </c:pt>
                <c:pt idx="1774">
                  <c:v>5.1090630346135741</c:v>
                </c:pt>
                <c:pt idx="1775">
                  <c:v>5.0460749940729777</c:v>
                </c:pt>
                <c:pt idx="1776">
                  <c:v>4.9338329237332026</c:v>
                </c:pt>
                <c:pt idx="1777">
                  <c:v>6.0756324752865707</c:v>
                </c:pt>
                <c:pt idx="1778">
                  <c:v>4.9998709419589282</c:v>
                </c:pt>
                <c:pt idx="1779">
                  <c:v>7.0985852971509864</c:v>
                </c:pt>
                <c:pt idx="1780">
                  <c:v>6.0140461442834425</c:v>
                </c:pt>
                <c:pt idx="1781">
                  <c:v>6.9825589629116482</c:v>
                </c:pt>
                <c:pt idx="1782">
                  <c:v>7.2185148878607013</c:v>
                </c:pt>
                <c:pt idx="1783">
                  <c:v>7.0078224728425278</c:v>
                </c:pt>
                <c:pt idx="1784">
                  <c:v>5.1230315443199412</c:v>
                </c:pt>
                <c:pt idx="1785">
                  <c:v>6.1878968537699546</c:v>
                </c:pt>
                <c:pt idx="1786">
                  <c:v>4.9935645686681669</c:v>
                </c:pt>
                <c:pt idx="1787">
                  <c:v>6.0023284724834332</c:v>
                </c:pt>
                <c:pt idx="1788">
                  <c:v>5.0262893481954203</c:v>
                </c:pt>
                <c:pt idx="1789">
                  <c:v>5.9382634541594994</c:v>
                </c:pt>
                <c:pt idx="1790">
                  <c:v>5.8400088778920471</c:v>
                </c:pt>
                <c:pt idx="1791">
                  <c:v>5.0536722797038207</c:v>
                </c:pt>
                <c:pt idx="1792">
                  <c:v>6.0152948395605774</c:v>
                </c:pt>
                <c:pt idx="1793">
                  <c:v>6.1051945765989455</c:v>
                </c:pt>
                <c:pt idx="1794">
                  <c:v>5.9485971436265626</c:v>
                </c:pt>
                <c:pt idx="1795">
                  <c:v>6.0994079050710681</c:v>
                </c:pt>
                <c:pt idx="1796">
                  <c:v>5.9605744693683071</c:v>
                </c:pt>
                <c:pt idx="1797">
                  <c:v>5.0236891580984402</c:v>
                </c:pt>
                <c:pt idx="1798">
                  <c:v>6.1593456100323625</c:v>
                </c:pt>
                <c:pt idx="1799">
                  <c:v>6.8705454235806798</c:v>
                </c:pt>
                <c:pt idx="1800">
                  <c:v>5.0574122244510091</c:v>
                </c:pt>
                <c:pt idx="1801">
                  <c:v>6.0501801321697926</c:v>
                </c:pt>
                <c:pt idx="1802">
                  <c:v>6.0045373223512968</c:v>
                </c:pt>
                <c:pt idx="1803">
                  <c:v>5.1425369371948211</c:v>
                </c:pt>
                <c:pt idx="1804">
                  <c:v>6.9094969449193639</c:v>
                </c:pt>
                <c:pt idx="1805">
                  <c:v>5.9816075003194928</c:v>
                </c:pt>
                <c:pt idx="1806">
                  <c:v>5.1240520206668814</c:v>
                </c:pt>
                <c:pt idx="1807">
                  <c:v>6.9828091622477046</c:v>
                </c:pt>
                <c:pt idx="1808">
                  <c:v>4.9648246369158358</c:v>
                </c:pt>
                <c:pt idx="1809">
                  <c:v>7.0948237282542603</c:v>
                </c:pt>
                <c:pt idx="1810">
                  <c:v>5.9185876423196371</c:v>
                </c:pt>
                <c:pt idx="1811">
                  <c:v>6.6928135937604365</c:v>
                </c:pt>
                <c:pt idx="1812">
                  <c:v>7.0282815141466841</c:v>
                </c:pt>
                <c:pt idx="1813">
                  <c:v>5.0153821084628545</c:v>
                </c:pt>
                <c:pt idx="1814">
                  <c:v>6.0114208270581546</c:v>
                </c:pt>
                <c:pt idx="1815">
                  <c:v>4.0784058792096687</c:v>
                </c:pt>
                <c:pt idx="1816">
                  <c:v>6.0778495647403474</c:v>
                </c:pt>
                <c:pt idx="1817">
                  <c:v>5.8753582455585649</c:v>
                </c:pt>
                <c:pt idx="1818">
                  <c:v>7.0697175170187849</c:v>
                </c:pt>
                <c:pt idx="1819">
                  <c:v>5.927838985661924</c:v>
                </c:pt>
                <c:pt idx="1820">
                  <c:v>5.7897193056260097</c:v>
                </c:pt>
                <c:pt idx="1821">
                  <c:v>5.063664285905813</c:v>
                </c:pt>
                <c:pt idx="1822">
                  <c:v>6.0337025687798889</c:v>
                </c:pt>
                <c:pt idx="1823">
                  <c:v>6.1096741120324429</c:v>
                </c:pt>
                <c:pt idx="1824">
                  <c:v>6.1021831526157611</c:v>
                </c:pt>
                <c:pt idx="1825">
                  <c:v>5.9030721402528537</c:v>
                </c:pt>
                <c:pt idx="1826">
                  <c:v>9.0264528855788395</c:v>
                </c:pt>
                <c:pt idx="1827">
                  <c:v>4.9722096660373989</c:v>
                </c:pt>
                <c:pt idx="1828">
                  <c:v>4.9955433140996455</c:v>
                </c:pt>
                <c:pt idx="1829">
                  <c:v>4.9052724023850178</c:v>
                </c:pt>
                <c:pt idx="1830">
                  <c:v>4.8319370422073895</c:v>
                </c:pt>
                <c:pt idx="1831">
                  <c:v>3.8452586645193469</c:v>
                </c:pt>
                <c:pt idx="1832">
                  <c:v>4.9736679309340319</c:v>
                </c:pt>
                <c:pt idx="1833">
                  <c:v>5.2016210025587339</c:v>
                </c:pt>
                <c:pt idx="1834">
                  <c:v>5.0365078410291551</c:v>
                </c:pt>
                <c:pt idx="1835">
                  <c:v>6.0234611055650644</c:v>
                </c:pt>
                <c:pt idx="1836">
                  <c:v>4.9337381282089101</c:v>
                </c:pt>
                <c:pt idx="1837">
                  <c:v>5.0018988814874339</c:v>
                </c:pt>
                <c:pt idx="1838">
                  <c:v>4.8986097686540955</c:v>
                </c:pt>
                <c:pt idx="1839">
                  <c:v>3.9371597052199263</c:v>
                </c:pt>
                <c:pt idx="1840">
                  <c:v>6.0051959529422065</c:v>
                </c:pt>
                <c:pt idx="1841">
                  <c:v>3.9764402739304296</c:v>
                </c:pt>
                <c:pt idx="1842">
                  <c:v>5.1612670897312363</c:v>
                </c:pt>
                <c:pt idx="1843">
                  <c:v>4.9464850020154456</c:v>
                </c:pt>
                <c:pt idx="1844">
                  <c:v>5.9201482252619035</c:v>
                </c:pt>
                <c:pt idx="1845">
                  <c:v>5.0399797319303916</c:v>
                </c:pt>
                <c:pt idx="1846">
                  <c:v>5.9733481112363345</c:v>
                </c:pt>
                <c:pt idx="1847">
                  <c:v>6.9959540668243907</c:v>
                </c:pt>
                <c:pt idx="1848">
                  <c:v>5.9726826650189535</c:v>
                </c:pt>
                <c:pt idx="1849">
                  <c:v>5.1643763870214432</c:v>
                </c:pt>
                <c:pt idx="1850">
                  <c:v>6.9997728129432053</c:v>
                </c:pt>
                <c:pt idx="1851">
                  <c:v>6.2093573522551004</c:v>
                </c:pt>
                <c:pt idx="1852">
                  <c:v>5.9736306742073797</c:v>
                </c:pt>
                <c:pt idx="1853">
                  <c:v>6.164324825083189</c:v>
                </c:pt>
                <c:pt idx="1854">
                  <c:v>5.9377180463280697</c:v>
                </c:pt>
                <c:pt idx="1855">
                  <c:v>6.8469999152980749</c:v>
                </c:pt>
                <c:pt idx="1856">
                  <c:v>7.2107083768768581</c:v>
                </c:pt>
                <c:pt idx="1857">
                  <c:v>4.9827418743435326</c:v>
                </c:pt>
                <c:pt idx="1858">
                  <c:v>7.0158578223459189</c:v>
                </c:pt>
                <c:pt idx="1859">
                  <c:v>6.8634451223068647</c:v>
                </c:pt>
                <c:pt idx="1860">
                  <c:v>5.8691784540447642</c:v>
                </c:pt>
                <c:pt idx="1861">
                  <c:v>6.9767166690993552</c:v>
                </c:pt>
                <c:pt idx="1862">
                  <c:v>6.7847223872921925</c:v>
                </c:pt>
                <c:pt idx="1863">
                  <c:v>7.0048115452333963</c:v>
                </c:pt>
                <c:pt idx="1864">
                  <c:v>4.9926160491588263</c:v>
                </c:pt>
                <c:pt idx="1865">
                  <c:v>6.0090736399530753</c:v>
                </c:pt>
                <c:pt idx="1866">
                  <c:v>4.9345205908277388</c:v>
                </c:pt>
                <c:pt idx="1867">
                  <c:v>5.9671194134384713</c:v>
                </c:pt>
                <c:pt idx="1868">
                  <c:v>5.098150801505021</c:v>
                </c:pt>
                <c:pt idx="1869">
                  <c:v>5.0027293020226296</c:v>
                </c:pt>
                <c:pt idx="1870">
                  <c:v>4.9821591746138054</c:v>
                </c:pt>
                <c:pt idx="1871">
                  <c:v>7.236976377514746</c:v>
                </c:pt>
                <c:pt idx="1872">
                  <c:v>5.990309492725971</c:v>
                </c:pt>
                <c:pt idx="1873">
                  <c:v>7.0523038038789458</c:v>
                </c:pt>
                <c:pt idx="1874">
                  <c:v>6.050852088859072</c:v>
                </c:pt>
                <c:pt idx="1875">
                  <c:v>3.9546035724120947</c:v>
                </c:pt>
                <c:pt idx="1876">
                  <c:v>5.9237584542453376</c:v>
                </c:pt>
                <c:pt idx="1877">
                  <c:v>4.8266800447999074</c:v>
                </c:pt>
                <c:pt idx="1878">
                  <c:v>4.9894959677160786</c:v>
                </c:pt>
                <c:pt idx="1879">
                  <c:v>4.9443488125340407</c:v>
                </c:pt>
                <c:pt idx="1880">
                  <c:v>5.1154399311175309</c:v>
                </c:pt>
                <c:pt idx="1881">
                  <c:v>7.0624530791436699</c:v>
                </c:pt>
                <c:pt idx="1882">
                  <c:v>5.9684993877819945</c:v>
                </c:pt>
                <c:pt idx="1883">
                  <c:v>6.7399487272290592</c:v>
                </c:pt>
                <c:pt idx="1884">
                  <c:v>5.1098282424249888</c:v>
                </c:pt>
                <c:pt idx="1885">
                  <c:v>6.0495952957151369</c:v>
                </c:pt>
                <c:pt idx="1886">
                  <c:v>6.0379423850912843</c:v>
                </c:pt>
                <c:pt idx="1887">
                  <c:v>5.0454735206953538</c:v>
                </c:pt>
                <c:pt idx="1888">
                  <c:v>4.8600351507445456</c:v>
                </c:pt>
                <c:pt idx="1889">
                  <c:v>3.9244732684930441</c:v>
                </c:pt>
                <c:pt idx="1890">
                  <c:v>4.8916104560981752</c:v>
                </c:pt>
                <c:pt idx="1891">
                  <c:v>5.9768451022882125</c:v>
                </c:pt>
                <c:pt idx="1892">
                  <c:v>5.9541704901579449</c:v>
                </c:pt>
                <c:pt idx="1893">
                  <c:v>5.900173842055831</c:v>
                </c:pt>
                <c:pt idx="1894">
                  <c:v>5.9961541018956339</c:v>
                </c:pt>
                <c:pt idx="1895">
                  <c:v>6.0541956601608318</c:v>
                </c:pt>
                <c:pt idx="1896">
                  <c:v>5.0906290641826812</c:v>
                </c:pt>
                <c:pt idx="1897">
                  <c:v>5.0255564854339845</c:v>
                </c:pt>
                <c:pt idx="1898">
                  <c:v>6.0626070962485867</c:v>
                </c:pt>
                <c:pt idx="1899">
                  <c:v>4.8829600865698453</c:v>
                </c:pt>
                <c:pt idx="1900">
                  <c:v>6.1724697856415291</c:v>
                </c:pt>
                <c:pt idx="1901">
                  <c:v>6.0028870091899318</c:v>
                </c:pt>
                <c:pt idx="1902">
                  <c:v>6.0423748444841854</c:v>
                </c:pt>
                <c:pt idx="1903">
                  <c:v>6.1468604925921388</c:v>
                </c:pt>
                <c:pt idx="1904">
                  <c:v>6.1579492756514176</c:v>
                </c:pt>
                <c:pt idx="1905">
                  <c:v>5.0223187403029517</c:v>
                </c:pt>
                <c:pt idx="1906">
                  <c:v>4.9821010100152145</c:v>
                </c:pt>
                <c:pt idx="1907">
                  <c:v>4.9311953469482468</c:v>
                </c:pt>
                <c:pt idx="1908">
                  <c:v>3.9742719081528666</c:v>
                </c:pt>
                <c:pt idx="1909">
                  <c:v>4.9987070934797702</c:v>
                </c:pt>
                <c:pt idx="1910">
                  <c:v>5.2375940601534801</c:v>
                </c:pt>
                <c:pt idx="1911">
                  <c:v>5.0544509451820296</c:v>
                </c:pt>
                <c:pt idx="1912">
                  <c:v>7.0848699782358366</c:v>
                </c:pt>
                <c:pt idx="1913">
                  <c:v>4.8439263444115408</c:v>
                </c:pt>
                <c:pt idx="1914">
                  <c:v>5.1335664016556457</c:v>
                </c:pt>
                <c:pt idx="1915">
                  <c:v>5.0478045656623065</c:v>
                </c:pt>
                <c:pt idx="1916">
                  <c:v>4.9115574321741704</c:v>
                </c:pt>
                <c:pt idx="1917">
                  <c:v>5.8900067926553143</c:v>
                </c:pt>
                <c:pt idx="1918">
                  <c:v>6.1599049583320671</c:v>
                </c:pt>
                <c:pt idx="1919">
                  <c:v>5.0890651847006643</c:v>
                </c:pt>
                <c:pt idx="1920">
                  <c:v>4.8854062854152707</c:v>
                </c:pt>
                <c:pt idx="1921">
                  <c:v>5.9211598840395965</c:v>
                </c:pt>
                <c:pt idx="1922">
                  <c:v>5.2352997497559546</c:v>
                </c:pt>
                <c:pt idx="1923">
                  <c:v>4.8753165222245887</c:v>
                </c:pt>
                <c:pt idx="1924">
                  <c:v>5.0623654828201197</c:v>
                </c:pt>
                <c:pt idx="1925">
                  <c:v>4.9877180592343304</c:v>
                </c:pt>
                <c:pt idx="1926">
                  <c:v>5.0381475471163926</c:v>
                </c:pt>
                <c:pt idx="1927">
                  <c:v>5.1132958907190122</c:v>
                </c:pt>
                <c:pt idx="1928">
                  <c:v>5.973265708379496</c:v>
                </c:pt>
                <c:pt idx="1929">
                  <c:v>6.0380260803014423</c:v>
                </c:pt>
                <c:pt idx="1930">
                  <c:v>5.1243461755671502</c:v>
                </c:pt>
                <c:pt idx="1931">
                  <c:v>5.2682552168417711</c:v>
                </c:pt>
                <c:pt idx="1932">
                  <c:v>5.9044223634971589</c:v>
                </c:pt>
                <c:pt idx="1933">
                  <c:v>5.1731981729495997</c:v>
                </c:pt>
                <c:pt idx="1934">
                  <c:v>5.1571840674846952</c:v>
                </c:pt>
                <c:pt idx="1935">
                  <c:v>5.8648746132395058</c:v>
                </c:pt>
                <c:pt idx="1936">
                  <c:v>6.0815479551659237</c:v>
                </c:pt>
                <c:pt idx="1937">
                  <c:v>5.0747648859491594</c:v>
                </c:pt>
                <c:pt idx="1938">
                  <c:v>5.9076631291276129</c:v>
                </c:pt>
                <c:pt idx="1939">
                  <c:v>4.9607035691445738</c:v>
                </c:pt>
                <c:pt idx="1940">
                  <c:v>5.1195092703349276</c:v>
                </c:pt>
                <c:pt idx="1941">
                  <c:v>6.1426128237295812</c:v>
                </c:pt>
                <c:pt idx="1942">
                  <c:v>6.1430170196857503</c:v>
                </c:pt>
                <c:pt idx="1943">
                  <c:v>5.0779475503779654</c:v>
                </c:pt>
                <c:pt idx="1944">
                  <c:v>3.8988316500062763</c:v>
                </c:pt>
                <c:pt idx="1945">
                  <c:v>4.1718932029342506</c:v>
                </c:pt>
                <c:pt idx="1946">
                  <c:v>5.9871867617552645</c:v>
                </c:pt>
                <c:pt idx="1947">
                  <c:v>4.9032504043529075</c:v>
                </c:pt>
                <c:pt idx="1948">
                  <c:v>5.1555794910644837</c:v>
                </c:pt>
                <c:pt idx="1949">
                  <c:v>6.0477721353514786</c:v>
                </c:pt>
                <c:pt idx="1950">
                  <c:v>7.1139018533435969</c:v>
                </c:pt>
                <c:pt idx="1951">
                  <c:v>5.9877073230997349</c:v>
                </c:pt>
                <c:pt idx="1952">
                  <c:v>6.8317610331480001</c:v>
                </c:pt>
                <c:pt idx="1953">
                  <c:v>7.0689215210281127</c:v>
                </c:pt>
                <c:pt idx="1954">
                  <c:v>6.9297816574994116</c:v>
                </c:pt>
                <c:pt idx="1955">
                  <c:v>6.9107329068019219</c:v>
                </c:pt>
                <c:pt idx="1956">
                  <c:v>2.797583864084964</c:v>
                </c:pt>
                <c:pt idx="1957">
                  <c:v>3.197216439017426</c:v>
                </c:pt>
                <c:pt idx="1958">
                  <c:v>5.0770728902413271</c:v>
                </c:pt>
                <c:pt idx="1959">
                  <c:v>6.0166256968430218</c:v>
                </c:pt>
                <c:pt idx="1960">
                  <c:v>5.9886367569074839</c:v>
                </c:pt>
                <c:pt idx="1961">
                  <c:v>4.0305606253963555</c:v>
                </c:pt>
                <c:pt idx="1962">
                  <c:v>4.8665892393337984</c:v>
                </c:pt>
                <c:pt idx="1963">
                  <c:v>6.1718954041466905</c:v>
                </c:pt>
                <c:pt idx="1964">
                  <c:v>5.1029006991763328</c:v>
                </c:pt>
                <c:pt idx="1965">
                  <c:v>5.9020042574259666</c:v>
                </c:pt>
                <c:pt idx="1966">
                  <c:v>6.0844835021909818</c:v>
                </c:pt>
                <c:pt idx="1967">
                  <c:v>5.1401193917595478</c:v>
                </c:pt>
                <c:pt idx="1968">
                  <c:v>4.9715652921437314</c:v>
                </c:pt>
                <c:pt idx="1969">
                  <c:v>6.0878675711627519</c:v>
                </c:pt>
                <c:pt idx="1970">
                  <c:v>5.0131134139539606</c:v>
                </c:pt>
                <c:pt idx="1971">
                  <c:v>5.7964402549602712</c:v>
                </c:pt>
                <c:pt idx="1972">
                  <c:v>4.9401197265655039</c:v>
                </c:pt>
                <c:pt idx="1973">
                  <c:v>4.7997627548285005</c:v>
                </c:pt>
                <c:pt idx="1974">
                  <c:v>4.9638669211834365</c:v>
                </c:pt>
                <c:pt idx="1975">
                  <c:v>4.8983820726440364</c:v>
                </c:pt>
                <c:pt idx="1976">
                  <c:v>5.0993948533761726</c:v>
                </c:pt>
                <c:pt idx="1977">
                  <c:v>5.9142214611728505</c:v>
                </c:pt>
                <c:pt idx="1978">
                  <c:v>6.0432246853087488</c:v>
                </c:pt>
                <c:pt idx="1979">
                  <c:v>7.1272966162828757</c:v>
                </c:pt>
                <c:pt idx="1980">
                  <c:v>5.0256909776592238</c:v>
                </c:pt>
                <c:pt idx="1981">
                  <c:v>4.1064953581291173</c:v>
                </c:pt>
                <c:pt idx="1982">
                  <c:v>5.9510808574532215</c:v>
                </c:pt>
                <c:pt idx="1983">
                  <c:v>5.8985813047496203</c:v>
                </c:pt>
                <c:pt idx="1984">
                  <c:v>5.086771792815119</c:v>
                </c:pt>
                <c:pt idx="1985">
                  <c:v>5.1399639989610071</c:v>
                </c:pt>
                <c:pt idx="1986">
                  <c:v>6.1416787002541895</c:v>
                </c:pt>
                <c:pt idx="1987">
                  <c:v>4.9412500369435968</c:v>
                </c:pt>
                <c:pt idx="1988">
                  <c:v>4.9982725344325134</c:v>
                </c:pt>
                <c:pt idx="1989">
                  <c:v>6.1570457573228579</c:v>
                </c:pt>
                <c:pt idx="1990">
                  <c:v>5.9907953317181324</c:v>
                </c:pt>
                <c:pt idx="1991">
                  <c:v>5.0628328959894606</c:v>
                </c:pt>
                <c:pt idx="1992">
                  <c:v>4.9932476108637616</c:v>
                </c:pt>
                <c:pt idx="1993">
                  <c:v>4.9484983798102267</c:v>
                </c:pt>
                <c:pt idx="1994">
                  <c:v>5.8724310046679893</c:v>
                </c:pt>
                <c:pt idx="1995">
                  <c:v>5.0961987707497736</c:v>
                </c:pt>
                <c:pt idx="1996">
                  <c:v>4.9756522556913056</c:v>
                </c:pt>
                <c:pt idx="1997">
                  <c:v>4.9624995185135985</c:v>
                </c:pt>
                <c:pt idx="1998">
                  <c:v>5.0033239730765242</c:v>
                </c:pt>
                <c:pt idx="1999">
                  <c:v>5.1305913396836127</c:v>
                </c:pt>
                <c:pt idx="2000">
                  <c:v>4.8632111624174668</c:v>
                </c:pt>
                <c:pt idx="2001">
                  <c:v>5.9666202691926182</c:v>
                </c:pt>
                <c:pt idx="2002">
                  <c:v>6.0642225536139094</c:v>
                </c:pt>
                <c:pt idx="2003">
                  <c:v>4.909228998199481</c:v>
                </c:pt>
                <c:pt idx="2004">
                  <c:v>5.8184983044560177</c:v>
                </c:pt>
                <c:pt idx="2005">
                  <c:v>5.9571472657548519</c:v>
                </c:pt>
                <c:pt idx="2006">
                  <c:v>6.9592142640214831</c:v>
                </c:pt>
                <c:pt idx="2007">
                  <c:v>6.8312585848229599</c:v>
                </c:pt>
                <c:pt idx="2008">
                  <c:v>6.8717917282909662</c:v>
                </c:pt>
                <c:pt idx="2009">
                  <c:v>4.732988008414404</c:v>
                </c:pt>
                <c:pt idx="2010">
                  <c:v>4.9905935034364557</c:v>
                </c:pt>
                <c:pt idx="2011">
                  <c:v>6.9725267509328699</c:v>
                </c:pt>
                <c:pt idx="2012">
                  <c:v>4.9466032194469927</c:v>
                </c:pt>
                <c:pt idx="2013">
                  <c:v>4.8389718095562637</c:v>
                </c:pt>
                <c:pt idx="2014">
                  <c:v>4.957193180011795</c:v>
                </c:pt>
                <c:pt idx="2015">
                  <c:v>5.9924268124107751</c:v>
                </c:pt>
                <c:pt idx="2016">
                  <c:v>5.9684256053215039</c:v>
                </c:pt>
                <c:pt idx="2017">
                  <c:v>5.0119620073564093</c:v>
                </c:pt>
                <c:pt idx="2018">
                  <c:v>4.8814558838820759</c:v>
                </c:pt>
                <c:pt idx="2019">
                  <c:v>7.0952098356679718</c:v>
                </c:pt>
                <c:pt idx="2020">
                  <c:v>5.1795951622734302</c:v>
                </c:pt>
                <c:pt idx="2021">
                  <c:v>4.8964069592354473</c:v>
                </c:pt>
                <c:pt idx="2022">
                  <c:v>5.0128001711244474</c:v>
                </c:pt>
                <c:pt idx="2023">
                  <c:v>5.0583833684213566</c:v>
                </c:pt>
                <c:pt idx="2024">
                  <c:v>6.2088767909185165</c:v>
                </c:pt>
                <c:pt idx="2025">
                  <c:v>4.8177481906763679</c:v>
                </c:pt>
                <c:pt idx="2026">
                  <c:v>6.073236050552814</c:v>
                </c:pt>
                <c:pt idx="2027">
                  <c:v>5.2044437246253779</c:v>
                </c:pt>
                <c:pt idx="2028">
                  <c:v>5.0020409726491275</c:v>
                </c:pt>
                <c:pt idx="2029">
                  <c:v>5.1581391191424784</c:v>
                </c:pt>
                <c:pt idx="2030">
                  <c:v>4.9267707365389981</c:v>
                </c:pt>
                <c:pt idx="2031">
                  <c:v>4.9946770950291954</c:v>
                </c:pt>
                <c:pt idx="2032">
                  <c:v>5.0406911646214771</c:v>
                </c:pt>
                <c:pt idx="2033">
                  <c:v>4.9353287474741219</c:v>
                </c:pt>
                <c:pt idx="2034">
                  <c:v>5.9149084403950551</c:v>
                </c:pt>
                <c:pt idx="2035">
                  <c:v>6.0718350787802153</c:v>
                </c:pt>
                <c:pt idx="2036">
                  <c:v>6.1528167900553381</c:v>
                </c:pt>
                <c:pt idx="2037">
                  <c:v>4.8800224922546427</c:v>
                </c:pt>
                <c:pt idx="2038">
                  <c:v>5.0935168488012987</c:v>
                </c:pt>
                <c:pt idx="2039">
                  <c:v>6.0525226120756352</c:v>
                </c:pt>
                <c:pt idx="2040">
                  <c:v>6.1170333153119785</c:v>
                </c:pt>
                <c:pt idx="2041">
                  <c:v>5.9854568557757988</c:v>
                </c:pt>
                <c:pt idx="2042">
                  <c:v>5.9943228691460169</c:v>
                </c:pt>
                <c:pt idx="2043">
                  <c:v>6.2497312548658535</c:v>
                </c:pt>
                <c:pt idx="2044">
                  <c:v>5.9340655124191475</c:v>
                </c:pt>
                <c:pt idx="2045">
                  <c:v>4.1260549176157317</c:v>
                </c:pt>
                <c:pt idx="2046">
                  <c:v>4.9588575920326603</c:v>
                </c:pt>
                <c:pt idx="2047">
                  <c:v>5.9675651103412628</c:v>
                </c:pt>
                <c:pt idx="2048">
                  <c:v>4.7877509085392482</c:v>
                </c:pt>
                <c:pt idx="2049">
                  <c:v>7.0976084138947657</c:v>
                </c:pt>
                <c:pt idx="2050">
                  <c:v>4.9403013646466185</c:v>
                </c:pt>
                <c:pt idx="2051">
                  <c:v>6.0775840907101264</c:v>
                </c:pt>
                <c:pt idx="2052">
                  <c:v>5.9501502801054231</c:v>
                </c:pt>
                <c:pt idx="2053">
                  <c:v>6.1081217018798233</c:v>
                </c:pt>
                <c:pt idx="2054">
                  <c:v>4.8879480753050384</c:v>
                </c:pt>
                <c:pt idx="2055">
                  <c:v>4.0157927779781062</c:v>
                </c:pt>
                <c:pt idx="2056">
                  <c:v>4.9824919416600437</c:v>
                </c:pt>
                <c:pt idx="2057">
                  <c:v>6.0318449466710709</c:v>
                </c:pt>
                <c:pt idx="2058">
                  <c:v>4.9873248135916404</c:v>
                </c:pt>
                <c:pt idx="2059">
                  <c:v>5.0404414499775907</c:v>
                </c:pt>
                <c:pt idx="2060">
                  <c:v>6.0129688685603391</c:v>
                </c:pt>
                <c:pt idx="2061">
                  <c:v>4.0013527550873684</c:v>
                </c:pt>
                <c:pt idx="2062">
                  <c:v>4.9352462959747099</c:v>
                </c:pt>
                <c:pt idx="2063">
                  <c:v>6.9591024149118681</c:v>
                </c:pt>
                <c:pt idx="2064">
                  <c:v>7.2020437798898218</c:v>
                </c:pt>
                <c:pt idx="2065">
                  <c:v>5.0610092768702577</c:v>
                </c:pt>
                <c:pt idx="2066">
                  <c:v>5.0056435520762035</c:v>
                </c:pt>
                <c:pt idx="2067">
                  <c:v>6.1565089527234704</c:v>
                </c:pt>
                <c:pt idx="2068">
                  <c:v>5.9943241372244751</c:v>
                </c:pt>
                <c:pt idx="2069">
                  <c:v>4.9975117094762354</c:v>
                </c:pt>
                <c:pt idx="2070">
                  <c:v>4.7205717881093436</c:v>
                </c:pt>
                <c:pt idx="2071">
                  <c:v>5.9728146728888483</c:v>
                </c:pt>
                <c:pt idx="2072">
                  <c:v>6.0126982772054891</c:v>
                </c:pt>
                <c:pt idx="2073">
                  <c:v>5.9071173769918497</c:v>
                </c:pt>
                <c:pt idx="2074">
                  <c:v>5.1547477647318765</c:v>
                </c:pt>
                <c:pt idx="2075">
                  <c:v>4.8993930631815559</c:v>
                </c:pt>
                <c:pt idx="2076">
                  <c:v>6.2471290559528549</c:v>
                </c:pt>
                <c:pt idx="2077">
                  <c:v>6.1698759858208634</c:v>
                </c:pt>
                <c:pt idx="2078">
                  <c:v>4.8712650523003456</c:v>
                </c:pt>
                <c:pt idx="2079">
                  <c:v>4.9182634091703292</c:v>
                </c:pt>
                <c:pt idx="2080">
                  <c:v>5.9810778329331784</c:v>
                </c:pt>
                <c:pt idx="2081">
                  <c:v>5.8907794259055999</c:v>
                </c:pt>
                <c:pt idx="2082">
                  <c:v>5.8688067163532853</c:v>
                </c:pt>
                <c:pt idx="2083">
                  <c:v>6.0863452995340968</c:v>
                </c:pt>
                <c:pt idx="2084">
                  <c:v>4.8953438120863266</c:v>
                </c:pt>
                <c:pt idx="2085">
                  <c:v>7.0504616180091615</c:v>
                </c:pt>
                <c:pt idx="2086">
                  <c:v>5.0807022812056593</c:v>
                </c:pt>
                <c:pt idx="2087">
                  <c:v>5.0289677864723332</c:v>
                </c:pt>
                <c:pt idx="2088">
                  <c:v>6.098027344168365</c:v>
                </c:pt>
                <c:pt idx="2089">
                  <c:v>4.8770355949143767</c:v>
                </c:pt>
                <c:pt idx="2090">
                  <c:v>6.1327441785871537</c:v>
                </c:pt>
                <c:pt idx="2091">
                  <c:v>5.1973508615915414</c:v>
                </c:pt>
                <c:pt idx="2092">
                  <c:v>4.9393591140679156</c:v>
                </c:pt>
                <c:pt idx="2093">
                  <c:v>4.9084625387215208</c:v>
                </c:pt>
                <c:pt idx="2094">
                  <c:v>6.2965374800106284</c:v>
                </c:pt>
                <c:pt idx="2095">
                  <c:v>5.0315894267007533</c:v>
                </c:pt>
                <c:pt idx="2096">
                  <c:v>5.9397068305523018</c:v>
                </c:pt>
                <c:pt idx="2097">
                  <c:v>5.1062822587290926</c:v>
                </c:pt>
                <c:pt idx="2098">
                  <c:v>7.0386900855139229</c:v>
                </c:pt>
                <c:pt idx="2099">
                  <c:v>4.9721037187322255</c:v>
                </c:pt>
                <c:pt idx="2100">
                  <c:v>5.9845909145634026</c:v>
                </c:pt>
                <c:pt idx="2101">
                  <c:v>5.9232133451933269</c:v>
                </c:pt>
                <c:pt idx="2102">
                  <c:v>4.8692358374414733</c:v>
                </c:pt>
                <c:pt idx="2103">
                  <c:v>5.9607534392818708</c:v>
                </c:pt>
                <c:pt idx="2104">
                  <c:v>5.0168322231368077</c:v>
                </c:pt>
                <c:pt idx="2105">
                  <c:v>6.8989660640341777</c:v>
                </c:pt>
                <c:pt idx="2106">
                  <c:v>6.2257658284564759</c:v>
                </c:pt>
                <c:pt idx="2107">
                  <c:v>6.0971127679752524</c:v>
                </c:pt>
                <c:pt idx="2108">
                  <c:v>5.9372251073109146</c:v>
                </c:pt>
                <c:pt idx="2109">
                  <c:v>6.044574697859181</c:v>
                </c:pt>
                <c:pt idx="2110">
                  <c:v>6.0093470718561175</c:v>
                </c:pt>
                <c:pt idx="2111">
                  <c:v>3.9350798519012797</c:v>
                </c:pt>
                <c:pt idx="2112">
                  <c:v>6.0385416291666534</c:v>
                </c:pt>
                <c:pt idx="2113">
                  <c:v>5.082657933278238</c:v>
                </c:pt>
                <c:pt idx="2114">
                  <c:v>5.9679280727255284</c:v>
                </c:pt>
                <c:pt idx="2115">
                  <c:v>5.875762456634015</c:v>
                </c:pt>
                <c:pt idx="2116">
                  <c:v>4.9949461536617896</c:v>
                </c:pt>
                <c:pt idx="2117">
                  <c:v>3.9730948533739969</c:v>
                </c:pt>
                <c:pt idx="2118">
                  <c:v>4.9995064144102264</c:v>
                </c:pt>
                <c:pt idx="2119">
                  <c:v>4.8781058671262416</c:v>
                </c:pt>
                <c:pt idx="2120">
                  <c:v>6.0028372538918502</c:v>
                </c:pt>
                <c:pt idx="2121">
                  <c:v>5.0988182562572799</c:v>
                </c:pt>
                <c:pt idx="2122">
                  <c:v>5.0612987385647266</c:v>
                </c:pt>
                <c:pt idx="2123">
                  <c:v>3.9791676460793348</c:v>
                </c:pt>
                <c:pt idx="2124">
                  <c:v>6.844902585206837</c:v>
                </c:pt>
                <c:pt idx="2125">
                  <c:v>5.0611579440179932</c:v>
                </c:pt>
                <c:pt idx="2126">
                  <c:v>5.0615656297046048</c:v>
                </c:pt>
                <c:pt idx="2127">
                  <c:v>4.8409953861462114</c:v>
                </c:pt>
                <c:pt idx="2128">
                  <c:v>6.0752019627370801</c:v>
                </c:pt>
                <c:pt idx="2129">
                  <c:v>5.0077872331149216</c:v>
                </c:pt>
                <c:pt idx="2130">
                  <c:v>4.8567218803642813</c:v>
                </c:pt>
                <c:pt idx="2131">
                  <c:v>7.0017895086351629</c:v>
                </c:pt>
                <c:pt idx="2132">
                  <c:v>6.0919314126813049</c:v>
                </c:pt>
                <c:pt idx="2133">
                  <c:v>7.0320585800120599</c:v>
                </c:pt>
                <c:pt idx="2134">
                  <c:v>4.7994444368880451</c:v>
                </c:pt>
                <c:pt idx="2135">
                  <c:v>5.9882568419975222</c:v>
                </c:pt>
                <c:pt idx="2136">
                  <c:v>6.1948932108900499</c:v>
                </c:pt>
                <c:pt idx="2137">
                  <c:v>4.970643803248552</c:v>
                </c:pt>
                <c:pt idx="2138">
                  <c:v>5.7994721932798159</c:v>
                </c:pt>
                <c:pt idx="2139">
                  <c:v>6.0206851483075345</c:v>
                </c:pt>
                <c:pt idx="2140">
                  <c:v>5.8732340715989553</c:v>
                </c:pt>
                <c:pt idx="2141">
                  <c:v>5.9849238827516835</c:v>
                </c:pt>
                <c:pt idx="2142">
                  <c:v>7.0639405023431125</c:v>
                </c:pt>
                <c:pt idx="2143">
                  <c:v>4.8859979770253039</c:v>
                </c:pt>
                <c:pt idx="2144">
                  <c:v>4.9660576255723301</c:v>
                </c:pt>
                <c:pt idx="2145">
                  <c:v>4.9862814890747709</c:v>
                </c:pt>
                <c:pt idx="2146">
                  <c:v>6.0705314182641619</c:v>
                </c:pt>
                <c:pt idx="2147">
                  <c:v>7.1423640555957277</c:v>
                </c:pt>
                <c:pt idx="2148">
                  <c:v>5.0225126077016924</c:v>
                </c:pt>
                <c:pt idx="2149">
                  <c:v>6.1099777142617313</c:v>
                </c:pt>
                <c:pt idx="2150">
                  <c:v>5.1050253322222554</c:v>
                </c:pt>
                <c:pt idx="2151">
                  <c:v>5.9311155431875129</c:v>
                </c:pt>
                <c:pt idx="2152">
                  <c:v>6.0665120938680168</c:v>
                </c:pt>
                <c:pt idx="2153">
                  <c:v>5.0040457789447252</c:v>
                </c:pt>
                <c:pt idx="2154">
                  <c:v>4.802387087403666</c:v>
                </c:pt>
                <c:pt idx="2155">
                  <c:v>5.0337835161708639</c:v>
                </c:pt>
                <c:pt idx="2156">
                  <c:v>5.9699547471546612</c:v>
                </c:pt>
                <c:pt idx="2157">
                  <c:v>4.9139546737630466</c:v>
                </c:pt>
                <c:pt idx="2158">
                  <c:v>6.9960604435499354</c:v>
                </c:pt>
                <c:pt idx="2159">
                  <c:v>6.1136913790554397</c:v>
                </c:pt>
                <c:pt idx="2160">
                  <c:v>7.0050345974415755</c:v>
                </c:pt>
                <c:pt idx="2161">
                  <c:v>4.8692878164079945</c:v>
                </c:pt>
                <c:pt idx="2162">
                  <c:v>5.1117133972111111</c:v>
                </c:pt>
                <c:pt idx="2163">
                  <c:v>5.0124258573382612</c:v>
                </c:pt>
                <c:pt idx="2164">
                  <c:v>6.8804304783939942</c:v>
                </c:pt>
                <c:pt idx="2165">
                  <c:v>4.8716336011871126</c:v>
                </c:pt>
                <c:pt idx="2166">
                  <c:v>5.9781125053205812</c:v>
                </c:pt>
                <c:pt idx="2167">
                  <c:v>5.9378455972992406</c:v>
                </c:pt>
                <c:pt idx="2168">
                  <c:v>5.9113929634969127</c:v>
                </c:pt>
                <c:pt idx="2169">
                  <c:v>5.8884850542118707</c:v>
                </c:pt>
                <c:pt idx="2170">
                  <c:v>3.9343123065467309</c:v>
                </c:pt>
                <c:pt idx="2171">
                  <c:v>5.0326199331190011</c:v>
                </c:pt>
                <c:pt idx="2172">
                  <c:v>6.1040969207003553</c:v>
                </c:pt>
                <c:pt idx="2173">
                  <c:v>4.89309558232946</c:v>
                </c:pt>
                <c:pt idx="2174">
                  <c:v>6.0550845859342717</c:v>
                </c:pt>
                <c:pt idx="2175">
                  <c:v>5.0974959696802848</c:v>
                </c:pt>
                <c:pt idx="2176">
                  <c:v>4.974289014318293</c:v>
                </c:pt>
                <c:pt idx="2177">
                  <c:v>3.8632293904689292</c:v>
                </c:pt>
                <c:pt idx="2178">
                  <c:v>5.9575205737631718</c:v>
                </c:pt>
                <c:pt idx="2179">
                  <c:v>5.8352162774121528</c:v>
                </c:pt>
                <c:pt idx="2180">
                  <c:v>5.9537055080054921</c:v>
                </c:pt>
                <c:pt idx="2181">
                  <c:v>5.9792052205799342</c:v>
                </c:pt>
                <c:pt idx="2182">
                  <c:v>6.1266564549767972</c:v>
                </c:pt>
                <c:pt idx="2183">
                  <c:v>6.094267625558933</c:v>
                </c:pt>
                <c:pt idx="2184">
                  <c:v>5.8922799799159753</c:v>
                </c:pt>
                <c:pt idx="2185">
                  <c:v>6.055423359629768</c:v>
                </c:pt>
                <c:pt idx="2186">
                  <c:v>5.8911078938114789</c:v>
                </c:pt>
                <c:pt idx="2187">
                  <c:v>5.883567899258602</c:v>
                </c:pt>
                <c:pt idx="2188">
                  <c:v>6.0030942466853077</c:v>
                </c:pt>
                <c:pt idx="2189">
                  <c:v>5.900474291171208</c:v>
                </c:pt>
                <c:pt idx="2190">
                  <c:v>5.947508763618103</c:v>
                </c:pt>
                <c:pt idx="2191">
                  <c:v>5.9205576025524973</c:v>
                </c:pt>
                <c:pt idx="2192">
                  <c:v>5.9332161508831671</c:v>
                </c:pt>
                <c:pt idx="2193">
                  <c:v>6.1838498016278294</c:v>
                </c:pt>
                <c:pt idx="2194">
                  <c:v>4.9718635431837841</c:v>
                </c:pt>
                <c:pt idx="2195">
                  <c:v>6.0221266717525932</c:v>
                </c:pt>
                <c:pt idx="2196">
                  <c:v>6.0277784124143938</c:v>
                </c:pt>
                <c:pt idx="2197">
                  <c:v>6.0876184867294478</c:v>
                </c:pt>
                <c:pt idx="2198">
                  <c:v>6.0581339040978133</c:v>
                </c:pt>
                <c:pt idx="2199">
                  <c:v>4.989135461505386</c:v>
                </c:pt>
                <c:pt idx="2200">
                  <c:v>5.07847261005102</c:v>
                </c:pt>
                <c:pt idx="2201">
                  <c:v>4.958498640361463</c:v>
                </c:pt>
                <c:pt idx="2202">
                  <c:v>5.0378221447085387</c:v>
                </c:pt>
                <c:pt idx="2203">
                  <c:v>5.9980384182629738</c:v>
                </c:pt>
                <c:pt idx="2204">
                  <c:v>5.8789491498782507</c:v>
                </c:pt>
                <c:pt idx="2205">
                  <c:v>6.9423905871917224</c:v>
                </c:pt>
                <c:pt idx="2206">
                  <c:v>5.9578847447816079</c:v>
                </c:pt>
                <c:pt idx="2207">
                  <c:v>4.9471416142183591</c:v>
                </c:pt>
                <c:pt idx="2208">
                  <c:v>5.0446026674137814</c:v>
                </c:pt>
                <c:pt idx="2209">
                  <c:v>5.0224437817703667</c:v>
                </c:pt>
                <c:pt idx="2210">
                  <c:v>4.9142830734166898</c:v>
                </c:pt>
                <c:pt idx="2211">
                  <c:v>5.9252890026219607</c:v>
                </c:pt>
                <c:pt idx="2212">
                  <c:v>5.8805224115659582</c:v>
                </c:pt>
                <c:pt idx="2213">
                  <c:v>5.7997518151041447</c:v>
                </c:pt>
                <c:pt idx="2214">
                  <c:v>2.0089465280072418</c:v>
                </c:pt>
                <c:pt idx="2215">
                  <c:v>4.9622694296182113</c:v>
                </c:pt>
                <c:pt idx="2216">
                  <c:v>5.9109846797498964</c:v>
                </c:pt>
                <c:pt idx="2217">
                  <c:v>2.2111931190340686</c:v>
                </c:pt>
                <c:pt idx="2218">
                  <c:v>5.9952364071715465</c:v>
                </c:pt>
                <c:pt idx="2219">
                  <c:v>5.8302510149512923</c:v>
                </c:pt>
                <c:pt idx="2220">
                  <c:v>1.8950131147393481</c:v>
                </c:pt>
                <c:pt idx="2221">
                  <c:v>6.1051260791468858</c:v>
                </c:pt>
                <c:pt idx="2222">
                  <c:v>2.1066048450870163</c:v>
                </c:pt>
                <c:pt idx="2223">
                  <c:v>5.8640100532914845</c:v>
                </c:pt>
                <c:pt idx="2224">
                  <c:v>6.0411665790376512</c:v>
                </c:pt>
                <c:pt idx="2225">
                  <c:v>6.022014771025388</c:v>
                </c:pt>
                <c:pt idx="2226">
                  <c:v>6.0058503327747124</c:v>
                </c:pt>
                <c:pt idx="2227">
                  <c:v>5.0182272453110528</c:v>
                </c:pt>
                <c:pt idx="2228">
                  <c:v>6.0579111469513087</c:v>
                </c:pt>
                <c:pt idx="2229">
                  <c:v>6.1032097258013795</c:v>
                </c:pt>
                <c:pt idx="2230">
                  <c:v>3.9666654740055711</c:v>
                </c:pt>
                <c:pt idx="2231">
                  <c:v>5.974450042599166</c:v>
                </c:pt>
                <c:pt idx="2232">
                  <c:v>5.8188350944389313</c:v>
                </c:pt>
                <c:pt idx="2233">
                  <c:v>6.1981999535772534</c:v>
                </c:pt>
                <c:pt idx="2234">
                  <c:v>3.9582802369069667</c:v>
                </c:pt>
                <c:pt idx="2235">
                  <c:v>5.0730173334154589</c:v>
                </c:pt>
                <c:pt idx="2236">
                  <c:v>5.7939645871962009</c:v>
                </c:pt>
                <c:pt idx="2237">
                  <c:v>1.9634612099840498</c:v>
                </c:pt>
                <c:pt idx="2238">
                  <c:v>5.9336198252783952</c:v>
                </c:pt>
                <c:pt idx="2239">
                  <c:v>6.0831818502897512</c:v>
                </c:pt>
                <c:pt idx="2240">
                  <c:v>5.9919524261868959</c:v>
                </c:pt>
                <c:pt idx="2241">
                  <c:v>5.982103853787426</c:v>
                </c:pt>
                <c:pt idx="2242">
                  <c:v>5.0190983705948771</c:v>
                </c:pt>
                <c:pt idx="2243">
                  <c:v>6.0900482179291133</c:v>
                </c:pt>
                <c:pt idx="2244">
                  <c:v>5.0019588138983284</c:v>
                </c:pt>
                <c:pt idx="2245">
                  <c:v>6.0400970515821157</c:v>
                </c:pt>
                <c:pt idx="2246">
                  <c:v>5.0507314934723526</c:v>
                </c:pt>
                <c:pt idx="2247">
                  <c:v>5.1163952375860937</c:v>
                </c:pt>
                <c:pt idx="2248">
                  <c:v>5.005845240151868</c:v>
                </c:pt>
                <c:pt idx="2249">
                  <c:v>5.0763239198890524</c:v>
                </c:pt>
                <c:pt idx="2250">
                  <c:v>5.9543878284761469</c:v>
                </c:pt>
                <c:pt idx="2251">
                  <c:v>7.0264946613070869</c:v>
                </c:pt>
                <c:pt idx="2252">
                  <c:v>5.9090359798759611</c:v>
                </c:pt>
                <c:pt idx="2253">
                  <c:v>6.0256638602461861</c:v>
                </c:pt>
                <c:pt idx="2254">
                  <c:v>4.8738881690485085</c:v>
                </c:pt>
                <c:pt idx="2255">
                  <c:v>6.0445775917309712</c:v>
                </c:pt>
                <c:pt idx="2256">
                  <c:v>4.993500513574479</c:v>
                </c:pt>
                <c:pt idx="2257">
                  <c:v>5.1679157411120933</c:v>
                </c:pt>
                <c:pt idx="2258">
                  <c:v>5.0801971198356188</c:v>
                </c:pt>
                <c:pt idx="2259">
                  <c:v>5.9369422949526172</c:v>
                </c:pt>
                <c:pt idx="2260">
                  <c:v>5.0344675514870243</c:v>
                </c:pt>
                <c:pt idx="2261">
                  <c:v>5.0708340723223184</c:v>
                </c:pt>
                <c:pt idx="2262">
                  <c:v>5.0129133027062363</c:v>
                </c:pt>
                <c:pt idx="2263">
                  <c:v>6.2057409596141655</c:v>
                </c:pt>
                <c:pt idx="2264">
                  <c:v>5.020866495385234</c:v>
                </c:pt>
                <c:pt idx="2265">
                  <c:v>6.009072142658014</c:v>
                </c:pt>
                <c:pt idx="2266">
                  <c:v>5.0072914647669835</c:v>
                </c:pt>
                <c:pt idx="2267">
                  <c:v>4.098084744128168</c:v>
                </c:pt>
                <c:pt idx="2268">
                  <c:v>5.0162638819120042</c:v>
                </c:pt>
                <c:pt idx="2269">
                  <c:v>6.1508551294039098</c:v>
                </c:pt>
                <c:pt idx="2270">
                  <c:v>5.9776504223873621</c:v>
                </c:pt>
                <c:pt idx="2271">
                  <c:v>5.9873766209352315</c:v>
                </c:pt>
                <c:pt idx="2272">
                  <c:v>5.9970685311422853</c:v>
                </c:pt>
                <c:pt idx="2273">
                  <c:v>5.9462409092923441</c:v>
                </c:pt>
                <c:pt idx="2274">
                  <c:v>6.0947429657137597</c:v>
                </c:pt>
                <c:pt idx="2275">
                  <c:v>5.9984256205549258</c:v>
                </c:pt>
                <c:pt idx="2276">
                  <c:v>7.0156268451035499</c:v>
                </c:pt>
                <c:pt idx="2277">
                  <c:v>5.0692561793128545</c:v>
                </c:pt>
                <c:pt idx="2278">
                  <c:v>5.0570223664417187</c:v>
                </c:pt>
                <c:pt idx="2279">
                  <c:v>4.9441418251656142</c:v>
                </c:pt>
                <c:pt idx="2280">
                  <c:v>4.9214097073824483</c:v>
                </c:pt>
                <c:pt idx="2281">
                  <c:v>5.9224803002861783</c:v>
                </c:pt>
                <c:pt idx="2282">
                  <c:v>5.0809632877125885</c:v>
                </c:pt>
                <c:pt idx="2283">
                  <c:v>6.0997025809721661</c:v>
                </c:pt>
                <c:pt idx="2284">
                  <c:v>4.0753381597852369</c:v>
                </c:pt>
                <c:pt idx="2285">
                  <c:v>3.9129080312986497</c:v>
                </c:pt>
                <c:pt idx="2286">
                  <c:v>5.9486779474057752</c:v>
                </c:pt>
                <c:pt idx="2287">
                  <c:v>4.9321674579299408</c:v>
                </c:pt>
                <c:pt idx="2288">
                  <c:v>6.1900690531276759</c:v>
                </c:pt>
                <c:pt idx="2289">
                  <c:v>5.9507327258948131</c:v>
                </c:pt>
                <c:pt idx="2290">
                  <c:v>6.0503781417856173</c:v>
                </c:pt>
                <c:pt idx="2291">
                  <c:v>5.0841337053594273</c:v>
                </c:pt>
                <c:pt idx="2292">
                  <c:v>6.0604877164099644</c:v>
                </c:pt>
                <c:pt idx="2293">
                  <c:v>6.0146743791454309</c:v>
                </c:pt>
                <c:pt idx="2294">
                  <c:v>5.0439303989943101</c:v>
                </c:pt>
                <c:pt idx="2295">
                  <c:v>4.9643056035647852</c:v>
                </c:pt>
                <c:pt idx="2296">
                  <c:v>6.8338258169025394</c:v>
                </c:pt>
                <c:pt idx="2297">
                  <c:v>5.9090735315262828</c:v>
                </c:pt>
                <c:pt idx="2298">
                  <c:v>5.1054204866197823</c:v>
                </c:pt>
                <c:pt idx="2299">
                  <c:v>5.9796484632310332</c:v>
                </c:pt>
                <c:pt idx="2300">
                  <c:v>6.0725676266335844</c:v>
                </c:pt>
                <c:pt idx="2301">
                  <c:v>6.0349939294188193</c:v>
                </c:pt>
                <c:pt idx="2302">
                  <c:v>6.0110715553844054</c:v>
                </c:pt>
                <c:pt idx="2303">
                  <c:v>7.0285506932165385</c:v>
                </c:pt>
                <c:pt idx="2304">
                  <c:v>6.9465341034090837</c:v>
                </c:pt>
                <c:pt idx="2305">
                  <c:v>6.202106001856496</c:v>
                </c:pt>
                <c:pt idx="2306">
                  <c:v>4.8986678942838582</c:v>
                </c:pt>
                <c:pt idx="2307">
                  <c:v>4.7827372193094675</c:v>
                </c:pt>
                <c:pt idx="2308">
                  <c:v>5.0737617592447695</c:v>
                </c:pt>
                <c:pt idx="2309">
                  <c:v>4.8455845092617063</c:v>
                </c:pt>
                <c:pt idx="2310">
                  <c:v>4.9937695709932548</c:v>
                </c:pt>
                <c:pt idx="2311">
                  <c:v>5.0013794794093176</c:v>
                </c:pt>
                <c:pt idx="2312">
                  <c:v>4.8448912004173765</c:v>
                </c:pt>
                <c:pt idx="2313">
                  <c:v>5.93968687666609</c:v>
                </c:pt>
                <c:pt idx="2314">
                  <c:v>5.8733765089434584</c:v>
                </c:pt>
                <c:pt idx="2315">
                  <c:v>4.9548886875971396</c:v>
                </c:pt>
                <c:pt idx="2316">
                  <c:v>6.0128130900128154</c:v>
                </c:pt>
                <c:pt idx="2317">
                  <c:v>5.8678729008914852</c:v>
                </c:pt>
                <c:pt idx="2318">
                  <c:v>5.9073206759017269</c:v>
                </c:pt>
                <c:pt idx="2319">
                  <c:v>6.8473669280492606</c:v>
                </c:pt>
                <c:pt idx="2320">
                  <c:v>5.9532400171302129</c:v>
                </c:pt>
                <c:pt idx="2321">
                  <c:v>5.0255744335271846</c:v>
                </c:pt>
                <c:pt idx="2322">
                  <c:v>4.9735694590715402</c:v>
                </c:pt>
                <c:pt idx="2323">
                  <c:v>6.1346473623740829</c:v>
                </c:pt>
                <c:pt idx="2324">
                  <c:v>5.0655488032895359</c:v>
                </c:pt>
                <c:pt idx="2325">
                  <c:v>6.1552401663414713</c:v>
                </c:pt>
                <c:pt idx="2326">
                  <c:v>5.0638272047439665</c:v>
                </c:pt>
                <c:pt idx="2327">
                  <c:v>6.0192619705485786</c:v>
                </c:pt>
                <c:pt idx="2328">
                  <c:v>6.0216059257337911</c:v>
                </c:pt>
                <c:pt idx="2329">
                  <c:v>5.0150578520527516</c:v>
                </c:pt>
                <c:pt idx="2330">
                  <c:v>4.7974649415006878</c:v>
                </c:pt>
                <c:pt idx="2331">
                  <c:v>4.8669737237992026</c:v>
                </c:pt>
                <c:pt idx="2332">
                  <c:v>6.0652477204084656</c:v>
                </c:pt>
                <c:pt idx="2333">
                  <c:v>7.0816668625169505</c:v>
                </c:pt>
                <c:pt idx="2334">
                  <c:v>6.2033832056303728</c:v>
                </c:pt>
                <c:pt idx="2335">
                  <c:v>5.8156697206809493</c:v>
                </c:pt>
                <c:pt idx="2336">
                  <c:v>5.0214856632577058</c:v>
                </c:pt>
                <c:pt idx="2337">
                  <c:v>5.007136447575121</c:v>
                </c:pt>
                <c:pt idx="2338">
                  <c:v>5.9934332376027948</c:v>
                </c:pt>
                <c:pt idx="2339">
                  <c:v>4.8919149485698341</c:v>
                </c:pt>
                <c:pt idx="2340">
                  <c:v>5.9649760474823568</c:v>
                </c:pt>
                <c:pt idx="2341">
                  <c:v>5.0420645621059865</c:v>
                </c:pt>
                <c:pt idx="2342">
                  <c:v>5.9521563203336019</c:v>
                </c:pt>
                <c:pt idx="2343">
                  <c:v>5.0862142321887278</c:v>
                </c:pt>
                <c:pt idx="2344">
                  <c:v>6.0471797404845189</c:v>
                </c:pt>
                <c:pt idx="2345">
                  <c:v>7.1094116378903722</c:v>
                </c:pt>
                <c:pt idx="2346">
                  <c:v>5.0341159188462665</c:v>
                </c:pt>
                <c:pt idx="2347">
                  <c:v>5.0407509107320747</c:v>
                </c:pt>
                <c:pt idx="2348">
                  <c:v>6.0277518085296924</c:v>
                </c:pt>
                <c:pt idx="2349">
                  <c:v>4.9480025719207639</c:v>
                </c:pt>
                <c:pt idx="2350">
                  <c:v>4.8967238160517299</c:v>
                </c:pt>
                <c:pt idx="2351">
                  <c:v>6.6925553689334629</c:v>
                </c:pt>
                <c:pt idx="2352">
                  <c:v>5.9046225252189579</c:v>
                </c:pt>
                <c:pt idx="2353">
                  <c:v>7.0377790318779345</c:v>
                </c:pt>
                <c:pt idx="2354">
                  <c:v>6.0570347233391919</c:v>
                </c:pt>
                <c:pt idx="2355">
                  <c:v>6.9140070927016639</c:v>
                </c:pt>
                <c:pt idx="2356">
                  <c:v>5.9561908375342121</c:v>
                </c:pt>
                <c:pt idx="2357">
                  <c:v>5.0810416116497299</c:v>
                </c:pt>
                <c:pt idx="2358">
                  <c:v>5.0580026365133426</c:v>
                </c:pt>
                <c:pt idx="2359">
                  <c:v>6.1159038339935936</c:v>
                </c:pt>
                <c:pt idx="2360">
                  <c:v>5.1718752747766628</c:v>
                </c:pt>
                <c:pt idx="2361">
                  <c:v>5.0312972890359253</c:v>
                </c:pt>
                <c:pt idx="2362">
                  <c:v>5.9817050618348802</c:v>
                </c:pt>
                <c:pt idx="2363">
                  <c:v>4.8497194824603422</c:v>
                </c:pt>
                <c:pt idx="2364">
                  <c:v>5.0496286336823548</c:v>
                </c:pt>
                <c:pt idx="2365">
                  <c:v>6.0336272203528871</c:v>
                </c:pt>
                <c:pt idx="2366">
                  <c:v>5.9217162248415081</c:v>
                </c:pt>
                <c:pt idx="2367">
                  <c:v>4.8911996052594864</c:v>
                </c:pt>
                <c:pt idx="2368">
                  <c:v>5.1720157995039644</c:v>
                </c:pt>
                <c:pt idx="2369">
                  <c:v>6.0253239626776649</c:v>
                </c:pt>
                <c:pt idx="2370">
                  <c:v>5.0768149861396044</c:v>
                </c:pt>
                <c:pt idx="2371">
                  <c:v>5.0060675064659392</c:v>
                </c:pt>
                <c:pt idx="2372">
                  <c:v>5.9822984391393907</c:v>
                </c:pt>
                <c:pt idx="2373">
                  <c:v>5.8379873256981378</c:v>
                </c:pt>
                <c:pt idx="2374">
                  <c:v>4.9778184039221989</c:v>
                </c:pt>
                <c:pt idx="2375">
                  <c:v>6.0615909086565356</c:v>
                </c:pt>
                <c:pt idx="2376">
                  <c:v>5.182785365216283</c:v>
                </c:pt>
                <c:pt idx="2377">
                  <c:v>8.9693284511431042</c:v>
                </c:pt>
                <c:pt idx="2378">
                  <c:v>6.9988780991351707</c:v>
                </c:pt>
                <c:pt idx="2379">
                  <c:v>6.0450034708587603</c:v>
                </c:pt>
                <c:pt idx="2380">
                  <c:v>4.9352856096522082</c:v>
                </c:pt>
                <c:pt idx="2381">
                  <c:v>5.0852168979423373</c:v>
                </c:pt>
                <c:pt idx="2382">
                  <c:v>6.1227525371855851</c:v>
                </c:pt>
                <c:pt idx="2383">
                  <c:v>4.9212337205297816</c:v>
                </c:pt>
                <c:pt idx="2384">
                  <c:v>5.3076856437737252</c:v>
                </c:pt>
                <c:pt idx="2385">
                  <c:v>4.946677651082716</c:v>
                </c:pt>
                <c:pt idx="2386">
                  <c:v>6.1297405840115609</c:v>
                </c:pt>
                <c:pt idx="2387">
                  <c:v>6.0363261825063201</c:v>
                </c:pt>
                <c:pt idx="2388">
                  <c:v>5.0538746438061377</c:v>
                </c:pt>
                <c:pt idx="2389">
                  <c:v>5.1995529049196669</c:v>
                </c:pt>
                <c:pt idx="2390">
                  <c:v>5.0840126966917749</c:v>
                </c:pt>
                <c:pt idx="2391">
                  <c:v>4.8924830266373673</c:v>
                </c:pt>
                <c:pt idx="2392">
                  <c:v>5.8709770341918368</c:v>
                </c:pt>
                <c:pt idx="2393">
                  <c:v>4.8604976628686636</c:v>
                </c:pt>
                <c:pt idx="2394">
                  <c:v>4.8351235349497852</c:v>
                </c:pt>
                <c:pt idx="2395">
                  <c:v>5.8887965416510433</c:v>
                </c:pt>
                <c:pt idx="2396">
                  <c:v>4.0232532089182627</c:v>
                </c:pt>
                <c:pt idx="2397">
                  <c:v>4.9221528420798135</c:v>
                </c:pt>
                <c:pt idx="2398">
                  <c:v>6.0297913285094564</c:v>
                </c:pt>
                <c:pt idx="2399">
                  <c:v>5.9125830946513123</c:v>
                </c:pt>
                <c:pt idx="2400">
                  <c:v>5.0746959747338183</c:v>
                </c:pt>
                <c:pt idx="2401">
                  <c:v>4.8549359087497805</c:v>
                </c:pt>
                <c:pt idx="2402">
                  <c:v>5.0554585654366502</c:v>
                </c:pt>
                <c:pt idx="2403">
                  <c:v>6.141269084005752</c:v>
                </c:pt>
                <c:pt idx="2404">
                  <c:v>7.0153771863644776</c:v>
                </c:pt>
                <c:pt idx="2405">
                  <c:v>5.9889043617268021</c:v>
                </c:pt>
                <c:pt idx="2406">
                  <c:v>5.8475928541848639</c:v>
                </c:pt>
                <c:pt idx="2407">
                  <c:v>4.9597468607114958</c:v>
                </c:pt>
                <c:pt idx="2408">
                  <c:v>5.0281490253919809</c:v>
                </c:pt>
                <c:pt idx="2409">
                  <c:v>6.913294389228299</c:v>
                </c:pt>
                <c:pt idx="2410">
                  <c:v>6.0195838440372684</c:v>
                </c:pt>
                <c:pt idx="2411">
                  <c:v>5.0867945311115728</c:v>
                </c:pt>
                <c:pt idx="2412">
                  <c:v>5.0136429138632703</c:v>
                </c:pt>
                <c:pt idx="2413">
                  <c:v>4.9573713632105765</c:v>
                </c:pt>
                <c:pt idx="2414">
                  <c:v>4.1850661159427087</c:v>
                </c:pt>
                <c:pt idx="2415">
                  <c:v>3.7620822821371807</c:v>
                </c:pt>
                <c:pt idx="2416">
                  <c:v>4.0675778510880258</c:v>
                </c:pt>
                <c:pt idx="2417">
                  <c:v>5.8960688191361772</c:v>
                </c:pt>
                <c:pt idx="2418">
                  <c:v>5.1476511634571116</c:v>
                </c:pt>
                <c:pt idx="2419">
                  <c:v>5.1944161100793806</c:v>
                </c:pt>
                <c:pt idx="2420">
                  <c:v>4.9748212967115224</c:v>
                </c:pt>
                <c:pt idx="2421">
                  <c:v>6.9991682724874806</c:v>
                </c:pt>
                <c:pt idx="2422">
                  <c:v>4.8449550730816746</c:v>
                </c:pt>
                <c:pt idx="2423">
                  <c:v>5.9156438582234774</c:v>
                </c:pt>
                <c:pt idx="2424">
                  <c:v>5.0722447859389179</c:v>
                </c:pt>
                <c:pt idx="2425">
                  <c:v>5.963224450656492</c:v>
                </c:pt>
                <c:pt idx="2426">
                  <c:v>4.993199139145263</c:v>
                </c:pt>
                <c:pt idx="2427">
                  <c:v>6.094436643625202</c:v>
                </c:pt>
                <c:pt idx="2428">
                  <c:v>5.9777991188252573</c:v>
                </c:pt>
                <c:pt idx="2429">
                  <c:v>6.0421265216528122</c:v>
                </c:pt>
                <c:pt idx="2430">
                  <c:v>5.9535763605098975</c:v>
                </c:pt>
                <c:pt idx="2431">
                  <c:v>5.9064562083097272</c:v>
                </c:pt>
                <c:pt idx="2432">
                  <c:v>7.1560545167643301</c:v>
                </c:pt>
                <c:pt idx="2433">
                  <c:v>3.9480728043286279</c:v>
                </c:pt>
                <c:pt idx="2434">
                  <c:v>3.9703972167724957</c:v>
                </c:pt>
                <c:pt idx="2435">
                  <c:v>4.0545945711472857</c:v>
                </c:pt>
                <c:pt idx="2436">
                  <c:v>6.0608755806184824</c:v>
                </c:pt>
                <c:pt idx="2437">
                  <c:v>5.9586001028708289</c:v>
                </c:pt>
                <c:pt idx="2438">
                  <c:v>6.0229910218420057</c:v>
                </c:pt>
                <c:pt idx="2439">
                  <c:v>5.2367000317076657</c:v>
                </c:pt>
                <c:pt idx="2440">
                  <c:v>4.8709532630691337</c:v>
                </c:pt>
                <c:pt idx="2441">
                  <c:v>5.0093234039033385</c:v>
                </c:pt>
                <c:pt idx="2442">
                  <c:v>5.8452392482821836</c:v>
                </c:pt>
                <c:pt idx="2443">
                  <c:v>4.951017763662616</c:v>
                </c:pt>
                <c:pt idx="2444">
                  <c:v>4.8208351725737639</c:v>
                </c:pt>
                <c:pt idx="2445">
                  <c:v>5.0553071179573221</c:v>
                </c:pt>
                <c:pt idx="2446">
                  <c:v>4.9811324029830724</c:v>
                </c:pt>
                <c:pt idx="2447">
                  <c:v>5.9521816683183291</c:v>
                </c:pt>
                <c:pt idx="2448">
                  <c:v>5.2714400500523748</c:v>
                </c:pt>
                <c:pt idx="2449">
                  <c:v>4.9034456363123171</c:v>
                </c:pt>
                <c:pt idx="2450">
                  <c:v>6.092864693177324</c:v>
                </c:pt>
                <c:pt idx="2451">
                  <c:v>6.0111678754628315</c:v>
                </c:pt>
                <c:pt idx="2452">
                  <c:v>6.1355334081052648</c:v>
                </c:pt>
                <c:pt idx="2453">
                  <c:v>4.8766580927776726</c:v>
                </c:pt>
                <c:pt idx="2454">
                  <c:v>6.0746564665803371</c:v>
                </c:pt>
                <c:pt idx="2455">
                  <c:v>4.8040599031604634</c:v>
                </c:pt>
                <c:pt idx="2456">
                  <c:v>5.9544971249241421</c:v>
                </c:pt>
                <c:pt idx="2457">
                  <c:v>6.1770834356449837</c:v>
                </c:pt>
                <c:pt idx="2458">
                  <c:v>6.0806366425468363</c:v>
                </c:pt>
                <c:pt idx="2459">
                  <c:v>6.0669202059885867</c:v>
                </c:pt>
                <c:pt idx="2460">
                  <c:v>6.0500472931355631</c:v>
                </c:pt>
                <c:pt idx="2461">
                  <c:v>5.9891095435746537</c:v>
                </c:pt>
                <c:pt idx="2462">
                  <c:v>6.0768012195204459</c:v>
                </c:pt>
                <c:pt idx="2463">
                  <c:v>6.0176032709316827</c:v>
                </c:pt>
                <c:pt idx="2464">
                  <c:v>6.0839421951371282</c:v>
                </c:pt>
                <c:pt idx="2465">
                  <c:v>5.9909519282683767</c:v>
                </c:pt>
                <c:pt idx="2466">
                  <c:v>5.948111449797822</c:v>
                </c:pt>
                <c:pt idx="2467">
                  <c:v>6.0792639184521367</c:v>
                </c:pt>
                <c:pt idx="2468">
                  <c:v>6.0716196910885509</c:v>
                </c:pt>
                <c:pt idx="2469">
                  <c:v>6.1174653472451324</c:v>
                </c:pt>
                <c:pt idx="2470">
                  <c:v>6.0691645180808251</c:v>
                </c:pt>
                <c:pt idx="2471">
                  <c:v>6.012966599484681</c:v>
                </c:pt>
                <c:pt idx="2472">
                  <c:v>6.0391783481041763</c:v>
                </c:pt>
                <c:pt idx="2473">
                  <c:v>5.8929698416924667</c:v>
                </c:pt>
                <c:pt idx="2474">
                  <c:v>4.8543155393363095</c:v>
                </c:pt>
                <c:pt idx="2475">
                  <c:v>5.9843318344761833</c:v>
                </c:pt>
                <c:pt idx="2476">
                  <c:v>6.0834402377585581</c:v>
                </c:pt>
                <c:pt idx="2477">
                  <c:v>5.1098390562453675</c:v>
                </c:pt>
                <c:pt idx="2478">
                  <c:v>5.0872009317603624</c:v>
                </c:pt>
                <c:pt idx="2479">
                  <c:v>6.0853739912129177</c:v>
                </c:pt>
                <c:pt idx="2480">
                  <c:v>5.015947372813641</c:v>
                </c:pt>
                <c:pt idx="2481">
                  <c:v>4.9306063198111145</c:v>
                </c:pt>
                <c:pt idx="2482">
                  <c:v>5.9821926836883845</c:v>
                </c:pt>
                <c:pt idx="2483">
                  <c:v>6.1126023523015993</c:v>
                </c:pt>
                <c:pt idx="2484">
                  <c:v>3.9622357754936384</c:v>
                </c:pt>
                <c:pt idx="2485">
                  <c:v>4.8872685791962205</c:v>
                </c:pt>
                <c:pt idx="2486">
                  <c:v>5.0577861029170217</c:v>
                </c:pt>
                <c:pt idx="2487">
                  <c:v>3.9874253958147117</c:v>
                </c:pt>
                <c:pt idx="2488">
                  <c:v>4.9043579820659469</c:v>
                </c:pt>
                <c:pt idx="2489">
                  <c:v>7.1049720601006952</c:v>
                </c:pt>
                <c:pt idx="2490">
                  <c:v>6.0761776874487197</c:v>
                </c:pt>
                <c:pt idx="2491">
                  <c:v>4.8594825245064195</c:v>
                </c:pt>
                <c:pt idx="2492">
                  <c:v>5.939517925921824</c:v>
                </c:pt>
                <c:pt idx="2493">
                  <c:v>4.9692311616489659</c:v>
                </c:pt>
                <c:pt idx="2494">
                  <c:v>4.984307977808685</c:v>
                </c:pt>
                <c:pt idx="2495">
                  <c:v>5.8965405189024915</c:v>
                </c:pt>
                <c:pt idx="2496">
                  <c:v>4.9084801855317721</c:v>
                </c:pt>
                <c:pt idx="2497">
                  <c:v>5.9538421470285154</c:v>
                </c:pt>
                <c:pt idx="2498">
                  <c:v>5.9428668474940931</c:v>
                </c:pt>
                <c:pt idx="2499">
                  <c:v>6.0377019905913158</c:v>
                </c:pt>
                <c:pt idx="2500">
                  <c:v>6.0415411400794738</c:v>
                </c:pt>
                <c:pt idx="2501">
                  <c:v>5.9674164071598108</c:v>
                </c:pt>
                <c:pt idx="2502">
                  <c:v>6.013269735965511</c:v>
                </c:pt>
                <c:pt idx="2503">
                  <c:v>5.1103067912291307</c:v>
                </c:pt>
                <c:pt idx="2504">
                  <c:v>6.0541100603746614</c:v>
                </c:pt>
                <c:pt idx="2505">
                  <c:v>6.0856352355477954</c:v>
                </c:pt>
                <c:pt idx="2506">
                  <c:v>4.9440537612667796</c:v>
                </c:pt>
                <c:pt idx="2507">
                  <c:v>5.7965080303224683</c:v>
                </c:pt>
                <c:pt idx="2508">
                  <c:v>6.0122696688737394</c:v>
                </c:pt>
                <c:pt idx="2509">
                  <c:v>5.085702644337867</c:v>
                </c:pt>
                <c:pt idx="2510">
                  <c:v>6.0976599587923044</c:v>
                </c:pt>
                <c:pt idx="2511">
                  <c:v>5.0570222259685487</c:v>
                </c:pt>
                <c:pt idx="2512">
                  <c:v>6.8986057901847166</c:v>
                </c:pt>
                <c:pt idx="2513">
                  <c:v>4.9306689766975822</c:v>
                </c:pt>
                <c:pt idx="2514">
                  <c:v>5.8800045957260503</c:v>
                </c:pt>
                <c:pt idx="2515">
                  <c:v>6.0531733934922176</c:v>
                </c:pt>
                <c:pt idx="2516">
                  <c:v>5.1334904198465976</c:v>
                </c:pt>
                <c:pt idx="2517">
                  <c:v>6.1272677051390136</c:v>
                </c:pt>
                <c:pt idx="2518">
                  <c:v>6.0866595820700153</c:v>
                </c:pt>
                <c:pt idx="2519">
                  <c:v>4.9081899468018069</c:v>
                </c:pt>
                <c:pt idx="2520">
                  <c:v>5.0616589576431155</c:v>
                </c:pt>
                <c:pt idx="2521">
                  <c:v>4.8005263543139796</c:v>
                </c:pt>
                <c:pt idx="2522">
                  <c:v>6.0870124839832798</c:v>
                </c:pt>
                <c:pt idx="2523">
                  <c:v>5.0520122529460014</c:v>
                </c:pt>
                <c:pt idx="2524">
                  <c:v>6.0071074816933878</c:v>
                </c:pt>
                <c:pt idx="2525">
                  <c:v>3.8408279126004565</c:v>
                </c:pt>
                <c:pt idx="2526">
                  <c:v>5.1566655400333845</c:v>
                </c:pt>
                <c:pt idx="2527">
                  <c:v>6.0561429351577569</c:v>
                </c:pt>
                <c:pt idx="2528">
                  <c:v>4.9917183689486482</c:v>
                </c:pt>
                <c:pt idx="2529">
                  <c:v>6.0577230439833549</c:v>
                </c:pt>
                <c:pt idx="2530">
                  <c:v>5.0472861999443257</c:v>
                </c:pt>
                <c:pt idx="2531">
                  <c:v>4.8578739665534192</c:v>
                </c:pt>
                <c:pt idx="2532">
                  <c:v>5.0288707907589618</c:v>
                </c:pt>
                <c:pt idx="2533">
                  <c:v>5.2015575218177208</c:v>
                </c:pt>
                <c:pt idx="2534">
                  <c:v>6.0019639233055031</c:v>
                </c:pt>
                <c:pt idx="2535">
                  <c:v>7.1844024949557967</c:v>
                </c:pt>
                <c:pt idx="2536">
                  <c:v>6.1327200770558292</c:v>
                </c:pt>
                <c:pt idx="2537">
                  <c:v>4.7960220354903793</c:v>
                </c:pt>
                <c:pt idx="2538">
                  <c:v>5.00492067495931</c:v>
                </c:pt>
                <c:pt idx="2539">
                  <c:v>4.9681947124621164</c:v>
                </c:pt>
                <c:pt idx="2540">
                  <c:v>4.9860224802143573</c:v>
                </c:pt>
                <c:pt idx="2541">
                  <c:v>4.996882834491319</c:v>
                </c:pt>
                <c:pt idx="2542">
                  <c:v>4.9364329709090953</c:v>
                </c:pt>
                <c:pt idx="2543">
                  <c:v>5.9992251364965448</c:v>
                </c:pt>
                <c:pt idx="2544">
                  <c:v>5.0397288634711908</c:v>
                </c:pt>
                <c:pt idx="2545">
                  <c:v>5.8559885668752649</c:v>
                </c:pt>
                <c:pt idx="2546">
                  <c:v>5.1327580127454002</c:v>
                </c:pt>
                <c:pt idx="2547">
                  <c:v>5.826429056504435</c:v>
                </c:pt>
                <c:pt idx="2548">
                  <c:v>4.8514888051819778</c:v>
                </c:pt>
                <c:pt idx="2549">
                  <c:v>6.071713955561254</c:v>
                </c:pt>
                <c:pt idx="2550">
                  <c:v>4.9504552550016641</c:v>
                </c:pt>
                <c:pt idx="2551">
                  <c:v>6.0366217520638861</c:v>
                </c:pt>
                <c:pt idx="2552">
                  <c:v>4.9008374201761686</c:v>
                </c:pt>
                <c:pt idx="2553">
                  <c:v>5.9374280066023113</c:v>
                </c:pt>
                <c:pt idx="2554">
                  <c:v>5.0737027499721847</c:v>
                </c:pt>
                <c:pt idx="2555">
                  <c:v>6.1465540659459847</c:v>
                </c:pt>
                <c:pt idx="2556">
                  <c:v>6.8754152699111595</c:v>
                </c:pt>
                <c:pt idx="2557">
                  <c:v>5.9232413848584731</c:v>
                </c:pt>
                <c:pt idx="2558">
                  <c:v>5.162535956926674</c:v>
                </c:pt>
                <c:pt idx="2559">
                  <c:v>6.0995300819903946</c:v>
                </c:pt>
                <c:pt idx="2560">
                  <c:v>7.0110943036507729</c:v>
                </c:pt>
                <c:pt idx="2561">
                  <c:v>6.0035609440245814</c:v>
                </c:pt>
                <c:pt idx="2562">
                  <c:v>6.1185942611634117</c:v>
                </c:pt>
                <c:pt idx="2563">
                  <c:v>4.8935349083257487</c:v>
                </c:pt>
                <c:pt idx="2564">
                  <c:v>5.1205977674223311</c:v>
                </c:pt>
                <c:pt idx="2565">
                  <c:v>4.8942744382541123</c:v>
                </c:pt>
                <c:pt idx="2566">
                  <c:v>5.0038663785345792</c:v>
                </c:pt>
                <c:pt idx="2567">
                  <c:v>6.0687873139274071</c:v>
                </c:pt>
                <c:pt idx="2568">
                  <c:v>5.92154383539589</c:v>
                </c:pt>
                <c:pt idx="2569">
                  <c:v>6.0142957732288389</c:v>
                </c:pt>
                <c:pt idx="2570">
                  <c:v>4.8954616694267026</c:v>
                </c:pt>
                <c:pt idx="2571">
                  <c:v>6.0677900612419267</c:v>
                </c:pt>
                <c:pt idx="2572">
                  <c:v>5.9305056489271903</c:v>
                </c:pt>
                <c:pt idx="2573">
                  <c:v>5.0974647427491533</c:v>
                </c:pt>
                <c:pt idx="2574">
                  <c:v>5.0041454004838464</c:v>
                </c:pt>
                <c:pt idx="2575">
                  <c:v>6.0429469408276235</c:v>
                </c:pt>
                <c:pt idx="2576">
                  <c:v>4.9065530513225459</c:v>
                </c:pt>
                <c:pt idx="2577">
                  <c:v>5.0115333325499307</c:v>
                </c:pt>
                <c:pt idx="2578">
                  <c:v>5.0532150222705763</c:v>
                </c:pt>
                <c:pt idx="2579">
                  <c:v>5.9125682600452469</c:v>
                </c:pt>
                <c:pt idx="2580">
                  <c:v>6.0096264164435915</c:v>
                </c:pt>
                <c:pt idx="2581">
                  <c:v>5.0149185486346299</c:v>
                </c:pt>
                <c:pt idx="2582">
                  <c:v>5.8916615854205299</c:v>
                </c:pt>
                <c:pt idx="2583">
                  <c:v>6.1470382794860363</c:v>
                </c:pt>
                <c:pt idx="2584">
                  <c:v>6.0744622739866028</c:v>
                </c:pt>
                <c:pt idx="2585">
                  <c:v>7.1397231674523693</c:v>
                </c:pt>
                <c:pt idx="2586">
                  <c:v>5.9961672423361998</c:v>
                </c:pt>
                <c:pt idx="2587">
                  <c:v>4.8772987144475213</c:v>
                </c:pt>
                <c:pt idx="2588">
                  <c:v>5.0326282854480189</c:v>
                </c:pt>
                <c:pt idx="2589">
                  <c:v>6.1945722244010604</c:v>
                </c:pt>
                <c:pt idx="2590">
                  <c:v>5.9732025164339024</c:v>
                </c:pt>
                <c:pt idx="2591">
                  <c:v>6.0617042364514226</c:v>
                </c:pt>
                <c:pt idx="2592">
                  <c:v>5.8234613180889081</c:v>
                </c:pt>
                <c:pt idx="2593">
                  <c:v>4.9925844897629883</c:v>
                </c:pt>
                <c:pt idx="2594">
                  <c:v>5.8287512164183557</c:v>
                </c:pt>
                <c:pt idx="2595">
                  <c:v>6.0792643343976298</c:v>
                </c:pt>
                <c:pt idx="2596">
                  <c:v>4.9291717889185209</c:v>
                </c:pt>
                <c:pt idx="2597">
                  <c:v>5.9587693590891124</c:v>
                </c:pt>
                <c:pt idx="2598">
                  <c:v>5.0480770796375474</c:v>
                </c:pt>
                <c:pt idx="2599">
                  <c:v>6.0209332339017712</c:v>
                </c:pt>
                <c:pt idx="2600">
                  <c:v>5.9715366065071755</c:v>
                </c:pt>
                <c:pt idx="2601">
                  <c:v>4.8708988934479391</c:v>
                </c:pt>
                <c:pt idx="2602">
                  <c:v>6.0335936895427649</c:v>
                </c:pt>
                <c:pt idx="2603">
                  <c:v>6.2938335455363807</c:v>
                </c:pt>
                <c:pt idx="2604">
                  <c:v>5.9856815120684006</c:v>
                </c:pt>
                <c:pt idx="2605">
                  <c:v>7.0596212708866402</c:v>
                </c:pt>
                <c:pt idx="2606">
                  <c:v>6.026066124470038</c:v>
                </c:pt>
                <c:pt idx="2607">
                  <c:v>5.9086390144749794</c:v>
                </c:pt>
                <c:pt idx="2608">
                  <c:v>5.9028082426598489</c:v>
                </c:pt>
                <c:pt idx="2609">
                  <c:v>5.8122032318314183</c:v>
                </c:pt>
                <c:pt idx="2610">
                  <c:v>4.8502572523481327</c:v>
                </c:pt>
                <c:pt idx="2611">
                  <c:v>4.8930648443206923</c:v>
                </c:pt>
                <c:pt idx="2612">
                  <c:v>4.8686860235669371</c:v>
                </c:pt>
                <c:pt idx="2613">
                  <c:v>5.1060114503204304</c:v>
                </c:pt>
                <c:pt idx="2614">
                  <c:v>7.089366131956047</c:v>
                </c:pt>
                <c:pt idx="2615">
                  <c:v>5.8983872874971688</c:v>
                </c:pt>
                <c:pt idx="2616">
                  <c:v>6.164918615262053</c:v>
                </c:pt>
                <c:pt idx="2617">
                  <c:v>5.9102828767499123</c:v>
                </c:pt>
                <c:pt idx="2618">
                  <c:v>7.0647199738836077</c:v>
                </c:pt>
                <c:pt idx="2619">
                  <c:v>3.9364676096566713</c:v>
                </c:pt>
                <c:pt idx="2620">
                  <c:v>5.0866368812741722</c:v>
                </c:pt>
                <c:pt idx="2621">
                  <c:v>4.9787681033556375</c:v>
                </c:pt>
                <c:pt idx="2622">
                  <c:v>4.7888275216880318</c:v>
                </c:pt>
                <c:pt idx="2623">
                  <c:v>6.1791424824549823</c:v>
                </c:pt>
                <c:pt idx="2624">
                  <c:v>5.0939187717532528</c:v>
                </c:pt>
                <c:pt idx="2625">
                  <c:v>6.0140977383496539</c:v>
                </c:pt>
                <c:pt idx="2626">
                  <c:v>6.0579830343415404</c:v>
                </c:pt>
                <c:pt idx="2627">
                  <c:v>6.0204417118218387</c:v>
                </c:pt>
                <c:pt idx="2628">
                  <c:v>4.8947638609658757</c:v>
                </c:pt>
                <c:pt idx="2629">
                  <c:v>6.0429527616385101</c:v>
                </c:pt>
                <c:pt idx="2630">
                  <c:v>4.8825191813925164</c:v>
                </c:pt>
                <c:pt idx="2631">
                  <c:v>6.1335283089705648</c:v>
                </c:pt>
                <c:pt idx="2632">
                  <c:v>2.0019872462384649</c:v>
                </c:pt>
                <c:pt idx="2633">
                  <c:v>3.080783958541979</c:v>
                </c:pt>
                <c:pt idx="2634">
                  <c:v>5.0100978255472368</c:v>
                </c:pt>
                <c:pt idx="2635">
                  <c:v>4.9212878674049723</c:v>
                </c:pt>
                <c:pt idx="2636">
                  <c:v>5.0380285317440254</c:v>
                </c:pt>
                <c:pt idx="2637">
                  <c:v>2.9598307045521244</c:v>
                </c:pt>
                <c:pt idx="2638">
                  <c:v>6.1175484118078227</c:v>
                </c:pt>
                <c:pt idx="2639">
                  <c:v>6.8973666588171305</c:v>
                </c:pt>
                <c:pt idx="2640">
                  <c:v>5.9683945036660822</c:v>
                </c:pt>
                <c:pt idx="2641">
                  <c:v>6.9803537453395048</c:v>
                </c:pt>
                <c:pt idx="2642">
                  <c:v>4.9696708150620061</c:v>
                </c:pt>
                <c:pt idx="2643">
                  <c:v>5.9285534946359384</c:v>
                </c:pt>
                <c:pt idx="2644">
                  <c:v>4.8632471211097279</c:v>
                </c:pt>
                <c:pt idx="2645">
                  <c:v>5.0245881745168575</c:v>
                </c:pt>
                <c:pt idx="2646">
                  <c:v>5.1227616957049369</c:v>
                </c:pt>
                <c:pt idx="2647">
                  <c:v>4.047950356467573</c:v>
                </c:pt>
                <c:pt idx="2648">
                  <c:v>5.0476382184363784</c:v>
                </c:pt>
                <c:pt idx="2649">
                  <c:v>4.9352579923116799</c:v>
                </c:pt>
                <c:pt idx="2650">
                  <c:v>5.0812050927651367</c:v>
                </c:pt>
                <c:pt idx="2651">
                  <c:v>5.0445168000952822</c:v>
                </c:pt>
                <c:pt idx="2652">
                  <c:v>5.8309898967946463</c:v>
                </c:pt>
                <c:pt idx="2653">
                  <c:v>6.0153250425696028</c:v>
                </c:pt>
                <c:pt idx="2654">
                  <c:v>4.0333117956132174</c:v>
                </c:pt>
                <c:pt idx="2655">
                  <c:v>2.9287696178667368</c:v>
                </c:pt>
                <c:pt idx="2656">
                  <c:v>4.8481380164172201</c:v>
                </c:pt>
                <c:pt idx="2657">
                  <c:v>4.7916464094709781</c:v>
                </c:pt>
                <c:pt idx="2658">
                  <c:v>5.0806479052675426</c:v>
                </c:pt>
                <c:pt idx="2659">
                  <c:v>4.8861720436130325</c:v>
                </c:pt>
                <c:pt idx="2660">
                  <c:v>3.8487782947857894</c:v>
                </c:pt>
                <c:pt idx="2661">
                  <c:v>6.0812425538231363</c:v>
                </c:pt>
                <c:pt idx="2662">
                  <c:v>4.0435566821510847</c:v>
                </c:pt>
                <c:pt idx="2663">
                  <c:v>3.9584363625461059</c:v>
                </c:pt>
                <c:pt idx="2664">
                  <c:v>4.8276991875232982</c:v>
                </c:pt>
                <c:pt idx="2665">
                  <c:v>4.8697619248380768</c:v>
                </c:pt>
                <c:pt idx="2666">
                  <c:v>2.9051017967003747</c:v>
                </c:pt>
                <c:pt idx="2667">
                  <c:v>4.0301861747171497</c:v>
                </c:pt>
                <c:pt idx="2668">
                  <c:v>5.0084596790686753</c:v>
                </c:pt>
                <c:pt idx="2669">
                  <c:v>5.9719106107932669</c:v>
                </c:pt>
                <c:pt idx="2670">
                  <c:v>5.9761738245806626</c:v>
                </c:pt>
                <c:pt idx="2671">
                  <c:v>4.9662829058169926</c:v>
                </c:pt>
                <c:pt idx="2672">
                  <c:v>5.9160805288338203</c:v>
                </c:pt>
                <c:pt idx="2673">
                  <c:v>2.9136450868945389</c:v>
                </c:pt>
                <c:pt idx="2674">
                  <c:v>4.8151517212207544</c:v>
                </c:pt>
                <c:pt idx="2675">
                  <c:v>5.8528684239077684</c:v>
                </c:pt>
                <c:pt idx="2676">
                  <c:v>6.9807557040252881</c:v>
                </c:pt>
                <c:pt idx="2677">
                  <c:v>4.9895889827432374</c:v>
                </c:pt>
                <c:pt idx="2678">
                  <c:v>5.9749666813374871</c:v>
                </c:pt>
                <c:pt idx="2679">
                  <c:v>4.9731926436916387</c:v>
                </c:pt>
                <c:pt idx="2680">
                  <c:v>4.995176272170271</c:v>
                </c:pt>
                <c:pt idx="2681">
                  <c:v>4.8942081705575555</c:v>
                </c:pt>
                <c:pt idx="2682">
                  <c:v>6.0288775921519555</c:v>
                </c:pt>
                <c:pt idx="2683">
                  <c:v>6.0882043814713809</c:v>
                </c:pt>
                <c:pt idx="2684">
                  <c:v>5.0261025173891634</c:v>
                </c:pt>
                <c:pt idx="2685">
                  <c:v>4.0067496110208065</c:v>
                </c:pt>
                <c:pt idx="2686">
                  <c:v>5.9784748866812647</c:v>
                </c:pt>
                <c:pt idx="2687">
                  <c:v>3.9775589269959362</c:v>
                </c:pt>
                <c:pt idx="2688">
                  <c:v>6.0265191764657624</c:v>
                </c:pt>
                <c:pt idx="2689">
                  <c:v>4.8007867530719279</c:v>
                </c:pt>
                <c:pt idx="2690">
                  <c:v>6.0773664626404811</c:v>
                </c:pt>
                <c:pt idx="2691">
                  <c:v>5.0545764203414727</c:v>
                </c:pt>
                <c:pt idx="2692">
                  <c:v>5.8032267297427822</c:v>
                </c:pt>
                <c:pt idx="2693">
                  <c:v>4.874297447991645</c:v>
                </c:pt>
                <c:pt idx="2694">
                  <c:v>5.9071480698802432</c:v>
                </c:pt>
                <c:pt idx="2695">
                  <c:v>4.9713236903023272</c:v>
                </c:pt>
                <c:pt idx="2696">
                  <c:v>5.9958751245830673</c:v>
                </c:pt>
                <c:pt idx="2697">
                  <c:v>6.1066067715632872</c:v>
                </c:pt>
                <c:pt idx="2698">
                  <c:v>4.975442965803281</c:v>
                </c:pt>
                <c:pt idx="2699">
                  <c:v>5.0956840726930128</c:v>
                </c:pt>
                <c:pt idx="2700">
                  <c:v>6.0929042740208077</c:v>
                </c:pt>
                <c:pt idx="2701">
                  <c:v>6.1326737025625562</c:v>
                </c:pt>
                <c:pt idx="2702">
                  <c:v>5.9037766056190932</c:v>
                </c:pt>
                <c:pt idx="2703">
                  <c:v>5.1239397687255597</c:v>
                </c:pt>
                <c:pt idx="2704">
                  <c:v>5.0109875296615041</c:v>
                </c:pt>
                <c:pt idx="2705">
                  <c:v>5.9952519812194964</c:v>
                </c:pt>
                <c:pt idx="2706">
                  <c:v>5.0572122528446561</c:v>
                </c:pt>
                <c:pt idx="2707">
                  <c:v>5.0197701237582377</c:v>
                </c:pt>
                <c:pt idx="2708">
                  <c:v>4.7541207485551933</c:v>
                </c:pt>
                <c:pt idx="2709">
                  <c:v>5.9414831444017375</c:v>
                </c:pt>
                <c:pt idx="2710">
                  <c:v>5.0253224629586999</c:v>
                </c:pt>
                <c:pt idx="2711">
                  <c:v>4.9069660103782073</c:v>
                </c:pt>
                <c:pt idx="2712">
                  <c:v>4.988477996485047</c:v>
                </c:pt>
                <c:pt idx="2713">
                  <c:v>6.0434392077676229</c:v>
                </c:pt>
                <c:pt idx="2714">
                  <c:v>5.0556750440481428</c:v>
                </c:pt>
                <c:pt idx="2715">
                  <c:v>3.7544630509847403</c:v>
                </c:pt>
                <c:pt idx="2716">
                  <c:v>4.9690133988510308</c:v>
                </c:pt>
                <c:pt idx="2717">
                  <c:v>5.8869180769289624</c:v>
                </c:pt>
                <c:pt idx="2718">
                  <c:v>4.9135376704763996</c:v>
                </c:pt>
                <c:pt idx="2719">
                  <c:v>3.7770996940627959</c:v>
                </c:pt>
                <c:pt idx="2720">
                  <c:v>4.9955778844798591</c:v>
                </c:pt>
                <c:pt idx="2721">
                  <c:v>3.8348362285517239</c:v>
                </c:pt>
                <c:pt idx="2722">
                  <c:v>5.8337823661418442</c:v>
                </c:pt>
                <c:pt idx="2723">
                  <c:v>5.1534573921188809</c:v>
                </c:pt>
                <c:pt idx="2724">
                  <c:v>3.6421782317195408</c:v>
                </c:pt>
                <c:pt idx="2725">
                  <c:v>5.9298715521920426</c:v>
                </c:pt>
                <c:pt idx="2726">
                  <c:v>8.9662551027221831</c:v>
                </c:pt>
                <c:pt idx="2727">
                  <c:v>6.049415517059308</c:v>
                </c:pt>
                <c:pt idx="2728">
                  <c:v>5.8575430940055879</c:v>
                </c:pt>
                <c:pt idx="2729">
                  <c:v>6.2239201865486047</c:v>
                </c:pt>
                <c:pt idx="2730">
                  <c:v>4.9135614596075445</c:v>
                </c:pt>
                <c:pt idx="2731">
                  <c:v>5.0294151451494962</c:v>
                </c:pt>
                <c:pt idx="2732">
                  <c:v>6.1162437083022656</c:v>
                </c:pt>
                <c:pt idx="2733">
                  <c:v>5.1325283207192269</c:v>
                </c:pt>
                <c:pt idx="2734">
                  <c:v>5.0866470906814758</c:v>
                </c:pt>
                <c:pt idx="2735">
                  <c:v>5.912631303011473</c:v>
                </c:pt>
                <c:pt idx="2736">
                  <c:v>6.0395828004568912</c:v>
                </c:pt>
                <c:pt idx="2737">
                  <c:v>4.8363684269320046</c:v>
                </c:pt>
                <c:pt idx="2738">
                  <c:v>4.8351611045881988</c:v>
                </c:pt>
                <c:pt idx="2739">
                  <c:v>6.0483389647255379</c:v>
                </c:pt>
                <c:pt idx="2740">
                  <c:v>5.872516478881793</c:v>
                </c:pt>
                <c:pt idx="2741">
                  <c:v>5.1314808340631863</c:v>
                </c:pt>
                <c:pt idx="2742">
                  <c:v>5.8965797038045178</c:v>
                </c:pt>
                <c:pt idx="2743">
                  <c:v>5.1185617648917301</c:v>
                </c:pt>
                <c:pt idx="2744">
                  <c:v>5.9608630237704823</c:v>
                </c:pt>
                <c:pt idx="2745">
                  <c:v>6.1066902063829422</c:v>
                </c:pt>
                <c:pt idx="2746">
                  <c:v>5.0248386530855935</c:v>
                </c:pt>
                <c:pt idx="2747">
                  <c:v>5.0503767182877057</c:v>
                </c:pt>
                <c:pt idx="2748">
                  <c:v>6.1855879765845163</c:v>
                </c:pt>
                <c:pt idx="2749">
                  <c:v>4.9721846100818015</c:v>
                </c:pt>
                <c:pt idx="2750">
                  <c:v>5.1077358196481635</c:v>
                </c:pt>
                <c:pt idx="2751">
                  <c:v>4.9573433010231245</c:v>
                </c:pt>
                <c:pt idx="2752">
                  <c:v>4.9672223159350652</c:v>
                </c:pt>
                <c:pt idx="2753">
                  <c:v>5.0013821165121524</c:v>
                </c:pt>
                <c:pt idx="2754">
                  <c:v>5.0033561916900995</c:v>
                </c:pt>
                <c:pt idx="2755">
                  <c:v>6.0169965755310999</c:v>
                </c:pt>
                <c:pt idx="2756">
                  <c:v>3.9851384003763592</c:v>
                </c:pt>
                <c:pt idx="2757">
                  <c:v>7.0778944145423965</c:v>
                </c:pt>
                <c:pt idx="2758">
                  <c:v>5.015295965438554</c:v>
                </c:pt>
                <c:pt idx="2759">
                  <c:v>4.9142487593140958</c:v>
                </c:pt>
                <c:pt idx="2760">
                  <c:v>5.0843278846029314</c:v>
                </c:pt>
                <c:pt idx="2761">
                  <c:v>5.0132137548147018</c:v>
                </c:pt>
                <c:pt idx="2762">
                  <c:v>5.8479829282031313</c:v>
                </c:pt>
                <c:pt idx="2763">
                  <c:v>4.879712510809803</c:v>
                </c:pt>
                <c:pt idx="2764">
                  <c:v>5.1938484426406175</c:v>
                </c:pt>
                <c:pt idx="2765">
                  <c:v>5.1491618960681329</c:v>
                </c:pt>
                <c:pt idx="2766">
                  <c:v>5.0503662861144258</c:v>
                </c:pt>
                <c:pt idx="2767">
                  <c:v>5.1619827383979366</c:v>
                </c:pt>
                <c:pt idx="2768">
                  <c:v>6.0131091378319583</c:v>
                </c:pt>
                <c:pt idx="2769">
                  <c:v>4.032626752804501</c:v>
                </c:pt>
                <c:pt idx="2770">
                  <c:v>5.1098297446247045</c:v>
                </c:pt>
                <c:pt idx="2771">
                  <c:v>5.0305168103225153</c:v>
                </c:pt>
                <c:pt idx="2772">
                  <c:v>4.9233644299508628</c:v>
                </c:pt>
                <c:pt idx="2773">
                  <c:v>4.8915625754910845</c:v>
                </c:pt>
                <c:pt idx="2774">
                  <c:v>4.1431789811746631</c:v>
                </c:pt>
                <c:pt idx="2775">
                  <c:v>6.0419529227073436</c:v>
                </c:pt>
                <c:pt idx="2776">
                  <c:v>6.063193689346833</c:v>
                </c:pt>
                <c:pt idx="2777">
                  <c:v>5.8792679915756763</c:v>
                </c:pt>
                <c:pt idx="2778">
                  <c:v>4.1566937478611248</c:v>
                </c:pt>
                <c:pt idx="2779">
                  <c:v>6.0804915319780175</c:v>
                </c:pt>
                <c:pt idx="2780">
                  <c:v>5.9730918141946558</c:v>
                </c:pt>
                <c:pt idx="2781">
                  <c:v>6.0402745645335409</c:v>
                </c:pt>
                <c:pt idx="2782">
                  <c:v>4.9428547247483232</c:v>
                </c:pt>
                <c:pt idx="2783">
                  <c:v>6.0753365467313127</c:v>
                </c:pt>
                <c:pt idx="2784">
                  <c:v>6.0876459217547554</c:v>
                </c:pt>
                <c:pt idx="2785">
                  <c:v>5.9641061083658</c:v>
                </c:pt>
                <c:pt idx="2786">
                  <c:v>6.0023836307066647</c:v>
                </c:pt>
                <c:pt idx="2787">
                  <c:v>6.1193967229152086</c:v>
                </c:pt>
                <c:pt idx="2788">
                  <c:v>5.9757748729616003</c:v>
                </c:pt>
                <c:pt idx="2789">
                  <c:v>6.0460208259711221</c:v>
                </c:pt>
                <c:pt idx="2790">
                  <c:v>6.3167523813677882</c:v>
                </c:pt>
                <c:pt idx="2791">
                  <c:v>5.9574804745879479</c:v>
                </c:pt>
                <c:pt idx="2792">
                  <c:v>5.0944894386381856</c:v>
                </c:pt>
                <c:pt idx="2793">
                  <c:v>6.016920268248132</c:v>
                </c:pt>
                <c:pt idx="2794">
                  <c:v>6.0959944216221764</c:v>
                </c:pt>
                <c:pt idx="2795">
                  <c:v>5.1675642100854562</c:v>
                </c:pt>
                <c:pt idx="2796">
                  <c:v>6.2405267956523121</c:v>
                </c:pt>
                <c:pt idx="2797">
                  <c:v>7.0751631375727309</c:v>
                </c:pt>
                <c:pt idx="2798">
                  <c:v>4.9159084185687387</c:v>
                </c:pt>
                <c:pt idx="2799">
                  <c:v>6.1114575796116526</c:v>
                </c:pt>
                <c:pt idx="2800">
                  <c:v>7.0240130497895858</c:v>
                </c:pt>
                <c:pt idx="2801">
                  <c:v>5.8659363404440992</c:v>
                </c:pt>
                <c:pt idx="2802">
                  <c:v>6.0615731067701821</c:v>
                </c:pt>
                <c:pt idx="2803">
                  <c:v>5.9078089320424496</c:v>
                </c:pt>
                <c:pt idx="2804">
                  <c:v>6.0557225191949939</c:v>
                </c:pt>
                <c:pt idx="2805">
                  <c:v>5.9421686878922362</c:v>
                </c:pt>
                <c:pt idx="2806">
                  <c:v>5.9173437316996518</c:v>
                </c:pt>
                <c:pt idx="2807">
                  <c:v>5.0108313699572893</c:v>
                </c:pt>
                <c:pt idx="2808">
                  <c:v>4.1182387941867926</c:v>
                </c:pt>
                <c:pt idx="2809">
                  <c:v>5.9650330992386182</c:v>
                </c:pt>
                <c:pt idx="2810">
                  <c:v>5.0220753320646256</c:v>
                </c:pt>
                <c:pt idx="2811">
                  <c:v>5.9949434775291275</c:v>
                </c:pt>
                <c:pt idx="2812">
                  <c:v>4.8501145403290113</c:v>
                </c:pt>
                <c:pt idx="2813">
                  <c:v>5.9881815126894029</c:v>
                </c:pt>
                <c:pt idx="2814">
                  <c:v>6.0973414177970389</c:v>
                </c:pt>
                <c:pt idx="2815">
                  <c:v>6.2345785571258743</c:v>
                </c:pt>
                <c:pt idx="2816">
                  <c:v>6.0352478836200589</c:v>
                </c:pt>
                <c:pt idx="2817">
                  <c:v>3.961124982474117</c:v>
                </c:pt>
                <c:pt idx="2818">
                  <c:v>6.0230942749956204</c:v>
                </c:pt>
                <c:pt idx="2819">
                  <c:v>4.9903703754053179</c:v>
                </c:pt>
                <c:pt idx="2820">
                  <c:v>3.9500256702121037</c:v>
                </c:pt>
                <c:pt idx="2821">
                  <c:v>3.8989394408782769</c:v>
                </c:pt>
                <c:pt idx="2822">
                  <c:v>5.1526899863499622</c:v>
                </c:pt>
                <c:pt idx="2823">
                  <c:v>5.9926623941433785</c:v>
                </c:pt>
                <c:pt idx="2824">
                  <c:v>4.9396947252278824</c:v>
                </c:pt>
                <c:pt idx="2825">
                  <c:v>5.9220883420844537</c:v>
                </c:pt>
                <c:pt idx="2826">
                  <c:v>6.0349330509719472</c:v>
                </c:pt>
                <c:pt idx="2827">
                  <c:v>5.950386215993162</c:v>
                </c:pt>
                <c:pt idx="2828">
                  <c:v>5.9989588523568091</c:v>
                </c:pt>
                <c:pt idx="2829">
                  <c:v>4.8951462167317619</c:v>
                </c:pt>
                <c:pt idx="2830">
                  <c:v>5.0806566026001461</c:v>
                </c:pt>
                <c:pt idx="2831">
                  <c:v>4.0176046622027464</c:v>
                </c:pt>
                <c:pt idx="2832">
                  <c:v>4.9956005049410974</c:v>
                </c:pt>
                <c:pt idx="2833">
                  <c:v>4.8430160002117502</c:v>
                </c:pt>
                <c:pt idx="2834">
                  <c:v>5.9504148263106034</c:v>
                </c:pt>
                <c:pt idx="2835">
                  <c:v>4.9058119336605266</c:v>
                </c:pt>
                <c:pt idx="2836">
                  <c:v>3.9550900428509701</c:v>
                </c:pt>
                <c:pt idx="2837">
                  <c:v>4.0253574279285331</c:v>
                </c:pt>
                <c:pt idx="2838">
                  <c:v>6.0919859544519364</c:v>
                </c:pt>
                <c:pt idx="2839">
                  <c:v>6.0213922521712124</c:v>
                </c:pt>
                <c:pt idx="2840">
                  <c:v>4.9353851190001459</c:v>
                </c:pt>
                <c:pt idx="2841">
                  <c:v>3.924329957336417</c:v>
                </c:pt>
                <c:pt idx="2842">
                  <c:v>4.9179551721301911</c:v>
                </c:pt>
                <c:pt idx="2843">
                  <c:v>6.0727420160288101</c:v>
                </c:pt>
                <c:pt idx="2844">
                  <c:v>4.0020317550408437</c:v>
                </c:pt>
                <c:pt idx="2845">
                  <c:v>6.1090249208861991</c:v>
                </c:pt>
                <c:pt idx="2846">
                  <c:v>5.0832734537023319</c:v>
                </c:pt>
                <c:pt idx="2847">
                  <c:v>5.9047063767205445</c:v>
                </c:pt>
                <c:pt idx="2848">
                  <c:v>4.8633640612113744</c:v>
                </c:pt>
                <c:pt idx="2849">
                  <c:v>5.0892098373345798</c:v>
                </c:pt>
                <c:pt idx="2850">
                  <c:v>5.8213735765218839</c:v>
                </c:pt>
                <c:pt idx="2851">
                  <c:v>5.8760777058449118</c:v>
                </c:pt>
                <c:pt idx="2852">
                  <c:v>4.9096190045401826</c:v>
                </c:pt>
                <c:pt idx="2853">
                  <c:v>4.9989571736930092</c:v>
                </c:pt>
                <c:pt idx="2854">
                  <c:v>6.1018874072117972</c:v>
                </c:pt>
                <c:pt idx="2855">
                  <c:v>5.954907304431539</c:v>
                </c:pt>
                <c:pt idx="2856">
                  <c:v>5.9842078977183437</c:v>
                </c:pt>
                <c:pt idx="2857">
                  <c:v>5.8948286008358544</c:v>
                </c:pt>
                <c:pt idx="2858">
                  <c:v>4.8145527621091606</c:v>
                </c:pt>
                <c:pt idx="2859">
                  <c:v>4.984340622139233</c:v>
                </c:pt>
                <c:pt idx="2860">
                  <c:v>6.0332240346492183</c:v>
                </c:pt>
                <c:pt idx="2861">
                  <c:v>7.1475247844747578</c:v>
                </c:pt>
                <c:pt idx="2862">
                  <c:v>5.9964774606390847</c:v>
                </c:pt>
                <c:pt idx="2863">
                  <c:v>5.0080339420433777</c:v>
                </c:pt>
                <c:pt idx="2864">
                  <c:v>6.1081097819818879</c:v>
                </c:pt>
                <c:pt idx="2865">
                  <c:v>6.0434386399048794</c:v>
                </c:pt>
                <c:pt idx="2866">
                  <c:v>5.888154693152134</c:v>
                </c:pt>
                <c:pt idx="2867">
                  <c:v>5.0232077532361581</c:v>
                </c:pt>
                <c:pt idx="2868">
                  <c:v>4.873421600832593</c:v>
                </c:pt>
                <c:pt idx="2869">
                  <c:v>5.9325094367185844</c:v>
                </c:pt>
                <c:pt idx="2870">
                  <c:v>4.9014595754155446</c:v>
                </c:pt>
                <c:pt idx="2871">
                  <c:v>6.9637479509646596</c:v>
                </c:pt>
                <c:pt idx="2872">
                  <c:v>4.9231327576228026</c:v>
                </c:pt>
                <c:pt idx="2873">
                  <c:v>6.0077958599872803</c:v>
                </c:pt>
                <c:pt idx="2874">
                  <c:v>6.1017998546466901</c:v>
                </c:pt>
                <c:pt idx="2875">
                  <c:v>5.008947591066268</c:v>
                </c:pt>
                <c:pt idx="2876">
                  <c:v>5.9728885259541116</c:v>
                </c:pt>
                <c:pt idx="2877">
                  <c:v>5.1552439782164914</c:v>
                </c:pt>
                <c:pt idx="2878">
                  <c:v>4.8304206219878489</c:v>
                </c:pt>
                <c:pt idx="2879">
                  <c:v>6.1397422107711872</c:v>
                </c:pt>
                <c:pt idx="2880">
                  <c:v>6.1116687181186524</c:v>
                </c:pt>
                <c:pt idx="2881">
                  <c:v>5.8097615342968965</c:v>
                </c:pt>
                <c:pt idx="2882">
                  <c:v>5.0459622909538595</c:v>
                </c:pt>
                <c:pt idx="2883">
                  <c:v>5.6017887509581126</c:v>
                </c:pt>
                <c:pt idx="2884">
                  <c:v>6.9056090615372687</c:v>
                </c:pt>
                <c:pt idx="2885">
                  <c:v>4.875649856655472</c:v>
                </c:pt>
                <c:pt idx="2886">
                  <c:v>5.1223383913646225</c:v>
                </c:pt>
                <c:pt idx="2887">
                  <c:v>4.9820488002532617</c:v>
                </c:pt>
                <c:pt idx="2888">
                  <c:v>4.96348275640345</c:v>
                </c:pt>
                <c:pt idx="2889">
                  <c:v>7.0057823202157232</c:v>
                </c:pt>
                <c:pt idx="2890">
                  <c:v>5.1075251082778612</c:v>
                </c:pt>
                <c:pt idx="2891">
                  <c:v>4.9354404529603144</c:v>
                </c:pt>
                <c:pt idx="2892">
                  <c:v>6.148992393805675</c:v>
                </c:pt>
                <c:pt idx="2893">
                  <c:v>5.0249834922026286</c:v>
                </c:pt>
                <c:pt idx="2894">
                  <c:v>5.0056499575928539</c:v>
                </c:pt>
                <c:pt idx="2895">
                  <c:v>4.9829489332641925</c:v>
                </c:pt>
                <c:pt idx="2896">
                  <c:v>4.9030268743007133</c:v>
                </c:pt>
                <c:pt idx="2897">
                  <c:v>6.1967015692036433</c:v>
                </c:pt>
                <c:pt idx="2898">
                  <c:v>6.9381339802947908</c:v>
                </c:pt>
                <c:pt idx="2899">
                  <c:v>6.0619853098002556</c:v>
                </c:pt>
                <c:pt idx="2900">
                  <c:v>4.8619483063095545</c:v>
                </c:pt>
                <c:pt idx="2901">
                  <c:v>4.963517954739407</c:v>
                </c:pt>
                <c:pt idx="2902">
                  <c:v>5.9660399229940611</c:v>
                </c:pt>
                <c:pt idx="2903">
                  <c:v>6.9788986229887966</c:v>
                </c:pt>
                <c:pt idx="2904">
                  <c:v>7.0716555255776949</c:v>
                </c:pt>
                <c:pt idx="2905">
                  <c:v>5.0936499968392219</c:v>
                </c:pt>
                <c:pt idx="2906">
                  <c:v>6.125897014889226</c:v>
                </c:pt>
                <c:pt idx="2907">
                  <c:v>6.9761037796297147</c:v>
                </c:pt>
                <c:pt idx="2908">
                  <c:v>5.0067208670434331</c:v>
                </c:pt>
                <c:pt idx="2909">
                  <c:v>4.9956632407372714</c:v>
                </c:pt>
                <c:pt idx="2910">
                  <c:v>6.0329453589333006</c:v>
                </c:pt>
                <c:pt idx="2911">
                  <c:v>7.0198298641989254</c:v>
                </c:pt>
                <c:pt idx="2912">
                  <c:v>4.905863056912291</c:v>
                </c:pt>
                <c:pt idx="2913">
                  <c:v>5.0404384240951012</c:v>
                </c:pt>
                <c:pt idx="2914">
                  <c:v>5.9492519181822292</c:v>
                </c:pt>
                <c:pt idx="2915">
                  <c:v>5.0817652677880787</c:v>
                </c:pt>
                <c:pt idx="2916">
                  <c:v>5.0180621660288569</c:v>
                </c:pt>
                <c:pt idx="2917">
                  <c:v>6.9560618511466501</c:v>
                </c:pt>
                <c:pt idx="2918">
                  <c:v>5.0245730735936336</c:v>
                </c:pt>
                <c:pt idx="2919">
                  <c:v>5.1383574098352325</c:v>
                </c:pt>
                <c:pt idx="2920">
                  <c:v>6.1232976922532325</c:v>
                </c:pt>
                <c:pt idx="2921">
                  <c:v>5.0192540756905526</c:v>
                </c:pt>
                <c:pt idx="2922">
                  <c:v>5.9301647912924675</c:v>
                </c:pt>
                <c:pt idx="2923">
                  <c:v>5.0596875386437539</c:v>
                </c:pt>
                <c:pt idx="2924">
                  <c:v>5.8386039894531532</c:v>
                </c:pt>
                <c:pt idx="2925">
                  <c:v>6.1979944043807738</c:v>
                </c:pt>
                <c:pt idx="2926">
                  <c:v>5.1413949364584983</c:v>
                </c:pt>
                <c:pt idx="2927">
                  <c:v>5.9674310878643597</c:v>
                </c:pt>
                <c:pt idx="2928">
                  <c:v>5.0241066934888536</c:v>
                </c:pt>
                <c:pt idx="2929">
                  <c:v>5.9760881388882465</c:v>
                </c:pt>
                <c:pt idx="2930">
                  <c:v>5.9097380261017101</c:v>
                </c:pt>
                <c:pt idx="2931">
                  <c:v>4.892008265889757</c:v>
                </c:pt>
                <c:pt idx="2932">
                  <c:v>4.9275825378513538</c:v>
                </c:pt>
                <c:pt idx="2933">
                  <c:v>5.0562802625303469</c:v>
                </c:pt>
                <c:pt idx="2934">
                  <c:v>4.818545182284578</c:v>
                </c:pt>
                <c:pt idx="2935">
                  <c:v>5.0857536536019055</c:v>
                </c:pt>
                <c:pt idx="2936">
                  <c:v>6.0409469551921422</c:v>
                </c:pt>
                <c:pt idx="2937">
                  <c:v>4.8699735788735614</c:v>
                </c:pt>
                <c:pt idx="2938">
                  <c:v>4.9209622066097749</c:v>
                </c:pt>
                <c:pt idx="2939">
                  <c:v>3.9032332907816656</c:v>
                </c:pt>
                <c:pt idx="2940">
                  <c:v>4.9193255389468149</c:v>
                </c:pt>
                <c:pt idx="2941">
                  <c:v>5.9290804733414317</c:v>
                </c:pt>
                <c:pt idx="2942">
                  <c:v>5.9887875854379766</c:v>
                </c:pt>
                <c:pt idx="2943">
                  <c:v>4.8888152539737693</c:v>
                </c:pt>
                <c:pt idx="2944">
                  <c:v>5.0830444060228892</c:v>
                </c:pt>
                <c:pt idx="2945">
                  <c:v>4.8469075911575885</c:v>
                </c:pt>
                <c:pt idx="2946">
                  <c:v>5.8944782920973298</c:v>
                </c:pt>
                <c:pt idx="2947">
                  <c:v>6.0757437402098597</c:v>
                </c:pt>
                <c:pt idx="2948">
                  <c:v>5.8407229695124823</c:v>
                </c:pt>
                <c:pt idx="2949">
                  <c:v>4.9458884114053108</c:v>
                </c:pt>
                <c:pt idx="2950">
                  <c:v>4.9517177091993547</c:v>
                </c:pt>
                <c:pt idx="2951">
                  <c:v>6.2050173175007357</c:v>
                </c:pt>
                <c:pt idx="2952">
                  <c:v>4.8931074474657592</c:v>
                </c:pt>
                <c:pt idx="2953">
                  <c:v>6.1767108265342987</c:v>
                </c:pt>
                <c:pt idx="2954">
                  <c:v>4.8895192286047502</c:v>
                </c:pt>
                <c:pt idx="2955">
                  <c:v>5.9321357659252039</c:v>
                </c:pt>
                <c:pt idx="2956">
                  <c:v>6.0260895440517546</c:v>
                </c:pt>
                <c:pt idx="2957">
                  <c:v>6.0218450216457979</c:v>
                </c:pt>
                <c:pt idx="2958">
                  <c:v>6.0450111511169666</c:v>
                </c:pt>
                <c:pt idx="2959">
                  <c:v>5.9709909477148537</c:v>
                </c:pt>
                <c:pt idx="2960">
                  <c:v>5.9479220267201889</c:v>
                </c:pt>
                <c:pt idx="2961">
                  <c:v>4.9345107042089875</c:v>
                </c:pt>
                <c:pt idx="2962">
                  <c:v>4.8867799825411566</c:v>
                </c:pt>
                <c:pt idx="2963">
                  <c:v>4.9638366318085145</c:v>
                </c:pt>
                <c:pt idx="2964">
                  <c:v>6.1444920552531626</c:v>
                </c:pt>
                <c:pt idx="2965">
                  <c:v>4.9662499538727678</c:v>
                </c:pt>
                <c:pt idx="2966">
                  <c:v>4.8857799875696815</c:v>
                </c:pt>
                <c:pt idx="2967">
                  <c:v>5.0959104390189411</c:v>
                </c:pt>
                <c:pt idx="2968">
                  <c:v>4.9687422386951647</c:v>
                </c:pt>
                <c:pt idx="2969">
                  <c:v>5.7312775628434451</c:v>
                </c:pt>
                <c:pt idx="2970">
                  <c:v>5.9116562012025522</c:v>
                </c:pt>
                <c:pt idx="2971">
                  <c:v>5.0206328060219523</c:v>
                </c:pt>
                <c:pt idx="2972">
                  <c:v>4.8777787602622906</c:v>
                </c:pt>
                <c:pt idx="2973">
                  <c:v>6.0863734297576411</c:v>
                </c:pt>
                <c:pt idx="2974">
                  <c:v>5.874241660513257</c:v>
                </c:pt>
                <c:pt idx="2975">
                  <c:v>5.9861899815068833</c:v>
                </c:pt>
                <c:pt idx="2976">
                  <c:v>5.109243874640276</c:v>
                </c:pt>
                <c:pt idx="2977">
                  <c:v>5.8096743831078319</c:v>
                </c:pt>
                <c:pt idx="2978">
                  <c:v>6.0064917735407093</c:v>
                </c:pt>
                <c:pt idx="2979">
                  <c:v>5.931564205971501</c:v>
                </c:pt>
                <c:pt idx="2980">
                  <c:v>5.0819653782712857</c:v>
                </c:pt>
                <c:pt idx="2981">
                  <c:v>5.0443851650820868</c:v>
                </c:pt>
                <c:pt idx="2982">
                  <c:v>5.193843136586235</c:v>
                </c:pt>
                <c:pt idx="2983">
                  <c:v>6.1677016278124963</c:v>
                </c:pt>
                <c:pt idx="2984">
                  <c:v>4.8539782620645147</c:v>
                </c:pt>
                <c:pt idx="2985">
                  <c:v>4.9517506665105424</c:v>
                </c:pt>
                <c:pt idx="2986">
                  <c:v>5.1150743928150346</c:v>
                </c:pt>
                <c:pt idx="2987">
                  <c:v>4.7574386320052584</c:v>
                </c:pt>
                <c:pt idx="2988">
                  <c:v>5.0913291252602066</c:v>
                </c:pt>
                <c:pt idx="2989">
                  <c:v>6.1357508997813648</c:v>
                </c:pt>
                <c:pt idx="2990">
                  <c:v>4.9964791885364415</c:v>
                </c:pt>
                <c:pt idx="2991">
                  <c:v>6.0487166010749043</c:v>
                </c:pt>
                <c:pt idx="2992">
                  <c:v>5.0532062828564781</c:v>
                </c:pt>
                <c:pt idx="2993">
                  <c:v>5.0433915545234251</c:v>
                </c:pt>
                <c:pt idx="2994">
                  <c:v>6.0502945759139575</c:v>
                </c:pt>
                <c:pt idx="2995">
                  <c:v>6.1173824866224606</c:v>
                </c:pt>
                <c:pt idx="2996">
                  <c:v>6.0373141824889194</c:v>
                </c:pt>
                <c:pt idx="2997">
                  <c:v>5.1736675318943988</c:v>
                </c:pt>
                <c:pt idx="2998">
                  <c:v>5.104219345512603</c:v>
                </c:pt>
                <c:pt idx="2999">
                  <c:v>4.9530183945985309</c:v>
                </c:pt>
                <c:pt idx="3000">
                  <c:v>5.0136228609982494</c:v>
                </c:pt>
                <c:pt idx="3001">
                  <c:v>5.9688464242601977</c:v>
                </c:pt>
                <c:pt idx="3002">
                  <c:v>5.9628702564721632</c:v>
                </c:pt>
                <c:pt idx="3003">
                  <c:v>5.7841462993714412</c:v>
                </c:pt>
                <c:pt idx="3004">
                  <c:v>5.1169793677571702</c:v>
                </c:pt>
                <c:pt idx="3005">
                  <c:v>4.9892799765676203</c:v>
                </c:pt>
                <c:pt idx="3006">
                  <c:v>6.0888098975381926</c:v>
                </c:pt>
                <c:pt idx="3007">
                  <c:v>6.0481156096598276</c:v>
                </c:pt>
                <c:pt idx="3008">
                  <c:v>4.999787561404295</c:v>
                </c:pt>
                <c:pt idx="3009">
                  <c:v>6.0841350901568081</c:v>
                </c:pt>
                <c:pt idx="3010">
                  <c:v>5.9684544888300692</c:v>
                </c:pt>
                <c:pt idx="3011">
                  <c:v>5.0870028359950723</c:v>
                </c:pt>
                <c:pt idx="3012">
                  <c:v>5.9834479528475928</c:v>
                </c:pt>
                <c:pt idx="3013">
                  <c:v>6.1144871787684583</c:v>
                </c:pt>
                <c:pt idx="3014">
                  <c:v>5.9971792222490876</c:v>
                </c:pt>
                <c:pt idx="3015">
                  <c:v>4.8682342557684226</c:v>
                </c:pt>
                <c:pt idx="3016">
                  <c:v>4.8746512354316707</c:v>
                </c:pt>
                <c:pt idx="3017">
                  <c:v>4.8409680602118765</c:v>
                </c:pt>
                <c:pt idx="3018">
                  <c:v>6.0265399970627165</c:v>
                </c:pt>
                <c:pt idx="3019">
                  <c:v>4.9928539830874978</c:v>
                </c:pt>
                <c:pt idx="3020">
                  <c:v>6.089791800071569</c:v>
                </c:pt>
                <c:pt idx="3021">
                  <c:v>6.0174645801363127</c:v>
                </c:pt>
                <c:pt idx="3022">
                  <c:v>4.9234010270288007</c:v>
                </c:pt>
                <c:pt idx="3023">
                  <c:v>5.0826783352618499</c:v>
                </c:pt>
                <c:pt idx="3024">
                  <c:v>5.0559740580380108</c:v>
                </c:pt>
                <c:pt idx="3025">
                  <c:v>6.1112700158625319</c:v>
                </c:pt>
                <c:pt idx="3026">
                  <c:v>5.7752595366751809</c:v>
                </c:pt>
                <c:pt idx="3027">
                  <c:v>5.9665880384078669</c:v>
                </c:pt>
                <c:pt idx="3028">
                  <c:v>4.9895250271598321</c:v>
                </c:pt>
                <c:pt idx="3029">
                  <c:v>4.9784488941624234</c:v>
                </c:pt>
                <c:pt idx="3030">
                  <c:v>4.9815032897103446</c:v>
                </c:pt>
                <c:pt idx="3031">
                  <c:v>4.8785555474562949</c:v>
                </c:pt>
                <c:pt idx="3032">
                  <c:v>6.1427370979617129</c:v>
                </c:pt>
                <c:pt idx="3033">
                  <c:v>5.0294513295842469</c:v>
                </c:pt>
                <c:pt idx="3034">
                  <c:v>5.830853242525281</c:v>
                </c:pt>
                <c:pt idx="3035">
                  <c:v>5.0780389708028038</c:v>
                </c:pt>
                <c:pt idx="3036">
                  <c:v>4.9505081761825016</c:v>
                </c:pt>
                <c:pt idx="3037">
                  <c:v>6.1734209170173466</c:v>
                </c:pt>
                <c:pt idx="3038">
                  <c:v>6.0945572192069548</c:v>
                </c:pt>
                <c:pt idx="3039">
                  <c:v>4.0084647361630248</c:v>
                </c:pt>
                <c:pt idx="3040">
                  <c:v>5.0523016788658612</c:v>
                </c:pt>
                <c:pt idx="3041">
                  <c:v>4.91675697452854</c:v>
                </c:pt>
                <c:pt idx="3042">
                  <c:v>6.0452370329441223</c:v>
                </c:pt>
                <c:pt idx="3043">
                  <c:v>5.072621405645557</c:v>
                </c:pt>
                <c:pt idx="3044">
                  <c:v>4.9283634937607541</c:v>
                </c:pt>
                <c:pt idx="3045">
                  <c:v>5.0551994446588706</c:v>
                </c:pt>
                <c:pt idx="3046">
                  <c:v>5.1311937166072186</c:v>
                </c:pt>
                <c:pt idx="3047">
                  <c:v>6.0315350504810539</c:v>
                </c:pt>
                <c:pt idx="3048">
                  <c:v>6.0042553840580313</c:v>
                </c:pt>
                <c:pt idx="3049">
                  <c:v>4.6495444375815191</c:v>
                </c:pt>
                <c:pt idx="3050">
                  <c:v>5.0164956693811309</c:v>
                </c:pt>
                <c:pt idx="3051">
                  <c:v>5.9455085377012287</c:v>
                </c:pt>
                <c:pt idx="3052">
                  <c:v>5.7812715587096246</c:v>
                </c:pt>
                <c:pt idx="3053">
                  <c:v>5.1678290061982253</c:v>
                </c:pt>
                <c:pt idx="3054">
                  <c:v>5.02973562231288</c:v>
                </c:pt>
                <c:pt idx="3055">
                  <c:v>4.8796010327735813</c:v>
                </c:pt>
                <c:pt idx="3056">
                  <c:v>5.0413804094136285</c:v>
                </c:pt>
                <c:pt idx="3057">
                  <c:v>5.8895297181617874</c:v>
                </c:pt>
                <c:pt idx="3058">
                  <c:v>5.0828374205656672</c:v>
                </c:pt>
                <c:pt idx="3059">
                  <c:v>5.986112219121388</c:v>
                </c:pt>
                <c:pt idx="3060">
                  <c:v>6.1396289750241664</c:v>
                </c:pt>
                <c:pt idx="3061">
                  <c:v>5.7955633897386756</c:v>
                </c:pt>
                <c:pt idx="3062">
                  <c:v>4.9536775016220957</c:v>
                </c:pt>
                <c:pt idx="3063">
                  <c:v>5.9648799135558059</c:v>
                </c:pt>
                <c:pt idx="3064">
                  <c:v>5.0348184657764286</c:v>
                </c:pt>
                <c:pt idx="3065">
                  <c:v>6.0646475832774591</c:v>
                </c:pt>
                <c:pt idx="3066">
                  <c:v>5.0021791288001278</c:v>
                </c:pt>
                <c:pt idx="3067">
                  <c:v>5.9318697540166836</c:v>
                </c:pt>
                <c:pt idx="3068">
                  <c:v>5.0721205435648793</c:v>
                </c:pt>
                <c:pt idx="3069">
                  <c:v>5.1204007673582241</c:v>
                </c:pt>
                <c:pt idx="3070">
                  <c:v>6.1464262242771879</c:v>
                </c:pt>
                <c:pt idx="3071">
                  <c:v>4.9308306519422906</c:v>
                </c:pt>
                <c:pt idx="3072">
                  <c:v>6.1176229716791362</c:v>
                </c:pt>
                <c:pt idx="3073">
                  <c:v>5.0560637921248466</c:v>
                </c:pt>
                <c:pt idx="3074">
                  <c:v>4.8227622579600302</c:v>
                </c:pt>
                <c:pt idx="3075">
                  <c:v>5.8978036321624634</c:v>
                </c:pt>
                <c:pt idx="3076">
                  <c:v>5.8553295479539678</c:v>
                </c:pt>
                <c:pt idx="3077">
                  <c:v>5.1384303538077791</c:v>
                </c:pt>
                <c:pt idx="3078">
                  <c:v>5.0415496488869778</c:v>
                </c:pt>
                <c:pt idx="3079">
                  <c:v>4.8972121373363402</c:v>
                </c:pt>
                <c:pt idx="3080">
                  <c:v>4.9737354331990389</c:v>
                </c:pt>
                <c:pt idx="3081">
                  <c:v>5.1107373651577293</c:v>
                </c:pt>
                <c:pt idx="3082">
                  <c:v>4.8752015090494929</c:v>
                </c:pt>
                <c:pt idx="3083">
                  <c:v>5.0809849092070181</c:v>
                </c:pt>
                <c:pt idx="3084">
                  <c:v>4.933450353971339</c:v>
                </c:pt>
                <c:pt idx="3085">
                  <c:v>6.85809939002338</c:v>
                </c:pt>
                <c:pt idx="3086">
                  <c:v>5.1685460188382697</c:v>
                </c:pt>
                <c:pt idx="3087">
                  <c:v>5.9730710665126407</c:v>
                </c:pt>
                <c:pt idx="3088">
                  <c:v>3.9835324160956116</c:v>
                </c:pt>
                <c:pt idx="3089">
                  <c:v>5.1439258993317551</c:v>
                </c:pt>
                <c:pt idx="3090">
                  <c:v>4.9223128018624935</c:v>
                </c:pt>
                <c:pt idx="3091">
                  <c:v>6.0691681866951868</c:v>
                </c:pt>
                <c:pt idx="3092">
                  <c:v>4.8696740104071656</c:v>
                </c:pt>
                <c:pt idx="3093">
                  <c:v>6.0698451894303496</c:v>
                </c:pt>
                <c:pt idx="3094">
                  <c:v>5.9528397076534265</c:v>
                </c:pt>
                <c:pt idx="3095">
                  <c:v>4.9223428469931507</c:v>
                </c:pt>
                <c:pt idx="3096">
                  <c:v>3.7957362477976408</c:v>
                </c:pt>
                <c:pt idx="3097">
                  <c:v>4.966167961061621</c:v>
                </c:pt>
                <c:pt idx="3098">
                  <c:v>5.0048679905664262</c:v>
                </c:pt>
                <c:pt idx="3099">
                  <c:v>6.0925605946355459</c:v>
                </c:pt>
                <c:pt idx="3100">
                  <c:v>5.0993062276918248</c:v>
                </c:pt>
                <c:pt idx="3101">
                  <c:v>6.0309818080215702</c:v>
                </c:pt>
                <c:pt idx="3102">
                  <c:v>4.9403750766116454</c:v>
                </c:pt>
                <c:pt idx="3103">
                  <c:v>6.1350486330822429</c:v>
                </c:pt>
                <c:pt idx="3104">
                  <c:v>6.9204307649185646</c:v>
                </c:pt>
                <c:pt idx="3105">
                  <c:v>5.0016072431254477</c:v>
                </c:pt>
                <c:pt idx="3106">
                  <c:v>5.0644193554298802</c:v>
                </c:pt>
                <c:pt idx="3107">
                  <c:v>5.9281071269822148</c:v>
                </c:pt>
                <c:pt idx="3108">
                  <c:v>3.044502515767967</c:v>
                </c:pt>
                <c:pt idx="3109">
                  <c:v>6.1487810824817783</c:v>
                </c:pt>
                <c:pt idx="3110">
                  <c:v>5.9837925874843263</c:v>
                </c:pt>
                <c:pt idx="3111">
                  <c:v>7.0247053125195889</c:v>
                </c:pt>
                <c:pt idx="3112">
                  <c:v>6.1110279815590669</c:v>
                </c:pt>
                <c:pt idx="3113">
                  <c:v>2.0120504609962389</c:v>
                </c:pt>
                <c:pt idx="3114">
                  <c:v>4.9690895889441347</c:v>
                </c:pt>
                <c:pt idx="3115">
                  <c:v>5.1429589049825193</c:v>
                </c:pt>
                <c:pt idx="3116">
                  <c:v>1.9501203725964871</c:v>
                </c:pt>
                <c:pt idx="3117">
                  <c:v>5.9643922917608121</c:v>
                </c:pt>
                <c:pt idx="3118">
                  <c:v>5.0482274104189395</c:v>
                </c:pt>
                <c:pt idx="3119">
                  <c:v>5.9493709538986623</c:v>
                </c:pt>
                <c:pt idx="3120">
                  <c:v>5.0682115262702414</c:v>
                </c:pt>
                <c:pt idx="3121">
                  <c:v>2.0151657986977329</c:v>
                </c:pt>
                <c:pt idx="3122">
                  <c:v>5.9736743683580773</c:v>
                </c:pt>
                <c:pt idx="3123">
                  <c:v>6.0246578770310952</c:v>
                </c:pt>
                <c:pt idx="3124">
                  <c:v>7.0893216516547266</c:v>
                </c:pt>
                <c:pt idx="3125">
                  <c:v>5.9771984911801974</c:v>
                </c:pt>
                <c:pt idx="3126">
                  <c:v>5.052119943962496</c:v>
                </c:pt>
                <c:pt idx="3127">
                  <c:v>4.9628247938045718</c:v>
                </c:pt>
                <c:pt idx="3128">
                  <c:v>7.1143531943091807</c:v>
                </c:pt>
                <c:pt idx="3129">
                  <c:v>4.9317393198034578</c:v>
                </c:pt>
                <c:pt idx="3130">
                  <c:v>5.8765071931060655</c:v>
                </c:pt>
                <c:pt idx="3131">
                  <c:v>6.2223388680473724</c:v>
                </c:pt>
                <c:pt idx="3132">
                  <c:v>4.9425660461557666</c:v>
                </c:pt>
                <c:pt idx="3133">
                  <c:v>5.8390731410513705</c:v>
                </c:pt>
                <c:pt idx="3134">
                  <c:v>6.7315754947929447</c:v>
                </c:pt>
                <c:pt idx="3135">
                  <c:v>4.969779865486541</c:v>
                </c:pt>
                <c:pt idx="3136">
                  <c:v>5.8773895293998555</c:v>
                </c:pt>
                <c:pt idx="3137">
                  <c:v>5.0784576891512634</c:v>
                </c:pt>
                <c:pt idx="3138">
                  <c:v>5.9547643362628664</c:v>
                </c:pt>
                <c:pt idx="3139">
                  <c:v>7.0294427613976485</c:v>
                </c:pt>
                <c:pt idx="3140">
                  <c:v>6.8209027353597529</c:v>
                </c:pt>
                <c:pt idx="3141">
                  <c:v>5.0773697406659348</c:v>
                </c:pt>
                <c:pt idx="3142">
                  <c:v>5.004735590826539</c:v>
                </c:pt>
                <c:pt idx="3143">
                  <c:v>5.9415582764780499</c:v>
                </c:pt>
                <c:pt idx="3144">
                  <c:v>6.1247538788857003</c:v>
                </c:pt>
                <c:pt idx="3145">
                  <c:v>6.0006792921565175</c:v>
                </c:pt>
                <c:pt idx="3146">
                  <c:v>5.9270136771546165</c:v>
                </c:pt>
                <c:pt idx="3147">
                  <c:v>4.9294684462451874</c:v>
                </c:pt>
                <c:pt idx="3148">
                  <c:v>6.0317942369888824</c:v>
                </c:pt>
                <c:pt idx="3149">
                  <c:v>7.1268308639443978</c:v>
                </c:pt>
                <c:pt idx="3150">
                  <c:v>5.1981891218126126</c:v>
                </c:pt>
                <c:pt idx="3151">
                  <c:v>6.0745049909906754</c:v>
                </c:pt>
                <c:pt idx="3152">
                  <c:v>5.0082161353620087</c:v>
                </c:pt>
                <c:pt idx="3153">
                  <c:v>5.1711494151552477</c:v>
                </c:pt>
                <c:pt idx="3154">
                  <c:v>5.0254948701616504</c:v>
                </c:pt>
                <c:pt idx="3155">
                  <c:v>5.0789078699107018</c:v>
                </c:pt>
                <c:pt idx="3156">
                  <c:v>4.8775384720723522</c:v>
                </c:pt>
                <c:pt idx="3157">
                  <c:v>6.0318730087856771</c:v>
                </c:pt>
                <c:pt idx="3158">
                  <c:v>4.0004578595790017</c:v>
                </c:pt>
                <c:pt idx="3159">
                  <c:v>7.0894765041473429</c:v>
                </c:pt>
                <c:pt idx="3160">
                  <c:v>3.9123309861812507</c:v>
                </c:pt>
                <c:pt idx="3161">
                  <c:v>4.9069234146238792</c:v>
                </c:pt>
                <c:pt idx="3162">
                  <c:v>5.1569758255884324</c:v>
                </c:pt>
                <c:pt idx="3163">
                  <c:v>5.995740790450272</c:v>
                </c:pt>
                <c:pt idx="3164">
                  <c:v>4.9646321915326475</c:v>
                </c:pt>
                <c:pt idx="3165">
                  <c:v>4.9323367384300409</c:v>
                </c:pt>
                <c:pt idx="3166">
                  <c:v>5.0243879812769654</c:v>
                </c:pt>
                <c:pt idx="3167">
                  <c:v>5.1121796270948794</c:v>
                </c:pt>
                <c:pt idx="3168">
                  <c:v>6.9644571470069883</c:v>
                </c:pt>
                <c:pt idx="3169">
                  <c:v>4.9055322837360515</c:v>
                </c:pt>
                <c:pt idx="3170">
                  <c:v>4.880839157472054</c:v>
                </c:pt>
                <c:pt idx="3171">
                  <c:v>4.7485175775521249</c:v>
                </c:pt>
                <c:pt idx="3172">
                  <c:v>5.2273107223857371</c:v>
                </c:pt>
                <c:pt idx="3173">
                  <c:v>5.0138217737712951</c:v>
                </c:pt>
                <c:pt idx="3174">
                  <c:v>5.9630753942229227</c:v>
                </c:pt>
                <c:pt idx="3175">
                  <c:v>4.8151361712564116</c:v>
                </c:pt>
                <c:pt idx="3176">
                  <c:v>4.9717572401782038</c:v>
                </c:pt>
                <c:pt idx="3177">
                  <c:v>5.0813792834656839</c:v>
                </c:pt>
                <c:pt idx="3178">
                  <c:v>4.9284480661231118</c:v>
                </c:pt>
                <c:pt idx="3179">
                  <c:v>6.1947627481410006</c:v>
                </c:pt>
                <c:pt idx="3180">
                  <c:v>5.9622839704668937</c:v>
                </c:pt>
                <c:pt idx="3181">
                  <c:v>5.0041742004570056</c:v>
                </c:pt>
                <c:pt idx="3182">
                  <c:v>6.9792183348791177</c:v>
                </c:pt>
                <c:pt idx="3183">
                  <c:v>6.0159419337223969</c:v>
                </c:pt>
                <c:pt idx="3184">
                  <c:v>7.0334694640591602</c:v>
                </c:pt>
                <c:pt idx="3185">
                  <c:v>5.1143661605418282</c:v>
                </c:pt>
                <c:pt idx="3186">
                  <c:v>5.1289045163578928</c:v>
                </c:pt>
                <c:pt idx="3187">
                  <c:v>5.9806892129348599</c:v>
                </c:pt>
                <c:pt idx="3188">
                  <c:v>5.0246594507505229</c:v>
                </c:pt>
                <c:pt idx="3189">
                  <c:v>5.8759415565638156</c:v>
                </c:pt>
                <c:pt idx="3190">
                  <c:v>4.9389362497397897</c:v>
                </c:pt>
                <c:pt idx="3191">
                  <c:v>4.9504954538764956</c:v>
                </c:pt>
                <c:pt idx="3192">
                  <c:v>6.0160487451528528</c:v>
                </c:pt>
                <c:pt idx="3193">
                  <c:v>5.9092915315105241</c:v>
                </c:pt>
                <c:pt idx="3194">
                  <c:v>4.8827470912132291</c:v>
                </c:pt>
                <c:pt idx="3195">
                  <c:v>5.0080559803567102</c:v>
                </c:pt>
                <c:pt idx="3196">
                  <c:v>6.7794179863662549</c:v>
                </c:pt>
                <c:pt idx="3197">
                  <c:v>5.0954766991707672</c:v>
                </c:pt>
                <c:pt idx="3198">
                  <c:v>6.0378921324573822</c:v>
                </c:pt>
                <c:pt idx="3199">
                  <c:v>6.9383656811045302</c:v>
                </c:pt>
                <c:pt idx="3200">
                  <c:v>4.9809282489560252</c:v>
                </c:pt>
                <c:pt idx="3201">
                  <c:v>5.1278392411238567</c:v>
                </c:pt>
                <c:pt idx="3202">
                  <c:v>5.8998474380631496</c:v>
                </c:pt>
                <c:pt idx="3203">
                  <c:v>4.8361955433020061</c:v>
                </c:pt>
                <c:pt idx="3204">
                  <c:v>4.8146560294032827</c:v>
                </c:pt>
                <c:pt idx="3205">
                  <c:v>5.0146292960375911</c:v>
                </c:pt>
                <c:pt idx="3206">
                  <c:v>5.0426782758996023</c:v>
                </c:pt>
                <c:pt idx="3207">
                  <c:v>5.9027360998097151</c:v>
                </c:pt>
                <c:pt idx="3208">
                  <c:v>5.7336051344263854</c:v>
                </c:pt>
                <c:pt idx="3209">
                  <c:v>6.0122811937052356</c:v>
                </c:pt>
                <c:pt idx="3210">
                  <c:v>5.9319937730338639</c:v>
                </c:pt>
                <c:pt idx="3211">
                  <c:v>5.07719644203575</c:v>
                </c:pt>
                <c:pt idx="3212">
                  <c:v>5.9204238418083062</c:v>
                </c:pt>
                <c:pt idx="3213">
                  <c:v>5.0194070133407029</c:v>
                </c:pt>
                <c:pt idx="3214">
                  <c:v>4.9545489644941005</c:v>
                </c:pt>
                <c:pt idx="3215">
                  <c:v>5.0137543640225033</c:v>
                </c:pt>
                <c:pt idx="3216">
                  <c:v>4.9208068719151399</c:v>
                </c:pt>
                <c:pt idx="3217">
                  <c:v>5.8724098235081383</c:v>
                </c:pt>
                <c:pt idx="3218">
                  <c:v>6.0395657060564378</c:v>
                </c:pt>
                <c:pt idx="3219">
                  <c:v>5.0454666454252619</c:v>
                </c:pt>
                <c:pt idx="3220">
                  <c:v>4.9197052345020875</c:v>
                </c:pt>
                <c:pt idx="3221">
                  <c:v>5.011888294136587</c:v>
                </c:pt>
                <c:pt idx="3222">
                  <c:v>4.9925523335469615</c:v>
                </c:pt>
                <c:pt idx="3223">
                  <c:v>5.0046380317481063</c:v>
                </c:pt>
                <c:pt idx="3224">
                  <c:v>5.0495076891636792</c:v>
                </c:pt>
                <c:pt idx="3225">
                  <c:v>4.9171593157475</c:v>
                </c:pt>
                <c:pt idx="3226">
                  <c:v>4.7733157332284737</c:v>
                </c:pt>
                <c:pt idx="3227">
                  <c:v>5.0701046947392188</c:v>
                </c:pt>
                <c:pt idx="3228">
                  <c:v>5.9211693587466945</c:v>
                </c:pt>
                <c:pt idx="3229">
                  <c:v>5.9245478912605822</c:v>
                </c:pt>
                <c:pt idx="3230">
                  <c:v>4.926030847292302</c:v>
                </c:pt>
                <c:pt idx="3231">
                  <c:v>4.8396418146813547</c:v>
                </c:pt>
                <c:pt idx="3232">
                  <c:v>5.0847948515285939</c:v>
                </c:pt>
                <c:pt idx="3233">
                  <c:v>5.0829854293317709</c:v>
                </c:pt>
                <c:pt idx="3234">
                  <c:v>4.9297413662631175</c:v>
                </c:pt>
                <c:pt idx="3235">
                  <c:v>5.0532484177936565</c:v>
                </c:pt>
                <c:pt idx="3236">
                  <c:v>5.7779848882831342</c:v>
                </c:pt>
                <c:pt idx="3237">
                  <c:v>6.0068377119969725</c:v>
                </c:pt>
                <c:pt idx="3238">
                  <c:v>6.0641596835949745</c:v>
                </c:pt>
                <c:pt idx="3239">
                  <c:v>5.1459039910132836</c:v>
                </c:pt>
                <c:pt idx="3240">
                  <c:v>4.9827669096602278</c:v>
                </c:pt>
                <c:pt idx="3241">
                  <c:v>6.1521092848467651</c:v>
                </c:pt>
                <c:pt idx="3242">
                  <c:v>5.0887263905087581</c:v>
                </c:pt>
                <c:pt idx="3243">
                  <c:v>5.0421599666686578</c:v>
                </c:pt>
                <c:pt idx="3244">
                  <c:v>4.9890399087475963</c:v>
                </c:pt>
                <c:pt idx="3245">
                  <c:v>6.0057703575299115</c:v>
                </c:pt>
                <c:pt idx="3246">
                  <c:v>4.9941073000951581</c:v>
                </c:pt>
                <c:pt idx="3247">
                  <c:v>4.7704496102120615</c:v>
                </c:pt>
                <c:pt idx="3248">
                  <c:v>5.0601972580178947</c:v>
                </c:pt>
                <c:pt idx="3249">
                  <c:v>6.0678866311397393</c:v>
                </c:pt>
                <c:pt idx="3250">
                  <c:v>5.0569958636713439</c:v>
                </c:pt>
                <c:pt idx="3251">
                  <c:v>5.0174436806610281</c:v>
                </c:pt>
                <c:pt idx="3252">
                  <c:v>5.073853377331079</c:v>
                </c:pt>
                <c:pt idx="3253">
                  <c:v>5.0082690976194151</c:v>
                </c:pt>
                <c:pt idx="3254">
                  <c:v>6.112602344441421</c:v>
                </c:pt>
                <c:pt idx="3255">
                  <c:v>6.0721405943614863</c:v>
                </c:pt>
                <c:pt idx="3256">
                  <c:v>5.9220067888104317</c:v>
                </c:pt>
                <c:pt idx="3257">
                  <c:v>5.0133202927463305</c:v>
                </c:pt>
                <c:pt idx="3258">
                  <c:v>5.0928392497621058</c:v>
                </c:pt>
                <c:pt idx="3259">
                  <c:v>5.9706978924360161</c:v>
                </c:pt>
                <c:pt idx="3260">
                  <c:v>6.1598807359154097</c:v>
                </c:pt>
                <c:pt idx="3261">
                  <c:v>4.9362116746919673</c:v>
                </c:pt>
                <c:pt idx="3262">
                  <c:v>6.086926288083732</c:v>
                </c:pt>
                <c:pt idx="3263">
                  <c:v>7.0727462723487688</c:v>
                </c:pt>
                <c:pt idx="3264">
                  <c:v>5.0402124460231477</c:v>
                </c:pt>
                <c:pt idx="3265">
                  <c:v>5.0584426236875508</c:v>
                </c:pt>
                <c:pt idx="3266">
                  <c:v>5.9758360326710793</c:v>
                </c:pt>
                <c:pt idx="3267">
                  <c:v>4.9014605297018123</c:v>
                </c:pt>
                <c:pt idx="3268">
                  <c:v>4.9198877198744313</c:v>
                </c:pt>
                <c:pt idx="3269">
                  <c:v>6.2142250341082015</c:v>
                </c:pt>
                <c:pt idx="3270">
                  <c:v>7.016849462993723</c:v>
                </c:pt>
                <c:pt idx="3271">
                  <c:v>4.9612617276271012</c:v>
                </c:pt>
                <c:pt idx="3272">
                  <c:v>6.1270422395790334</c:v>
                </c:pt>
                <c:pt idx="3273">
                  <c:v>4.9202338754618316</c:v>
                </c:pt>
                <c:pt idx="3274">
                  <c:v>5.0770370077296914</c:v>
                </c:pt>
                <c:pt idx="3275">
                  <c:v>5.0647160505548836</c:v>
                </c:pt>
                <c:pt idx="3276">
                  <c:v>4.912959959877357</c:v>
                </c:pt>
                <c:pt idx="3277">
                  <c:v>5.9840344514663082</c:v>
                </c:pt>
                <c:pt idx="3278">
                  <c:v>4.9787954316430136</c:v>
                </c:pt>
                <c:pt idx="3279">
                  <c:v>5.0959065036353062</c:v>
                </c:pt>
                <c:pt idx="3280">
                  <c:v>4.9858332569565311</c:v>
                </c:pt>
                <c:pt idx="3281">
                  <c:v>6.1102397290716777</c:v>
                </c:pt>
                <c:pt idx="3282">
                  <c:v>5.0878427450970225</c:v>
                </c:pt>
                <c:pt idx="3283">
                  <c:v>5.935681689005829</c:v>
                </c:pt>
                <c:pt idx="3284">
                  <c:v>6.1062524220405772</c:v>
                </c:pt>
                <c:pt idx="3285">
                  <c:v>5.0680159415917982</c:v>
                </c:pt>
                <c:pt idx="3286">
                  <c:v>5.0457699154527624</c:v>
                </c:pt>
                <c:pt idx="3287">
                  <c:v>6.0062759243854664</c:v>
                </c:pt>
                <c:pt idx="3288">
                  <c:v>5.0595690670647322</c:v>
                </c:pt>
                <c:pt idx="3289">
                  <c:v>5.1584890435460391</c:v>
                </c:pt>
                <c:pt idx="3290">
                  <c:v>5.094462195108366</c:v>
                </c:pt>
                <c:pt idx="3291">
                  <c:v>4.8817052802211451</c:v>
                </c:pt>
                <c:pt idx="3292">
                  <c:v>5.0640200778038036</c:v>
                </c:pt>
                <c:pt idx="3293">
                  <c:v>5.9877007004569283</c:v>
                </c:pt>
                <c:pt idx="3294">
                  <c:v>5.1236922845063715</c:v>
                </c:pt>
                <c:pt idx="3295">
                  <c:v>5.0289938571772659</c:v>
                </c:pt>
                <c:pt idx="3296">
                  <c:v>5.900465557765763</c:v>
                </c:pt>
                <c:pt idx="3297">
                  <c:v>4.8899241404823321</c:v>
                </c:pt>
                <c:pt idx="3298">
                  <c:v>4.8787246439503171</c:v>
                </c:pt>
                <c:pt idx="3299">
                  <c:v>4.8360982759062772</c:v>
                </c:pt>
                <c:pt idx="3300">
                  <c:v>4.9109434449124416</c:v>
                </c:pt>
                <c:pt idx="3301">
                  <c:v>6.1067567242531515</c:v>
                </c:pt>
                <c:pt idx="3302">
                  <c:v>4.9768601226388842</c:v>
                </c:pt>
                <c:pt idx="3303">
                  <c:v>4.9843552779073068</c:v>
                </c:pt>
                <c:pt idx="3304">
                  <c:v>4.991044934248384</c:v>
                </c:pt>
                <c:pt idx="3305">
                  <c:v>4.9802013327852652</c:v>
                </c:pt>
                <c:pt idx="3306">
                  <c:v>6.241554493008187</c:v>
                </c:pt>
                <c:pt idx="3307">
                  <c:v>4.8403866462638545</c:v>
                </c:pt>
                <c:pt idx="3308">
                  <c:v>5.0196913361377735</c:v>
                </c:pt>
                <c:pt idx="3309">
                  <c:v>5.0277352027508444</c:v>
                </c:pt>
                <c:pt idx="3310">
                  <c:v>6.101227512457946</c:v>
                </c:pt>
                <c:pt idx="3311">
                  <c:v>6.1962998100959004</c:v>
                </c:pt>
                <c:pt idx="3312">
                  <c:v>6.0416299789721819</c:v>
                </c:pt>
                <c:pt idx="3313">
                  <c:v>5.0227679078365748</c:v>
                </c:pt>
                <c:pt idx="3314">
                  <c:v>5.0185456775918187</c:v>
                </c:pt>
                <c:pt idx="3315">
                  <c:v>7.1151087972039218</c:v>
                </c:pt>
                <c:pt idx="3316">
                  <c:v>5.1067569670710569</c:v>
                </c:pt>
                <c:pt idx="3317">
                  <c:v>5.1993390718766817</c:v>
                </c:pt>
                <c:pt idx="3318">
                  <c:v>6.0015579943093886</c:v>
                </c:pt>
                <c:pt idx="3319">
                  <c:v>4.8613566950834226</c:v>
                </c:pt>
                <c:pt idx="3320">
                  <c:v>5.9458458710683928</c:v>
                </c:pt>
                <c:pt idx="3321">
                  <c:v>4.9444231144620696</c:v>
                </c:pt>
                <c:pt idx="3322">
                  <c:v>5.9408779673245737</c:v>
                </c:pt>
                <c:pt idx="3323">
                  <c:v>5.0101000602853132</c:v>
                </c:pt>
                <c:pt idx="3324">
                  <c:v>5.0401460526684101</c:v>
                </c:pt>
                <c:pt idx="3325">
                  <c:v>4.9557478594427185</c:v>
                </c:pt>
                <c:pt idx="3326">
                  <c:v>6.0349152527579291</c:v>
                </c:pt>
                <c:pt idx="3327">
                  <c:v>5.9741148514725166</c:v>
                </c:pt>
                <c:pt idx="3328">
                  <c:v>4.8518220406522587</c:v>
                </c:pt>
                <c:pt idx="3329">
                  <c:v>6.0943009073697691</c:v>
                </c:pt>
                <c:pt idx="3330">
                  <c:v>5.9374525387135781</c:v>
                </c:pt>
                <c:pt idx="3331">
                  <c:v>4.948060602694448</c:v>
                </c:pt>
                <c:pt idx="3332">
                  <c:v>6.1676803479470683</c:v>
                </c:pt>
                <c:pt idx="3333">
                  <c:v>5.0485031259486703</c:v>
                </c:pt>
                <c:pt idx="3334">
                  <c:v>4.8796668357453603</c:v>
                </c:pt>
                <c:pt idx="3335">
                  <c:v>5.0667564626265786</c:v>
                </c:pt>
                <c:pt idx="3336">
                  <c:v>5.1124629690054659</c:v>
                </c:pt>
                <c:pt idx="3337">
                  <c:v>5.1433351762136637</c:v>
                </c:pt>
                <c:pt idx="3338">
                  <c:v>4.8356097413729868</c:v>
                </c:pt>
                <c:pt idx="3339">
                  <c:v>5.0120694520417253</c:v>
                </c:pt>
                <c:pt idx="3340">
                  <c:v>4.9474361362265027</c:v>
                </c:pt>
                <c:pt idx="3341">
                  <c:v>5.1425248176913376</c:v>
                </c:pt>
                <c:pt idx="3342">
                  <c:v>5.9502268082747198</c:v>
                </c:pt>
                <c:pt idx="3343">
                  <c:v>5.842853341376367</c:v>
                </c:pt>
                <c:pt idx="3344">
                  <c:v>5.8435387317662322</c:v>
                </c:pt>
                <c:pt idx="3345">
                  <c:v>5.0127538356277253</c:v>
                </c:pt>
                <c:pt idx="3346">
                  <c:v>6.0545655149289743</c:v>
                </c:pt>
                <c:pt idx="3347">
                  <c:v>5.9789698387180703</c:v>
                </c:pt>
                <c:pt idx="3348">
                  <c:v>4.9614720481947225</c:v>
                </c:pt>
                <c:pt idx="3349">
                  <c:v>5.9713580179423937</c:v>
                </c:pt>
                <c:pt idx="3350">
                  <c:v>4.9463542750295009</c:v>
                </c:pt>
                <c:pt idx="3351">
                  <c:v>4.9069349441470491</c:v>
                </c:pt>
                <c:pt idx="3352">
                  <c:v>6.0526601858308515</c:v>
                </c:pt>
                <c:pt idx="3353">
                  <c:v>3.0137917626950004</c:v>
                </c:pt>
                <c:pt idx="3354">
                  <c:v>5.1480449665583059</c:v>
                </c:pt>
                <c:pt idx="3355">
                  <c:v>6.0832633011922681</c:v>
                </c:pt>
                <c:pt idx="3356">
                  <c:v>4.9845152185535309</c:v>
                </c:pt>
                <c:pt idx="3357">
                  <c:v>4.9937903849868208</c:v>
                </c:pt>
                <c:pt idx="3358">
                  <c:v>5.0602246971104794</c:v>
                </c:pt>
                <c:pt idx="3359">
                  <c:v>5.9194226096994011</c:v>
                </c:pt>
                <c:pt idx="3360">
                  <c:v>4.9398980880532868</c:v>
                </c:pt>
                <c:pt idx="3361">
                  <c:v>5.0511356591061949</c:v>
                </c:pt>
                <c:pt idx="3362">
                  <c:v>5.0983999900777164</c:v>
                </c:pt>
                <c:pt idx="3363">
                  <c:v>5.8116227644942882</c:v>
                </c:pt>
                <c:pt idx="3364">
                  <c:v>5.2860288176197274</c:v>
                </c:pt>
                <c:pt idx="3365">
                  <c:v>5.0654527157151339</c:v>
                </c:pt>
                <c:pt idx="3366">
                  <c:v>5.1659574724623223</c:v>
                </c:pt>
                <c:pt idx="3367">
                  <c:v>5.0740723900742157</c:v>
                </c:pt>
                <c:pt idx="3368">
                  <c:v>4.9958377450485267</c:v>
                </c:pt>
                <c:pt idx="3369">
                  <c:v>5.155111351322442</c:v>
                </c:pt>
                <c:pt idx="3370">
                  <c:v>5.0685104055767889</c:v>
                </c:pt>
                <c:pt idx="3371">
                  <c:v>5.045436046729411</c:v>
                </c:pt>
                <c:pt idx="3372">
                  <c:v>4.9954526082115374</c:v>
                </c:pt>
                <c:pt idx="3373">
                  <c:v>4.9241413493928929</c:v>
                </c:pt>
                <c:pt idx="3374">
                  <c:v>5.7932252836849791</c:v>
                </c:pt>
                <c:pt idx="3375">
                  <c:v>5.8327110645984535</c:v>
                </c:pt>
                <c:pt idx="3376">
                  <c:v>5.0616054105357469</c:v>
                </c:pt>
                <c:pt idx="3377">
                  <c:v>5.9063029094624673</c:v>
                </c:pt>
                <c:pt idx="3378">
                  <c:v>5.9376153670588376</c:v>
                </c:pt>
                <c:pt idx="3379">
                  <c:v>4.8343594581334965</c:v>
                </c:pt>
                <c:pt idx="3380">
                  <c:v>5.0684054399985552</c:v>
                </c:pt>
                <c:pt idx="3381">
                  <c:v>5.1211909311264456</c:v>
                </c:pt>
                <c:pt idx="3382">
                  <c:v>5.055809452584203</c:v>
                </c:pt>
                <c:pt idx="3383">
                  <c:v>6.0580638670976468</c:v>
                </c:pt>
                <c:pt idx="3384">
                  <c:v>5.014265749108997</c:v>
                </c:pt>
                <c:pt idx="3385">
                  <c:v>5.1941679481513319</c:v>
                </c:pt>
                <c:pt idx="3386">
                  <c:v>4.9757067178495378</c:v>
                </c:pt>
                <c:pt idx="3387">
                  <c:v>4.9312731905444966</c:v>
                </c:pt>
                <c:pt idx="3388">
                  <c:v>5.7544124394277087</c:v>
                </c:pt>
                <c:pt idx="3389">
                  <c:v>5.0330062893472691</c:v>
                </c:pt>
                <c:pt idx="3390">
                  <c:v>4.9282103130241888</c:v>
                </c:pt>
                <c:pt idx="3391">
                  <c:v>6.0374293578587395</c:v>
                </c:pt>
                <c:pt idx="3392">
                  <c:v>4.9652635538936476</c:v>
                </c:pt>
                <c:pt idx="3393">
                  <c:v>6.0885197551787034</c:v>
                </c:pt>
                <c:pt idx="3394">
                  <c:v>5.0530629935761748</c:v>
                </c:pt>
                <c:pt idx="3395">
                  <c:v>5.0027739059334388</c:v>
                </c:pt>
                <c:pt idx="3396">
                  <c:v>4.917857636030881</c:v>
                </c:pt>
                <c:pt idx="3397">
                  <c:v>4.903517384218457</c:v>
                </c:pt>
                <c:pt idx="3398">
                  <c:v>5.0996423547302143</c:v>
                </c:pt>
                <c:pt idx="3399">
                  <c:v>4.9533512520606129</c:v>
                </c:pt>
                <c:pt idx="3400">
                  <c:v>4.9231202930271962</c:v>
                </c:pt>
                <c:pt idx="3401">
                  <c:v>5.0317039401757206</c:v>
                </c:pt>
                <c:pt idx="3402">
                  <c:v>5.0817555657441833</c:v>
                </c:pt>
                <c:pt idx="3403">
                  <c:v>5.0349317610308661</c:v>
                </c:pt>
                <c:pt idx="3404">
                  <c:v>5.0539861700181161</c:v>
                </c:pt>
                <c:pt idx="3405">
                  <c:v>5.0518084884491934</c:v>
                </c:pt>
                <c:pt idx="3406">
                  <c:v>6.1945155132076994</c:v>
                </c:pt>
                <c:pt idx="3407">
                  <c:v>5.9820520348554131</c:v>
                </c:pt>
                <c:pt idx="3408">
                  <c:v>5.9358418057719273</c:v>
                </c:pt>
                <c:pt idx="3409">
                  <c:v>5.9899057955854147</c:v>
                </c:pt>
                <c:pt idx="3410">
                  <c:v>5.1279632341902559</c:v>
                </c:pt>
                <c:pt idx="3411">
                  <c:v>5.0424394228215483</c:v>
                </c:pt>
                <c:pt idx="3412">
                  <c:v>4.9840780918756078</c:v>
                </c:pt>
                <c:pt idx="3413">
                  <c:v>4.8281353299414622</c:v>
                </c:pt>
                <c:pt idx="3414">
                  <c:v>5.176913800509281</c:v>
                </c:pt>
                <c:pt idx="3415">
                  <c:v>4.9239398142601658</c:v>
                </c:pt>
                <c:pt idx="3416">
                  <c:v>5.9071814801800686</c:v>
                </c:pt>
                <c:pt idx="3417">
                  <c:v>5.0237271025253945</c:v>
                </c:pt>
                <c:pt idx="3418">
                  <c:v>5.0009828100434017</c:v>
                </c:pt>
                <c:pt idx="3419">
                  <c:v>4.9105992894150239</c:v>
                </c:pt>
                <c:pt idx="3420">
                  <c:v>5.9740910814993713</c:v>
                </c:pt>
                <c:pt idx="3421">
                  <c:v>4.8590548652679004</c:v>
                </c:pt>
                <c:pt idx="3422">
                  <c:v>5.0804108620070245</c:v>
                </c:pt>
                <c:pt idx="3423">
                  <c:v>6.2299993989953695</c:v>
                </c:pt>
                <c:pt idx="3424">
                  <c:v>4.8729778334103839</c:v>
                </c:pt>
                <c:pt idx="3425">
                  <c:v>4.9580784582497381</c:v>
                </c:pt>
                <c:pt idx="3426">
                  <c:v>4.9621643657051706</c:v>
                </c:pt>
                <c:pt idx="3427">
                  <c:v>5.0915944160358331</c:v>
                </c:pt>
                <c:pt idx="3428">
                  <c:v>6.2516033571012528</c:v>
                </c:pt>
                <c:pt idx="3429">
                  <c:v>4.9947100773287403</c:v>
                </c:pt>
                <c:pt idx="3430">
                  <c:v>5.0097309857104078</c:v>
                </c:pt>
                <c:pt idx="3431">
                  <c:v>4.9578807513309746</c:v>
                </c:pt>
                <c:pt idx="3432">
                  <c:v>5.138256589211406</c:v>
                </c:pt>
                <c:pt idx="3433">
                  <c:v>4.9025726799813434</c:v>
                </c:pt>
                <c:pt idx="3434">
                  <c:v>5.9328544352118557</c:v>
                </c:pt>
                <c:pt idx="3435">
                  <c:v>4.8887012443904858</c:v>
                </c:pt>
                <c:pt idx="3436">
                  <c:v>4.9976343411434589</c:v>
                </c:pt>
                <c:pt idx="3437">
                  <c:v>5.2760713346855184</c:v>
                </c:pt>
                <c:pt idx="3438">
                  <c:v>4.9234458039225402</c:v>
                </c:pt>
                <c:pt idx="3439">
                  <c:v>7.1686470201596659</c:v>
                </c:pt>
                <c:pt idx="3440">
                  <c:v>6.0831107705601157</c:v>
                </c:pt>
                <c:pt idx="3441">
                  <c:v>5.9227537584304013</c:v>
                </c:pt>
                <c:pt idx="3442">
                  <c:v>5.0155654786880204</c:v>
                </c:pt>
                <c:pt idx="3443">
                  <c:v>5.9281468745672266</c:v>
                </c:pt>
                <c:pt idx="3444">
                  <c:v>5.2269153898867673</c:v>
                </c:pt>
                <c:pt idx="3445">
                  <c:v>5.9297947558416721</c:v>
                </c:pt>
                <c:pt idx="3446">
                  <c:v>5.9243593189215522</c:v>
                </c:pt>
                <c:pt idx="3447">
                  <c:v>5.9047255078885685</c:v>
                </c:pt>
                <c:pt idx="3448">
                  <c:v>5.0558989027199379</c:v>
                </c:pt>
                <c:pt idx="3449">
                  <c:v>6.8648405875368228</c:v>
                </c:pt>
                <c:pt idx="3450">
                  <c:v>5.9330083770643327</c:v>
                </c:pt>
                <c:pt idx="3451">
                  <c:v>4.9883565471356199</c:v>
                </c:pt>
                <c:pt idx="3452">
                  <c:v>5.108631254163476</c:v>
                </c:pt>
                <c:pt idx="3453">
                  <c:v>5.0779510228604714</c:v>
                </c:pt>
                <c:pt idx="3454">
                  <c:v>4.8386246633988428</c:v>
                </c:pt>
                <c:pt idx="3455">
                  <c:v>5.1367521039866322</c:v>
                </c:pt>
                <c:pt idx="3456">
                  <c:v>6.0631309507242941</c:v>
                </c:pt>
                <c:pt idx="3457">
                  <c:v>5.0365459018328416</c:v>
                </c:pt>
                <c:pt idx="3458">
                  <c:v>5.0942469231372964</c:v>
                </c:pt>
                <c:pt idx="3459">
                  <c:v>6.0876237233379191</c:v>
                </c:pt>
                <c:pt idx="3460">
                  <c:v>6.0056818556725675</c:v>
                </c:pt>
                <c:pt idx="3461">
                  <c:v>6.8106164465895178</c:v>
                </c:pt>
                <c:pt idx="3462">
                  <c:v>4.9726950373206344</c:v>
                </c:pt>
                <c:pt idx="3463">
                  <c:v>4.8503453817182969</c:v>
                </c:pt>
                <c:pt idx="3464">
                  <c:v>5.0334425957807785</c:v>
                </c:pt>
                <c:pt idx="3465">
                  <c:v>5.1356463410592212</c:v>
                </c:pt>
                <c:pt idx="3466">
                  <c:v>4.9806606804912397</c:v>
                </c:pt>
                <c:pt idx="3467">
                  <c:v>5.9983352760434254</c:v>
                </c:pt>
                <c:pt idx="3468">
                  <c:v>5.9554545409317585</c:v>
                </c:pt>
                <c:pt idx="3469">
                  <c:v>4.9515883279358262</c:v>
                </c:pt>
                <c:pt idx="3470">
                  <c:v>6.0266517748293005</c:v>
                </c:pt>
                <c:pt idx="3471">
                  <c:v>5.1432026920571632</c:v>
                </c:pt>
                <c:pt idx="3472">
                  <c:v>5.0234089411862914</c:v>
                </c:pt>
                <c:pt idx="3473">
                  <c:v>4.960120398252359</c:v>
                </c:pt>
                <c:pt idx="3474">
                  <c:v>5.9969781898937526</c:v>
                </c:pt>
                <c:pt idx="3475">
                  <c:v>5.0377466295747322</c:v>
                </c:pt>
                <c:pt idx="3476">
                  <c:v>5.0169540442927314</c:v>
                </c:pt>
                <c:pt idx="3477">
                  <c:v>5.9616383109727726</c:v>
                </c:pt>
                <c:pt idx="3478">
                  <c:v>5.0302126827943514</c:v>
                </c:pt>
                <c:pt idx="3479">
                  <c:v>5.0024585433633542</c:v>
                </c:pt>
                <c:pt idx="3480">
                  <c:v>5.8558136865376014</c:v>
                </c:pt>
                <c:pt idx="3481">
                  <c:v>4.8599625181549424</c:v>
                </c:pt>
                <c:pt idx="3482">
                  <c:v>6.0716489493550698</c:v>
                </c:pt>
                <c:pt idx="3483">
                  <c:v>4.8425593036805452</c:v>
                </c:pt>
                <c:pt idx="3484">
                  <c:v>4.864086550772778</c:v>
                </c:pt>
                <c:pt idx="3485">
                  <c:v>5.0647609381732197</c:v>
                </c:pt>
                <c:pt idx="3486">
                  <c:v>4.7665817579781713</c:v>
                </c:pt>
                <c:pt idx="3487">
                  <c:v>4.9423047289852313</c:v>
                </c:pt>
                <c:pt idx="3488">
                  <c:v>4.925738614142122</c:v>
                </c:pt>
                <c:pt idx="3489">
                  <c:v>4.9256436882898695</c:v>
                </c:pt>
                <c:pt idx="3490">
                  <c:v>4.9179212593625508</c:v>
                </c:pt>
                <c:pt idx="3491">
                  <c:v>5.971060535593022</c:v>
                </c:pt>
                <c:pt idx="3492">
                  <c:v>5.8595130059852689</c:v>
                </c:pt>
                <c:pt idx="3493">
                  <c:v>4.9746575817907761</c:v>
                </c:pt>
                <c:pt idx="3494">
                  <c:v>4.8901168011068314</c:v>
                </c:pt>
                <c:pt idx="3495">
                  <c:v>5.0984465866470208</c:v>
                </c:pt>
                <c:pt idx="3496">
                  <c:v>4.9075888062389934</c:v>
                </c:pt>
                <c:pt idx="3497">
                  <c:v>5.055413384032394</c:v>
                </c:pt>
                <c:pt idx="3498">
                  <c:v>7.1242229946166393</c:v>
                </c:pt>
                <c:pt idx="3499">
                  <c:v>5.1489087396608859</c:v>
                </c:pt>
                <c:pt idx="3500">
                  <c:v>6.2180138572777439</c:v>
                </c:pt>
                <c:pt idx="3501">
                  <c:v>6.0371125095543245</c:v>
                </c:pt>
                <c:pt idx="3502">
                  <c:v>5.0450630215899084</c:v>
                </c:pt>
                <c:pt idx="3503">
                  <c:v>5.019545859548237</c:v>
                </c:pt>
                <c:pt idx="3504">
                  <c:v>6.0035491429712504</c:v>
                </c:pt>
                <c:pt idx="3505">
                  <c:v>4.8546330212731696</c:v>
                </c:pt>
                <c:pt idx="3506">
                  <c:v>5.0151314095961004</c:v>
                </c:pt>
                <c:pt idx="3507">
                  <c:v>4.9682323265172394</c:v>
                </c:pt>
                <c:pt idx="3508">
                  <c:v>5.1643944222363656</c:v>
                </c:pt>
                <c:pt idx="3509">
                  <c:v>5.9116287300624393</c:v>
                </c:pt>
                <c:pt idx="3510">
                  <c:v>4.9608049512487495</c:v>
                </c:pt>
                <c:pt idx="3511">
                  <c:v>4.9515176439084181</c:v>
                </c:pt>
                <c:pt idx="3512">
                  <c:v>5.9864442196315242</c:v>
                </c:pt>
                <c:pt idx="3513">
                  <c:v>5.1827599494916408</c:v>
                </c:pt>
                <c:pt idx="3514">
                  <c:v>6.0391361597717674</c:v>
                </c:pt>
                <c:pt idx="3515">
                  <c:v>5.901004240047464</c:v>
                </c:pt>
                <c:pt idx="3516">
                  <c:v>4.9564809305846165</c:v>
                </c:pt>
                <c:pt idx="3517">
                  <c:v>6.081222053083347</c:v>
                </c:pt>
                <c:pt idx="3518">
                  <c:v>6.8910459644913065</c:v>
                </c:pt>
                <c:pt idx="3519">
                  <c:v>5.0579131727821993</c:v>
                </c:pt>
                <c:pt idx="3520">
                  <c:v>5.0509853566263896</c:v>
                </c:pt>
                <c:pt idx="3521">
                  <c:v>4.7481852301240011</c:v>
                </c:pt>
                <c:pt idx="3522">
                  <c:v>4.7995247886221364</c:v>
                </c:pt>
                <c:pt idx="3523">
                  <c:v>4.9869838363301477</c:v>
                </c:pt>
                <c:pt idx="3524">
                  <c:v>5.0589066433394114</c:v>
                </c:pt>
                <c:pt idx="3525">
                  <c:v>4.9759461924201407</c:v>
                </c:pt>
                <c:pt idx="3526">
                  <c:v>5.003108200122127</c:v>
                </c:pt>
                <c:pt idx="3527">
                  <c:v>5.0501744920259517</c:v>
                </c:pt>
                <c:pt idx="3528">
                  <c:v>5.0164368118242768</c:v>
                </c:pt>
                <c:pt idx="3529">
                  <c:v>5.0270221538786899</c:v>
                </c:pt>
                <c:pt idx="3530">
                  <c:v>4.9583070340556175</c:v>
                </c:pt>
                <c:pt idx="3531">
                  <c:v>6.0540341285947852</c:v>
                </c:pt>
                <c:pt idx="3532">
                  <c:v>4.9671977771007212</c:v>
                </c:pt>
                <c:pt idx="3533">
                  <c:v>5.0224983050243637</c:v>
                </c:pt>
                <c:pt idx="3534">
                  <c:v>7.0243721594059467</c:v>
                </c:pt>
                <c:pt idx="3535">
                  <c:v>5.0546283227948878</c:v>
                </c:pt>
                <c:pt idx="3536">
                  <c:v>5.0589149878622379</c:v>
                </c:pt>
                <c:pt idx="3537">
                  <c:v>5.0117334307966477</c:v>
                </c:pt>
                <c:pt idx="3538">
                  <c:v>5.0532342864011666</c:v>
                </c:pt>
                <c:pt idx="3539">
                  <c:v>5.8886200952965906</c:v>
                </c:pt>
                <c:pt idx="3540">
                  <c:v>4.9394067245292277</c:v>
                </c:pt>
                <c:pt idx="3541">
                  <c:v>5.1559449969212396</c:v>
                </c:pt>
                <c:pt idx="3542">
                  <c:v>4.9425987244457472</c:v>
                </c:pt>
                <c:pt idx="3543">
                  <c:v>5.1448086416063878</c:v>
                </c:pt>
                <c:pt idx="3544">
                  <c:v>5.9497860658882802</c:v>
                </c:pt>
                <c:pt idx="3545">
                  <c:v>5.0420024396537002</c:v>
                </c:pt>
                <c:pt idx="3546">
                  <c:v>5.0282312865948899</c:v>
                </c:pt>
                <c:pt idx="3547">
                  <c:v>5.0256214322045256</c:v>
                </c:pt>
                <c:pt idx="3548">
                  <c:v>5.0716007756689807</c:v>
                </c:pt>
                <c:pt idx="3549">
                  <c:v>4.8963887817075209</c:v>
                </c:pt>
                <c:pt idx="3550">
                  <c:v>4.9090543342436881</c:v>
                </c:pt>
                <c:pt idx="3551">
                  <c:v>6.1329260362647489</c:v>
                </c:pt>
                <c:pt idx="3552">
                  <c:v>5.9779194817100132</c:v>
                </c:pt>
                <c:pt idx="3553">
                  <c:v>5.9721011666909991</c:v>
                </c:pt>
                <c:pt idx="3554">
                  <c:v>5.799900483256649</c:v>
                </c:pt>
                <c:pt idx="3555">
                  <c:v>4.8832886407943956</c:v>
                </c:pt>
                <c:pt idx="3556">
                  <c:v>4.9967517220151842</c:v>
                </c:pt>
                <c:pt idx="3557">
                  <c:v>5.034808963911126</c:v>
                </c:pt>
                <c:pt idx="3558">
                  <c:v>5.0546988930767833</c:v>
                </c:pt>
                <c:pt idx="3559">
                  <c:v>5.9576229072672264</c:v>
                </c:pt>
                <c:pt idx="3560">
                  <c:v>5.1354155383270506</c:v>
                </c:pt>
                <c:pt idx="3561">
                  <c:v>5.1051403464226421</c:v>
                </c:pt>
                <c:pt idx="3562">
                  <c:v>5.9359972667845815</c:v>
                </c:pt>
                <c:pt idx="3563">
                  <c:v>4.9431014026503188</c:v>
                </c:pt>
                <c:pt idx="3564">
                  <c:v>6.1238265262053124</c:v>
                </c:pt>
                <c:pt idx="3565">
                  <c:v>4.9218883081741716</c:v>
                </c:pt>
                <c:pt idx="3566">
                  <c:v>5.2497884739473237</c:v>
                </c:pt>
                <c:pt idx="3567">
                  <c:v>5.055701743566595</c:v>
                </c:pt>
                <c:pt idx="3568">
                  <c:v>4.9731883584577643</c:v>
                </c:pt>
                <c:pt idx="3569">
                  <c:v>4.7943951503908977</c:v>
                </c:pt>
                <c:pt idx="3570">
                  <c:v>4.9358770425050524</c:v>
                </c:pt>
                <c:pt idx="3571">
                  <c:v>5.6878149825030535</c:v>
                </c:pt>
                <c:pt idx="3572">
                  <c:v>5.2042713800849905</c:v>
                </c:pt>
                <c:pt idx="3573">
                  <c:v>4.9622003420586598</c:v>
                </c:pt>
                <c:pt idx="3574">
                  <c:v>4.9461864426804087</c:v>
                </c:pt>
                <c:pt idx="3575">
                  <c:v>5.0079286404284602</c:v>
                </c:pt>
                <c:pt idx="3576">
                  <c:v>4.8321083567262875</c:v>
                </c:pt>
                <c:pt idx="3577">
                  <c:v>5.1299056384230859</c:v>
                </c:pt>
                <c:pt idx="3578">
                  <c:v>5.0193115856954185</c:v>
                </c:pt>
                <c:pt idx="3579">
                  <c:v>5.1561186026410484</c:v>
                </c:pt>
                <c:pt idx="3580">
                  <c:v>6.020069803723846</c:v>
                </c:pt>
                <c:pt idx="3581">
                  <c:v>5.0346002901140086</c:v>
                </c:pt>
                <c:pt idx="3582">
                  <c:v>5.0021112033127029</c:v>
                </c:pt>
                <c:pt idx="3583">
                  <c:v>4.8507879451899161</c:v>
                </c:pt>
                <c:pt idx="3584">
                  <c:v>5.0927040272866053</c:v>
                </c:pt>
                <c:pt idx="3585">
                  <c:v>5.0397105884043683</c:v>
                </c:pt>
                <c:pt idx="3586">
                  <c:v>5.1489730890664394</c:v>
                </c:pt>
                <c:pt idx="3587">
                  <c:v>4.8696544766310339</c:v>
                </c:pt>
                <c:pt idx="3588">
                  <c:v>4.9176581152882965</c:v>
                </c:pt>
                <c:pt idx="3589">
                  <c:v>5.1584469149073229</c:v>
                </c:pt>
                <c:pt idx="3590">
                  <c:v>5.0311717012464836</c:v>
                </c:pt>
                <c:pt idx="3591">
                  <c:v>4.9612113428969744</c:v>
                </c:pt>
                <c:pt idx="3592">
                  <c:v>4.9299631899100511</c:v>
                </c:pt>
                <c:pt idx="3593">
                  <c:v>5.9745834131266786</c:v>
                </c:pt>
                <c:pt idx="3594">
                  <c:v>4.9893831941452653</c:v>
                </c:pt>
                <c:pt idx="3595">
                  <c:v>5.0914508246616155</c:v>
                </c:pt>
                <c:pt idx="3596">
                  <c:v>4.994328288328088</c:v>
                </c:pt>
                <c:pt idx="3597">
                  <c:v>5.0400154650223925</c:v>
                </c:pt>
                <c:pt idx="3598">
                  <c:v>4.8393521460457469</c:v>
                </c:pt>
                <c:pt idx="3599">
                  <c:v>4.8902579775715891</c:v>
                </c:pt>
                <c:pt idx="3600">
                  <c:v>4.9960064820158276</c:v>
                </c:pt>
                <c:pt idx="3601">
                  <c:v>5.0206952657313781</c:v>
                </c:pt>
                <c:pt idx="3602">
                  <c:v>4.9699504546416122</c:v>
                </c:pt>
                <c:pt idx="3603">
                  <c:v>5.9196407882042372</c:v>
                </c:pt>
                <c:pt idx="3604">
                  <c:v>6.109687114460014</c:v>
                </c:pt>
                <c:pt idx="3605">
                  <c:v>6.0942469105752055</c:v>
                </c:pt>
                <c:pt idx="3606">
                  <c:v>4.8933131502032579</c:v>
                </c:pt>
                <c:pt idx="3607">
                  <c:v>5.9876962526381892</c:v>
                </c:pt>
                <c:pt idx="3608">
                  <c:v>4.9952339480811263</c:v>
                </c:pt>
                <c:pt idx="3609">
                  <c:v>5.0396435591599005</c:v>
                </c:pt>
                <c:pt idx="3610">
                  <c:v>4.9007866460867548</c:v>
                </c:pt>
                <c:pt idx="3611">
                  <c:v>4.9199583861233975</c:v>
                </c:pt>
                <c:pt idx="3612">
                  <c:v>5.7899820159414226</c:v>
                </c:pt>
                <c:pt idx="3613">
                  <c:v>4.9044137293143333</c:v>
                </c:pt>
                <c:pt idx="3614">
                  <c:v>5.0756274097673222</c:v>
                </c:pt>
                <c:pt idx="3615">
                  <c:v>4.8941088844443081</c:v>
                </c:pt>
                <c:pt idx="3616">
                  <c:v>5.0917102054522969</c:v>
                </c:pt>
                <c:pt idx="3617">
                  <c:v>5.0350493988730687</c:v>
                </c:pt>
                <c:pt idx="3618">
                  <c:v>5.8919327135314603</c:v>
                </c:pt>
                <c:pt idx="3619">
                  <c:v>5.0628316684529588</c:v>
                </c:pt>
                <c:pt idx="3620">
                  <c:v>4.9819069581147479</c:v>
                </c:pt>
                <c:pt idx="3621">
                  <c:v>4.9831812550347845</c:v>
                </c:pt>
                <c:pt idx="3622">
                  <c:v>5.1853958871015546</c:v>
                </c:pt>
                <c:pt idx="3623">
                  <c:v>6.1330951310626407</c:v>
                </c:pt>
                <c:pt idx="3624">
                  <c:v>5.1453646045755175</c:v>
                </c:pt>
                <c:pt idx="3625">
                  <c:v>5.1748869884940305</c:v>
                </c:pt>
                <c:pt idx="3626">
                  <c:v>4.9446531820799402</c:v>
                </c:pt>
                <c:pt idx="3627">
                  <c:v>5.1715788617507652</c:v>
                </c:pt>
                <c:pt idx="3628">
                  <c:v>5.9348137692323801</c:v>
                </c:pt>
                <c:pt idx="3629">
                  <c:v>4.7982050172666337</c:v>
                </c:pt>
                <c:pt idx="3630">
                  <c:v>5.0751341416474096</c:v>
                </c:pt>
                <c:pt idx="3631">
                  <c:v>4.9089586670246472</c:v>
                </c:pt>
                <c:pt idx="3632">
                  <c:v>6.0075918619050457</c:v>
                </c:pt>
                <c:pt idx="3633">
                  <c:v>4.8934301457013003</c:v>
                </c:pt>
                <c:pt idx="3634">
                  <c:v>4.9837502463669416</c:v>
                </c:pt>
                <c:pt idx="3635">
                  <c:v>5.1075042519283631</c:v>
                </c:pt>
                <c:pt idx="3636">
                  <c:v>5.0570412066990311</c:v>
                </c:pt>
                <c:pt idx="3637">
                  <c:v>5.0231693032336864</c:v>
                </c:pt>
                <c:pt idx="3638">
                  <c:v>5.0304101708411313</c:v>
                </c:pt>
                <c:pt idx="3639">
                  <c:v>6.0163809382345965</c:v>
                </c:pt>
                <c:pt idx="3640">
                  <c:v>5.9975190296377452</c:v>
                </c:pt>
                <c:pt idx="3641">
                  <c:v>5.9984211958141405</c:v>
                </c:pt>
                <c:pt idx="3642">
                  <c:v>5.0099229154346938</c:v>
                </c:pt>
                <c:pt idx="3643">
                  <c:v>5.0356436716805328</c:v>
                </c:pt>
                <c:pt idx="3644">
                  <c:v>5.9260757818274739</c:v>
                </c:pt>
                <c:pt idx="3645">
                  <c:v>5.1337939162131683</c:v>
                </c:pt>
                <c:pt idx="3646">
                  <c:v>5.0622029306302307</c:v>
                </c:pt>
                <c:pt idx="3647">
                  <c:v>4.9199443665624898</c:v>
                </c:pt>
                <c:pt idx="3648">
                  <c:v>5.0626330610024315</c:v>
                </c:pt>
                <c:pt idx="3649">
                  <c:v>4.9804879010867937</c:v>
                </c:pt>
                <c:pt idx="3650">
                  <c:v>5.9129421027085893</c:v>
                </c:pt>
                <c:pt idx="3651">
                  <c:v>4.8701865841654355</c:v>
                </c:pt>
                <c:pt idx="3652">
                  <c:v>6.1490032472601293</c:v>
                </c:pt>
                <c:pt idx="3653">
                  <c:v>5.0040860490836154</c:v>
                </c:pt>
                <c:pt idx="3654">
                  <c:v>5.1755531123864902</c:v>
                </c:pt>
                <c:pt idx="3655">
                  <c:v>5.8942061998147013</c:v>
                </c:pt>
                <c:pt idx="3656">
                  <c:v>5.0619072017618922</c:v>
                </c:pt>
                <c:pt idx="3657">
                  <c:v>6.0565720605471984</c:v>
                </c:pt>
                <c:pt idx="3658">
                  <c:v>4.9914688694131444</c:v>
                </c:pt>
                <c:pt idx="3659">
                  <c:v>5.0206154279002142</c:v>
                </c:pt>
                <c:pt idx="3660">
                  <c:v>4.9528284790360999</c:v>
                </c:pt>
                <c:pt idx="3661">
                  <c:v>5.1600848247327553</c:v>
                </c:pt>
                <c:pt idx="3662">
                  <c:v>5.9272316016477724</c:v>
                </c:pt>
                <c:pt idx="3663">
                  <c:v>6.0131488798304682</c:v>
                </c:pt>
                <c:pt idx="3664">
                  <c:v>5.1070239839642415</c:v>
                </c:pt>
                <c:pt idx="3665">
                  <c:v>4.9742927096415555</c:v>
                </c:pt>
                <c:pt idx="3666">
                  <c:v>4.9089206043298299</c:v>
                </c:pt>
                <c:pt idx="3667">
                  <c:v>6.0513814759654405</c:v>
                </c:pt>
                <c:pt idx="3668">
                  <c:v>4.8925689849000076</c:v>
                </c:pt>
                <c:pt idx="3669">
                  <c:v>5.054836681886572</c:v>
                </c:pt>
                <c:pt idx="3670">
                  <c:v>5.1080028235952692</c:v>
                </c:pt>
                <c:pt idx="3671">
                  <c:v>5.0939475333253244</c:v>
                </c:pt>
                <c:pt idx="3672">
                  <c:v>5.1073846483190106</c:v>
                </c:pt>
                <c:pt idx="3673">
                  <c:v>4.9189346641492353</c:v>
                </c:pt>
                <c:pt idx="3674">
                  <c:v>5.0751828125281495</c:v>
                </c:pt>
                <c:pt idx="3675">
                  <c:v>5.9785521239284742</c:v>
                </c:pt>
                <c:pt idx="3676">
                  <c:v>4.9589209968814991</c:v>
                </c:pt>
                <c:pt idx="3677">
                  <c:v>5.0548996607683359</c:v>
                </c:pt>
                <c:pt idx="3678">
                  <c:v>5.9703789433342633</c:v>
                </c:pt>
                <c:pt idx="3679">
                  <c:v>6.1016998904915623</c:v>
                </c:pt>
                <c:pt idx="3680">
                  <c:v>4.9105623530716693</c:v>
                </c:pt>
                <c:pt idx="3681">
                  <c:v>5.9222573848132729</c:v>
                </c:pt>
                <c:pt idx="3682">
                  <c:v>5.9477192047162664</c:v>
                </c:pt>
                <c:pt idx="3683">
                  <c:v>6.1295114875804675</c:v>
                </c:pt>
                <c:pt idx="3684">
                  <c:v>6.0703917730643937</c:v>
                </c:pt>
                <c:pt idx="3685">
                  <c:v>4.9743300871469129</c:v>
                </c:pt>
                <c:pt idx="3686">
                  <c:v>6.0371619023966758</c:v>
                </c:pt>
                <c:pt idx="3687">
                  <c:v>6.0265845471883797</c:v>
                </c:pt>
                <c:pt idx="3688">
                  <c:v>6.9495440425538968</c:v>
                </c:pt>
                <c:pt idx="3689">
                  <c:v>5.0860638229653183</c:v>
                </c:pt>
                <c:pt idx="3690">
                  <c:v>4.95310703035637</c:v>
                </c:pt>
                <c:pt idx="3691">
                  <c:v>5.9842830741770934</c:v>
                </c:pt>
                <c:pt idx="3692">
                  <c:v>6.8930192613259997</c:v>
                </c:pt>
                <c:pt idx="3693">
                  <c:v>4.9937220466490988</c:v>
                </c:pt>
                <c:pt idx="3694">
                  <c:v>4.8863127129533082</c:v>
                </c:pt>
                <c:pt idx="3695">
                  <c:v>4.8365637979484344</c:v>
                </c:pt>
                <c:pt idx="3696">
                  <c:v>5.1246255001976628</c:v>
                </c:pt>
                <c:pt idx="3697">
                  <c:v>4.9222153015795858</c:v>
                </c:pt>
                <c:pt idx="3698">
                  <c:v>4.9351757422499674</c:v>
                </c:pt>
                <c:pt idx="3699">
                  <c:v>5.1736673956825285</c:v>
                </c:pt>
                <c:pt idx="3700">
                  <c:v>4.8684345607464881</c:v>
                </c:pt>
                <c:pt idx="3701">
                  <c:v>4.8726783464715249</c:v>
                </c:pt>
                <c:pt idx="3702">
                  <c:v>6.0638124808339189</c:v>
                </c:pt>
                <c:pt idx="3703">
                  <c:v>6.0945862283443395</c:v>
                </c:pt>
                <c:pt idx="3704">
                  <c:v>7.0063075547995624</c:v>
                </c:pt>
                <c:pt idx="3705">
                  <c:v>6.1091316121936892</c:v>
                </c:pt>
                <c:pt idx="3706">
                  <c:v>6.0092524596069934</c:v>
                </c:pt>
                <c:pt idx="3707">
                  <c:v>5.0046875836449463</c:v>
                </c:pt>
                <c:pt idx="3708">
                  <c:v>5.0243127905909368</c:v>
                </c:pt>
                <c:pt idx="3709">
                  <c:v>5.8882482795299982</c:v>
                </c:pt>
                <c:pt idx="3710">
                  <c:v>4.8741213260132197</c:v>
                </c:pt>
                <c:pt idx="3711">
                  <c:v>5.0611074866792132</c:v>
                </c:pt>
                <c:pt idx="3712">
                  <c:v>5.1874826732858406</c:v>
                </c:pt>
                <c:pt idx="3713">
                  <c:v>6.2075434925156312</c:v>
                </c:pt>
                <c:pt idx="3714">
                  <c:v>5.9977953046786645</c:v>
                </c:pt>
                <c:pt idx="3715">
                  <c:v>5.9252131617741997</c:v>
                </c:pt>
                <c:pt idx="3716">
                  <c:v>5.9303549935326538</c:v>
                </c:pt>
                <c:pt idx="3717">
                  <c:v>6.0172842176797028</c:v>
                </c:pt>
                <c:pt idx="3718">
                  <c:v>4.9709357487304677</c:v>
                </c:pt>
                <c:pt idx="3719">
                  <c:v>5.0624487380197838</c:v>
                </c:pt>
                <c:pt idx="3720">
                  <c:v>5.8449861717630833</c:v>
                </c:pt>
                <c:pt idx="3721">
                  <c:v>4.9193802511630853</c:v>
                </c:pt>
                <c:pt idx="3722">
                  <c:v>4.9399914430780258</c:v>
                </c:pt>
                <c:pt idx="3723">
                  <c:v>4.947883894804078</c:v>
                </c:pt>
                <c:pt idx="3724">
                  <c:v>5.1437212985500356</c:v>
                </c:pt>
                <c:pt idx="3725">
                  <c:v>5.1529023559200242</c:v>
                </c:pt>
                <c:pt idx="3726">
                  <c:v>6.0196152503180507</c:v>
                </c:pt>
                <c:pt idx="3727">
                  <c:v>5.0276996725487031</c:v>
                </c:pt>
                <c:pt idx="3728">
                  <c:v>4.8835658401284592</c:v>
                </c:pt>
                <c:pt idx="3729">
                  <c:v>6.0476216094302462</c:v>
                </c:pt>
                <c:pt idx="3730">
                  <c:v>5.8403158742761212</c:v>
                </c:pt>
                <c:pt idx="3731">
                  <c:v>5.2191237704543987</c:v>
                </c:pt>
                <c:pt idx="3732">
                  <c:v>5.1533357984584445</c:v>
                </c:pt>
                <c:pt idx="3733">
                  <c:v>4.9032043233710407</c:v>
                </c:pt>
                <c:pt idx="3734">
                  <c:v>5.0867583590299903</c:v>
                </c:pt>
                <c:pt idx="3735">
                  <c:v>6.1235226574483361</c:v>
                </c:pt>
                <c:pt idx="3736">
                  <c:v>5.0658359137203863</c:v>
                </c:pt>
                <c:pt idx="3737">
                  <c:v>6.0326755064905742</c:v>
                </c:pt>
                <c:pt idx="3738">
                  <c:v>4.9078775462414628</c:v>
                </c:pt>
                <c:pt idx="3739">
                  <c:v>5.0787344525900071</c:v>
                </c:pt>
                <c:pt idx="3740">
                  <c:v>4.9191309026073009</c:v>
                </c:pt>
                <c:pt idx="3741">
                  <c:v>5.9648098734585693</c:v>
                </c:pt>
                <c:pt idx="3742">
                  <c:v>5.0029906361592165</c:v>
                </c:pt>
                <c:pt idx="3743">
                  <c:v>4.9982125410221752</c:v>
                </c:pt>
                <c:pt idx="3744">
                  <c:v>5.0414706455659113</c:v>
                </c:pt>
                <c:pt idx="3745">
                  <c:v>4.9545346356216946</c:v>
                </c:pt>
                <c:pt idx="3746">
                  <c:v>5.1665729740001645</c:v>
                </c:pt>
                <c:pt idx="3747">
                  <c:v>6.2317246845692749</c:v>
                </c:pt>
                <c:pt idx="3748">
                  <c:v>4.883374972482545</c:v>
                </c:pt>
                <c:pt idx="3749">
                  <c:v>4.932252775498406</c:v>
                </c:pt>
                <c:pt idx="3750">
                  <c:v>4.9897227155000845</c:v>
                </c:pt>
                <c:pt idx="3751">
                  <c:v>5.9779805134004782</c:v>
                </c:pt>
                <c:pt idx="3752">
                  <c:v>4.8646498650782792</c:v>
                </c:pt>
                <c:pt idx="3753">
                  <c:v>5.9615522555765681</c:v>
                </c:pt>
                <c:pt idx="3754">
                  <c:v>6.1029479759428336</c:v>
                </c:pt>
                <c:pt idx="3755">
                  <c:v>5.0946704235295881</c:v>
                </c:pt>
                <c:pt idx="3756">
                  <c:v>5.9525920674458304</c:v>
                </c:pt>
                <c:pt idx="3757">
                  <c:v>4.9632618107782527</c:v>
                </c:pt>
                <c:pt idx="3758">
                  <c:v>6.933680276826192</c:v>
                </c:pt>
                <c:pt idx="3759">
                  <c:v>6.0333553343201416</c:v>
                </c:pt>
                <c:pt idx="3760">
                  <c:v>5.0131262581381097</c:v>
                </c:pt>
                <c:pt idx="3761">
                  <c:v>5.9628191184004695</c:v>
                </c:pt>
                <c:pt idx="3762">
                  <c:v>6.126460808681232</c:v>
                </c:pt>
                <c:pt idx="3763">
                  <c:v>6.0517370698775625</c:v>
                </c:pt>
                <c:pt idx="3764">
                  <c:v>5.0364437744554467</c:v>
                </c:pt>
                <c:pt idx="3765">
                  <c:v>6.0395059575574974</c:v>
                </c:pt>
                <c:pt idx="3766">
                  <c:v>5.0404698908249115</c:v>
                </c:pt>
                <c:pt idx="3767">
                  <c:v>4.9140184154826105</c:v>
                </c:pt>
                <c:pt idx="3768">
                  <c:v>6.0321920637959661</c:v>
                </c:pt>
                <c:pt idx="3769">
                  <c:v>6.1436562954473288</c:v>
                </c:pt>
                <c:pt idx="3770">
                  <c:v>5.0705074356910007</c:v>
                </c:pt>
                <c:pt idx="3771">
                  <c:v>5.9396379648880604</c:v>
                </c:pt>
                <c:pt idx="3772">
                  <c:v>4.9444867690980843</c:v>
                </c:pt>
                <c:pt idx="3773">
                  <c:v>6.0276603890067415</c:v>
                </c:pt>
                <c:pt idx="3774">
                  <c:v>4.9490293391915312</c:v>
                </c:pt>
                <c:pt idx="3775">
                  <c:v>5.8938267548433174</c:v>
                </c:pt>
                <c:pt idx="3776">
                  <c:v>5.0735618551604142</c:v>
                </c:pt>
                <c:pt idx="3777">
                  <c:v>5.1121872367380172</c:v>
                </c:pt>
                <c:pt idx="3778">
                  <c:v>5.825614669074092</c:v>
                </c:pt>
                <c:pt idx="3779">
                  <c:v>5.2318318386078513</c:v>
                </c:pt>
                <c:pt idx="3780">
                  <c:v>4.8567728759028288</c:v>
                </c:pt>
                <c:pt idx="3781">
                  <c:v>5.9580883839005594</c:v>
                </c:pt>
                <c:pt idx="3782">
                  <c:v>5.0354203340699328</c:v>
                </c:pt>
                <c:pt idx="3783">
                  <c:v>6.0006764553796827</c:v>
                </c:pt>
                <c:pt idx="3784">
                  <c:v>4.8678725708153783</c:v>
                </c:pt>
                <c:pt idx="3785">
                  <c:v>4.8144902494156199</c:v>
                </c:pt>
                <c:pt idx="3786">
                  <c:v>6.0244221174428265</c:v>
                </c:pt>
                <c:pt idx="3787">
                  <c:v>6.1112737257240983</c:v>
                </c:pt>
                <c:pt idx="3788">
                  <c:v>4.8253354378161282</c:v>
                </c:pt>
                <c:pt idx="3789">
                  <c:v>5.0300389167446626</c:v>
                </c:pt>
                <c:pt idx="3790">
                  <c:v>5.9575739499038258</c:v>
                </c:pt>
                <c:pt idx="3791">
                  <c:v>6.1151145142275531</c:v>
                </c:pt>
                <c:pt idx="3792">
                  <c:v>6.1513846030478172</c:v>
                </c:pt>
                <c:pt idx="3793">
                  <c:v>4.9938151490601097</c:v>
                </c:pt>
                <c:pt idx="3794">
                  <c:v>4.8164556280098587</c:v>
                </c:pt>
                <c:pt idx="3795">
                  <c:v>4.9367284607157442</c:v>
                </c:pt>
                <c:pt idx="3796">
                  <c:v>5.1115144916093129</c:v>
                </c:pt>
                <c:pt idx="3797">
                  <c:v>5.7473592104673941</c:v>
                </c:pt>
                <c:pt idx="3798">
                  <c:v>5.1730926983644911</c:v>
                </c:pt>
                <c:pt idx="3799">
                  <c:v>4.8830818053913649</c:v>
                </c:pt>
                <c:pt idx="3800">
                  <c:v>6.2423828482970887</c:v>
                </c:pt>
                <c:pt idx="3801">
                  <c:v>4.9639218474209237</c:v>
                </c:pt>
                <c:pt idx="3802">
                  <c:v>5.8145799562762299</c:v>
                </c:pt>
                <c:pt idx="3803">
                  <c:v>5.9404468051231438</c:v>
                </c:pt>
                <c:pt idx="3804">
                  <c:v>5.1018952972448988</c:v>
                </c:pt>
                <c:pt idx="3805">
                  <c:v>4.7852921395073071</c:v>
                </c:pt>
                <c:pt idx="3806">
                  <c:v>5.9338012208514295</c:v>
                </c:pt>
                <c:pt idx="3807">
                  <c:v>5.0484906113328494</c:v>
                </c:pt>
                <c:pt idx="3808">
                  <c:v>4.9262500389111494</c:v>
                </c:pt>
                <c:pt idx="3809">
                  <c:v>4.9627833997181821</c:v>
                </c:pt>
                <c:pt idx="3810">
                  <c:v>4.9638952727532741</c:v>
                </c:pt>
                <c:pt idx="3811">
                  <c:v>5.0041020448045783</c:v>
                </c:pt>
                <c:pt idx="3812">
                  <c:v>5.1186917365778708</c:v>
                </c:pt>
                <c:pt idx="3813">
                  <c:v>5.142570660938139</c:v>
                </c:pt>
                <c:pt idx="3814">
                  <c:v>5.0884637227419933</c:v>
                </c:pt>
                <c:pt idx="3815">
                  <c:v>5.0319356138252713</c:v>
                </c:pt>
                <c:pt idx="3816">
                  <c:v>7.0694194412339506</c:v>
                </c:pt>
                <c:pt idx="3817">
                  <c:v>5.1539176748106428</c:v>
                </c:pt>
                <c:pt idx="3818">
                  <c:v>4.9970786080145952</c:v>
                </c:pt>
                <c:pt idx="3819">
                  <c:v>4.9861193990231438</c:v>
                </c:pt>
                <c:pt idx="3820">
                  <c:v>6.2013286390872988</c:v>
                </c:pt>
                <c:pt idx="3821">
                  <c:v>6.0084323139771252</c:v>
                </c:pt>
                <c:pt idx="3822">
                  <c:v>5.0746833543808778</c:v>
                </c:pt>
                <c:pt idx="3823">
                  <c:v>4.8556043562332096</c:v>
                </c:pt>
                <c:pt idx="3824">
                  <c:v>4.899735758616548</c:v>
                </c:pt>
                <c:pt idx="3825">
                  <c:v>6.0149075778485148</c:v>
                </c:pt>
                <c:pt idx="3826">
                  <c:v>5.8336868372436772</c:v>
                </c:pt>
                <c:pt idx="3827">
                  <c:v>4.9983600244469963</c:v>
                </c:pt>
                <c:pt idx="3828">
                  <c:v>6.0819463619223004</c:v>
                </c:pt>
                <c:pt idx="3829">
                  <c:v>4.9775051374231634</c:v>
                </c:pt>
                <c:pt idx="3830">
                  <c:v>4.940018857945593</c:v>
                </c:pt>
                <c:pt idx="3831">
                  <c:v>6.0485926328236275</c:v>
                </c:pt>
                <c:pt idx="3832">
                  <c:v>6.0293022442270097</c:v>
                </c:pt>
                <c:pt idx="3833">
                  <c:v>4.9187660736978556</c:v>
                </c:pt>
                <c:pt idx="3834">
                  <c:v>5.9605261776785738</c:v>
                </c:pt>
                <c:pt idx="3835">
                  <c:v>5.0544937301616946</c:v>
                </c:pt>
                <c:pt idx="3836">
                  <c:v>4.955057426028497</c:v>
                </c:pt>
                <c:pt idx="3837">
                  <c:v>4.9498581425158283</c:v>
                </c:pt>
                <c:pt idx="3838">
                  <c:v>6.0218880938455808</c:v>
                </c:pt>
                <c:pt idx="3839">
                  <c:v>5.0623893059286775</c:v>
                </c:pt>
                <c:pt idx="3840">
                  <c:v>6.0713572015117583</c:v>
                </c:pt>
                <c:pt idx="3841">
                  <c:v>5.0099351654213766</c:v>
                </c:pt>
                <c:pt idx="3842">
                  <c:v>6.9035909676492695</c:v>
                </c:pt>
                <c:pt idx="3843">
                  <c:v>5.0186737263141881</c:v>
                </c:pt>
                <c:pt idx="3844">
                  <c:v>6.8923909513706318</c:v>
                </c:pt>
                <c:pt idx="3845">
                  <c:v>6.0211021264138971</c:v>
                </c:pt>
                <c:pt idx="3846">
                  <c:v>4.9875989165341936</c:v>
                </c:pt>
                <c:pt idx="3847">
                  <c:v>5.0463071759874172</c:v>
                </c:pt>
                <c:pt idx="3848">
                  <c:v>5.0402406742591328</c:v>
                </c:pt>
                <c:pt idx="3849">
                  <c:v>5.1181200575725043</c:v>
                </c:pt>
                <c:pt idx="3850">
                  <c:v>6.1265884778960755</c:v>
                </c:pt>
                <c:pt idx="3851">
                  <c:v>4.9880887413682506</c:v>
                </c:pt>
                <c:pt idx="3852">
                  <c:v>4.9893615954586954</c:v>
                </c:pt>
                <c:pt idx="3853">
                  <c:v>5.1434890307685937</c:v>
                </c:pt>
                <c:pt idx="3854">
                  <c:v>5.0083705967005114</c:v>
                </c:pt>
                <c:pt idx="3855">
                  <c:v>4.9417213759824783</c:v>
                </c:pt>
                <c:pt idx="3856">
                  <c:v>6.1328176802534831</c:v>
                </c:pt>
                <c:pt idx="3857">
                  <c:v>5.9635343822755189</c:v>
                </c:pt>
                <c:pt idx="3858">
                  <c:v>4.6973758673558432</c:v>
                </c:pt>
                <c:pt idx="3859">
                  <c:v>4.768116013846381</c:v>
                </c:pt>
                <c:pt idx="3860">
                  <c:v>5.9534695505908317</c:v>
                </c:pt>
                <c:pt idx="3861">
                  <c:v>6.0767925658620694</c:v>
                </c:pt>
                <c:pt idx="3862">
                  <c:v>5.076808740012023</c:v>
                </c:pt>
                <c:pt idx="3863">
                  <c:v>4.9629331751657135</c:v>
                </c:pt>
                <c:pt idx="3864">
                  <c:v>4.9843911654639887</c:v>
                </c:pt>
                <c:pt idx="3865">
                  <c:v>4.9021198746322314</c:v>
                </c:pt>
                <c:pt idx="3866">
                  <c:v>5.0386105455289547</c:v>
                </c:pt>
                <c:pt idx="3867">
                  <c:v>5.0816998729115994</c:v>
                </c:pt>
                <c:pt idx="3868">
                  <c:v>4.8404672114446052</c:v>
                </c:pt>
                <c:pt idx="3869">
                  <c:v>5.0418312700645114</c:v>
                </c:pt>
                <c:pt idx="3870">
                  <c:v>5.0749750191180327</c:v>
                </c:pt>
                <c:pt idx="3871">
                  <c:v>5.0936099857040631</c:v>
                </c:pt>
                <c:pt idx="3872">
                  <c:v>5.1576053237886628</c:v>
                </c:pt>
                <c:pt idx="3873">
                  <c:v>5.0049930889379395</c:v>
                </c:pt>
                <c:pt idx="3874">
                  <c:v>4.9205590634286969</c:v>
                </c:pt>
                <c:pt idx="3875">
                  <c:v>5.022311354407198</c:v>
                </c:pt>
                <c:pt idx="3876">
                  <c:v>5.1430413524672351</c:v>
                </c:pt>
                <c:pt idx="3877">
                  <c:v>6.0028482242710091</c:v>
                </c:pt>
                <c:pt idx="3878">
                  <c:v>5.0642095437986736</c:v>
                </c:pt>
                <c:pt idx="3879">
                  <c:v>4.9035343340970989</c:v>
                </c:pt>
                <c:pt idx="3880">
                  <c:v>6.0500594336943259</c:v>
                </c:pt>
                <c:pt idx="3881">
                  <c:v>5.1298403978226625</c:v>
                </c:pt>
                <c:pt idx="3882">
                  <c:v>4.9588723917466409</c:v>
                </c:pt>
                <c:pt idx="3883">
                  <c:v>4.8887896113671827</c:v>
                </c:pt>
                <c:pt idx="3884">
                  <c:v>4.9565792975421008</c:v>
                </c:pt>
                <c:pt idx="3885">
                  <c:v>6.0164816580145217</c:v>
                </c:pt>
                <c:pt idx="3886">
                  <c:v>4.9289419147774538</c:v>
                </c:pt>
                <c:pt idx="3887">
                  <c:v>4.8873414246923419</c:v>
                </c:pt>
                <c:pt idx="3888">
                  <c:v>5.0168609940242028</c:v>
                </c:pt>
                <c:pt idx="3889">
                  <c:v>6.0124215578027655</c:v>
                </c:pt>
                <c:pt idx="3890">
                  <c:v>5.9562936550828738</c:v>
                </c:pt>
                <c:pt idx="3891">
                  <c:v>5.0370822415492711</c:v>
                </c:pt>
                <c:pt idx="3892">
                  <c:v>4.9067502558387917</c:v>
                </c:pt>
                <c:pt idx="3893">
                  <c:v>4.941000885638033</c:v>
                </c:pt>
                <c:pt idx="3894">
                  <c:v>5.9246038415522486</c:v>
                </c:pt>
                <c:pt idx="3895">
                  <c:v>4.9646122583731369</c:v>
                </c:pt>
                <c:pt idx="3896">
                  <c:v>5.0186541680382506</c:v>
                </c:pt>
                <c:pt idx="3897">
                  <c:v>4.9999341602565313</c:v>
                </c:pt>
                <c:pt idx="3898">
                  <c:v>5.0376627566436101</c:v>
                </c:pt>
                <c:pt idx="3899">
                  <c:v>4.9686607315152234</c:v>
                </c:pt>
                <c:pt idx="3900">
                  <c:v>5.0469942775129368</c:v>
                </c:pt>
                <c:pt idx="3901">
                  <c:v>4.9644740808799579</c:v>
                </c:pt>
                <c:pt idx="3902">
                  <c:v>6.0219606110500692</c:v>
                </c:pt>
                <c:pt idx="3903">
                  <c:v>5.9985875992934172</c:v>
                </c:pt>
                <c:pt idx="3904">
                  <c:v>4.9707918881630668</c:v>
                </c:pt>
                <c:pt idx="3905">
                  <c:v>5.191753675082718</c:v>
                </c:pt>
                <c:pt idx="3906">
                  <c:v>4.9039467992800212</c:v>
                </c:pt>
                <c:pt idx="3907">
                  <c:v>5.0015916234784648</c:v>
                </c:pt>
                <c:pt idx="3908">
                  <c:v>4.9976394464038147</c:v>
                </c:pt>
                <c:pt idx="3909">
                  <c:v>5.9476447933905128</c:v>
                </c:pt>
                <c:pt idx="3910">
                  <c:v>5.1572638301911056</c:v>
                </c:pt>
                <c:pt idx="3911">
                  <c:v>6.033982938280082</c:v>
                </c:pt>
                <c:pt idx="3912">
                  <c:v>5.1876980708394926</c:v>
                </c:pt>
                <c:pt idx="3913">
                  <c:v>4.949010613260584</c:v>
                </c:pt>
                <c:pt idx="3914">
                  <c:v>3.8695712749384379</c:v>
                </c:pt>
                <c:pt idx="3915">
                  <c:v>4.9408046387440985</c:v>
                </c:pt>
                <c:pt idx="3916">
                  <c:v>3.9463057054216435</c:v>
                </c:pt>
                <c:pt idx="3917">
                  <c:v>6.998980599338041</c:v>
                </c:pt>
                <c:pt idx="3918">
                  <c:v>6.7972194441897331</c:v>
                </c:pt>
                <c:pt idx="3919">
                  <c:v>6.0356343541459143</c:v>
                </c:pt>
                <c:pt idx="3920">
                  <c:v>5.8044495306427581</c:v>
                </c:pt>
                <c:pt idx="3921">
                  <c:v>5.9633222113700963</c:v>
                </c:pt>
                <c:pt idx="3922">
                  <c:v>5.0660931111983381</c:v>
                </c:pt>
                <c:pt idx="3923">
                  <c:v>4.970279919655912</c:v>
                </c:pt>
                <c:pt idx="3924">
                  <c:v>5.8951310198741966</c:v>
                </c:pt>
                <c:pt idx="3925">
                  <c:v>6.0741019817055015</c:v>
                </c:pt>
                <c:pt idx="3926">
                  <c:v>5.8201156154297378</c:v>
                </c:pt>
                <c:pt idx="3927">
                  <c:v>5.0400125024655242</c:v>
                </c:pt>
                <c:pt idx="3928">
                  <c:v>5.0762007631740049</c:v>
                </c:pt>
                <c:pt idx="3929">
                  <c:v>5.8956115007972896</c:v>
                </c:pt>
                <c:pt idx="3930">
                  <c:v>5.8573235633302057</c:v>
                </c:pt>
                <c:pt idx="3931">
                  <c:v>7.0843660487004412</c:v>
                </c:pt>
                <c:pt idx="3932">
                  <c:v>5.0414620499700566</c:v>
                </c:pt>
                <c:pt idx="3933">
                  <c:v>4.9612410692456672</c:v>
                </c:pt>
                <c:pt idx="3934">
                  <c:v>4.8114032640729683</c:v>
                </c:pt>
                <c:pt idx="3935">
                  <c:v>7.0110495002471902</c:v>
                </c:pt>
                <c:pt idx="3936">
                  <c:v>6.0551294477728828</c:v>
                </c:pt>
                <c:pt idx="3937">
                  <c:v>6.0751753075367612</c:v>
                </c:pt>
                <c:pt idx="3938">
                  <c:v>5.9954987484442892</c:v>
                </c:pt>
                <c:pt idx="3939">
                  <c:v>4.9323693242257711</c:v>
                </c:pt>
                <c:pt idx="3940">
                  <c:v>4.9260640932082191</c:v>
                </c:pt>
                <c:pt idx="3941">
                  <c:v>6.0147391217239639</c:v>
                </c:pt>
                <c:pt idx="3942">
                  <c:v>5.0391908357947841</c:v>
                </c:pt>
                <c:pt idx="3943">
                  <c:v>4.9197403013302523</c:v>
                </c:pt>
                <c:pt idx="3944">
                  <c:v>4.9933080266167371</c:v>
                </c:pt>
                <c:pt idx="3945">
                  <c:v>6.1440328785806733</c:v>
                </c:pt>
                <c:pt idx="3946">
                  <c:v>6.1339713902342803</c:v>
                </c:pt>
                <c:pt idx="3947">
                  <c:v>6.0521509326796181</c:v>
                </c:pt>
                <c:pt idx="3948">
                  <c:v>4.9810349044767097</c:v>
                </c:pt>
                <c:pt idx="3949">
                  <c:v>5.9661787452254442</c:v>
                </c:pt>
                <c:pt idx="3950">
                  <c:v>6.1264318749619582</c:v>
                </c:pt>
                <c:pt idx="3951">
                  <c:v>4.8901262679023398</c:v>
                </c:pt>
                <c:pt idx="3952">
                  <c:v>5.049527832024082</c:v>
                </c:pt>
                <c:pt idx="3953">
                  <c:v>6.0562756100646693</c:v>
                </c:pt>
                <c:pt idx="3954">
                  <c:v>5.0415882385597488</c:v>
                </c:pt>
                <c:pt idx="3955">
                  <c:v>5.1485620651856872</c:v>
                </c:pt>
                <c:pt idx="3956">
                  <c:v>5.8364833427866483</c:v>
                </c:pt>
                <c:pt idx="3957">
                  <c:v>5.9795854629645904</c:v>
                </c:pt>
                <c:pt idx="3958">
                  <c:v>6.9903463275957884</c:v>
                </c:pt>
                <c:pt idx="3959">
                  <c:v>5.0744835444368785</c:v>
                </c:pt>
                <c:pt idx="3960">
                  <c:v>7.0034987028199644</c:v>
                </c:pt>
                <c:pt idx="3961">
                  <c:v>5.8440663706247848</c:v>
                </c:pt>
                <c:pt idx="3962">
                  <c:v>5.8830617446906617</c:v>
                </c:pt>
                <c:pt idx="3963">
                  <c:v>5.9252768667850333</c:v>
                </c:pt>
                <c:pt idx="3964">
                  <c:v>4.8895950743321954</c:v>
                </c:pt>
                <c:pt idx="3965">
                  <c:v>5.0817201524737881</c:v>
                </c:pt>
                <c:pt idx="3966">
                  <c:v>4.9477242420020628</c:v>
                </c:pt>
                <c:pt idx="3967">
                  <c:v>6.0762497795815973</c:v>
                </c:pt>
                <c:pt idx="3968">
                  <c:v>3.9604721961326539</c:v>
                </c:pt>
                <c:pt idx="3969">
                  <c:v>5.0512456635789738</c:v>
                </c:pt>
                <c:pt idx="3970">
                  <c:v>4.7269149414454938</c:v>
                </c:pt>
                <c:pt idx="3971">
                  <c:v>5.1628244430074233</c:v>
                </c:pt>
                <c:pt idx="3972">
                  <c:v>5.9732294846212657</c:v>
                </c:pt>
                <c:pt idx="3973">
                  <c:v>5.1888349294066778</c:v>
                </c:pt>
                <c:pt idx="3974">
                  <c:v>6.9439485471590787</c:v>
                </c:pt>
                <c:pt idx="3975">
                  <c:v>7.0916388548225511</c:v>
                </c:pt>
                <c:pt idx="3976">
                  <c:v>6.1254831643905172</c:v>
                </c:pt>
                <c:pt idx="3977">
                  <c:v>5.7772601540626782</c:v>
                </c:pt>
                <c:pt idx="3978">
                  <c:v>5.9866418410510542</c:v>
                </c:pt>
                <c:pt idx="3979">
                  <c:v>5.1084671607779555</c:v>
                </c:pt>
                <c:pt idx="3980">
                  <c:v>5.0421119276789659</c:v>
                </c:pt>
                <c:pt idx="3981">
                  <c:v>4.9742858897737454</c:v>
                </c:pt>
                <c:pt idx="3982">
                  <c:v>5.9922445959806359</c:v>
                </c:pt>
                <c:pt idx="3983">
                  <c:v>5.0742270582203881</c:v>
                </c:pt>
                <c:pt idx="3984">
                  <c:v>6.0134245141051235</c:v>
                </c:pt>
                <c:pt idx="3985">
                  <c:v>4.9773683186188427</c:v>
                </c:pt>
                <c:pt idx="3986">
                  <c:v>4.8217609195084661</c:v>
                </c:pt>
                <c:pt idx="3987">
                  <c:v>5.9950992337676139</c:v>
                </c:pt>
                <c:pt idx="3988">
                  <c:v>5.0504307260447829</c:v>
                </c:pt>
                <c:pt idx="3989">
                  <c:v>5.0107657118750346</c:v>
                </c:pt>
                <c:pt idx="3990">
                  <c:v>5.1076407086282929</c:v>
                </c:pt>
                <c:pt idx="3991">
                  <c:v>5.0602229767873679</c:v>
                </c:pt>
                <c:pt idx="3992">
                  <c:v>4.9644089803703331</c:v>
                </c:pt>
                <c:pt idx="3993">
                  <c:v>5.0910152779007554</c:v>
                </c:pt>
                <c:pt idx="3994">
                  <c:v>5.0640717167841025</c:v>
                </c:pt>
                <c:pt idx="3995">
                  <c:v>4.7931523193411669</c:v>
                </c:pt>
                <c:pt idx="3996">
                  <c:v>5.9531797726619757</c:v>
                </c:pt>
                <c:pt idx="3997">
                  <c:v>4.8997441675702174</c:v>
                </c:pt>
                <c:pt idx="3998">
                  <c:v>6.096541227283196</c:v>
                </c:pt>
                <c:pt idx="3999">
                  <c:v>4.901534350867637</c:v>
                </c:pt>
                <c:pt idx="4000">
                  <c:v>5.9611337611562494</c:v>
                </c:pt>
                <c:pt idx="4001">
                  <c:v>6.0445188768097013</c:v>
                </c:pt>
                <c:pt idx="4002">
                  <c:v>4.9653458861754212</c:v>
                </c:pt>
                <c:pt idx="4003">
                  <c:v>5.9404137906361054</c:v>
                </c:pt>
                <c:pt idx="4004">
                  <c:v>5.9653080994172019</c:v>
                </c:pt>
                <c:pt idx="4005">
                  <c:v>4.8272382034028603</c:v>
                </c:pt>
                <c:pt idx="4006">
                  <c:v>6.0759994792390319</c:v>
                </c:pt>
                <c:pt idx="4007">
                  <c:v>5.9836379634203878</c:v>
                </c:pt>
                <c:pt idx="4008">
                  <c:v>5.0472173511071752</c:v>
                </c:pt>
                <c:pt idx="4009">
                  <c:v>5.0135065042194986</c:v>
                </c:pt>
                <c:pt idx="4010">
                  <c:v>4.9344184034892917</c:v>
                </c:pt>
                <c:pt idx="4011">
                  <c:v>4.9867777460686673</c:v>
                </c:pt>
                <c:pt idx="4012">
                  <c:v>6.0062734313588289</c:v>
                </c:pt>
                <c:pt idx="4013">
                  <c:v>7.1150379674672708</c:v>
                </c:pt>
                <c:pt idx="4014">
                  <c:v>5.1369547282374368</c:v>
                </c:pt>
                <c:pt idx="4015">
                  <c:v>5.0495308171256825</c:v>
                </c:pt>
                <c:pt idx="4016">
                  <c:v>5.0575881482230409</c:v>
                </c:pt>
                <c:pt idx="4017">
                  <c:v>4.9733616189892649</c:v>
                </c:pt>
                <c:pt idx="4018">
                  <c:v>5.109662293481132</c:v>
                </c:pt>
                <c:pt idx="4019">
                  <c:v>4.7949054487304963</c:v>
                </c:pt>
                <c:pt idx="4020">
                  <c:v>4.9217830269898544</c:v>
                </c:pt>
                <c:pt idx="4021">
                  <c:v>4.957198446443666</c:v>
                </c:pt>
                <c:pt idx="4022">
                  <c:v>5.8046266120735366</c:v>
                </c:pt>
                <c:pt idx="4023">
                  <c:v>5.9534785828701633</c:v>
                </c:pt>
                <c:pt idx="4024">
                  <c:v>4.9552569313220971</c:v>
                </c:pt>
                <c:pt idx="4025">
                  <c:v>5.0610447213437295</c:v>
                </c:pt>
                <c:pt idx="4026">
                  <c:v>5.1259217323702222</c:v>
                </c:pt>
                <c:pt idx="4027">
                  <c:v>5.7906408308810349</c:v>
                </c:pt>
                <c:pt idx="4028">
                  <c:v>5.93688548309742</c:v>
                </c:pt>
                <c:pt idx="4029">
                  <c:v>6.2201041571186364</c:v>
                </c:pt>
                <c:pt idx="4030">
                  <c:v>4.8842224498140432</c:v>
                </c:pt>
                <c:pt idx="4031">
                  <c:v>7.034773252022374</c:v>
                </c:pt>
                <c:pt idx="4032">
                  <c:v>5.9637980044367493</c:v>
                </c:pt>
                <c:pt idx="4033">
                  <c:v>5.0756214145510858</c:v>
                </c:pt>
                <c:pt idx="4034">
                  <c:v>5.0458980342867568</c:v>
                </c:pt>
                <c:pt idx="4035">
                  <c:v>5.0237730093026123</c:v>
                </c:pt>
                <c:pt idx="4036">
                  <c:v>5.7610386755219976</c:v>
                </c:pt>
                <c:pt idx="4037">
                  <c:v>5.7379868839178583</c:v>
                </c:pt>
                <c:pt idx="4038">
                  <c:v>6.0242406111236351</c:v>
                </c:pt>
                <c:pt idx="4039">
                  <c:v>6.0496796146405698</c:v>
                </c:pt>
                <c:pt idx="4040">
                  <c:v>5.0984328228003557</c:v>
                </c:pt>
                <c:pt idx="4041">
                  <c:v>6.1350270035102428</c:v>
                </c:pt>
                <c:pt idx="4042">
                  <c:v>4.8691942608820469</c:v>
                </c:pt>
                <c:pt idx="4043">
                  <c:v>5.1496853388025903</c:v>
                </c:pt>
                <c:pt idx="4044">
                  <c:v>5.9526650222941706</c:v>
                </c:pt>
                <c:pt idx="4045">
                  <c:v>5.902435800432114</c:v>
                </c:pt>
                <c:pt idx="4046">
                  <c:v>5.0005942884679957</c:v>
                </c:pt>
                <c:pt idx="4047">
                  <c:v>5.9509370954632281</c:v>
                </c:pt>
                <c:pt idx="4048">
                  <c:v>5.1050311054347803</c:v>
                </c:pt>
                <c:pt idx="4049">
                  <c:v>5.0269718276093247</c:v>
                </c:pt>
                <c:pt idx="4050">
                  <c:v>6.0113548497670388</c:v>
                </c:pt>
                <c:pt idx="4051">
                  <c:v>4.9734897634390132</c:v>
                </c:pt>
                <c:pt idx="4052">
                  <c:v>5.0323609348160412</c:v>
                </c:pt>
                <c:pt idx="4053">
                  <c:v>6.0148812406540291</c:v>
                </c:pt>
                <c:pt idx="4054">
                  <c:v>6.0427155796833896</c:v>
                </c:pt>
                <c:pt idx="4055">
                  <c:v>5.0089777627719823</c:v>
                </c:pt>
                <c:pt idx="4056">
                  <c:v>5.9725111914354185</c:v>
                </c:pt>
                <c:pt idx="4057">
                  <c:v>6.050270421926121</c:v>
                </c:pt>
                <c:pt idx="4058">
                  <c:v>7.0999589438252695</c:v>
                </c:pt>
                <c:pt idx="4059">
                  <c:v>5.1340364086216033</c:v>
                </c:pt>
                <c:pt idx="4060">
                  <c:v>5.9953001306355613</c:v>
                </c:pt>
                <c:pt idx="4061">
                  <c:v>5.8685530434543658</c:v>
                </c:pt>
                <c:pt idx="4062">
                  <c:v>6.1707316009106297</c:v>
                </c:pt>
                <c:pt idx="4063">
                  <c:v>5.0551493212182104</c:v>
                </c:pt>
                <c:pt idx="4064">
                  <c:v>6.8971093721827295</c:v>
                </c:pt>
                <c:pt idx="4065">
                  <c:v>6.0682492543646394</c:v>
                </c:pt>
                <c:pt idx="4066">
                  <c:v>5.0636394091450248</c:v>
                </c:pt>
                <c:pt idx="4067">
                  <c:v>6.9923514705955405</c:v>
                </c:pt>
                <c:pt idx="4068">
                  <c:v>5.0303154629897602</c:v>
                </c:pt>
                <c:pt idx="4069">
                  <c:v>7.0475938871263883</c:v>
                </c:pt>
                <c:pt idx="4070">
                  <c:v>6.0501303823920392</c:v>
                </c:pt>
                <c:pt idx="4071">
                  <c:v>4.9414958031981469</c:v>
                </c:pt>
                <c:pt idx="4072">
                  <c:v>6.871810362223937</c:v>
                </c:pt>
                <c:pt idx="4073">
                  <c:v>7.0049773491910505</c:v>
                </c:pt>
                <c:pt idx="4074">
                  <c:v>5.9722893395312289</c:v>
                </c:pt>
                <c:pt idx="4075">
                  <c:v>5.0763663164909962</c:v>
                </c:pt>
                <c:pt idx="4076">
                  <c:v>4.0950245083037862</c:v>
                </c:pt>
                <c:pt idx="4077">
                  <c:v>5.0813879013226675</c:v>
                </c:pt>
                <c:pt idx="4078">
                  <c:v>3.8960831876132604</c:v>
                </c:pt>
                <c:pt idx="4079">
                  <c:v>4.9552722591246523</c:v>
                </c:pt>
                <c:pt idx="4080">
                  <c:v>5.8970996750677509</c:v>
                </c:pt>
                <c:pt idx="4081">
                  <c:v>5.0448975151210078</c:v>
                </c:pt>
                <c:pt idx="4082">
                  <c:v>5.9894576823621932</c:v>
                </c:pt>
                <c:pt idx="4083">
                  <c:v>5.0100576441539522</c:v>
                </c:pt>
                <c:pt idx="4084">
                  <c:v>4.8305270802996958</c:v>
                </c:pt>
                <c:pt idx="4085">
                  <c:v>6.0227697289652706</c:v>
                </c:pt>
                <c:pt idx="4086">
                  <c:v>6.0776469108529758</c:v>
                </c:pt>
                <c:pt idx="4087">
                  <c:v>7.0196183663879559</c:v>
                </c:pt>
                <c:pt idx="4088">
                  <c:v>4.9873990827833241</c:v>
                </c:pt>
                <c:pt idx="4089">
                  <c:v>5.0536217225754294</c:v>
                </c:pt>
                <c:pt idx="4090">
                  <c:v>4.9839711213727167</c:v>
                </c:pt>
                <c:pt idx="4091">
                  <c:v>5.0809858437595006</c:v>
                </c:pt>
                <c:pt idx="4092">
                  <c:v>5.0864984503288042</c:v>
                </c:pt>
                <c:pt idx="4093">
                  <c:v>5.8790900148510143</c:v>
                </c:pt>
                <c:pt idx="4094">
                  <c:v>6.0395159643750276</c:v>
                </c:pt>
                <c:pt idx="4095">
                  <c:v>4.9823813173840703</c:v>
                </c:pt>
                <c:pt idx="4096">
                  <c:v>7.0351168782158275</c:v>
                </c:pt>
                <c:pt idx="4097">
                  <c:v>5.0667081478428901</c:v>
                </c:pt>
                <c:pt idx="4098">
                  <c:v>4.9475803315368463</c:v>
                </c:pt>
                <c:pt idx="4099">
                  <c:v>2.9858527516942246</c:v>
                </c:pt>
                <c:pt idx="4100">
                  <c:v>7.1217313055201599</c:v>
                </c:pt>
                <c:pt idx="4101">
                  <c:v>6.0666463427966448</c:v>
                </c:pt>
                <c:pt idx="4102">
                  <c:v>6.204059728254391</c:v>
                </c:pt>
                <c:pt idx="4103">
                  <c:v>6.0436903082615272</c:v>
                </c:pt>
                <c:pt idx="4104">
                  <c:v>5.8654170002334576</c:v>
                </c:pt>
                <c:pt idx="4105">
                  <c:v>5.8908105806382096</c:v>
                </c:pt>
                <c:pt idx="4106">
                  <c:v>4.9149620112420935</c:v>
                </c:pt>
                <c:pt idx="4107">
                  <c:v>5.9234589640474553</c:v>
                </c:pt>
                <c:pt idx="4108">
                  <c:v>5.9406724760605734</c:v>
                </c:pt>
                <c:pt idx="4109">
                  <c:v>5.9051657821816095</c:v>
                </c:pt>
                <c:pt idx="4110">
                  <c:v>5.2457270881376949</c:v>
                </c:pt>
                <c:pt idx="4111">
                  <c:v>5.0372900296404231</c:v>
                </c:pt>
                <c:pt idx="4112">
                  <c:v>4.9283286453870661</c:v>
                </c:pt>
                <c:pt idx="4113">
                  <c:v>5.9981927209936226</c:v>
                </c:pt>
                <c:pt idx="4114">
                  <c:v>4.8431357933351187</c:v>
                </c:pt>
                <c:pt idx="4115">
                  <c:v>5.0405070642741112</c:v>
                </c:pt>
                <c:pt idx="4116">
                  <c:v>6.0674727910519852</c:v>
                </c:pt>
                <c:pt idx="4117">
                  <c:v>6.2372352381349137</c:v>
                </c:pt>
                <c:pt idx="4118">
                  <c:v>4.9840690070352993</c:v>
                </c:pt>
                <c:pt idx="4119">
                  <c:v>6.0736013546764847</c:v>
                </c:pt>
                <c:pt idx="4120">
                  <c:v>5.0266469388181241</c:v>
                </c:pt>
                <c:pt idx="4121">
                  <c:v>5.9423032914582539</c:v>
                </c:pt>
                <c:pt idx="4122">
                  <c:v>4.9450244462720274</c:v>
                </c:pt>
                <c:pt idx="4123">
                  <c:v>7.0955673809816968</c:v>
                </c:pt>
                <c:pt idx="4124">
                  <c:v>4.904906641314839</c:v>
                </c:pt>
                <c:pt idx="4125">
                  <c:v>5.8839770459029799</c:v>
                </c:pt>
                <c:pt idx="4126">
                  <c:v>4.9453494082015013</c:v>
                </c:pt>
                <c:pt idx="4127">
                  <c:v>5.1088836623833398</c:v>
                </c:pt>
                <c:pt idx="4128">
                  <c:v>5.9793234737306991</c:v>
                </c:pt>
                <c:pt idx="4129">
                  <c:v>4.8994675806974879</c:v>
                </c:pt>
                <c:pt idx="4130">
                  <c:v>4.8948902246717658</c:v>
                </c:pt>
                <c:pt idx="4131">
                  <c:v>4.9483863462425539</c:v>
                </c:pt>
                <c:pt idx="4132">
                  <c:v>4.816304734368023</c:v>
                </c:pt>
                <c:pt idx="4133">
                  <c:v>5.9641116287156271</c:v>
                </c:pt>
                <c:pt idx="4134">
                  <c:v>5.0544281514561575</c:v>
                </c:pt>
                <c:pt idx="4135">
                  <c:v>5.1689779300914811</c:v>
                </c:pt>
                <c:pt idx="4136">
                  <c:v>5.0181521143589176</c:v>
                </c:pt>
                <c:pt idx="4137">
                  <c:v>5.9972767501978588</c:v>
                </c:pt>
                <c:pt idx="4138">
                  <c:v>4.9547000327977972</c:v>
                </c:pt>
                <c:pt idx="4139">
                  <c:v>5.1179297721862298</c:v>
                </c:pt>
                <c:pt idx="4140">
                  <c:v>4.7830351467226144</c:v>
                </c:pt>
                <c:pt idx="4141">
                  <c:v>6.0015790385254739</c:v>
                </c:pt>
                <c:pt idx="4142">
                  <c:v>6.0998743166582647</c:v>
                </c:pt>
                <c:pt idx="4143">
                  <c:v>4.9639798217177304</c:v>
                </c:pt>
                <c:pt idx="4144">
                  <c:v>4.9692878383242265</c:v>
                </c:pt>
                <c:pt idx="4145">
                  <c:v>5.0990854611478804</c:v>
                </c:pt>
                <c:pt idx="4146">
                  <c:v>5.9681043855993181</c:v>
                </c:pt>
                <c:pt idx="4147">
                  <c:v>7.1050843731017714</c:v>
                </c:pt>
                <c:pt idx="4148">
                  <c:v>5.0068709656507435</c:v>
                </c:pt>
                <c:pt idx="4149">
                  <c:v>5.9451790847733017</c:v>
                </c:pt>
                <c:pt idx="4150">
                  <c:v>5.0255094519959709</c:v>
                </c:pt>
                <c:pt idx="4151">
                  <c:v>6.0827622868830549</c:v>
                </c:pt>
                <c:pt idx="4152">
                  <c:v>6.9852511164241911</c:v>
                </c:pt>
                <c:pt idx="4153">
                  <c:v>7.0300231794764398</c:v>
                </c:pt>
                <c:pt idx="4154">
                  <c:v>4.9876816584992785</c:v>
                </c:pt>
                <c:pt idx="4155">
                  <c:v>7.0846695007332938</c:v>
                </c:pt>
                <c:pt idx="4156">
                  <c:v>5.9412605599630899</c:v>
                </c:pt>
                <c:pt idx="4157">
                  <c:v>6.0542632734920954</c:v>
                </c:pt>
                <c:pt idx="4158">
                  <c:v>6.9021337463812573</c:v>
                </c:pt>
                <c:pt idx="4159">
                  <c:v>6.8359920332431727</c:v>
                </c:pt>
                <c:pt idx="4160">
                  <c:v>5.0042710897424261</c:v>
                </c:pt>
                <c:pt idx="4161">
                  <c:v>7.0349376929078797</c:v>
                </c:pt>
                <c:pt idx="4162">
                  <c:v>6.95758891337434</c:v>
                </c:pt>
                <c:pt idx="4163">
                  <c:v>7.0638933810207742</c:v>
                </c:pt>
                <c:pt idx="4164">
                  <c:v>6.9729377311048797</c:v>
                </c:pt>
                <c:pt idx="4165">
                  <c:v>5.1774553328357182</c:v>
                </c:pt>
                <c:pt idx="4166">
                  <c:v>5.1034425083149628</c:v>
                </c:pt>
                <c:pt idx="4167">
                  <c:v>6.8353910816923626</c:v>
                </c:pt>
                <c:pt idx="4168">
                  <c:v>5.1685895386687708</c:v>
                </c:pt>
                <c:pt idx="4169">
                  <c:v>6.9555287115909188</c:v>
                </c:pt>
                <c:pt idx="4170">
                  <c:v>5.9468233191474811</c:v>
                </c:pt>
                <c:pt idx="4171">
                  <c:v>4.9584947037997216</c:v>
                </c:pt>
                <c:pt idx="4172">
                  <c:v>5.9708250157113341</c:v>
                </c:pt>
                <c:pt idx="4173">
                  <c:v>5.0151903322428577</c:v>
                </c:pt>
                <c:pt idx="4174">
                  <c:v>4.999301519924531</c:v>
                </c:pt>
                <c:pt idx="4175">
                  <c:v>6.2639142802026626</c:v>
                </c:pt>
                <c:pt idx="4176">
                  <c:v>4.845676869750581</c:v>
                </c:pt>
                <c:pt idx="4177">
                  <c:v>4.9638270451256652</c:v>
                </c:pt>
                <c:pt idx="4178">
                  <c:v>5.938493867635902</c:v>
                </c:pt>
                <c:pt idx="4179">
                  <c:v>5.076317090221738</c:v>
                </c:pt>
                <c:pt idx="4180">
                  <c:v>5.1009443732012052</c:v>
                </c:pt>
                <c:pt idx="4181">
                  <c:v>5.9855841959641625</c:v>
                </c:pt>
                <c:pt idx="4182">
                  <c:v>4.9858395934218063</c:v>
                </c:pt>
                <c:pt idx="4183">
                  <c:v>5.0939396820832821</c:v>
                </c:pt>
                <c:pt idx="4184">
                  <c:v>5.0940516443009383</c:v>
                </c:pt>
                <c:pt idx="4185">
                  <c:v>4.9802398608153116</c:v>
                </c:pt>
                <c:pt idx="4186">
                  <c:v>4.9570743970165445</c:v>
                </c:pt>
                <c:pt idx="4187">
                  <c:v>4.9801661030050095</c:v>
                </c:pt>
                <c:pt idx="4188">
                  <c:v>6.0808983850632989</c:v>
                </c:pt>
                <c:pt idx="4189">
                  <c:v>5.0624186387232974</c:v>
                </c:pt>
                <c:pt idx="4190">
                  <c:v>5.0967858440275018</c:v>
                </c:pt>
                <c:pt idx="4191">
                  <c:v>5.0124754090250105</c:v>
                </c:pt>
                <c:pt idx="4192">
                  <c:v>4.940550430354512</c:v>
                </c:pt>
                <c:pt idx="4193">
                  <c:v>5.0207281347389872</c:v>
                </c:pt>
                <c:pt idx="4194">
                  <c:v>4.796709736630576</c:v>
                </c:pt>
                <c:pt idx="4195">
                  <c:v>5.2421566813666818</c:v>
                </c:pt>
                <c:pt idx="4196">
                  <c:v>4.9646693303753739</c:v>
                </c:pt>
                <c:pt idx="4197">
                  <c:v>6.0533817062977215</c:v>
                </c:pt>
                <c:pt idx="4198">
                  <c:v>4.9996104967819885</c:v>
                </c:pt>
                <c:pt idx="4199">
                  <c:v>5.1080685670502133</c:v>
                </c:pt>
                <c:pt idx="4200">
                  <c:v>4.8495836710543294</c:v>
                </c:pt>
                <c:pt idx="4201">
                  <c:v>5.1439292987220711</c:v>
                </c:pt>
                <c:pt idx="4202">
                  <c:v>5.0131620468278495</c:v>
                </c:pt>
                <c:pt idx="4203">
                  <c:v>6.0069969215233465</c:v>
                </c:pt>
                <c:pt idx="4204">
                  <c:v>5.881495391323452</c:v>
                </c:pt>
                <c:pt idx="4205">
                  <c:v>4.9040017682447248</c:v>
                </c:pt>
                <c:pt idx="4206">
                  <c:v>6.1061869502246084</c:v>
                </c:pt>
                <c:pt idx="4207">
                  <c:v>5.1023393592353807</c:v>
                </c:pt>
                <c:pt idx="4208">
                  <c:v>5.2121969480851629</c:v>
                </c:pt>
                <c:pt idx="4209">
                  <c:v>5.0101988706000329</c:v>
                </c:pt>
                <c:pt idx="4210">
                  <c:v>6.0902990788972442</c:v>
                </c:pt>
                <c:pt idx="4211">
                  <c:v>5.8348237130656431</c:v>
                </c:pt>
                <c:pt idx="4212">
                  <c:v>4.9871845453153654</c:v>
                </c:pt>
                <c:pt idx="4213">
                  <c:v>5.1158533847677852</c:v>
                </c:pt>
                <c:pt idx="4214">
                  <c:v>5.0037863524838206</c:v>
                </c:pt>
                <c:pt idx="4215">
                  <c:v>4.9375397674493247</c:v>
                </c:pt>
                <c:pt idx="4216">
                  <c:v>6.0075643693815568</c:v>
                </c:pt>
                <c:pt idx="4217">
                  <c:v>6.2541813711160801</c:v>
                </c:pt>
                <c:pt idx="4218">
                  <c:v>5.0682547920137306</c:v>
                </c:pt>
                <c:pt idx="4219">
                  <c:v>5.9616824043380099</c:v>
                </c:pt>
                <c:pt idx="4220">
                  <c:v>4.9709264885830002</c:v>
                </c:pt>
                <c:pt idx="4221">
                  <c:v>6.8526353576480172</c:v>
                </c:pt>
                <c:pt idx="4222">
                  <c:v>5.0186457323913505</c:v>
                </c:pt>
                <c:pt idx="4223">
                  <c:v>5.9560673969735571</c:v>
                </c:pt>
                <c:pt idx="4224">
                  <c:v>5.0061484695645682</c:v>
                </c:pt>
                <c:pt idx="4225">
                  <c:v>4.996240113671707</c:v>
                </c:pt>
                <c:pt idx="4226">
                  <c:v>6.203164573123404</c:v>
                </c:pt>
                <c:pt idx="4227">
                  <c:v>6.0444419250822818</c:v>
                </c:pt>
                <c:pt idx="4228">
                  <c:v>5.9685293435859288</c:v>
                </c:pt>
                <c:pt idx="4229">
                  <c:v>6.022884598454973</c:v>
                </c:pt>
                <c:pt idx="4230">
                  <c:v>4.957508191623508</c:v>
                </c:pt>
                <c:pt idx="4231">
                  <c:v>4.9906317689686093</c:v>
                </c:pt>
                <c:pt idx="4232">
                  <c:v>5.1539669833683481</c:v>
                </c:pt>
                <c:pt idx="4233">
                  <c:v>5.0276943246612005</c:v>
                </c:pt>
                <c:pt idx="4234">
                  <c:v>6.0058727994010033</c:v>
                </c:pt>
                <c:pt idx="4235">
                  <c:v>4.9934643738223885</c:v>
                </c:pt>
                <c:pt idx="4236">
                  <c:v>7.0806514830218648</c:v>
                </c:pt>
                <c:pt idx="4237">
                  <c:v>6.1490610094068936</c:v>
                </c:pt>
                <c:pt idx="4238">
                  <c:v>4.8949542418686791</c:v>
                </c:pt>
                <c:pt idx="4239">
                  <c:v>7.0181128736973974</c:v>
                </c:pt>
                <c:pt idx="4240">
                  <c:v>4.8943534369859476</c:v>
                </c:pt>
                <c:pt idx="4241">
                  <c:v>5.1790671608481249</c:v>
                </c:pt>
                <c:pt idx="4242">
                  <c:v>4.9172663373812142</c:v>
                </c:pt>
                <c:pt idx="4243">
                  <c:v>4.9470796207801415</c:v>
                </c:pt>
                <c:pt idx="4244">
                  <c:v>7.1528561955491679</c:v>
                </c:pt>
                <c:pt idx="4245">
                  <c:v>5.082182005906013</c:v>
                </c:pt>
                <c:pt idx="4246">
                  <c:v>4.8608196337160896</c:v>
                </c:pt>
                <c:pt idx="4247">
                  <c:v>5.054267784338915</c:v>
                </c:pt>
                <c:pt idx="4248">
                  <c:v>4.8730188084038124</c:v>
                </c:pt>
                <c:pt idx="4249">
                  <c:v>7.1112782733891411</c:v>
                </c:pt>
                <c:pt idx="4250">
                  <c:v>6.0670046444795567</c:v>
                </c:pt>
                <c:pt idx="4251">
                  <c:v>5.8872623240941024</c:v>
                </c:pt>
                <c:pt idx="4252">
                  <c:v>5.8638665714793898</c:v>
                </c:pt>
                <c:pt idx="4253">
                  <c:v>5.054638854852981</c:v>
                </c:pt>
                <c:pt idx="4254">
                  <c:v>5.067060520031891</c:v>
                </c:pt>
                <c:pt idx="4255">
                  <c:v>5.0976067957522648</c:v>
                </c:pt>
                <c:pt idx="4256">
                  <c:v>6.0638676888185969</c:v>
                </c:pt>
                <c:pt idx="4257">
                  <c:v>5.1005859741225619</c:v>
                </c:pt>
                <c:pt idx="4258">
                  <c:v>4.8672217410461265</c:v>
                </c:pt>
                <c:pt idx="4259">
                  <c:v>5.9952141840946389</c:v>
                </c:pt>
                <c:pt idx="4260">
                  <c:v>5.9709242755722096</c:v>
                </c:pt>
                <c:pt idx="4261">
                  <c:v>4.9519821510157174</c:v>
                </c:pt>
                <c:pt idx="4262">
                  <c:v>5.048076721828135</c:v>
                </c:pt>
                <c:pt idx="4263">
                  <c:v>4.9286067499500437</c:v>
                </c:pt>
                <c:pt idx="4264">
                  <c:v>5.1402578139269322</c:v>
                </c:pt>
                <c:pt idx="4265">
                  <c:v>4.001051704878523</c:v>
                </c:pt>
                <c:pt idx="4266">
                  <c:v>5.0644185562626216</c:v>
                </c:pt>
                <c:pt idx="4267">
                  <c:v>4.8665391111037808</c:v>
                </c:pt>
                <c:pt idx="4268">
                  <c:v>5.0823181867790241</c:v>
                </c:pt>
                <c:pt idx="4269">
                  <c:v>5.0352845017196763</c:v>
                </c:pt>
                <c:pt idx="4270">
                  <c:v>5.1675983201723179</c:v>
                </c:pt>
                <c:pt idx="4271">
                  <c:v>4.9262849338175005</c:v>
                </c:pt>
                <c:pt idx="4272">
                  <c:v>5.0335966597793957</c:v>
                </c:pt>
                <c:pt idx="4273">
                  <c:v>5.0029192518405488</c:v>
                </c:pt>
                <c:pt idx="4274">
                  <c:v>5.1015228573719593</c:v>
                </c:pt>
                <c:pt idx="4275">
                  <c:v>4.9335208045431305</c:v>
                </c:pt>
                <c:pt idx="4276">
                  <c:v>4.8899598407951723</c:v>
                </c:pt>
                <c:pt idx="4277">
                  <c:v>4.9233370701545898</c:v>
                </c:pt>
                <c:pt idx="4278">
                  <c:v>5.7124374656304955</c:v>
                </c:pt>
                <c:pt idx="4279">
                  <c:v>4.816716662051153</c:v>
                </c:pt>
                <c:pt idx="4280">
                  <c:v>5.8534355051522811</c:v>
                </c:pt>
                <c:pt idx="4281">
                  <c:v>6.9889303456971321</c:v>
                </c:pt>
                <c:pt idx="4282">
                  <c:v>6.0584593967564055</c:v>
                </c:pt>
                <c:pt idx="4283">
                  <c:v>6.0455986443636043</c:v>
                </c:pt>
                <c:pt idx="4284">
                  <c:v>4.9970752040470749</c:v>
                </c:pt>
                <c:pt idx="4285">
                  <c:v>5.0354453607152214</c:v>
                </c:pt>
                <c:pt idx="4286">
                  <c:v>4.8580635906206933</c:v>
                </c:pt>
                <c:pt idx="4287">
                  <c:v>5.8213498668139545</c:v>
                </c:pt>
                <c:pt idx="4288">
                  <c:v>5.9040762246902183</c:v>
                </c:pt>
                <c:pt idx="4289">
                  <c:v>7.0462244935927609</c:v>
                </c:pt>
                <c:pt idx="4290">
                  <c:v>4.9808702486954095</c:v>
                </c:pt>
                <c:pt idx="4291">
                  <c:v>6.022757765848298</c:v>
                </c:pt>
                <c:pt idx="4292">
                  <c:v>6.12633890626332</c:v>
                </c:pt>
                <c:pt idx="4293">
                  <c:v>4.9350172564717099</c:v>
                </c:pt>
                <c:pt idx="4294">
                  <c:v>7.1826944257398182</c:v>
                </c:pt>
                <c:pt idx="4295">
                  <c:v>5.9904704379232578</c:v>
                </c:pt>
                <c:pt idx="4296">
                  <c:v>6.0086313262418587</c:v>
                </c:pt>
                <c:pt idx="4297">
                  <c:v>7.1654905327753085</c:v>
                </c:pt>
                <c:pt idx="4298">
                  <c:v>4.8719061240977677</c:v>
                </c:pt>
                <c:pt idx="4299">
                  <c:v>5.1873565700874851</c:v>
                </c:pt>
                <c:pt idx="4300">
                  <c:v>5.95769125587214</c:v>
                </c:pt>
                <c:pt idx="4301">
                  <c:v>5.0148647413630778</c:v>
                </c:pt>
                <c:pt idx="4302">
                  <c:v>5.930826813092696</c:v>
                </c:pt>
                <c:pt idx="4303">
                  <c:v>6.7365037901870526</c:v>
                </c:pt>
                <c:pt idx="4304">
                  <c:v>5.0383512581651253</c:v>
                </c:pt>
                <c:pt idx="4305">
                  <c:v>5.0231168774549584</c:v>
                </c:pt>
                <c:pt idx="4306">
                  <c:v>6.9342681573570006</c:v>
                </c:pt>
                <c:pt idx="4307">
                  <c:v>5.8970699485571174</c:v>
                </c:pt>
                <c:pt idx="4308">
                  <c:v>5.8988291481711208</c:v>
                </c:pt>
                <c:pt idx="4309">
                  <c:v>4.9562653814578983</c:v>
                </c:pt>
                <c:pt idx="4310">
                  <c:v>6.0312412364382864</c:v>
                </c:pt>
                <c:pt idx="4311">
                  <c:v>5.1062760232943969</c:v>
                </c:pt>
                <c:pt idx="4312">
                  <c:v>5.1089588142446578</c:v>
                </c:pt>
                <c:pt idx="4313">
                  <c:v>4.0104242328298305</c:v>
                </c:pt>
                <c:pt idx="4314">
                  <c:v>7.0647931145077747</c:v>
                </c:pt>
                <c:pt idx="4315">
                  <c:v>5.0250303512713632</c:v>
                </c:pt>
                <c:pt idx="4316">
                  <c:v>4.98075799060768</c:v>
                </c:pt>
                <c:pt idx="4317">
                  <c:v>5.8922050296338551</c:v>
                </c:pt>
                <c:pt idx="4318">
                  <c:v>5.0770697222577095</c:v>
                </c:pt>
                <c:pt idx="4319">
                  <c:v>4.9915302499395828</c:v>
                </c:pt>
                <c:pt idx="4320">
                  <c:v>5.021385771033291</c:v>
                </c:pt>
                <c:pt idx="4321">
                  <c:v>5.9051499325790653</c:v>
                </c:pt>
                <c:pt idx="4322">
                  <c:v>5.2192914262392707</c:v>
                </c:pt>
                <c:pt idx="4323">
                  <c:v>5.9127378560679498</c:v>
                </c:pt>
                <c:pt idx="4324">
                  <c:v>4.9989106253741999</c:v>
                </c:pt>
                <c:pt idx="4325">
                  <c:v>6.2320720087940922</c:v>
                </c:pt>
                <c:pt idx="4326">
                  <c:v>6.0406498227701544</c:v>
                </c:pt>
                <c:pt idx="4327">
                  <c:v>4.8265640902047249</c:v>
                </c:pt>
                <c:pt idx="4328">
                  <c:v>4.9172905364027502</c:v>
                </c:pt>
                <c:pt idx="4329">
                  <c:v>5.0672938993402781</c:v>
                </c:pt>
                <c:pt idx="4330">
                  <c:v>5.12638488995833</c:v>
                </c:pt>
                <c:pt idx="4331">
                  <c:v>4.881319188625862</c:v>
                </c:pt>
                <c:pt idx="4332">
                  <c:v>5.0072780504468124</c:v>
                </c:pt>
                <c:pt idx="4333">
                  <c:v>3.9532258124489594</c:v>
                </c:pt>
                <c:pt idx="4334">
                  <c:v>5.8685619479914228</c:v>
                </c:pt>
                <c:pt idx="4335">
                  <c:v>4.9533749010400463</c:v>
                </c:pt>
                <c:pt idx="4336">
                  <c:v>5.9335782455842629</c:v>
                </c:pt>
                <c:pt idx="4337">
                  <c:v>4.940809966335113</c:v>
                </c:pt>
                <c:pt idx="4338">
                  <c:v>5.9135304060300689</c:v>
                </c:pt>
                <c:pt idx="4339">
                  <c:v>4.8950138783734722</c:v>
                </c:pt>
                <c:pt idx="4340">
                  <c:v>6.9261938617824637</c:v>
                </c:pt>
                <c:pt idx="4341">
                  <c:v>5.8074734873857219</c:v>
                </c:pt>
                <c:pt idx="4342">
                  <c:v>5.8606645363485343</c:v>
                </c:pt>
                <c:pt idx="4343">
                  <c:v>5.184677652780314</c:v>
                </c:pt>
                <c:pt idx="4344">
                  <c:v>5.0982591839163991</c:v>
                </c:pt>
                <c:pt idx="4345">
                  <c:v>5.0757304703781569</c:v>
                </c:pt>
                <c:pt idx="4346">
                  <c:v>4.9078298626039389</c:v>
                </c:pt>
                <c:pt idx="4347">
                  <c:v>4.9616392143715435</c:v>
                </c:pt>
                <c:pt idx="4348">
                  <c:v>6.0366235142175499</c:v>
                </c:pt>
                <c:pt idx="4349">
                  <c:v>4.9089619366734034</c:v>
                </c:pt>
                <c:pt idx="4350">
                  <c:v>5.2305171485189765</c:v>
                </c:pt>
                <c:pt idx="4351">
                  <c:v>5.7914741143575954</c:v>
                </c:pt>
                <c:pt idx="4352">
                  <c:v>6.0202545718980334</c:v>
                </c:pt>
                <c:pt idx="4353">
                  <c:v>5.1212090333774869</c:v>
                </c:pt>
                <c:pt idx="4354">
                  <c:v>5.8992712285292468</c:v>
                </c:pt>
                <c:pt idx="4355">
                  <c:v>5.0653259795651833</c:v>
                </c:pt>
                <c:pt idx="4356">
                  <c:v>5.9425318921478603</c:v>
                </c:pt>
                <c:pt idx="4357">
                  <c:v>7.1326119897817533</c:v>
                </c:pt>
                <c:pt idx="4358">
                  <c:v>4.9600075250717719</c:v>
                </c:pt>
                <c:pt idx="4359">
                  <c:v>4.9329346128770535</c:v>
                </c:pt>
                <c:pt idx="4360">
                  <c:v>4.9323708260837735</c:v>
                </c:pt>
                <c:pt idx="4361">
                  <c:v>4.8816622871550646</c:v>
                </c:pt>
                <c:pt idx="4362">
                  <c:v>6.0268582967730993</c:v>
                </c:pt>
                <c:pt idx="4363">
                  <c:v>6.9230645750695938</c:v>
                </c:pt>
                <c:pt idx="4364">
                  <c:v>5.0600515320743522</c:v>
                </c:pt>
                <c:pt idx="4365">
                  <c:v>4.9867877438202379</c:v>
                </c:pt>
                <c:pt idx="4366">
                  <c:v>5.1255253170298971</c:v>
                </c:pt>
                <c:pt idx="4367">
                  <c:v>4.8326919707836122</c:v>
                </c:pt>
                <c:pt idx="4368">
                  <c:v>5.0147927453911647</c:v>
                </c:pt>
                <c:pt idx="4369">
                  <c:v>5.0489568293068485</c:v>
                </c:pt>
                <c:pt idx="4370">
                  <c:v>5.9256638668980308</c:v>
                </c:pt>
                <c:pt idx="4371">
                  <c:v>6.1550627260674062</c:v>
                </c:pt>
                <c:pt idx="4372">
                  <c:v>4.8931620267337497</c:v>
                </c:pt>
                <c:pt idx="4373">
                  <c:v>5.9372161693032588</c:v>
                </c:pt>
                <c:pt idx="4374">
                  <c:v>6.2408843863311638</c:v>
                </c:pt>
                <c:pt idx="4375">
                  <c:v>5.0729594326674352</c:v>
                </c:pt>
                <c:pt idx="4376">
                  <c:v>6.0304339884616613</c:v>
                </c:pt>
                <c:pt idx="4377">
                  <c:v>5.0468347205032922</c:v>
                </c:pt>
                <c:pt idx="4378">
                  <c:v>6.0173969112747185</c:v>
                </c:pt>
                <c:pt idx="4379">
                  <c:v>4.9482203755249641</c:v>
                </c:pt>
                <c:pt idx="4380">
                  <c:v>6.0208030413290752</c:v>
                </c:pt>
                <c:pt idx="4381">
                  <c:v>6.031888318143853</c:v>
                </c:pt>
                <c:pt idx="4382">
                  <c:v>4.9040572713472086</c:v>
                </c:pt>
                <c:pt idx="4383">
                  <c:v>5.9714432335224412</c:v>
                </c:pt>
                <c:pt idx="4384">
                  <c:v>3.9194828788431773</c:v>
                </c:pt>
                <c:pt idx="4385">
                  <c:v>6.018907437381892</c:v>
                </c:pt>
                <c:pt idx="4386">
                  <c:v>6.01260572748199</c:v>
                </c:pt>
                <c:pt idx="4387">
                  <c:v>6.1725326868410377</c:v>
                </c:pt>
                <c:pt idx="4388">
                  <c:v>4.9725071993809999</c:v>
                </c:pt>
                <c:pt idx="4389">
                  <c:v>6.07346432980414</c:v>
                </c:pt>
                <c:pt idx="4390">
                  <c:v>6.0127524814991622</c:v>
                </c:pt>
                <c:pt idx="4391">
                  <c:v>6.0532880826277085</c:v>
                </c:pt>
                <c:pt idx="4392">
                  <c:v>5.2472564792408232</c:v>
                </c:pt>
                <c:pt idx="4393">
                  <c:v>5.040987169282527</c:v>
                </c:pt>
                <c:pt idx="4394">
                  <c:v>5.0517204979314743</c:v>
                </c:pt>
                <c:pt idx="4395">
                  <c:v>5.1228095948705175</c:v>
                </c:pt>
                <c:pt idx="4396">
                  <c:v>4.9589218562201705</c:v>
                </c:pt>
                <c:pt idx="4397">
                  <c:v>6.0532419229516572</c:v>
                </c:pt>
                <c:pt idx="4398">
                  <c:v>5.7710897647848451</c:v>
                </c:pt>
                <c:pt idx="4399">
                  <c:v>6.0644832739141448</c:v>
                </c:pt>
                <c:pt idx="4400">
                  <c:v>6.7976613293641215</c:v>
                </c:pt>
                <c:pt idx="4401">
                  <c:v>6.0467245722116623</c:v>
                </c:pt>
                <c:pt idx="4402">
                  <c:v>5.9295970809296037</c:v>
                </c:pt>
                <c:pt idx="4403">
                  <c:v>4.9536868122626174</c:v>
                </c:pt>
                <c:pt idx="4404">
                  <c:v>6.0238408445145151</c:v>
                </c:pt>
                <c:pt idx="4405">
                  <c:v>4.9895155619139002</c:v>
                </c:pt>
                <c:pt idx="4406">
                  <c:v>5.0000492243247328</c:v>
                </c:pt>
                <c:pt idx="4407">
                  <c:v>5.9240558796837712</c:v>
                </c:pt>
                <c:pt idx="4408">
                  <c:v>5.0741816038360668</c:v>
                </c:pt>
                <c:pt idx="4409">
                  <c:v>7.0637482485241883</c:v>
                </c:pt>
                <c:pt idx="4410">
                  <c:v>5.0159517990226261</c:v>
                </c:pt>
                <c:pt idx="4411">
                  <c:v>4.9510991546549832</c:v>
                </c:pt>
                <c:pt idx="4412">
                  <c:v>6.1973375841573404</c:v>
                </c:pt>
                <c:pt idx="4413">
                  <c:v>5.778807440347542</c:v>
                </c:pt>
                <c:pt idx="4414">
                  <c:v>4.9219790562460952</c:v>
                </c:pt>
                <c:pt idx="4415">
                  <c:v>5.8745180669394479</c:v>
                </c:pt>
                <c:pt idx="4416">
                  <c:v>5.8878336068015598</c:v>
                </c:pt>
                <c:pt idx="4417">
                  <c:v>5.978245889932964</c:v>
                </c:pt>
                <c:pt idx="4418">
                  <c:v>5.0436382344335309</c:v>
                </c:pt>
                <c:pt idx="4419">
                  <c:v>6.0453154587982629</c:v>
                </c:pt>
                <c:pt idx="4420">
                  <c:v>6.0655151430853849</c:v>
                </c:pt>
                <c:pt idx="4421">
                  <c:v>5.1292954068926822</c:v>
                </c:pt>
                <c:pt idx="4422">
                  <c:v>5.0523986888736356</c:v>
                </c:pt>
                <c:pt idx="4423">
                  <c:v>5.0908507299765775</c:v>
                </c:pt>
                <c:pt idx="4424">
                  <c:v>6.0206193974796758</c:v>
                </c:pt>
                <c:pt idx="4425">
                  <c:v>4.9978527682802447</c:v>
                </c:pt>
                <c:pt idx="4426">
                  <c:v>4.8852175577188603</c:v>
                </c:pt>
                <c:pt idx="4427">
                  <c:v>8.0317367771759542</c:v>
                </c:pt>
                <c:pt idx="4428">
                  <c:v>4.0370747812271359</c:v>
                </c:pt>
                <c:pt idx="4429">
                  <c:v>4.9334587520663407</c:v>
                </c:pt>
                <c:pt idx="4430">
                  <c:v>5.2263468579476493</c:v>
                </c:pt>
                <c:pt idx="4431">
                  <c:v>5.9408971687346233</c:v>
                </c:pt>
                <c:pt idx="4432">
                  <c:v>5.1163165832143171</c:v>
                </c:pt>
                <c:pt idx="4433">
                  <c:v>5.0768354344127067</c:v>
                </c:pt>
                <c:pt idx="4434">
                  <c:v>5.0507421571195481</c:v>
                </c:pt>
                <c:pt idx="4435">
                  <c:v>6.0963058359162723</c:v>
                </c:pt>
                <c:pt idx="4436">
                  <c:v>5.9485043071321995</c:v>
                </c:pt>
                <c:pt idx="4437">
                  <c:v>4.0151443755956517</c:v>
                </c:pt>
                <c:pt idx="4438">
                  <c:v>5.1613926877667913</c:v>
                </c:pt>
                <c:pt idx="4439">
                  <c:v>4.8894846589136227</c:v>
                </c:pt>
                <c:pt idx="4440">
                  <c:v>5.9962749196134055</c:v>
                </c:pt>
                <c:pt idx="4441">
                  <c:v>6.1957948576605002</c:v>
                </c:pt>
                <c:pt idx="4442">
                  <c:v>4.947813652811524</c:v>
                </c:pt>
                <c:pt idx="4443">
                  <c:v>5.089408386384239</c:v>
                </c:pt>
                <c:pt idx="4444">
                  <c:v>5.1288795631506749</c:v>
                </c:pt>
                <c:pt idx="4445">
                  <c:v>5.8237314125220072</c:v>
                </c:pt>
                <c:pt idx="4446">
                  <c:v>4.9686409164167804</c:v>
                </c:pt>
                <c:pt idx="4447">
                  <c:v>4.9296324995156144</c:v>
                </c:pt>
                <c:pt idx="4448">
                  <c:v>5.0473012942733906</c:v>
                </c:pt>
                <c:pt idx="4449">
                  <c:v>4.9094090347038506</c:v>
                </c:pt>
                <c:pt idx="4450">
                  <c:v>5.1258121333574644</c:v>
                </c:pt>
                <c:pt idx="4451">
                  <c:v>5.9773368941781175</c:v>
                </c:pt>
                <c:pt idx="4452">
                  <c:v>4.985885688346646</c:v>
                </c:pt>
                <c:pt idx="4453">
                  <c:v>4.9460573489328263</c:v>
                </c:pt>
                <c:pt idx="4454">
                  <c:v>6.0233817045387914</c:v>
                </c:pt>
                <c:pt idx="4455">
                  <c:v>4.9342280363534785</c:v>
                </c:pt>
                <c:pt idx="4456">
                  <c:v>6.0011031747578132</c:v>
                </c:pt>
                <c:pt idx="4457">
                  <c:v>5.9645945394469289</c:v>
                </c:pt>
                <c:pt idx="4458">
                  <c:v>6.1086746618135619</c:v>
                </c:pt>
                <c:pt idx="4459">
                  <c:v>5.9875714139365845</c:v>
                </c:pt>
                <c:pt idx="4460">
                  <c:v>4.02547647041541</c:v>
                </c:pt>
                <c:pt idx="4461">
                  <c:v>4.9845244938278128</c:v>
                </c:pt>
                <c:pt idx="4462">
                  <c:v>6.1388157601178053</c:v>
                </c:pt>
                <c:pt idx="4463">
                  <c:v>6.009744332618526</c:v>
                </c:pt>
                <c:pt idx="4464">
                  <c:v>5.924209244080104</c:v>
                </c:pt>
                <c:pt idx="4465">
                  <c:v>4.9533549304865563</c:v>
                </c:pt>
                <c:pt idx="4466">
                  <c:v>5.9450106576197896</c:v>
                </c:pt>
                <c:pt idx="4467">
                  <c:v>4.9498588570791089</c:v>
                </c:pt>
                <c:pt idx="4468">
                  <c:v>6.0393399903717393</c:v>
                </c:pt>
                <c:pt idx="4469">
                  <c:v>6.0380979401283659</c:v>
                </c:pt>
                <c:pt idx="4470">
                  <c:v>4.9254946527994212</c:v>
                </c:pt>
                <c:pt idx="4471">
                  <c:v>5.0081728873816616</c:v>
                </c:pt>
                <c:pt idx="4472">
                  <c:v>5.0384671474631713</c:v>
                </c:pt>
                <c:pt idx="4473">
                  <c:v>6.1429297779774323</c:v>
                </c:pt>
                <c:pt idx="4474">
                  <c:v>4.8763519556220842</c:v>
                </c:pt>
                <c:pt idx="4475">
                  <c:v>4.9547935756292469</c:v>
                </c:pt>
                <c:pt idx="4476">
                  <c:v>6.1332362986789102</c:v>
                </c:pt>
                <c:pt idx="4477">
                  <c:v>6.0162783005311509</c:v>
                </c:pt>
                <c:pt idx="4478">
                  <c:v>6.0021251321205584</c:v>
                </c:pt>
                <c:pt idx="4479">
                  <c:v>6.0282634577148331</c:v>
                </c:pt>
                <c:pt idx="4480">
                  <c:v>5.9438011834839308</c:v>
                </c:pt>
                <c:pt idx="4481">
                  <c:v>5.9307557279523939</c:v>
                </c:pt>
                <c:pt idx="4482">
                  <c:v>5.956678134922778</c:v>
                </c:pt>
                <c:pt idx="4483">
                  <c:v>5.890405435745758</c:v>
                </c:pt>
                <c:pt idx="4484">
                  <c:v>6.0231710279700241</c:v>
                </c:pt>
                <c:pt idx="4485">
                  <c:v>5.9674630832998341</c:v>
                </c:pt>
                <c:pt idx="4486">
                  <c:v>6.0813366072409663</c:v>
                </c:pt>
                <c:pt idx="4487">
                  <c:v>6.033557579933353</c:v>
                </c:pt>
                <c:pt idx="4488">
                  <c:v>6.0152782187897582</c:v>
                </c:pt>
                <c:pt idx="4489">
                  <c:v>5.903699736674251</c:v>
                </c:pt>
                <c:pt idx="4490">
                  <c:v>5.9846873733158219</c:v>
                </c:pt>
                <c:pt idx="4491">
                  <c:v>6.0962889523619426</c:v>
                </c:pt>
                <c:pt idx="4492">
                  <c:v>6.1307360883036051</c:v>
                </c:pt>
                <c:pt idx="4493">
                  <c:v>5.7689787545653886</c:v>
                </c:pt>
                <c:pt idx="4494">
                  <c:v>5.9522691630265054</c:v>
                </c:pt>
                <c:pt idx="4495">
                  <c:v>5.9294301827296341</c:v>
                </c:pt>
                <c:pt idx="4496">
                  <c:v>5.9256148932843411</c:v>
                </c:pt>
                <c:pt idx="4497">
                  <c:v>5.9212308509033065</c:v>
                </c:pt>
                <c:pt idx="4498">
                  <c:v>6.067994863582971</c:v>
                </c:pt>
                <c:pt idx="4499">
                  <c:v>5.9016880023885072</c:v>
                </c:pt>
                <c:pt idx="4500">
                  <c:v>6.0979470151355297</c:v>
                </c:pt>
                <c:pt idx="4501">
                  <c:v>6.0144701004376913</c:v>
                </c:pt>
                <c:pt idx="4502">
                  <c:v>5.8536861051056306</c:v>
                </c:pt>
                <c:pt idx="4503">
                  <c:v>5.9769463959509199</c:v>
                </c:pt>
                <c:pt idx="4504">
                  <c:v>5.9809233488784166</c:v>
                </c:pt>
                <c:pt idx="4505">
                  <c:v>5.975999335785894</c:v>
                </c:pt>
                <c:pt idx="4506">
                  <c:v>6.0591537286188926</c:v>
                </c:pt>
                <c:pt idx="4507">
                  <c:v>6.0830724455216707</c:v>
                </c:pt>
                <c:pt idx="4508">
                  <c:v>6.1240832044739015</c:v>
                </c:pt>
                <c:pt idx="4509">
                  <c:v>5.9322312212464583</c:v>
                </c:pt>
                <c:pt idx="4510">
                  <c:v>6.0752421408750097</c:v>
                </c:pt>
                <c:pt idx="4511">
                  <c:v>5.9896142645638966</c:v>
                </c:pt>
                <c:pt idx="4512">
                  <c:v>5.9972960913812994</c:v>
                </c:pt>
                <c:pt idx="4513">
                  <c:v>5.8886840668526323</c:v>
                </c:pt>
                <c:pt idx="4514">
                  <c:v>5.8266013513251345</c:v>
                </c:pt>
                <c:pt idx="4515">
                  <c:v>6.0990420057124597</c:v>
                </c:pt>
                <c:pt idx="4516">
                  <c:v>4.9745591808025171</c:v>
                </c:pt>
                <c:pt idx="4517">
                  <c:v>6.0469427430922176</c:v>
                </c:pt>
                <c:pt idx="4518">
                  <c:v>6.0474178385768562</c:v>
                </c:pt>
                <c:pt idx="4519">
                  <c:v>5.9628973219343369</c:v>
                </c:pt>
                <c:pt idx="4520">
                  <c:v>5.886287722288114</c:v>
                </c:pt>
                <c:pt idx="4521">
                  <c:v>5.7467431741679889</c:v>
                </c:pt>
                <c:pt idx="4522">
                  <c:v>5.8105443952452216</c:v>
                </c:pt>
                <c:pt idx="4523">
                  <c:v>5.9272121798424431</c:v>
                </c:pt>
                <c:pt idx="4524">
                  <c:v>5.8879291396578468</c:v>
                </c:pt>
                <c:pt idx="4525">
                  <c:v>6.042857695947438</c:v>
                </c:pt>
                <c:pt idx="4526">
                  <c:v>5.9846430783226685</c:v>
                </c:pt>
                <c:pt idx="4527">
                  <c:v>6.078838627148893</c:v>
                </c:pt>
                <c:pt idx="4528">
                  <c:v>5.8968726542306777</c:v>
                </c:pt>
                <c:pt idx="4529">
                  <c:v>5.9277183785267091</c:v>
                </c:pt>
                <c:pt idx="4530">
                  <c:v>5.0593030680265576</c:v>
                </c:pt>
                <c:pt idx="4531">
                  <c:v>6.0197545796630241</c:v>
                </c:pt>
                <c:pt idx="4532">
                  <c:v>6.0725961468795058</c:v>
                </c:pt>
                <c:pt idx="4533">
                  <c:v>6.0484303822624037</c:v>
                </c:pt>
                <c:pt idx="4534">
                  <c:v>5.919059293146395</c:v>
                </c:pt>
                <c:pt idx="4535">
                  <c:v>6.1203902386272455</c:v>
                </c:pt>
                <c:pt idx="4536">
                  <c:v>5.9540270915312146</c:v>
                </c:pt>
                <c:pt idx="4537">
                  <c:v>6.1262507841959515</c:v>
                </c:pt>
                <c:pt idx="4538">
                  <c:v>6.1477078067356654</c:v>
                </c:pt>
                <c:pt idx="4539">
                  <c:v>5.8430018812538247</c:v>
                </c:pt>
                <c:pt idx="4540">
                  <c:v>6.0447835061844568</c:v>
                </c:pt>
                <c:pt idx="4541">
                  <c:v>6.0871567469709902</c:v>
                </c:pt>
                <c:pt idx="4542">
                  <c:v>5.0657909389867104</c:v>
                </c:pt>
                <c:pt idx="4543">
                  <c:v>4.9675313859927401</c:v>
                </c:pt>
                <c:pt idx="4544">
                  <c:v>5.0354920789579101</c:v>
                </c:pt>
                <c:pt idx="4545">
                  <c:v>5.8608426339376072</c:v>
                </c:pt>
                <c:pt idx="4546">
                  <c:v>6.1687660141919363</c:v>
                </c:pt>
                <c:pt idx="4547">
                  <c:v>5.0122944575556456</c:v>
                </c:pt>
                <c:pt idx="4548">
                  <c:v>4.9784956419825699</c:v>
                </c:pt>
                <c:pt idx="4549">
                  <c:v>4.8228382424170331</c:v>
                </c:pt>
                <c:pt idx="4550">
                  <c:v>5.17091120574631</c:v>
                </c:pt>
                <c:pt idx="4551">
                  <c:v>6.1539239127293603</c:v>
                </c:pt>
                <c:pt idx="4552">
                  <c:v>7.071544136391001</c:v>
                </c:pt>
                <c:pt idx="4553">
                  <c:v>5.1855723734689532</c:v>
                </c:pt>
                <c:pt idx="4554">
                  <c:v>6.1577412767055604</c:v>
                </c:pt>
                <c:pt idx="4555">
                  <c:v>7.0016020904616365</c:v>
                </c:pt>
                <c:pt idx="4556">
                  <c:v>6.2073324857826773</c:v>
                </c:pt>
                <c:pt idx="4557">
                  <c:v>5.9219128338132325</c:v>
                </c:pt>
                <c:pt idx="4558">
                  <c:v>4.9506564058124001</c:v>
                </c:pt>
                <c:pt idx="4559">
                  <c:v>4.9300904593052239</c:v>
                </c:pt>
                <c:pt idx="4560">
                  <c:v>5.0530872093039445</c:v>
                </c:pt>
                <c:pt idx="4561">
                  <c:v>6.0364544669671831</c:v>
                </c:pt>
                <c:pt idx="4562">
                  <c:v>5.9881516193280113</c:v>
                </c:pt>
                <c:pt idx="4563">
                  <c:v>5.0617046447684286</c:v>
                </c:pt>
                <c:pt idx="4564">
                  <c:v>5.8655945839623254</c:v>
                </c:pt>
                <c:pt idx="4565">
                  <c:v>6.0797720875963641</c:v>
                </c:pt>
                <c:pt idx="4566">
                  <c:v>5.9697013292894114</c:v>
                </c:pt>
                <c:pt idx="4567">
                  <c:v>6.0408457839431202</c:v>
                </c:pt>
                <c:pt idx="4568">
                  <c:v>4.8578616648868813</c:v>
                </c:pt>
                <c:pt idx="4569">
                  <c:v>6.0782173251487501</c:v>
                </c:pt>
                <c:pt idx="4570">
                  <c:v>5.7803740394142826</c:v>
                </c:pt>
                <c:pt idx="4571">
                  <c:v>5.134228843373891</c:v>
                </c:pt>
                <c:pt idx="4572">
                  <c:v>4.9290963968243879</c:v>
                </c:pt>
                <c:pt idx="4573">
                  <c:v>5.221952434560885</c:v>
                </c:pt>
                <c:pt idx="4574">
                  <c:v>5.0108914366190387</c:v>
                </c:pt>
                <c:pt idx="4575">
                  <c:v>5.8418033487499823</c:v>
                </c:pt>
                <c:pt idx="4576">
                  <c:v>4.9331701187177286</c:v>
                </c:pt>
                <c:pt idx="4577">
                  <c:v>6.0440278700690175</c:v>
                </c:pt>
                <c:pt idx="4578">
                  <c:v>5.9042625779060529</c:v>
                </c:pt>
                <c:pt idx="4579">
                  <c:v>6.0743383220116991</c:v>
                </c:pt>
                <c:pt idx="4580">
                  <c:v>6.2589044701603598</c:v>
                </c:pt>
                <c:pt idx="4581">
                  <c:v>5.9716399674200114</c:v>
                </c:pt>
                <c:pt idx="4582">
                  <c:v>4.9324909755743462</c:v>
                </c:pt>
                <c:pt idx="4583">
                  <c:v>6.0445902885011025</c:v>
                </c:pt>
                <c:pt idx="4584">
                  <c:v>4.9767391195633603</c:v>
                </c:pt>
                <c:pt idx="4585">
                  <c:v>6.9965020072465283</c:v>
                </c:pt>
                <c:pt idx="4586">
                  <c:v>4.0847108495557887</c:v>
                </c:pt>
                <c:pt idx="4587">
                  <c:v>5.0278824071075841</c:v>
                </c:pt>
                <c:pt idx="4588">
                  <c:v>6.8925373019249978</c:v>
                </c:pt>
                <c:pt idx="4589">
                  <c:v>5.0393065565035453</c:v>
                </c:pt>
                <c:pt idx="4590">
                  <c:v>4.9968361443081601</c:v>
                </c:pt>
                <c:pt idx="4591">
                  <c:v>4.8352419199226535</c:v>
                </c:pt>
                <c:pt idx="4592">
                  <c:v>4.7999532233501139</c:v>
                </c:pt>
                <c:pt idx="4593">
                  <c:v>4.9927473665088087</c:v>
                </c:pt>
                <c:pt idx="4594">
                  <c:v>5.0354282032125628</c:v>
                </c:pt>
                <c:pt idx="4595">
                  <c:v>4.8914920098288448</c:v>
                </c:pt>
                <c:pt idx="4596">
                  <c:v>5.0362101482834989</c:v>
                </c:pt>
                <c:pt idx="4597">
                  <c:v>5.0773398566854278</c:v>
                </c:pt>
                <c:pt idx="4598">
                  <c:v>4.9398898466649328</c:v>
                </c:pt>
                <c:pt idx="4599">
                  <c:v>6.0181309897640443</c:v>
                </c:pt>
                <c:pt idx="4600">
                  <c:v>5.9690771770957722</c:v>
                </c:pt>
                <c:pt idx="4601">
                  <c:v>6.0634102159640708</c:v>
                </c:pt>
                <c:pt idx="4602">
                  <c:v>3.8281120535220845</c:v>
                </c:pt>
                <c:pt idx="4603">
                  <c:v>5.8282702443756218</c:v>
                </c:pt>
                <c:pt idx="4604">
                  <c:v>5.0199564038371456</c:v>
                </c:pt>
                <c:pt idx="4605">
                  <c:v>5.1691764369507229</c:v>
                </c:pt>
                <c:pt idx="4606">
                  <c:v>5.9928654747266972</c:v>
                </c:pt>
                <c:pt idx="4607">
                  <c:v>5.8746758431497001</c:v>
                </c:pt>
                <c:pt idx="4608">
                  <c:v>5.0793304119615961</c:v>
                </c:pt>
                <c:pt idx="4609">
                  <c:v>5.1237183592559115</c:v>
                </c:pt>
                <c:pt idx="4610">
                  <c:v>6.1280023990113799</c:v>
                </c:pt>
                <c:pt idx="4611">
                  <c:v>4.980121093578024</c:v>
                </c:pt>
                <c:pt idx="4612">
                  <c:v>5.1359763769404267</c:v>
                </c:pt>
                <c:pt idx="4613">
                  <c:v>5.9421002660233802</c:v>
                </c:pt>
                <c:pt idx="4614">
                  <c:v>4.0568202330497041</c:v>
                </c:pt>
                <c:pt idx="4615">
                  <c:v>4.9219049874494889</c:v>
                </c:pt>
                <c:pt idx="4616">
                  <c:v>6.9219899068676627</c:v>
                </c:pt>
                <c:pt idx="4617">
                  <c:v>4.8331351931009969</c:v>
                </c:pt>
                <c:pt idx="4618">
                  <c:v>5.9728077093664327</c:v>
                </c:pt>
                <c:pt idx="4619">
                  <c:v>5.0730273272765745</c:v>
                </c:pt>
                <c:pt idx="4620">
                  <c:v>6.0236869179455219</c:v>
                </c:pt>
                <c:pt idx="4621">
                  <c:v>5.9576154780920989</c:v>
                </c:pt>
                <c:pt idx="4622">
                  <c:v>4.8464307234825919</c:v>
                </c:pt>
                <c:pt idx="4623">
                  <c:v>3.0110575929625925</c:v>
                </c:pt>
                <c:pt idx="4624">
                  <c:v>5.9811174289779583</c:v>
                </c:pt>
                <c:pt idx="4625">
                  <c:v>4.0738400176168348</c:v>
                </c:pt>
                <c:pt idx="4626">
                  <c:v>4.854928344764323</c:v>
                </c:pt>
                <c:pt idx="4627">
                  <c:v>5.9395235392996142</c:v>
                </c:pt>
                <c:pt idx="4628">
                  <c:v>4.9014850426133707</c:v>
                </c:pt>
                <c:pt idx="4629">
                  <c:v>5.9023397088334892</c:v>
                </c:pt>
                <c:pt idx="4630">
                  <c:v>4.8599079497575586</c:v>
                </c:pt>
                <c:pt idx="4631">
                  <c:v>6.9588969874991786</c:v>
                </c:pt>
                <c:pt idx="4632">
                  <c:v>5.8137044025651701</c:v>
                </c:pt>
                <c:pt idx="4633">
                  <c:v>4.9359612637557317</c:v>
                </c:pt>
                <c:pt idx="4634">
                  <c:v>6.2847222764694051</c:v>
                </c:pt>
                <c:pt idx="4635">
                  <c:v>5.0626881218107922</c:v>
                </c:pt>
                <c:pt idx="4636">
                  <c:v>4.9634689959066689</c:v>
                </c:pt>
                <c:pt idx="4637">
                  <c:v>4.936990020073214</c:v>
                </c:pt>
                <c:pt idx="4638">
                  <c:v>5.9955514483111854</c:v>
                </c:pt>
                <c:pt idx="4639">
                  <c:v>5.0074125615470937</c:v>
                </c:pt>
                <c:pt idx="4640">
                  <c:v>6.0010511430357614</c:v>
                </c:pt>
                <c:pt idx="4641">
                  <c:v>5.0889404889736713</c:v>
                </c:pt>
                <c:pt idx="4642">
                  <c:v>6.0593206534830797</c:v>
                </c:pt>
                <c:pt idx="4643">
                  <c:v>4.1645748833277167</c:v>
                </c:pt>
                <c:pt idx="4644">
                  <c:v>5.0909997789237993</c:v>
                </c:pt>
                <c:pt idx="4645">
                  <c:v>6.9880138910765375</c:v>
                </c:pt>
                <c:pt idx="4646">
                  <c:v>4.9886475149356437</c:v>
                </c:pt>
                <c:pt idx="4647">
                  <c:v>6.0535168137853548</c:v>
                </c:pt>
                <c:pt idx="4648">
                  <c:v>4.8478871800368006</c:v>
                </c:pt>
                <c:pt idx="4649">
                  <c:v>6.0982912252267667</c:v>
                </c:pt>
                <c:pt idx="4650">
                  <c:v>4.9928799256021819</c:v>
                </c:pt>
                <c:pt idx="4651">
                  <c:v>5.2245651613534374</c:v>
                </c:pt>
                <c:pt idx="4652">
                  <c:v>5.9102384967185655</c:v>
                </c:pt>
                <c:pt idx="4653">
                  <c:v>5.0223789104958554</c:v>
                </c:pt>
                <c:pt idx="4654">
                  <c:v>6.0179770103728174</c:v>
                </c:pt>
                <c:pt idx="4655">
                  <c:v>5.9482324538323956</c:v>
                </c:pt>
                <c:pt idx="4656">
                  <c:v>5.7221088186205931</c:v>
                </c:pt>
                <c:pt idx="4657">
                  <c:v>4.946169038565964</c:v>
                </c:pt>
                <c:pt idx="4658">
                  <c:v>6.1907812342596671</c:v>
                </c:pt>
                <c:pt idx="4659">
                  <c:v>5.86206287327522</c:v>
                </c:pt>
                <c:pt idx="4660">
                  <c:v>5.8660867406517578</c:v>
                </c:pt>
                <c:pt idx="4661">
                  <c:v>5.0071824052265876</c:v>
                </c:pt>
                <c:pt idx="4662">
                  <c:v>4.9386816694086466</c:v>
                </c:pt>
                <c:pt idx="4663">
                  <c:v>5.9584715519688531</c:v>
                </c:pt>
                <c:pt idx="4664">
                  <c:v>5.1125991154836363</c:v>
                </c:pt>
                <c:pt idx="4665">
                  <c:v>5.0620171906644869</c:v>
                </c:pt>
                <c:pt idx="4666">
                  <c:v>3.8726031027464005</c:v>
                </c:pt>
                <c:pt idx="4667">
                  <c:v>5.0502714614475579</c:v>
                </c:pt>
                <c:pt idx="4668">
                  <c:v>6.0166263464269099</c:v>
                </c:pt>
                <c:pt idx="4669">
                  <c:v>5.00740398222921</c:v>
                </c:pt>
                <c:pt idx="4670">
                  <c:v>5.9413075472996431</c:v>
                </c:pt>
                <c:pt idx="4671">
                  <c:v>5.1975433876780608</c:v>
                </c:pt>
                <c:pt idx="4672">
                  <c:v>4.9294244920811492</c:v>
                </c:pt>
                <c:pt idx="4673">
                  <c:v>5.0067538575047807</c:v>
                </c:pt>
                <c:pt idx="4674">
                  <c:v>5.1105928571888857</c:v>
                </c:pt>
                <c:pt idx="4675">
                  <c:v>4.9227790802864444</c:v>
                </c:pt>
                <c:pt idx="4676">
                  <c:v>5.9837018815140537</c:v>
                </c:pt>
                <c:pt idx="4677">
                  <c:v>5.0303525830906128</c:v>
                </c:pt>
                <c:pt idx="4678">
                  <c:v>3.9727834138912965</c:v>
                </c:pt>
                <c:pt idx="4679">
                  <c:v>5.9242104339880326</c:v>
                </c:pt>
                <c:pt idx="4680">
                  <c:v>6.0105578472990455</c:v>
                </c:pt>
                <c:pt idx="4681">
                  <c:v>5.0492063192211685</c:v>
                </c:pt>
                <c:pt idx="4682">
                  <c:v>5.2038856879952027</c:v>
                </c:pt>
                <c:pt idx="4683">
                  <c:v>5.9605456443695966</c:v>
                </c:pt>
                <c:pt idx="4684">
                  <c:v>4.9428684728245385</c:v>
                </c:pt>
                <c:pt idx="4685">
                  <c:v>3.0811602771966777</c:v>
                </c:pt>
                <c:pt idx="4686">
                  <c:v>6.0351829367525065</c:v>
                </c:pt>
                <c:pt idx="4687">
                  <c:v>6.0136874442667745</c:v>
                </c:pt>
                <c:pt idx="4688">
                  <c:v>6.1429133408066736</c:v>
                </c:pt>
                <c:pt idx="4689">
                  <c:v>5.1674659902726647</c:v>
                </c:pt>
                <c:pt idx="4690">
                  <c:v>4.9158169486236361</c:v>
                </c:pt>
                <c:pt idx="4691">
                  <c:v>4.8999250701619133</c:v>
                </c:pt>
                <c:pt idx="4692">
                  <c:v>4.9534093227008835</c:v>
                </c:pt>
                <c:pt idx="4693">
                  <c:v>5.1071241627696118</c:v>
                </c:pt>
                <c:pt idx="4694">
                  <c:v>5.957720991842006</c:v>
                </c:pt>
                <c:pt idx="4695">
                  <c:v>4.1689103303500268</c:v>
                </c:pt>
                <c:pt idx="4696">
                  <c:v>5.7763883763692929</c:v>
                </c:pt>
                <c:pt idx="4697">
                  <c:v>6.005713730581876</c:v>
                </c:pt>
                <c:pt idx="4698">
                  <c:v>4.8507894248103769</c:v>
                </c:pt>
                <c:pt idx="4699">
                  <c:v>5.9605946573665447</c:v>
                </c:pt>
                <c:pt idx="4700">
                  <c:v>4.9745090588320293</c:v>
                </c:pt>
                <c:pt idx="4701">
                  <c:v>6.9759337085575321</c:v>
                </c:pt>
                <c:pt idx="4702">
                  <c:v>6.0272048168660337</c:v>
                </c:pt>
                <c:pt idx="4703">
                  <c:v>5.0780500683854131</c:v>
                </c:pt>
                <c:pt idx="4704">
                  <c:v>6.1873053487627327</c:v>
                </c:pt>
                <c:pt idx="4705">
                  <c:v>5.208483905370203</c:v>
                </c:pt>
                <c:pt idx="4706">
                  <c:v>5.1403915376455007</c:v>
                </c:pt>
                <c:pt idx="4707">
                  <c:v>5.0058090608652028</c:v>
                </c:pt>
                <c:pt idx="4708">
                  <c:v>4.925937340706926</c:v>
                </c:pt>
                <c:pt idx="4709">
                  <c:v>5.0038093236502101</c:v>
                </c:pt>
                <c:pt idx="4710">
                  <c:v>5.9110881702251676</c:v>
                </c:pt>
                <c:pt idx="4711">
                  <c:v>6.0399095640432208</c:v>
                </c:pt>
                <c:pt idx="4712">
                  <c:v>6.1451389695570686</c:v>
                </c:pt>
                <c:pt idx="4713">
                  <c:v>4.9448249004691123</c:v>
                </c:pt>
                <c:pt idx="4714">
                  <c:v>4.8313390700757992</c:v>
                </c:pt>
                <c:pt idx="4715">
                  <c:v>6.1184682849374141</c:v>
                </c:pt>
                <c:pt idx="4716">
                  <c:v>4.996375700659387</c:v>
                </c:pt>
                <c:pt idx="4717">
                  <c:v>6.047906694808999</c:v>
                </c:pt>
                <c:pt idx="4718">
                  <c:v>6.9925683284645173</c:v>
                </c:pt>
                <c:pt idx="4719">
                  <c:v>5.0969773405965908</c:v>
                </c:pt>
                <c:pt idx="4720">
                  <c:v>6.0064270067018013</c:v>
                </c:pt>
                <c:pt idx="4721">
                  <c:v>2.0475776868443525</c:v>
                </c:pt>
                <c:pt idx="4722">
                  <c:v>4.8396510018065015</c:v>
                </c:pt>
                <c:pt idx="4723">
                  <c:v>4.8740592625883759</c:v>
                </c:pt>
                <c:pt idx="4724">
                  <c:v>5.0290092329852891</c:v>
                </c:pt>
                <c:pt idx="4725">
                  <c:v>5.1615250367175438</c:v>
                </c:pt>
                <c:pt idx="4726">
                  <c:v>5.9916626300226712</c:v>
                </c:pt>
                <c:pt idx="4727">
                  <c:v>4.9707454800195245</c:v>
                </c:pt>
                <c:pt idx="4728">
                  <c:v>6.0089695576348632</c:v>
                </c:pt>
                <c:pt idx="4729">
                  <c:v>4.9806054014602816</c:v>
                </c:pt>
                <c:pt idx="4730">
                  <c:v>4.9558184884529171</c:v>
                </c:pt>
                <c:pt idx="4731">
                  <c:v>5.9056571577269832</c:v>
                </c:pt>
                <c:pt idx="4732">
                  <c:v>6.0108119337735513</c:v>
                </c:pt>
                <c:pt idx="4733">
                  <c:v>5.0155706370113124</c:v>
                </c:pt>
                <c:pt idx="4734">
                  <c:v>4.9947503314879924</c:v>
                </c:pt>
                <c:pt idx="4735">
                  <c:v>5.1289621075152247</c:v>
                </c:pt>
                <c:pt idx="4736">
                  <c:v>4.9533964504686265</c:v>
                </c:pt>
                <c:pt idx="4737">
                  <c:v>6.0462178867833645</c:v>
                </c:pt>
                <c:pt idx="4738">
                  <c:v>5.051507524139792</c:v>
                </c:pt>
                <c:pt idx="4739">
                  <c:v>5.8642773976933738</c:v>
                </c:pt>
                <c:pt idx="4740">
                  <c:v>4.9330773042958347</c:v>
                </c:pt>
                <c:pt idx="4741">
                  <c:v>5.0244158398450525</c:v>
                </c:pt>
                <c:pt idx="4742">
                  <c:v>5.0984287129727477</c:v>
                </c:pt>
                <c:pt idx="4743">
                  <c:v>5.8384210205342315</c:v>
                </c:pt>
                <c:pt idx="4744">
                  <c:v>5.8615906020423481</c:v>
                </c:pt>
                <c:pt idx="4745">
                  <c:v>6.0374410001208663</c:v>
                </c:pt>
                <c:pt idx="4746">
                  <c:v>7.1364037111289838</c:v>
                </c:pt>
                <c:pt idx="4747">
                  <c:v>5.9919810913090412</c:v>
                </c:pt>
                <c:pt idx="4748">
                  <c:v>4.9347636033798778</c:v>
                </c:pt>
                <c:pt idx="4749">
                  <c:v>5.0830996821375392</c:v>
                </c:pt>
                <c:pt idx="4750">
                  <c:v>5.900668594061802</c:v>
                </c:pt>
                <c:pt idx="4751">
                  <c:v>4.8629749816425933</c:v>
                </c:pt>
                <c:pt idx="4752">
                  <c:v>5.9073664105909733</c:v>
                </c:pt>
                <c:pt idx="4753">
                  <c:v>5.8537629302954262</c:v>
                </c:pt>
                <c:pt idx="4754">
                  <c:v>6.8574031011177574</c:v>
                </c:pt>
                <c:pt idx="4755">
                  <c:v>7.092771796918993</c:v>
                </c:pt>
                <c:pt idx="4756">
                  <c:v>6.0495965985140305</c:v>
                </c:pt>
                <c:pt idx="4757">
                  <c:v>4.9008683416815835</c:v>
                </c:pt>
                <c:pt idx="4758">
                  <c:v>4.9598487157606517</c:v>
                </c:pt>
                <c:pt idx="4759">
                  <c:v>3.7861809160641506</c:v>
                </c:pt>
                <c:pt idx="4760">
                  <c:v>6.0256618829814386</c:v>
                </c:pt>
                <c:pt idx="4761">
                  <c:v>5.0644875653213122</c:v>
                </c:pt>
                <c:pt idx="4762">
                  <c:v>6.012229577066754</c:v>
                </c:pt>
                <c:pt idx="4763">
                  <c:v>5.1328074250676421</c:v>
                </c:pt>
                <c:pt idx="4764">
                  <c:v>5.993710458233509</c:v>
                </c:pt>
                <c:pt idx="4765">
                  <c:v>4.8514313468405215</c:v>
                </c:pt>
                <c:pt idx="4766">
                  <c:v>5.0795531544485959</c:v>
                </c:pt>
                <c:pt idx="4767">
                  <c:v>5.0341446680279569</c:v>
                </c:pt>
                <c:pt idx="4768">
                  <c:v>6.0112551174021185</c:v>
                </c:pt>
                <c:pt idx="4769">
                  <c:v>4.0383262059962313</c:v>
                </c:pt>
                <c:pt idx="4770">
                  <c:v>5.0837051383424718</c:v>
                </c:pt>
                <c:pt idx="4771">
                  <c:v>5.0504669423152366</c:v>
                </c:pt>
                <c:pt idx="4772">
                  <c:v>6.0203919433822568</c:v>
                </c:pt>
                <c:pt idx="4773">
                  <c:v>4.8696205840388744</c:v>
                </c:pt>
                <c:pt idx="4774">
                  <c:v>5.0992339149013963</c:v>
                </c:pt>
                <c:pt idx="4775">
                  <c:v>4.9934673103307698</c:v>
                </c:pt>
                <c:pt idx="4776">
                  <c:v>6.1584809304570447</c:v>
                </c:pt>
                <c:pt idx="4777">
                  <c:v>4.0894269516043371</c:v>
                </c:pt>
                <c:pt idx="4778">
                  <c:v>5.7542040723655017</c:v>
                </c:pt>
                <c:pt idx="4779">
                  <c:v>5.0635067294713476</c:v>
                </c:pt>
                <c:pt idx="4780">
                  <c:v>6.1019530721723942</c:v>
                </c:pt>
                <c:pt idx="4781">
                  <c:v>5.0747307473693652</c:v>
                </c:pt>
                <c:pt idx="4782">
                  <c:v>6.1325091321199245</c:v>
                </c:pt>
                <c:pt idx="4783">
                  <c:v>5.035227318218074</c:v>
                </c:pt>
                <c:pt idx="4784">
                  <c:v>5.0357162727225724</c:v>
                </c:pt>
                <c:pt idx="4785">
                  <c:v>5.926202696498617</c:v>
                </c:pt>
                <c:pt idx="4786">
                  <c:v>5.0888707649002889</c:v>
                </c:pt>
                <c:pt idx="4787">
                  <c:v>6.1236918325638259</c:v>
                </c:pt>
                <c:pt idx="4788">
                  <c:v>4.9585743626078012</c:v>
                </c:pt>
                <c:pt idx="4789">
                  <c:v>5.8291905169799154</c:v>
                </c:pt>
                <c:pt idx="4790">
                  <c:v>5.0253042219640411</c:v>
                </c:pt>
                <c:pt idx="4791">
                  <c:v>5.9918087903918824</c:v>
                </c:pt>
                <c:pt idx="4792">
                  <c:v>6.1004807913363912</c:v>
                </c:pt>
                <c:pt idx="4793">
                  <c:v>4.8820337496144397</c:v>
                </c:pt>
                <c:pt idx="4794">
                  <c:v>5.0004818939615987</c:v>
                </c:pt>
                <c:pt idx="4795">
                  <c:v>6.0279798075412323</c:v>
                </c:pt>
                <c:pt idx="4796">
                  <c:v>4.1109272980030758</c:v>
                </c:pt>
                <c:pt idx="4797">
                  <c:v>5.1376517558276262</c:v>
                </c:pt>
                <c:pt idx="4798">
                  <c:v>4.9656861325245503</c:v>
                </c:pt>
                <c:pt idx="4799">
                  <c:v>6.0912765934629176</c:v>
                </c:pt>
                <c:pt idx="4800">
                  <c:v>5.1642615972629144</c:v>
                </c:pt>
                <c:pt idx="4801">
                  <c:v>5.010605236929436</c:v>
                </c:pt>
                <c:pt idx="4802">
                  <c:v>6.8849882585484439</c:v>
                </c:pt>
                <c:pt idx="4803">
                  <c:v>5.0683277954346613</c:v>
                </c:pt>
                <c:pt idx="4804">
                  <c:v>7.0807544300094687</c:v>
                </c:pt>
                <c:pt idx="4805">
                  <c:v>4.9473988727117941</c:v>
                </c:pt>
                <c:pt idx="4806">
                  <c:v>5.8126281835279121</c:v>
                </c:pt>
                <c:pt idx="4807">
                  <c:v>6.0593120034743482</c:v>
                </c:pt>
                <c:pt idx="4808">
                  <c:v>6.0922978649314823</c:v>
                </c:pt>
                <c:pt idx="4809">
                  <c:v>5.9932182020721418</c:v>
                </c:pt>
                <c:pt idx="4810">
                  <c:v>5.8961017114685932</c:v>
                </c:pt>
                <c:pt idx="4811">
                  <c:v>6.0036234149991907</c:v>
                </c:pt>
                <c:pt idx="4812">
                  <c:v>4.8918649980115623</c:v>
                </c:pt>
                <c:pt idx="4813">
                  <c:v>6.1050978726517178</c:v>
                </c:pt>
                <c:pt idx="4814">
                  <c:v>5.8632239855899755</c:v>
                </c:pt>
                <c:pt idx="4815">
                  <c:v>5.9033319678345801</c:v>
                </c:pt>
                <c:pt idx="4816">
                  <c:v>5.9601331027517102</c:v>
                </c:pt>
                <c:pt idx="4817">
                  <c:v>4.9117036655531594</c:v>
                </c:pt>
                <c:pt idx="4818">
                  <c:v>4.9690165154601837</c:v>
                </c:pt>
                <c:pt idx="4819">
                  <c:v>5.0769355722684493</c:v>
                </c:pt>
                <c:pt idx="4820">
                  <c:v>7.0485868540482262</c:v>
                </c:pt>
                <c:pt idx="4821">
                  <c:v>7.0012667835904123</c:v>
                </c:pt>
                <c:pt idx="4822">
                  <c:v>5.1107516391469821</c:v>
                </c:pt>
                <c:pt idx="4823">
                  <c:v>5.04740438577414</c:v>
                </c:pt>
                <c:pt idx="4824">
                  <c:v>5.9310505286108244</c:v>
                </c:pt>
                <c:pt idx="4825">
                  <c:v>4.8688383240798636</c:v>
                </c:pt>
                <c:pt idx="4826">
                  <c:v>5.0054591697999644</c:v>
                </c:pt>
                <c:pt idx="4827">
                  <c:v>6.28325372009588</c:v>
                </c:pt>
                <c:pt idx="4828">
                  <c:v>6.0168807864841733</c:v>
                </c:pt>
                <c:pt idx="4829">
                  <c:v>4.9150170005060989</c:v>
                </c:pt>
                <c:pt idx="4830">
                  <c:v>6.0513444254888089</c:v>
                </c:pt>
                <c:pt idx="4831">
                  <c:v>4.9108347975771114</c:v>
                </c:pt>
                <c:pt idx="4832">
                  <c:v>5.9023781379923292</c:v>
                </c:pt>
                <c:pt idx="4833">
                  <c:v>5.0682401169138283</c:v>
                </c:pt>
                <c:pt idx="4834">
                  <c:v>5.9431380264515896</c:v>
                </c:pt>
                <c:pt idx="4835">
                  <c:v>5.9541327708482887</c:v>
                </c:pt>
                <c:pt idx="4836">
                  <c:v>4.0403295810831494</c:v>
                </c:pt>
                <c:pt idx="4837">
                  <c:v>5.0940779609305471</c:v>
                </c:pt>
                <c:pt idx="4838">
                  <c:v>4.9810082621649689</c:v>
                </c:pt>
                <c:pt idx="4839">
                  <c:v>4.9403917588098594</c:v>
                </c:pt>
                <c:pt idx="4840">
                  <c:v>5.9254167714328823</c:v>
                </c:pt>
                <c:pt idx="4841">
                  <c:v>5.0221656742596705</c:v>
                </c:pt>
                <c:pt idx="4842">
                  <c:v>5.9471181657269643</c:v>
                </c:pt>
                <c:pt idx="4843">
                  <c:v>5.2367064022204994</c:v>
                </c:pt>
                <c:pt idx="4844">
                  <c:v>5.9044433608778757</c:v>
                </c:pt>
                <c:pt idx="4845">
                  <c:v>5.0080030047203987</c:v>
                </c:pt>
                <c:pt idx="4846">
                  <c:v>7.0050933976671201</c:v>
                </c:pt>
                <c:pt idx="4847">
                  <c:v>3.8090424766872872</c:v>
                </c:pt>
                <c:pt idx="4848">
                  <c:v>3.8925906431000445</c:v>
                </c:pt>
                <c:pt idx="4849">
                  <c:v>3.9132672098840127</c:v>
                </c:pt>
                <c:pt idx="4850">
                  <c:v>3.9600078963142744</c:v>
                </c:pt>
                <c:pt idx="4851">
                  <c:v>3.9395082333853799</c:v>
                </c:pt>
                <c:pt idx="4852">
                  <c:v>4.1855695969566034</c:v>
                </c:pt>
                <c:pt idx="4853">
                  <c:v>4.0238897920135184</c:v>
                </c:pt>
                <c:pt idx="4854">
                  <c:v>4.1544836135091243</c:v>
                </c:pt>
                <c:pt idx="4855">
                  <c:v>4.0947245036027704</c:v>
                </c:pt>
                <c:pt idx="4856">
                  <c:v>3.8550364527655527</c:v>
                </c:pt>
                <c:pt idx="4857">
                  <c:v>5.8396633617012217</c:v>
                </c:pt>
                <c:pt idx="4858">
                  <c:v>4.9327396343613303</c:v>
                </c:pt>
                <c:pt idx="4859">
                  <c:v>5.008399117092484</c:v>
                </c:pt>
                <c:pt idx="4860">
                  <c:v>4.9081039637646811</c:v>
                </c:pt>
                <c:pt idx="4861">
                  <c:v>4.8234567092316736</c:v>
                </c:pt>
                <c:pt idx="4862">
                  <c:v>5.8497366048149955</c:v>
                </c:pt>
                <c:pt idx="4863">
                  <c:v>6.001339654508044</c:v>
                </c:pt>
                <c:pt idx="4864">
                  <c:v>5.0370171831695485</c:v>
                </c:pt>
                <c:pt idx="4865">
                  <c:v>4.9002890040985765</c:v>
                </c:pt>
                <c:pt idx="4866">
                  <c:v>4.9105248389943981</c:v>
                </c:pt>
                <c:pt idx="4867">
                  <c:v>5.8857774089816584</c:v>
                </c:pt>
                <c:pt idx="4868">
                  <c:v>7.0460948818630555</c:v>
                </c:pt>
                <c:pt idx="4869">
                  <c:v>4.9098175988800072</c:v>
                </c:pt>
                <c:pt idx="4870">
                  <c:v>4.9491891116039817</c:v>
                </c:pt>
                <c:pt idx="4871">
                  <c:v>5.99276709975803</c:v>
                </c:pt>
                <c:pt idx="4872">
                  <c:v>5.9384142823992025</c:v>
                </c:pt>
                <c:pt idx="4873">
                  <c:v>5.8542995259491697</c:v>
                </c:pt>
                <c:pt idx="4874">
                  <c:v>4.9104007136908274</c:v>
                </c:pt>
                <c:pt idx="4875">
                  <c:v>5.06725413078461</c:v>
                </c:pt>
                <c:pt idx="4876">
                  <c:v>6.1615771142154117</c:v>
                </c:pt>
                <c:pt idx="4877">
                  <c:v>4.9581963758894876</c:v>
                </c:pt>
                <c:pt idx="4878">
                  <c:v>4.8051001117007077</c:v>
                </c:pt>
                <c:pt idx="4879">
                  <c:v>4.6814781603275675</c:v>
                </c:pt>
                <c:pt idx="4880">
                  <c:v>3.9400223252959083</c:v>
                </c:pt>
                <c:pt idx="4881">
                  <c:v>6.0112289369128522</c:v>
                </c:pt>
                <c:pt idx="4882">
                  <c:v>4.9418282779829061</c:v>
                </c:pt>
                <c:pt idx="4883">
                  <c:v>5.924999531479556</c:v>
                </c:pt>
                <c:pt idx="4884">
                  <c:v>4.9562258806367465</c:v>
                </c:pt>
                <c:pt idx="4885">
                  <c:v>4.9297455245148534</c:v>
                </c:pt>
                <c:pt idx="4886">
                  <c:v>4.981233315175138</c:v>
                </c:pt>
                <c:pt idx="4887">
                  <c:v>3.9940940159272791</c:v>
                </c:pt>
                <c:pt idx="4888">
                  <c:v>5.8854029799368046</c:v>
                </c:pt>
                <c:pt idx="4889">
                  <c:v>6.0257172076340151</c:v>
                </c:pt>
                <c:pt idx="4890">
                  <c:v>4.8575668806564662</c:v>
                </c:pt>
                <c:pt idx="4891">
                  <c:v>4.9323326226265118</c:v>
                </c:pt>
                <c:pt idx="4892">
                  <c:v>4.9986312443085268</c:v>
                </c:pt>
                <c:pt idx="4893">
                  <c:v>5.2053249422406473</c:v>
                </c:pt>
                <c:pt idx="4894">
                  <c:v>5.9029036172151956</c:v>
                </c:pt>
                <c:pt idx="4895">
                  <c:v>4.8566413436828437</c:v>
                </c:pt>
                <c:pt idx="4896">
                  <c:v>5.098620213188287</c:v>
                </c:pt>
                <c:pt idx="4897">
                  <c:v>5.0206033545961581</c:v>
                </c:pt>
                <c:pt idx="4898">
                  <c:v>5.1117301155809809</c:v>
                </c:pt>
                <c:pt idx="4899">
                  <c:v>4.8761867520321962</c:v>
                </c:pt>
                <c:pt idx="4900">
                  <c:v>4.8940190605800371</c:v>
                </c:pt>
                <c:pt idx="4901">
                  <c:v>4.9517803624183268</c:v>
                </c:pt>
                <c:pt idx="4902">
                  <c:v>4.9971737917251691</c:v>
                </c:pt>
                <c:pt idx="4903">
                  <c:v>5.775671886986018</c:v>
                </c:pt>
                <c:pt idx="4904">
                  <c:v>5.0274182625618362</c:v>
                </c:pt>
                <c:pt idx="4905">
                  <c:v>5.2409062729559199</c:v>
                </c:pt>
                <c:pt idx="4906">
                  <c:v>7.1203772052773342</c:v>
                </c:pt>
                <c:pt idx="4907">
                  <c:v>7.1618207681544508</c:v>
                </c:pt>
                <c:pt idx="4908">
                  <c:v>5.0890874236356272</c:v>
                </c:pt>
                <c:pt idx="4909">
                  <c:v>5.1359917239546524</c:v>
                </c:pt>
                <c:pt idx="4910">
                  <c:v>6.8776437409297735</c:v>
                </c:pt>
                <c:pt idx="4911">
                  <c:v>5.0026620012758727</c:v>
                </c:pt>
                <c:pt idx="4912">
                  <c:v>6.8501098035981594</c:v>
                </c:pt>
                <c:pt idx="4913">
                  <c:v>6.9825881821777473</c:v>
                </c:pt>
                <c:pt idx="4914">
                  <c:v>4.9961147468467537</c:v>
                </c:pt>
                <c:pt idx="4915">
                  <c:v>5.1360971367484574</c:v>
                </c:pt>
                <c:pt idx="4916">
                  <c:v>7.0021881082186015</c:v>
                </c:pt>
                <c:pt idx="4917">
                  <c:v>7.1239904485459675</c:v>
                </c:pt>
                <c:pt idx="4918">
                  <c:v>5.1867291500258679</c:v>
                </c:pt>
                <c:pt idx="4919">
                  <c:v>7.0846459922260054</c:v>
                </c:pt>
                <c:pt idx="4920">
                  <c:v>6.9733899891254154</c:v>
                </c:pt>
                <c:pt idx="4921">
                  <c:v>7.1069277447918626</c:v>
                </c:pt>
                <c:pt idx="4922">
                  <c:v>4.9544045749616616</c:v>
                </c:pt>
                <c:pt idx="4923">
                  <c:v>6.9746170066564863</c:v>
                </c:pt>
                <c:pt idx="4924">
                  <c:v>4.8744403001346903</c:v>
                </c:pt>
                <c:pt idx="4925">
                  <c:v>7.1923735127019714</c:v>
                </c:pt>
                <c:pt idx="4926">
                  <c:v>4.9132486306401804</c:v>
                </c:pt>
                <c:pt idx="4927">
                  <c:v>5.0129196248476644</c:v>
                </c:pt>
                <c:pt idx="4928">
                  <c:v>5.0578194985364373</c:v>
                </c:pt>
                <c:pt idx="4929">
                  <c:v>7.0167338201798861</c:v>
                </c:pt>
                <c:pt idx="4930">
                  <c:v>6.1051710799684571</c:v>
                </c:pt>
                <c:pt idx="4931">
                  <c:v>5.0726431475399014</c:v>
                </c:pt>
                <c:pt idx="4932">
                  <c:v>6.1070785054559344</c:v>
                </c:pt>
                <c:pt idx="4933">
                  <c:v>6.1342247574966304</c:v>
                </c:pt>
                <c:pt idx="4934">
                  <c:v>6.0304875600014904</c:v>
                </c:pt>
                <c:pt idx="4935">
                  <c:v>5.9714237269532022</c:v>
                </c:pt>
                <c:pt idx="4936">
                  <c:v>5.9911766111256819</c:v>
                </c:pt>
                <c:pt idx="4937">
                  <c:v>6.068484098436806</c:v>
                </c:pt>
                <c:pt idx="4938">
                  <c:v>6.0440052511656139</c:v>
                </c:pt>
                <c:pt idx="4939">
                  <c:v>6.2484127562169967</c:v>
                </c:pt>
                <c:pt idx="4940">
                  <c:v>2.9956115445707994</c:v>
                </c:pt>
                <c:pt idx="4941">
                  <c:v>5.0490530030599023</c:v>
                </c:pt>
                <c:pt idx="4942">
                  <c:v>5.9214368591059605</c:v>
                </c:pt>
                <c:pt idx="4943">
                  <c:v>4.9829211504808564</c:v>
                </c:pt>
                <c:pt idx="4944">
                  <c:v>4.9733764254809643</c:v>
                </c:pt>
                <c:pt idx="4945">
                  <c:v>4.897401769793178</c:v>
                </c:pt>
                <c:pt idx="4946">
                  <c:v>6.0109331246191937</c:v>
                </c:pt>
                <c:pt idx="4947">
                  <c:v>4.9374987409347053</c:v>
                </c:pt>
                <c:pt idx="4948">
                  <c:v>4.8897929063285526</c:v>
                </c:pt>
                <c:pt idx="4949">
                  <c:v>5.9200144867667825</c:v>
                </c:pt>
                <c:pt idx="4950">
                  <c:v>4.9709230853889483</c:v>
                </c:pt>
                <c:pt idx="4951">
                  <c:v>6.0395322145610564</c:v>
                </c:pt>
                <c:pt idx="4952">
                  <c:v>5.947014749341915</c:v>
                </c:pt>
                <c:pt idx="4953">
                  <c:v>6.2108330150961528</c:v>
                </c:pt>
                <c:pt idx="4954">
                  <c:v>3.9363179513313145</c:v>
                </c:pt>
                <c:pt idx="4955">
                  <c:v>6.1521669055326944</c:v>
                </c:pt>
                <c:pt idx="4956">
                  <c:v>4.0556803931193848</c:v>
                </c:pt>
                <c:pt idx="4957">
                  <c:v>6.0331573368889009</c:v>
                </c:pt>
                <c:pt idx="4958">
                  <c:v>6.1096134591035147</c:v>
                </c:pt>
                <c:pt idx="4959">
                  <c:v>6.0520049687075375</c:v>
                </c:pt>
                <c:pt idx="4960">
                  <c:v>5.0602625019116303</c:v>
                </c:pt>
                <c:pt idx="4961">
                  <c:v>5.0449449309169978</c:v>
                </c:pt>
                <c:pt idx="4962">
                  <c:v>6.0783886969793626</c:v>
                </c:pt>
                <c:pt idx="4963">
                  <c:v>5.9480200200516222</c:v>
                </c:pt>
                <c:pt idx="4964">
                  <c:v>5.104176145375356</c:v>
                </c:pt>
                <c:pt idx="4965">
                  <c:v>4.9687570607046334</c:v>
                </c:pt>
                <c:pt idx="4966">
                  <c:v>5.1078203707442249</c:v>
                </c:pt>
                <c:pt idx="4967">
                  <c:v>6.1332995631905005</c:v>
                </c:pt>
                <c:pt idx="4968">
                  <c:v>5.0147712039340924</c:v>
                </c:pt>
                <c:pt idx="4969">
                  <c:v>7.1084734979424882</c:v>
                </c:pt>
                <c:pt idx="4970">
                  <c:v>5.9298224194350402</c:v>
                </c:pt>
                <c:pt idx="4971">
                  <c:v>6.04119553849746</c:v>
                </c:pt>
                <c:pt idx="4972">
                  <c:v>6.2047947795964413</c:v>
                </c:pt>
                <c:pt idx="4973">
                  <c:v>6.0668458325827146</c:v>
                </c:pt>
                <c:pt idx="4974">
                  <c:v>5.0480089822551957</c:v>
                </c:pt>
                <c:pt idx="4975">
                  <c:v>5.0069799528089742</c:v>
                </c:pt>
                <c:pt idx="4976">
                  <c:v>5.9178193222249105</c:v>
                </c:pt>
                <c:pt idx="4977">
                  <c:v>6.0687380368629302</c:v>
                </c:pt>
                <c:pt idx="4978">
                  <c:v>5.0196346800800331</c:v>
                </c:pt>
                <c:pt idx="4979">
                  <c:v>5.949392015025972</c:v>
                </c:pt>
                <c:pt idx="4980">
                  <c:v>6.0742287024083543</c:v>
                </c:pt>
                <c:pt idx="4981">
                  <c:v>6.0198111933180751</c:v>
                </c:pt>
                <c:pt idx="4982">
                  <c:v>4.9385315337034283</c:v>
                </c:pt>
                <c:pt idx="4983">
                  <c:v>6.0012190571661943</c:v>
                </c:pt>
                <c:pt idx="4984">
                  <c:v>5.0660141249195405</c:v>
                </c:pt>
                <c:pt idx="4985">
                  <c:v>6.0466642786930045</c:v>
                </c:pt>
                <c:pt idx="4986">
                  <c:v>5.8081879601445081</c:v>
                </c:pt>
                <c:pt idx="4987">
                  <c:v>5.7938534454397947</c:v>
                </c:pt>
                <c:pt idx="4988">
                  <c:v>6.1028960911498595</c:v>
                </c:pt>
                <c:pt idx="4989">
                  <c:v>5.993373595116636</c:v>
                </c:pt>
                <c:pt idx="4990">
                  <c:v>5.0818514243959072</c:v>
                </c:pt>
                <c:pt idx="4991">
                  <c:v>4.9407883843325529</c:v>
                </c:pt>
                <c:pt idx="4992">
                  <c:v>5.0404661019290504</c:v>
                </c:pt>
                <c:pt idx="4993">
                  <c:v>5.1084198280314439</c:v>
                </c:pt>
                <c:pt idx="4994">
                  <c:v>7.089676982685571</c:v>
                </c:pt>
                <c:pt idx="4995">
                  <c:v>6.1157804501538422</c:v>
                </c:pt>
                <c:pt idx="4996">
                  <c:v>4.9729840491265342</c:v>
                </c:pt>
                <c:pt idx="4997">
                  <c:v>5.134856975456116</c:v>
                </c:pt>
                <c:pt idx="4998">
                  <c:v>6.0119280802206045</c:v>
                </c:pt>
                <c:pt idx="4999">
                  <c:v>5.9910910414379366</c:v>
                </c:pt>
                <c:pt idx="5000">
                  <c:v>4.9545596400861305</c:v>
                </c:pt>
                <c:pt idx="5001">
                  <c:v>5.8651430845996551</c:v>
                </c:pt>
                <c:pt idx="5002">
                  <c:v>5.011249876337768</c:v>
                </c:pt>
                <c:pt idx="5003">
                  <c:v>6.0293446243366597</c:v>
                </c:pt>
                <c:pt idx="5004">
                  <c:v>5.9457184313325433</c:v>
                </c:pt>
                <c:pt idx="5005">
                  <c:v>5.0539993686834679</c:v>
                </c:pt>
                <c:pt idx="5006">
                  <c:v>4.9148020141253923</c:v>
                </c:pt>
                <c:pt idx="5007">
                  <c:v>6.9609395163065866</c:v>
                </c:pt>
                <c:pt idx="5008">
                  <c:v>6.0683318365021313</c:v>
                </c:pt>
                <c:pt idx="5009">
                  <c:v>5.0328386876135385</c:v>
                </c:pt>
                <c:pt idx="5010">
                  <c:v>6.0406635022997515</c:v>
                </c:pt>
                <c:pt idx="5011">
                  <c:v>6.0686979083783612</c:v>
                </c:pt>
                <c:pt idx="5012">
                  <c:v>6.0978993511118276</c:v>
                </c:pt>
                <c:pt idx="5013">
                  <c:v>3.8581762440208278</c:v>
                </c:pt>
                <c:pt idx="5014">
                  <c:v>5.9120115930726493</c:v>
                </c:pt>
                <c:pt idx="5015">
                  <c:v>5.9308429031283074</c:v>
                </c:pt>
                <c:pt idx="5016">
                  <c:v>5.0792510042345649</c:v>
                </c:pt>
                <c:pt idx="5017">
                  <c:v>6.0269228920082432</c:v>
                </c:pt>
                <c:pt idx="5018">
                  <c:v>5.0303823191177708</c:v>
                </c:pt>
                <c:pt idx="5019">
                  <c:v>4.9524370794350334</c:v>
                </c:pt>
                <c:pt idx="5020">
                  <c:v>6.071143199162246</c:v>
                </c:pt>
                <c:pt idx="5021">
                  <c:v>5.0468022959247358</c:v>
                </c:pt>
                <c:pt idx="5022">
                  <c:v>6.1811779681666223</c:v>
                </c:pt>
                <c:pt idx="5023">
                  <c:v>5.8653496159212102</c:v>
                </c:pt>
                <c:pt idx="5024">
                  <c:v>6.1298602470861905</c:v>
                </c:pt>
                <c:pt idx="5025">
                  <c:v>5.9850013650620912</c:v>
                </c:pt>
                <c:pt idx="5026">
                  <c:v>4.8465764400374791</c:v>
                </c:pt>
                <c:pt idx="5027">
                  <c:v>5.9946633144354973</c:v>
                </c:pt>
                <c:pt idx="5028">
                  <c:v>6.0960435182371846</c:v>
                </c:pt>
                <c:pt idx="5029">
                  <c:v>5.9648964344176099</c:v>
                </c:pt>
                <c:pt idx="5030">
                  <c:v>6.1116378857966982</c:v>
                </c:pt>
                <c:pt idx="5031">
                  <c:v>5.7070466395653714</c:v>
                </c:pt>
                <c:pt idx="5032">
                  <c:v>5.0199486436171279</c:v>
                </c:pt>
                <c:pt idx="5033">
                  <c:v>6.0786226353268278</c:v>
                </c:pt>
                <c:pt idx="5034">
                  <c:v>4.009445693148578</c:v>
                </c:pt>
                <c:pt idx="5035">
                  <c:v>5.9587795546441003</c:v>
                </c:pt>
                <c:pt idx="5036">
                  <c:v>5.9926271602356573</c:v>
                </c:pt>
                <c:pt idx="5037">
                  <c:v>6.0055593097644051</c:v>
                </c:pt>
                <c:pt idx="5038">
                  <c:v>6.2457191284954838</c:v>
                </c:pt>
                <c:pt idx="5039">
                  <c:v>5.922775525645136</c:v>
                </c:pt>
                <c:pt idx="5040">
                  <c:v>6.029530543759428</c:v>
                </c:pt>
                <c:pt idx="5041">
                  <c:v>5.0353378471504575</c:v>
                </c:pt>
                <c:pt idx="5042">
                  <c:v>5.9767835657256203</c:v>
                </c:pt>
                <c:pt idx="5043">
                  <c:v>5.9687695921866153</c:v>
                </c:pt>
                <c:pt idx="5044">
                  <c:v>5.9586945790745149</c:v>
                </c:pt>
                <c:pt idx="5045">
                  <c:v>5.0254555914876082</c:v>
                </c:pt>
                <c:pt idx="5046">
                  <c:v>5.7995000735265085</c:v>
                </c:pt>
                <c:pt idx="5047">
                  <c:v>5.9671937138107385</c:v>
                </c:pt>
                <c:pt idx="5048">
                  <c:v>5.9448547825255025</c:v>
                </c:pt>
                <c:pt idx="5049">
                  <c:v>4.9743068558988623</c:v>
                </c:pt>
                <c:pt idx="5050">
                  <c:v>6.066651614989345</c:v>
                </c:pt>
                <c:pt idx="5051">
                  <c:v>6.2610251606965415</c:v>
                </c:pt>
                <c:pt idx="5052">
                  <c:v>5.9403433391045457</c:v>
                </c:pt>
                <c:pt idx="5053">
                  <c:v>5.9155208078203811</c:v>
                </c:pt>
                <c:pt idx="5054">
                  <c:v>5.0462245729909201</c:v>
                </c:pt>
                <c:pt idx="5055">
                  <c:v>6.0123482450790959</c:v>
                </c:pt>
                <c:pt idx="5056">
                  <c:v>6.1946960969361182</c:v>
                </c:pt>
                <c:pt idx="5057">
                  <c:v>5.9730915289890234</c:v>
                </c:pt>
                <c:pt idx="5058">
                  <c:v>5.1150625101268945</c:v>
                </c:pt>
                <c:pt idx="5059">
                  <c:v>7.1754260668771961</c:v>
                </c:pt>
                <c:pt idx="5060">
                  <c:v>6.1068579299054218</c:v>
                </c:pt>
                <c:pt idx="5061">
                  <c:v>6.0216116697679158</c:v>
                </c:pt>
                <c:pt idx="5062">
                  <c:v>4.9005411630220541</c:v>
                </c:pt>
                <c:pt idx="5063">
                  <c:v>6.0334805543666032</c:v>
                </c:pt>
                <c:pt idx="5064">
                  <c:v>5.0938395637805867</c:v>
                </c:pt>
                <c:pt idx="5065">
                  <c:v>6.1112638698907045</c:v>
                </c:pt>
                <c:pt idx="5066">
                  <c:v>4.9996037305463528</c:v>
                </c:pt>
                <c:pt idx="5067">
                  <c:v>6.0088612974706264</c:v>
                </c:pt>
                <c:pt idx="5068">
                  <c:v>4.9947612645633352</c:v>
                </c:pt>
                <c:pt idx="5069">
                  <c:v>5.0334258579452653</c:v>
                </c:pt>
                <c:pt idx="5070">
                  <c:v>5.0317866196551462</c:v>
                </c:pt>
                <c:pt idx="5071">
                  <c:v>6.0341280056389053</c:v>
                </c:pt>
                <c:pt idx="5072">
                  <c:v>5.782085709291902</c:v>
                </c:pt>
                <c:pt idx="5073">
                  <c:v>6.0380662051118517</c:v>
                </c:pt>
                <c:pt idx="5074">
                  <c:v>5.9017333770187363</c:v>
                </c:pt>
                <c:pt idx="5075">
                  <c:v>4.7898342506174068</c:v>
                </c:pt>
                <c:pt idx="5076">
                  <c:v>4.9269076348188428</c:v>
                </c:pt>
                <c:pt idx="5077">
                  <c:v>6.9914972096573651</c:v>
                </c:pt>
                <c:pt idx="5078">
                  <c:v>5.0703580237584243</c:v>
                </c:pt>
                <c:pt idx="5079">
                  <c:v>5.1292516040849723</c:v>
                </c:pt>
                <c:pt idx="5080">
                  <c:v>4.8931463077257726</c:v>
                </c:pt>
                <c:pt idx="5081">
                  <c:v>5.0818820922180343</c:v>
                </c:pt>
                <c:pt idx="5082">
                  <c:v>6.1042319836226859</c:v>
                </c:pt>
                <c:pt idx="5083">
                  <c:v>6.0199152458218368</c:v>
                </c:pt>
                <c:pt idx="5084">
                  <c:v>4.826656477689192</c:v>
                </c:pt>
                <c:pt idx="5085">
                  <c:v>6.066430630762575</c:v>
                </c:pt>
                <c:pt idx="5086">
                  <c:v>5.0549607683646585</c:v>
                </c:pt>
                <c:pt idx="5087">
                  <c:v>4.9733892749220061</c:v>
                </c:pt>
                <c:pt idx="5088">
                  <c:v>6.1117537063086322</c:v>
                </c:pt>
                <c:pt idx="5089">
                  <c:v>4.9472201249815333</c:v>
                </c:pt>
                <c:pt idx="5090">
                  <c:v>5.0460753986650797</c:v>
                </c:pt>
                <c:pt idx="5091">
                  <c:v>5.0239507649505892</c:v>
                </c:pt>
                <c:pt idx="5092">
                  <c:v>6.0274999741101247</c:v>
                </c:pt>
                <c:pt idx="5093">
                  <c:v>6.1300299513877334</c:v>
                </c:pt>
                <c:pt idx="5094">
                  <c:v>5.0412891553466554</c:v>
                </c:pt>
                <c:pt idx="5095">
                  <c:v>6.0170324833944857</c:v>
                </c:pt>
                <c:pt idx="5096">
                  <c:v>5.9939003122523369</c:v>
                </c:pt>
                <c:pt idx="5097">
                  <c:v>7.0038650806501082</c:v>
                </c:pt>
                <c:pt idx="5098">
                  <c:v>5.8632789037366502</c:v>
                </c:pt>
                <c:pt idx="5099">
                  <c:v>5.9917140309642267</c:v>
                </c:pt>
                <c:pt idx="5100">
                  <c:v>5.0473478290165072</c:v>
                </c:pt>
                <c:pt idx="5101">
                  <c:v>6.0162140464903375</c:v>
                </c:pt>
                <c:pt idx="5102">
                  <c:v>6.0933354576975551</c:v>
                </c:pt>
                <c:pt idx="5103">
                  <c:v>4.9466471957646236</c:v>
                </c:pt>
                <c:pt idx="5104">
                  <c:v>6.0465112260220586</c:v>
                </c:pt>
                <c:pt idx="5105">
                  <c:v>5.9079277538397061</c:v>
                </c:pt>
                <c:pt idx="5106">
                  <c:v>3.9538270615622149</c:v>
                </c:pt>
                <c:pt idx="5107">
                  <c:v>5.9896402068368753</c:v>
                </c:pt>
                <c:pt idx="5108">
                  <c:v>5.9387109424058302</c:v>
                </c:pt>
                <c:pt idx="5109">
                  <c:v>5.85248117319082</c:v>
                </c:pt>
                <c:pt idx="5110">
                  <c:v>6.1527771022023749</c:v>
                </c:pt>
                <c:pt idx="5111">
                  <c:v>4.8801254268958401</c:v>
                </c:pt>
                <c:pt idx="5112">
                  <c:v>5.0200356159610529</c:v>
                </c:pt>
                <c:pt idx="5113">
                  <c:v>5.0581672189762816</c:v>
                </c:pt>
                <c:pt idx="5114">
                  <c:v>4.8687698729552613</c:v>
                </c:pt>
                <c:pt idx="5115">
                  <c:v>5.999787971862216</c:v>
                </c:pt>
                <c:pt idx="5116">
                  <c:v>5.9160466342968299</c:v>
                </c:pt>
                <c:pt idx="5117">
                  <c:v>4.7989531038114208</c:v>
                </c:pt>
                <c:pt idx="5118">
                  <c:v>6.0926435833180976</c:v>
                </c:pt>
                <c:pt idx="5119">
                  <c:v>4.9012023563519449</c:v>
                </c:pt>
                <c:pt idx="5120">
                  <c:v>5.8204219973444404</c:v>
                </c:pt>
                <c:pt idx="5121">
                  <c:v>4.9347872419895626</c:v>
                </c:pt>
                <c:pt idx="5122">
                  <c:v>4.8896076492874823</c:v>
                </c:pt>
                <c:pt idx="5123">
                  <c:v>6.006675992768332</c:v>
                </c:pt>
                <c:pt idx="5124">
                  <c:v>4.9369853246413911</c:v>
                </c:pt>
                <c:pt idx="5125">
                  <c:v>6.1718535451091876</c:v>
                </c:pt>
                <c:pt idx="5126">
                  <c:v>6.0757232062572664</c:v>
                </c:pt>
                <c:pt idx="5127">
                  <c:v>4.9228744779434495</c:v>
                </c:pt>
                <c:pt idx="5128">
                  <c:v>6.0277164892246935</c:v>
                </c:pt>
                <c:pt idx="5129">
                  <c:v>5.664308165974016</c:v>
                </c:pt>
                <c:pt idx="5130">
                  <c:v>5.9989362063205451</c:v>
                </c:pt>
                <c:pt idx="5131">
                  <c:v>5.8866111097588014</c:v>
                </c:pt>
                <c:pt idx="5132">
                  <c:v>5.9239664206985587</c:v>
                </c:pt>
                <c:pt idx="5133">
                  <c:v>5.9857735410680064</c:v>
                </c:pt>
                <c:pt idx="5134">
                  <c:v>6.0766917644952576</c:v>
                </c:pt>
                <c:pt idx="5135">
                  <c:v>6.8779320562401089</c:v>
                </c:pt>
                <c:pt idx="5136">
                  <c:v>6.0176334056244478</c:v>
                </c:pt>
                <c:pt idx="5137">
                  <c:v>4.9496323403470051</c:v>
                </c:pt>
                <c:pt idx="5138">
                  <c:v>5.9917926065346885</c:v>
                </c:pt>
                <c:pt idx="5139">
                  <c:v>5.9808122991383845</c:v>
                </c:pt>
                <c:pt idx="5140">
                  <c:v>6.0618480531901477</c:v>
                </c:pt>
                <c:pt idx="5141">
                  <c:v>6.239614251351731</c:v>
                </c:pt>
                <c:pt idx="5142">
                  <c:v>6.0134738867071631</c:v>
                </c:pt>
                <c:pt idx="5143">
                  <c:v>5.9903057897638288</c:v>
                </c:pt>
                <c:pt idx="5144">
                  <c:v>4.8571185814301909</c:v>
                </c:pt>
                <c:pt idx="5145">
                  <c:v>5.0602466201798659</c:v>
                </c:pt>
                <c:pt idx="5146">
                  <c:v>4.9291872161706554</c:v>
                </c:pt>
                <c:pt idx="5147">
                  <c:v>5.8902391176643283</c:v>
                </c:pt>
                <c:pt idx="5148">
                  <c:v>6.0848336253282636</c:v>
                </c:pt>
                <c:pt idx="5149">
                  <c:v>5.8999962530216656</c:v>
                </c:pt>
                <c:pt idx="5150">
                  <c:v>5.1230218998664547</c:v>
                </c:pt>
                <c:pt idx="5151">
                  <c:v>4.8956096339504844</c:v>
                </c:pt>
                <c:pt idx="5152">
                  <c:v>4.8672026121898524</c:v>
                </c:pt>
                <c:pt idx="5153">
                  <c:v>4.9132623765095742</c:v>
                </c:pt>
                <c:pt idx="5154">
                  <c:v>4.9584299658109225</c:v>
                </c:pt>
                <c:pt idx="5155">
                  <c:v>7.130795089282028</c:v>
                </c:pt>
                <c:pt idx="5156">
                  <c:v>5.8641807635881777</c:v>
                </c:pt>
                <c:pt idx="5157">
                  <c:v>7.1996113907797126</c:v>
                </c:pt>
                <c:pt idx="5158">
                  <c:v>6.0675442958716488</c:v>
                </c:pt>
                <c:pt idx="5159">
                  <c:v>4.8687530976572555</c:v>
                </c:pt>
                <c:pt idx="5160">
                  <c:v>5.0139161644279868</c:v>
                </c:pt>
                <c:pt idx="5161">
                  <c:v>7.1740097067463111</c:v>
                </c:pt>
                <c:pt idx="5162">
                  <c:v>5.8964871062099924</c:v>
                </c:pt>
                <c:pt idx="5163">
                  <c:v>5.9635854364075129</c:v>
                </c:pt>
                <c:pt idx="5164">
                  <c:v>5.9704150224467831</c:v>
                </c:pt>
                <c:pt idx="5165">
                  <c:v>5.1275015061909857</c:v>
                </c:pt>
                <c:pt idx="5166">
                  <c:v>5.9200326283155409</c:v>
                </c:pt>
                <c:pt idx="5167">
                  <c:v>5.0904006174463809</c:v>
                </c:pt>
                <c:pt idx="5168">
                  <c:v>5.0792353909760672</c:v>
                </c:pt>
                <c:pt idx="5169">
                  <c:v>5.9052558722250366</c:v>
                </c:pt>
                <c:pt idx="5170">
                  <c:v>6.0136956363715255</c:v>
                </c:pt>
                <c:pt idx="5171">
                  <c:v>6.0158106209435029</c:v>
                </c:pt>
                <c:pt idx="5172">
                  <c:v>4.973098919683677</c:v>
                </c:pt>
                <c:pt idx="5173">
                  <c:v>5.9114213061052707</c:v>
                </c:pt>
                <c:pt idx="5174">
                  <c:v>5.9440970855963284</c:v>
                </c:pt>
                <c:pt idx="5175">
                  <c:v>6.0349728196214389</c:v>
                </c:pt>
                <c:pt idx="5176">
                  <c:v>4.773845939079493</c:v>
                </c:pt>
                <c:pt idx="5177">
                  <c:v>5.0782429069832755</c:v>
                </c:pt>
                <c:pt idx="5178">
                  <c:v>7.1084116294002051</c:v>
                </c:pt>
                <c:pt idx="5179">
                  <c:v>6.0144316333672192</c:v>
                </c:pt>
                <c:pt idx="5180">
                  <c:v>5.880127585446794</c:v>
                </c:pt>
                <c:pt idx="5181">
                  <c:v>5.9766414053443517</c:v>
                </c:pt>
                <c:pt idx="5182">
                  <c:v>5.1481591340517419</c:v>
                </c:pt>
                <c:pt idx="5183">
                  <c:v>6.0348372674140451</c:v>
                </c:pt>
                <c:pt idx="5184">
                  <c:v>5.0587720693623668</c:v>
                </c:pt>
                <c:pt idx="5185">
                  <c:v>7.0463654103104201</c:v>
                </c:pt>
                <c:pt idx="5186">
                  <c:v>4.9335906739981699</c:v>
                </c:pt>
                <c:pt idx="5187">
                  <c:v>5.0937700239776564</c:v>
                </c:pt>
                <c:pt idx="5188">
                  <c:v>6.138180588132867</c:v>
                </c:pt>
                <c:pt idx="5189">
                  <c:v>6.0536367704915399</c:v>
                </c:pt>
                <c:pt idx="5190">
                  <c:v>5.0743062368042242</c:v>
                </c:pt>
                <c:pt idx="5191">
                  <c:v>5.7854911666910951</c:v>
                </c:pt>
                <c:pt idx="5192">
                  <c:v>5.9702884334705448</c:v>
                </c:pt>
                <c:pt idx="5193">
                  <c:v>6.0777189127895808</c:v>
                </c:pt>
                <c:pt idx="5194">
                  <c:v>4.0030294768847279</c:v>
                </c:pt>
                <c:pt idx="5195">
                  <c:v>5.0405785345729672</c:v>
                </c:pt>
                <c:pt idx="5196">
                  <c:v>4.947903662529904</c:v>
                </c:pt>
                <c:pt idx="5197">
                  <c:v>4.9130170070084178</c:v>
                </c:pt>
                <c:pt idx="5198">
                  <c:v>5.8947950314331514</c:v>
                </c:pt>
                <c:pt idx="5199">
                  <c:v>3.9380231014281724</c:v>
                </c:pt>
                <c:pt idx="5200">
                  <c:v>6.0603231202367596</c:v>
                </c:pt>
                <c:pt idx="5201">
                  <c:v>5.9234444459539679</c:v>
                </c:pt>
                <c:pt idx="5202">
                  <c:v>6.2970891259816328</c:v>
                </c:pt>
                <c:pt idx="5203">
                  <c:v>5.9388066202076661</c:v>
                </c:pt>
                <c:pt idx="5204">
                  <c:v>4.9388787106923457</c:v>
                </c:pt>
                <c:pt idx="5205">
                  <c:v>6.9342120765196924</c:v>
                </c:pt>
                <c:pt idx="5206">
                  <c:v>6.8287678241424734</c:v>
                </c:pt>
                <c:pt idx="5207">
                  <c:v>4.8729735209632938</c:v>
                </c:pt>
                <c:pt idx="5208">
                  <c:v>4.9227006546062491</c:v>
                </c:pt>
                <c:pt idx="5209">
                  <c:v>5.8318952028412152</c:v>
                </c:pt>
                <c:pt idx="5210">
                  <c:v>5.1301549607690227</c:v>
                </c:pt>
                <c:pt idx="5211">
                  <c:v>7.0914720928345423</c:v>
                </c:pt>
                <c:pt idx="5212">
                  <c:v>4.8370558974651274</c:v>
                </c:pt>
                <c:pt idx="5213">
                  <c:v>4.7477949236548538</c:v>
                </c:pt>
                <c:pt idx="5214">
                  <c:v>6.0719312492804542</c:v>
                </c:pt>
                <c:pt idx="5215">
                  <c:v>4.9862639172644787</c:v>
                </c:pt>
                <c:pt idx="5216">
                  <c:v>5.1517605266049387</c:v>
                </c:pt>
                <c:pt idx="5217">
                  <c:v>5.0625443591390047</c:v>
                </c:pt>
                <c:pt idx="5218">
                  <c:v>5.8589751611836238</c:v>
                </c:pt>
                <c:pt idx="5219">
                  <c:v>5.075707500149047</c:v>
                </c:pt>
                <c:pt idx="5220">
                  <c:v>5.9857411362610016</c:v>
                </c:pt>
                <c:pt idx="5221">
                  <c:v>5.0371369504301038</c:v>
                </c:pt>
                <c:pt idx="5222">
                  <c:v>6.2700115484357068</c:v>
                </c:pt>
                <c:pt idx="5223">
                  <c:v>5.9751024982147412</c:v>
                </c:pt>
                <c:pt idx="5224">
                  <c:v>5.9177390668868428</c:v>
                </c:pt>
                <c:pt idx="5225">
                  <c:v>4.9365143073001247</c:v>
                </c:pt>
                <c:pt idx="5226">
                  <c:v>3.8892702827380257</c:v>
                </c:pt>
                <c:pt idx="5227">
                  <c:v>5.0379013641784853</c:v>
                </c:pt>
                <c:pt idx="5228">
                  <c:v>4.8491301567015981</c:v>
                </c:pt>
                <c:pt idx="5229">
                  <c:v>7.0181827642634955</c:v>
                </c:pt>
                <c:pt idx="5230">
                  <c:v>5.8419430468054232</c:v>
                </c:pt>
                <c:pt idx="5231">
                  <c:v>6.0113222294631905</c:v>
                </c:pt>
                <c:pt idx="5232">
                  <c:v>5.9316522946597843</c:v>
                </c:pt>
                <c:pt idx="5233">
                  <c:v>4.9371900304106671</c:v>
                </c:pt>
                <c:pt idx="5234">
                  <c:v>4.9517437181291086</c:v>
                </c:pt>
                <c:pt idx="5235">
                  <c:v>6.8165998253512647</c:v>
                </c:pt>
                <c:pt idx="5236">
                  <c:v>5.8764986807469439</c:v>
                </c:pt>
                <c:pt idx="5237">
                  <c:v>5.0955313116468597</c:v>
                </c:pt>
                <c:pt idx="5238">
                  <c:v>4.0325038335422452</c:v>
                </c:pt>
                <c:pt idx="5239">
                  <c:v>5.9741467885034671</c:v>
                </c:pt>
                <c:pt idx="5240">
                  <c:v>4.820336681760188</c:v>
                </c:pt>
                <c:pt idx="5241">
                  <c:v>4.9692670772465446</c:v>
                </c:pt>
                <c:pt idx="5242">
                  <c:v>6.0828842402079477</c:v>
                </c:pt>
                <c:pt idx="5243">
                  <c:v>5.9431129049066476</c:v>
                </c:pt>
                <c:pt idx="5244">
                  <c:v>4.9478682031875083</c:v>
                </c:pt>
                <c:pt idx="5245">
                  <c:v>5.9875843342228601</c:v>
                </c:pt>
                <c:pt idx="5246">
                  <c:v>4.8380043203735852</c:v>
                </c:pt>
                <c:pt idx="5247">
                  <c:v>5.9353962346664524</c:v>
                </c:pt>
                <c:pt idx="5248">
                  <c:v>6.218913777489627</c:v>
                </c:pt>
                <c:pt idx="5249">
                  <c:v>4.9345986883722102</c:v>
                </c:pt>
                <c:pt idx="5250">
                  <c:v>6.1240646135835854</c:v>
                </c:pt>
                <c:pt idx="5251">
                  <c:v>7.042229608891013</c:v>
                </c:pt>
                <c:pt idx="5252">
                  <c:v>7.0008674930015706</c:v>
                </c:pt>
                <c:pt idx="5253">
                  <c:v>5.047447323546618</c:v>
                </c:pt>
                <c:pt idx="5254">
                  <c:v>4.9681001343189282</c:v>
                </c:pt>
                <c:pt idx="5255">
                  <c:v>6.9526674449822172</c:v>
                </c:pt>
                <c:pt idx="5256">
                  <c:v>5.7379902486278</c:v>
                </c:pt>
                <c:pt idx="5257">
                  <c:v>5.9962288801225716</c:v>
                </c:pt>
                <c:pt idx="5258">
                  <c:v>6.0323188386361659</c:v>
                </c:pt>
                <c:pt idx="5259">
                  <c:v>5.9186621059773454</c:v>
                </c:pt>
                <c:pt idx="5260">
                  <c:v>4.9148875595481876</c:v>
                </c:pt>
                <c:pt idx="5261">
                  <c:v>6.0194385254936043</c:v>
                </c:pt>
                <c:pt idx="5262">
                  <c:v>6.0285772762216698</c:v>
                </c:pt>
                <c:pt idx="5263">
                  <c:v>5.9798013096923919</c:v>
                </c:pt>
                <c:pt idx="5264">
                  <c:v>5.8156633073068207</c:v>
                </c:pt>
                <c:pt idx="5265">
                  <c:v>6.0065607457527488</c:v>
                </c:pt>
                <c:pt idx="5266">
                  <c:v>5.9959071485411641</c:v>
                </c:pt>
                <c:pt idx="5267">
                  <c:v>5.9985430576723395</c:v>
                </c:pt>
                <c:pt idx="5268">
                  <c:v>5.1173934853310437</c:v>
                </c:pt>
                <c:pt idx="5269">
                  <c:v>5.9249299039117922</c:v>
                </c:pt>
                <c:pt idx="5270">
                  <c:v>6.0439348171396494</c:v>
                </c:pt>
                <c:pt idx="5271">
                  <c:v>6.0258771133824203</c:v>
                </c:pt>
                <c:pt idx="5272">
                  <c:v>5.8895666784202136</c:v>
                </c:pt>
                <c:pt idx="5273">
                  <c:v>6.1088533166340904</c:v>
                </c:pt>
                <c:pt idx="5274">
                  <c:v>5.964337926174343</c:v>
                </c:pt>
                <c:pt idx="5275">
                  <c:v>6.9428298388517806</c:v>
                </c:pt>
                <c:pt idx="5276">
                  <c:v>5.0315391844030897</c:v>
                </c:pt>
                <c:pt idx="5277">
                  <c:v>4.8541252016955507</c:v>
                </c:pt>
                <c:pt idx="5278">
                  <c:v>5.8410835861028527</c:v>
                </c:pt>
                <c:pt idx="5279">
                  <c:v>5.8566046086370225</c:v>
                </c:pt>
                <c:pt idx="5280">
                  <c:v>5.1806883605131446</c:v>
                </c:pt>
                <c:pt idx="5281">
                  <c:v>6.0771954110583568</c:v>
                </c:pt>
                <c:pt idx="5282">
                  <c:v>5.0490977240680666</c:v>
                </c:pt>
                <c:pt idx="5283">
                  <c:v>4.9485142376711533</c:v>
                </c:pt>
                <c:pt idx="5284">
                  <c:v>3.949410526180174</c:v>
                </c:pt>
                <c:pt idx="5285">
                  <c:v>6.1094834011966999</c:v>
                </c:pt>
                <c:pt idx="5286">
                  <c:v>3.856612665488298</c:v>
                </c:pt>
                <c:pt idx="5287">
                  <c:v>5.0977555404269825</c:v>
                </c:pt>
                <c:pt idx="5288">
                  <c:v>5.8153765814496072</c:v>
                </c:pt>
                <c:pt idx="5289">
                  <c:v>4.8281448692005178</c:v>
                </c:pt>
                <c:pt idx="5290">
                  <c:v>6.9615634197140448</c:v>
                </c:pt>
                <c:pt idx="5291">
                  <c:v>4.9461831062472497</c:v>
                </c:pt>
                <c:pt idx="5292">
                  <c:v>4.8891523060889162</c:v>
                </c:pt>
                <c:pt idx="5293">
                  <c:v>5.0992469560163114</c:v>
                </c:pt>
                <c:pt idx="5294">
                  <c:v>4.9651272082521025</c:v>
                </c:pt>
                <c:pt idx="5295">
                  <c:v>5.8721203771357571</c:v>
                </c:pt>
                <c:pt idx="5296">
                  <c:v>4.8480627932121036</c:v>
                </c:pt>
                <c:pt idx="5297">
                  <c:v>6.0770748420084075</c:v>
                </c:pt>
                <c:pt idx="5298">
                  <c:v>6.8678147501605631</c:v>
                </c:pt>
                <c:pt idx="5299">
                  <c:v>6.2365673973886846</c:v>
                </c:pt>
                <c:pt idx="5300">
                  <c:v>6.097263166897628</c:v>
                </c:pt>
                <c:pt idx="5301">
                  <c:v>6.7128353520690291</c:v>
                </c:pt>
                <c:pt idx="5302">
                  <c:v>4.9965692530939245</c:v>
                </c:pt>
                <c:pt idx="5303">
                  <c:v>5.8783181553111685</c:v>
                </c:pt>
                <c:pt idx="5304">
                  <c:v>4.8282912640252915</c:v>
                </c:pt>
                <c:pt idx="5305">
                  <c:v>6.0126040102497207</c:v>
                </c:pt>
                <c:pt idx="5306">
                  <c:v>4.9491172005829789</c:v>
                </c:pt>
                <c:pt idx="5307">
                  <c:v>4.9563283125475142</c:v>
                </c:pt>
                <c:pt idx="5308">
                  <c:v>4.1725134141157394</c:v>
                </c:pt>
                <c:pt idx="5309">
                  <c:v>6.2288420913936564</c:v>
                </c:pt>
                <c:pt idx="5310">
                  <c:v>5.0477045824546432</c:v>
                </c:pt>
                <c:pt idx="5311">
                  <c:v>5.9105169272189979</c:v>
                </c:pt>
                <c:pt idx="5312">
                  <c:v>5.9768743948338949</c:v>
                </c:pt>
                <c:pt idx="5313">
                  <c:v>5.0729373821745467</c:v>
                </c:pt>
                <c:pt idx="5314">
                  <c:v>5.0657717316976134</c:v>
                </c:pt>
                <c:pt idx="5315">
                  <c:v>5.1413172895173949</c:v>
                </c:pt>
                <c:pt idx="5316">
                  <c:v>5.9094726975424248</c:v>
                </c:pt>
                <c:pt idx="5317">
                  <c:v>4.9318942577078611</c:v>
                </c:pt>
                <c:pt idx="5318">
                  <c:v>6.9545696227781519</c:v>
                </c:pt>
                <c:pt idx="5319">
                  <c:v>6.1405406985815789</c:v>
                </c:pt>
                <c:pt idx="5320">
                  <c:v>6.9199412110665177</c:v>
                </c:pt>
                <c:pt idx="5321">
                  <c:v>7.0213145892053994</c:v>
                </c:pt>
                <c:pt idx="5322">
                  <c:v>6.8879164145677247</c:v>
                </c:pt>
                <c:pt idx="5323">
                  <c:v>5.0090408745390134</c:v>
                </c:pt>
                <c:pt idx="5324">
                  <c:v>5.8505564896286213</c:v>
                </c:pt>
                <c:pt idx="5325">
                  <c:v>5.9885655975067875</c:v>
                </c:pt>
                <c:pt idx="5326">
                  <c:v>5.0007436131276588</c:v>
                </c:pt>
                <c:pt idx="5327">
                  <c:v>6.1650654377136691</c:v>
                </c:pt>
                <c:pt idx="5328">
                  <c:v>5.9614303841907148</c:v>
                </c:pt>
                <c:pt idx="5329">
                  <c:v>6.0888010610565333</c:v>
                </c:pt>
                <c:pt idx="5330">
                  <c:v>5.0221046675568735</c:v>
                </c:pt>
                <c:pt idx="5331">
                  <c:v>5.95619512488478</c:v>
                </c:pt>
                <c:pt idx="5332">
                  <c:v>5.9013187672926239</c:v>
                </c:pt>
                <c:pt idx="5333">
                  <c:v>5.867949752646747</c:v>
                </c:pt>
                <c:pt idx="5334">
                  <c:v>7.016411705981155</c:v>
                </c:pt>
                <c:pt idx="5335">
                  <c:v>6.3001182254213983</c:v>
                </c:pt>
                <c:pt idx="5336">
                  <c:v>5.8844425816874244</c:v>
                </c:pt>
                <c:pt idx="5337">
                  <c:v>5.0330582625823403</c:v>
                </c:pt>
                <c:pt idx="5338">
                  <c:v>7.0546116747822296</c:v>
                </c:pt>
                <c:pt idx="5339">
                  <c:v>6.0163484006126104</c:v>
                </c:pt>
                <c:pt idx="5340">
                  <c:v>4.9714123389785376</c:v>
                </c:pt>
                <c:pt idx="5341">
                  <c:v>5.055751812468503</c:v>
                </c:pt>
                <c:pt idx="5342">
                  <c:v>5.0069153438085685</c:v>
                </c:pt>
                <c:pt idx="5343">
                  <c:v>4.9560710835074691</c:v>
                </c:pt>
                <c:pt idx="5344">
                  <c:v>5.836499203523088</c:v>
                </c:pt>
                <c:pt idx="5345">
                  <c:v>5.064960880024473</c:v>
                </c:pt>
                <c:pt idx="5346">
                  <c:v>6.1331699533819224</c:v>
                </c:pt>
                <c:pt idx="5347">
                  <c:v>7.0581975164629984</c:v>
                </c:pt>
                <c:pt idx="5348">
                  <c:v>4.7911123766151613</c:v>
                </c:pt>
                <c:pt idx="5349">
                  <c:v>4.9168662334686148</c:v>
                </c:pt>
                <c:pt idx="5350">
                  <c:v>6.0340704033340149</c:v>
                </c:pt>
                <c:pt idx="5351">
                  <c:v>5.8929438045983122</c:v>
                </c:pt>
                <c:pt idx="5352">
                  <c:v>6.0383588594026723</c:v>
                </c:pt>
                <c:pt idx="5353">
                  <c:v>5.035192287588492</c:v>
                </c:pt>
                <c:pt idx="5354">
                  <c:v>4.991672592660386</c:v>
                </c:pt>
                <c:pt idx="5355">
                  <c:v>5.1156115111984173</c:v>
                </c:pt>
                <c:pt idx="5356">
                  <c:v>5.1605430865737425</c:v>
                </c:pt>
                <c:pt idx="5357">
                  <c:v>5.9180732475537177</c:v>
                </c:pt>
                <c:pt idx="5358">
                  <c:v>4.9955981289833131</c:v>
                </c:pt>
                <c:pt idx="5359">
                  <c:v>5.9662919027216379</c:v>
                </c:pt>
                <c:pt idx="5360">
                  <c:v>5.9636488212716943</c:v>
                </c:pt>
                <c:pt idx="5361">
                  <c:v>5.8540166467345278</c:v>
                </c:pt>
                <c:pt idx="5362">
                  <c:v>5.0116451159002837</c:v>
                </c:pt>
                <c:pt idx="5363">
                  <c:v>4.8813847120096376</c:v>
                </c:pt>
                <c:pt idx="5364">
                  <c:v>5.8481891101906589</c:v>
                </c:pt>
                <c:pt idx="5365">
                  <c:v>5.1864232819198302</c:v>
                </c:pt>
                <c:pt idx="5366">
                  <c:v>5.8917017089091477</c:v>
                </c:pt>
                <c:pt idx="5367">
                  <c:v>4.9875985283371067</c:v>
                </c:pt>
                <c:pt idx="5368">
                  <c:v>6.1835267613854201</c:v>
                </c:pt>
                <c:pt idx="5369">
                  <c:v>4.9450231809816678</c:v>
                </c:pt>
                <c:pt idx="5370">
                  <c:v>5.0474475307113265</c:v>
                </c:pt>
                <c:pt idx="5371">
                  <c:v>4.9855270293773666</c:v>
                </c:pt>
                <c:pt idx="5372">
                  <c:v>6.0103145347673239</c:v>
                </c:pt>
                <c:pt idx="5373">
                  <c:v>6.1306844428321812</c:v>
                </c:pt>
                <c:pt idx="5374">
                  <c:v>5.9377617096283553</c:v>
                </c:pt>
                <c:pt idx="5375">
                  <c:v>6.9336784881254765</c:v>
                </c:pt>
                <c:pt idx="5376">
                  <c:v>4.8543486504310289</c:v>
                </c:pt>
                <c:pt idx="5377">
                  <c:v>5.9745048318994476</c:v>
                </c:pt>
                <c:pt idx="5378">
                  <c:v>7.0843942484691729</c:v>
                </c:pt>
                <c:pt idx="5379">
                  <c:v>6.1138406867561077</c:v>
                </c:pt>
                <c:pt idx="5380">
                  <c:v>5.9321577165039496</c:v>
                </c:pt>
                <c:pt idx="5381">
                  <c:v>4.8901667399504376</c:v>
                </c:pt>
                <c:pt idx="5382">
                  <c:v>6.197984066048047</c:v>
                </c:pt>
                <c:pt idx="5383">
                  <c:v>6.0707346895007213</c:v>
                </c:pt>
                <c:pt idx="5384">
                  <c:v>6.1567074692034716</c:v>
                </c:pt>
                <c:pt idx="5385">
                  <c:v>6.0690642527614083</c:v>
                </c:pt>
                <c:pt idx="5386">
                  <c:v>6.2410486448122455</c:v>
                </c:pt>
                <c:pt idx="5387">
                  <c:v>5.9083003300716044</c:v>
                </c:pt>
                <c:pt idx="5388">
                  <c:v>4.9422560444275883</c:v>
                </c:pt>
                <c:pt idx="5389">
                  <c:v>4.9985475688279424</c:v>
                </c:pt>
                <c:pt idx="5390">
                  <c:v>5.0529402288456859</c:v>
                </c:pt>
                <c:pt idx="5391">
                  <c:v>6.083120600456601</c:v>
                </c:pt>
                <c:pt idx="5392">
                  <c:v>5.0686904314678047</c:v>
                </c:pt>
                <c:pt idx="5393">
                  <c:v>4.865473906579294</c:v>
                </c:pt>
                <c:pt idx="5394">
                  <c:v>6.1105433512768483</c:v>
                </c:pt>
                <c:pt idx="5395">
                  <c:v>5.7546325020666105</c:v>
                </c:pt>
                <c:pt idx="5396">
                  <c:v>6.0812679789206543</c:v>
                </c:pt>
                <c:pt idx="5397">
                  <c:v>5.983416379340162</c:v>
                </c:pt>
                <c:pt idx="5398">
                  <c:v>7.0269723144374501</c:v>
                </c:pt>
                <c:pt idx="5399">
                  <c:v>6.1197088502872541</c:v>
                </c:pt>
                <c:pt idx="5400">
                  <c:v>6.1737358667792028</c:v>
                </c:pt>
                <c:pt idx="5401">
                  <c:v>5.9045141743959828</c:v>
                </c:pt>
                <c:pt idx="5402">
                  <c:v>6.0659657350687324</c:v>
                </c:pt>
                <c:pt idx="5403">
                  <c:v>6.0149489075175762</c:v>
                </c:pt>
                <c:pt idx="5404">
                  <c:v>5.1208186528118738</c:v>
                </c:pt>
                <c:pt idx="5405">
                  <c:v>4.9815584265090447</c:v>
                </c:pt>
                <c:pt idx="5406">
                  <c:v>4.9863656314685443</c:v>
                </c:pt>
                <c:pt idx="5407">
                  <c:v>6.0966201306939789</c:v>
                </c:pt>
                <c:pt idx="5408">
                  <c:v>6.146936063348071</c:v>
                </c:pt>
                <c:pt idx="5409">
                  <c:v>6.0491144479605623</c:v>
                </c:pt>
                <c:pt idx="5410">
                  <c:v>6.1598366109444287</c:v>
                </c:pt>
                <c:pt idx="5411">
                  <c:v>4.9275698454986454</c:v>
                </c:pt>
                <c:pt idx="5412">
                  <c:v>6.0242586190481386</c:v>
                </c:pt>
                <c:pt idx="5413">
                  <c:v>6.0479383644996592</c:v>
                </c:pt>
                <c:pt idx="5414">
                  <c:v>5.985837725334842</c:v>
                </c:pt>
                <c:pt idx="5415">
                  <c:v>5.8562424091221885</c:v>
                </c:pt>
                <c:pt idx="5416">
                  <c:v>5.8305101245773807</c:v>
                </c:pt>
                <c:pt idx="5417">
                  <c:v>4.9981667294287071</c:v>
                </c:pt>
                <c:pt idx="5418">
                  <c:v>5.9797079149978511</c:v>
                </c:pt>
                <c:pt idx="5419">
                  <c:v>5.0595787076360601</c:v>
                </c:pt>
                <c:pt idx="5420">
                  <c:v>5.8849118230028612</c:v>
                </c:pt>
                <c:pt idx="5421">
                  <c:v>5.973557866136689</c:v>
                </c:pt>
                <c:pt idx="5422">
                  <c:v>6.0819651209454726</c:v>
                </c:pt>
                <c:pt idx="5423">
                  <c:v>6.026084479735041</c:v>
                </c:pt>
                <c:pt idx="5424">
                  <c:v>5.8396079573970416</c:v>
                </c:pt>
                <c:pt idx="5425">
                  <c:v>6.0693024991320739</c:v>
                </c:pt>
                <c:pt idx="5426">
                  <c:v>6.1749820856232418</c:v>
                </c:pt>
                <c:pt idx="5427">
                  <c:v>5.9992145578033336</c:v>
                </c:pt>
                <c:pt idx="5428">
                  <c:v>4.0210223347819234</c:v>
                </c:pt>
                <c:pt idx="5429">
                  <c:v>6.0281044027185766</c:v>
                </c:pt>
                <c:pt idx="5430">
                  <c:v>5.029319323094195</c:v>
                </c:pt>
                <c:pt idx="5431">
                  <c:v>5.9089447677373679</c:v>
                </c:pt>
                <c:pt idx="5432">
                  <c:v>6.8390882789395304</c:v>
                </c:pt>
                <c:pt idx="5433">
                  <c:v>5.92893139699044</c:v>
                </c:pt>
                <c:pt idx="5434">
                  <c:v>6.1674851872218017</c:v>
                </c:pt>
                <c:pt idx="5435">
                  <c:v>5.9070646749915863</c:v>
                </c:pt>
                <c:pt idx="5436">
                  <c:v>5.8773419010973873</c:v>
                </c:pt>
                <c:pt idx="5437">
                  <c:v>5.0321646375368232</c:v>
                </c:pt>
                <c:pt idx="5438">
                  <c:v>4.9117696393870593</c:v>
                </c:pt>
                <c:pt idx="5439">
                  <c:v>6.0698773608175864</c:v>
                </c:pt>
                <c:pt idx="5440">
                  <c:v>5.8573570610011787</c:v>
                </c:pt>
                <c:pt idx="5441">
                  <c:v>5.1657287220231565</c:v>
                </c:pt>
                <c:pt idx="5442">
                  <c:v>4.9584856937519222</c:v>
                </c:pt>
                <c:pt idx="5443">
                  <c:v>5.9700002070321831</c:v>
                </c:pt>
                <c:pt idx="5444">
                  <c:v>6.0873884475257238</c:v>
                </c:pt>
                <c:pt idx="5445">
                  <c:v>4.9541402851891458</c:v>
                </c:pt>
                <c:pt idx="5446">
                  <c:v>6.1109262819548364</c:v>
                </c:pt>
                <c:pt idx="5447">
                  <c:v>4.8647157045714646</c:v>
                </c:pt>
                <c:pt idx="5448">
                  <c:v>6.110748312349453</c:v>
                </c:pt>
                <c:pt idx="5449">
                  <c:v>6.0151377926626397</c:v>
                </c:pt>
                <c:pt idx="5450">
                  <c:v>4.9851215961858744</c:v>
                </c:pt>
                <c:pt idx="5451">
                  <c:v>6.067563182708926</c:v>
                </c:pt>
                <c:pt idx="5452">
                  <c:v>4.9752549009829989</c:v>
                </c:pt>
                <c:pt idx="5453">
                  <c:v>4.8977213088430203</c:v>
                </c:pt>
                <c:pt idx="5454">
                  <c:v>6.095914537334103</c:v>
                </c:pt>
                <c:pt idx="5455">
                  <c:v>4.9322168434090665</c:v>
                </c:pt>
                <c:pt idx="5456">
                  <c:v>5.9376019272185347</c:v>
                </c:pt>
                <c:pt idx="5457">
                  <c:v>6.0383223719023658</c:v>
                </c:pt>
                <c:pt idx="5458">
                  <c:v>5.8231605381482794</c:v>
                </c:pt>
                <c:pt idx="5459">
                  <c:v>5.937356374154044</c:v>
                </c:pt>
                <c:pt idx="5460">
                  <c:v>6.0469688760969706</c:v>
                </c:pt>
                <c:pt idx="5461">
                  <c:v>6.1509453053986034</c:v>
                </c:pt>
                <c:pt idx="5462">
                  <c:v>4.9676683936490411</c:v>
                </c:pt>
                <c:pt idx="5463">
                  <c:v>6.0089378437918199</c:v>
                </c:pt>
                <c:pt idx="5464">
                  <c:v>6.0597063381939682</c:v>
                </c:pt>
                <c:pt idx="5465">
                  <c:v>6.0479718878118289</c:v>
                </c:pt>
                <c:pt idx="5466">
                  <c:v>6.1113260366305404</c:v>
                </c:pt>
                <c:pt idx="5467">
                  <c:v>4.7481359355011348</c:v>
                </c:pt>
                <c:pt idx="5468">
                  <c:v>5.9897393588975616</c:v>
                </c:pt>
                <c:pt idx="5469">
                  <c:v>4.8965214281307876</c:v>
                </c:pt>
                <c:pt idx="5470">
                  <c:v>6.0900706610961137</c:v>
                </c:pt>
                <c:pt idx="5471">
                  <c:v>6.0552166679233723</c:v>
                </c:pt>
                <c:pt idx="5472">
                  <c:v>6.0332942394574998</c:v>
                </c:pt>
                <c:pt idx="5473">
                  <c:v>6.1060176972008806</c:v>
                </c:pt>
                <c:pt idx="5474">
                  <c:v>5.9718137913967899</c:v>
                </c:pt>
                <c:pt idx="5475">
                  <c:v>5.8661754544618168</c:v>
                </c:pt>
                <c:pt idx="5476">
                  <c:v>5.9875799383350703</c:v>
                </c:pt>
                <c:pt idx="5477">
                  <c:v>4.9483951991706183</c:v>
                </c:pt>
                <c:pt idx="5478">
                  <c:v>5.8410159012996443</c:v>
                </c:pt>
                <c:pt idx="5479">
                  <c:v>5.9773622053655329</c:v>
                </c:pt>
                <c:pt idx="5480">
                  <c:v>6.0268862127514424</c:v>
                </c:pt>
                <c:pt idx="5481">
                  <c:v>5.9931139909770765</c:v>
                </c:pt>
                <c:pt idx="5482">
                  <c:v>5.9760892809477459</c:v>
                </c:pt>
                <c:pt idx="5483">
                  <c:v>4.9247554322065179</c:v>
                </c:pt>
                <c:pt idx="5484">
                  <c:v>6.1061395493101065</c:v>
                </c:pt>
                <c:pt idx="5485">
                  <c:v>6.0116317986366026</c:v>
                </c:pt>
                <c:pt idx="5486">
                  <c:v>6.0830262838543891</c:v>
                </c:pt>
                <c:pt idx="5487">
                  <c:v>5.9184260026743178</c:v>
                </c:pt>
                <c:pt idx="5488">
                  <c:v>5.024028983842987</c:v>
                </c:pt>
                <c:pt idx="5489">
                  <c:v>5.9395479180400068</c:v>
                </c:pt>
                <c:pt idx="5490">
                  <c:v>6.1028302212514323</c:v>
                </c:pt>
                <c:pt idx="5491">
                  <c:v>6.0646760408150309</c:v>
                </c:pt>
                <c:pt idx="5492">
                  <c:v>6.028787655712474</c:v>
                </c:pt>
                <c:pt idx="5493">
                  <c:v>6.1132266924416827</c:v>
                </c:pt>
                <c:pt idx="5494">
                  <c:v>5.9450438615635424</c:v>
                </c:pt>
                <c:pt idx="5495">
                  <c:v>6.1494464361109333</c:v>
                </c:pt>
                <c:pt idx="5496">
                  <c:v>4.9127393225901876</c:v>
                </c:pt>
                <c:pt idx="5497">
                  <c:v>6.0775395539417749</c:v>
                </c:pt>
                <c:pt idx="5498">
                  <c:v>6.1026398483614006</c:v>
                </c:pt>
                <c:pt idx="5499">
                  <c:v>5.0805501863851079</c:v>
                </c:pt>
                <c:pt idx="5500">
                  <c:v>5.0605438465101544</c:v>
                </c:pt>
                <c:pt idx="5501">
                  <c:v>6.017708040040624</c:v>
                </c:pt>
                <c:pt idx="5502">
                  <c:v>6.1700722295591524</c:v>
                </c:pt>
                <c:pt idx="5503">
                  <c:v>5.1010839124379919</c:v>
                </c:pt>
                <c:pt idx="5504">
                  <c:v>6.0240416718655299</c:v>
                </c:pt>
                <c:pt idx="5505">
                  <c:v>4.8923834060261235</c:v>
                </c:pt>
                <c:pt idx="5506">
                  <c:v>4.9101624231448397</c:v>
                </c:pt>
                <c:pt idx="5507">
                  <c:v>5.8946827063704621</c:v>
                </c:pt>
                <c:pt idx="5508">
                  <c:v>6.1519770458758725</c:v>
                </c:pt>
                <c:pt idx="5509">
                  <c:v>6.1618457222612895</c:v>
                </c:pt>
                <c:pt idx="5510">
                  <c:v>5.0227504835077958</c:v>
                </c:pt>
                <c:pt idx="5511">
                  <c:v>5.1492077937066085</c:v>
                </c:pt>
                <c:pt idx="5512">
                  <c:v>5.8912278603952926</c:v>
                </c:pt>
                <c:pt idx="5513">
                  <c:v>5.0035950744940045</c:v>
                </c:pt>
                <c:pt idx="5514">
                  <c:v>5.9516419453612031</c:v>
                </c:pt>
                <c:pt idx="5515">
                  <c:v>5.9634776376679701</c:v>
                </c:pt>
                <c:pt idx="5516">
                  <c:v>6.0616543234033697</c:v>
                </c:pt>
                <c:pt idx="5517">
                  <c:v>6.0437683602465588</c:v>
                </c:pt>
                <c:pt idx="5518">
                  <c:v>5.9293920556318298</c:v>
                </c:pt>
                <c:pt idx="5519">
                  <c:v>5.8830285686256483</c:v>
                </c:pt>
                <c:pt idx="5520">
                  <c:v>5.0485486592824316</c:v>
                </c:pt>
                <c:pt idx="5521">
                  <c:v>6.0326479475387442</c:v>
                </c:pt>
                <c:pt idx="5522">
                  <c:v>6.1497670420261432</c:v>
                </c:pt>
                <c:pt idx="5523">
                  <c:v>6.2068201901051312</c:v>
                </c:pt>
                <c:pt idx="5524">
                  <c:v>6.0139009180014549</c:v>
                </c:pt>
                <c:pt idx="5525">
                  <c:v>5.8786785915800257</c:v>
                </c:pt>
                <c:pt idx="5526">
                  <c:v>4.9197975781458032</c:v>
                </c:pt>
                <c:pt idx="5527">
                  <c:v>5.0883031173702369</c:v>
                </c:pt>
                <c:pt idx="5528">
                  <c:v>5.9873526674113657</c:v>
                </c:pt>
                <c:pt idx="5529">
                  <c:v>6.1039803715873866</c:v>
                </c:pt>
                <c:pt idx="5530">
                  <c:v>5.1078437534877734</c:v>
                </c:pt>
                <c:pt idx="5531">
                  <c:v>5.9478960135098218</c:v>
                </c:pt>
                <c:pt idx="5532">
                  <c:v>5.9519463099001948</c:v>
                </c:pt>
                <c:pt idx="5533">
                  <c:v>6.0441752839202794</c:v>
                </c:pt>
                <c:pt idx="5534">
                  <c:v>4.9736071366133032</c:v>
                </c:pt>
                <c:pt idx="5535">
                  <c:v>5.9838992935093938</c:v>
                </c:pt>
                <c:pt idx="5536">
                  <c:v>5.0137483283879325</c:v>
                </c:pt>
                <c:pt idx="5537">
                  <c:v>4.9350815906498946</c:v>
                </c:pt>
                <c:pt idx="5538">
                  <c:v>6.0489761159104578</c:v>
                </c:pt>
                <c:pt idx="5539">
                  <c:v>5.853155735973071</c:v>
                </c:pt>
                <c:pt idx="5540">
                  <c:v>5.9105106703183488</c:v>
                </c:pt>
                <c:pt idx="5541">
                  <c:v>6.0040139218115298</c:v>
                </c:pt>
                <c:pt idx="5542">
                  <c:v>5.973309076509616</c:v>
                </c:pt>
                <c:pt idx="5543">
                  <c:v>5.9552014119177255</c:v>
                </c:pt>
                <c:pt idx="5544">
                  <c:v>6.0886230442168365</c:v>
                </c:pt>
                <c:pt idx="5545">
                  <c:v>5.9456222098267553</c:v>
                </c:pt>
                <c:pt idx="5546">
                  <c:v>4.7538752451241466</c:v>
                </c:pt>
                <c:pt idx="5547">
                  <c:v>5.0134165936420603</c:v>
                </c:pt>
                <c:pt idx="5548">
                  <c:v>5.0686931200219254</c:v>
                </c:pt>
                <c:pt idx="5549">
                  <c:v>6.8575696575373764</c:v>
                </c:pt>
                <c:pt idx="5550">
                  <c:v>6.0622296498225658</c:v>
                </c:pt>
                <c:pt idx="5551">
                  <c:v>4.9023909062843281</c:v>
                </c:pt>
                <c:pt idx="5552">
                  <c:v>6.1401741444404161</c:v>
                </c:pt>
                <c:pt idx="5553">
                  <c:v>6.1248925457643839</c:v>
                </c:pt>
                <c:pt idx="5554">
                  <c:v>5.8459361759228701</c:v>
                </c:pt>
                <c:pt idx="5555">
                  <c:v>5.1097095321861827</c:v>
                </c:pt>
                <c:pt idx="5556">
                  <c:v>7.1292678647545014</c:v>
                </c:pt>
                <c:pt idx="5557">
                  <c:v>5.9478846995045584</c:v>
                </c:pt>
                <c:pt idx="5558">
                  <c:v>5.8311256683597374</c:v>
                </c:pt>
                <c:pt idx="5559">
                  <c:v>4.8625983511605213</c:v>
                </c:pt>
                <c:pt idx="5560">
                  <c:v>5.9749336498405636</c:v>
                </c:pt>
                <c:pt idx="5561">
                  <c:v>7.0328222797708841</c:v>
                </c:pt>
                <c:pt idx="5562">
                  <c:v>5.0557443455852171</c:v>
                </c:pt>
                <c:pt idx="5563">
                  <c:v>4.9629859884599306</c:v>
                </c:pt>
                <c:pt idx="5564">
                  <c:v>6.8834312495455352</c:v>
                </c:pt>
                <c:pt idx="5565">
                  <c:v>4.9244566758709025</c:v>
                </c:pt>
                <c:pt idx="5566">
                  <c:v>5.0119215548537239</c:v>
                </c:pt>
                <c:pt idx="5567">
                  <c:v>4.9672696791449962</c:v>
                </c:pt>
                <c:pt idx="5568">
                  <c:v>4.9027273856792251</c:v>
                </c:pt>
                <c:pt idx="5569">
                  <c:v>5.9131354777629115</c:v>
                </c:pt>
                <c:pt idx="5570">
                  <c:v>5.993704146150785</c:v>
                </c:pt>
                <c:pt idx="5571">
                  <c:v>6.0984070022233752</c:v>
                </c:pt>
                <c:pt idx="5572">
                  <c:v>4.0615269329510237</c:v>
                </c:pt>
                <c:pt idx="5573">
                  <c:v>4.892917645686488</c:v>
                </c:pt>
                <c:pt idx="5574">
                  <c:v>5.872179762292868</c:v>
                </c:pt>
                <c:pt idx="5575">
                  <c:v>6.0424021994758537</c:v>
                </c:pt>
                <c:pt idx="5576">
                  <c:v>6.0052121451087048</c:v>
                </c:pt>
                <c:pt idx="5577">
                  <c:v>6.0525741743410926</c:v>
                </c:pt>
                <c:pt idx="5578">
                  <c:v>4.9326175603529601</c:v>
                </c:pt>
                <c:pt idx="5579">
                  <c:v>5.8498500699621419</c:v>
                </c:pt>
                <c:pt idx="5580">
                  <c:v>4.7578490890957879</c:v>
                </c:pt>
                <c:pt idx="5581">
                  <c:v>5.1559802601829885</c:v>
                </c:pt>
                <c:pt idx="5582">
                  <c:v>5.1041695339835158</c:v>
                </c:pt>
                <c:pt idx="5583">
                  <c:v>6.1703890180051095</c:v>
                </c:pt>
                <c:pt idx="5584">
                  <c:v>5.9818362665729641</c:v>
                </c:pt>
                <c:pt idx="5585">
                  <c:v>5.9979448915816826</c:v>
                </c:pt>
                <c:pt idx="5586">
                  <c:v>5.0420572012304179</c:v>
                </c:pt>
                <c:pt idx="5587">
                  <c:v>5.0596113347179354</c:v>
                </c:pt>
                <c:pt idx="5588">
                  <c:v>5.9901606287721609</c:v>
                </c:pt>
                <c:pt idx="5589">
                  <c:v>5.9198231475205851</c:v>
                </c:pt>
                <c:pt idx="5590">
                  <c:v>5.99661482772576</c:v>
                </c:pt>
                <c:pt idx="5591">
                  <c:v>6.0041171788978431</c:v>
                </c:pt>
                <c:pt idx="5592">
                  <c:v>5.9361924280968745</c:v>
                </c:pt>
                <c:pt idx="5593">
                  <c:v>5.0340141728303891</c:v>
                </c:pt>
                <c:pt idx="5594">
                  <c:v>6.102294110831477</c:v>
                </c:pt>
                <c:pt idx="5595">
                  <c:v>5.7899949823314234</c:v>
                </c:pt>
                <c:pt idx="5596">
                  <c:v>5.7222611549298339</c:v>
                </c:pt>
                <c:pt idx="5597">
                  <c:v>6.0164797044829292</c:v>
                </c:pt>
                <c:pt idx="5598">
                  <c:v>5.0458926361966734</c:v>
                </c:pt>
                <c:pt idx="5599">
                  <c:v>6.9794097789236984</c:v>
                </c:pt>
                <c:pt idx="5600">
                  <c:v>4.9043376414129218</c:v>
                </c:pt>
                <c:pt idx="5601">
                  <c:v>5.0203232754239044</c:v>
                </c:pt>
                <c:pt idx="5602">
                  <c:v>4.9223567304842888</c:v>
                </c:pt>
                <c:pt idx="5603">
                  <c:v>6.0654892911436598</c:v>
                </c:pt>
                <c:pt idx="5604">
                  <c:v>6.1254868119578463</c:v>
                </c:pt>
                <c:pt idx="5605">
                  <c:v>5.0070873245670215</c:v>
                </c:pt>
                <c:pt idx="5606">
                  <c:v>5.0245730609640118</c:v>
                </c:pt>
                <c:pt idx="5607">
                  <c:v>5.8894810440015721</c:v>
                </c:pt>
                <c:pt idx="5608">
                  <c:v>4.9523135326596774</c:v>
                </c:pt>
                <c:pt idx="5609">
                  <c:v>6.1185632466559543</c:v>
                </c:pt>
                <c:pt idx="5610">
                  <c:v>4.8025311200520155</c:v>
                </c:pt>
                <c:pt idx="5611">
                  <c:v>5.8492147088432329</c:v>
                </c:pt>
                <c:pt idx="5612">
                  <c:v>6.8963680233148592</c:v>
                </c:pt>
                <c:pt idx="5613">
                  <c:v>5.995184744823769</c:v>
                </c:pt>
                <c:pt idx="5614">
                  <c:v>4.89971070514913</c:v>
                </c:pt>
                <c:pt idx="5615">
                  <c:v>6.162815892619836</c:v>
                </c:pt>
                <c:pt idx="5616">
                  <c:v>6.0900153998787836</c:v>
                </c:pt>
                <c:pt idx="5617">
                  <c:v>6.9615384025868634</c:v>
                </c:pt>
                <c:pt idx="5618">
                  <c:v>7.219078313219522</c:v>
                </c:pt>
                <c:pt idx="5619">
                  <c:v>5.8936541564882656</c:v>
                </c:pt>
                <c:pt idx="5620">
                  <c:v>5.9889055221173262</c:v>
                </c:pt>
                <c:pt idx="5621">
                  <c:v>6.0092250180886282</c:v>
                </c:pt>
                <c:pt idx="5622">
                  <c:v>5.8829398577082239</c:v>
                </c:pt>
                <c:pt idx="5623">
                  <c:v>7.0151933488848481</c:v>
                </c:pt>
                <c:pt idx="5624">
                  <c:v>6.0679804770466284</c:v>
                </c:pt>
                <c:pt idx="5625">
                  <c:v>5.8659515770043926</c:v>
                </c:pt>
                <c:pt idx="5626">
                  <c:v>6.0791602219343215</c:v>
                </c:pt>
                <c:pt idx="5627">
                  <c:v>5.9750316819585549</c:v>
                </c:pt>
                <c:pt idx="5628">
                  <c:v>6.0147635502212085</c:v>
                </c:pt>
                <c:pt idx="5629">
                  <c:v>6.1943433987637615</c:v>
                </c:pt>
                <c:pt idx="5630">
                  <c:v>5.0312158812224057</c:v>
                </c:pt>
                <c:pt idx="5631">
                  <c:v>6.0328751020596627</c:v>
                </c:pt>
                <c:pt idx="5632">
                  <c:v>5.1251499329090802</c:v>
                </c:pt>
                <c:pt idx="5633">
                  <c:v>5.8989221708765873</c:v>
                </c:pt>
                <c:pt idx="5634">
                  <c:v>6.9469199019240886</c:v>
                </c:pt>
                <c:pt idx="5635">
                  <c:v>4.9048990998214022</c:v>
                </c:pt>
                <c:pt idx="5636">
                  <c:v>5.06972730670108</c:v>
                </c:pt>
                <c:pt idx="5637">
                  <c:v>5.84966039631753</c:v>
                </c:pt>
                <c:pt idx="5638">
                  <c:v>5.0422400778664764</c:v>
                </c:pt>
                <c:pt idx="5639">
                  <c:v>3.0175703574209796</c:v>
                </c:pt>
                <c:pt idx="5640">
                  <c:v>5.0026121795344443</c:v>
                </c:pt>
                <c:pt idx="5641">
                  <c:v>5.9200788711064956</c:v>
                </c:pt>
                <c:pt idx="5642">
                  <c:v>5.1531870433899902</c:v>
                </c:pt>
                <c:pt idx="5643">
                  <c:v>5.0617969239956455</c:v>
                </c:pt>
                <c:pt idx="5644">
                  <c:v>5.9917022726768128</c:v>
                </c:pt>
                <c:pt idx="5645">
                  <c:v>5.9499658291173168</c:v>
                </c:pt>
                <c:pt idx="5646">
                  <c:v>5.0107290879045197</c:v>
                </c:pt>
                <c:pt idx="5647">
                  <c:v>6.8640830706757026</c:v>
                </c:pt>
                <c:pt idx="5648">
                  <c:v>4.9885848558884556</c:v>
                </c:pt>
                <c:pt idx="5649">
                  <c:v>6.0217299370350315</c:v>
                </c:pt>
                <c:pt idx="5650">
                  <c:v>5.9705137531587935</c:v>
                </c:pt>
                <c:pt idx="5651">
                  <c:v>4.893715123119077</c:v>
                </c:pt>
                <c:pt idx="5652">
                  <c:v>7.1064289827383957</c:v>
                </c:pt>
                <c:pt idx="5653">
                  <c:v>5.0438969625882093</c:v>
                </c:pt>
                <c:pt idx="5654">
                  <c:v>6.9743070798408091</c:v>
                </c:pt>
                <c:pt idx="5655">
                  <c:v>4.9955500587194415</c:v>
                </c:pt>
                <c:pt idx="5656">
                  <c:v>5.0612670924030878</c:v>
                </c:pt>
                <c:pt idx="5657">
                  <c:v>6.0954710832605628</c:v>
                </c:pt>
                <c:pt idx="5658">
                  <c:v>6.0356007137053362</c:v>
                </c:pt>
                <c:pt idx="5659">
                  <c:v>6.8524452807194951</c:v>
                </c:pt>
                <c:pt idx="5660">
                  <c:v>7.1839254015376701</c:v>
                </c:pt>
                <c:pt idx="5661">
                  <c:v>5.9839173536892325</c:v>
                </c:pt>
                <c:pt idx="5662">
                  <c:v>5.2606687683219624</c:v>
                </c:pt>
                <c:pt idx="5663">
                  <c:v>5.2061785543739472</c:v>
                </c:pt>
                <c:pt idx="5664">
                  <c:v>6.0620599839296476</c:v>
                </c:pt>
                <c:pt idx="5665">
                  <c:v>5.9810435978576066</c:v>
                </c:pt>
                <c:pt idx="5666">
                  <c:v>7.1629915354775431</c:v>
                </c:pt>
                <c:pt idx="5667">
                  <c:v>5.9426519572710115</c:v>
                </c:pt>
                <c:pt idx="5668">
                  <c:v>4.9666205581149301</c:v>
                </c:pt>
                <c:pt idx="5669">
                  <c:v>5.2540758614563208</c:v>
                </c:pt>
                <c:pt idx="5670">
                  <c:v>5.8772318234097272</c:v>
                </c:pt>
                <c:pt idx="5671">
                  <c:v>5.9084005232021832</c:v>
                </c:pt>
                <c:pt idx="5672">
                  <c:v>6.1572897106634308</c:v>
                </c:pt>
                <c:pt idx="5673">
                  <c:v>6.8830341347676596</c:v>
                </c:pt>
                <c:pt idx="5674">
                  <c:v>6.0004323400522193</c:v>
                </c:pt>
                <c:pt idx="5675">
                  <c:v>5.0102661373188058</c:v>
                </c:pt>
                <c:pt idx="5676">
                  <c:v>5.0232184057586169</c:v>
                </c:pt>
                <c:pt idx="5677">
                  <c:v>5.9347542719745991</c:v>
                </c:pt>
                <c:pt idx="5678">
                  <c:v>7.009452975441163</c:v>
                </c:pt>
                <c:pt idx="5679">
                  <c:v>4.891067111203963</c:v>
                </c:pt>
                <c:pt idx="5680">
                  <c:v>6.0598963604989482</c:v>
                </c:pt>
                <c:pt idx="5681">
                  <c:v>6.1203879168370827</c:v>
                </c:pt>
                <c:pt idx="5682">
                  <c:v>6.0012189330366468</c:v>
                </c:pt>
                <c:pt idx="5683">
                  <c:v>5.982554619563782</c:v>
                </c:pt>
                <c:pt idx="5684">
                  <c:v>6.0044336557499918</c:v>
                </c:pt>
                <c:pt idx="5685">
                  <c:v>4.8817204654003161</c:v>
                </c:pt>
                <c:pt idx="5686">
                  <c:v>6.1273487991051629</c:v>
                </c:pt>
                <c:pt idx="5687">
                  <c:v>5.0975507589078264</c:v>
                </c:pt>
                <c:pt idx="5688">
                  <c:v>5.8926478998775833</c:v>
                </c:pt>
                <c:pt idx="5689">
                  <c:v>4.9416685532140949</c:v>
                </c:pt>
                <c:pt idx="5690">
                  <c:v>5.1011201634604495</c:v>
                </c:pt>
                <c:pt idx="5691">
                  <c:v>6.1076212356661808</c:v>
                </c:pt>
                <c:pt idx="5692">
                  <c:v>6.0968239842630796</c:v>
                </c:pt>
                <c:pt idx="5693">
                  <c:v>6.0281583754097259</c:v>
                </c:pt>
                <c:pt idx="5694">
                  <c:v>4.9286155754872105</c:v>
                </c:pt>
                <c:pt idx="5695">
                  <c:v>6.0200706597737286</c:v>
                </c:pt>
                <c:pt idx="5696">
                  <c:v>4.0155007614491804</c:v>
                </c:pt>
                <c:pt idx="5697">
                  <c:v>6.0635443072508517</c:v>
                </c:pt>
                <c:pt idx="5698">
                  <c:v>6.0270107170444422</c:v>
                </c:pt>
                <c:pt idx="5699">
                  <c:v>5.9615189615018593</c:v>
                </c:pt>
                <c:pt idx="5700">
                  <c:v>6.0388107073425044</c:v>
                </c:pt>
                <c:pt idx="5701">
                  <c:v>5.9886733295088561</c:v>
                </c:pt>
                <c:pt idx="5702">
                  <c:v>5.9399486250124438</c:v>
                </c:pt>
                <c:pt idx="5703">
                  <c:v>6.008360295295021</c:v>
                </c:pt>
                <c:pt idx="5704">
                  <c:v>4.9065106360008279</c:v>
                </c:pt>
                <c:pt idx="5705">
                  <c:v>4.9492091689825015</c:v>
                </c:pt>
                <c:pt idx="5706">
                  <c:v>5.8192642073452703</c:v>
                </c:pt>
                <c:pt idx="5707">
                  <c:v>4.9275261111759043</c:v>
                </c:pt>
                <c:pt idx="5708">
                  <c:v>6.0011872460416011</c:v>
                </c:pt>
                <c:pt idx="5709">
                  <c:v>6.0662742410787915</c:v>
                </c:pt>
                <c:pt idx="5710">
                  <c:v>4.9636817141146086</c:v>
                </c:pt>
                <c:pt idx="5711">
                  <c:v>5.8915019210302493</c:v>
                </c:pt>
                <c:pt idx="5712">
                  <c:v>6.0867480507498524</c:v>
                </c:pt>
                <c:pt idx="5713">
                  <c:v>5.0592543405723696</c:v>
                </c:pt>
                <c:pt idx="5714">
                  <c:v>6.042423318155266</c:v>
                </c:pt>
                <c:pt idx="5715">
                  <c:v>5.8869978519636401</c:v>
                </c:pt>
                <c:pt idx="5716">
                  <c:v>5.9898394251994658</c:v>
                </c:pt>
                <c:pt idx="5717">
                  <c:v>5.92140640090257</c:v>
                </c:pt>
                <c:pt idx="5718">
                  <c:v>6.1641728940766534</c:v>
                </c:pt>
                <c:pt idx="5719">
                  <c:v>4.8849363928859768</c:v>
                </c:pt>
                <c:pt idx="5720">
                  <c:v>5.8530849015889821</c:v>
                </c:pt>
                <c:pt idx="5721">
                  <c:v>5.8809163866226948</c:v>
                </c:pt>
                <c:pt idx="5722">
                  <c:v>4.9566764669844172</c:v>
                </c:pt>
                <c:pt idx="5723">
                  <c:v>6.0086730735082625</c:v>
                </c:pt>
                <c:pt idx="5724">
                  <c:v>6.0238612382353063</c:v>
                </c:pt>
                <c:pt idx="5725">
                  <c:v>5.0501546854347099</c:v>
                </c:pt>
                <c:pt idx="5726">
                  <c:v>4.9724413382432404</c:v>
                </c:pt>
                <c:pt idx="5727">
                  <c:v>6.0105348171152642</c:v>
                </c:pt>
                <c:pt idx="5728">
                  <c:v>6.0644785152158009</c:v>
                </c:pt>
                <c:pt idx="5729">
                  <c:v>6.0041802783091622</c:v>
                </c:pt>
                <c:pt idx="5730">
                  <c:v>5.9532938869663807</c:v>
                </c:pt>
                <c:pt idx="5731">
                  <c:v>5.8655962615860329</c:v>
                </c:pt>
                <c:pt idx="5732">
                  <c:v>6.9949716515596565</c:v>
                </c:pt>
                <c:pt idx="5733">
                  <c:v>6.927388602743525</c:v>
                </c:pt>
                <c:pt idx="5734">
                  <c:v>5.1666740685928652</c:v>
                </c:pt>
                <c:pt idx="5735">
                  <c:v>6.2729758511668861</c:v>
                </c:pt>
                <c:pt idx="5736">
                  <c:v>4.9856786470461589</c:v>
                </c:pt>
                <c:pt idx="5737">
                  <c:v>6.0372213889377777</c:v>
                </c:pt>
                <c:pt idx="5738">
                  <c:v>6.1761386181907731</c:v>
                </c:pt>
                <c:pt idx="5739">
                  <c:v>4.9836968506245203</c:v>
                </c:pt>
                <c:pt idx="5740">
                  <c:v>5.0139540153456572</c:v>
                </c:pt>
                <c:pt idx="5741">
                  <c:v>6.0469267618629452</c:v>
                </c:pt>
                <c:pt idx="5742">
                  <c:v>6.1948038737385458</c:v>
                </c:pt>
                <c:pt idx="5743">
                  <c:v>5.9996121854021025</c:v>
                </c:pt>
                <c:pt idx="5744">
                  <c:v>4.9001829268665977</c:v>
                </c:pt>
                <c:pt idx="5745">
                  <c:v>6.1161328310041805</c:v>
                </c:pt>
                <c:pt idx="5746">
                  <c:v>7.2085128009206256</c:v>
                </c:pt>
                <c:pt idx="5747">
                  <c:v>5.9806078884292511</c:v>
                </c:pt>
                <c:pt idx="5748">
                  <c:v>4.9280867963619626</c:v>
                </c:pt>
                <c:pt idx="5749">
                  <c:v>6.8547223303907163</c:v>
                </c:pt>
                <c:pt idx="5750">
                  <c:v>6.1108586408762866</c:v>
                </c:pt>
                <c:pt idx="5751">
                  <c:v>6.2210539306062316</c:v>
                </c:pt>
                <c:pt idx="5752">
                  <c:v>5.9863490842810343</c:v>
                </c:pt>
                <c:pt idx="5753">
                  <c:v>7.0936393176611308</c:v>
                </c:pt>
                <c:pt idx="5754">
                  <c:v>5.850501667451292</c:v>
                </c:pt>
                <c:pt idx="5755">
                  <c:v>6.0394620825123413</c:v>
                </c:pt>
                <c:pt idx="5756">
                  <c:v>4.9834965882636855</c:v>
                </c:pt>
                <c:pt idx="5757">
                  <c:v>5.0493900607464255</c:v>
                </c:pt>
                <c:pt idx="5758">
                  <c:v>6.9197409128662937</c:v>
                </c:pt>
                <c:pt idx="5759">
                  <c:v>4.9880889432431692</c:v>
                </c:pt>
                <c:pt idx="5760">
                  <c:v>4.9798849963614877</c:v>
                </c:pt>
                <c:pt idx="5761">
                  <c:v>5.9038338422937153</c:v>
                </c:pt>
                <c:pt idx="5762">
                  <c:v>4.9743799161651134</c:v>
                </c:pt>
                <c:pt idx="5763">
                  <c:v>4.9446874687970821</c:v>
                </c:pt>
                <c:pt idx="5764">
                  <c:v>6.0987798500547283</c:v>
                </c:pt>
                <c:pt idx="5765">
                  <c:v>6.077912872062873</c:v>
                </c:pt>
                <c:pt idx="5766">
                  <c:v>5.6869858282154198</c:v>
                </c:pt>
                <c:pt idx="5767">
                  <c:v>5.8912642378261157</c:v>
                </c:pt>
                <c:pt idx="5768">
                  <c:v>5.9682037285061558</c:v>
                </c:pt>
                <c:pt idx="5769">
                  <c:v>5.8535879075646902</c:v>
                </c:pt>
                <c:pt idx="5770">
                  <c:v>6.0405416879960931</c:v>
                </c:pt>
                <c:pt idx="5771">
                  <c:v>4.9032763482300066</c:v>
                </c:pt>
                <c:pt idx="5772">
                  <c:v>5.9882109630477185</c:v>
                </c:pt>
                <c:pt idx="5773">
                  <c:v>4.9342146772181197</c:v>
                </c:pt>
                <c:pt idx="5774">
                  <c:v>5.0475259700600317</c:v>
                </c:pt>
                <c:pt idx="5775">
                  <c:v>6.1960665835988218</c:v>
                </c:pt>
                <c:pt idx="5776">
                  <c:v>6.0839612961310676</c:v>
                </c:pt>
                <c:pt idx="5777">
                  <c:v>5.9751847740235888</c:v>
                </c:pt>
                <c:pt idx="5778">
                  <c:v>5.9958473570572579</c:v>
                </c:pt>
                <c:pt idx="5779">
                  <c:v>6.0476387922308401</c:v>
                </c:pt>
                <c:pt idx="5780">
                  <c:v>6.1065960093289871</c:v>
                </c:pt>
                <c:pt idx="5781">
                  <c:v>5.1082173683401741</c:v>
                </c:pt>
                <c:pt idx="5782">
                  <c:v>4.9594961623017992</c:v>
                </c:pt>
                <c:pt idx="5783">
                  <c:v>5.8770478478992842</c:v>
                </c:pt>
                <c:pt idx="5784">
                  <c:v>4.9595328860403471</c:v>
                </c:pt>
                <c:pt idx="5785">
                  <c:v>4.8719559816384406</c:v>
                </c:pt>
                <c:pt idx="5786">
                  <c:v>4.1582435324211025</c:v>
                </c:pt>
                <c:pt idx="5787">
                  <c:v>6.9442179069987384</c:v>
                </c:pt>
                <c:pt idx="5788">
                  <c:v>6.8714768441255174</c:v>
                </c:pt>
                <c:pt idx="5789">
                  <c:v>7.0545212589639945</c:v>
                </c:pt>
                <c:pt idx="5790">
                  <c:v>5.9542347291066644</c:v>
                </c:pt>
                <c:pt idx="5791">
                  <c:v>6.0862127675639632</c:v>
                </c:pt>
                <c:pt idx="5792">
                  <c:v>4.9652019054496117</c:v>
                </c:pt>
                <c:pt idx="5793">
                  <c:v>6.0618734917958026</c:v>
                </c:pt>
                <c:pt idx="5794">
                  <c:v>7.1607051178820242</c:v>
                </c:pt>
                <c:pt idx="5795">
                  <c:v>5.9285187257297842</c:v>
                </c:pt>
                <c:pt idx="5796">
                  <c:v>4.9820510835506386</c:v>
                </c:pt>
                <c:pt idx="5797">
                  <c:v>6.0380889233858461</c:v>
                </c:pt>
                <c:pt idx="5798">
                  <c:v>4.8615869887187584</c:v>
                </c:pt>
                <c:pt idx="5799">
                  <c:v>5.8822961233894491</c:v>
                </c:pt>
                <c:pt idx="5800">
                  <c:v>6.9639573941179167</c:v>
                </c:pt>
                <c:pt idx="5801">
                  <c:v>5.0233465828118931</c:v>
                </c:pt>
                <c:pt idx="5802">
                  <c:v>7.0191602871682877</c:v>
                </c:pt>
                <c:pt idx="5803">
                  <c:v>5.0098736702998607</c:v>
                </c:pt>
                <c:pt idx="5804">
                  <c:v>7.0883564847577007</c:v>
                </c:pt>
                <c:pt idx="5805">
                  <c:v>4.967457313444303</c:v>
                </c:pt>
                <c:pt idx="5806">
                  <c:v>4.8393307044827241</c:v>
                </c:pt>
                <c:pt idx="5807">
                  <c:v>5.8722745757800894</c:v>
                </c:pt>
                <c:pt idx="5808">
                  <c:v>5.9400125151387106</c:v>
                </c:pt>
                <c:pt idx="5809">
                  <c:v>4.8824724865913041</c:v>
                </c:pt>
                <c:pt idx="5810">
                  <c:v>5.9165881794963679</c:v>
                </c:pt>
                <c:pt idx="5811">
                  <c:v>6.0490197993063006</c:v>
                </c:pt>
                <c:pt idx="5812">
                  <c:v>4.9270879291538652</c:v>
                </c:pt>
                <c:pt idx="5813">
                  <c:v>5.0532613160518283</c:v>
                </c:pt>
                <c:pt idx="5814">
                  <c:v>6.1394504950059359</c:v>
                </c:pt>
                <c:pt idx="5815">
                  <c:v>5.0555871553989435</c:v>
                </c:pt>
                <c:pt idx="5816">
                  <c:v>5.8703345197724914</c:v>
                </c:pt>
                <c:pt idx="5817">
                  <c:v>5.997719362533565</c:v>
                </c:pt>
                <c:pt idx="5818">
                  <c:v>5.8887405839248528</c:v>
                </c:pt>
                <c:pt idx="5819">
                  <c:v>5.9808764980755678</c:v>
                </c:pt>
                <c:pt idx="5820">
                  <c:v>5.8904736406782003</c:v>
                </c:pt>
                <c:pt idx="5821">
                  <c:v>4.9923694462453936</c:v>
                </c:pt>
                <c:pt idx="5822">
                  <c:v>6.0852397541475041</c:v>
                </c:pt>
                <c:pt idx="5823">
                  <c:v>4.9556798320766156</c:v>
                </c:pt>
                <c:pt idx="5824">
                  <c:v>4.9873127366995522</c:v>
                </c:pt>
                <c:pt idx="5825">
                  <c:v>5.0242890678148351</c:v>
                </c:pt>
                <c:pt idx="5826">
                  <c:v>4.8179491301909811</c:v>
                </c:pt>
                <c:pt idx="5827">
                  <c:v>6.1413024422858555</c:v>
                </c:pt>
                <c:pt idx="5828">
                  <c:v>5.9811798104514686</c:v>
                </c:pt>
                <c:pt idx="5829">
                  <c:v>4.9128250049996076</c:v>
                </c:pt>
                <c:pt idx="5830">
                  <c:v>6.0659683809102711</c:v>
                </c:pt>
                <c:pt idx="5831">
                  <c:v>4.9022589113400903</c:v>
                </c:pt>
                <c:pt idx="5832">
                  <c:v>6.2139270631973131</c:v>
                </c:pt>
                <c:pt idx="5833">
                  <c:v>7.096576340930679</c:v>
                </c:pt>
                <c:pt idx="5834">
                  <c:v>5.9216681657407992</c:v>
                </c:pt>
                <c:pt idx="5835">
                  <c:v>6.0830749023396802</c:v>
                </c:pt>
                <c:pt idx="5836">
                  <c:v>5.88134950596677</c:v>
                </c:pt>
                <c:pt idx="5837">
                  <c:v>5.9545955199348821</c:v>
                </c:pt>
                <c:pt idx="5838">
                  <c:v>6.0413672060798733</c:v>
                </c:pt>
                <c:pt idx="5839">
                  <c:v>5.9016541599601409</c:v>
                </c:pt>
                <c:pt idx="5840">
                  <c:v>6.0176032335290133</c:v>
                </c:pt>
                <c:pt idx="5841">
                  <c:v>5.0906902401058858</c:v>
                </c:pt>
                <c:pt idx="5842">
                  <c:v>4.9326353132978848</c:v>
                </c:pt>
                <c:pt idx="5843">
                  <c:v>5.9644828336949409</c:v>
                </c:pt>
                <c:pt idx="5844">
                  <c:v>6.0578741926520836</c:v>
                </c:pt>
                <c:pt idx="5845">
                  <c:v>5.170961029897156</c:v>
                </c:pt>
                <c:pt idx="5846">
                  <c:v>4.9322380708867088</c:v>
                </c:pt>
                <c:pt idx="5847">
                  <c:v>5.0363927383604228</c:v>
                </c:pt>
                <c:pt idx="5848">
                  <c:v>6.1642176275078571</c:v>
                </c:pt>
                <c:pt idx="5849">
                  <c:v>5.0938389204866548</c:v>
                </c:pt>
                <c:pt idx="5850">
                  <c:v>6.0346959345105011</c:v>
                </c:pt>
                <c:pt idx="5851">
                  <c:v>5.1812971745902239</c:v>
                </c:pt>
                <c:pt idx="5852">
                  <c:v>5.1075065648958873</c:v>
                </c:pt>
                <c:pt idx="5853">
                  <c:v>6.0014172835695723</c:v>
                </c:pt>
                <c:pt idx="5854">
                  <c:v>5.0212670931338854</c:v>
                </c:pt>
                <c:pt idx="5855">
                  <c:v>4.9817625550536464</c:v>
                </c:pt>
                <c:pt idx="5856">
                  <c:v>4.855985063423228</c:v>
                </c:pt>
                <c:pt idx="5857">
                  <c:v>6.0474129496089022</c:v>
                </c:pt>
                <c:pt idx="5858">
                  <c:v>4.9216825011173624</c:v>
                </c:pt>
                <c:pt idx="5859">
                  <c:v>5.1911536342320446</c:v>
                </c:pt>
                <c:pt idx="5860">
                  <c:v>5.1106375109125679</c:v>
                </c:pt>
                <c:pt idx="5861">
                  <c:v>6.1076833270247191</c:v>
                </c:pt>
                <c:pt idx="5862">
                  <c:v>5.012807162358289</c:v>
                </c:pt>
                <c:pt idx="5863">
                  <c:v>5.0936060635098395</c:v>
                </c:pt>
                <c:pt idx="5864">
                  <c:v>6.149357633323981</c:v>
                </c:pt>
                <c:pt idx="5865">
                  <c:v>6.0835505855387879</c:v>
                </c:pt>
                <c:pt idx="5866">
                  <c:v>7.1327655794094529</c:v>
                </c:pt>
                <c:pt idx="5867">
                  <c:v>5.9429588643171547</c:v>
                </c:pt>
                <c:pt idx="5868">
                  <c:v>5.0309859786583901</c:v>
                </c:pt>
                <c:pt idx="5869">
                  <c:v>5.0375287637335049</c:v>
                </c:pt>
                <c:pt idx="5870">
                  <c:v>7.2606052056494645</c:v>
                </c:pt>
                <c:pt idx="5871">
                  <c:v>5.015992636593066</c:v>
                </c:pt>
                <c:pt idx="5872">
                  <c:v>4.8140027795585203</c:v>
                </c:pt>
                <c:pt idx="5873">
                  <c:v>6.0753570862487063</c:v>
                </c:pt>
                <c:pt idx="5874">
                  <c:v>4.9001305925295213</c:v>
                </c:pt>
                <c:pt idx="5875">
                  <c:v>6.0072726620754571</c:v>
                </c:pt>
                <c:pt idx="5876">
                  <c:v>6.0384375338234388</c:v>
                </c:pt>
                <c:pt idx="5877">
                  <c:v>5.0663304296821945</c:v>
                </c:pt>
                <c:pt idx="5878">
                  <c:v>5.8458418977774302</c:v>
                </c:pt>
                <c:pt idx="5879">
                  <c:v>5.9157779799163031</c:v>
                </c:pt>
                <c:pt idx="5880">
                  <c:v>6.0181139326708291</c:v>
                </c:pt>
                <c:pt idx="5881">
                  <c:v>5.1001353682217685</c:v>
                </c:pt>
                <c:pt idx="5882">
                  <c:v>4.9040164714233017</c:v>
                </c:pt>
                <c:pt idx="5883">
                  <c:v>5.0818686079781497</c:v>
                </c:pt>
                <c:pt idx="5884">
                  <c:v>5.9271009971323556</c:v>
                </c:pt>
                <c:pt idx="5885">
                  <c:v>4.9019817225156359</c:v>
                </c:pt>
                <c:pt idx="5886">
                  <c:v>6.9225371586633777</c:v>
                </c:pt>
                <c:pt idx="5887">
                  <c:v>5.077342920076326</c:v>
                </c:pt>
                <c:pt idx="5888">
                  <c:v>5.0466542332285469</c:v>
                </c:pt>
                <c:pt idx="5889">
                  <c:v>4.8871569397669168</c:v>
                </c:pt>
                <c:pt idx="5890">
                  <c:v>5.0906182520413257</c:v>
                </c:pt>
                <c:pt idx="5891">
                  <c:v>4.8953218597107213</c:v>
                </c:pt>
                <c:pt idx="5892">
                  <c:v>5.9418925360905828</c:v>
                </c:pt>
                <c:pt idx="5893">
                  <c:v>5.2369494478617806</c:v>
                </c:pt>
                <c:pt idx="5894">
                  <c:v>5.9793300923950987</c:v>
                </c:pt>
                <c:pt idx="5895">
                  <c:v>4.9948349461480586</c:v>
                </c:pt>
                <c:pt idx="5896">
                  <c:v>4.8828273286495323</c:v>
                </c:pt>
                <c:pt idx="5897">
                  <c:v>5.8240330270710725</c:v>
                </c:pt>
                <c:pt idx="5898">
                  <c:v>5.9711006819119889</c:v>
                </c:pt>
                <c:pt idx="5899">
                  <c:v>5.054619730624224</c:v>
                </c:pt>
                <c:pt idx="5900">
                  <c:v>5.9006270573430015</c:v>
                </c:pt>
                <c:pt idx="5901">
                  <c:v>5.181929713247964</c:v>
                </c:pt>
                <c:pt idx="5902">
                  <c:v>5.1065079639370961</c:v>
                </c:pt>
                <c:pt idx="5903">
                  <c:v>5.1499231154230527</c:v>
                </c:pt>
                <c:pt idx="5904">
                  <c:v>5.0526219492975954</c:v>
                </c:pt>
                <c:pt idx="5905">
                  <c:v>5.9571026580280391</c:v>
                </c:pt>
                <c:pt idx="5906">
                  <c:v>5.9362037076585503</c:v>
                </c:pt>
                <c:pt idx="5907">
                  <c:v>4.9497334022792359</c:v>
                </c:pt>
                <c:pt idx="5908">
                  <c:v>5.9158051717744096</c:v>
                </c:pt>
                <c:pt idx="5909">
                  <c:v>5.0057959941301844</c:v>
                </c:pt>
                <c:pt idx="5910">
                  <c:v>4.9524405514283139</c:v>
                </c:pt>
                <c:pt idx="5911">
                  <c:v>6.1538022984544334</c:v>
                </c:pt>
                <c:pt idx="5912">
                  <c:v>5.0581016540045702</c:v>
                </c:pt>
                <c:pt idx="5913">
                  <c:v>6.1361617731397438</c:v>
                </c:pt>
                <c:pt idx="5914">
                  <c:v>5.1040146944046274</c:v>
                </c:pt>
                <c:pt idx="5915">
                  <c:v>5.0979099881917938</c:v>
                </c:pt>
                <c:pt idx="5916">
                  <c:v>6.060135474264924</c:v>
                </c:pt>
                <c:pt idx="5917">
                  <c:v>5.126888766183253</c:v>
                </c:pt>
                <c:pt idx="5918">
                  <c:v>5.9535150369739309</c:v>
                </c:pt>
                <c:pt idx="5919">
                  <c:v>5.9923820615031342</c:v>
                </c:pt>
                <c:pt idx="5920">
                  <c:v>5.9969666163475024</c:v>
                </c:pt>
                <c:pt idx="5921">
                  <c:v>4.9954800989043067</c:v>
                </c:pt>
                <c:pt idx="5922">
                  <c:v>3.9705893270316492</c:v>
                </c:pt>
                <c:pt idx="5923">
                  <c:v>4.888434982575343</c:v>
                </c:pt>
                <c:pt idx="5924">
                  <c:v>4.9036325825607667</c:v>
                </c:pt>
                <c:pt idx="5925">
                  <c:v>6.0940434043371141</c:v>
                </c:pt>
                <c:pt idx="5926">
                  <c:v>5.0791710701368933</c:v>
                </c:pt>
                <c:pt idx="5927">
                  <c:v>6.0411756255557556</c:v>
                </c:pt>
                <c:pt idx="5928">
                  <c:v>6.1331008348633995</c:v>
                </c:pt>
                <c:pt idx="5929">
                  <c:v>6.2679350444192252</c:v>
                </c:pt>
                <c:pt idx="5930">
                  <c:v>3.0340737877839086</c:v>
                </c:pt>
                <c:pt idx="5931">
                  <c:v>5.1147983775140569</c:v>
                </c:pt>
                <c:pt idx="5932">
                  <c:v>5.84841881414967</c:v>
                </c:pt>
                <c:pt idx="5933">
                  <c:v>5.0363934000429973</c:v>
                </c:pt>
                <c:pt idx="5934">
                  <c:v>5.108217111249755</c:v>
                </c:pt>
                <c:pt idx="5935">
                  <c:v>5.9228823227321135</c:v>
                </c:pt>
                <c:pt idx="5936">
                  <c:v>4.972172692509063</c:v>
                </c:pt>
                <c:pt idx="5937">
                  <c:v>6.0892487797818449</c:v>
                </c:pt>
                <c:pt idx="5938">
                  <c:v>5.981524842671881</c:v>
                </c:pt>
                <c:pt idx="5939">
                  <c:v>5.8432838189187226</c:v>
                </c:pt>
                <c:pt idx="5940">
                  <c:v>5.0826773168127115</c:v>
                </c:pt>
                <c:pt idx="5941">
                  <c:v>5.150999361817826</c:v>
                </c:pt>
                <c:pt idx="5942">
                  <c:v>6.1265502797441886</c:v>
                </c:pt>
                <c:pt idx="5943">
                  <c:v>6.0862470560854813</c:v>
                </c:pt>
                <c:pt idx="5944">
                  <c:v>5.0471215474082962</c:v>
                </c:pt>
                <c:pt idx="5945">
                  <c:v>4.9505806354430657</c:v>
                </c:pt>
                <c:pt idx="5946">
                  <c:v>6.0904555781752192</c:v>
                </c:pt>
                <c:pt idx="5947">
                  <c:v>4.8747461880464948</c:v>
                </c:pt>
                <c:pt idx="5948">
                  <c:v>5.0381885064721672</c:v>
                </c:pt>
                <c:pt idx="5949">
                  <c:v>5.8717134973971108</c:v>
                </c:pt>
                <c:pt idx="5950">
                  <c:v>5.7747505961644219</c:v>
                </c:pt>
                <c:pt idx="5951">
                  <c:v>5.9155902455795495</c:v>
                </c:pt>
                <c:pt idx="5952">
                  <c:v>6.1864587667370987</c:v>
                </c:pt>
                <c:pt idx="5953">
                  <c:v>5.9821623409150702</c:v>
                </c:pt>
                <c:pt idx="5954">
                  <c:v>6.0116129726912666</c:v>
                </c:pt>
                <c:pt idx="5955">
                  <c:v>6.1167423669917333</c:v>
                </c:pt>
                <c:pt idx="5956">
                  <c:v>5.0530650513902264</c:v>
                </c:pt>
                <c:pt idx="5957">
                  <c:v>6.2734318417322212</c:v>
                </c:pt>
                <c:pt idx="5958">
                  <c:v>5.116751873410295</c:v>
                </c:pt>
                <c:pt idx="5959">
                  <c:v>6.018596638540104</c:v>
                </c:pt>
                <c:pt idx="5960">
                  <c:v>5.8727165462584106</c:v>
                </c:pt>
                <c:pt idx="5961">
                  <c:v>5.1080778912240143</c:v>
                </c:pt>
                <c:pt idx="5962">
                  <c:v>4.9609066836537092</c:v>
                </c:pt>
                <c:pt idx="5963">
                  <c:v>5.9723899121335844</c:v>
                </c:pt>
                <c:pt idx="5964">
                  <c:v>4.8705480773059211</c:v>
                </c:pt>
                <c:pt idx="5965">
                  <c:v>5.9504944816563716</c:v>
                </c:pt>
                <c:pt idx="5966">
                  <c:v>4.9630955519889204</c:v>
                </c:pt>
                <c:pt idx="5967">
                  <c:v>5.7885814464726391</c:v>
                </c:pt>
                <c:pt idx="5968">
                  <c:v>4.9938829965407319</c:v>
                </c:pt>
                <c:pt idx="5969">
                  <c:v>6.12167642223163</c:v>
                </c:pt>
                <c:pt idx="5970">
                  <c:v>5.0704329747903225</c:v>
                </c:pt>
                <c:pt idx="5971">
                  <c:v>6.0652333224548096</c:v>
                </c:pt>
                <c:pt idx="5972">
                  <c:v>5.9710838513148161</c:v>
                </c:pt>
                <c:pt idx="5973">
                  <c:v>5.8753901054246285</c:v>
                </c:pt>
                <c:pt idx="5974">
                  <c:v>6.0832465983788877</c:v>
                </c:pt>
                <c:pt idx="5975">
                  <c:v>5.9055794725594746</c:v>
                </c:pt>
                <c:pt idx="5976">
                  <c:v>5.1550927085006615</c:v>
                </c:pt>
                <c:pt idx="5977">
                  <c:v>4.9844826295915663</c:v>
                </c:pt>
                <c:pt idx="5978">
                  <c:v>5.9056673523765495</c:v>
                </c:pt>
                <c:pt idx="5979">
                  <c:v>5.0407237776735867</c:v>
                </c:pt>
                <c:pt idx="5980">
                  <c:v>5.1616177194306889</c:v>
                </c:pt>
                <c:pt idx="5981">
                  <c:v>5.9378410678149649</c:v>
                </c:pt>
                <c:pt idx="5982">
                  <c:v>5.9486948067098053</c:v>
                </c:pt>
                <c:pt idx="5983">
                  <c:v>6.1263997455304704</c:v>
                </c:pt>
                <c:pt idx="5984">
                  <c:v>4.8934009734528381</c:v>
                </c:pt>
                <c:pt idx="5985">
                  <c:v>5.0342534872675966</c:v>
                </c:pt>
                <c:pt idx="5986">
                  <c:v>4.9643626324704986</c:v>
                </c:pt>
                <c:pt idx="5987">
                  <c:v>4.88128027979878</c:v>
                </c:pt>
                <c:pt idx="5988">
                  <c:v>5.883182663738773</c:v>
                </c:pt>
                <c:pt idx="5989">
                  <c:v>6.1140232628248539</c:v>
                </c:pt>
                <c:pt idx="5990">
                  <c:v>6.0153952161881152</c:v>
                </c:pt>
                <c:pt idx="5991">
                  <c:v>4.9110151483676052</c:v>
                </c:pt>
                <c:pt idx="5992">
                  <c:v>6.0988474188281305</c:v>
                </c:pt>
                <c:pt idx="5993">
                  <c:v>5.0025231739855478</c:v>
                </c:pt>
                <c:pt idx="5994">
                  <c:v>6.0463618667994936</c:v>
                </c:pt>
                <c:pt idx="5995">
                  <c:v>6.0999062117870517</c:v>
                </c:pt>
                <c:pt idx="5996">
                  <c:v>5.0976580278379435</c:v>
                </c:pt>
                <c:pt idx="5997">
                  <c:v>5.9023155341411364</c:v>
                </c:pt>
                <c:pt idx="5998">
                  <c:v>5.091452561420386</c:v>
                </c:pt>
                <c:pt idx="5999">
                  <c:v>5.9236775027311008</c:v>
                </c:pt>
                <c:pt idx="6000">
                  <c:v>7.0702086144194762</c:v>
                </c:pt>
                <c:pt idx="6001">
                  <c:v>5.9090689003270018</c:v>
                </c:pt>
                <c:pt idx="6002">
                  <c:v>5.219422346918396</c:v>
                </c:pt>
                <c:pt idx="6003">
                  <c:v>5.9495228737808636</c:v>
                </c:pt>
                <c:pt idx="6004">
                  <c:v>4.9396257770304208</c:v>
                </c:pt>
                <c:pt idx="6005">
                  <c:v>5.1274676757753967</c:v>
                </c:pt>
                <c:pt idx="6006">
                  <c:v>6.045575281692015</c:v>
                </c:pt>
                <c:pt idx="6007">
                  <c:v>6.1794958804313209</c:v>
                </c:pt>
                <c:pt idx="6008">
                  <c:v>4.9288662789971776</c:v>
                </c:pt>
                <c:pt idx="6009">
                  <c:v>6.0266343381132907</c:v>
                </c:pt>
                <c:pt idx="6010">
                  <c:v>5.0491870648885344</c:v>
                </c:pt>
                <c:pt idx="6011">
                  <c:v>5.1017586665710972</c:v>
                </c:pt>
                <c:pt idx="6012">
                  <c:v>5.963258281021913</c:v>
                </c:pt>
                <c:pt idx="6013">
                  <c:v>5.1083231346518865</c:v>
                </c:pt>
                <c:pt idx="6014">
                  <c:v>5.0401540163709546</c:v>
                </c:pt>
                <c:pt idx="6015">
                  <c:v>5.9718062281307116</c:v>
                </c:pt>
                <c:pt idx="6016">
                  <c:v>5.1050276038387041</c:v>
                </c:pt>
                <c:pt idx="6017">
                  <c:v>6.0481677958733098</c:v>
                </c:pt>
                <c:pt idx="6018">
                  <c:v>6.066355837763254</c:v>
                </c:pt>
                <c:pt idx="6019">
                  <c:v>5.971395233934313</c:v>
                </c:pt>
                <c:pt idx="6020">
                  <c:v>5.9812483473483757</c:v>
                </c:pt>
                <c:pt idx="6021">
                  <c:v>4.9257060935047408</c:v>
                </c:pt>
                <c:pt idx="6022">
                  <c:v>5.1281637354048604</c:v>
                </c:pt>
                <c:pt idx="6023">
                  <c:v>6.0954283082594998</c:v>
                </c:pt>
                <c:pt idx="6024">
                  <c:v>6.117697475336219</c:v>
                </c:pt>
                <c:pt idx="6025">
                  <c:v>5.0095141462207833</c:v>
                </c:pt>
                <c:pt idx="6026">
                  <c:v>4.9999593185610482</c:v>
                </c:pt>
                <c:pt idx="6027">
                  <c:v>5.0321992502316846</c:v>
                </c:pt>
                <c:pt idx="6028">
                  <c:v>4.8566287563343788</c:v>
                </c:pt>
                <c:pt idx="6029">
                  <c:v>5.857613292200039</c:v>
                </c:pt>
                <c:pt idx="6030">
                  <c:v>6.010150210068792</c:v>
                </c:pt>
                <c:pt idx="6031">
                  <c:v>4.9244952268236268</c:v>
                </c:pt>
                <c:pt idx="6032">
                  <c:v>5.9422265475526723</c:v>
                </c:pt>
                <c:pt idx="6033">
                  <c:v>5.9679115812436132</c:v>
                </c:pt>
                <c:pt idx="6034">
                  <c:v>3.9383214708636562</c:v>
                </c:pt>
                <c:pt idx="6035">
                  <c:v>4.8034862448130324</c:v>
                </c:pt>
                <c:pt idx="6036">
                  <c:v>5.9207180623988469</c:v>
                </c:pt>
                <c:pt idx="6037">
                  <c:v>5.9184027944880775</c:v>
                </c:pt>
                <c:pt idx="6038">
                  <c:v>5.0598193270132255</c:v>
                </c:pt>
                <c:pt idx="6039">
                  <c:v>5.0821561189922884</c:v>
                </c:pt>
                <c:pt idx="6040">
                  <c:v>4.96861355528792</c:v>
                </c:pt>
                <c:pt idx="6041">
                  <c:v>6.9553751327616355</c:v>
                </c:pt>
                <c:pt idx="6042">
                  <c:v>4.1249300095322488</c:v>
                </c:pt>
                <c:pt idx="6043">
                  <c:v>7.0757704670974153</c:v>
                </c:pt>
                <c:pt idx="6044">
                  <c:v>7.0376212871673136</c:v>
                </c:pt>
                <c:pt idx="6045">
                  <c:v>5.0115134514662083</c:v>
                </c:pt>
                <c:pt idx="6046">
                  <c:v>5.0271905768423393</c:v>
                </c:pt>
                <c:pt idx="6047">
                  <c:v>6.0636173936582018</c:v>
                </c:pt>
                <c:pt idx="6048">
                  <c:v>5.1188971552009637</c:v>
                </c:pt>
                <c:pt idx="6049">
                  <c:v>4.8351631751985078</c:v>
                </c:pt>
                <c:pt idx="6050">
                  <c:v>6.0581884236368326</c:v>
                </c:pt>
                <c:pt idx="6051">
                  <c:v>6.0908735542849062</c:v>
                </c:pt>
                <c:pt idx="6052">
                  <c:v>5.9852327369990634</c:v>
                </c:pt>
                <c:pt idx="6053">
                  <c:v>5.1655788131961149</c:v>
                </c:pt>
                <c:pt idx="6054">
                  <c:v>5.9508370040227616</c:v>
                </c:pt>
                <c:pt idx="6055">
                  <c:v>4.981402448765837</c:v>
                </c:pt>
                <c:pt idx="6056">
                  <c:v>5.9538960368240126</c:v>
                </c:pt>
                <c:pt idx="6057">
                  <c:v>6.2680053523161074</c:v>
                </c:pt>
                <c:pt idx="6058">
                  <c:v>5.9618147488136728</c:v>
                </c:pt>
                <c:pt idx="6059">
                  <c:v>5.9220392266327497</c:v>
                </c:pt>
                <c:pt idx="6060">
                  <c:v>6.1124624854683391</c:v>
                </c:pt>
                <c:pt idx="6061">
                  <c:v>5.7685805453183052</c:v>
                </c:pt>
                <c:pt idx="6062">
                  <c:v>6.0758252167957068</c:v>
                </c:pt>
                <c:pt idx="6063">
                  <c:v>4.922451616744242</c:v>
                </c:pt>
                <c:pt idx="6064">
                  <c:v>6.0687708132296505</c:v>
                </c:pt>
                <c:pt idx="6065">
                  <c:v>5.1040797907875817</c:v>
                </c:pt>
                <c:pt idx="6066">
                  <c:v>5.9550970799621847</c:v>
                </c:pt>
                <c:pt idx="6067">
                  <c:v>6.146711035969779</c:v>
                </c:pt>
                <c:pt idx="6068">
                  <c:v>4.9673102195063938</c:v>
                </c:pt>
                <c:pt idx="6069">
                  <c:v>6.0586416231360571</c:v>
                </c:pt>
                <c:pt idx="6070">
                  <c:v>5.077020143972522</c:v>
                </c:pt>
                <c:pt idx="6071">
                  <c:v>5.0935521576078298</c:v>
                </c:pt>
                <c:pt idx="6072">
                  <c:v>5.8770465736397206</c:v>
                </c:pt>
                <c:pt idx="6073">
                  <c:v>4.9328209936431451</c:v>
                </c:pt>
                <c:pt idx="6074">
                  <c:v>4.9696589153946809</c:v>
                </c:pt>
                <c:pt idx="6075">
                  <c:v>7.0487307603688576</c:v>
                </c:pt>
                <c:pt idx="6076">
                  <c:v>4.7468030726164381</c:v>
                </c:pt>
                <c:pt idx="6077">
                  <c:v>5.9295633914333941</c:v>
                </c:pt>
                <c:pt idx="6078">
                  <c:v>5.9002315483842471</c:v>
                </c:pt>
                <c:pt idx="6079">
                  <c:v>6.0621434615107583</c:v>
                </c:pt>
                <c:pt idx="6080">
                  <c:v>6.1111488227670936</c:v>
                </c:pt>
                <c:pt idx="6081">
                  <c:v>4.9138159348919324</c:v>
                </c:pt>
                <c:pt idx="6082">
                  <c:v>5.9448119546951874</c:v>
                </c:pt>
                <c:pt idx="6083">
                  <c:v>4.9420798900471814</c:v>
                </c:pt>
                <c:pt idx="6084">
                  <c:v>5.053970842353686</c:v>
                </c:pt>
                <c:pt idx="6085">
                  <c:v>6.143424232746777</c:v>
                </c:pt>
                <c:pt idx="6086">
                  <c:v>6.033063624683372</c:v>
                </c:pt>
                <c:pt idx="6087">
                  <c:v>5.0309266357626896</c:v>
                </c:pt>
                <c:pt idx="6088">
                  <c:v>5.1018737222010362</c:v>
                </c:pt>
                <c:pt idx="6089">
                  <c:v>4.9760115600419121</c:v>
                </c:pt>
                <c:pt idx="6090">
                  <c:v>6.0590316173160605</c:v>
                </c:pt>
                <c:pt idx="6091">
                  <c:v>6.0939062796360215</c:v>
                </c:pt>
                <c:pt idx="6092">
                  <c:v>6.1015699743182807</c:v>
                </c:pt>
                <c:pt idx="6093">
                  <c:v>6.0627833770671673</c:v>
                </c:pt>
                <c:pt idx="6094">
                  <c:v>5.0500406649985337</c:v>
                </c:pt>
                <c:pt idx="6095">
                  <c:v>6.027946823737838</c:v>
                </c:pt>
                <c:pt idx="6096">
                  <c:v>4.7975317204533336</c:v>
                </c:pt>
                <c:pt idx="6097">
                  <c:v>5.0440446393471907</c:v>
                </c:pt>
                <c:pt idx="6098">
                  <c:v>5.8849520845780807</c:v>
                </c:pt>
                <c:pt idx="6099">
                  <c:v>6.1158029259058511</c:v>
                </c:pt>
                <c:pt idx="6100">
                  <c:v>5.9094299502614911</c:v>
                </c:pt>
                <c:pt idx="6101">
                  <c:v>4.8677487962849133</c:v>
                </c:pt>
                <c:pt idx="6102">
                  <c:v>4.9023967738560996</c:v>
                </c:pt>
                <c:pt idx="6103">
                  <c:v>5.0571592799239697</c:v>
                </c:pt>
                <c:pt idx="6104">
                  <c:v>4.8937814616281763</c:v>
                </c:pt>
                <c:pt idx="6105">
                  <c:v>6.0150231981307831</c:v>
                </c:pt>
                <c:pt idx="6106">
                  <c:v>4.958756003494261</c:v>
                </c:pt>
                <c:pt idx="6107">
                  <c:v>5.2225878254533882</c:v>
                </c:pt>
                <c:pt idx="6108">
                  <c:v>5.9213468340242388</c:v>
                </c:pt>
                <c:pt idx="6109">
                  <c:v>5.019513383033936</c:v>
                </c:pt>
                <c:pt idx="6110">
                  <c:v>5.1268229150228821</c:v>
                </c:pt>
                <c:pt idx="6111">
                  <c:v>5.1902272164136471</c:v>
                </c:pt>
                <c:pt idx="6112">
                  <c:v>5.9678419773520242</c:v>
                </c:pt>
                <c:pt idx="6113">
                  <c:v>4.9256789095060132</c:v>
                </c:pt>
                <c:pt idx="6114">
                  <c:v>5.9388586291694443</c:v>
                </c:pt>
                <c:pt idx="6115">
                  <c:v>7.063469774529513</c:v>
                </c:pt>
                <c:pt idx="6116">
                  <c:v>4.1330655998994814</c:v>
                </c:pt>
                <c:pt idx="6117">
                  <c:v>7.0570242458860211</c:v>
                </c:pt>
                <c:pt idx="6118">
                  <c:v>5.0519260853673744</c:v>
                </c:pt>
                <c:pt idx="6119">
                  <c:v>5.0976715984517602</c:v>
                </c:pt>
                <c:pt idx="6120">
                  <c:v>3.8801931557204341</c:v>
                </c:pt>
                <c:pt idx="6121">
                  <c:v>6.0998515661512753</c:v>
                </c:pt>
                <c:pt idx="6122">
                  <c:v>5.9517136443524663</c:v>
                </c:pt>
                <c:pt idx="6123">
                  <c:v>6.0498629130028876</c:v>
                </c:pt>
                <c:pt idx="6124">
                  <c:v>6.0251462019258044</c:v>
                </c:pt>
                <c:pt idx="6125">
                  <c:v>4.8477601103379815</c:v>
                </c:pt>
                <c:pt idx="6126">
                  <c:v>5.8668448712404553</c:v>
                </c:pt>
                <c:pt idx="6127">
                  <c:v>6.9330624459163177</c:v>
                </c:pt>
                <c:pt idx="6128">
                  <c:v>6.1955260239602916</c:v>
                </c:pt>
                <c:pt idx="6129">
                  <c:v>4.8017220494071697</c:v>
                </c:pt>
                <c:pt idx="6130">
                  <c:v>5.1283207453322817</c:v>
                </c:pt>
                <c:pt idx="6131">
                  <c:v>5.0328578843084504</c:v>
                </c:pt>
                <c:pt idx="6132">
                  <c:v>5.0509626149509383</c:v>
                </c:pt>
                <c:pt idx="6133">
                  <c:v>6.129889311717152</c:v>
                </c:pt>
                <c:pt idx="6134">
                  <c:v>5.115828614923009</c:v>
                </c:pt>
                <c:pt idx="6135">
                  <c:v>5.637432873390833</c:v>
                </c:pt>
                <c:pt idx="6136">
                  <c:v>4.9222861580085491</c:v>
                </c:pt>
                <c:pt idx="6137">
                  <c:v>5.9845863438070772</c:v>
                </c:pt>
                <c:pt idx="6138">
                  <c:v>5.0271198621907214</c:v>
                </c:pt>
                <c:pt idx="6139">
                  <c:v>4.9997248662482789</c:v>
                </c:pt>
                <c:pt idx="6140">
                  <c:v>5.1726490988273435</c:v>
                </c:pt>
                <c:pt idx="6141">
                  <c:v>4.9747943394275875</c:v>
                </c:pt>
                <c:pt idx="6142">
                  <c:v>4.8284373546013795</c:v>
                </c:pt>
                <c:pt idx="6143">
                  <c:v>5.0632626440735775</c:v>
                </c:pt>
                <c:pt idx="6144">
                  <c:v>5.8670608009145919</c:v>
                </c:pt>
                <c:pt idx="6145">
                  <c:v>5.1164520957690938</c:v>
                </c:pt>
                <c:pt idx="6146">
                  <c:v>5.9106434707223672</c:v>
                </c:pt>
                <c:pt idx="6147">
                  <c:v>5.0101301906734061</c:v>
                </c:pt>
                <c:pt idx="6148">
                  <c:v>5.9178082905911404</c:v>
                </c:pt>
                <c:pt idx="6149">
                  <c:v>5.9058236732681024</c:v>
                </c:pt>
                <c:pt idx="6150">
                  <c:v>6.9806321190926521</c:v>
                </c:pt>
                <c:pt idx="6151">
                  <c:v>5.891207553417102</c:v>
                </c:pt>
                <c:pt idx="6152">
                  <c:v>4.9002998532633173</c:v>
                </c:pt>
                <c:pt idx="6153">
                  <c:v>6.1126936979425563</c:v>
                </c:pt>
                <c:pt idx="6154">
                  <c:v>4.7952804640587532</c:v>
                </c:pt>
                <c:pt idx="6155">
                  <c:v>5.0421114953191841</c:v>
                </c:pt>
                <c:pt idx="6156">
                  <c:v>4.9495358645740302</c:v>
                </c:pt>
                <c:pt idx="6157">
                  <c:v>6.1440586699671789</c:v>
                </c:pt>
                <c:pt idx="6158">
                  <c:v>4.9676560771964065</c:v>
                </c:pt>
                <c:pt idx="6159">
                  <c:v>6.1159412329321716</c:v>
                </c:pt>
                <c:pt idx="6160">
                  <c:v>6.1012931909430428</c:v>
                </c:pt>
                <c:pt idx="6161">
                  <c:v>6.0030860517061662</c:v>
                </c:pt>
                <c:pt idx="6162">
                  <c:v>3.8684681056490473</c:v>
                </c:pt>
                <c:pt idx="6163">
                  <c:v>4.2073736056571498</c:v>
                </c:pt>
                <c:pt idx="6164">
                  <c:v>4.026706650340107</c:v>
                </c:pt>
                <c:pt idx="6165">
                  <c:v>3.9989636245729021</c:v>
                </c:pt>
                <c:pt idx="6166">
                  <c:v>4.2226648534822919</c:v>
                </c:pt>
                <c:pt idx="6167">
                  <c:v>3.9609821432971355</c:v>
                </c:pt>
                <c:pt idx="6168">
                  <c:v>4.0653711930672563</c:v>
                </c:pt>
                <c:pt idx="6169">
                  <c:v>4.0206366658446715</c:v>
                </c:pt>
                <c:pt idx="6170">
                  <c:v>4.0337487074522391</c:v>
                </c:pt>
                <c:pt idx="6171">
                  <c:v>5.9195759637923482</c:v>
                </c:pt>
                <c:pt idx="6172">
                  <c:v>4.9842248725485039</c:v>
                </c:pt>
                <c:pt idx="6173">
                  <c:v>4.9072332771557097</c:v>
                </c:pt>
                <c:pt idx="6174">
                  <c:v>6.1334527708271445</c:v>
                </c:pt>
                <c:pt idx="6175">
                  <c:v>4.9088073559503398</c:v>
                </c:pt>
                <c:pt idx="6176">
                  <c:v>5.9991818040221556</c:v>
                </c:pt>
                <c:pt idx="6177">
                  <c:v>6.012449658511791</c:v>
                </c:pt>
                <c:pt idx="6178">
                  <c:v>4.9054879187363589</c:v>
                </c:pt>
                <c:pt idx="6179">
                  <c:v>6.0233488046755017</c:v>
                </c:pt>
                <c:pt idx="6180">
                  <c:v>5.1015781567893139</c:v>
                </c:pt>
                <c:pt idx="6181">
                  <c:v>5.024396127190931</c:v>
                </c:pt>
                <c:pt idx="6182">
                  <c:v>4.9897254367728179</c:v>
                </c:pt>
                <c:pt idx="6183">
                  <c:v>4.0373280336677846</c:v>
                </c:pt>
                <c:pt idx="6184">
                  <c:v>7.2118648804306122</c:v>
                </c:pt>
                <c:pt idx="6185">
                  <c:v>5.1262274491286437</c:v>
                </c:pt>
                <c:pt idx="6186">
                  <c:v>3.7630555150273999</c:v>
                </c:pt>
                <c:pt idx="6187">
                  <c:v>5.0639770095021088</c:v>
                </c:pt>
                <c:pt idx="6188">
                  <c:v>5.0721177668812043</c:v>
                </c:pt>
                <c:pt idx="6189">
                  <c:v>6.9714242936424275</c:v>
                </c:pt>
                <c:pt idx="6190">
                  <c:v>4.9417988565292843</c:v>
                </c:pt>
                <c:pt idx="6191">
                  <c:v>5.0233958269208561</c:v>
                </c:pt>
                <c:pt idx="6192">
                  <c:v>4.9735033556275043</c:v>
                </c:pt>
                <c:pt idx="6193">
                  <c:v>4.815114257663117</c:v>
                </c:pt>
                <c:pt idx="6194">
                  <c:v>6.2000642552965415</c:v>
                </c:pt>
                <c:pt idx="6195">
                  <c:v>5.9251334147330015</c:v>
                </c:pt>
                <c:pt idx="6196">
                  <c:v>5.0145591127983478</c:v>
                </c:pt>
                <c:pt idx="6197">
                  <c:v>4.9249686244417452</c:v>
                </c:pt>
                <c:pt idx="6198">
                  <c:v>5.9895786518323364</c:v>
                </c:pt>
                <c:pt idx="6199">
                  <c:v>4.1532441317745095</c:v>
                </c:pt>
                <c:pt idx="6200">
                  <c:v>3.8530346076440432</c:v>
                </c:pt>
                <c:pt idx="6201">
                  <c:v>3.9677200535033874</c:v>
                </c:pt>
                <c:pt idx="6202">
                  <c:v>4.1956043817936406</c:v>
                </c:pt>
                <c:pt idx="6203">
                  <c:v>4.0816965191788688</c:v>
                </c:pt>
                <c:pt idx="6204">
                  <c:v>3.9751327219900201</c:v>
                </c:pt>
                <c:pt idx="6205">
                  <c:v>4.0420592606378758</c:v>
                </c:pt>
                <c:pt idx="6206">
                  <c:v>5.8351784829907229</c:v>
                </c:pt>
                <c:pt idx="6207">
                  <c:v>5.9442536724144315</c:v>
                </c:pt>
                <c:pt idx="6208">
                  <c:v>5.9337154887282306</c:v>
                </c:pt>
                <c:pt idx="6209">
                  <c:v>6.0943324425833003</c:v>
                </c:pt>
                <c:pt idx="6210">
                  <c:v>5.9345899848778751</c:v>
                </c:pt>
                <c:pt idx="6211">
                  <c:v>6.0244108457448382</c:v>
                </c:pt>
                <c:pt idx="6212">
                  <c:v>5.1258775370467635</c:v>
                </c:pt>
                <c:pt idx="6213">
                  <c:v>5.8433057570516986</c:v>
                </c:pt>
                <c:pt idx="6214">
                  <c:v>6.0901633133173672</c:v>
                </c:pt>
                <c:pt idx="6215">
                  <c:v>6.0539569159292217</c:v>
                </c:pt>
                <c:pt idx="6216">
                  <c:v>5.9888748063304504</c:v>
                </c:pt>
                <c:pt idx="6217">
                  <c:v>6.025882876837132</c:v>
                </c:pt>
                <c:pt idx="6218">
                  <c:v>5.9494208452629085</c:v>
                </c:pt>
                <c:pt idx="6219">
                  <c:v>4.0825141458911309</c:v>
                </c:pt>
                <c:pt idx="6220">
                  <c:v>5.9902725392759493</c:v>
                </c:pt>
                <c:pt idx="6221">
                  <c:v>5.9067642436875252</c:v>
                </c:pt>
                <c:pt idx="6222">
                  <c:v>4.9509101892153469</c:v>
                </c:pt>
                <c:pt idx="6223">
                  <c:v>4.9539368347233141</c:v>
                </c:pt>
                <c:pt idx="6224">
                  <c:v>4.0758542121907135</c:v>
                </c:pt>
                <c:pt idx="6225">
                  <c:v>5.9889076556776555</c:v>
                </c:pt>
                <c:pt idx="6226">
                  <c:v>4.9586505913114927</c:v>
                </c:pt>
                <c:pt idx="6227">
                  <c:v>6.016570111875378</c:v>
                </c:pt>
                <c:pt idx="6228">
                  <c:v>5.0567317311069573</c:v>
                </c:pt>
                <c:pt idx="6229">
                  <c:v>4.9903860912148268</c:v>
                </c:pt>
                <c:pt idx="6230">
                  <c:v>4.9294910793510587</c:v>
                </c:pt>
                <c:pt idx="6231">
                  <c:v>5.1068116195582913</c:v>
                </c:pt>
                <c:pt idx="6232">
                  <c:v>5.0214717180432631</c:v>
                </c:pt>
                <c:pt idx="6233">
                  <c:v>5.8663181298587963</c:v>
                </c:pt>
                <c:pt idx="6234">
                  <c:v>5.1004966606993234</c:v>
                </c:pt>
                <c:pt idx="6235">
                  <c:v>6.0115571848997664</c:v>
                </c:pt>
                <c:pt idx="6236">
                  <c:v>4.9536221177897035</c:v>
                </c:pt>
                <c:pt idx="6237">
                  <c:v>3.9821179527077342</c:v>
                </c:pt>
                <c:pt idx="6238">
                  <c:v>6.1225676967549703</c:v>
                </c:pt>
                <c:pt idx="6239">
                  <c:v>5.023716232334853</c:v>
                </c:pt>
                <c:pt idx="6240">
                  <c:v>4.9704841984303023</c:v>
                </c:pt>
                <c:pt idx="6241">
                  <c:v>6.0646643980102422</c:v>
                </c:pt>
                <c:pt idx="6242">
                  <c:v>5.0193555838656687</c:v>
                </c:pt>
                <c:pt idx="6243">
                  <c:v>4.9631017763417109</c:v>
                </c:pt>
                <c:pt idx="6244">
                  <c:v>4.9768688624224309</c:v>
                </c:pt>
                <c:pt idx="6245">
                  <c:v>4.8724347940980257</c:v>
                </c:pt>
                <c:pt idx="6246">
                  <c:v>5.8146674762285242</c:v>
                </c:pt>
                <c:pt idx="6247">
                  <c:v>6.1861407186380148</c:v>
                </c:pt>
                <c:pt idx="6248">
                  <c:v>4.7589744117221802</c:v>
                </c:pt>
                <c:pt idx="6249">
                  <c:v>4.988116723388198</c:v>
                </c:pt>
                <c:pt idx="6250">
                  <c:v>6.0434215889929259</c:v>
                </c:pt>
                <c:pt idx="6251">
                  <c:v>6.0429095453125967</c:v>
                </c:pt>
                <c:pt idx="6252">
                  <c:v>6.1521561978657546</c:v>
                </c:pt>
                <c:pt idx="6253">
                  <c:v>6.1538636084769571</c:v>
                </c:pt>
                <c:pt idx="6254">
                  <c:v>5.1552035330164365</c:v>
                </c:pt>
                <c:pt idx="6255">
                  <c:v>6.0171408116906493</c:v>
                </c:pt>
                <c:pt idx="6256">
                  <c:v>4.942561604545558</c:v>
                </c:pt>
                <c:pt idx="6257">
                  <c:v>5.9730620032351789</c:v>
                </c:pt>
                <c:pt idx="6258">
                  <c:v>5.8885261540559233</c:v>
                </c:pt>
                <c:pt idx="6259">
                  <c:v>5.9357504204321172</c:v>
                </c:pt>
                <c:pt idx="6260">
                  <c:v>4.804909926247853</c:v>
                </c:pt>
                <c:pt idx="6261">
                  <c:v>6.0094682184802526</c:v>
                </c:pt>
                <c:pt idx="6262">
                  <c:v>4.1083747777319255</c:v>
                </c:pt>
                <c:pt idx="6263">
                  <c:v>5.9336776837688294</c:v>
                </c:pt>
                <c:pt idx="6264">
                  <c:v>5.1637640024605442</c:v>
                </c:pt>
                <c:pt idx="6265">
                  <c:v>4.8161927955338832</c:v>
                </c:pt>
                <c:pt idx="6266">
                  <c:v>5.8455126638836763</c:v>
                </c:pt>
                <c:pt idx="6267">
                  <c:v>5.9538416618554324</c:v>
                </c:pt>
                <c:pt idx="6268">
                  <c:v>5.8649039614616587</c:v>
                </c:pt>
                <c:pt idx="6269">
                  <c:v>5.0120025972537521</c:v>
                </c:pt>
                <c:pt idx="6270">
                  <c:v>5.0867706036999945</c:v>
                </c:pt>
                <c:pt idx="6271">
                  <c:v>5.9384247682287477</c:v>
                </c:pt>
                <c:pt idx="6272">
                  <c:v>4.8266638471172385</c:v>
                </c:pt>
                <c:pt idx="6273">
                  <c:v>5.0595826311868688</c:v>
                </c:pt>
                <c:pt idx="6274">
                  <c:v>5.1280749700481225</c:v>
                </c:pt>
                <c:pt idx="6275">
                  <c:v>4.9662181795458062</c:v>
                </c:pt>
                <c:pt idx="6276">
                  <c:v>4.9002261012617501</c:v>
                </c:pt>
                <c:pt idx="6277">
                  <c:v>6.072456466011027</c:v>
                </c:pt>
                <c:pt idx="6278">
                  <c:v>5.9635710179896293</c:v>
                </c:pt>
                <c:pt idx="6279">
                  <c:v>6.0076814703479657</c:v>
                </c:pt>
                <c:pt idx="6280">
                  <c:v>5.8720119408371927</c:v>
                </c:pt>
                <c:pt idx="6281">
                  <c:v>5.9890697192480271</c:v>
                </c:pt>
                <c:pt idx="6282">
                  <c:v>5.8436496618763218</c:v>
                </c:pt>
                <c:pt idx="6283">
                  <c:v>5.9397960750669361</c:v>
                </c:pt>
                <c:pt idx="6284">
                  <c:v>6.0063838255138862</c:v>
                </c:pt>
                <c:pt idx="6285">
                  <c:v>6.0286610544700352</c:v>
                </c:pt>
                <c:pt idx="6286">
                  <c:v>6.0791215300974706</c:v>
                </c:pt>
                <c:pt idx="6287">
                  <c:v>5.8032901667697363</c:v>
                </c:pt>
                <c:pt idx="6288">
                  <c:v>5.9024758757551981</c:v>
                </c:pt>
                <c:pt idx="6289">
                  <c:v>6.0374555936240055</c:v>
                </c:pt>
                <c:pt idx="6290">
                  <c:v>6.0162278703420933</c:v>
                </c:pt>
                <c:pt idx="6291">
                  <c:v>5.9057246794966565</c:v>
                </c:pt>
                <c:pt idx="6292">
                  <c:v>6.8537226166537364</c:v>
                </c:pt>
                <c:pt idx="6293">
                  <c:v>5.9726659860971063</c:v>
                </c:pt>
                <c:pt idx="6294">
                  <c:v>5.9500511069713529</c:v>
                </c:pt>
                <c:pt idx="6295">
                  <c:v>4.0707245657932516</c:v>
                </c:pt>
                <c:pt idx="6296">
                  <c:v>4.018900031692116</c:v>
                </c:pt>
                <c:pt idx="6297">
                  <c:v>6.0820211291771393</c:v>
                </c:pt>
                <c:pt idx="6298">
                  <c:v>2.915693626310325</c:v>
                </c:pt>
                <c:pt idx="6299">
                  <c:v>6.0811680854894279</c:v>
                </c:pt>
                <c:pt idx="6300">
                  <c:v>5.9973394341795352</c:v>
                </c:pt>
                <c:pt idx="6301">
                  <c:v>4.9507154780239206</c:v>
                </c:pt>
                <c:pt idx="6302">
                  <c:v>5.9555607135623356</c:v>
                </c:pt>
                <c:pt idx="6303">
                  <c:v>6.0232418751220269</c:v>
                </c:pt>
                <c:pt idx="6304">
                  <c:v>4.9902701726696019</c:v>
                </c:pt>
                <c:pt idx="6305">
                  <c:v>2.7875662036916244</c:v>
                </c:pt>
                <c:pt idx="6306">
                  <c:v>6.0094458783516211</c:v>
                </c:pt>
                <c:pt idx="6307">
                  <c:v>6.232765298937756</c:v>
                </c:pt>
                <c:pt idx="6308">
                  <c:v>5.8652166244760586</c:v>
                </c:pt>
                <c:pt idx="6309">
                  <c:v>5.0537414483582284</c:v>
                </c:pt>
                <c:pt idx="6310">
                  <c:v>3.9907606551608468</c:v>
                </c:pt>
                <c:pt idx="6311">
                  <c:v>3.9445165453331472</c:v>
                </c:pt>
                <c:pt idx="6312">
                  <c:v>4.7595373010130722</c:v>
                </c:pt>
                <c:pt idx="6313">
                  <c:v>5.0942095757205124</c:v>
                </c:pt>
                <c:pt idx="6314">
                  <c:v>6.044465828148291</c:v>
                </c:pt>
                <c:pt idx="6315">
                  <c:v>6.06557789072499</c:v>
                </c:pt>
                <c:pt idx="6316">
                  <c:v>5.0857624471502803</c:v>
                </c:pt>
                <c:pt idx="6317">
                  <c:v>5.8604307574205139</c:v>
                </c:pt>
                <c:pt idx="6318">
                  <c:v>4.9741823875498019</c:v>
                </c:pt>
                <c:pt idx="6319">
                  <c:v>5.9615828976721126</c:v>
                </c:pt>
                <c:pt idx="6320">
                  <c:v>6.2220482108339219</c:v>
                </c:pt>
                <c:pt idx="6321">
                  <c:v>4.9530644929405803</c:v>
                </c:pt>
                <c:pt idx="6322">
                  <c:v>6.0582144657558503</c:v>
                </c:pt>
                <c:pt idx="6323">
                  <c:v>5.9354038764369168</c:v>
                </c:pt>
                <c:pt idx="6324">
                  <c:v>5.9702236159750646</c:v>
                </c:pt>
                <c:pt idx="6325">
                  <c:v>5.1012031828995141</c:v>
                </c:pt>
                <c:pt idx="6326">
                  <c:v>6.0846877590157264</c:v>
                </c:pt>
                <c:pt idx="6327">
                  <c:v>6.1682022743617662</c:v>
                </c:pt>
                <c:pt idx="6328">
                  <c:v>7.0468937331368542</c:v>
                </c:pt>
                <c:pt idx="6329">
                  <c:v>7.0054500586577122</c:v>
                </c:pt>
                <c:pt idx="6330">
                  <c:v>6.0066833339357855</c:v>
                </c:pt>
                <c:pt idx="6331">
                  <c:v>5.9958465455666268</c:v>
                </c:pt>
                <c:pt idx="6332">
                  <c:v>5.7868946821432763</c:v>
                </c:pt>
                <c:pt idx="6333">
                  <c:v>5.8451833239321047</c:v>
                </c:pt>
                <c:pt idx="6334">
                  <c:v>6.0850836021391048</c:v>
                </c:pt>
                <c:pt idx="6335">
                  <c:v>5.0769091371051545</c:v>
                </c:pt>
                <c:pt idx="6336">
                  <c:v>6.0087835187363092</c:v>
                </c:pt>
                <c:pt idx="6337">
                  <c:v>6.1100574963464025</c:v>
                </c:pt>
                <c:pt idx="6338">
                  <c:v>6.0769712699578537</c:v>
                </c:pt>
                <c:pt idx="6339">
                  <c:v>5.8716145283201104</c:v>
                </c:pt>
                <c:pt idx="6340">
                  <c:v>4.0050373541383237</c:v>
                </c:pt>
                <c:pt idx="6341">
                  <c:v>4.2008691106502072</c:v>
                </c:pt>
                <c:pt idx="6342">
                  <c:v>4.1618209934058124</c:v>
                </c:pt>
                <c:pt idx="6343">
                  <c:v>5.9817327476748492</c:v>
                </c:pt>
                <c:pt idx="6344">
                  <c:v>4.0188699745915466</c:v>
                </c:pt>
                <c:pt idx="6345">
                  <c:v>4.9117500175183251</c:v>
                </c:pt>
                <c:pt idx="6346">
                  <c:v>5.9851527815536443</c:v>
                </c:pt>
                <c:pt idx="6347">
                  <c:v>5.8444132140364902</c:v>
                </c:pt>
                <c:pt idx="6348">
                  <c:v>4.9701824444892715</c:v>
                </c:pt>
                <c:pt idx="6349">
                  <c:v>6.2092060043164707</c:v>
                </c:pt>
                <c:pt idx="6350">
                  <c:v>5.8808823122231777</c:v>
                </c:pt>
                <c:pt idx="6351">
                  <c:v>4.9583635434027737</c:v>
                </c:pt>
                <c:pt idx="6352">
                  <c:v>4.9868634656943778</c:v>
                </c:pt>
                <c:pt idx="6353">
                  <c:v>5.9422976301454487</c:v>
                </c:pt>
                <c:pt idx="6354">
                  <c:v>4.9980530798328555</c:v>
                </c:pt>
                <c:pt idx="6355">
                  <c:v>6.0839720353025903</c:v>
                </c:pt>
                <c:pt idx="6356">
                  <c:v>4.8791270914138503</c:v>
                </c:pt>
                <c:pt idx="6357">
                  <c:v>6.0080064458950435</c:v>
                </c:pt>
                <c:pt idx="6358">
                  <c:v>5.9640710755186106</c:v>
                </c:pt>
                <c:pt idx="6359">
                  <c:v>4.9243736147793351</c:v>
                </c:pt>
                <c:pt idx="6360">
                  <c:v>6.0777840121321933</c:v>
                </c:pt>
                <c:pt idx="6361">
                  <c:v>4.886345855807865</c:v>
                </c:pt>
                <c:pt idx="6362">
                  <c:v>5.1168096522460456</c:v>
                </c:pt>
                <c:pt idx="6363">
                  <c:v>5.0838962622546946</c:v>
                </c:pt>
                <c:pt idx="6364">
                  <c:v>4.9376553820125872</c:v>
                </c:pt>
                <c:pt idx="6365">
                  <c:v>4.9798137335741011</c:v>
                </c:pt>
                <c:pt idx="6366">
                  <c:v>4.9305624292534347</c:v>
                </c:pt>
                <c:pt idx="6367">
                  <c:v>5.9780163149726837</c:v>
                </c:pt>
                <c:pt idx="6368">
                  <c:v>5.7525670887336791</c:v>
                </c:pt>
                <c:pt idx="6369">
                  <c:v>4.053844564658732</c:v>
                </c:pt>
                <c:pt idx="6370">
                  <c:v>5.9913785549634158</c:v>
                </c:pt>
                <c:pt idx="6371">
                  <c:v>4.8223944398997025</c:v>
                </c:pt>
                <c:pt idx="6372">
                  <c:v>5.9684014316287888</c:v>
                </c:pt>
                <c:pt idx="6373">
                  <c:v>5.9117975034769144</c:v>
                </c:pt>
                <c:pt idx="6374">
                  <c:v>5.018732581930883</c:v>
                </c:pt>
                <c:pt idx="6375">
                  <c:v>6.1183793126396067</c:v>
                </c:pt>
                <c:pt idx="6376">
                  <c:v>6.9839873562745023</c:v>
                </c:pt>
                <c:pt idx="6377">
                  <c:v>6.0050868714428249</c:v>
                </c:pt>
                <c:pt idx="6378">
                  <c:v>5.1111507800720943</c:v>
                </c:pt>
                <c:pt idx="6379">
                  <c:v>6.166806345095714</c:v>
                </c:pt>
                <c:pt idx="6380">
                  <c:v>5.9051291557606405</c:v>
                </c:pt>
                <c:pt idx="6381">
                  <c:v>4.9098430649534777</c:v>
                </c:pt>
                <c:pt idx="6382">
                  <c:v>5.0203316918471153</c:v>
                </c:pt>
                <c:pt idx="6383">
                  <c:v>6.0815224554338769</c:v>
                </c:pt>
                <c:pt idx="6384">
                  <c:v>5.1170259256104131</c:v>
                </c:pt>
                <c:pt idx="6385">
                  <c:v>4.9618237678444892</c:v>
                </c:pt>
                <c:pt idx="6386">
                  <c:v>6.0747333178732656</c:v>
                </c:pt>
                <c:pt idx="6387">
                  <c:v>5.0396376555741034</c:v>
                </c:pt>
                <c:pt idx="6388">
                  <c:v>6.0376121224614376</c:v>
                </c:pt>
                <c:pt idx="6389">
                  <c:v>4.8958197090036331</c:v>
                </c:pt>
                <c:pt idx="6390">
                  <c:v>6.0010663375524533</c:v>
                </c:pt>
                <c:pt idx="6391">
                  <c:v>4.744648548829522</c:v>
                </c:pt>
                <c:pt idx="6392">
                  <c:v>4.9441478263800098</c:v>
                </c:pt>
                <c:pt idx="6393">
                  <c:v>6.0112337836545819</c:v>
                </c:pt>
                <c:pt idx="6394">
                  <c:v>4.860108834106331</c:v>
                </c:pt>
                <c:pt idx="6395">
                  <c:v>5.1852357715037733</c:v>
                </c:pt>
                <c:pt idx="6396">
                  <c:v>4.9813457088954864</c:v>
                </c:pt>
                <c:pt idx="6397">
                  <c:v>5.91896169903145</c:v>
                </c:pt>
                <c:pt idx="6398">
                  <c:v>5.0198224754858751</c:v>
                </c:pt>
                <c:pt idx="6399">
                  <c:v>5.0310069146053467</c:v>
                </c:pt>
                <c:pt idx="6400">
                  <c:v>5.9837422345888722</c:v>
                </c:pt>
                <c:pt idx="6401">
                  <c:v>5.9780304104196977</c:v>
                </c:pt>
                <c:pt idx="6402">
                  <c:v>6.0536111494359295</c:v>
                </c:pt>
                <c:pt idx="6403">
                  <c:v>5.0453378897128731</c:v>
                </c:pt>
                <c:pt idx="6404">
                  <c:v>4.9431444974109588</c:v>
                </c:pt>
                <c:pt idx="6405">
                  <c:v>4.9794205624868537</c:v>
                </c:pt>
                <c:pt idx="6406">
                  <c:v>6.1447658272447772</c:v>
                </c:pt>
                <c:pt idx="6407">
                  <c:v>5.8974603796936087</c:v>
                </c:pt>
                <c:pt idx="6408">
                  <c:v>5.8073023923528879</c:v>
                </c:pt>
                <c:pt idx="6409">
                  <c:v>5.9975904974883951</c:v>
                </c:pt>
                <c:pt idx="6410">
                  <c:v>6.0355829228541245</c:v>
                </c:pt>
                <c:pt idx="6411">
                  <c:v>6.1112563649264029</c:v>
                </c:pt>
                <c:pt idx="6412">
                  <c:v>5.0369467480516761</c:v>
                </c:pt>
                <c:pt idx="6413">
                  <c:v>5.0407612068964163</c:v>
                </c:pt>
                <c:pt idx="6414">
                  <c:v>4.9390966017618592</c:v>
                </c:pt>
                <c:pt idx="6415">
                  <c:v>6.099227759585875</c:v>
                </c:pt>
                <c:pt idx="6416">
                  <c:v>5.040872298021136</c:v>
                </c:pt>
                <c:pt idx="6417">
                  <c:v>4.941601264378467</c:v>
                </c:pt>
                <c:pt idx="6418">
                  <c:v>5.1447560191530579</c:v>
                </c:pt>
                <c:pt idx="6419">
                  <c:v>4.8883451599533725</c:v>
                </c:pt>
                <c:pt idx="6420">
                  <c:v>6.2719283664692451</c:v>
                </c:pt>
                <c:pt idx="6421">
                  <c:v>4.8766210711971807</c:v>
                </c:pt>
                <c:pt idx="6422">
                  <c:v>6.1236870993154255</c:v>
                </c:pt>
                <c:pt idx="6423">
                  <c:v>6.0323572778596741</c:v>
                </c:pt>
                <c:pt idx="6424">
                  <c:v>5.8989952825310095</c:v>
                </c:pt>
                <c:pt idx="6425">
                  <c:v>5.8170912983932936</c:v>
                </c:pt>
                <c:pt idx="6426">
                  <c:v>5.8668493913411446</c:v>
                </c:pt>
                <c:pt idx="6427">
                  <c:v>6.0267934081670136</c:v>
                </c:pt>
                <c:pt idx="6428">
                  <c:v>4.9430253311886752</c:v>
                </c:pt>
                <c:pt idx="6429">
                  <c:v>4.9424805398166596</c:v>
                </c:pt>
                <c:pt idx="6430">
                  <c:v>5.0909778062505602</c:v>
                </c:pt>
                <c:pt idx="6431">
                  <c:v>5.0369523742966331</c:v>
                </c:pt>
                <c:pt idx="6432">
                  <c:v>5.0704295508668373</c:v>
                </c:pt>
                <c:pt idx="6433">
                  <c:v>5.9677307653624698</c:v>
                </c:pt>
                <c:pt idx="6434">
                  <c:v>4.9155806918593656</c:v>
                </c:pt>
                <c:pt idx="6435">
                  <c:v>5.0126609649789566</c:v>
                </c:pt>
                <c:pt idx="6436">
                  <c:v>4.9727315006460202</c:v>
                </c:pt>
                <c:pt idx="6437">
                  <c:v>6.1002185482235118</c:v>
                </c:pt>
                <c:pt idx="6438">
                  <c:v>6.171819998149938</c:v>
                </c:pt>
                <c:pt idx="6439">
                  <c:v>4.8267760149512169</c:v>
                </c:pt>
                <c:pt idx="6440">
                  <c:v>4.9497720524952511</c:v>
                </c:pt>
                <c:pt idx="6441">
                  <c:v>5.9431874743960167</c:v>
                </c:pt>
                <c:pt idx="6442">
                  <c:v>6.0538052802799998</c:v>
                </c:pt>
                <c:pt idx="6443">
                  <c:v>5.1104550010650476</c:v>
                </c:pt>
                <c:pt idx="6444">
                  <c:v>5.06440718325047</c:v>
                </c:pt>
                <c:pt idx="6445">
                  <c:v>6.0247443221635795</c:v>
                </c:pt>
                <c:pt idx="6446">
                  <c:v>4.8147668992536907</c:v>
                </c:pt>
                <c:pt idx="6447">
                  <c:v>5.9191753379182961</c:v>
                </c:pt>
                <c:pt idx="6448">
                  <c:v>6.0453819854556121</c:v>
                </c:pt>
                <c:pt idx="6449">
                  <c:v>5.1586703078914606</c:v>
                </c:pt>
                <c:pt idx="6450">
                  <c:v>4.8696812678818846</c:v>
                </c:pt>
                <c:pt idx="6451">
                  <c:v>6.0157089141491333</c:v>
                </c:pt>
                <c:pt idx="6452">
                  <c:v>4.7882898444979034</c:v>
                </c:pt>
                <c:pt idx="6453">
                  <c:v>5.7080180870990764</c:v>
                </c:pt>
                <c:pt idx="6454">
                  <c:v>5.1678936182027151</c:v>
                </c:pt>
                <c:pt idx="6455">
                  <c:v>5.0673839812020098</c:v>
                </c:pt>
                <c:pt idx="6456">
                  <c:v>4.9579690717037019</c:v>
                </c:pt>
                <c:pt idx="6457">
                  <c:v>5.9172897645891682</c:v>
                </c:pt>
                <c:pt idx="6458">
                  <c:v>5.1287296769898951</c:v>
                </c:pt>
                <c:pt idx="6459">
                  <c:v>5.0411358073423145</c:v>
                </c:pt>
                <c:pt idx="6460">
                  <c:v>4.8594282667973827</c:v>
                </c:pt>
                <c:pt idx="6461">
                  <c:v>5.0049999238075387</c:v>
                </c:pt>
                <c:pt idx="6462">
                  <c:v>5.0894375229033253</c:v>
                </c:pt>
                <c:pt idx="6463">
                  <c:v>5.0461868343865746</c:v>
                </c:pt>
                <c:pt idx="6464">
                  <c:v>5.9392123878494738</c:v>
                </c:pt>
                <c:pt idx="6465">
                  <c:v>5.0363500236833554</c:v>
                </c:pt>
                <c:pt idx="6466">
                  <c:v>5.1022960283207777</c:v>
                </c:pt>
                <c:pt idx="6467">
                  <c:v>6.0308308094914613</c:v>
                </c:pt>
                <c:pt idx="6468">
                  <c:v>4.8752396384310765</c:v>
                </c:pt>
                <c:pt idx="6469">
                  <c:v>4.8787232497269644</c:v>
                </c:pt>
                <c:pt idx="6470">
                  <c:v>6.1155955503793535</c:v>
                </c:pt>
                <c:pt idx="6471">
                  <c:v>5.0294605059905191</c:v>
                </c:pt>
                <c:pt idx="6472">
                  <c:v>4.9050040975237668</c:v>
                </c:pt>
                <c:pt idx="6473">
                  <c:v>4.9067787172015134</c:v>
                </c:pt>
                <c:pt idx="6474">
                  <c:v>5.929261602113157</c:v>
                </c:pt>
                <c:pt idx="6475">
                  <c:v>6.9388593667392229</c:v>
                </c:pt>
                <c:pt idx="6476">
                  <c:v>7.1198251710421605</c:v>
                </c:pt>
                <c:pt idx="6477">
                  <c:v>5.8729750631081385</c:v>
                </c:pt>
                <c:pt idx="6478">
                  <c:v>6.0408368146100413</c:v>
                </c:pt>
                <c:pt idx="6479">
                  <c:v>4.9502486700657045</c:v>
                </c:pt>
                <c:pt idx="6480">
                  <c:v>6.9269531439357337</c:v>
                </c:pt>
                <c:pt idx="6481">
                  <c:v>6.8229402751348465</c:v>
                </c:pt>
                <c:pt idx="6482">
                  <c:v>5.9489658006602113</c:v>
                </c:pt>
                <c:pt idx="6483">
                  <c:v>6.1591153564608847</c:v>
                </c:pt>
                <c:pt idx="6484">
                  <c:v>5.0676382834491358</c:v>
                </c:pt>
                <c:pt idx="6485">
                  <c:v>4.9140884110133447</c:v>
                </c:pt>
                <c:pt idx="6486">
                  <c:v>6.168970021724963</c:v>
                </c:pt>
                <c:pt idx="6487">
                  <c:v>4.8993162526923451</c:v>
                </c:pt>
                <c:pt idx="6488">
                  <c:v>6.0007410712318974</c:v>
                </c:pt>
                <c:pt idx="6489">
                  <c:v>6.1023218188925519</c:v>
                </c:pt>
                <c:pt idx="6490">
                  <c:v>6.118399238105523</c:v>
                </c:pt>
                <c:pt idx="6491">
                  <c:v>5.9422356452669058</c:v>
                </c:pt>
                <c:pt idx="6492">
                  <c:v>4.9512964557234271</c:v>
                </c:pt>
                <c:pt idx="6493">
                  <c:v>5.851301559405778</c:v>
                </c:pt>
                <c:pt idx="6494">
                  <c:v>6.9962566500827323</c:v>
                </c:pt>
                <c:pt idx="6495">
                  <c:v>6.0252492005469982</c:v>
                </c:pt>
                <c:pt idx="6496">
                  <c:v>6.0187985872866783</c:v>
                </c:pt>
                <c:pt idx="6497">
                  <c:v>6.0397632815687201</c:v>
                </c:pt>
                <c:pt idx="6498">
                  <c:v>5.9166217583007246</c:v>
                </c:pt>
                <c:pt idx="6499">
                  <c:v>5.0768042320398417</c:v>
                </c:pt>
                <c:pt idx="6500">
                  <c:v>5.0338539252514272</c:v>
                </c:pt>
                <c:pt idx="6501">
                  <c:v>5.7135527938423438</c:v>
                </c:pt>
                <c:pt idx="6502">
                  <c:v>5.8427393398825203</c:v>
                </c:pt>
                <c:pt idx="6503">
                  <c:v>5.0152090328098309</c:v>
                </c:pt>
                <c:pt idx="6504">
                  <c:v>6.0480944685380411</c:v>
                </c:pt>
                <c:pt idx="6505">
                  <c:v>4.9437798079366617</c:v>
                </c:pt>
                <c:pt idx="6506">
                  <c:v>5.9670316631475639</c:v>
                </c:pt>
                <c:pt idx="6507">
                  <c:v>5.9153549598562076</c:v>
                </c:pt>
                <c:pt idx="6508">
                  <c:v>4.9415055845628233</c:v>
                </c:pt>
                <c:pt idx="6509">
                  <c:v>5.0437420271046687</c:v>
                </c:pt>
                <c:pt idx="6510">
                  <c:v>4.9657027729761918</c:v>
                </c:pt>
                <c:pt idx="6511">
                  <c:v>5.0951955842702796</c:v>
                </c:pt>
                <c:pt idx="6512">
                  <c:v>5.1404527074338597</c:v>
                </c:pt>
                <c:pt idx="6513">
                  <c:v>6.0125652459915697</c:v>
                </c:pt>
                <c:pt idx="6514">
                  <c:v>6.1301930535855931</c:v>
                </c:pt>
                <c:pt idx="6515">
                  <c:v>4.9476410608390955</c:v>
                </c:pt>
                <c:pt idx="6516">
                  <c:v>5.0127411425974602</c:v>
                </c:pt>
                <c:pt idx="6517">
                  <c:v>5.9734287463995113</c:v>
                </c:pt>
                <c:pt idx="6518">
                  <c:v>5.0502583161943422</c:v>
                </c:pt>
                <c:pt idx="6519">
                  <c:v>5.9464980647775354</c:v>
                </c:pt>
                <c:pt idx="6520">
                  <c:v>6.1570878958358666</c:v>
                </c:pt>
                <c:pt idx="6521">
                  <c:v>6.0476559278305748</c:v>
                </c:pt>
                <c:pt idx="6522">
                  <c:v>4.9547645835935743</c:v>
                </c:pt>
                <c:pt idx="6523">
                  <c:v>5.8809407457209293</c:v>
                </c:pt>
                <c:pt idx="6524">
                  <c:v>5.0294666690049503</c:v>
                </c:pt>
                <c:pt idx="6525">
                  <c:v>4.8998264578079631</c:v>
                </c:pt>
                <c:pt idx="6526">
                  <c:v>4.9904776733413421</c:v>
                </c:pt>
                <c:pt idx="6527">
                  <c:v>4.9471333091332168</c:v>
                </c:pt>
                <c:pt idx="6528">
                  <c:v>4.9932955506888064</c:v>
                </c:pt>
                <c:pt idx="6529">
                  <c:v>6.1145416177304828</c:v>
                </c:pt>
                <c:pt idx="6530">
                  <c:v>5.9673738976555155</c:v>
                </c:pt>
                <c:pt idx="6531">
                  <c:v>6.0506082183972918</c:v>
                </c:pt>
                <c:pt idx="6532">
                  <c:v>5.9857916385338958</c:v>
                </c:pt>
                <c:pt idx="6533">
                  <c:v>5.8857317697371059</c:v>
                </c:pt>
                <c:pt idx="6534">
                  <c:v>6.0965464612462315</c:v>
                </c:pt>
                <c:pt idx="6535">
                  <c:v>6.0089905595452784</c:v>
                </c:pt>
                <c:pt idx="6536">
                  <c:v>6.0895781537241556</c:v>
                </c:pt>
                <c:pt idx="6537">
                  <c:v>6.1293763698208599</c:v>
                </c:pt>
                <c:pt idx="6538">
                  <c:v>6.0530184939674712</c:v>
                </c:pt>
                <c:pt idx="6539">
                  <c:v>5.1133236467161076</c:v>
                </c:pt>
                <c:pt idx="6540">
                  <c:v>4.8148281094384178</c:v>
                </c:pt>
                <c:pt idx="6541">
                  <c:v>1.9958085607967389</c:v>
                </c:pt>
                <c:pt idx="6542">
                  <c:v>6.0443938200552481</c:v>
                </c:pt>
                <c:pt idx="6543">
                  <c:v>4.9444721409393182</c:v>
                </c:pt>
                <c:pt idx="6544">
                  <c:v>5.1324413704598602</c:v>
                </c:pt>
                <c:pt idx="6545">
                  <c:v>4.8682546791432912</c:v>
                </c:pt>
                <c:pt idx="6546">
                  <c:v>4.884980095293785</c:v>
                </c:pt>
                <c:pt idx="6547">
                  <c:v>5.0640324862388644</c:v>
                </c:pt>
                <c:pt idx="6548">
                  <c:v>4.9744527915673666</c:v>
                </c:pt>
                <c:pt idx="6549">
                  <c:v>5.0478771783450442</c:v>
                </c:pt>
                <c:pt idx="6550">
                  <c:v>5.9304782608756152</c:v>
                </c:pt>
                <c:pt idx="6551">
                  <c:v>4.8712738616494073</c:v>
                </c:pt>
                <c:pt idx="6552">
                  <c:v>6.0620832971289804</c:v>
                </c:pt>
                <c:pt idx="6553">
                  <c:v>6.0068059050906291</c:v>
                </c:pt>
                <c:pt idx="6554">
                  <c:v>6.1184542320748143</c:v>
                </c:pt>
                <c:pt idx="6555">
                  <c:v>4.8806680940803204</c:v>
                </c:pt>
                <c:pt idx="6556">
                  <c:v>6.0547635808049645</c:v>
                </c:pt>
                <c:pt idx="6557">
                  <c:v>5.0134097990649567</c:v>
                </c:pt>
                <c:pt idx="6558">
                  <c:v>5.0235535498307344</c:v>
                </c:pt>
                <c:pt idx="6559">
                  <c:v>4.7956626525019459</c:v>
                </c:pt>
                <c:pt idx="6560">
                  <c:v>6.0339388089685384</c:v>
                </c:pt>
                <c:pt idx="6561">
                  <c:v>5.8123555238286855</c:v>
                </c:pt>
                <c:pt idx="6562">
                  <c:v>6.1386834685090159</c:v>
                </c:pt>
                <c:pt idx="6563">
                  <c:v>4.9835622276889477</c:v>
                </c:pt>
                <c:pt idx="6564">
                  <c:v>5.0651956248151899</c:v>
                </c:pt>
                <c:pt idx="6565">
                  <c:v>5.0918341911753568</c:v>
                </c:pt>
                <c:pt idx="6566">
                  <c:v>4.9467148179184752</c:v>
                </c:pt>
                <c:pt idx="6567">
                  <c:v>5.159364330404653</c:v>
                </c:pt>
                <c:pt idx="6568">
                  <c:v>4.8626386143857063</c:v>
                </c:pt>
                <c:pt idx="6569">
                  <c:v>5.9081200066605382</c:v>
                </c:pt>
                <c:pt idx="6570">
                  <c:v>5.966630468749532</c:v>
                </c:pt>
                <c:pt idx="6571">
                  <c:v>4.9891409220143261</c:v>
                </c:pt>
                <c:pt idx="6572">
                  <c:v>4.8889154034140168</c:v>
                </c:pt>
                <c:pt idx="6573">
                  <c:v>5.846836110803066</c:v>
                </c:pt>
                <c:pt idx="6574">
                  <c:v>6.22938241427065</c:v>
                </c:pt>
                <c:pt idx="6575">
                  <c:v>5.9420649381572632</c:v>
                </c:pt>
                <c:pt idx="6576">
                  <c:v>5.993721814467535</c:v>
                </c:pt>
                <c:pt idx="6577">
                  <c:v>5.0589145097342909</c:v>
                </c:pt>
                <c:pt idx="6578">
                  <c:v>4.9813306636681851</c:v>
                </c:pt>
                <c:pt idx="6579">
                  <c:v>6.8852109073235059</c:v>
                </c:pt>
                <c:pt idx="6580">
                  <c:v>5.8380266544721042</c:v>
                </c:pt>
                <c:pt idx="6581">
                  <c:v>5.939274818954611</c:v>
                </c:pt>
                <c:pt idx="6582">
                  <c:v>4.8882486844166735</c:v>
                </c:pt>
                <c:pt idx="6583">
                  <c:v>5.1320585217637182</c:v>
                </c:pt>
                <c:pt idx="6584">
                  <c:v>6.0168046803528608</c:v>
                </c:pt>
                <c:pt idx="6585">
                  <c:v>5.0940746122721592</c:v>
                </c:pt>
                <c:pt idx="6586">
                  <c:v>5.1593387550880649</c:v>
                </c:pt>
                <c:pt idx="6587">
                  <c:v>6.8473032899083304</c:v>
                </c:pt>
                <c:pt idx="6588">
                  <c:v>6.8206137585727253</c:v>
                </c:pt>
                <c:pt idx="6589">
                  <c:v>5.9086784453649042</c:v>
                </c:pt>
                <c:pt idx="6590">
                  <c:v>3.9796925903691336</c:v>
                </c:pt>
                <c:pt idx="6591">
                  <c:v>5.0680327605886708</c:v>
                </c:pt>
                <c:pt idx="6592">
                  <c:v>6.0377413422192161</c:v>
                </c:pt>
                <c:pt idx="6593">
                  <c:v>4.8910375940696893</c:v>
                </c:pt>
                <c:pt idx="6594">
                  <c:v>5.9486634995755248</c:v>
                </c:pt>
                <c:pt idx="6595">
                  <c:v>4.8805354174257678</c:v>
                </c:pt>
                <c:pt idx="6596">
                  <c:v>5.0019519211877448</c:v>
                </c:pt>
                <c:pt idx="6597">
                  <c:v>5.0636168720052988</c:v>
                </c:pt>
                <c:pt idx="6598">
                  <c:v>5.0074216754367304</c:v>
                </c:pt>
                <c:pt idx="6599">
                  <c:v>4.8705473713325418</c:v>
                </c:pt>
                <c:pt idx="6600">
                  <c:v>7.0368484998723888</c:v>
                </c:pt>
                <c:pt idx="6601">
                  <c:v>5.8609473765569762</c:v>
                </c:pt>
                <c:pt idx="6602">
                  <c:v>5.1189008027829628</c:v>
                </c:pt>
                <c:pt idx="6603">
                  <c:v>6.1511010416788166</c:v>
                </c:pt>
                <c:pt idx="6604">
                  <c:v>4.9652750272050632</c:v>
                </c:pt>
                <c:pt idx="6605">
                  <c:v>5.9530086830674822</c:v>
                </c:pt>
                <c:pt idx="6606">
                  <c:v>4.9340306250771606</c:v>
                </c:pt>
                <c:pt idx="6607">
                  <c:v>5.0942818388345907</c:v>
                </c:pt>
                <c:pt idx="6608">
                  <c:v>4.8361062603200393</c:v>
                </c:pt>
                <c:pt idx="6609">
                  <c:v>5.1035079245938384</c:v>
                </c:pt>
                <c:pt idx="6610">
                  <c:v>5.7580782351050361</c:v>
                </c:pt>
                <c:pt idx="6611">
                  <c:v>5.015366658526581</c:v>
                </c:pt>
                <c:pt idx="6612">
                  <c:v>5.9402011438188582</c:v>
                </c:pt>
                <c:pt idx="6613">
                  <c:v>5.9443314199959207</c:v>
                </c:pt>
                <c:pt idx="6614">
                  <c:v>6.0306767288174967</c:v>
                </c:pt>
                <c:pt idx="6615">
                  <c:v>5.9891600443094317</c:v>
                </c:pt>
                <c:pt idx="6616">
                  <c:v>4.7592063007647045</c:v>
                </c:pt>
                <c:pt idx="6617">
                  <c:v>4.9459566279430849</c:v>
                </c:pt>
                <c:pt idx="6618">
                  <c:v>4.965493496310887</c:v>
                </c:pt>
                <c:pt idx="6619">
                  <c:v>5.0395618602556205</c:v>
                </c:pt>
                <c:pt idx="6620">
                  <c:v>6.0607441747263557</c:v>
                </c:pt>
                <c:pt idx="6621">
                  <c:v>4.8339959906189094</c:v>
                </c:pt>
                <c:pt idx="6622">
                  <c:v>5.9357609227921362</c:v>
                </c:pt>
                <c:pt idx="6623">
                  <c:v>5.9457072405764677</c:v>
                </c:pt>
                <c:pt idx="6624">
                  <c:v>4.8223713761667284</c:v>
                </c:pt>
                <c:pt idx="6625">
                  <c:v>5.0990935210529518</c:v>
                </c:pt>
                <c:pt idx="6626">
                  <c:v>7.0513723975431173</c:v>
                </c:pt>
                <c:pt idx="6627">
                  <c:v>5.9667728022942264</c:v>
                </c:pt>
                <c:pt idx="6628">
                  <c:v>5.8407871255230983</c:v>
                </c:pt>
                <c:pt idx="6629">
                  <c:v>5.0245162615554433</c:v>
                </c:pt>
                <c:pt idx="6630">
                  <c:v>5.2519942617544126</c:v>
                </c:pt>
                <c:pt idx="6631">
                  <c:v>6.0131678996554383</c:v>
                </c:pt>
                <c:pt idx="6632">
                  <c:v>5.9878739372862713</c:v>
                </c:pt>
                <c:pt idx="6633">
                  <c:v>7.0223614170562696</c:v>
                </c:pt>
                <c:pt idx="6634">
                  <c:v>4.9726660242186389</c:v>
                </c:pt>
                <c:pt idx="6635">
                  <c:v>5.9258982179161084</c:v>
                </c:pt>
                <c:pt idx="6636">
                  <c:v>3.9773787382832801</c:v>
                </c:pt>
                <c:pt idx="6637">
                  <c:v>6.0375886699846566</c:v>
                </c:pt>
                <c:pt idx="6638">
                  <c:v>6.1062005431804049</c:v>
                </c:pt>
                <c:pt idx="6639">
                  <c:v>5.0663580228257459</c:v>
                </c:pt>
                <c:pt idx="6640">
                  <c:v>5.0295930769941268</c:v>
                </c:pt>
                <c:pt idx="6641">
                  <c:v>6.0742223664043706</c:v>
                </c:pt>
                <c:pt idx="6642">
                  <c:v>6.0071552386170337</c:v>
                </c:pt>
                <c:pt idx="6643">
                  <c:v>6.0647081144690587</c:v>
                </c:pt>
                <c:pt idx="6644">
                  <c:v>7.2110902422445813</c:v>
                </c:pt>
                <c:pt idx="6645">
                  <c:v>6.1583325512989227</c:v>
                </c:pt>
                <c:pt idx="6646">
                  <c:v>5.9511876649527258</c:v>
                </c:pt>
                <c:pt idx="6647">
                  <c:v>4.8363226138281243</c:v>
                </c:pt>
                <c:pt idx="6648">
                  <c:v>4.9632028541910307</c:v>
                </c:pt>
                <c:pt idx="6649">
                  <c:v>5.9678485019091347</c:v>
                </c:pt>
                <c:pt idx="6650">
                  <c:v>5.1430415409894259</c:v>
                </c:pt>
                <c:pt idx="6651">
                  <c:v>6.0319186435290097</c:v>
                </c:pt>
                <c:pt idx="6652">
                  <c:v>5.8787460093953472</c:v>
                </c:pt>
                <c:pt idx="6653">
                  <c:v>4.9687659802847746</c:v>
                </c:pt>
                <c:pt idx="6654">
                  <c:v>4.9860543729895923</c:v>
                </c:pt>
                <c:pt idx="6655">
                  <c:v>5.9273652031841078</c:v>
                </c:pt>
                <c:pt idx="6656">
                  <c:v>5.0749432088833704</c:v>
                </c:pt>
                <c:pt idx="6657">
                  <c:v>4.9823748905810694</c:v>
                </c:pt>
                <c:pt idx="6658">
                  <c:v>5.9047449047128202</c:v>
                </c:pt>
                <c:pt idx="6659">
                  <c:v>5.9251539664878399</c:v>
                </c:pt>
                <c:pt idx="6660">
                  <c:v>5.9707190296358013</c:v>
                </c:pt>
                <c:pt idx="6661">
                  <c:v>7.0230090818938846</c:v>
                </c:pt>
                <c:pt idx="6662">
                  <c:v>8.898524100268725</c:v>
                </c:pt>
                <c:pt idx="6663">
                  <c:v>5.9845440782214689</c:v>
                </c:pt>
                <c:pt idx="6664">
                  <c:v>4.7806833404053304</c:v>
                </c:pt>
                <c:pt idx="6665">
                  <c:v>4.9982760398234936</c:v>
                </c:pt>
                <c:pt idx="6666">
                  <c:v>6.0842935611680398</c:v>
                </c:pt>
                <c:pt idx="6667">
                  <c:v>5.9776374655443538</c:v>
                </c:pt>
                <c:pt idx="6668">
                  <c:v>6.1070999786454481</c:v>
                </c:pt>
                <c:pt idx="6669">
                  <c:v>5.8841610173891494</c:v>
                </c:pt>
                <c:pt idx="6670">
                  <c:v>6.0706094567947346</c:v>
                </c:pt>
                <c:pt idx="6671">
                  <c:v>6.078375634466588</c:v>
                </c:pt>
                <c:pt idx="6672">
                  <c:v>5.8953740150956904</c:v>
                </c:pt>
                <c:pt idx="6673">
                  <c:v>4.8846115071910781</c:v>
                </c:pt>
                <c:pt idx="6674">
                  <c:v>5.8286371339088223</c:v>
                </c:pt>
                <c:pt idx="6675">
                  <c:v>5.8777633690777824</c:v>
                </c:pt>
                <c:pt idx="6676">
                  <c:v>5.8416161424964557</c:v>
                </c:pt>
                <c:pt idx="6677">
                  <c:v>4.9790118435975135</c:v>
                </c:pt>
                <c:pt idx="6678">
                  <c:v>3.8730405925483256</c:v>
                </c:pt>
                <c:pt idx="6679">
                  <c:v>6.0135040196458478</c:v>
                </c:pt>
                <c:pt idx="6680">
                  <c:v>5.2228277420126883</c:v>
                </c:pt>
                <c:pt idx="6681">
                  <c:v>6.1047259021786671</c:v>
                </c:pt>
                <c:pt idx="6682">
                  <c:v>5.1201952764953562</c:v>
                </c:pt>
                <c:pt idx="6683">
                  <c:v>5.0470775795696365</c:v>
                </c:pt>
                <c:pt idx="6684">
                  <c:v>4.8570584518881983</c:v>
                </c:pt>
                <c:pt idx="6685">
                  <c:v>6.1506712664730703</c:v>
                </c:pt>
                <c:pt idx="6686">
                  <c:v>5.9101748532239933</c:v>
                </c:pt>
                <c:pt idx="6687">
                  <c:v>4.9507252243310731</c:v>
                </c:pt>
                <c:pt idx="6688">
                  <c:v>6.157427147690786</c:v>
                </c:pt>
                <c:pt idx="6689">
                  <c:v>4.882875953661042</c:v>
                </c:pt>
                <c:pt idx="6690">
                  <c:v>4.8969966188790561</c:v>
                </c:pt>
                <c:pt idx="6691">
                  <c:v>4.8439968707308418</c:v>
                </c:pt>
                <c:pt idx="6692">
                  <c:v>5.9602037980659848</c:v>
                </c:pt>
                <c:pt idx="6693">
                  <c:v>5.9675960227628302</c:v>
                </c:pt>
                <c:pt idx="6694">
                  <c:v>6.0955380514020581</c:v>
                </c:pt>
                <c:pt idx="6695">
                  <c:v>6.0276709193532083</c:v>
                </c:pt>
                <c:pt idx="6696">
                  <c:v>5.0299121789210028</c:v>
                </c:pt>
                <c:pt idx="6697">
                  <c:v>5.0298738784295889</c:v>
                </c:pt>
                <c:pt idx="6698">
                  <c:v>5.0272067323040526</c:v>
                </c:pt>
                <c:pt idx="6699">
                  <c:v>4.920808142432687</c:v>
                </c:pt>
                <c:pt idx="6700">
                  <c:v>5.9633162009978538</c:v>
                </c:pt>
                <c:pt idx="6701">
                  <c:v>5.0828685820006427</c:v>
                </c:pt>
                <c:pt idx="6702">
                  <c:v>5.1426702581243919</c:v>
                </c:pt>
                <c:pt idx="6703">
                  <c:v>5.0592935951208666</c:v>
                </c:pt>
                <c:pt idx="6704">
                  <c:v>5.0997137988561141</c:v>
                </c:pt>
                <c:pt idx="6705">
                  <c:v>6.2110408720401491</c:v>
                </c:pt>
                <c:pt idx="6706">
                  <c:v>4.8505810288190734</c:v>
                </c:pt>
                <c:pt idx="6707">
                  <c:v>5.0106120720260678</c:v>
                </c:pt>
                <c:pt idx="6708">
                  <c:v>4.963809359524368</c:v>
                </c:pt>
                <c:pt idx="6709">
                  <c:v>4.7545731090775645</c:v>
                </c:pt>
                <c:pt idx="6710">
                  <c:v>6.0605954516950034</c:v>
                </c:pt>
                <c:pt idx="6711">
                  <c:v>6.066116813182008</c:v>
                </c:pt>
                <c:pt idx="6712">
                  <c:v>5.077012696551737</c:v>
                </c:pt>
                <c:pt idx="6713">
                  <c:v>5.0243341946068796</c:v>
                </c:pt>
                <c:pt idx="6714">
                  <c:v>4.9555763607224517</c:v>
                </c:pt>
                <c:pt idx="6715">
                  <c:v>4.9699894537116416</c:v>
                </c:pt>
                <c:pt idx="6716">
                  <c:v>5.0747437409443314</c:v>
                </c:pt>
                <c:pt idx="6717">
                  <c:v>5.8593770501547633</c:v>
                </c:pt>
                <c:pt idx="6718">
                  <c:v>5.9640184257500488</c:v>
                </c:pt>
                <c:pt idx="6719">
                  <c:v>7.0391966174293019</c:v>
                </c:pt>
                <c:pt idx="6720">
                  <c:v>5.9810152843539219</c:v>
                </c:pt>
                <c:pt idx="6721">
                  <c:v>5.9828149123098902</c:v>
                </c:pt>
                <c:pt idx="6722">
                  <c:v>4.956029453743124</c:v>
                </c:pt>
                <c:pt idx="6723">
                  <c:v>5.8295826043444787</c:v>
                </c:pt>
                <c:pt idx="6724">
                  <c:v>6.1074669538993103</c:v>
                </c:pt>
                <c:pt idx="6725">
                  <c:v>6.0213083604898294</c:v>
                </c:pt>
                <c:pt idx="6726">
                  <c:v>5.9697349712987577</c:v>
                </c:pt>
                <c:pt idx="6727">
                  <c:v>5.8505236820482063</c:v>
                </c:pt>
                <c:pt idx="6728">
                  <c:v>5.9326183244131157</c:v>
                </c:pt>
                <c:pt idx="6729">
                  <c:v>5.9228884978569507</c:v>
                </c:pt>
                <c:pt idx="6730">
                  <c:v>6.0089743796231163</c:v>
                </c:pt>
                <c:pt idx="6731">
                  <c:v>5.8841119245937987</c:v>
                </c:pt>
                <c:pt idx="6732">
                  <c:v>6.1112332058864993</c:v>
                </c:pt>
                <c:pt idx="6733">
                  <c:v>7.0356342895613917</c:v>
                </c:pt>
                <c:pt idx="6734">
                  <c:v>5.8524213124533784</c:v>
                </c:pt>
                <c:pt idx="6735">
                  <c:v>5.1051057218055185</c:v>
                </c:pt>
                <c:pt idx="6736">
                  <c:v>6.9473516626096634</c:v>
                </c:pt>
                <c:pt idx="6737">
                  <c:v>5.8787838169845736</c:v>
                </c:pt>
                <c:pt idx="6738">
                  <c:v>5.8637580402602625</c:v>
                </c:pt>
                <c:pt idx="6739">
                  <c:v>6.2533692537818384</c:v>
                </c:pt>
                <c:pt idx="6740">
                  <c:v>5.9995556603865134</c:v>
                </c:pt>
                <c:pt idx="6741">
                  <c:v>5.8352034410682689</c:v>
                </c:pt>
                <c:pt idx="6742">
                  <c:v>6.8901220862810781</c:v>
                </c:pt>
                <c:pt idx="6743">
                  <c:v>6.8932533131689055</c:v>
                </c:pt>
                <c:pt idx="6744">
                  <c:v>7.1108696817555543</c:v>
                </c:pt>
                <c:pt idx="6745">
                  <c:v>5.0952915676541375</c:v>
                </c:pt>
                <c:pt idx="6746">
                  <c:v>5.9475548453448983</c:v>
                </c:pt>
                <c:pt idx="6747">
                  <c:v>6.0680786957822281</c:v>
                </c:pt>
                <c:pt idx="6748">
                  <c:v>6.1566259802548347</c:v>
                </c:pt>
                <c:pt idx="6749">
                  <c:v>4.970481831929547</c:v>
                </c:pt>
                <c:pt idx="6750">
                  <c:v>4.9178789724683671</c:v>
                </c:pt>
                <c:pt idx="6751">
                  <c:v>6.056096012153561</c:v>
                </c:pt>
                <c:pt idx="6752">
                  <c:v>6.0431590904055525</c:v>
                </c:pt>
                <c:pt idx="6753">
                  <c:v>7.0720119132502113</c:v>
                </c:pt>
                <c:pt idx="6754">
                  <c:v>5.9810773507062933</c:v>
                </c:pt>
                <c:pt idx="6755">
                  <c:v>5.9497671440362456</c:v>
                </c:pt>
                <c:pt idx="6756">
                  <c:v>6.8305840761204264</c:v>
                </c:pt>
                <c:pt idx="6757">
                  <c:v>5.0296802850319029</c:v>
                </c:pt>
                <c:pt idx="6758">
                  <c:v>6.8549328967040468</c:v>
                </c:pt>
                <c:pt idx="6759">
                  <c:v>5.8931336440363458</c:v>
                </c:pt>
                <c:pt idx="6760">
                  <c:v>5.9902472500666288</c:v>
                </c:pt>
                <c:pt idx="6761">
                  <c:v>6.0869111708169656</c:v>
                </c:pt>
                <c:pt idx="6762">
                  <c:v>4.7981047175742964</c:v>
                </c:pt>
                <c:pt idx="6763">
                  <c:v>5.0075989294520076</c:v>
                </c:pt>
                <c:pt idx="6764">
                  <c:v>7.0209892465280888</c:v>
                </c:pt>
                <c:pt idx="6765">
                  <c:v>5.9870271594577282</c:v>
                </c:pt>
                <c:pt idx="6766">
                  <c:v>5.3175540759253881</c:v>
                </c:pt>
                <c:pt idx="6767">
                  <c:v>6.0950474619552644</c:v>
                </c:pt>
                <c:pt idx="6768">
                  <c:v>7.0937098220344401</c:v>
                </c:pt>
                <c:pt idx="6769">
                  <c:v>4.9003592530387641</c:v>
                </c:pt>
                <c:pt idx="6770">
                  <c:v>4.9888255590065693</c:v>
                </c:pt>
                <c:pt idx="6771">
                  <c:v>4.855062413246908</c:v>
                </c:pt>
                <c:pt idx="6772">
                  <c:v>4.9447176552909422</c:v>
                </c:pt>
                <c:pt idx="6773">
                  <c:v>4.8999203726746234</c:v>
                </c:pt>
                <c:pt idx="6774">
                  <c:v>4.8707732314772807</c:v>
                </c:pt>
                <c:pt idx="6775">
                  <c:v>5.9183973728850399</c:v>
                </c:pt>
                <c:pt idx="6776">
                  <c:v>4.8332563226818017</c:v>
                </c:pt>
                <c:pt idx="6777">
                  <c:v>4.8131249445064235</c:v>
                </c:pt>
                <c:pt idx="6778">
                  <c:v>5.9315191466869051</c:v>
                </c:pt>
                <c:pt idx="6779">
                  <c:v>6.9744784826003547</c:v>
                </c:pt>
                <c:pt idx="6780">
                  <c:v>4.8867435297148472</c:v>
                </c:pt>
                <c:pt idx="6781">
                  <c:v>5.0503954471298176</c:v>
                </c:pt>
                <c:pt idx="6782">
                  <c:v>6.1584212713337649</c:v>
                </c:pt>
                <c:pt idx="6783">
                  <c:v>4.9620695900387179</c:v>
                </c:pt>
                <c:pt idx="6784">
                  <c:v>4.9158999143243172</c:v>
                </c:pt>
                <c:pt idx="6785">
                  <c:v>4.91534346792122</c:v>
                </c:pt>
                <c:pt idx="6786">
                  <c:v>5.1840251277278711</c:v>
                </c:pt>
                <c:pt idx="6787">
                  <c:v>6.018297407948447</c:v>
                </c:pt>
                <c:pt idx="6788">
                  <c:v>5.0319596672658395</c:v>
                </c:pt>
                <c:pt idx="6789">
                  <c:v>5.0245935596723292</c:v>
                </c:pt>
                <c:pt idx="6790">
                  <c:v>5.1927329369215514</c:v>
                </c:pt>
                <c:pt idx="6791">
                  <c:v>6.031953080721566</c:v>
                </c:pt>
                <c:pt idx="6792">
                  <c:v>6.0320991690592436</c:v>
                </c:pt>
                <c:pt idx="6793">
                  <c:v>7.0844150844251459</c:v>
                </c:pt>
                <c:pt idx="6794">
                  <c:v>5.233030510155654</c:v>
                </c:pt>
                <c:pt idx="6795">
                  <c:v>5.9492054762171627</c:v>
                </c:pt>
                <c:pt idx="6796">
                  <c:v>5.0497561198979808</c:v>
                </c:pt>
                <c:pt idx="6797">
                  <c:v>5.9483390241036371</c:v>
                </c:pt>
                <c:pt idx="6798">
                  <c:v>6.1869081606317922</c:v>
                </c:pt>
                <c:pt idx="6799">
                  <c:v>6.0198840047762872</c:v>
                </c:pt>
                <c:pt idx="6800">
                  <c:v>6.038900049025326</c:v>
                </c:pt>
                <c:pt idx="6801">
                  <c:v>4.9559304407455302</c:v>
                </c:pt>
                <c:pt idx="6802">
                  <c:v>4.990559975021359</c:v>
                </c:pt>
                <c:pt idx="6803">
                  <c:v>5.9220762926997743</c:v>
                </c:pt>
                <c:pt idx="6804">
                  <c:v>5.0161868995691643</c:v>
                </c:pt>
                <c:pt idx="6805">
                  <c:v>4.9099958476027954</c:v>
                </c:pt>
                <c:pt idx="6806">
                  <c:v>6.2216863553008395</c:v>
                </c:pt>
                <c:pt idx="6807">
                  <c:v>5.9665950147335289</c:v>
                </c:pt>
                <c:pt idx="6808">
                  <c:v>6.0781934803167594</c:v>
                </c:pt>
                <c:pt idx="6809">
                  <c:v>6.9616986362954902</c:v>
                </c:pt>
                <c:pt idx="6810">
                  <c:v>5.9934214970051709</c:v>
                </c:pt>
                <c:pt idx="6811">
                  <c:v>5.1122205766889079</c:v>
                </c:pt>
                <c:pt idx="6812">
                  <c:v>4.933250564367202</c:v>
                </c:pt>
                <c:pt idx="6813">
                  <c:v>5.1664554508573692</c:v>
                </c:pt>
                <c:pt idx="6814">
                  <c:v>5.8426192812968258</c:v>
                </c:pt>
                <c:pt idx="6815">
                  <c:v>4.185691685592813</c:v>
                </c:pt>
                <c:pt idx="6816">
                  <c:v>5.1435360396348049</c:v>
                </c:pt>
                <c:pt idx="6817">
                  <c:v>4.9926781324324496</c:v>
                </c:pt>
                <c:pt idx="6818">
                  <c:v>4.8628037704852245</c:v>
                </c:pt>
                <c:pt idx="6819">
                  <c:v>4.8861782091126367</c:v>
                </c:pt>
                <c:pt idx="6820">
                  <c:v>6.0360127843720379</c:v>
                </c:pt>
                <c:pt idx="6821">
                  <c:v>5.0484905874749408</c:v>
                </c:pt>
                <c:pt idx="6822">
                  <c:v>5.1461606466388705</c:v>
                </c:pt>
                <c:pt idx="6823">
                  <c:v>5.1135479667273724</c:v>
                </c:pt>
                <c:pt idx="6824">
                  <c:v>6.111373906589578</c:v>
                </c:pt>
                <c:pt idx="6825">
                  <c:v>7.1480052994243</c:v>
                </c:pt>
                <c:pt idx="6826">
                  <c:v>5.1106251928571851</c:v>
                </c:pt>
                <c:pt idx="6827">
                  <c:v>5.0191017591632967</c:v>
                </c:pt>
                <c:pt idx="6828">
                  <c:v>7.0626132248137869</c:v>
                </c:pt>
                <c:pt idx="6829">
                  <c:v>5.9407685717724812</c:v>
                </c:pt>
                <c:pt idx="6830">
                  <c:v>5.1457978866633542</c:v>
                </c:pt>
                <c:pt idx="6831">
                  <c:v>6.1261127328142067</c:v>
                </c:pt>
                <c:pt idx="6832">
                  <c:v>6.1347237099876004</c:v>
                </c:pt>
                <c:pt idx="6833">
                  <c:v>4.9199225175237302</c:v>
                </c:pt>
                <c:pt idx="6834">
                  <c:v>5.0403114392315587</c:v>
                </c:pt>
                <c:pt idx="6835">
                  <c:v>6.0053206796871654</c:v>
                </c:pt>
                <c:pt idx="6836">
                  <c:v>6.0458091083437147</c:v>
                </c:pt>
                <c:pt idx="6837">
                  <c:v>6.1671593026878284</c:v>
                </c:pt>
                <c:pt idx="6838">
                  <c:v>5.1284827199106804</c:v>
                </c:pt>
                <c:pt idx="6839">
                  <c:v>4.9095260299039705</c:v>
                </c:pt>
                <c:pt idx="6840">
                  <c:v>4.8786526982685459</c:v>
                </c:pt>
                <c:pt idx="6841">
                  <c:v>4.9144256106634208</c:v>
                </c:pt>
                <c:pt idx="6842">
                  <c:v>6.1248408605964046</c:v>
                </c:pt>
                <c:pt idx="6843">
                  <c:v>4.7809113118848767</c:v>
                </c:pt>
                <c:pt idx="6844">
                  <c:v>5.0023128902777385</c:v>
                </c:pt>
                <c:pt idx="6845">
                  <c:v>6.8483766717986816</c:v>
                </c:pt>
                <c:pt idx="6846">
                  <c:v>6.0021620223097045</c:v>
                </c:pt>
                <c:pt idx="6847">
                  <c:v>5.0083530393267433</c:v>
                </c:pt>
                <c:pt idx="6848">
                  <c:v>4.8675850006360353</c:v>
                </c:pt>
                <c:pt idx="6849">
                  <c:v>5.0707442914879515</c:v>
                </c:pt>
                <c:pt idx="6850">
                  <c:v>5.9483922866659524</c:v>
                </c:pt>
                <c:pt idx="6851">
                  <c:v>6.0015190503524813</c:v>
                </c:pt>
                <c:pt idx="6852">
                  <c:v>6.0249399785238476</c:v>
                </c:pt>
                <c:pt idx="6853">
                  <c:v>6.0051979302415841</c:v>
                </c:pt>
                <c:pt idx="6854">
                  <c:v>4.9565750729091125</c:v>
                </c:pt>
                <c:pt idx="6855">
                  <c:v>4.8543583857689061</c:v>
                </c:pt>
                <c:pt idx="6856">
                  <c:v>5.9679396933368167</c:v>
                </c:pt>
                <c:pt idx="6857">
                  <c:v>6.9368382410995713</c:v>
                </c:pt>
                <c:pt idx="6858">
                  <c:v>5.9364690849420487</c:v>
                </c:pt>
                <c:pt idx="6859">
                  <c:v>6.0288174344651448</c:v>
                </c:pt>
                <c:pt idx="6860">
                  <c:v>5.9498270669234472</c:v>
                </c:pt>
                <c:pt idx="6861">
                  <c:v>5.0585324177576192</c:v>
                </c:pt>
                <c:pt idx="6862">
                  <c:v>4.9586085605219221</c:v>
                </c:pt>
                <c:pt idx="6863">
                  <c:v>5.9432180277915139</c:v>
                </c:pt>
                <c:pt idx="6864">
                  <c:v>6.0564275350388357</c:v>
                </c:pt>
                <c:pt idx="6865">
                  <c:v>5.9945448529601455</c:v>
                </c:pt>
                <c:pt idx="6866">
                  <c:v>5.0985412005492705</c:v>
                </c:pt>
                <c:pt idx="6867">
                  <c:v>5.053112140880196</c:v>
                </c:pt>
                <c:pt idx="6868">
                  <c:v>5.8727382922108227</c:v>
                </c:pt>
                <c:pt idx="6869">
                  <c:v>5.8782671956289425</c:v>
                </c:pt>
                <c:pt idx="6870">
                  <c:v>5.0488703518826687</c:v>
                </c:pt>
                <c:pt idx="6871">
                  <c:v>5.0447649785582831</c:v>
                </c:pt>
                <c:pt idx="6872">
                  <c:v>5.0496932932469258</c:v>
                </c:pt>
                <c:pt idx="6873">
                  <c:v>5.0207341984799259</c:v>
                </c:pt>
                <c:pt idx="6874">
                  <c:v>7.1029830264928311</c:v>
                </c:pt>
                <c:pt idx="6875">
                  <c:v>7.1507158904775538</c:v>
                </c:pt>
                <c:pt idx="6876">
                  <c:v>7.0524510210958553</c:v>
                </c:pt>
                <c:pt idx="6877">
                  <c:v>6.074639551378552</c:v>
                </c:pt>
                <c:pt idx="6878">
                  <c:v>4.9027090991899271</c:v>
                </c:pt>
                <c:pt idx="6879">
                  <c:v>4.8329135933532088</c:v>
                </c:pt>
                <c:pt idx="6880">
                  <c:v>5.1514935733856131</c:v>
                </c:pt>
                <c:pt idx="6881">
                  <c:v>6.0143372280259575</c:v>
                </c:pt>
                <c:pt idx="6882">
                  <c:v>5.8245252020494931</c:v>
                </c:pt>
                <c:pt idx="6883">
                  <c:v>6.9807070577274892</c:v>
                </c:pt>
                <c:pt idx="6884">
                  <c:v>4.9298103574654135</c:v>
                </c:pt>
                <c:pt idx="6885">
                  <c:v>6.8728518245639689</c:v>
                </c:pt>
                <c:pt idx="6886">
                  <c:v>4.9580426741732904</c:v>
                </c:pt>
                <c:pt idx="6887">
                  <c:v>6.0579184249701488</c:v>
                </c:pt>
                <c:pt idx="6888">
                  <c:v>5.1896422062345602</c:v>
                </c:pt>
                <c:pt idx="6889">
                  <c:v>5.9085275216369855</c:v>
                </c:pt>
                <c:pt idx="6890">
                  <c:v>6.0244266446879227</c:v>
                </c:pt>
                <c:pt idx="6891">
                  <c:v>6.08060728253965</c:v>
                </c:pt>
                <c:pt idx="6892">
                  <c:v>6.0101580760619209</c:v>
                </c:pt>
                <c:pt idx="6893">
                  <c:v>5.8527176058207635</c:v>
                </c:pt>
                <c:pt idx="6894">
                  <c:v>4.989858411486777</c:v>
                </c:pt>
                <c:pt idx="6895">
                  <c:v>5.1214449705628944</c:v>
                </c:pt>
                <c:pt idx="6896">
                  <c:v>6.023976408020439</c:v>
                </c:pt>
                <c:pt idx="6897">
                  <c:v>4.8651592238422161</c:v>
                </c:pt>
                <c:pt idx="6898">
                  <c:v>5.9813648101793877</c:v>
                </c:pt>
                <c:pt idx="6899">
                  <c:v>5.0833123369349407</c:v>
                </c:pt>
                <c:pt idx="6900">
                  <c:v>5.9551327553632856</c:v>
                </c:pt>
                <c:pt idx="6901">
                  <c:v>4.9068642652547156</c:v>
                </c:pt>
                <c:pt idx="6902">
                  <c:v>5.9533734616742038</c:v>
                </c:pt>
                <c:pt idx="6903">
                  <c:v>4.8382839997234726</c:v>
                </c:pt>
                <c:pt idx="6904">
                  <c:v>6.0092128019368731</c:v>
                </c:pt>
                <c:pt idx="6905">
                  <c:v>7.0779161510090987</c:v>
                </c:pt>
                <c:pt idx="6906">
                  <c:v>5.9745303368865406</c:v>
                </c:pt>
                <c:pt idx="6907">
                  <c:v>4.8819638943758932</c:v>
                </c:pt>
                <c:pt idx="6908">
                  <c:v>4.93547651518102</c:v>
                </c:pt>
                <c:pt idx="6909">
                  <c:v>5.1263066537160507</c:v>
                </c:pt>
                <c:pt idx="6910">
                  <c:v>6.1411738738956618</c:v>
                </c:pt>
                <c:pt idx="6911">
                  <c:v>5.0825128259723913</c:v>
                </c:pt>
                <c:pt idx="6912">
                  <c:v>4.9134428330458393</c:v>
                </c:pt>
                <c:pt idx="6913">
                  <c:v>5.9840005467926813</c:v>
                </c:pt>
                <c:pt idx="6914">
                  <c:v>6.179264687020674</c:v>
                </c:pt>
                <c:pt idx="6915">
                  <c:v>4.8879360048594025</c:v>
                </c:pt>
                <c:pt idx="6916">
                  <c:v>4.9165747382444271</c:v>
                </c:pt>
                <c:pt idx="6917">
                  <c:v>5.1383257665924456</c:v>
                </c:pt>
                <c:pt idx="6918">
                  <c:v>5.0481715121686701</c:v>
                </c:pt>
                <c:pt idx="6919">
                  <c:v>4.8848733664071773</c:v>
                </c:pt>
                <c:pt idx="6920">
                  <c:v>7.1560735061949767</c:v>
                </c:pt>
                <c:pt idx="6921">
                  <c:v>5.0192373099850807</c:v>
                </c:pt>
                <c:pt idx="6922">
                  <c:v>5.1810265051991129</c:v>
                </c:pt>
                <c:pt idx="6923">
                  <c:v>6.0034799162590682</c:v>
                </c:pt>
                <c:pt idx="6924">
                  <c:v>4.9356955667487235</c:v>
                </c:pt>
                <c:pt idx="6925">
                  <c:v>5.8972596024491866</c:v>
                </c:pt>
                <c:pt idx="6926">
                  <c:v>5.1279369406524973</c:v>
                </c:pt>
                <c:pt idx="6927">
                  <c:v>6.9972316119365781</c:v>
                </c:pt>
                <c:pt idx="6928">
                  <c:v>3.8433539455957595</c:v>
                </c:pt>
                <c:pt idx="6929">
                  <c:v>4.9972326642235316</c:v>
                </c:pt>
                <c:pt idx="6930">
                  <c:v>6.8952349181472439</c:v>
                </c:pt>
                <c:pt idx="6931">
                  <c:v>7.0126664993686916</c:v>
                </c:pt>
                <c:pt idx="6932">
                  <c:v>4.9696573628129528</c:v>
                </c:pt>
                <c:pt idx="6933">
                  <c:v>5.0326309855606368</c:v>
                </c:pt>
                <c:pt idx="6934">
                  <c:v>5.212833279049045</c:v>
                </c:pt>
                <c:pt idx="6935">
                  <c:v>4.972491409295265</c:v>
                </c:pt>
                <c:pt idx="6936">
                  <c:v>5.8658296863034138</c:v>
                </c:pt>
                <c:pt idx="6937">
                  <c:v>5.955368306635628</c:v>
                </c:pt>
                <c:pt idx="6938">
                  <c:v>5.034637157248306</c:v>
                </c:pt>
                <c:pt idx="6939">
                  <c:v>5.9591549151099317</c:v>
                </c:pt>
                <c:pt idx="6940">
                  <c:v>5.1148970513713188</c:v>
                </c:pt>
                <c:pt idx="6941">
                  <c:v>5.7805015348976001</c:v>
                </c:pt>
                <c:pt idx="6942">
                  <c:v>5.0457274842802278</c:v>
                </c:pt>
                <c:pt idx="6943">
                  <c:v>6.2549838287270623</c:v>
                </c:pt>
                <c:pt idx="6944">
                  <c:v>5.9619666199824932</c:v>
                </c:pt>
                <c:pt idx="6945">
                  <c:v>4.9186735019999581</c:v>
                </c:pt>
                <c:pt idx="6946">
                  <c:v>5.9066068650340044</c:v>
                </c:pt>
                <c:pt idx="6947">
                  <c:v>5.086850226291908</c:v>
                </c:pt>
                <c:pt idx="6948">
                  <c:v>5.9999185958601249</c:v>
                </c:pt>
                <c:pt idx="6949">
                  <c:v>4.9774552844511604</c:v>
                </c:pt>
                <c:pt idx="6950">
                  <c:v>5.9628391239928709</c:v>
                </c:pt>
                <c:pt idx="6951">
                  <c:v>4.9730835034771559</c:v>
                </c:pt>
                <c:pt idx="6952">
                  <c:v>4.9709859121475635</c:v>
                </c:pt>
                <c:pt idx="6953">
                  <c:v>4.9855866613192088</c:v>
                </c:pt>
                <c:pt idx="6954">
                  <c:v>4.8039916025189955</c:v>
                </c:pt>
                <c:pt idx="6955">
                  <c:v>5.894894046365863</c:v>
                </c:pt>
                <c:pt idx="6956">
                  <c:v>4.9229343806819639</c:v>
                </c:pt>
                <c:pt idx="6957">
                  <c:v>6.0503109493585985</c:v>
                </c:pt>
                <c:pt idx="6958">
                  <c:v>5.0075618525094185</c:v>
                </c:pt>
                <c:pt idx="6959">
                  <c:v>5.051139833908711</c:v>
                </c:pt>
                <c:pt idx="6960">
                  <c:v>6.1032082770429525</c:v>
                </c:pt>
                <c:pt idx="6961">
                  <c:v>6.0662516695164292</c:v>
                </c:pt>
                <c:pt idx="6962">
                  <c:v>4.8402266864972079</c:v>
                </c:pt>
                <c:pt idx="6963">
                  <c:v>5.8824277507078291</c:v>
                </c:pt>
                <c:pt idx="6964">
                  <c:v>5.8786395589879543</c:v>
                </c:pt>
                <c:pt idx="6965">
                  <c:v>5.9976051791158858</c:v>
                </c:pt>
                <c:pt idx="6966">
                  <c:v>6.2171287124122676</c:v>
                </c:pt>
                <c:pt idx="6967">
                  <c:v>5.04638988143072</c:v>
                </c:pt>
                <c:pt idx="6968">
                  <c:v>5.0606876626605262</c:v>
                </c:pt>
                <c:pt idx="6969">
                  <c:v>5.0797441594048216</c:v>
                </c:pt>
                <c:pt idx="6970">
                  <c:v>5.1203986547011802</c:v>
                </c:pt>
                <c:pt idx="6971">
                  <c:v>5.889911683434371</c:v>
                </c:pt>
                <c:pt idx="6972">
                  <c:v>4.8542289341993392</c:v>
                </c:pt>
                <c:pt idx="6973">
                  <c:v>4.7797798014772477</c:v>
                </c:pt>
                <c:pt idx="6974">
                  <c:v>5.131146854177552</c:v>
                </c:pt>
                <c:pt idx="6975">
                  <c:v>6.099873593910667</c:v>
                </c:pt>
                <c:pt idx="6976">
                  <c:v>5.0769482626972806</c:v>
                </c:pt>
                <c:pt idx="6977">
                  <c:v>5.14624466126849</c:v>
                </c:pt>
                <c:pt idx="6978">
                  <c:v>6.0957823505121862</c:v>
                </c:pt>
                <c:pt idx="6979">
                  <c:v>5.0018312637575058</c:v>
                </c:pt>
                <c:pt idx="6980">
                  <c:v>5.1450655270876355</c:v>
                </c:pt>
                <c:pt idx="6981">
                  <c:v>5.9711795754217407</c:v>
                </c:pt>
                <c:pt idx="6982">
                  <c:v>5.093665817826369</c:v>
                </c:pt>
                <c:pt idx="6983">
                  <c:v>5.0461378159522301</c:v>
                </c:pt>
                <c:pt idx="6984">
                  <c:v>6.0783777897337767</c:v>
                </c:pt>
                <c:pt idx="6985">
                  <c:v>4.8866922141564393</c:v>
                </c:pt>
                <c:pt idx="6986">
                  <c:v>6.0335807689082808</c:v>
                </c:pt>
                <c:pt idx="6987">
                  <c:v>7.1136925929440018</c:v>
                </c:pt>
                <c:pt idx="6988">
                  <c:v>4.9657408919383981</c:v>
                </c:pt>
                <c:pt idx="6989">
                  <c:v>4.9367589673153285</c:v>
                </c:pt>
                <c:pt idx="6990">
                  <c:v>4.9647361137116661</c:v>
                </c:pt>
                <c:pt idx="6991">
                  <c:v>4.8166203891265074</c:v>
                </c:pt>
                <c:pt idx="6992">
                  <c:v>6.2448718105539509</c:v>
                </c:pt>
                <c:pt idx="6993">
                  <c:v>5.169462378960147</c:v>
                </c:pt>
                <c:pt idx="6994">
                  <c:v>6.05375912052655</c:v>
                </c:pt>
                <c:pt idx="6995">
                  <c:v>5.9021266071587766</c:v>
                </c:pt>
                <c:pt idx="6996">
                  <c:v>6.0285159116563909</c:v>
                </c:pt>
                <c:pt idx="6997">
                  <c:v>5.8204116732949718</c:v>
                </c:pt>
                <c:pt idx="6998">
                  <c:v>5.0875975405963461</c:v>
                </c:pt>
                <c:pt idx="6999">
                  <c:v>5.8467471632763717</c:v>
                </c:pt>
                <c:pt idx="7000">
                  <c:v>5.1305958600261059</c:v>
                </c:pt>
                <c:pt idx="7001">
                  <c:v>5.0566425953527849</c:v>
                </c:pt>
                <c:pt idx="7002">
                  <c:v>6.1244155082368419</c:v>
                </c:pt>
                <c:pt idx="7003">
                  <c:v>6.0856811185534676</c:v>
                </c:pt>
                <c:pt idx="7004">
                  <c:v>6.0663583420365672</c:v>
                </c:pt>
                <c:pt idx="7005">
                  <c:v>5.8955592802533188</c:v>
                </c:pt>
                <c:pt idx="7006">
                  <c:v>5.9855985220442731</c:v>
                </c:pt>
                <c:pt idx="7007">
                  <c:v>5.9903098279848157</c:v>
                </c:pt>
                <c:pt idx="7008">
                  <c:v>5.9783584180310729</c:v>
                </c:pt>
                <c:pt idx="7009">
                  <c:v>4.9942399155096169</c:v>
                </c:pt>
                <c:pt idx="7010">
                  <c:v>4.9943124438988002</c:v>
                </c:pt>
                <c:pt idx="7011">
                  <c:v>5.0560216765398902</c:v>
                </c:pt>
                <c:pt idx="7012">
                  <c:v>4.9660698558073788</c:v>
                </c:pt>
                <c:pt idx="7013">
                  <c:v>5.7772765428091226</c:v>
                </c:pt>
                <c:pt idx="7014">
                  <c:v>6.1007976288438295</c:v>
                </c:pt>
                <c:pt idx="7015">
                  <c:v>6.0767047594900907</c:v>
                </c:pt>
                <c:pt idx="7016">
                  <c:v>6.0081555492431553</c:v>
                </c:pt>
                <c:pt idx="7017">
                  <c:v>4.9147222471292418</c:v>
                </c:pt>
                <c:pt idx="7018">
                  <c:v>4.8500888538130758</c:v>
                </c:pt>
                <c:pt idx="7019">
                  <c:v>5.0284902293957749</c:v>
                </c:pt>
                <c:pt idx="7020">
                  <c:v>5.0293377956478631</c:v>
                </c:pt>
                <c:pt idx="7021">
                  <c:v>5.9282207102835232</c:v>
                </c:pt>
                <c:pt idx="7022">
                  <c:v>6.0810765322991154</c:v>
                </c:pt>
                <c:pt idx="7023">
                  <c:v>4.8776815526985944</c:v>
                </c:pt>
                <c:pt idx="7024">
                  <c:v>5.0740216560617917</c:v>
                </c:pt>
                <c:pt idx="7025">
                  <c:v>5.95614295606733</c:v>
                </c:pt>
                <c:pt idx="7026">
                  <c:v>4.9835485857344128</c:v>
                </c:pt>
                <c:pt idx="7027">
                  <c:v>5.8778590117694955</c:v>
                </c:pt>
                <c:pt idx="7028">
                  <c:v>5.2771692601589741</c:v>
                </c:pt>
                <c:pt idx="7029">
                  <c:v>4.8574014932543088</c:v>
                </c:pt>
                <c:pt idx="7030">
                  <c:v>5.1386152339795776</c:v>
                </c:pt>
                <c:pt idx="7031">
                  <c:v>4.894977930022999</c:v>
                </c:pt>
                <c:pt idx="7032">
                  <c:v>5.9891444551319335</c:v>
                </c:pt>
                <c:pt idx="7033">
                  <c:v>5.973473461733434</c:v>
                </c:pt>
                <c:pt idx="7034">
                  <c:v>5.085328894891429</c:v>
                </c:pt>
                <c:pt idx="7035">
                  <c:v>5.9408257973220602</c:v>
                </c:pt>
                <c:pt idx="7036">
                  <c:v>6.9722861146436221</c:v>
                </c:pt>
                <c:pt idx="7037">
                  <c:v>4.988115455112287</c:v>
                </c:pt>
                <c:pt idx="7038">
                  <c:v>7.2484905792327261</c:v>
                </c:pt>
                <c:pt idx="7039">
                  <c:v>5.9268463660323718</c:v>
                </c:pt>
                <c:pt idx="7040">
                  <c:v>4.9703552751990738</c:v>
                </c:pt>
                <c:pt idx="7041">
                  <c:v>6.1027870584139299</c:v>
                </c:pt>
                <c:pt idx="7042">
                  <c:v>6.1777394092369056</c:v>
                </c:pt>
                <c:pt idx="7043">
                  <c:v>5.0046163155544043</c:v>
                </c:pt>
                <c:pt idx="7044">
                  <c:v>4.8816833982664285</c:v>
                </c:pt>
                <c:pt idx="7045">
                  <c:v>5.0049530323905946</c:v>
                </c:pt>
                <c:pt idx="7046">
                  <c:v>5.1033364808933177</c:v>
                </c:pt>
                <c:pt idx="7047">
                  <c:v>5.1509830013613884</c:v>
                </c:pt>
                <c:pt idx="7048">
                  <c:v>6.0606722243344429</c:v>
                </c:pt>
                <c:pt idx="7049">
                  <c:v>5.9973722447154776</c:v>
                </c:pt>
                <c:pt idx="7050">
                  <c:v>4.9904034327482032</c:v>
                </c:pt>
                <c:pt idx="7051">
                  <c:v>6.0324100447937061</c:v>
                </c:pt>
                <c:pt idx="7052">
                  <c:v>5.1351184515012216</c:v>
                </c:pt>
                <c:pt idx="7053">
                  <c:v>6.0761950688644122</c:v>
                </c:pt>
                <c:pt idx="7054">
                  <c:v>6.9862973005092597</c:v>
                </c:pt>
                <c:pt idx="7055">
                  <c:v>4.7606812128419467</c:v>
                </c:pt>
                <c:pt idx="7056">
                  <c:v>4.1215275396002324</c:v>
                </c:pt>
                <c:pt idx="7057">
                  <c:v>4.9290953692158359</c:v>
                </c:pt>
                <c:pt idx="7058">
                  <c:v>4.7133279422711896</c:v>
                </c:pt>
                <c:pt idx="7059">
                  <c:v>5.0490938879955811</c:v>
                </c:pt>
                <c:pt idx="7060">
                  <c:v>5.9789701823947787</c:v>
                </c:pt>
                <c:pt idx="7061">
                  <c:v>6.2093945347740247</c:v>
                </c:pt>
                <c:pt idx="7062">
                  <c:v>5.9553512136804709</c:v>
                </c:pt>
                <c:pt idx="7063">
                  <c:v>5.8560288051636542</c:v>
                </c:pt>
                <c:pt idx="7064">
                  <c:v>5.8559350594151995</c:v>
                </c:pt>
                <c:pt idx="7065">
                  <c:v>5.0295741234177989</c:v>
                </c:pt>
                <c:pt idx="7066">
                  <c:v>4.8460852900082054</c:v>
                </c:pt>
                <c:pt idx="7067">
                  <c:v>5.8955818992861957</c:v>
                </c:pt>
                <c:pt idx="7068">
                  <c:v>5.015952055079838</c:v>
                </c:pt>
                <c:pt idx="7069">
                  <c:v>5.0094267355835882</c:v>
                </c:pt>
                <c:pt idx="7070">
                  <c:v>5.8857649596113717</c:v>
                </c:pt>
                <c:pt idx="7071">
                  <c:v>5.1314730284102392</c:v>
                </c:pt>
                <c:pt idx="7072">
                  <c:v>5.0335291218235367</c:v>
                </c:pt>
                <c:pt idx="7073">
                  <c:v>4.9206170130846516</c:v>
                </c:pt>
                <c:pt idx="7074">
                  <c:v>5.8806341103125339</c:v>
                </c:pt>
                <c:pt idx="7075">
                  <c:v>4.9835609778582306</c:v>
                </c:pt>
                <c:pt idx="7076">
                  <c:v>6.148330771196524</c:v>
                </c:pt>
                <c:pt idx="7077">
                  <c:v>6.0308064441778599</c:v>
                </c:pt>
                <c:pt idx="7078">
                  <c:v>4.8985747387945162</c:v>
                </c:pt>
                <c:pt idx="7079">
                  <c:v>5.0115409417723953</c:v>
                </c:pt>
                <c:pt idx="7080">
                  <c:v>6.0340073887388739</c:v>
                </c:pt>
                <c:pt idx="7081">
                  <c:v>5.1487150408125277</c:v>
                </c:pt>
                <c:pt idx="7082">
                  <c:v>6.1296940752034521</c:v>
                </c:pt>
                <c:pt idx="7083">
                  <c:v>5.0876781890413785</c:v>
                </c:pt>
                <c:pt idx="7084">
                  <c:v>4.8938628797090038</c:v>
                </c:pt>
                <c:pt idx="7085">
                  <c:v>5.1693315481755446</c:v>
                </c:pt>
                <c:pt idx="7086">
                  <c:v>6.0140782508640154</c:v>
                </c:pt>
                <c:pt idx="7087">
                  <c:v>5.9730853836491544</c:v>
                </c:pt>
                <c:pt idx="7088">
                  <c:v>6.9663740161814953</c:v>
                </c:pt>
                <c:pt idx="7089">
                  <c:v>4.9248453212176173</c:v>
                </c:pt>
                <c:pt idx="7090">
                  <c:v>4.9810261192129808</c:v>
                </c:pt>
                <c:pt idx="7091">
                  <c:v>6.1071808313340723</c:v>
                </c:pt>
                <c:pt idx="7092">
                  <c:v>5.1229076964471378</c:v>
                </c:pt>
                <c:pt idx="7093">
                  <c:v>4.8332281876182552</c:v>
                </c:pt>
                <c:pt idx="7094">
                  <c:v>5.9740617237886529</c:v>
                </c:pt>
                <c:pt idx="7095">
                  <c:v>5.9573912397522193</c:v>
                </c:pt>
                <c:pt idx="7096">
                  <c:v>4.957567622275703</c:v>
                </c:pt>
                <c:pt idx="7097">
                  <c:v>6.0200801228264238</c:v>
                </c:pt>
                <c:pt idx="7098">
                  <c:v>6.0852588266106302</c:v>
                </c:pt>
                <c:pt idx="7099">
                  <c:v>6.1760057692913515</c:v>
                </c:pt>
                <c:pt idx="7100">
                  <c:v>4.9314637585488228</c:v>
                </c:pt>
                <c:pt idx="7101">
                  <c:v>5.7924399916087683</c:v>
                </c:pt>
                <c:pt idx="7102">
                  <c:v>5.1294670841874721</c:v>
                </c:pt>
                <c:pt idx="7103">
                  <c:v>4.8623779153843083</c:v>
                </c:pt>
                <c:pt idx="7104">
                  <c:v>5.9898160055304173</c:v>
                </c:pt>
                <c:pt idx="7105">
                  <c:v>5.198779459035797</c:v>
                </c:pt>
                <c:pt idx="7106">
                  <c:v>7.1816652446321845</c:v>
                </c:pt>
                <c:pt idx="7107">
                  <c:v>6.0987214077506611</c:v>
                </c:pt>
                <c:pt idx="7108">
                  <c:v>4.8489833457172642</c:v>
                </c:pt>
                <c:pt idx="7109">
                  <c:v>5.9414076950754495</c:v>
                </c:pt>
                <c:pt idx="7110">
                  <c:v>5.0869112239183414</c:v>
                </c:pt>
                <c:pt idx="7111">
                  <c:v>5.8926731621515724</c:v>
                </c:pt>
                <c:pt idx="7112">
                  <c:v>6.0019414107951246</c:v>
                </c:pt>
                <c:pt idx="7113">
                  <c:v>5.0133837319245309</c:v>
                </c:pt>
                <c:pt idx="7114">
                  <c:v>5.980495999092545</c:v>
                </c:pt>
                <c:pt idx="7115">
                  <c:v>4.888379120108028</c:v>
                </c:pt>
                <c:pt idx="7116">
                  <c:v>5.2502127117492909</c:v>
                </c:pt>
                <c:pt idx="7117">
                  <c:v>5.136976235179552</c:v>
                </c:pt>
                <c:pt idx="7118">
                  <c:v>6.1777907129740282</c:v>
                </c:pt>
                <c:pt idx="7119">
                  <c:v>5.9333630655325527</c:v>
                </c:pt>
                <c:pt idx="7120">
                  <c:v>4.9782295212706744</c:v>
                </c:pt>
                <c:pt idx="7121">
                  <c:v>5.9706003680023043</c:v>
                </c:pt>
                <c:pt idx="7122">
                  <c:v>4.8827923735318537</c:v>
                </c:pt>
                <c:pt idx="7123">
                  <c:v>5.9745520383327584</c:v>
                </c:pt>
                <c:pt idx="7124">
                  <c:v>5.1147193760289396</c:v>
                </c:pt>
                <c:pt idx="7125">
                  <c:v>4.7684561826809633</c:v>
                </c:pt>
                <c:pt idx="7126">
                  <c:v>4.8707458218867457</c:v>
                </c:pt>
                <c:pt idx="7127">
                  <c:v>4.8834263594244263</c:v>
                </c:pt>
                <c:pt idx="7128">
                  <c:v>4.9439623715838099</c:v>
                </c:pt>
                <c:pt idx="7129">
                  <c:v>5.1029806536957674</c:v>
                </c:pt>
                <c:pt idx="7130">
                  <c:v>5.1209675424406509</c:v>
                </c:pt>
                <c:pt idx="7131">
                  <c:v>5.937849727465327</c:v>
                </c:pt>
                <c:pt idx="7132">
                  <c:v>5.0479915493838767</c:v>
                </c:pt>
                <c:pt idx="7133">
                  <c:v>5.179825446677758</c:v>
                </c:pt>
                <c:pt idx="7134">
                  <c:v>4.9374517925551968</c:v>
                </c:pt>
                <c:pt idx="7135">
                  <c:v>6.1060830962473212</c:v>
                </c:pt>
                <c:pt idx="7136">
                  <c:v>5.9035952568519896</c:v>
                </c:pt>
                <c:pt idx="7137">
                  <c:v>5.0549204663938907</c:v>
                </c:pt>
                <c:pt idx="7138">
                  <c:v>5.9892935446079374</c:v>
                </c:pt>
                <c:pt idx="7139">
                  <c:v>6.0164889533350703</c:v>
                </c:pt>
                <c:pt idx="7140">
                  <c:v>6.0643114131572062</c:v>
                </c:pt>
                <c:pt idx="7141">
                  <c:v>6.0158981490805647</c:v>
                </c:pt>
                <c:pt idx="7142">
                  <c:v>5.0184827709394488</c:v>
                </c:pt>
                <c:pt idx="7143">
                  <c:v>5.0942921077013654</c:v>
                </c:pt>
                <c:pt idx="7144">
                  <c:v>5.9466741242332359</c:v>
                </c:pt>
                <c:pt idx="7145">
                  <c:v>6.0533851547884066</c:v>
                </c:pt>
                <c:pt idx="7146">
                  <c:v>5.9855942901029229</c:v>
                </c:pt>
                <c:pt idx="7147">
                  <c:v>4.8156036729096492</c:v>
                </c:pt>
                <c:pt idx="7148">
                  <c:v>5.1689517591036171</c:v>
                </c:pt>
                <c:pt idx="7149">
                  <c:v>6.0385581973813647</c:v>
                </c:pt>
                <c:pt idx="7150">
                  <c:v>6.0271091982815337</c:v>
                </c:pt>
                <c:pt idx="7151">
                  <c:v>5.021277698408614</c:v>
                </c:pt>
                <c:pt idx="7152">
                  <c:v>6.0455721286493116</c:v>
                </c:pt>
                <c:pt idx="7153">
                  <c:v>6.0394689786261084</c:v>
                </c:pt>
                <c:pt idx="7154">
                  <c:v>5.8704729636719808</c:v>
                </c:pt>
                <c:pt idx="7155">
                  <c:v>6.0162111221512671</c:v>
                </c:pt>
                <c:pt idx="7156">
                  <c:v>5.9808688955217235</c:v>
                </c:pt>
                <c:pt idx="7157">
                  <c:v>5.0081708056654897</c:v>
                </c:pt>
                <c:pt idx="7158">
                  <c:v>5.9522633757510555</c:v>
                </c:pt>
                <c:pt idx="7159">
                  <c:v>5.8866180123174354</c:v>
                </c:pt>
                <c:pt idx="7160">
                  <c:v>5.897895194230375</c:v>
                </c:pt>
                <c:pt idx="7161">
                  <c:v>5.067192426149445</c:v>
                </c:pt>
                <c:pt idx="7162">
                  <c:v>6.030011702619408</c:v>
                </c:pt>
                <c:pt idx="7163">
                  <c:v>6.0713207346789293</c:v>
                </c:pt>
                <c:pt idx="7164">
                  <c:v>5.1145373996129795</c:v>
                </c:pt>
                <c:pt idx="7165">
                  <c:v>5.1466710515666181</c:v>
                </c:pt>
                <c:pt idx="7166">
                  <c:v>4.9412508893516121</c:v>
                </c:pt>
                <c:pt idx="7167">
                  <c:v>5.0379520425363618</c:v>
                </c:pt>
                <c:pt idx="7168">
                  <c:v>5.0868141050110847</c:v>
                </c:pt>
                <c:pt idx="7169">
                  <c:v>6.1566529625535837</c:v>
                </c:pt>
                <c:pt idx="7170">
                  <c:v>5.1115976036177182</c:v>
                </c:pt>
                <c:pt idx="7171">
                  <c:v>4.9739569486408675</c:v>
                </c:pt>
                <c:pt idx="7172">
                  <c:v>6.1334070742309947</c:v>
                </c:pt>
                <c:pt idx="7173">
                  <c:v>5.9602650552129273</c:v>
                </c:pt>
                <c:pt idx="7174">
                  <c:v>6.1602035922723184</c:v>
                </c:pt>
                <c:pt idx="7175">
                  <c:v>6.2303508402984802</c:v>
                </c:pt>
                <c:pt idx="7176">
                  <c:v>5.9286559366907028</c:v>
                </c:pt>
                <c:pt idx="7177">
                  <c:v>5.9309375380439375</c:v>
                </c:pt>
                <c:pt idx="7178">
                  <c:v>6.1860930100198441</c:v>
                </c:pt>
                <c:pt idx="7179">
                  <c:v>6.0582835573147928</c:v>
                </c:pt>
                <c:pt idx="7180">
                  <c:v>6.0662927606220443</c:v>
                </c:pt>
                <c:pt idx="7181">
                  <c:v>5.97273497864406</c:v>
                </c:pt>
                <c:pt idx="7182">
                  <c:v>5.9177562792795158</c:v>
                </c:pt>
                <c:pt idx="7183">
                  <c:v>5.9803227464161184</c:v>
                </c:pt>
                <c:pt idx="7184">
                  <c:v>5.918893044401405</c:v>
                </c:pt>
                <c:pt idx="7185">
                  <c:v>5.8491641256844975</c:v>
                </c:pt>
                <c:pt idx="7186">
                  <c:v>6.0676728416292951</c:v>
                </c:pt>
                <c:pt idx="7187">
                  <c:v>6.0019783326266261</c:v>
                </c:pt>
                <c:pt idx="7188">
                  <c:v>6.0010239751324672</c:v>
                </c:pt>
                <c:pt idx="7189">
                  <c:v>6.1188205726204519</c:v>
                </c:pt>
                <c:pt idx="7190">
                  <c:v>6.0373385112678193</c:v>
                </c:pt>
                <c:pt idx="7191">
                  <c:v>5.8692256672763481</c:v>
                </c:pt>
                <c:pt idx="7192">
                  <c:v>5.995630953602098</c:v>
                </c:pt>
                <c:pt idx="7193">
                  <c:v>5.8505704604930493</c:v>
                </c:pt>
                <c:pt idx="7194">
                  <c:v>6.0298473115953746</c:v>
                </c:pt>
                <c:pt idx="7195">
                  <c:v>5.0958545115780307</c:v>
                </c:pt>
                <c:pt idx="7196">
                  <c:v>5.0600046832350829</c:v>
                </c:pt>
                <c:pt idx="7197">
                  <c:v>6.027141424929197</c:v>
                </c:pt>
                <c:pt idx="7198">
                  <c:v>6.0485960304782056</c:v>
                </c:pt>
                <c:pt idx="7199">
                  <c:v>4.8434122080291111</c:v>
                </c:pt>
                <c:pt idx="7200">
                  <c:v>6.0497886598347064</c:v>
                </c:pt>
                <c:pt idx="7201">
                  <c:v>4.8618487381520898</c:v>
                </c:pt>
                <c:pt idx="7202">
                  <c:v>4.9875713046419046</c:v>
                </c:pt>
                <c:pt idx="7203">
                  <c:v>4.9214073240911125</c:v>
                </c:pt>
                <c:pt idx="7204">
                  <c:v>4.923807586701197</c:v>
                </c:pt>
                <c:pt idx="7205">
                  <c:v>6.070074761189078</c:v>
                </c:pt>
                <c:pt idx="7206">
                  <c:v>5.0014519953775975</c:v>
                </c:pt>
                <c:pt idx="7207">
                  <c:v>4.9881849686132727</c:v>
                </c:pt>
                <c:pt idx="7208">
                  <c:v>6.0123809527299432</c:v>
                </c:pt>
                <c:pt idx="7209">
                  <c:v>5.0203472950136216</c:v>
                </c:pt>
                <c:pt idx="7210">
                  <c:v>4.9945606766219521</c:v>
                </c:pt>
                <c:pt idx="7211">
                  <c:v>6.1212912595085704</c:v>
                </c:pt>
                <c:pt idx="7212">
                  <c:v>6.2284057806197382</c:v>
                </c:pt>
                <c:pt idx="7213">
                  <c:v>4.9740766525256204</c:v>
                </c:pt>
                <c:pt idx="7214">
                  <c:v>4.9932610789627612</c:v>
                </c:pt>
                <c:pt idx="7215">
                  <c:v>6.0843059683672944</c:v>
                </c:pt>
                <c:pt idx="7216">
                  <c:v>5.0712945857359095</c:v>
                </c:pt>
                <c:pt idx="7217">
                  <c:v>6.0552554400189456</c:v>
                </c:pt>
                <c:pt idx="7218">
                  <c:v>6.1421805091260282</c:v>
                </c:pt>
                <c:pt idx="7219">
                  <c:v>5.0340677421397446</c:v>
                </c:pt>
                <c:pt idx="7220">
                  <c:v>5.8820215485065779</c:v>
                </c:pt>
                <c:pt idx="7221">
                  <c:v>5.0109046147729686</c:v>
                </c:pt>
                <c:pt idx="7222">
                  <c:v>4.9217503218272798</c:v>
                </c:pt>
                <c:pt idx="7223">
                  <c:v>4.8618595198231533</c:v>
                </c:pt>
                <c:pt idx="7224">
                  <c:v>4.9248109578833787</c:v>
                </c:pt>
                <c:pt idx="7225">
                  <c:v>6.0577212667650988</c:v>
                </c:pt>
                <c:pt idx="7226">
                  <c:v>6.0496215495019969</c:v>
                </c:pt>
                <c:pt idx="7227">
                  <c:v>4.9189420472543475</c:v>
                </c:pt>
                <c:pt idx="7228">
                  <c:v>5.1207755895429488</c:v>
                </c:pt>
                <c:pt idx="7229">
                  <c:v>5.9478317008333699</c:v>
                </c:pt>
                <c:pt idx="7230">
                  <c:v>6.0291519523486379</c:v>
                </c:pt>
                <c:pt idx="7231">
                  <c:v>4.9495874628689078</c:v>
                </c:pt>
                <c:pt idx="7232">
                  <c:v>6.0743648778023402</c:v>
                </c:pt>
                <c:pt idx="7233">
                  <c:v>5.0729403710891372</c:v>
                </c:pt>
                <c:pt idx="7234">
                  <c:v>5.1950787375571359</c:v>
                </c:pt>
                <c:pt idx="7235">
                  <c:v>4.8962805038627</c:v>
                </c:pt>
                <c:pt idx="7236">
                  <c:v>5.0941070903497883</c:v>
                </c:pt>
                <c:pt idx="7237">
                  <c:v>5.015721395891517</c:v>
                </c:pt>
                <c:pt idx="7238">
                  <c:v>5.9549696147353748</c:v>
                </c:pt>
                <c:pt idx="7239">
                  <c:v>5.9831103771846799</c:v>
                </c:pt>
                <c:pt idx="7240">
                  <c:v>5.0011135790459136</c:v>
                </c:pt>
                <c:pt idx="7241">
                  <c:v>4.8974976741593794</c:v>
                </c:pt>
                <c:pt idx="7242">
                  <c:v>5.993875066740082</c:v>
                </c:pt>
                <c:pt idx="7243">
                  <c:v>4.8996146515696575</c:v>
                </c:pt>
                <c:pt idx="7244">
                  <c:v>6.0674423451217399</c:v>
                </c:pt>
                <c:pt idx="7245">
                  <c:v>5.8295572895129091</c:v>
                </c:pt>
                <c:pt idx="7246">
                  <c:v>5.0142615925393352</c:v>
                </c:pt>
                <c:pt idx="7247">
                  <c:v>6.0091571716009629</c:v>
                </c:pt>
                <c:pt idx="7248">
                  <c:v>5.0156424421172527</c:v>
                </c:pt>
                <c:pt idx="7249">
                  <c:v>6.0870777301809547</c:v>
                </c:pt>
                <c:pt idx="7250">
                  <c:v>6.0818434568359194</c:v>
                </c:pt>
                <c:pt idx="7251">
                  <c:v>5.0679237835085891</c:v>
                </c:pt>
                <c:pt idx="7252">
                  <c:v>5.0401310691946613</c:v>
                </c:pt>
                <c:pt idx="7253">
                  <c:v>6.136368304586048</c:v>
                </c:pt>
                <c:pt idx="7254">
                  <c:v>6.0678936158953585</c:v>
                </c:pt>
                <c:pt idx="7255">
                  <c:v>4.9968063373614857</c:v>
                </c:pt>
                <c:pt idx="7256">
                  <c:v>4.9183007134223864</c:v>
                </c:pt>
                <c:pt idx="7257">
                  <c:v>4.9555186538315938</c:v>
                </c:pt>
                <c:pt idx="7258">
                  <c:v>4.9212725479080159</c:v>
                </c:pt>
                <c:pt idx="7259">
                  <c:v>4.9148386259936228</c:v>
                </c:pt>
                <c:pt idx="7260">
                  <c:v>5.134906053062072</c:v>
                </c:pt>
                <c:pt idx="7261">
                  <c:v>4.0913579774224571</c:v>
                </c:pt>
                <c:pt idx="7262">
                  <c:v>5.9741322260985212</c:v>
                </c:pt>
                <c:pt idx="7263">
                  <c:v>3.095693915263499</c:v>
                </c:pt>
                <c:pt idx="7264">
                  <c:v>6.0601862890570395</c:v>
                </c:pt>
                <c:pt idx="7265">
                  <c:v>4.9812999943946492</c:v>
                </c:pt>
                <c:pt idx="7266">
                  <c:v>5.8296871604660936</c:v>
                </c:pt>
                <c:pt idx="7267">
                  <c:v>4.909225884171736</c:v>
                </c:pt>
                <c:pt idx="7268">
                  <c:v>6.1736794574905112</c:v>
                </c:pt>
                <c:pt idx="7269">
                  <c:v>5.9014744674417479</c:v>
                </c:pt>
                <c:pt idx="7270">
                  <c:v>5.9157028687940301</c:v>
                </c:pt>
                <c:pt idx="7271">
                  <c:v>5.8890867649760104</c:v>
                </c:pt>
                <c:pt idx="7272">
                  <c:v>5.1235857540777152</c:v>
                </c:pt>
                <c:pt idx="7273">
                  <c:v>4.9863820141965505</c:v>
                </c:pt>
                <c:pt idx="7274">
                  <c:v>6.0476851209007565</c:v>
                </c:pt>
                <c:pt idx="7275">
                  <c:v>5.0796628075517587</c:v>
                </c:pt>
                <c:pt idx="7276">
                  <c:v>6.0493874829561864</c:v>
                </c:pt>
                <c:pt idx="7277">
                  <c:v>5.9342835158154204</c:v>
                </c:pt>
                <c:pt idx="7278">
                  <c:v>6.0600089325187563</c:v>
                </c:pt>
                <c:pt idx="7279">
                  <c:v>6.1193779347290089</c:v>
                </c:pt>
                <c:pt idx="7280">
                  <c:v>4.9758862584746595</c:v>
                </c:pt>
                <c:pt idx="7281">
                  <c:v>6.9200085541005425</c:v>
                </c:pt>
                <c:pt idx="7282">
                  <c:v>4.8276014155224614</c:v>
                </c:pt>
                <c:pt idx="7283">
                  <c:v>6.074042607177975</c:v>
                </c:pt>
                <c:pt idx="7284">
                  <c:v>4.9339881799255298</c:v>
                </c:pt>
                <c:pt idx="7285">
                  <c:v>6.1021627676570169</c:v>
                </c:pt>
                <c:pt idx="7286">
                  <c:v>6.039369070479653</c:v>
                </c:pt>
                <c:pt idx="7287">
                  <c:v>6.0262694358343492</c:v>
                </c:pt>
                <c:pt idx="7288">
                  <c:v>4.9644315145173197</c:v>
                </c:pt>
                <c:pt idx="7289">
                  <c:v>6.2166131910407962</c:v>
                </c:pt>
                <c:pt idx="7290">
                  <c:v>4.9836609094052502</c:v>
                </c:pt>
                <c:pt idx="7291">
                  <c:v>4.9181149285374932</c:v>
                </c:pt>
                <c:pt idx="7292">
                  <c:v>7.0771656673236185</c:v>
                </c:pt>
                <c:pt idx="7293">
                  <c:v>5.1168338916499465</c:v>
                </c:pt>
                <c:pt idx="7294">
                  <c:v>5.8641466881263788</c:v>
                </c:pt>
                <c:pt idx="7295">
                  <c:v>3.8692542376245123</c:v>
                </c:pt>
                <c:pt idx="7296">
                  <c:v>5.0465756566017062</c:v>
                </c:pt>
                <c:pt idx="7297">
                  <c:v>4.9164821221432931</c:v>
                </c:pt>
                <c:pt idx="7298">
                  <c:v>7.0211597424129621</c:v>
                </c:pt>
                <c:pt idx="7299">
                  <c:v>5.9361870832047128</c:v>
                </c:pt>
                <c:pt idx="7300">
                  <c:v>6.1107532888482625</c:v>
                </c:pt>
                <c:pt idx="7301">
                  <c:v>6.9657023209743816</c:v>
                </c:pt>
                <c:pt idx="7302">
                  <c:v>5.1053040901290361</c:v>
                </c:pt>
                <c:pt idx="7303">
                  <c:v>4.9574622108923183</c:v>
                </c:pt>
                <c:pt idx="7304">
                  <c:v>4.9913872837834132</c:v>
                </c:pt>
                <c:pt idx="7305">
                  <c:v>5.994472046680416</c:v>
                </c:pt>
                <c:pt idx="7306">
                  <c:v>5.9824531788305899</c:v>
                </c:pt>
                <c:pt idx="7307">
                  <c:v>4.9233780872965811</c:v>
                </c:pt>
                <c:pt idx="7308">
                  <c:v>6.0818058568405364</c:v>
                </c:pt>
                <c:pt idx="7309">
                  <c:v>5.0492915285109872</c:v>
                </c:pt>
                <c:pt idx="7310">
                  <c:v>5.0288217418957259</c:v>
                </c:pt>
                <c:pt idx="7311">
                  <c:v>4.7718408965745382</c:v>
                </c:pt>
                <c:pt idx="7312">
                  <c:v>5.8312786546495241</c:v>
                </c:pt>
                <c:pt idx="7313">
                  <c:v>5.001780403611928</c:v>
                </c:pt>
                <c:pt idx="7314">
                  <c:v>5.9138084161832829</c:v>
                </c:pt>
                <c:pt idx="7315">
                  <c:v>5.1441142713725041</c:v>
                </c:pt>
                <c:pt idx="7316">
                  <c:v>4.9953524059960781</c:v>
                </c:pt>
                <c:pt idx="7317">
                  <c:v>5.0550382743794788</c:v>
                </c:pt>
                <c:pt idx="7318">
                  <c:v>4.9929001910774682</c:v>
                </c:pt>
                <c:pt idx="7319">
                  <c:v>6.1683846170288055</c:v>
                </c:pt>
                <c:pt idx="7320">
                  <c:v>4.9381534430970264</c:v>
                </c:pt>
                <c:pt idx="7321">
                  <c:v>6.0167572625193104</c:v>
                </c:pt>
                <c:pt idx="7322">
                  <c:v>4.946154483835957</c:v>
                </c:pt>
                <c:pt idx="7323">
                  <c:v>5.8817727031777611</c:v>
                </c:pt>
                <c:pt idx="7324">
                  <c:v>6.0918346349848775</c:v>
                </c:pt>
                <c:pt idx="7325">
                  <c:v>5.1178212374890615</c:v>
                </c:pt>
                <c:pt idx="7326">
                  <c:v>5.1228323241071108</c:v>
                </c:pt>
                <c:pt idx="7327">
                  <c:v>5.9339979272349161</c:v>
                </c:pt>
                <c:pt idx="7328">
                  <c:v>6.0929622789569295</c:v>
                </c:pt>
                <c:pt idx="7329">
                  <c:v>4.9193906868449657</c:v>
                </c:pt>
                <c:pt idx="7330">
                  <c:v>6.0296291443654741</c:v>
                </c:pt>
                <c:pt idx="7331">
                  <c:v>6.1172401267177712</c:v>
                </c:pt>
                <c:pt idx="7332">
                  <c:v>6.1549091846020243</c:v>
                </c:pt>
                <c:pt idx="7333">
                  <c:v>5.1533724443572417</c:v>
                </c:pt>
                <c:pt idx="7334">
                  <c:v>4.92025726708283</c:v>
                </c:pt>
                <c:pt idx="7335">
                  <c:v>5.0919920394960059</c:v>
                </c:pt>
                <c:pt idx="7336">
                  <c:v>6.0323380736579209</c:v>
                </c:pt>
                <c:pt idx="7337">
                  <c:v>5.0307890212343924</c:v>
                </c:pt>
                <c:pt idx="7338">
                  <c:v>5.1081982142017797</c:v>
                </c:pt>
                <c:pt idx="7339">
                  <c:v>5.1581039994997679</c:v>
                </c:pt>
                <c:pt idx="7340">
                  <c:v>7.2101357975094906</c:v>
                </c:pt>
                <c:pt idx="7341">
                  <c:v>6.0286055852284726</c:v>
                </c:pt>
                <c:pt idx="7342">
                  <c:v>5.9339546246833494</c:v>
                </c:pt>
                <c:pt idx="7343">
                  <c:v>6.0347579708064911</c:v>
                </c:pt>
                <c:pt idx="7344">
                  <c:v>5.9822118922691825</c:v>
                </c:pt>
                <c:pt idx="7345">
                  <c:v>5.0467560538943461</c:v>
                </c:pt>
                <c:pt idx="7346">
                  <c:v>6.0750189477432706</c:v>
                </c:pt>
                <c:pt idx="7347">
                  <c:v>5.0852233723562428</c:v>
                </c:pt>
                <c:pt idx="7348">
                  <c:v>5.0628959008927978</c:v>
                </c:pt>
                <c:pt idx="7349">
                  <c:v>5.0024932416812362</c:v>
                </c:pt>
                <c:pt idx="7350">
                  <c:v>5.1048056654315879</c:v>
                </c:pt>
                <c:pt idx="7351">
                  <c:v>6.1075094568733546</c:v>
                </c:pt>
                <c:pt idx="7352">
                  <c:v>5.9998020867031938</c:v>
                </c:pt>
                <c:pt idx="7353">
                  <c:v>6.0535373666530523</c:v>
                </c:pt>
                <c:pt idx="7354">
                  <c:v>6.095176491684497</c:v>
                </c:pt>
                <c:pt idx="7355">
                  <c:v>5.0633274205422181</c:v>
                </c:pt>
                <c:pt idx="7356">
                  <c:v>5.9131151468944756</c:v>
                </c:pt>
                <c:pt idx="7357">
                  <c:v>4.8643633929700494</c:v>
                </c:pt>
                <c:pt idx="7358">
                  <c:v>6.0055981615132481</c:v>
                </c:pt>
                <c:pt idx="7359">
                  <c:v>4.9486083491206383</c:v>
                </c:pt>
                <c:pt idx="7360">
                  <c:v>5.9778121861159814</c:v>
                </c:pt>
                <c:pt idx="7361">
                  <c:v>5.0968987928285516</c:v>
                </c:pt>
                <c:pt idx="7362">
                  <c:v>4.9269958747698119</c:v>
                </c:pt>
                <c:pt idx="7363">
                  <c:v>6.0387068671629258</c:v>
                </c:pt>
                <c:pt idx="7364">
                  <c:v>4.9630098100906315</c:v>
                </c:pt>
                <c:pt idx="7365">
                  <c:v>4.9449746447384726</c:v>
                </c:pt>
                <c:pt idx="7366">
                  <c:v>5.9601408178277815</c:v>
                </c:pt>
                <c:pt idx="7367">
                  <c:v>5.8901101897090058</c:v>
                </c:pt>
                <c:pt idx="7368">
                  <c:v>5.000444262786961</c:v>
                </c:pt>
                <c:pt idx="7369">
                  <c:v>5.947754863799612</c:v>
                </c:pt>
                <c:pt idx="7370">
                  <c:v>5.900116999755161</c:v>
                </c:pt>
                <c:pt idx="7371">
                  <c:v>4.9368362155366112</c:v>
                </c:pt>
                <c:pt idx="7372">
                  <c:v>5.0208079847773828</c:v>
                </c:pt>
                <c:pt idx="7373">
                  <c:v>5.0749333453542667</c:v>
                </c:pt>
                <c:pt idx="7374">
                  <c:v>5.1386669578439292</c:v>
                </c:pt>
                <c:pt idx="7375">
                  <c:v>6.0756114030651753</c:v>
                </c:pt>
                <c:pt idx="7376">
                  <c:v>6.8450199469774047</c:v>
                </c:pt>
                <c:pt idx="7377">
                  <c:v>6.9456970250331382</c:v>
                </c:pt>
                <c:pt idx="7378">
                  <c:v>4.9785956885910316</c:v>
                </c:pt>
                <c:pt idx="7379">
                  <c:v>5.9906120395325582</c:v>
                </c:pt>
                <c:pt idx="7380">
                  <c:v>5.0099174426401207</c:v>
                </c:pt>
                <c:pt idx="7381">
                  <c:v>5.8650922522522748</c:v>
                </c:pt>
                <c:pt idx="7382">
                  <c:v>5.9838204068668741</c:v>
                </c:pt>
                <c:pt idx="7383">
                  <c:v>5.9017332299604135</c:v>
                </c:pt>
                <c:pt idx="7384">
                  <c:v>6.0552996912917338</c:v>
                </c:pt>
                <c:pt idx="7385">
                  <c:v>5.0514096618252031</c:v>
                </c:pt>
                <c:pt idx="7386">
                  <c:v>5.0734539641920673</c:v>
                </c:pt>
                <c:pt idx="7387">
                  <c:v>5.978819526896312</c:v>
                </c:pt>
                <c:pt idx="7388">
                  <c:v>7.0902673749241067</c:v>
                </c:pt>
                <c:pt idx="7389">
                  <c:v>7.036526800805996</c:v>
                </c:pt>
                <c:pt idx="7390">
                  <c:v>6.9858749049596094</c:v>
                </c:pt>
                <c:pt idx="7391">
                  <c:v>5.9492557193225171</c:v>
                </c:pt>
                <c:pt idx="7392">
                  <c:v>5.9681168482184201</c:v>
                </c:pt>
                <c:pt idx="7393">
                  <c:v>4.9416743583626443</c:v>
                </c:pt>
                <c:pt idx="7394">
                  <c:v>5.917945416979669</c:v>
                </c:pt>
                <c:pt idx="7395">
                  <c:v>5.0089787502965279</c:v>
                </c:pt>
                <c:pt idx="7396">
                  <c:v>5.9527701089469085</c:v>
                </c:pt>
                <c:pt idx="7397">
                  <c:v>6.1411088098446101</c:v>
                </c:pt>
                <c:pt idx="7398">
                  <c:v>5.8950702419383587</c:v>
                </c:pt>
                <c:pt idx="7399">
                  <c:v>5.883532839950254</c:v>
                </c:pt>
                <c:pt idx="7400">
                  <c:v>6.0386405162026247</c:v>
                </c:pt>
                <c:pt idx="7401">
                  <c:v>4.9644363667351747</c:v>
                </c:pt>
                <c:pt idx="7402">
                  <c:v>2.0148752027307926</c:v>
                </c:pt>
                <c:pt idx="7403">
                  <c:v>2.14393111083462</c:v>
                </c:pt>
                <c:pt idx="7404">
                  <c:v>6.0791219100464335</c:v>
                </c:pt>
                <c:pt idx="7405">
                  <c:v>5.1606749513478727</c:v>
                </c:pt>
                <c:pt idx="7406">
                  <c:v>5.0511916402700265</c:v>
                </c:pt>
                <c:pt idx="7407">
                  <c:v>4.9857821898441026</c:v>
                </c:pt>
                <c:pt idx="7408">
                  <c:v>6.1051026837728868</c:v>
                </c:pt>
                <c:pt idx="7409">
                  <c:v>5.1522197040911966</c:v>
                </c:pt>
                <c:pt idx="7410">
                  <c:v>4.8053347445549166</c:v>
                </c:pt>
                <c:pt idx="7411">
                  <c:v>5.0230164265245643</c:v>
                </c:pt>
                <c:pt idx="7412">
                  <c:v>5.9078241439070469</c:v>
                </c:pt>
                <c:pt idx="7413">
                  <c:v>6.868591304121515</c:v>
                </c:pt>
                <c:pt idx="7414">
                  <c:v>6.0478221110939954</c:v>
                </c:pt>
                <c:pt idx="7415">
                  <c:v>4.9431207697951294</c:v>
                </c:pt>
                <c:pt idx="7416">
                  <c:v>5.1337827509012275</c:v>
                </c:pt>
                <c:pt idx="7417">
                  <c:v>4.964205136656596</c:v>
                </c:pt>
                <c:pt idx="7418">
                  <c:v>5.1358095642854433</c:v>
                </c:pt>
                <c:pt idx="7419">
                  <c:v>4.9998990185192431</c:v>
                </c:pt>
                <c:pt idx="7420">
                  <c:v>6.0000983103135246</c:v>
                </c:pt>
                <c:pt idx="7421">
                  <c:v>4.9693878927523665</c:v>
                </c:pt>
                <c:pt idx="7422">
                  <c:v>5.9165762401400723</c:v>
                </c:pt>
                <c:pt idx="7423">
                  <c:v>5.1340974239070132</c:v>
                </c:pt>
                <c:pt idx="7424">
                  <c:v>4.942790138362672</c:v>
                </c:pt>
                <c:pt idx="7425">
                  <c:v>6.086133242280658</c:v>
                </c:pt>
                <c:pt idx="7426">
                  <c:v>6.0127965537790811</c:v>
                </c:pt>
                <c:pt idx="7427">
                  <c:v>6.9778932366066346</c:v>
                </c:pt>
                <c:pt idx="7428">
                  <c:v>5.9114794296437392</c:v>
                </c:pt>
                <c:pt idx="7429">
                  <c:v>5.8803641465250758</c:v>
                </c:pt>
                <c:pt idx="7430">
                  <c:v>1.8615805769193043</c:v>
                </c:pt>
                <c:pt idx="7431">
                  <c:v>4.0636306949692091</c:v>
                </c:pt>
                <c:pt idx="7432">
                  <c:v>4.9728594175456671</c:v>
                </c:pt>
                <c:pt idx="7433">
                  <c:v>4.8624564303098579</c:v>
                </c:pt>
                <c:pt idx="7434">
                  <c:v>6.1721734416767813</c:v>
                </c:pt>
                <c:pt idx="7435">
                  <c:v>4.9750411612200338</c:v>
                </c:pt>
                <c:pt idx="7436">
                  <c:v>5.8859841522441778</c:v>
                </c:pt>
                <c:pt idx="7437">
                  <c:v>5.9449072785481292</c:v>
                </c:pt>
                <c:pt idx="7438">
                  <c:v>6.0792748694407415</c:v>
                </c:pt>
                <c:pt idx="7439">
                  <c:v>6.0124927986042831</c:v>
                </c:pt>
                <c:pt idx="7440">
                  <c:v>5.0520219255325571</c:v>
                </c:pt>
                <c:pt idx="7441">
                  <c:v>5.0015098513399394</c:v>
                </c:pt>
                <c:pt idx="7442">
                  <c:v>4.8724468714060611</c:v>
                </c:pt>
                <c:pt idx="7443">
                  <c:v>5.9695124437441356</c:v>
                </c:pt>
                <c:pt idx="7444">
                  <c:v>5.7896921277709685</c:v>
                </c:pt>
                <c:pt idx="7445">
                  <c:v>5.0699282858586443</c:v>
                </c:pt>
                <c:pt idx="7446">
                  <c:v>5.9706295883426028</c:v>
                </c:pt>
                <c:pt idx="7447">
                  <c:v>5.8981436179345774</c:v>
                </c:pt>
                <c:pt idx="7448">
                  <c:v>5.0593646429652219</c:v>
                </c:pt>
                <c:pt idx="7449">
                  <c:v>5.1101652442102861</c:v>
                </c:pt>
                <c:pt idx="7450">
                  <c:v>5.1721650585511378</c:v>
                </c:pt>
                <c:pt idx="7451">
                  <c:v>5.0839708327622333</c:v>
                </c:pt>
                <c:pt idx="7452">
                  <c:v>6.0186499742773449</c:v>
                </c:pt>
                <c:pt idx="7453">
                  <c:v>4.9899898758749073</c:v>
                </c:pt>
                <c:pt idx="7454">
                  <c:v>6.0495041048969318</c:v>
                </c:pt>
                <c:pt idx="7455">
                  <c:v>5.9279253102874634</c:v>
                </c:pt>
                <c:pt idx="7456">
                  <c:v>4.9404360757922134</c:v>
                </c:pt>
                <c:pt idx="7457">
                  <c:v>4.7780764406999188</c:v>
                </c:pt>
                <c:pt idx="7458">
                  <c:v>5.0531968522333308</c:v>
                </c:pt>
                <c:pt idx="7459">
                  <c:v>5.1191084668217721</c:v>
                </c:pt>
                <c:pt idx="7460">
                  <c:v>5.0607068992203033</c:v>
                </c:pt>
                <c:pt idx="7461">
                  <c:v>5.014082662380015</c:v>
                </c:pt>
                <c:pt idx="7462">
                  <c:v>4.9591733070436348</c:v>
                </c:pt>
                <c:pt idx="7463">
                  <c:v>5.9903422425930763</c:v>
                </c:pt>
                <c:pt idx="7464">
                  <c:v>4.934327361169494</c:v>
                </c:pt>
                <c:pt idx="7465">
                  <c:v>3.9942240670242852</c:v>
                </c:pt>
                <c:pt idx="7466">
                  <c:v>4.1051835998653496</c:v>
                </c:pt>
                <c:pt idx="7467">
                  <c:v>3.9810780813122975</c:v>
                </c:pt>
                <c:pt idx="7468">
                  <c:v>4.9455292098689521</c:v>
                </c:pt>
                <c:pt idx="7469">
                  <c:v>5.1409692006815284</c:v>
                </c:pt>
                <c:pt idx="7470">
                  <c:v>5.9101421705226702</c:v>
                </c:pt>
                <c:pt idx="7471">
                  <c:v>6.129808018127231</c:v>
                </c:pt>
                <c:pt idx="7472">
                  <c:v>5.9965909729323537</c:v>
                </c:pt>
                <c:pt idx="7473">
                  <c:v>5.1295878795957162</c:v>
                </c:pt>
                <c:pt idx="7474">
                  <c:v>5.019612843700954</c:v>
                </c:pt>
                <c:pt idx="7475">
                  <c:v>6.0906230790191662</c:v>
                </c:pt>
                <c:pt idx="7476">
                  <c:v>6.0961506116085795</c:v>
                </c:pt>
                <c:pt idx="7477">
                  <c:v>6.0475157323457172</c:v>
                </c:pt>
                <c:pt idx="7478">
                  <c:v>4.9132942681767346</c:v>
                </c:pt>
                <c:pt idx="7479">
                  <c:v>5.9496304296085318</c:v>
                </c:pt>
                <c:pt idx="7480">
                  <c:v>4.9127059402164868</c:v>
                </c:pt>
                <c:pt idx="7481">
                  <c:v>6.8786094409070468</c:v>
                </c:pt>
                <c:pt idx="7482">
                  <c:v>4.0317422642313971</c:v>
                </c:pt>
                <c:pt idx="7483">
                  <c:v>6.0400921645591836</c:v>
                </c:pt>
                <c:pt idx="7484">
                  <c:v>5.9272342960087361</c:v>
                </c:pt>
                <c:pt idx="7485">
                  <c:v>4.9638001906715354</c:v>
                </c:pt>
                <c:pt idx="7486">
                  <c:v>5.0315494646580952</c:v>
                </c:pt>
                <c:pt idx="7487">
                  <c:v>4.8766738937505298</c:v>
                </c:pt>
                <c:pt idx="7488">
                  <c:v>4.7522004505824391</c:v>
                </c:pt>
                <c:pt idx="7489">
                  <c:v>6.0647668415688054</c:v>
                </c:pt>
                <c:pt idx="7490">
                  <c:v>4.1379582575138638</c:v>
                </c:pt>
                <c:pt idx="7491">
                  <c:v>1.998186738753071</c:v>
                </c:pt>
                <c:pt idx="7492">
                  <c:v>5.9697319800787927</c:v>
                </c:pt>
                <c:pt idx="7493">
                  <c:v>6.0736586643482511</c:v>
                </c:pt>
                <c:pt idx="7494">
                  <c:v>4.9738408169689823</c:v>
                </c:pt>
                <c:pt idx="7495">
                  <c:v>4.8933577795235319</c:v>
                </c:pt>
                <c:pt idx="7496">
                  <c:v>6.0800686126216537</c:v>
                </c:pt>
                <c:pt idx="7497">
                  <c:v>4.8021571169750441</c:v>
                </c:pt>
                <c:pt idx="7498">
                  <c:v>4.9459944544630279</c:v>
                </c:pt>
                <c:pt idx="7499">
                  <c:v>6.0214002705591465</c:v>
                </c:pt>
                <c:pt idx="7500">
                  <c:v>6.808107513680735</c:v>
                </c:pt>
                <c:pt idx="7501">
                  <c:v>5.9837908854131419</c:v>
                </c:pt>
                <c:pt idx="7502">
                  <c:v>4.9348636547531193</c:v>
                </c:pt>
                <c:pt idx="7503">
                  <c:v>5.0545116907831833</c:v>
                </c:pt>
                <c:pt idx="7504">
                  <c:v>6.1188361564370046</c:v>
                </c:pt>
                <c:pt idx="7505">
                  <c:v>5.8671917252632575</c:v>
                </c:pt>
                <c:pt idx="7506">
                  <c:v>6.1213341984496354</c:v>
                </c:pt>
                <c:pt idx="7507">
                  <c:v>5.9515766397076115</c:v>
                </c:pt>
                <c:pt idx="7508">
                  <c:v>6.1162437146025477</c:v>
                </c:pt>
                <c:pt idx="7509">
                  <c:v>5.7405611833695565</c:v>
                </c:pt>
                <c:pt idx="7510">
                  <c:v>5.0023363802823759</c:v>
                </c:pt>
                <c:pt idx="7511">
                  <c:v>5.0444970814132439</c:v>
                </c:pt>
                <c:pt idx="7512">
                  <c:v>5.8537630143240298</c:v>
                </c:pt>
                <c:pt idx="7513">
                  <c:v>6.0636807356758649</c:v>
                </c:pt>
                <c:pt idx="7514">
                  <c:v>5.0558049968333574</c:v>
                </c:pt>
                <c:pt idx="7515">
                  <c:v>6.9556835483741697</c:v>
                </c:pt>
                <c:pt idx="7516">
                  <c:v>6.0452176752808029</c:v>
                </c:pt>
                <c:pt idx="7517">
                  <c:v>5.9383304848969347</c:v>
                </c:pt>
                <c:pt idx="7518">
                  <c:v>4.9392443777526616</c:v>
                </c:pt>
                <c:pt idx="7519">
                  <c:v>6.0629583303506989</c:v>
                </c:pt>
                <c:pt idx="7520">
                  <c:v>5.0325979575963391</c:v>
                </c:pt>
                <c:pt idx="7521">
                  <c:v>4.993521620349533</c:v>
                </c:pt>
                <c:pt idx="7522">
                  <c:v>5.9944769717017294</c:v>
                </c:pt>
                <c:pt idx="7523">
                  <c:v>4.8606033801894855</c:v>
                </c:pt>
                <c:pt idx="7524">
                  <c:v>6.0365828399543089</c:v>
                </c:pt>
                <c:pt idx="7525">
                  <c:v>5.8225686653217634</c:v>
                </c:pt>
                <c:pt idx="7526">
                  <c:v>6.2121047703901331</c:v>
                </c:pt>
                <c:pt idx="7527">
                  <c:v>5.9040033562247549</c:v>
                </c:pt>
                <c:pt idx="7528">
                  <c:v>4.958316490037542</c:v>
                </c:pt>
                <c:pt idx="7529">
                  <c:v>6.0234871935169414</c:v>
                </c:pt>
                <c:pt idx="7530">
                  <c:v>6.1321111646063056</c:v>
                </c:pt>
                <c:pt idx="7531">
                  <c:v>5.9280891334073624</c:v>
                </c:pt>
                <c:pt idx="7532">
                  <c:v>6.1317816465051811</c:v>
                </c:pt>
                <c:pt idx="7533">
                  <c:v>5.9089517168201926</c:v>
                </c:pt>
                <c:pt idx="7534">
                  <c:v>4.9893931835240313</c:v>
                </c:pt>
                <c:pt idx="7535">
                  <c:v>7.079774785724636</c:v>
                </c:pt>
                <c:pt idx="7536">
                  <c:v>6.1237041580271745</c:v>
                </c:pt>
                <c:pt idx="7537">
                  <c:v>5.9062307462128683</c:v>
                </c:pt>
                <c:pt idx="7538">
                  <c:v>6.967992450628846</c:v>
                </c:pt>
                <c:pt idx="7539">
                  <c:v>6.0532798294657235</c:v>
                </c:pt>
                <c:pt idx="7540">
                  <c:v>5.1356110424983328</c:v>
                </c:pt>
                <c:pt idx="7541">
                  <c:v>5.9682524585422234</c:v>
                </c:pt>
                <c:pt idx="7542">
                  <c:v>6.0430605218905162</c:v>
                </c:pt>
                <c:pt idx="7543">
                  <c:v>4.8621479794151172</c:v>
                </c:pt>
                <c:pt idx="7544">
                  <c:v>5.0885558417599226</c:v>
                </c:pt>
                <c:pt idx="7545">
                  <c:v>5.8814780525836978</c:v>
                </c:pt>
                <c:pt idx="7546">
                  <c:v>6.0140287004211279</c:v>
                </c:pt>
                <c:pt idx="7547">
                  <c:v>6.0166904299423907</c:v>
                </c:pt>
                <c:pt idx="7548">
                  <c:v>5.7184363840463632</c:v>
                </c:pt>
                <c:pt idx="7549">
                  <c:v>5.0224318817378348</c:v>
                </c:pt>
                <c:pt idx="7550">
                  <c:v>5.8332467053390573</c:v>
                </c:pt>
                <c:pt idx="7551">
                  <c:v>6.0877638563220255</c:v>
                </c:pt>
                <c:pt idx="7552">
                  <c:v>4.9601188906130806</c:v>
                </c:pt>
                <c:pt idx="7553">
                  <c:v>6.0107199818438639</c:v>
                </c:pt>
                <c:pt idx="7554">
                  <c:v>5.9495077795859288</c:v>
                </c:pt>
                <c:pt idx="7555">
                  <c:v>5.7554710846768771</c:v>
                </c:pt>
                <c:pt idx="7556">
                  <c:v>5.1529356771549164</c:v>
                </c:pt>
                <c:pt idx="7557">
                  <c:v>5.9148267263634882</c:v>
                </c:pt>
                <c:pt idx="7558">
                  <c:v>5.9880694392785667</c:v>
                </c:pt>
                <c:pt idx="7559">
                  <c:v>6.258950275942853</c:v>
                </c:pt>
                <c:pt idx="7560">
                  <c:v>4.9689658990842611</c:v>
                </c:pt>
                <c:pt idx="7561">
                  <c:v>6.090019935435885</c:v>
                </c:pt>
                <c:pt idx="7562">
                  <c:v>6.0046524223514064</c:v>
                </c:pt>
                <c:pt idx="7563">
                  <c:v>6.0154667285839238</c:v>
                </c:pt>
                <c:pt idx="7564">
                  <c:v>5.8520159575547019</c:v>
                </c:pt>
                <c:pt idx="7565">
                  <c:v>6.1387188055662438</c:v>
                </c:pt>
                <c:pt idx="7566">
                  <c:v>5.9377632039964929</c:v>
                </c:pt>
                <c:pt idx="7567">
                  <c:v>5.9503832090209743</c:v>
                </c:pt>
                <c:pt idx="7568">
                  <c:v>6.0092212615647895</c:v>
                </c:pt>
                <c:pt idx="7569">
                  <c:v>4.9447470082188216</c:v>
                </c:pt>
                <c:pt idx="7570">
                  <c:v>6.8407532292554052</c:v>
                </c:pt>
                <c:pt idx="7571">
                  <c:v>7.1778729970879214</c:v>
                </c:pt>
                <c:pt idx="7572">
                  <c:v>7.0291022813246329</c:v>
                </c:pt>
                <c:pt idx="7573">
                  <c:v>7.0443756879439761</c:v>
                </c:pt>
                <c:pt idx="7574">
                  <c:v>5.0929859656827769</c:v>
                </c:pt>
                <c:pt idx="7575">
                  <c:v>6.142457910557547</c:v>
                </c:pt>
                <c:pt idx="7576">
                  <c:v>7.0017184778799084</c:v>
                </c:pt>
                <c:pt idx="7577">
                  <c:v>7.2167170928440711</c:v>
                </c:pt>
                <c:pt idx="7578">
                  <c:v>3.8744471043825546</c:v>
                </c:pt>
                <c:pt idx="7579">
                  <c:v>4.031733832378114</c:v>
                </c:pt>
                <c:pt idx="7580">
                  <c:v>4.927928596337285</c:v>
                </c:pt>
                <c:pt idx="7581">
                  <c:v>5.9024035686092651</c:v>
                </c:pt>
                <c:pt idx="7582">
                  <c:v>6.1096575925290137</c:v>
                </c:pt>
                <c:pt idx="7583">
                  <c:v>4.8744314725103841</c:v>
                </c:pt>
                <c:pt idx="7584">
                  <c:v>5.0073598871690708</c:v>
                </c:pt>
                <c:pt idx="7585">
                  <c:v>5.0483899009176989</c:v>
                </c:pt>
                <c:pt idx="7586">
                  <c:v>5.0717588329933783</c:v>
                </c:pt>
                <c:pt idx="7587">
                  <c:v>5.8247674504263749</c:v>
                </c:pt>
                <c:pt idx="7588">
                  <c:v>5.9820568185261145</c:v>
                </c:pt>
                <c:pt idx="7589">
                  <c:v>5.9552197487427359</c:v>
                </c:pt>
                <c:pt idx="7590">
                  <c:v>4.2409352529791615</c:v>
                </c:pt>
                <c:pt idx="7591">
                  <c:v>6.0509909427366386</c:v>
                </c:pt>
                <c:pt idx="7592">
                  <c:v>6.0959775144521666</c:v>
                </c:pt>
                <c:pt idx="7593">
                  <c:v>5.0079979960109791</c:v>
                </c:pt>
                <c:pt idx="7594">
                  <c:v>6.0114683014371018</c:v>
                </c:pt>
                <c:pt idx="7595">
                  <c:v>5.9692562579624031</c:v>
                </c:pt>
                <c:pt idx="7596">
                  <c:v>6.1345175451145453</c:v>
                </c:pt>
                <c:pt idx="7597">
                  <c:v>5.0488893867475708</c:v>
                </c:pt>
                <c:pt idx="7598">
                  <c:v>4.9912908388905448</c:v>
                </c:pt>
                <c:pt idx="7599">
                  <c:v>4.9048449185067913</c:v>
                </c:pt>
                <c:pt idx="7600">
                  <c:v>4.9568226917940912</c:v>
                </c:pt>
                <c:pt idx="7601">
                  <c:v>5.9501097126971745</c:v>
                </c:pt>
                <c:pt idx="7602">
                  <c:v>5.9671726236193692</c:v>
                </c:pt>
                <c:pt idx="7603">
                  <c:v>5.9323877917393446</c:v>
                </c:pt>
                <c:pt idx="7604">
                  <c:v>6.0133871436159438</c:v>
                </c:pt>
                <c:pt idx="7605">
                  <c:v>4.9706641314868154</c:v>
                </c:pt>
                <c:pt idx="7606">
                  <c:v>7.1139000152181522</c:v>
                </c:pt>
                <c:pt idx="7607">
                  <c:v>5.0950936179011332</c:v>
                </c:pt>
                <c:pt idx="7608">
                  <c:v>4.0264488075431162</c:v>
                </c:pt>
                <c:pt idx="7609">
                  <c:v>5.1839244094961572</c:v>
                </c:pt>
                <c:pt idx="7610">
                  <c:v>5.9701478604985505</c:v>
                </c:pt>
                <c:pt idx="7611">
                  <c:v>5.8385556860112269</c:v>
                </c:pt>
                <c:pt idx="7612">
                  <c:v>4.872927762075296</c:v>
                </c:pt>
                <c:pt idx="7613">
                  <c:v>5.0725087984838622</c:v>
                </c:pt>
                <c:pt idx="7614">
                  <c:v>5.8530386294352548</c:v>
                </c:pt>
                <c:pt idx="7615">
                  <c:v>4.8700820252239128</c:v>
                </c:pt>
                <c:pt idx="7616">
                  <c:v>4.8784323736538484</c:v>
                </c:pt>
                <c:pt idx="7617">
                  <c:v>4.9397682003642283</c:v>
                </c:pt>
                <c:pt idx="7618">
                  <c:v>7.0854798200889579</c:v>
                </c:pt>
                <c:pt idx="7619">
                  <c:v>5.8139662846841897</c:v>
                </c:pt>
                <c:pt idx="7620">
                  <c:v>6.1332356783381288</c:v>
                </c:pt>
                <c:pt idx="7621">
                  <c:v>5.9264275706862319</c:v>
                </c:pt>
                <c:pt idx="7622">
                  <c:v>5.8571924540066762</c:v>
                </c:pt>
                <c:pt idx="7623">
                  <c:v>6.0653503373584075</c:v>
                </c:pt>
                <c:pt idx="7624">
                  <c:v>5.8812415804293927</c:v>
                </c:pt>
                <c:pt idx="7625">
                  <c:v>5.0956795377021411</c:v>
                </c:pt>
                <c:pt idx="7626">
                  <c:v>5.0005567411010876</c:v>
                </c:pt>
                <c:pt idx="7627">
                  <c:v>6.0937375413660462</c:v>
                </c:pt>
                <c:pt idx="7628">
                  <c:v>4.9504586408807834</c:v>
                </c:pt>
                <c:pt idx="7629">
                  <c:v>5.7537544295744771</c:v>
                </c:pt>
                <c:pt idx="7630">
                  <c:v>6.201592533537025</c:v>
                </c:pt>
                <c:pt idx="7631">
                  <c:v>4.9208834100033867</c:v>
                </c:pt>
                <c:pt idx="7632">
                  <c:v>6.2418936662112179</c:v>
                </c:pt>
                <c:pt idx="7633">
                  <c:v>4.0259722270059939</c:v>
                </c:pt>
                <c:pt idx="7634">
                  <c:v>5.9175837142475567</c:v>
                </c:pt>
                <c:pt idx="7635">
                  <c:v>4.8415565440687125</c:v>
                </c:pt>
                <c:pt idx="7636">
                  <c:v>4.8655678043236499</c:v>
                </c:pt>
                <c:pt idx="7637">
                  <c:v>5.0204952811006915</c:v>
                </c:pt>
                <c:pt idx="7638">
                  <c:v>6.8170683144558399</c:v>
                </c:pt>
                <c:pt idx="7639">
                  <c:v>5.045429876704068</c:v>
                </c:pt>
                <c:pt idx="7640">
                  <c:v>5.095437059292478</c:v>
                </c:pt>
                <c:pt idx="7641">
                  <c:v>5.0073634255440291</c:v>
                </c:pt>
                <c:pt idx="7642">
                  <c:v>4.889116131977608</c:v>
                </c:pt>
                <c:pt idx="7643">
                  <c:v>3.984121395515035</c:v>
                </c:pt>
                <c:pt idx="7644">
                  <c:v>5.8918512329753243</c:v>
                </c:pt>
                <c:pt idx="7645">
                  <c:v>5.095784195585102</c:v>
                </c:pt>
                <c:pt idx="7646">
                  <c:v>4.8771020737221704</c:v>
                </c:pt>
                <c:pt idx="7647">
                  <c:v>5.9111927249770622</c:v>
                </c:pt>
                <c:pt idx="7648">
                  <c:v>5.9058177669267469</c:v>
                </c:pt>
                <c:pt idx="7649">
                  <c:v>3.9799012856611116</c:v>
                </c:pt>
                <c:pt idx="7650">
                  <c:v>5.1095289811819198</c:v>
                </c:pt>
                <c:pt idx="7651">
                  <c:v>6.0162750346345995</c:v>
                </c:pt>
                <c:pt idx="7652">
                  <c:v>5.9084918114648985</c:v>
                </c:pt>
                <c:pt idx="7653">
                  <c:v>4.986671908534734</c:v>
                </c:pt>
                <c:pt idx="7654">
                  <c:v>5.0658110590709162</c:v>
                </c:pt>
                <c:pt idx="7655">
                  <c:v>5.9094683984112049</c:v>
                </c:pt>
                <c:pt idx="7656">
                  <c:v>5.9016025635879013</c:v>
                </c:pt>
                <c:pt idx="7657">
                  <c:v>5.0491521429391364</c:v>
                </c:pt>
                <c:pt idx="7658">
                  <c:v>5.9709256117346303</c:v>
                </c:pt>
                <c:pt idx="7659">
                  <c:v>5.9552741825024622</c:v>
                </c:pt>
                <c:pt idx="7660">
                  <c:v>4.9287368269922807</c:v>
                </c:pt>
                <c:pt idx="7661">
                  <c:v>4.9003491986871808</c:v>
                </c:pt>
                <c:pt idx="7662">
                  <c:v>6.1326410222710477</c:v>
                </c:pt>
                <c:pt idx="7663">
                  <c:v>5.9644426178357577</c:v>
                </c:pt>
                <c:pt idx="7664">
                  <c:v>5.8914003572917881</c:v>
                </c:pt>
                <c:pt idx="7665">
                  <c:v>7.0688711474688892</c:v>
                </c:pt>
                <c:pt idx="7666">
                  <c:v>5.0277440333380961</c:v>
                </c:pt>
                <c:pt idx="7667">
                  <c:v>6.0284379217207427</c:v>
                </c:pt>
                <c:pt idx="7668">
                  <c:v>5.1367129335952075</c:v>
                </c:pt>
                <c:pt idx="7669">
                  <c:v>5.040873461297676</c:v>
                </c:pt>
                <c:pt idx="7670">
                  <c:v>5.8805781255790901</c:v>
                </c:pt>
                <c:pt idx="7671">
                  <c:v>4.9510561802192523</c:v>
                </c:pt>
                <c:pt idx="7672">
                  <c:v>6.1132744141376909</c:v>
                </c:pt>
                <c:pt idx="7673">
                  <c:v>4.9532585222829173</c:v>
                </c:pt>
                <c:pt idx="7674">
                  <c:v>4.9724727469356393</c:v>
                </c:pt>
                <c:pt idx="7675">
                  <c:v>6.207434071971047</c:v>
                </c:pt>
                <c:pt idx="7676">
                  <c:v>5.8828999526872803</c:v>
                </c:pt>
                <c:pt idx="7677">
                  <c:v>4.8058724154559425</c:v>
                </c:pt>
                <c:pt idx="7678">
                  <c:v>5.8572691906917305</c:v>
                </c:pt>
                <c:pt idx="7679">
                  <c:v>5.9114118378539313</c:v>
                </c:pt>
                <c:pt idx="7680">
                  <c:v>5.1154618736484716</c:v>
                </c:pt>
                <c:pt idx="7681">
                  <c:v>5.0764939715171504</c:v>
                </c:pt>
                <c:pt idx="7682">
                  <c:v>4.9916859672064433</c:v>
                </c:pt>
                <c:pt idx="7683">
                  <c:v>5.0980027853408805</c:v>
                </c:pt>
                <c:pt idx="7684">
                  <c:v>5.9870755349780822</c:v>
                </c:pt>
                <c:pt idx="7685">
                  <c:v>4.9847901826355967</c:v>
                </c:pt>
                <c:pt idx="7686">
                  <c:v>4.9252001102591079</c:v>
                </c:pt>
                <c:pt idx="7687">
                  <c:v>5.9980928780484799</c:v>
                </c:pt>
                <c:pt idx="7688">
                  <c:v>5.8609999306578713</c:v>
                </c:pt>
                <c:pt idx="7689">
                  <c:v>5.0252775560478335</c:v>
                </c:pt>
                <c:pt idx="7690">
                  <c:v>5.7889421455534791</c:v>
                </c:pt>
                <c:pt idx="7691">
                  <c:v>6.009664870398332</c:v>
                </c:pt>
                <c:pt idx="7692">
                  <c:v>4.8518983626533236</c:v>
                </c:pt>
                <c:pt idx="7693">
                  <c:v>5.074930337834628</c:v>
                </c:pt>
                <c:pt idx="7694">
                  <c:v>6.0565001970398997</c:v>
                </c:pt>
                <c:pt idx="7695">
                  <c:v>5.2724064266918766</c:v>
                </c:pt>
                <c:pt idx="7696">
                  <c:v>5.0208689330399388</c:v>
                </c:pt>
                <c:pt idx="7697">
                  <c:v>6.003667421494038</c:v>
                </c:pt>
                <c:pt idx="7698">
                  <c:v>5.228893189030333</c:v>
                </c:pt>
                <c:pt idx="7699">
                  <c:v>5.0333637353126868</c:v>
                </c:pt>
                <c:pt idx="7700">
                  <c:v>4.9852477179748975</c:v>
                </c:pt>
                <c:pt idx="7701">
                  <c:v>5.947464319075741</c:v>
                </c:pt>
                <c:pt idx="7702">
                  <c:v>4.9495270947472543</c:v>
                </c:pt>
                <c:pt idx="7703">
                  <c:v>4.9700726039326097</c:v>
                </c:pt>
                <c:pt idx="7704">
                  <c:v>6.041817282685086</c:v>
                </c:pt>
                <c:pt idx="7705">
                  <c:v>5.8523406952182286</c:v>
                </c:pt>
                <c:pt idx="7706">
                  <c:v>6.0064373713881203</c:v>
                </c:pt>
                <c:pt idx="7707">
                  <c:v>5.068888692279705</c:v>
                </c:pt>
                <c:pt idx="7708">
                  <c:v>6.0768915222117217</c:v>
                </c:pt>
                <c:pt idx="7709">
                  <c:v>5.0353373596156628</c:v>
                </c:pt>
                <c:pt idx="7710">
                  <c:v>4.8884925442222711</c:v>
                </c:pt>
                <c:pt idx="7711">
                  <c:v>5.8292339688850561</c:v>
                </c:pt>
                <c:pt idx="7712">
                  <c:v>6.0092405970066771</c:v>
                </c:pt>
                <c:pt idx="7713">
                  <c:v>5.027337961259188</c:v>
                </c:pt>
                <c:pt idx="7714">
                  <c:v>5.9883073979551931</c:v>
                </c:pt>
                <c:pt idx="7715">
                  <c:v>7.0760141818243651</c:v>
                </c:pt>
                <c:pt idx="7716">
                  <c:v>6.0601086005655365</c:v>
                </c:pt>
                <c:pt idx="7717">
                  <c:v>5.9364489501344009</c:v>
                </c:pt>
                <c:pt idx="7718">
                  <c:v>4.8040448752016021</c:v>
                </c:pt>
                <c:pt idx="7719">
                  <c:v>5.9076107834656097</c:v>
                </c:pt>
                <c:pt idx="7720">
                  <c:v>5.9440167328679712</c:v>
                </c:pt>
                <c:pt idx="7721">
                  <c:v>6.0164139301768502</c:v>
                </c:pt>
                <c:pt idx="7722">
                  <c:v>7.0390169683434642</c:v>
                </c:pt>
                <c:pt idx="7723">
                  <c:v>6.1285871668803358</c:v>
                </c:pt>
                <c:pt idx="7724">
                  <c:v>5.1463853361031084</c:v>
                </c:pt>
                <c:pt idx="7725">
                  <c:v>6.0113633168728899</c:v>
                </c:pt>
                <c:pt idx="7726">
                  <c:v>6.9766748319780394</c:v>
                </c:pt>
                <c:pt idx="7727">
                  <c:v>5.8436685139524851</c:v>
                </c:pt>
                <c:pt idx="7728">
                  <c:v>4.93224627272782</c:v>
                </c:pt>
                <c:pt idx="7729">
                  <c:v>6.1598839880522984</c:v>
                </c:pt>
                <c:pt idx="7730">
                  <c:v>6.0003756680603946</c:v>
                </c:pt>
                <c:pt idx="7731">
                  <c:v>4.1626373459756065</c:v>
                </c:pt>
                <c:pt idx="7732">
                  <c:v>7.0771092325505922</c:v>
                </c:pt>
                <c:pt idx="7733">
                  <c:v>3.8513860785924487</c:v>
                </c:pt>
                <c:pt idx="7734">
                  <c:v>3.9424707300451032</c:v>
                </c:pt>
                <c:pt idx="7735">
                  <c:v>5.0759831083047731</c:v>
                </c:pt>
                <c:pt idx="7736">
                  <c:v>5.1566390159296134</c:v>
                </c:pt>
                <c:pt idx="7737">
                  <c:v>4.9933370509196342</c:v>
                </c:pt>
                <c:pt idx="7738">
                  <c:v>5.0464382679218387</c:v>
                </c:pt>
                <c:pt idx="7739">
                  <c:v>6.0016678825908656</c:v>
                </c:pt>
                <c:pt idx="7740">
                  <c:v>6.028552408725905</c:v>
                </c:pt>
                <c:pt idx="7741">
                  <c:v>5.9264919484079117</c:v>
                </c:pt>
                <c:pt idx="7742">
                  <c:v>5.0729624896661498</c:v>
                </c:pt>
                <c:pt idx="7743">
                  <c:v>5.9943340357045631</c:v>
                </c:pt>
                <c:pt idx="7744">
                  <c:v>5.1156865405315397</c:v>
                </c:pt>
                <c:pt idx="7745">
                  <c:v>4.9164265578950035</c:v>
                </c:pt>
                <c:pt idx="7746">
                  <c:v>4.8575792187971887</c:v>
                </c:pt>
                <c:pt idx="7747">
                  <c:v>6.0013620633284797</c:v>
                </c:pt>
                <c:pt idx="7748">
                  <c:v>5.901115252837636</c:v>
                </c:pt>
                <c:pt idx="7749">
                  <c:v>5.8639806037469677</c:v>
                </c:pt>
                <c:pt idx="7750">
                  <c:v>4.9688870275928698</c:v>
                </c:pt>
                <c:pt idx="7751">
                  <c:v>5.8931925854263429</c:v>
                </c:pt>
                <c:pt idx="7752">
                  <c:v>5.9122812120514245</c:v>
                </c:pt>
                <c:pt idx="7753">
                  <c:v>5.9114671008525121</c:v>
                </c:pt>
                <c:pt idx="7754">
                  <c:v>6.1288248083715056</c:v>
                </c:pt>
                <c:pt idx="7755">
                  <c:v>4.1661232976625051</c:v>
                </c:pt>
                <c:pt idx="7756">
                  <c:v>6.0028460469137279</c:v>
                </c:pt>
                <c:pt idx="7757">
                  <c:v>4.890097596198907</c:v>
                </c:pt>
                <c:pt idx="7758">
                  <c:v>5.9611207614895587</c:v>
                </c:pt>
                <c:pt idx="7759">
                  <c:v>5.1414333111731061</c:v>
                </c:pt>
                <c:pt idx="7760">
                  <c:v>6.1083191310473115</c:v>
                </c:pt>
                <c:pt idx="7761">
                  <c:v>6.9947498963362644</c:v>
                </c:pt>
                <c:pt idx="7762">
                  <c:v>6.1078805427850833</c:v>
                </c:pt>
                <c:pt idx="7763">
                  <c:v>5.8108457281659236</c:v>
                </c:pt>
                <c:pt idx="7764">
                  <c:v>5.901250539409939</c:v>
                </c:pt>
                <c:pt idx="7765">
                  <c:v>4.9363439581039206</c:v>
                </c:pt>
                <c:pt idx="7766">
                  <c:v>6.0341060897604653</c:v>
                </c:pt>
                <c:pt idx="7767">
                  <c:v>5.9093974327132859</c:v>
                </c:pt>
                <c:pt idx="7768">
                  <c:v>5.0225449208220683</c:v>
                </c:pt>
                <c:pt idx="7769">
                  <c:v>4.987795878228547</c:v>
                </c:pt>
                <c:pt idx="7770">
                  <c:v>4.97900211204011</c:v>
                </c:pt>
                <c:pt idx="7771">
                  <c:v>4.95580505534934</c:v>
                </c:pt>
                <c:pt idx="7772">
                  <c:v>4.9225488558429769</c:v>
                </c:pt>
                <c:pt idx="7773">
                  <c:v>6.0446472038721195</c:v>
                </c:pt>
                <c:pt idx="7774">
                  <c:v>5.0489638973687017</c:v>
                </c:pt>
                <c:pt idx="7775">
                  <c:v>4.9001027147389662</c:v>
                </c:pt>
                <c:pt idx="7776">
                  <c:v>6.0100651634736071</c:v>
                </c:pt>
                <c:pt idx="7777">
                  <c:v>4.9177473576618658</c:v>
                </c:pt>
                <c:pt idx="7778">
                  <c:v>5.044808341576414</c:v>
                </c:pt>
                <c:pt idx="7779">
                  <c:v>5.1405423297199313</c:v>
                </c:pt>
                <c:pt idx="7780">
                  <c:v>5.1122316944996058</c:v>
                </c:pt>
                <c:pt idx="7781">
                  <c:v>4.8913334740236838</c:v>
                </c:pt>
                <c:pt idx="7782">
                  <c:v>5.972136279906989</c:v>
                </c:pt>
                <c:pt idx="7783">
                  <c:v>5.9996083573464292</c:v>
                </c:pt>
                <c:pt idx="7784">
                  <c:v>6.0501643251374277</c:v>
                </c:pt>
                <c:pt idx="7785">
                  <c:v>5.8603167793422628</c:v>
                </c:pt>
                <c:pt idx="7786">
                  <c:v>6.0617909931963911</c:v>
                </c:pt>
                <c:pt idx="7787">
                  <c:v>4.9166196073287347</c:v>
                </c:pt>
                <c:pt idx="7788">
                  <c:v>4.8623954219276238</c:v>
                </c:pt>
                <c:pt idx="7789">
                  <c:v>5.8514970968055815</c:v>
                </c:pt>
                <c:pt idx="7790">
                  <c:v>4.9901840544092071</c:v>
                </c:pt>
                <c:pt idx="7791">
                  <c:v>4.9064871054627819</c:v>
                </c:pt>
                <c:pt idx="7792">
                  <c:v>4.9613782586000452</c:v>
                </c:pt>
                <c:pt idx="7793">
                  <c:v>4.9860615150056926</c:v>
                </c:pt>
                <c:pt idx="7794">
                  <c:v>5.9755851644263966</c:v>
                </c:pt>
                <c:pt idx="7795">
                  <c:v>6.057699538676971</c:v>
                </c:pt>
                <c:pt idx="7796">
                  <c:v>5.0662985922086081</c:v>
                </c:pt>
                <c:pt idx="7797">
                  <c:v>5.0695179282497538</c:v>
                </c:pt>
                <c:pt idx="7798">
                  <c:v>5.9809374506957935</c:v>
                </c:pt>
                <c:pt idx="7799">
                  <c:v>4.944020527600741</c:v>
                </c:pt>
                <c:pt idx="7800">
                  <c:v>6.0122536926212824</c:v>
                </c:pt>
                <c:pt idx="7801">
                  <c:v>5.0159297901997189</c:v>
                </c:pt>
                <c:pt idx="7802">
                  <c:v>5.0894239709553686</c:v>
                </c:pt>
                <c:pt idx="7803">
                  <c:v>5.1000807958882888</c:v>
                </c:pt>
                <c:pt idx="7804">
                  <c:v>4.9788714458178047</c:v>
                </c:pt>
                <c:pt idx="7805">
                  <c:v>4.9700785902754365</c:v>
                </c:pt>
                <c:pt idx="7806">
                  <c:v>6.0606346727049454</c:v>
                </c:pt>
                <c:pt idx="7807">
                  <c:v>5.0893339774629975</c:v>
                </c:pt>
                <c:pt idx="7808">
                  <c:v>6.0917755720071751</c:v>
                </c:pt>
                <c:pt idx="7809">
                  <c:v>5.0536762029887567</c:v>
                </c:pt>
                <c:pt idx="7810">
                  <c:v>2.1887949865674656</c:v>
                </c:pt>
                <c:pt idx="7811">
                  <c:v>2.02648953155034</c:v>
                </c:pt>
                <c:pt idx="7812">
                  <c:v>5.0660094507316131</c:v>
                </c:pt>
                <c:pt idx="7813">
                  <c:v>6.0709491469659911</c:v>
                </c:pt>
                <c:pt idx="7814">
                  <c:v>6.0043794128538455</c:v>
                </c:pt>
                <c:pt idx="7815">
                  <c:v>5.0530668462587176</c:v>
                </c:pt>
                <c:pt idx="7816">
                  <c:v>7.0924914339178962</c:v>
                </c:pt>
                <c:pt idx="7817">
                  <c:v>4.9658265942900472</c:v>
                </c:pt>
                <c:pt idx="7818">
                  <c:v>3.946919024102518</c:v>
                </c:pt>
                <c:pt idx="7819">
                  <c:v>6.7200833989037072</c:v>
                </c:pt>
                <c:pt idx="7820">
                  <c:v>4.994200089831474</c:v>
                </c:pt>
                <c:pt idx="7821">
                  <c:v>5.0984864295849865</c:v>
                </c:pt>
                <c:pt idx="7822">
                  <c:v>6.039208474008511</c:v>
                </c:pt>
                <c:pt idx="7823">
                  <c:v>5.9318813587270585</c:v>
                </c:pt>
                <c:pt idx="7824">
                  <c:v>5.0575303790284867</c:v>
                </c:pt>
                <c:pt idx="7825">
                  <c:v>4.876621119547127</c:v>
                </c:pt>
                <c:pt idx="7826">
                  <c:v>6.1124507731648716</c:v>
                </c:pt>
                <c:pt idx="7827">
                  <c:v>6.0528804817148831</c:v>
                </c:pt>
                <c:pt idx="7828">
                  <c:v>5.0196286747548573</c:v>
                </c:pt>
                <c:pt idx="7829">
                  <c:v>4.8659147783225913</c:v>
                </c:pt>
                <c:pt idx="7830">
                  <c:v>6.0229136764550351</c:v>
                </c:pt>
                <c:pt idx="7831">
                  <c:v>5.0263751543857849</c:v>
                </c:pt>
                <c:pt idx="7832">
                  <c:v>6.1438727054426243</c:v>
                </c:pt>
                <c:pt idx="7833">
                  <c:v>5.0698984521867079</c:v>
                </c:pt>
                <c:pt idx="7834">
                  <c:v>5.9220181551029132</c:v>
                </c:pt>
                <c:pt idx="7835">
                  <c:v>5.9105493365181161</c:v>
                </c:pt>
                <c:pt idx="7836">
                  <c:v>5.8803211077693796</c:v>
                </c:pt>
                <c:pt idx="7837">
                  <c:v>6.0350432822772389</c:v>
                </c:pt>
                <c:pt idx="7838">
                  <c:v>5.9392435763297158</c:v>
                </c:pt>
                <c:pt idx="7839">
                  <c:v>5.9326056091804293</c:v>
                </c:pt>
                <c:pt idx="7840">
                  <c:v>6.0659573417088914</c:v>
                </c:pt>
                <c:pt idx="7841">
                  <c:v>6.0469811346501823</c:v>
                </c:pt>
                <c:pt idx="7842">
                  <c:v>5.8940859946372157</c:v>
                </c:pt>
                <c:pt idx="7843">
                  <c:v>5.9754602734928568</c:v>
                </c:pt>
                <c:pt idx="7844">
                  <c:v>5.2474674818829596</c:v>
                </c:pt>
                <c:pt idx="7845">
                  <c:v>5.1205288380963747</c:v>
                </c:pt>
                <c:pt idx="7846">
                  <c:v>6.0891392587765401</c:v>
                </c:pt>
                <c:pt idx="7847">
                  <c:v>5.0503084206452904</c:v>
                </c:pt>
                <c:pt idx="7848">
                  <c:v>5.9688329988891846</c:v>
                </c:pt>
                <c:pt idx="7849">
                  <c:v>5.0324535917543054</c:v>
                </c:pt>
                <c:pt idx="7850">
                  <c:v>6.0309324952205801</c:v>
                </c:pt>
                <c:pt idx="7851">
                  <c:v>4.9797749569351666</c:v>
                </c:pt>
                <c:pt idx="7852">
                  <c:v>5.9355681215368614</c:v>
                </c:pt>
                <c:pt idx="7853">
                  <c:v>5.9769262981736357</c:v>
                </c:pt>
                <c:pt idx="7854">
                  <c:v>5.0266203109251117</c:v>
                </c:pt>
                <c:pt idx="7855">
                  <c:v>6.031282735654778</c:v>
                </c:pt>
                <c:pt idx="7856">
                  <c:v>6.0866874406090874</c:v>
                </c:pt>
                <c:pt idx="7857">
                  <c:v>5.017219335378666</c:v>
                </c:pt>
                <c:pt idx="7858">
                  <c:v>4.9729332866859401</c:v>
                </c:pt>
                <c:pt idx="7859">
                  <c:v>6.0337190106332876</c:v>
                </c:pt>
                <c:pt idx="7860">
                  <c:v>4.9553291549970746</c:v>
                </c:pt>
                <c:pt idx="7861">
                  <c:v>4.955416502063982</c:v>
                </c:pt>
                <c:pt idx="7862">
                  <c:v>5.0328001698674418</c:v>
                </c:pt>
                <c:pt idx="7863">
                  <c:v>5.0392011960883609</c:v>
                </c:pt>
                <c:pt idx="7864">
                  <c:v>5.8895169112062495</c:v>
                </c:pt>
                <c:pt idx="7865">
                  <c:v>5.1504729233244317</c:v>
                </c:pt>
                <c:pt idx="7866">
                  <c:v>4.9575218435058694</c:v>
                </c:pt>
                <c:pt idx="7867">
                  <c:v>5.0301642638777162</c:v>
                </c:pt>
                <c:pt idx="7868">
                  <c:v>5.8931425022263388</c:v>
                </c:pt>
                <c:pt idx="7869">
                  <c:v>4.8729136394364509</c:v>
                </c:pt>
                <c:pt idx="7870">
                  <c:v>5.0031886042273346</c:v>
                </c:pt>
                <c:pt idx="7871">
                  <c:v>6.0094728331347067</c:v>
                </c:pt>
                <c:pt idx="7872">
                  <c:v>5.8234410332366906</c:v>
                </c:pt>
                <c:pt idx="7873">
                  <c:v>5.9546749409832724</c:v>
                </c:pt>
                <c:pt idx="7874">
                  <c:v>6.1532467053381259</c:v>
                </c:pt>
                <c:pt idx="7875">
                  <c:v>5.9376951505512796</c:v>
                </c:pt>
                <c:pt idx="7876">
                  <c:v>5.0157088254717479</c:v>
                </c:pt>
                <c:pt idx="7877">
                  <c:v>7.2070802371702785</c:v>
                </c:pt>
                <c:pt idx="7878">
                  <c:v>6.0064579491480439</c:v>
                </c:pt>
                <c:pt idx="7879">
                  <c:v>4.8918511927941948</c:v>
                </c:pt>
                <c:pt idx="7880">
                  <c:v>6.1852909536184608</c:v>
                </c:pt>
                <c:pt idx="7881">
                  <c:v>5.0787311301863136</c:v>
                </c:pt>
                <c:pt idx="7882">
                  <c:v>4.3025892268431774</c:v>
                </c:pt>
                <c:pt idx="7883">
                  <c:v>6.0792011422963057</c:v>
                </c:pt>
                <c:pt idx="7884">
                  <c:v>4.9267250537889158</c:v>
                </c:pt>
                <c:pt idx="7885">
                  <c:v>6.046229748999127</c:v>
                </c:pt>
                <c:pt idx="7886">
                  <c:v>4.8522047802192336</c:v>
                </c:pt>
                <c:pt idx="7887">
                  <c:v>5.931988743212675</c:v>
                </c:pt>
                <c:pt idx="7888">
                  <c:v>6.0525668052441128</c:v>
                </c:pt>
                <c:pt idx="7889">
                  <c:v>6.1641192784839998</c:v>
                </c:pt>
                <c:pt idx="7890">
                  <c:v>5.0668354728955398</c:v>
                </c:pt>
                <c:pt idx="7891">
                  <c:v>4.82255501078187</c:v>
                </c:pt>
                <c:pt idx="7892">
                  <c:v>5.9196802040371548</c:v>
                </c:pt>
                <c:pt idx="7893">
                  <c:v>6.9997622155394659</c:v>
                </c:pt>
                <c:pt idx="7894">
                  <c:v>6.0920121772449445</c:v>
                </c:pt>
                <c:pt idx="7895">
                  <c:v>6.1578136188712183</c:v>
                </c:pt>
                <c:pt idx="7896">
                  <c:v>4.8239476505692416</c:v>
                </c:pt>
                <c:pt idx="7897">
                  <c:v>6.2010051872697307</c:v>
                </c:pt>
                <c:pt idx="7898">
                  <c:v>5.0307604834223643</c:v>
                </c:pt>
                <c:pt idx="7899">
                  <c:v>5.9122386557064877</c:v>
                </c:pt>
                <c:pt idx="7900">
                  <c:v>5.9240212093870275</c:v>
                </c:pt>
                <c:pt idx="7901">
                  <c:v>6.1219165239397366</c:v>
                </c:pt>
                <c:pt idx="7902">
                  <c:v>4.9253642739561556</c:v>
                </c:pt>
                <c:pt idx="7903">
                  <c:v>6.0561085044643583</c:v>
                </c:pt>
                <c:pt idx="7904">
                  <c:v>5.1839217575013086</c:v>
                </c:pt>
                <c:pt idx="7905">
                  <c:v>5.9353125938197646</c:v>
                </c:pt>
                <c:pt idx="7906">
                  <c:v>5.8908894693835911</c:v>
                </c:pt>
                <c:pt idx="7907">
                  <c:v>5.8658826338157786</c:v>
                </c:pt>
                <c:pt idx="7908">
                  <c:v>5.9141595836505996</c:v>
                </c:pt>
                <c:pt idx="7909">
                  <c:v>5.0514275707983707</c:v>
                </c:pt>
                <c:pt idx="7910">
                  <c:v>4.7526147056469341</c:v>
                </c:pt>
                <c:pt idx="7911">
                  <c:v>5.0930196939406391</c:v>
                </c:pt>
                <c:pt idx="7912">
                  <c:v>5.0972533707469578</c:v>
                </c:pt>
                <c:pt idx="7913">
                  <c:v>6.0305641211513308</c:v>
                </c:pt>
                <c:pt idx="7914">
                  <c:v>6.0084712967257241</c:v>
                </c:pt>
                <c:pt idx="7915">
                  <c:v>6.0954197614983539</c:v>
                </c:pt>
                <c:pt idx="7916">
                  <c:v>4.9236710711547804</c:v>
                </c:pt>
                <c:pt idx="7917">
                  <c:v>5.1262994990666009</c:v>
                </c:pt>
                <c:pt idx="7918">
                  <c:v>5.984417692461018</c:v>
                </c:pt>
                <c:pt idx="7919">
                  <c:v>6.009866205307862</c:v>
                </c:pt>
                <c:pt idx="7920">
                  <c:v>6.0678361988988296</c:v>
                </c:pt>
                <c:pt idx="7921">
                  <c:v>5.9948440024179606</c:v>
                </c:pt>
                <c:pt idx="7922">
                  <c:v>6.002667132740247</c:v>
                </c:pt>
                <c:pt idx="7923">
                  <c:v>5.0235236937576762</c:v>
                </c:pt>
                <c:pt idx="7924">
                  <c:v>5.9465567859366546</c:v>
                </c:pt>
                <c:pt idx="7925">
                  <c:v>5.1001798209270346</c:v>
                </c:pt>
                <c:pt idx="7926">
                  <c:v>5.8541835300262415</c:v>
                </c:pt>
                <c:pt idx="7927">
                  <c:v>6.0279416119347911</c:v>
                </c:pt>
                <c:pt idx="7928">
                  <c:v>5.9296745270702944</c:v>
                </c:pt>
                <c:pt idx="7929">
                  <c:v>5.8901513896809838</c:v>
                </c:pt>
                <c:pt idx="7930">
                  <c:v>4.994591818501088</c:v>
                </c:pt>
                <c:pt idx="7931">
                  <c:v>5.0868617348172318</c:v>
                </c:pt>
                <c:pt idx="7932">
                  <c:v>5.9786987748692884</c:v>
                </c:pt>
                <c:pt idx="7933">
                  <c:v>5.021526870870165</c:v>
                </c:pt>
                <c:pt idx="7934">
                  <c:v>6.0336358970588568</c:v>
                </c:pt>
                <c:pt idx="7935">
                  <c:v>5.8905031478424217</c:v>
                </c:pt>
                <c:pt idx="7936">
                  <c:v>5.0721383351487068</c:v>
                </c:pt>
                <c:pt idx="7937">
                  <c:v>5.9664763844255386</c:v>
                </c:pt>
                <c:pt idx="7938">
                  <c:v>5.1211768335781551</c:v>
                </c:pt>
                <c:pt idx="7939">
                  <c:v>5.8259894686571077</c:v>
                </c:pt>
                <c:pt idx="7940">
                  <c:v>3.9917334237292441</c:v>
                </c:pt>
                <c:pt idx="7941">
                  <c:v>7.0483358839324239</c:v>
                </c:pt>
                <c:pt idx="7942">
                  <c:v>5.8656890086288147</c:v>
                </c:pt>
                <c:pt idx="7943">
                  <c:v>5.9375951932068789</c:v>
                </c:pt>
                <c:pt idx="7944">
                  <c:v>4.9824617394696213</c:v>
                </c:pt>
                <c:pt idx="7945">
                  <c:v>6.1733865199471758</c:v>
                </c:pt>
                <c:pt idx="7946">
                  <c:v>4.9934238778666842</c:v>
                </c:pt>
                <c:pt idx="7947">
                  <c:v>6.086120663145107</c:v>
                </c:pt>
                <c:pt idx="7948">
                  <c:v>5.8956445426312349</c:v>
                </c:pt>
                <c:pt idx="7949">
                  <c:v>5.0815225312706032</c:v>
                </c:pt>
                <c:pt idx="7950">
                  <c:v>4.8751372687247807</c:v>
                </c:pt>
                <c:pt idx="7951">
                  <c:v>6.1220457340021204</c:v>
                </c:pt>
                <c:pt idx="7952">
                  <c:v>4.9294038025915352</c:v>
                </c:pt>
                <c:pt idx="7953">
                  <c:v>5.1244096518005566</c:v>
                </c:pt>
                <c:pt idx="7954">
                  <c:v>5.9968579264865705</c:v>
                </c:pt>
                <c:pt idx="7955">
                  <c:v>6.0846849777218548</c:v>
                </c:pt>
                <c:pt idx="7956">
                  <c:v>5.9393444613072548</c:v>
                </c:pt>
                <c:pt idx="7957">
                  <c:v>5.9046493601658696</c:v>
                </c:pt>
                <c:pt idx="7958">
                  <c:v>5.9898027667718328</c:v>
                </c:pt>
                <c:pt idx="7959">
                  <c:v>6.055856930172415</c:v>
                </c:pt>
                <c:pt idx="7960">
                  <c:v>5.9956939484517546</c:v>
                </c:pt>
                <c:pt idx="7961">
                  <c:v>6.066821159055177</c:v>
                </c:pt>
                <c:pt idx="7962">
                  <c:v>5.0829316774933551</c:v>
                </c:pt>
                <c:pt idx="7963">
                  <c:v>5.9356556622815333</c:v>
                </c:pt>
                <c:pt idx="7964">
                  <c:v>4.9246902618746295</c:v>
                </c:pt>
                <c:pt idx="7965">
                  <c:v>5.8881295358624941</c:v>
                </c:pt>
                <c:pt idx="7966">
                  <c:v>5.9200455075118645</c:v>
                </c:pt>
                <c:pt idx="7967">
                  <c:v>5.8452011647928614</c:v>
                </c:pt>
                <c:pt idx="7968">
                  <c:v>6.021930646150917</c:v>
                </c:pt>
                <c:pt idx="7969">
                  <c:v>5.0233710389508754</c:v>
                </c:pt>
                <c:pt idx="7970">
                  <c:v>5.0225014407359136</c:v>
                </c:pt>
                <c:pt idx="7971">
                  <c:v>4.8868859567002927</c:v>
                </c:pt>
                <c:pt idx="7972">
                  <c:v>5.0235708758732098</c:v>
                </c:pt>
                <c:pt idx="7973">
                  <c:v>4.9718081304605084</c:v>
                </c:pt>
                <c:pt idx="7974">
                  <c:v>6.0016820866808338</c:v>
                </c:pt>
                <c:pt idx="7975">
                  <c:v>5.8061418420198265</c:v>
                </c:pt>
                <c:pt idx="7976">
                  <c:v>5.017812658895501</c:v>
                </c:pt>
                <c:pt idx="7977">
                  <c:v>6.0197395707629031</c:v>
                </c:pt>
                <c:pt idx="7978">
                  <c:v>5.8137140871631825</c:v>
                </c:pt>
                <c:pt idx="7979">
                  <c:v>5.0570378265327509</c:v>
                </c:pt>
                <c:pt idx="7980">
                  <c:v>4.8970479437452896</c:v>
                </c:pt>
                <c:pt idx="7981">
                  <c:v>4.9382452563340795</c:v>
                </c:pt>
                <c:pt idx="7982">
                  <c:v>4.9061342007580153</c:v>
                </c:pt>
                <c:pt idx="7983">
                  <c:v>4.9099168389694583</c:v>
                </c:pt>
                <c:pt idx="7984">
                  <c:v>5.9532334360248731</c:v>
                </c:pt>
                <c:pt idx="7985">
                  <c:v>6.0351679973722376</c:v>
                </c:pt>
                <c:pt idx="7986">
                  <c:v>6.0114420407913105</c:v>
                </c:pt>
                <c:pt idx="7987">
                  <c:v>5.862964588296002</c:v>
                </c:pt>
                <c:pt idx="7988">
                  <c:v>5.1579531002086991</c:v>
                </c:pt>
                <c:pt idx="7989">
                  <c:v>6.8696869870450685</c:v>
                </c:pt>
                <c:pt idx="7990">
                  <c:v>6.0323187624523333</c:v>
                </c:pt>
                <c:pt idx="7991">
                  <c:v>4.9705162384714887</c:v>
                </c:pt>
                <c:pt idx="7992">
                  <c:v>5.1080290167979507</c:v>
                </c:pt>
                <c:pt idx="7993">
                  <c:v>6.0125484162848304</c:v>
                </c:pt>
                <c:pt idx="7994">
                  <c:v>5.9920175289599573</c:v>
                </c:pt>
                <c:pt idx="7995">
                  <c:v>4.961480067409819</c:v>
                </c:pt>
                <c:pt idx="7996">
                  <c:v>4.7516068699934983</c:v>
                </c:pt>
                <c:pt idx="7997">
                  <c:v>5.0346298374668503</c:v>
                </c:pt>
                <c:pt idx="7998">
                  <c:v>4.7800294441976776</c:v>
                </c:pt>
                <c:pt idx="7999">
                  <c:v>5.024756249230844</c:v>
                </c:pt>
                <c:pt idx="8000">
                  <c:v>6.1316276751035748</c:v>
                </c:pt>
                <c:pt idx="8001">
                  <c:v>6.1268966424937146</c:v>
                </c:pt>
                <c:pt idx="8002">
                  <c:v>6.0078557544548117</c:v>
                </c:pt>
                <c:pt idx="8003">
                  <c:v>5.9652726944625138</c:v>
                </c:pt>
                <c:pt idx="8004">
                  <c:v>5.9651469522149601</c:v>
                </c:pt>
                <c:pt idx="8005">
                  <c:v>6.1002362830672308</c:v>
                </c:pt>
                <c:pt idx="8006">
                  <c:v>4.9769249589397022</c:v>
                </c:pt>
                <c:pt idx="8007">
                  <c:v>5.1848074867902403</c:v>
                </c:pt>
                <c:pt idx="8008">
                  <c:v>4.8501860619148376</c:v>
                </c:pt>
                <c:pt idx="8009">
                  <c:v>6.0850449181532253</c:v>
                </c:pt>
                <c:pt idx="8010">
                  <c:v>5.8354167816580365</c:v>
                </c:pt>
                <c:pt idx="8011">
                  <c:v>5.7632133302665798</c:v>
                </c:pt>
                <c:pt idx="8012">
                  <c:v>7.0039449396856348</c:v>
                </c:pt>
                <c:pt idx="8013">
                  <c:v>6.084332069437103</c:v>
                </c:pt>
                <c:pt idx="8014">
                  <c:v>5.103079844865146</c:v>
                </c:pt>
                <c:pt idx="8015">
                  <c:v>5.0584267144275152</c:v>
                </c:pt>
                <c:pt idx="8016">
                  <c:v>5.9692234350089697</c:v>
                </c:pt>
                <c:pt idx="8017">
                  <c:v>6.0716418965534151</c:v>
                </c:pt>
                <c:pt idx="8018">
                  <c:v>6.1083118590034067</c:v>
                </c:pt>
                <c:pt idx="8019">
                  <c:v>4.8828580073796299</c:v>
                </c:pt>
                <c:pt idx="8020">
                  <c:v>6.0646372463743283</c:v>
                </c:pt>
                <c:pt idx="8021">
                  <c:v>4.8413885241858736</c:v>
                </c:pt>
                <c:pt idx="8022">
                  <c:v>5.0843819039669986</c:v>
                </c:pt>
                <c:pt idx="8023">
                  <c:v>6.911538352173614</c:v>
                </c:pt>
                <c:pt idx="8024">
                  <c:v>6.0559805385839445</c:v>
                </c:pt>
                <c:pt idx="8025">
                  <c:v>5.091388213873687</c:v>
                </c:pt>
                <c:pt idx="8026">
                  <c:v>4.9864954751274322</c:v>
                </c:pt>
                <c:pt idx="8027">
                  <c:v>4.8562324768585974</c:v>
                </c:pt>
                <c:pt idx="8028">
                  <c:v>5.981932531698603</c:v>
                </c:pt>
                <c:pt idx="8029">
                  <c:v>5.7625797394375802</c:v>
                </c:pt>
                <c:pt idx="8030">
                  <c:v>6.056845064679365</c:v>
                </c:pt>
                <c:pt idx="8031">
                  <c:v>5.0874121237491217</c:v>
                </c:pt>
                <c:pt idx="8032">
                  <c:v>6.0551988651474904</c:v>
                </c:pt>
                <c:pt idx="8033">
                  <c:v>5.9390900191893419</c:v>
                </c:pt>
                <c:pt idx="8034">
                  <c:v>5.0698016868831735</c:v>
                </c:pt>
                <c:pt idx="8035">
                  <c:v>5.8731415040170774</c:v>
                </c:pt>
                <c:pt idx="8036">
                  <c:v>6.0805403078172064</c:v>
                </c:pt>
                <c:pt idx="8037">
                  <c:v>4.9802781187714489</c:v>
                </c:pt>
                <c:pt idx="8038">
                  <c:v>6.0736922617109022</c:v>
                </c:pt>
                <c:pt idx="8039">
                  <c:v>5.8981549232038279</c:v>
                </c:pt>
                <c:pt idx="8040">
                  <c:v>5.0662177212583401</c:v>
                </c:pt>
                <c:pt idx="8041">
                  <c:v>5.9006229044531846</c:v>
                </c:pt>
                <c:pt idx="8042">
                  <c:v>4.9476364149060439</c:v>
                </c:pt>
                <c:pt idx="8043">
                  <c:v>5.785019123785462</c:v>
                </c:pt>
                <c:pt idx="8044">
                  <c:v>6.1104813208576827</c:v>
                </c:pt>
                <c:pt idx="8045">
                  <c:v>5.1811687193346927</c:v>
                </c:pt>
                <c:pt idx="8046">
                  <c:v>5.9510789460950502</c:v>
                </c:pt>
                <c:pt idx="8047">
                  <c:v>5.873995963423841</c:v>
                </c:pt>
                <c:pt idx="8048">
                  <c:v>5.9433055650780426</c:v>
                </c:pt>
                <c:pt idx="8049">
                  <c:v>4.9790931170013097</c:v>
                </c:pt>
                <c:pt idx="8050">
                  <c:v>4.9627291955421855</c:v>
                </c:pt>
                <c:pt idx="8051">
                  <c:v>4.9290979969623505</c:v>
                </c:pt>
                <c:pt idx="8052">
                  <c:v>6.1829462956778309</c:v>
                </c:pt>
                <c:pt idx="8053">
                  <c:v>4.9970079259859643</c:v>
                </c:pt>
                <c:pt idx="8054">
                  <c:v>5.1736804121794115</c:v>
                </c:pt>
                <c:pt idx="8055">
                  <c:v>5.1653552512760621</c:v>
                </c:pt>
                <c:pt idx="8056">
                  <c:v>5.0697763168164593</c:v>
                </c:pt>
                <c:pt idx="8057">
                  <c:v>5.9525683683929387</c:v>
                </c:pt>
                <c:pt idx="8058">
                  <c:v>6.8900974337558321</c:v>
                </c:pt>
                <c:pt idx="8059">
                  <c:v>5.9306299168225127</c:v>
                </c:pt>
                <c:pt idx="8060">
                  <c:v>6.0526223510515109</c:v>
                </c:pt>
                <c:pt idx="8061">
                  <c:v>5.0174303364502268</c:v>
                </c:pt>
                <c:pt idx="8062">
                  <c:v>5.0440988715577628</c:v>
                </c:pt>
                <c:pt idx="8063">
                  <c:v>6.0561735986028076</c:v>
                </c:pt>
                <c:pt idx="8064">
                  <c:v>4.8686501780878499</c:v>
                </c:pt>
                <c:pt idx="8065">
                  <c:v>4.9210230170246323</c:v>
                </c:pt>
                <c:pt idx="8066">
                  <c:v>5.0262890985785553</c:v>
                </c:pt>
                <c:pt idx="8067">
                  <c:v>6.0231903296519489</c:v>
                </c:pt>
                <c:pt idx="8068">
                  <c:v>4.9869320468067855</c:v>
                </c:pt>
                <c:pt idx="8069">
                  <c:v>5.943971605678338</c:v>
                </c:pt>
                <c:pt idx="8070">
                  <c:v>5.0277701680220721</c:v>
                </c:pt>
                <c:pt idx="8071">
                  <c:v>4.7482727571163865</c:v>
                </c:pt>
                <c:pt idx="8072">
                  <c:v>5.7929895867802008</c:v>
                </c:pt>
                <c:pt idx="8073">
                  <c:v>5.0366173458810257</c:v>
                </c:pt>
                <c:pt idx="8074">
                  <c:v>4.9879780130788332</c:v>
                </c:pt>
                <c:pt idx="8075">
                  <c:v>4.9225597203933047</c:v>
                </c:pt>
                <c:pt idx="8076">
                  <c:v>5.0693232082882007</c:v>
                </c:pt>
                <c:pt idx="8077">
                  <c:v>6.1740943276171745</c:v>
                </c:pt>
                <c:pt idx="8078">
                  <c:v>5.1261202531162562</c:v>
                </c:pt>
                <c:pt idx="8079">
                  <c:v>5.901836035806034</c:v>
                </c:pt>
                <c:pt idx="8080">
                  <c:v>6.0774966254836089</c:v>
                </c:pt>
                <c:pt idx="8081">
                  <c:v>7.0074786639644238</c:v>
                </c:pt>
                <c:pt idx="8082">
                  <c:v>7.0583725781668569</c:v>
                </c:pt>
                <c:pt idx="8083">
                  <c:v>6.169812463768177</c:v>
                </c:pt>
                <c:pt idx="8084">
                  <c:v>6.1004739527649212</c:v>
                </c:pt>
                <c:pt idx="8085">
                  <c:v>6.0120122759066259</c:v>
                </c:pt>
                <c:pt idx="8086">
                  <c:v>6.1080845340961174</c:v>
                </c:pt>
                <c:pt idx="8087">
                  <c:v>6.0753458747503393</c:v>
                </c:pt>
                <c:pt idx="8088">
                  <c:v>5.0471592797503106</c:v>
                </c:pt>
                <c:pt idx="8089">
                  <c:v>4.9485833335980987</c:v>
                </c:pt>
                <c:pt idx="8090">
                  <c:v>6.1456700509337896</c:v>
                </c:pt>
                <c:pt idx="8091">
                  <c:v>5.925162598222478</c:v>
                </c:pt>
                <c:pt idx="8092">
                  <c:v>5.9316546185297101</c:v>
                </c:pt>
                <c:pt idx="8093">
                  <c:v>6.1246443613558803</c:v>
                </c:pt>
                <c:pt idx="8094">
                  <c:v>4.9722992757868631</c:v>
                </c:pt>
                <c:pt idx="8095">
                  <c:v>5.9608353315988598</c:v>
                </c:pt>
                <c:pt idx="8096">
                  <c:v>5.0365366517412395</c:v>
                </c:pt>
                <c:pt idx="8097">
                  <c:v>6.1253411966496216</c:v>
                </c:pt>
                <c:pt idx="8098">
                  <c:v>5.9890675002965006</c:v>
                </c:pt>
                <c:pt idx="8099">
                  <c:v>4.9615628225583102</c:v>
                </c:pt>
                <c:pt idx="8100">
                  <c:v>4.9465637586108366</c:v>
                </c:pt>
                <c:pt idx="8101">
                  <c:v>5.9877696698738587</c:v>
                </c:pt>
                <c:pt idx="8102">
                  <c:v>4.9851130597323419</c:v>
                </c:pt>
                <c:pt idx="8103">
                  <c:v>6.0620584887312523</c:v>
                </c:pt>
                <c:pt idx="8104">
                  <c:v>5.051013576053041</c:v>
                </c:pt>
                <c:pt idx="8105">
                  <c:v>5.7126026906509777</c:v>
                </c:pt>
                <c:pt idx="8106">
                  <c:v>5.0473035426048467</c:v>
                </c:pt>
                <c:pt idx="8107">
                  <c:v>6.9535113071973429</c:v>
                </c:pt>
                <c:pt idx="8108">
                  <c:v>5.9995186564980854</c:v>
                </c:pt>
                <c:pt idx="8109">
                  <c:v>5.1486394820688721</c:v>
                </c:pt>
                <c:pt idx="8110">
                  <c:v>6.004047427206995</c:v>
                </c:pt>
                <c:pt idx="8111">
                  <c:v>6.138553871564012</c:v>
                </c:pt>
                <c:pt idx="8112">
                  <c:v>6.0289678916492031</c:v>
                </c:pt>
                <c:pt idx="8113">
                  <c:v>4.9288858408629643</c:v>
                </c:pt>
                <c:pt idx="8114">
                  <c:v>6.0855949328983225</c:v>
                </c:pt>
                <c:pt idx="8115">
                  <c:v>6.1485486165247742</c:v>
                </c:pt>
                <c:pt idx="8116">
                  <c:v>6.0264656834752728</c:v>
                </c:pt>
                <c:pt idx="8117">
                  <c:v>6.0393311458646552</c:v>
                </c:pt>
                <c:pt idx="8118">
                  <c:v>5.8392683459424273</c:v>
                </c:pt>
                <c:pt idx="8119">
                  <c:v>4.9894650299025329</c:v>
                </c:pt>
                <c:pt idx="8120">
                  <c:v>6.1845316694779253</c:v>
                </c:pt>
                <c:pt idx="8121">
                  <c:v>6.014181155220359</c:v>
                </c:pt>
                <c:pt idx="8122">
                  <c:v>5.9595810692921987</c:v>
                </c:pt>
                <c:pt idx="8123">
                  <c:v>6.0508560676038146</c:v>
                </c:pt>
                <c:pt idx="8124">
                  <c:v>4.895732420216957</c:v>
                </c:pt>
                <c:pt idx="8125">
                  <c:v>5.9485453219604487</c:v>
                </c:pt>
                <c:pt idx="8126">
                  <c:v>4.9438978128928657</c:v>
                </c:pt>
                <c:pt idx="8127">
                  <c:v>5.9921581484006454</c:v>
                </c:pt>
                <c:pt idx="8128">
                  <c:v>5.8881775272504653</c:v>
                </c:pt>
                <c:pt idx="8129">
                  <c:v>5.7565987517722279</c:v>
                </c:pt>
                <c:pt idx="8130">
                  <c:v>5.9687435914089386</c:v>
                </c:pt>
                <c:pt idx="8131">
                  <c:v>6.0718310053774518</c:v>
                </c:pt>
                <c:pt idx="8132">
                  <c:v>6.1280884696196347</c:v>
                </c:pt>
                <c:pt idx="8133">
                  <c:v>6.1263775885283565</c:v>
                </c:pt>
                <c:pt idx="8134">
                  <c:v>6.0703187879096872</c:v>
                </c:pt>
                <c:pt idx="8135">
                  <c:v>6.1093937425442348</c:v>
                </c:pt>
                <c:pt idx="8136">
                  <c:v>6.9956888426024015</c:v>
                </c:pt>
                <c:pt idx="8137">
                  <c:v>4.9430146136187716</c:v>
                </c:pt>
                <c:pt idx="8138">
                  <c:v>5.9198378514994099</c:v>
                </c:pt>
                <c:pt idx="8139">
                  <c:v>4.8348883280200896</c:v>
                </c:pt>
                <c:pt idx="8140">
                  <c:v>4.9186771936798532</c:v>
                </c:pt>
                <c:pt idx="8141">
                  <c:v>5.9067330835475831</c:v>
                </c:pt>
                <c:pt idx="8142">
                  <c:v>5.9049656070770986</c:v>
                </c:pt>
                <c:pt idx="8143">
                  <c:v>6.106505499174844</c:v>
                </c:pt>
                <c:pt idx="8144">
                  <c:v>6.0992517848939922</c:v>
                </c:pt>
                <c:pt idx="8145">
                  <c:v>6.0061718248136833</c:v>
                </c:pt>
                <c:pt idx="8146">
                  <c:v>5.9786157391724197</c:v>
                </c:pt>
                <c:pt idx="8147">
                  <c:v>5.9906645249681132</c:v>
                </c:pt>
                <c:pt idx="8148">
                  <c:v>5.0460826980643931</c:v>
                </c:pt>
                <c:pt idx="8149">
                  <c:v>6.0829030847923917</c:v>
                </c:pt>
                <c:pt idx="8150">
                  <c:v>5.0006710585377512</c:v>
                </c:pt>
                <c:pt idx="8151">
                  <c:v>4.8269524801647874</c:v>
                </c:pt>
                <c:pt idx="8152">
                  <c:v>6.0321329107615291</c:v>
                </c:pt>
                <c:pt idx="8153">
                  <c:v>5.7547946016476033</c:v>
                </c:pt>
                <c:pt idx="8154">
                  <c:v>5.9598777331451753</c:v>
                </c:pt>
                <c:pt idx="8155">
                  <c:v>6.0083822047915083</c:v>
                </c:pt>
                <c:pt idx="8156">
                  <c:v>5.910227215066044</c:v>
                </c:pt>
                <c:pt idx="8157">
                  <c:v>6.0454450471810981</c:v>
                </c:pt>
                <c:pt idx="8158">
                  <c:v>5.9603582364644749</c:v>
                </c:pt>
                <c:pt idx="8159">
                  <c:v>5.0569843804955763</c:v>
                </c:pt>
                <c:pt idx="8160">
                  <c:v>5.9530248636761849</c:v>
                </c:pt>
                <c:pt idx="8161">
                  <c:v>5.9720746868879102</c:v>
                </c:pt>
                <c:pt idx="8162">
                  <c:v>5.8698050804659259</c:v>
                </c:pt>
                <c:pt idx="8163">
                  <c:v>6.0597227678078989</c:v>
                </c:pt>
                <c:pt idx="8164">
                  <c:v>5.8153738915140876</c:v>
                </c:pt>
                <c:pt idx="8165">
                  <c:v>4.9397735425159697</c:v>
                </c:pt>
                <c:pt idx="8166">
                  <c:v>4.8878707166319018</c:v>
                </c:pt>
                <c:pt idx="8167">
                  <c:v>6.2405933162851728</c:v>
                </c:pt>
                <c:pt idx="8168">
                  <c:v>5.9981596022624011</c:v>
                </c:pt>
                <c:pt idx="8169">
                  <c:v>4.8685066696453614</c:v>
                </c:pt>
                <c:pt idx="8170">
                  <c:v>6.0942565976855088</c:v>
                </c:pt>
                <c:pt idx="8171">
                  <c:v>5.8792153205149038</c:v>
                </c:pt>
                <c:pt idx="8172">
                  <c:v>4.9146353842264476</c:v>
                </c:pt>
                <c:pt idx="8173">
                  <c:v>5.9448421448270805</c:v>
                </c:pt>
                <c:pt idx="8174">
                  <c:v>5.8030432408994015</c:v>
                </c:pt>
                <c:pt idx="8175">
                  <c:v>5.032682683394512</c:v>
                </c:pt>
                <c:pt idx="8176">
                  <c:v>5.9124389741512688</c:v>
                </c:pt>
                <c:pt idx="8177">
                  <c:v>5.9391811530197938</c:v>
                </c:pt>
                <c:pt idx="8178">
                  <c:v>5.0860693967635848</c:v>
                </c:pt>
                <c:pt idx="8179">
                  <c:v>6.0398992304898655</c:v>
                </c:pt>
                <c:pt idx="8180">
                  <c:v>4.904608129289473</c:v>
                </c:pt>
                <c:pt idx="8181">
                  <c:v>4.764256673428318</c:v>
                </c:pt>
                <c:pt idx="8182">
                  <c:v>5.9100961959753597</c:v>
                </c:pt>
                <c:pt idx="8183">
                  <c:v>5.1220194517134949</c:v>
                </c:pt>
                <c:pt idx="8184">
                  <c:v>4.9909965544247381</c:v>
                </c:pt>
                <c:pt idx="8185">
                  <c:v>4.9295633798305065</c:v>
                </c:pt>
                <c:pt idx="8186">
                  <c:v>4.9907820531071216</c:v>
                </c:pt>
                <c:pt idx="8187">
                  <c:v>6.0325880747518177</c:v>
                </c:pt>
                <c:pt idx="8188">
                  <c:v>7.2179486944092215</c:v>
                </c:pt>
                <c:pt idx="8189">
                  <c:v>4.9740249075810459</c:v>
                </c:pt>
                <c:pt idx="8190">
                  <c:v>4.9662682628268273</c:v>
                </c:pt>
                <c:pt idx="8191">
                  <c:v>6.0098869349748911</c:v>
                </c:pt>
                <c:pt idx="8192">
                  <c:v>4.9865627725461943</c:v>
                </c:pt>
                <c:pt idx="8193">
                  <c:v>6.0467166554666933</c:v>
                </c:pt>
                <c:pt idx="8194">
                  <c:v>5.8968680098165107</c:v>
                </c:pt>
                <c:pt idx="8195">
                  <c:v>5.040402956007517</c:v>
                </c:pt>
                <c:pt idx="8196">
                  <c:v>6.0192905753027039</c:v>
                </c:pt>
                <c:pt idx="8197">
                  <c:v>5.097263537664479</c:v>
                </c:pt>
                <c:pt idx="8198">
                  <c:v>6.0690630351618378</c:v>
                </c:pt>
                <c:pt idx="8199">
                  <c:v>5.9812481415622161</c:v>
                </c:pt>
                <c:pt idx="8200">
                  <c:v>5.0781770557585011</c:v>
                </c:pt>
                <c:pt idx="8201">
                  <c:v>5.0495737649288062</c:v>
                </c:pt>
                <c:pt idx="8202">
                  <c:v>4.9907449616405017</c:v>
                </c:pt>
                <c:pt idx="8203">
                  <c:v>5.1507110521358399</c:v>
                </c:pt>
                <c:pt idx="8204">
                  <c:v>6.054537375681349</c:v>
                </c:pt>
                <c:pt idx="8205">
                  <c:v>5.9476702267007298</c:v>
                </c:pt>
                <c:pt idx="8206">
                  <c:v>5.100329931350597</c:v>
                </c:pt>
                <c:pt idx="8207">
                  <c:v>6.2328641441076353</c:v>
                </c:pt>
                <c:pt idx="8208">
                  <c:v>6.1263379078968789</c:v>
                </c:pt>
                <c:pt idx="8209">
                  <c:v>6.094725728786889</c:v>
                </c:pt>
                <c:pt idx="8210">
                  <c:v>6.0360472190682586</c:v>
                </c:pt>
                <c:pt idx="8211">
                  <c:v>5.0157754672527686</c:v>
                </c:pt>
                <c:pt idx="8212">
                  <c:v>5.9463681327948015</c:v>
                </c:pt>
                <c:pt idx="8213">
                  <c:v>6.1156956673155527</c:v>
                </c:pt>
                <c:pt idx="8214">
                  <c:v>5.1944726725525836</c:v>
                </c:pt>
                <c:pt idx="8215">
                  <c:v>5.0790797571933295</c:v>
                </c:pt>
                <c:pt idx="8216">
                  <c:v>4.9293368945884648</c:v>
                </c:pt>
                <c:pt idx="8217">
                  <c:v>5.9311707622414858</c:v>
                </c:pt>
                <c:pt idx="8218">
                  <c:v>5.0188787923512894</c:v>
                </c:pt>
                <c:pt idx="8219">
                  <c:v>6.0461678928232114</c:v>
                </c:pt>
                <c:pt idx="8220">
                  <c:v>5.9901284844169727</c:v>
                </c:pt>
                <c:pt idx="8221">
                  <c:v>4.9284237696646835</c:v>
                </c:pt>
                <c:pt idx="8222">
                  <c:v>6.0946572272494857</c:v>
                </c:pt>
                <c:pt idx="8223">
                  <c:v>6.0483821877249273</c:v>
                </c:pt>
                <c:pt idx="8224">
                  <c:v>5.9851741826499669</c:v>
                </c:pt>
                <c:pt idx="8225">
                  <c:v>5.9165015326469836</c:v>
                </c:pt>
                <c:pt idx="8226">
                  <c:v>6.0842123598315778</c:v>
                </c:pt>
                <c:pt idx="8227">
                  <c:v>6.0430405886248142</c:v>
                </c:pt>
                <c:pt idx="8228">
                  <c:v>4.911026440026629</c:v>
                </c:pt>
                <c:pt idx="8229">
                  <c:v>5.958895627314539</c:v>
                </c:pt>
                <c:pt idx="8230">
                  <c:v>5.1864645820328432</c:v>
                </c:pt>
                <c:pt idx="8231">
                  <c:v>6.0034487497914242</c:v>
                </c:pt>
                <c:pt idx="8232">
                  <c:v>6.0631553408018233</c:v>
                </c:pt>
                <c:pt idx="8233">
                  <c:v>5.8628831277313846</c:v>
                </c:pt>
                <c:pt idx="8234">
                  <c:v>5.0634113707084918</c:v>
                </c:pt>
                <c:pt idx="8235">
                  <c:v>5.0310102038034374</c:v>
                </c:pt>
                <c:pt idx="8236">
                  <c:v>6.1918128142829723</c:v>
                </c:pt>
                <c:pt idx="8237">
                  <c:v>4.8917310659648106</c:v>
                </c:pt>
                <c:pt idx="8238">
                  <c:v>6.0480474972863894</c:v>
                </c:pt>
                <c:pt idx="8239">
                  <c:v>5.946405341835467</c:v>
                </c:pt>
                <c:pt idx="8240">
                  <c:v>5.876500525274535</c:v>
                </c:pt>
                <c:pt idx="8241">
                  <c:v>5.9201680616259686</c:v>
                </c:pt>
                <c:pt idx="8242">
                  <c:v>5.0488812257157107</c:v>
                </c:pt>
                <c:pt idx="8243">
                  <c:v>4.7266201043418139</c:v>
                </c:pt>
                <c:pt idx="8244">
                  <c:v>5.8111155664205008</c:v>
                </c:pt>
                <c:pt idx="8245">
                  <c:v>4.1482514212975055</c:v>
                </c:pt>
                <c:pt idx="8246">
                  <c:v>4.0122261433336641</c:v>
                </c:pt>
                <c:pt idx="8247">
                  <c:v>6.003148236492355</c:v>
                </c:pt>
                <c:pt idx="8248">
                  <c:v>5.9691457972555533</c:v>
                </c:pt>
                <c:pt idx="8249">
                  <c:v>5.0501641303270093</c:v>
                </c:pt>
                <c:pt idx="8250">
                  <c:v>5.9520158963642986</c:v>
                </c:pt>
                <c:pt idx="8251">
                  <c:v>5.1849790241906062</c:v>
                </c:pt>
                <c:pt idx="8252">
                  <c:v>5.0115783071063618</c:v>
                </c:pt>
                <c:pt idx="8253">
                  <c:v>5.8678694281858039</c:v>
                </c:pt>
                <c:pt idx="8254">
                  <c:v>5.8720064276839814</c:v>
                </c:pt>
                <c:pt idx="8255">
                  <c:v>5.2137908156677826</c:v>
                </c:pt>
                <c:pt idx="8256">
                  <c:v>5.0350829384199942</c:v>
                </c:pt>
                <c:pt idx="8257">
                  <c:v>5.8636652601549653</c:v>
                </c:pt>
                <c:pt idx="8258">
                  <c:v>5.818695341745574</c:v>
                </c:pt>
                <c:pt idx="8259">
                  <c:v>4.9033782786807736</c:v>
                </c:pt>
                <c:pt idx="8260">
                  <c:v>4.0393971943777967</c:v>
                </c:pt>
                <c:pt idx="8261">
                  <c:v>6.0644225132040379</c:v>
                </c:pt>
                <c:pt idx="8262">
                  <c:v>6.1438933647748222</c:v>
                </c:pt>
                <c:pt idx="8263">
                  <c:v>6.0463823725751267</c:v>
                </c:pt>
                <c:pt idx="8264">
                  <c:v>5.8830659571901966</c:v>
                </c:pt>
                <c:pt idx="8265">
                  <c:v>5.8410328924676325</c:v>
                </c:pt>
                <c:pt idx="8266">
                  <c:v>5.96130281973526</c:v>
                </c:pt>
                <c:pt idx="8267">
                  <c:v>5.0415619082817633</c:v>
                </c:pt>
                <c:pt idx="8268">
                  <c:v>6.0494498827466971</c:v>
                </c:pt>
                <c:pt idx="8269">
                  <c:v>6.1677685535614559</c:v>
                </c:pt>
                <c:pt idx="8270">
                  <c:v>5.8535702375880794</c:v>
                </c:pt>
                <c:pt idx="8271">
                  <c:v>4.9673988421211019</c:v>
                </c:pt>
                <c:pt idx="8272">
                  <c:v>4.97133233384295</c:v>
                </c:pt>
                <c:pt idx="8273">
                  <c:v>6.1002739073194894</c:v>
                </c:pt>
                <c:pt idx="8274">
                  <c:v>5.0316711268377787</c:v>
                </c:pt>
                <c:pt idx="8275">
                  <c:v>6.1068385069814548</c:v>
                </c:pt>
                <c:pt idx="8276">
                  <c:v>5.9848925757840039</c:v>
                </c:pt>
                <c:pt idx="8277">
                  <c:v>5.0135651355036224</c:v>
                </c:pt>
                <c:pt idx="8278">
                  <c:v>5.024766194592841</c:v>
                </c:pt>
                <c:pt idx="8279">
                  <c:v>5.1050734958804513</c:v>
                </c:pt>
                <c:pt idx="8280">
                  <c:v>5.1609417593945359</c:v>
                </c:pt>
                <c:pt idx="8281">
                  <c:v>6.1166310828816224</c:v>
                </c:pt>
                <c:pt idx="8282">
                  <c:v>4.8626522355762463</c:v>
                </c:pt>
                <c:pt idx="8283">
                  <c:v>5.0715067121670909</c:v>
                </c:pt>
                <c:pt idx="8284">
                  <c:v>5.7789965030666961</c:v>
                </c:pt>
                <c:pt idx="8285">
                  <c:v>5.0989052283168448</c:v>
                </c:pt>
                <c:pt idx="8286">
                  <c:v>4.9170142902864304</c:v>
                </c:pt>
                <c:pt idx="8287">
                  <c:v>4.9577807065437698</c:v>
                </c:pt>
                <c:pt idx="8288">
                  <c:v>5.0242006413757743</c:v>
                </c:pt>
                <c:pt idx="8289">
                  <c:v>6.0213224184235425</c:v>
                </c:pt>
                <c:pt idx="8290">
                  <c:v>4.8825302067582372</c:v>
                </c:pt>
                <c:pt idx="8291">
                  <c:v>5.9030545433257684</c:v>
                </c:pt>
                <c:pt idx="8292">
                  <c:v>6.1234618066004822</c:v>
                </c:pt>
                <c:pt idx="8293">
                  <c:v>5.1799468447858414</c:v>
                </c:pt>
                <c:pt idx="8294">
                  <c:v>5.9844061091931913</c:v>
                </c:pt>
                <c:pt idx="8295">
                  <c:v>5.9582434234595372</c:v>
                </c:pt>
                <c:pt idx="8296">
                  <c:v>6.0015556070329552</c:v>
                </c:pt>
                <c:pt idx="8297">
                  <c:v>5.051658498888445</c:v>
                </c:pt>
                <c:pt idx="8298">
                  <c:v>6.0551983495171227</c:v>
                </c:pt>
                <c:pt idx="8299">
                  <c:v>5.9084901086752044</c:v>
                </c:pt>
                <c:pt idx="8300">
                  <c:v>6.013264889790146</c:v>
                </c:pt>
                <c:pt idx="8301">
                  <c:v>4.9672084245554924</c:v>
                </c:pt>
                <c:pt idx="8302">
                  <c:v>6.105318656117185</c:v>
                </c:pt>
                <c:pt idx="8303">
                  <c:v>4.8299799287929819</c:v>
                </c:pt>
                <c:pt idx="8304">
                  <c:v>5.9539672335043923</c:v>
                </c:pt>
                <c:pt idx="8305">
                  <c:v>5.9407180713997771</c:v>
                </c:pt>
                <c:pt idx="8306">
                  <c:v>5.967362267512474</c:v>
                </c:pt>
                <c:pt idx="8307">
                  <c:v>6.1073168377391482</c:v>
                </c:pt>
                <c:pt idx="8308">
                  <c:v>6.0439293800480671</c:v>
                </c:pt>
                <c:pt idx="8309">
                  <c:v>5.0856822302436955</c:v>
                </c:pt>
                <c:pt idx="8310">
                  <c:v>6.117597844525787</c:v>
                </c:pt>
                <c:pt idx="8311">
                  <c:v>6.0164310011198632</c:v>
                </c:pt>
                <c:pt idx="8312">
                  <c:v>5.8508676929645187</c:v>
                </c:pt>
                <c:pt idx="8313">
                  <c:v>5.8022920076577478</c:v>
                </c:pt>
                <c:pt idx="8314">
                  <c:v>5.931631699864389</c:v>
                </c:pt>
                <c:pt idx="8315">
                  <c:v>5.949405970956259</c:v>
                </c:pt>
                <c:pt idx="8316">
                  <c:v>5.9088711276544839</c:v>
                </c:pt>
                <c:pt idx="8317">
                  <c:v>6.0890816909857994</c:v>
                </c:pt>
                <c:pt idx="8318">
                  <c:v>5.9191895994764208</c:v>
                </c:pt>
                <c:pt idx="8319">
                  <c:v>6.0360569296687689</c:v>
                </c:pt>
                <c:pt idx="8320">
                  <c:v>5.1274816528701637</c:v>
                </c:pt>
                <c:pt idx="8321">
                  <c:v>6.1150311934382913</c:v>
                </c:pt>
                <c:pt idx="8322">
                  <c:v>5.9721212366262506</c:v>
                </c:pt>
                <c:pt idx="8323">
                  <c:v>6.0057748080642686</c:v>
                </c:pt>
                <c:pt idx="8324">
                  <c:v>4.9975830533018764</c:v>
                </c:pt>
                <c:pt idx="8325">
                  <c:v>6.0439514867112818</c:v>
                </c:pt>
                <c:pt idx="8326">
                  <c:v>5.0254827994075741</c:v>
                </c:pt>
                <c:pt idx="8327">
                  <c:v>4.956823509775349</c:v>
                </c:pt>
                <c:pt idx="8328">
                  <c:v>6.0628524548768352</c:v>
                </c:pt>
                <c:pt idx="8329">
                  <c:v>6.0775040631188748</c:v>
                </c:pt>
                <c:pt idx="8330">
                  <c:v>5.9807209211017591</c:v>
                </c:pt>
                <c:pt idx="8331">
                  <c:v>5.9421818775043906</c:v>
                </c:pt>
                <c:pt idx="8332">
                  <c:v>5.0383285633740353</c:v>
                </c:pt>
                <c:pt idx="8333">
                  <c:v>6.0695997423545762</c:v>
                </c:pt>
                <c:pt idx="8334">
                  <c:v>4.8745859031639442</c:v>
                </c:pt>
                <c:pt idx="8335">
                  <c:v>6.0604479351890008</c:v>
                </c:pt>
                <c:pt idx="8336">
                  <c:v>5.9977071601793321</c:v>
                </c:pt>
                <c:pt idx="8337">
                  <c:v>5.9722255779114812</c:v>
                </c:pt>
                <c:pt idx="8338">
                  <c:v>6.9024080080011263</c:v>
                </c:pt>
                <c:pt idx="8339">
                  <c:v>6.9969282137367692</c:v>
                </c:pt>
                <c:pt idx="8340">
                  <c:v>5.0854687191025079</c:v>
                </c:pt>
                <c:pt idx="8341">
                  <c:v>5.0836999098375966</c:v>
                </c:pt>
                <c:pt idx="8342">
                  <c:v>4.969528669710396</c:v>
                </c:pt>
                <c:pt idx="8343">
                  <c:v>6.0352003377394166</c:v>
                </c:pt>
                <c:pt idx="8344">
                  <c:v>6.0824570544468948</c:v>
                </c:pt>
                <c:pt idx="8345">
                  <c:v>5.8829840238564213</c:v>
                </c:pt>
                <c:pt idx="8346">
                  <c:v>4.9574405744097474</c:v>
                </c:pt>
                <c:pt idx="8347">
                  <c:v>5.0755658515817936</c:v>
                </c:pt>
                <c:pt idx="8348">
                  <c:v>4.855259562307503</c:v>
                </c:pt>
                <c:pt idx="8349">
                  <c:v>6.0217987549128207</c:v>
                </c:pt>
                <c:pt idx="8350">
                  <c:v>5.9988297856030526</c:v>
                </c:pt>
                <c:pt idx="8351">
                  <c:v>5.1563048799378297</c:v>
                </c:pt>
                <c:pt idx="8352">
                  <c:v>5.9433938649393978</c:v>
                </c:pt>
                <c:pt idx="8353">
                  <c:v>6.9076510770513284</c:v>
                </c:pt>
                <c:pt idx="8354">
                  <c:v>5.8075171840040998</c:v>
                </c:pt>
                <c:pt idx="8355">
                  <c:v>6.0315544958587406</c:v>
                </c:pt>
                <c:pt idx="8356">
                  <c:v>5.0145011329794205</c:v>
                </c:pt>
                <c:pt idx="8357">
                  <c:v>6.9039166881478806</c:v>
                </c:pt>
                <c:pt idx="8358">
                  <c:v>6.0250203006964869</c:v>
                </c:pt>
                <c:pt idx="8359">
                  <c:v>8.0161164405713379</c:v>
                </c:pt>
                <c:pt idx="8360">
                  <c:v>6.0818031036852167</c:v>
                </c:pt>
                <c:pt idx="8361">
                  <c:v>4.887499664302025</c:v>
                </c:pt>
                <c:pt idx="8362">
                  <c:v>6.9313795523005615</c:v>
                </c:pt>
                <c:pt idx="8363">
                  <c:v>6.0170371838727208</c:v>
                </c:pt>
                <c:pt idx="8364">
                  <c:v>7.0802126012999738</c:v>
                </c:pt>
                <c:pt idx="8365">
                  <c:v>6.9951577281652995</c:v>
                </c:pt>
                <c:pt idx="8366">
                  <c:v>6.071619013429034</c:v>
                </c:pt>
                <c:pt idx="8367">
                  <c:v>4.9997021008144129</c:v>
                </c:pt>
                <c:pt idx="8368">
                  <c:v>4.9358564833773855</c:v>
                </c:pt>
                <c:pt idx="8369">
                  <c:v>5.0085878066907243</c:v>
                </c:pt>
                <c:pt idx="8370">
                  <c:v>6.0573320435501712</c:v>
                </c:pt>
                <c:pt idx="8371">
                  <c:v>7.1684966737004334</c:v>
                </c:pt>
                <c:pt idx="8372">
                  <c:v>5.0361709448734029</c:v>
                </c:pt>
                <c:pt idx="8373">
                  <c:v>4.9571715278883284</c:v>
                </c:pt>
                <c:pt idx="8374">
                  <c:v>5.1010918992442944</c:v>
                </c:pt>
                <c:pt idx="8375">
                  <c:v>6.0700602808607513</c:v>
                </c:pt>
                <c:pt idx="8376">
                  <c:v>4.9655565332498925</c:v>
                </c:pt>
                <c:pt idx="8377">
                  <c:v>6.0193835910008016</c:v>
                </c:pt>
                <c:pt idx="8378">
                  <c:v>5.0684851902165144</c:v>
                </c:pt>
                <c:pt idx="8379">
                  <c:v>4.8966370182114938</c:v>
                </c:pt>
                <c:pt idx="8380">
                  <c:v>6.0697033374230216</c:v>
                </c:pt>
                <c:pt idx="8381">
                  <c:v>5.0883686542445483</c:v>
                </c:pt>
                <c:pt idx="8382">
                  <c:v>6.1399870846551057</c:v>
                </c:pt>
                <c:pt idx="8383">
                  <c:v>6.1251094145456584</c:v>
                </c:pt>
                <c:pt idx="8384">
                  <c:v>4.9048432884000013</c:v>
                </c:pt>
                <c:pt idx="8385">
                  <c:v>4.8555876780388694</c:v>
                </c:pt>
                <c:pt idx="8386">
                  <c:v>4.9647016245847926</c:v>
                </c:pt>
                <c:pt idx="8387">
                  <c:v>5.9248180438453373</c:v>
                </c:pt>
                <c:pt idx="8388">
                  <c:v>6.0888091189287605</c:v>
                </c:pt>
                <c:pt idx="8389">
                  <c:v>5.0133356290977638</c:v>
                </c:pt>
                <c:pt idx="8390">
                  <c:v>6.9417349596007876</c:v>
                </c:pt>
                <c:pt idx="8391">
                  <c:v>4.8515676300715755</c:v>
                </c:pt>
                <c:pt idx="8392">
                  <c:v>5.9272430818461261</c:v>
                </c:pt>
                <c:pt idx="8393">
                  <c:v>6.168473760751513</c:v>
                </c:pt>
                <c:pt idx="8394">
                  <c:v>6.0719374331200013</c:v>
                </c:pt>
                <c:pt idx="8395">
                  <c:v>4.8745712287886676</c:v>
                </c:pt>
                <c:pt idx="8396">
                  <c:v>6.0519987591805231</c:v>
                </c:pt>
                <c:pt idx="8397">
                  <c:v>5.8966476579568363</c:v>
                </c:pt>
                <c:pt idx="8398">
                  <c:v>5.0537601494910449</c:v>
                </c:pt>
                <c:pt idx="8399">
                  <c:v>5.869660044806853</c:v>
                </c:pt>
                <c:pt idx="8400">
                  <c:v>5.0476927604804533</c:v>
                </c:pt>
                <c:pt idx="8401">
                  <c:v>4.8925944082996526</c:v>
                </c:pt>
                <c:pt idx="8402">
                  <c:v>5.0608333113695778</c:v>
                </c:pt>
                <c:pt idx="8403">
                  <c:v>5.0720184712918002</c:v>
                </c:pt>
                <c:pt idx="8404">
                  <c:v>5.135206977691154</c:v>
                </c:pt>
                <c:pt idx="8405">
                  <c:v>4.8679321091712149</c:v>
                </c:pt>
                <c:pt idx="8406">
                  <c:v>5.9523994092156709</c:v>
                </c:pt>
                <c:pt idx="8407">
                  <c:v>6.9399706974514688</c:v>
                </c:pt>
                <c:pt idx="8408">
                  <c:v>4.8810406388235243</c:v>
                </c:pt>
                <c:pt idx="8409">
                  <c:v>4.0835238100977529</c:v>
                </c:pt>
                <c:pt idx="8410">
                  <c:v>6.1266137160839236</c:v>
                </c:pt>
                <c:pt idx="8411">
                  <c:v>4.8689226380245181</c:v>
                </c:pt>
                <c:pt idx="8412">
                  <c:v>5.1828659883277526</c:v>
                </c:pt>
                <c:pt idx="8413">
                  <c:v>6.0145644683084649</c:v>
                </c:pt>
                <c:pt idx="8414">
                  <c:v>4.950551457549258</c:v>
                </c:pt>
                <c:pt idx="8415">
                  <c:v>6.1397933507809963</c:v>
                </c:pt>
                <c:pt idx="8416">
                  <c:v>6.2964407290617856</c:v>
                </c:pt>
                <c:pt idx="8417">
                  <c:v>4.7992066709613272</c:v>
                </c:pt>
                <c:pt idx="8418">
                  <c:v>3.8900535100390088</c:v>
                </c:pt>
                <c:pt idx="8419">
                  <c:v>6.0262754214102596</c:v>
                </c:pt>
                <c:pt idx="8420">
                  <c:v>5.1181390666565934</c:v>
                </c:pt>
                <c:pt idx="8421">
                  <c:v>7.0463807044342603</c:v>
                </c:pt>
                <c:pt idx="8422">
                  <c:v>5.7584213857241373</c:v>
                </c:pt>
                <c:pt idx="8423">
                  <c:v>6.1694250196514204</c:v>
                </c:pt>
                <c:pt idx="8424">
                  <c:v>4.8148200524877822</c:v>
                </c:pt>
                <c:pt idx="8425">
                  <c:v>6.1179431868459977</c:v>
                </c:pt>
                <c:pt idx="8426">
                  <c:v>5.9915284794755772</c:v>
                </c:pt>
                <c:pt idx="8427">
                  <c:v>5.0375538454487296</c:v>
                </c:pt>
                <c:pt idx="8428">
                  <c:v>5.9969964335425425</c:v>
                </c:pt>
                <c:pt idx="8429">
                  <c:v>5.0200375829902484</c:v>
                </c:pt>
                <c:pt idx="8430">
                  <c:v>4.8271393110258751</c:v>
                </c:pt>
                <c:pt idx="8431">
                  <c:v>5.9000294575267445</c:v>
                </c:pt>
                <c:pt idx="8432">
                  <c:v>6.7260455885067945</c:v>
                </c:pt>
                <c:pt idx="8433">
                  <c:v>5.8692210628372976</c:v>
                </c:pt>
                <c:pt idx="8434">
                  <c:v>5.8629277314924177</c:v>
                </c:pt>
                <c:pt idx="8435">
                  <c:v>5.0863783258574067</c:v>
                </c:pt>
                <c:pt idx="8436">
                  <c:v>5.1573212273245135</c:v>
                </c:pt>
                <c:pt idx="8437">
                  <c:v>4.9844936186214701</c:v>
                </c:pt>
                <c:pt idx="8438">
                  <c:v>4.7816578483354952</c:v>
                </c:pt>
                <c:pt idx="8439">
                  <c:v>5.9539730228955516</c:v>
                </c:pt>
                <c:pt idx="8440">
                  <c:v>7.0280855185936204</c:v>
                </c:pt>
                <c:pt idx="8441">
                  <c:v>5.0759769188738488</c:v>
                </c:pt>
                <c:pt idx="8442">
                  <c:v>4.947753908883727</c:v>
                </c:pt>
                <c:pt idx="8443">
                  <c:v>5.9164175743795191</c:v>
                </c:pt>
                <c:pt idx="8444">
                  <c:v>7.199007151072661</c:v>
                </c:pt>
                <c:pt idx="8445">
                  <c:v>6.1028715367883128</c:v>
                </c:pt>
                <c:pt idx="8446">
                  <c:v>4.9955977220519605</c:v>
                </c:pt>
                <c:pt idx="8447">
                  <c:v>5.0222017825431138</c:v>
                </c:pt>
                <c:pt idx="8448">
                  <c:v>4.9746747784339789</c:v>
                </c:pt>
                <c:pt idx="8449">
                  <c:v>6.8755659079461298</c:v>
                </c:pt>
                <c:pt idx="8450">
                  <c:v>4.9794241876066163</c:v>
                </c:pt>
                <c:pt idx="8451">
                  <c:v>4.9478154039826565</c:v>
                </c:pt>
                <c:pt idx="8452">
                  <c:v>6.0380318387086884</c:v>
                </c:pt>
                <c:pt idx="8453">
                  <c:v>5.9862745519037572</c:v>
                </c:pt>
                <c:pt idx="8454">
                  <c:v>4.9972658301704822</c:v>
                </c:pt>
                <c:pt idx="8455">
                  <c:v>7.089927392172056</c:v>
                </c:pt>
                <c:pt idx="8456">
                  <c:v>6.0247190277757534</c:v>
                </c:pt>
                <c:pt idx="8457">
                  <c:v>4.9986548256221939</c:v>
                </c:pt>
                <c:pt idx="8458">
                  <c:v>4.8390491097120689</c:v>
                </c:pt>
                <c:pt idx="8459">
                  <c:v>6.035716122251011</c:v>
                </c:pt>
                <c:pt idx="8460">
                  <c:v>5.0861412904923373</c:v>
                </c:pt>
                <c:pt idx="8461">
                  <c:v>5.9174921500095747</c:v>
                </c:pt>
                <c:pt idx="8462">
                  <c:v>5.9056484856872711</c:v>
                </c:pt>
                <c:pt idx="8463">
                  <c:v>5.0112023051003574</c:v>
                </c:pt>
                <c:pt idx="8464">
                  <c:v>5.9220935369785703</c:v>
                </c:pt>
                <c:pt idx="8465">
                  <c:v>5.9411351653439173</c:v>
                </c:pt>
                <c:pt idx="8466">
                  <c:v>6.0728718591076642</c:v>
                </c:pt>
                <c:pt idx="8467">
                  <c:v>6.0901143526020851</c:v>
                </c:pt>
                <c:pt idx="8468">
                  <c:v>4.99477461420806</c:v>
                </c:pt>
                <c:pt idx="8469">
                  <c:v>6.9704571303990672</c:v>
                </c:pt>
                <c:pt idx="8470">
                  <c:v>4.8916165522427457</c:v>
                </c:pt>
                <c:pt idx="8471">
                  <c:v>5.957532193915867</c:v>
                </c:pt>
                <c:pt idx="8472">
                  <c:v>5.0945851061254164</c:v>
                </c:pt>
                <c:pt idx="8473">
                  <c:v>4.8957330816301399</c:v>
                </c:pt>
                <c:pt idx="8474">
                  <c:v>7.2480247429899567</c:v>
                </c:pt>
                <c:pt idx="8475">
                  <c:v>5.0032820114672205</c:v>
                </c:pt>
                <c:pt idx="8476">
                  <c:v>5.1760114915091036</c:v>
                </c:pt>
                <c:pt idx="8477">
                  <c:v>4.8531420505292697</c:v>
                </c:pt>
                <c:pt idx="8478">
                  <c:v>5.9059235605526563</c:v>
                </c:pt>
                <c:pt idx="8479">
                  <c:v>6.8915612739229202</c:v>
                </c:pt>
                <c:pt idx="8480">
                  <c:v>6.057426405132956</c:v>
                </c:pt>
                <c:pt idx="8481">
                  <c:v>5.9952644698700759</c:v>
                </c:pt>
                <c:pt idx="8482">
                  <c:v>6.0542105534794421</c:v>
                </c:pt>
                <c:pt idx="8483">
                  <c:v>5.0348997772733091</c:v>
                </c:pt>
                <c:pt idx="8484">
                  <c:v>5.0052852567145969</c:v>
                </c:pt>
                <c:pt idx="8485">
                  <c:v>4.955046867032725</c:v>
                </c:pt>
                <c:pt idx="8486">
                  <c:v>5.1044850954708707</c:v>
                </c:pt>
                <c:pt idx="8487">
                  <c:v>7.0354745272928536</c:v>
                </c:pt>
                <c:pt idx="8488">
                  <c:v>4.9882410729916522</c:v>
                </c:pt>
                <c:pt idx="8489">
                  <c:v>6.1301897235737721</c:v>
                </c:pt>
                <c:pt idx="8490">
                  <c:v>6.1321000812719682</c:v>
                </c:pt>
                <c:pt idx="8491">
                  <c:v>7.0631491197493759</c:v>
                </c:pt>
                <c:pt idx="8492">
                  <c:v>5.0071907716956581</c:v>
                </c:pt>
                <c:pt idx="8493">
                  <c:v>6.9550331322446617</c:v>
                </c:pt>
                <c:pt idx="8494">
                  <c:v>5.9509086869235883</c:v>
                </c:pt>
                <c:pt idx="8495">
                  <c:v>6.0276186071042925</c:v>
                </c:pt>
                <c:pt idx="8496">
                  <c:v>4.8626922835793449</c:v>
                </c:pt>
                <c:pt idx="8497">
                  <c:v>4.9196893040611211</c:v>
                </c:pt>
                <c:pt idx="8498">
                  <c:v>5.869682086466713</c:v>
                </c:pt>
                <c:pt idx="8499">
                  <c:v>5.8621610564127682</c:v>
                </c:pt>
                <c:pt idx="8500">
                  <c:v>6.065741953203756</c:v>
                </c:pt>
                <c:pt idx="8501">
                  <c:v>5.0894101952771997</c:v>
                </c:pt>
                <c:pt idx="8502">
                  <c:v>6.0100293631448665</c:v>
                </c:pt>
                <c:pt idx="8503">
                  <c:v>5.9338840230283223</c:v>
                </c:pt>
                <c:pt idx="8504">
                  <c:v>5.9480451451567413</c:v>
                </c:pt>
                <c:pt idx="8505">
                  <c:v>5.0253019955808664</c:v>
                </c:pt>
                <c:pt idx="8506">
                  <c:v>6.0494572754017053</c:v>
                </c:pt>
                <c:pt idx="8507">
                  <c:v>7.1222097946486871</c:v>
                </c:pt>
                <c:pt idx="8508">
                  <c:v>5.9829561160198166</c:v>
                </c:pt>
                <c:pt idx="8509">
                  <c:v>5.1580939563460904</c:v>
                </c:pt>
                <c:pt idx="8510">
                  <c:v>5.9887823372651461</c:v>
                </c:pt>
                <c:pt idx="8511">
                  <c:v>4.8725516509146294</c:v>
                </c:pt>
                <c:pt idx="8512">
                  <c:v>4.9569866934828175</c:v>
                </c:pt>
                <c:pt idx="8513">
                  <c:v>5.1396920501312273</c:v>
                </c:pt>
                <c:pt idx="8514">
                  <c:v>5.7491350238568799</c:v>
                </c:pt>
                <c:pt idx="8515">
                  <c:v>5.8316753543084872</c:v>
                </c:pt>
                <c:pt idx="8516">
                  <c:v>5.0139568398412244</c:v>
                </c:pt>
                <c:pt idx="8517">
                  <c:v>5.9483319156801349</c:v>
                </c:pt>
                <c:pt idx="8518">
                  <c:v>5.0520403027584102</c:v>
                </c:pt>
                <c:pt idx="8519">
                  <c:v>5.9394605026246916</c:v>
                </c:pt>
                <c:pt idx="8520">
                  <c:v>5.8122286082138315</c:v>
                </c:pt>
                <c:pt idx="8521">
                  <c:v>5.1053903529855784</c:v>
                </c:pt>
                <c:pt idx="8522">
                  <c:v>5.88093680910346</c:v>
                </c:pt>
                <c:pt idx="8523">
                  <c:v>5.9436708520492232</c:v>
                </c:pt>
                <c:pt idx="8524">
                  <c:v>5.0166028619299121</c:v>
                </c:pt>
                <c:pt idx="8525">
                  <c:v>6.0750062573110943</c:v>
                </c:pt>
                <c:pt idx="8526">
                  <c:v>6.2196592686157999</c:v>
                </c:pt>
                <c:pt idx="8527">
                  <c:v>4.9125818249519391</c:v>
                </c:pt>
                <c:pt idx="8528">
                  <c:v>5.7757698626418783</c:v>
                </c:pt>
                <c:pt idx="8529">
                  <c:v>6.0608404896367079</c:v>
                </c:pt>
                <c:pt idx="8530">
                  <c:v>4.7927533100535715</c:v>
                </c:pt>
                <c:pt idx="8531">
                  <c:v>5.9031604303762384</c:v>
                </c:pt>
                <c:pt idx="8532">
                  <c:v>5.9574479208324247</c:v>
                </c:pt>
                <c:pt idx="8533">
                  <c:v>6.1574503379014285</c:v>
                </c:pt>
                <c:pt idx="8534">
                  <c:v>6.0606048711841209</c:v>
                </c:pt>
                <c:pt idx="8535">
                  <c:v>4.9533925321028613</c:v>
                </c:pt>
                <c:pt idx="8536">
                  <c:v>6.1022201325218486</c:v>
                </c:pt>
                <c:pt idx="8537">
                  <c:v>5.9449770259181278</c:v>
                </c:pt>
                <c:pt idx="8538">
                  <c:v>5.9560696057632425</c:v>
                </c:pt>
                <c:pt idx="8539">
                  <c:v>6.0123837565117757</c:v>
                </c:pt>
                <c:pt idx="8540">
                  <c:v>6.0404503470295925</c:v>
                </c:pt>
                <c:pt idx="8541">
                  <c:v>5.0311850150327979</c:v>
                </c:pt>
                <c:pt idx="8542">
                  <c:v>4.8491887394080715</c:v>
                </c:pt>
                <c:pt idx="8543">
                  <c:v>4.8641093543547393</c:v>
                </c:pt>
                <c:pt idx="8544">
                  <c:v>5.0680399102313398</c:v>
                </c:pt>
                <c:pt idx="8545">
                  <c:v>5.0205058813279742</c:v>
                </c:pt>
                <c:pt idx="8546">
                  <c:v>5.1412044160518153</c:v>
                </c:pt>
                <c:pt idx="8547">
                  <c:v>6.9891059872612127</c:v>
                </c:pt>
                <c:pt idx="8548">
                  <c:v>4.7801500537714041</c:v>
                </c:pt>
                <c:pt idx="8549">
                  <c:v>5.9210586381306953</c:v>
                </c:pt>
                <c:pt idx="8550">
                  <c:v>4.8638144609490226</c:v>
                </c:pt>
                <c:pt idx="8551">
                  <c:v>6.0002482985687422</c:v>
                </c:pt>
                <c:pt idx="8552">
                  <c:v>4.8210883674399492</c:v>
                </c:pt>
                <c:pt idx="8553">
                  <c:v>5.9901104151713014</c:v>
                </c:pt>
                <c:pt idx="8554">
                  <c:v>5.9613952605016634</c:v>
                </c:pt>
                <c:pt idx="8555">
                  <c:v>5.9388808969937132</c:v>
                </c:pt>
                <c:pt idx="8556">
                  <c:v>6.0982607688891086</c:v>
                </c:pt>
                <c:pt idx="8557">
                  <c:v>5.0449442335643857</c:v>
                </c:pt>
                <c:pt idx="8558">
                  <c:v>6.0180041620698255</c:v>
                </c:pt>
                <c:pt idx="8559">
                  <c:v>6.929556398547299</c:v>
                </c:pt>
                <c:pt idx="8560">
                  <c:v>6.8875017197644999</c:v>
                </c:pt>
                <c:pt idx="8561">
                  <c:v>5.9047900510768034</c:v>
                </c:pt>
                <c:pt idx="8562">
                  <c:v>5.9487223407979677</c:v>
                </c:pt>
                <c:pt idx="8563">
                  <c:v>5.7826124510860231</c:v>
                </c:pt>
                <c:pt idx="8564">
                  <c:v>6.0989019644425948</c:v>
                </c:pt>
                <c:pt idx="8565">
                  <c:v>5.7743466377492929</c:v>
                </c:pt>
                <c:pt idx="8566">
                  <c:v>5.1585015571284378</c:v>
                </c:pt>
                <c:pt idx="8567">
                  <c:v>7.0375009328504845</c:v>
                </c:pt>
                <c:pt idx="8568">
                  <c:v>6.0289355628872823</c:v>
                </c:pt>
                <c:pt idx="8569">
                  <c:v>5.017452815858797</c:v>
                </c:pt>
                <c:pt idx="8570">
                  <c:v>6.9290530411709792</c:v>
                </c:pt>
                <c:pt idx="8571">
                  <c:v>5.8184739555928324</c:v>
                </c:pt>
                <c:pt idx="8572">
                  <c:v>5.9809417238868141</c:v>
                </c:pt>
                <c:pt idx="8573">
                  <c:v>6.992131138200353</c:v>
                </c:pt>
                <c:pt idx="8574">
                  <c:v>6.9407033552503181</c:v>
                </c:pt>
                <c:pt idx="8575">
                  <c:v>4.8624676122513586</c:v>
                </c:pt>
                <c:pt idx="8576">
                  <c:v>5.9378672015740301</c:v>
                </c:pt>
                <c:pt idx="8577">
                  <c:v>4.9511479679543617</c:v>
                </c:pt>
                <c:pt idx="8578">
                  <c:v>5.9286127924321299</c:v>
                </c:pt>
                <c:pt idx="8579">
                  <c:v>5.9710268131083311</c:v>
                </c:pt>
                <c:pt idx="8580">
                  <c:v>6.0184441062303442</c:v>
                </c:pt>
                <c:pt idx="8581">
                  <c:v>4.9185985105511421</c:v>
                </c:pt>
                <c:pt idx="8582">
                  <c:v>5.0014592926313179</c:v>
                </c:pt>
                <c:pt idx="8583">
                  <c:v>5.9964212121604978</c:v>
                </c:pt>
                <c:pt idx="8584">
                  <c:v>5.1077308589513892</c:v>
                </c:pt>
                <c:pt idx="8585">
                  <c:v>4.900700139080798</c:v>
                </c:pt>
                <c:pt idx="8586">
                  <c:v>5.9230946453366222</c:v>
                </c:pt>
                <c:pt idx="8587">
                  <c:v>4.9326291169248186</c:v>
                </c:pt>
                <c:pt idx="8588">
                  <c:v>5.9503585484285137</c:v>
                </c:pt>
                <c:pt idx="8589">
                  <c:v>4.9339476640000699</c:v>
                </c:pt>
                <c:pt idx="8590">
                  <c:v>4.8793195426325209</c:v>
                </c:pt>
                <c:pt idx="8591">
                  <c:v>4.8313362975865504</c:v>
                </c:pt>
                <c:pt idx="8592">
                  <c:v>6.0233387591728356</c:v>
                </c:pt>
                <c:pt idx="8593">
                  <c:v>5.9771513796506435</c:v>
                </c:pt>
                <c:pt idx="8594">
                  <c:v>6.1422134121900349</c:v>
                </c:pt>
                <c:pt idx="8595">
                  <c:v>6.0671391626813991</c:v>
                </c:pt>
                <c:pt idx="8596">
                  <c:v>5.8238988564443597</c:v>
                </c:pt>
                <c:pt idx="8597">
                  <c:v>5.9535872782915407</c:v>
                </c:pt>
                <c:pt idx="8598">
                  <c:v>4.8916242614744094</c:v>
                </c:pt>
                <c:pt idx="8599">
                  <c:v>5.0683839218903897</c:v>
                </c:pt>
                <c:pt idx="8600">
                  <c:v>5.0886610095048415</c:v>
                </c:pt>
                <c:pt idx="8601">
                  <c:v>5.868133008005251</c:v>
                </c:pt>
                <c:pt idx="8602">
                  <c:v>4.8752089656322797</c:v>
                </c:pt>
                <c:pt idx="8603">
                  <c:v>4.9801703881267514</c:v>
                </c:pt>
                <c:pt idx="8604">
                  <c:v>5.047379651504845</c:v>
                </c:pt>
                <c:pt idx="8605">
                  <c:v>5.9541885259007961</c:v>
                </c:pt>
                <c:pt idx="8606">
                  <c:v>6.0847925033940298</c:v>
                </c:pt>
                <c:pt idx="8607">
                  <c:v>6.1556174026480823</c:v>
                </c:pt>
                <c:pt idx="8608">
                  <c:v>5.9962602955619992</c:v>
                </c:pt>
                <c:pt idx="8609">
                  <c:v>4.7409337947665042</c:v>
                </c:pt>
                <c:pt idx="8610">
                  <c:v>5.0173343509421207</c:v>
                </c:pt>
                <c:pt idx="8611">
                  <c:v>5.9509534591893782</c:v>
                </c:pt>
                <c:pt idx="8612">
                  <c:v>6.0307781490331331</c:v>
                </c:pt>
                <c:pt idx="8613">
                  <c:v>6.1385520830172489</c:v>
                </c:pt>
                <c:pt idx="8614">
                  <c:v>6.0843995555632828</c:v>
                </c:pt>
                <c:pt idx="8615">
                  <c:v>4.9893033416304355</c:v>
                </c:pt>
                <c:pt idx="8616">
                  <c:v>5.993210090426266</c:v>
                </c:pt>
                <c:pt idx="8617">
                  <c:v>5.8275630116927291</c:v>
                </c:pt>
                <c:pt idx="8618">
                  <c:v>6.0822023407569867</c:v>
                </c:pt>
                <c:pt idx="8619">
                  <c:v>6.2093786217615614</c:v>
                </c:pt>
                <c:pt idx="8620">
                  <c:v>6.0873942007253579</c:v>
                </c:pt>
                <c:pt idx="8621">
                  <c:v>5.958363090853493</c:v>
                </c:pt>
                <c:pt idx="8622">
                  <c:v>6.1819297956984451</c:v>
                </c:pt>
                <c:pt idx="8623">
                  <c:v>5.1545246526787514</c:v>
                </c:pt>
                <c:pt idx="8624">
                  <c:v>6.1228947717505156</c:v>
                </c:pt>
                <c:pt idx="8625">
                  <c:v>3.8705533601701667</c:v>
                </c:pt>
                <c:pt idx="8626">
                  <c:v>5.8907487949490349</c:v>
                </c:pt>
                <c:pt idx="8627">
                  <c:v>3.9581518476929074</c:v>
                </c:pt>
                <c:pt idx="8628">
                  <c:v>4.9973305855970596</c:v>
                </c:pt>
                <c:pt idx="8629">
                  <c:v>4.8562839530065007</c:v>
                </c:pt>
                <c:pt idx="8630">
                  <c:v>6.0342497392589376</c:v>
                </c:pt>
                <c:pt idx="8631">
                  <c:v>5.1444344364263968</c:v>
                </c:pt>
                <c:pt idx="8632">
                  <c:v>5.0135507553576337</c:v>
                </c:pt>
                <c:pt idx="8633">
                  <c:v>5.0184820779842703</c:v>
                </c:pt>
                <c:pt idx="8634">
                  <c:v>5.95528005533897</c:v>
                </c:pt>
                <c:pt idx="8635">
                  <c:v>5.1872344375186108</c:v>
                </c:pt>
                <c:pt idx="8636">
                  <c:v>5.95584709534839</c:v>
                </c:pt>
                <c:pt idx="8637">
                  <c:v>5.9773375249643577</c:v>
                </c:pt>
                <c:pt idx="8638">
                  <c:v>4.9987895675907552</c:v>
                </c:pt>
                <c:pt idx="8639">
                  <c:v>5.0554859135195276</c:v>
                </c:pt>
                <c:pt idx="8640">
                  <c:v>5.1284486106839378</c:v>
                </c:pt>
                <c:pt idx="8641">
                  <c:v>5.9187635528354097</c:v>
                </c:pt>
                <c:pt idx="8642">
                  <c:v>6.0401102575647414</c:v>
                </c:pt>
                <c:pt idx="8643">
                  <c:v>6.2382700098573434</c:v>
                </c:pt>
                <c:pt idx="8644">
                  <c:v>5.9483781355933045</c:v>
                </c:pt>
                <c:pt idx="8645">
                  <c:v>5.92315099886223</c:v>
                </c:pt>
                <c:pt idx="8646">
                  <c:v>6.0536298071858869</c:v>
                </c:pt>
                <c:pt idx="8647">
                  <c:v>4.925184013996037</c:v>
                </c:pt>
                <c:pt idx="8648">
                  <c:v>6.1382335739421396</c:v>
                </c:pt>
                <c:pt idx="8649">
                  <c:v>5.9769882454314143</c:v>
                </c:pt>
                <c:pt idx="8650">
                  <c:v>5.2120347337745265</c:v>
                </c:pt>
                <c:pt idx="8651">
                  <c:v>5.7997625271751474</c:v>
                </c:pt>
                <c:pt idx="8652">
                  <c:v>6.1054279427430345</c:v>
                </c:pt>
                <c:pt idx="8653">
                  <c:v>5.9907758332111962</c:v>
                </c:pt>
                <c:pt idx="8654">
                  <c:v>5.019051008754766</c:v>
                </c:pt>
                <c:pt idx="8655">
                  <c:v>5.0440730930592315</c:v>
                </c:pt>
                <c:pt idx="8656">
                  <c:v>4.9065353737814483</c:v>
                </c:pt>
                <c:pt idx="8657">
                  <c:v>6.0416410880671947</c:v>
                </c:pt>
                <c:pt idx="8658">
                  <c:v>6.0350703922922149</c:v>
                </c:pt>
                <c:pt idx="8659">
                  <c:v>4.9333776203696651</c:v>
                </c:pt>
                <c:pt idx="8660">
                  <c:v>6.2218547562967386</c:v>
                </c:pt>
                <c:pt idx="8661">
                  <c:v>6.0414465260995218</c:v>
                </c:pt>
                <c:pt idx="8662">
                  <c:v>6.0488575517084575</c:v>
                </c:pt>
                <c:pt idx="8663">
                  <c:v>6.0075321424498371</c:v>
                </c:pt>
                <c:pt idx="8664">
                  <c:v>4.9850299860935241</c:v>
                </c:pt>
                <c:pt idx="8665">
                  <c:v>7.07876628249217</c:v>
                </c:pt>
                <c:pt idx="8666">
                  <c:v>5.8820148425571208</c:v>
                </c:pt>
                <c:pt idx="8667">
                  <c:v>6.0431323023552652</c:v>
                </c:pt>
                <c:pt idx="8668">
                  <c:v>5.9143244638126538</c:v>
                </c:pt>
                <c:pt idx="8669">
                  <c:v>6.9478175409705658</c:v>
                </c:pt>
                <c:pt idx="8670">
                  <c:v>6.0543076176858506</c:v>
                </c:pt>
                <c:pt idx="8671">
                  <c:v>5.8653789420236375</c:v>
                </c:pt>
                <c:pt idx="8672">
                  <c:v>5.0893853893104053</c:v>
                </c:pt>
                <c:pt idx="8673">
                  <c:v>5.9073699102402371</c:v>
                </c:pt>
                <c:pt idx="8674">
                  <c:v>4.953087101344833</c:v>
                </c:pt>
                <c:pt idx="8675">
                  <c:v>5.8887192381777806</c:v>
                </c:pt>
                <c:pt idx="8676">
                  <c:v>5.8742626206037682</c:v>
                </c:pt>
                <c:pt idx="8677">
                  <c:v>6.0596234434833969</c:v>
                </c:pt>
                <c:pt idx="8678">
                  <c:v>6.0926463908066228</c:v>
                </c:pt>
                <c:pt idx="8679">
                  <c:v>4.9139183759319272</c:v>
                </c:pt>
                <c:pt idx="8680">
                  <c:v>4.8092725837128043</c:v>
                </c:pt>
                <c:pt idx="8681">
                  <c:v>5.9250031964894827</c:v>
                </c:pt>
                <c:pt idx="8682">
                  <c:v>7.2536942339240156</c:v>
                </c:pt>
                <c:pt idx="8683">
                  <c:v>5.8946551710303803</c:v>
                </c:pt>
                <c:pt idx="8684">
                  <c:v>6.0057955267584582</c:v>
                </c:pt>
                <c:pt idx="8685">
                  <c:v>6.0374484794512151</c:v>
                </c:pt>
                <c:pt idx="8686">
                  <c:v>5.0164125271849951</c:v>
                </c:pt>
                <c:pt idx="8687">
                  <c:v>4.8747725650489082</c:v>
                </c:pt>
                <c:pt idx="8688">
                  <c:v>5.0111548548642428</c:v>
                </c:pt>
                <c:pt idx="8689">
                  <c:v>6.0677613747007477</c:v>
                </c:pt>
                <c:pt idx="8690">
                  <c:v>6.0849809899102691</c:v>
                </c:pt>
                <c:pt idx="8691">
                  <c:v>6.0138145481798766</c:v>
                </c:pt>
                <c:pt idx="8692">
                  <c:v>5.0262065874220339</c:v>
                </c:pt>
                <c:pt idx="8693">
                  <c:v>6.0483182215904439</c:v>
                </c:pt>
                <c:pt idx="8694">
                  <c:v>5.8648152414103825</c:v>
                </c:pt>
                <c:pt idx="8695">
                  <c:v>6.0426848768789707</c:v>
                </c:pt>
                <c:pt idx="8696">
                  <c:v>5.9911409596000977</c:v>
                </c:pt>
                <c:pt idx="8697">
                  <c:v>4.8909034080435969</c:v>
                </c:pt>
                <c:pt idx="8698">
                  <c:v>5.9474943011356602</c:v>
                </c:pt>
                <c:pt idx="8699">
                  <c:v>4.9930257470703516</c:v>
                </c:pt>
                <c:pt idx="8700">
                  <c:v>6.0156267277643183</c:v>
                </c:pt>
                <c:pt idx="8701">
                  <c:v>4.8875072912373918</c:v>
                </c:pt>
                <c:pt idx="8702">
                  <c:v>5.9779436582639915</c:v>
                </c:pt>
                <c:pt idx="8703">
                  <c:v>5.8418072274701096</c:v>
                </c:pt>
                <c:pt idx="8704">
                  <c:v>5.0669583857191967</c:v>
                </c:pt>
                <c:pt idx="8705">
                  <c:v>4.9924745732745981</c:v>
                </c:pt>
                <c:pt idx="8706">
                  <c:v>6.0969154508043495</c:v>
                </c:pt>
                <c:pt idx="8707">
                  <c:v>5.0988492490616215</c:v>
                </c:pt>
                <c:pt idx="8708">
                  <c:v>5.8918431829983273</c:v>
                </c:pt>
                <c:pt idx="8709">
                  <c:v>5.8337357658711886</c:v>
                </c:pt>
                <c:pt idx="8710">
                  <c:v>5.9424382532099731</c:v>
                </c:pt>
                <c:pt idx="8711">
                  <c:v>5.8910263641353255</c:v>
                </c:pt>
                <c:pt idx="8712">
                  <c:v>6.8254504818670556</c:v>
                </c:pt>
                <c:pt idx="8713">
                  <c:v>7.0788322979188747</c:v>
                </c:pt>
                <c:pt idx="8714">
                  <c:v>4.8840959805100219</c:v>
                </c:pt>
                <c:pt idx="8715">
                  <c:v>4.8771433669937148</c:v>
                </c:pt>
                <c:pt idx="8716">
                  <c:v>5.1111986753938536</c:v>
                </c:pt>
                <c:pt idx="8717">
                  <c:v>4.8296682959213983</c:v>
                </c:pt>
                <c:pt idx="8718">
                  <c:v>5.019887631716152</c:v>
                </c:pt>
                <c:pt idx="8719">
                  <c:v>5.862446686844585</c:v>
                </c:pt>
                <c:pt idx="8720">
                  <c:v>5.2247968901342245</c:v>
                </c:pt>
                <c:pt idx="8721">
                  <c:v>5.9803025499358462</c:v>
                </c:pt>
                <c:pt idx="8722">
                  <c:v>5.9979240286093365</c:v>
                </c:pt>
                <c:pt idx="8723">
                  <c:v>5.0025799080902074</c:v>
                </c:pt>
                <c:pt idx="8724">
                  <c:v>5.0287215180118991</c:v>
                </c:pt>
                <c:pt idx="8725">
                  <c:v>6.0740758187940278</c:v>
                </c:pt>
                <c:pt idx="8726">
                  <c:v>5.9899739486462433</c:v>
                </c:pt>
                <c:pt idx="8727">
                  <c:v>6.0811982517110525</c:v>
                </c:pt>
                <c:pt idx="8728">
                  <c:v>6.0828060194702402</c:v>
                </c:pt>
                <c:pt idx="8729">
                  <c:v>4.9520715600068401</c:v>
                </c:pt>
                <c:pt idx="8730">
                  <c:v>5.0866395580895656</c:v>
                </c:pt>
                <c:pt idx="8731">
                  <c:v>4.7938340760952682</c:v>
                </c:pt>
                <c:pt idx="8732">
                  <c:v>5.2833510162991093</c:v>
                </c:pt>
                <c:pt idx="8733">
                  <c:v>4.9470115734526239</c:v>
                </c:pt>
                <c:pt idx="8734">
                  <c:v>6.7908593530327686</c:v>
                </c:pt>
                <c:pt idx="8735">
                  <c:v>5.9405080109278892</c:v>
                </c:pt>
                <c:pt idx="8736">
                  <c:v>5.089007320914579</c:v>
                </c:pt>
                <c:pt idx="8737">
                  <c:v>6.0019491325629222</c:v>
                </c:pt>
                <c:pt idx="8738">
                  <c:v>4.989596858800553</c:v>
                </c:pt>
                <c:pt idx="8739">
                  <c:v>5.0301678715493656</c:v>
                </c:pt>
                <c:pt idx="8740">
                  <c:v>4.9767511993538145</c:v>
                </c:pt>
                <c:pt idx="8741">
                  <c:v>6.0474088616342714</c:v>
                </c:pt>
                <c:pt idx="8742">
                  <c:v>6.042191388702947</c:v>
                </c:pt>
                <c:pt idx="8743">
                  <c:v>5.9217643426612669</c:v>
                </c:pt>
                <c:pt idx="8744">
                  <c:v>6.1419457391407812</c:v>
                </c:pt>
                <c:pt idx="8745">
                  <c:v>5.0444963002974266</c:v>
                </c:pt>
                <c:pt idx="8746">
                  <c:v>5.9306631129215663</c:v>
                </c:pt>
                <c:pt idx="8747">
                  <c:v>5.9132623569798906</c:v>
                </c:pt>
                <c:pt idx="8748">
                  <c:v>4.9852756042166204</c:v>
                </c:pt>
                <c:pt idx="8749">
                  <c:v>5.8714622415564017</c:v>
                </c:pt>
                <c:pt idx="8750">
                  <c:v>6.2289211797650363</c:v>
                </c:pt>
                <c:pt idx="8751">
                  <c:v>5.9844654473586605</c:v>
                </c:pt>
                <c:pt idx="8752">
                  <c:v>5.9291255170167769</c:v>
                </c:pt>
                <c:pt idx="8753">
                  <c:v>5.8813900876621865</c:v>
                </c:pt>
                <c:pt idx="8754">
                  <c:v>5.1219609232308816</c:v>
                </c:pt>
                <c:pt idx="8755">
                  <c:v>4.9453285543364212</c:v>
                </c:pt>
                <c:pt idx="8756">
                  <c:v>6.0189080672336663</c:v>
                </c:pt>
                <c:pt idx="8757">
                  <c:v>5.9421789078271683</c:v>
                </c:pt>
                <c:pt idx="8758">
                  <c:v>4.8970356979421732</c:v>
                </c:pt>
                <c:pt idx="8759">
                  <c:v>6.8773255983059194</c:v>
                </c:pt>
                <c:pt idx="8760">
                  <c:v>5.9695040710112135</c:v>
                </c:pt>
                <c:pt idx="8761">
                  <c:v>6.14962817211428</c:v>
                </c:pt>
                <c:pt idx="8762">
                  <c:v>4.9819399076926256</c:v>
                </c:pt>
                <c:pt idx="8763">
                  <c:v>5.9652062325366852</c:v>
                </c:pt>
                <c:pt idx="8764">
                  <c:v>5.1624853106710216</c:v>
                </c:pt>
                <c:pt idx="8765">
                  <c:v>4.8096400088246662</c:v>
                </c:pt>
                <c:pt idx="8766">
                  <c:v>3.9514521768821487</c:v>
                </c:pt>
                <c:pt idx="8767">
                  <c:v>5.9764553667764062</c:v>
                </c:pt>
                <c:pt idx="8768">
                  <c:v>4.8735824614327798</c:v>
                </c:pt>
                <c:pt idx="8769">
                  <c:v>4.9811409956019279</c:v>
                </c:pt>
                <c:pt idx="8770">
                  <c:v>6.1105470334615504</c:v>
                </c:pt>
                <c:pt idx="8771">
                  <c:v>3.9865194874625054</c:v>
                </c:pt>
                <c:pt idx="8772">
                  <c:v>6.0771009281107959</c:v>
                </c:pt>
                <c:pt idx="8773">
                  <c:v>5.9516119829768446</c:v>
                </c:pt>
                <c:pt idx="8774">
                  <c:v>5.9055736914106527</c:v>
                </c:pt>
                <c:pt idx="8775">
                  <c:v>4.8780950864683756</c:v>
                </c:pt>
                <c:pt idx="8776">
                  <c:v>5.9083301562604822</c:v>
                </c:pt>
                <c:pt idx="8777">
                  <c:v>4.9785285323346633</c:v>
                </c:pt>
                <c:pt idx="8778">
                  <c:v>6.0024123375132055</c:v>
                </c:pt>
                <c:pt idx="8779">
                  <c:v>5.0007987432760297</c:v>
                </c:pt>
                <c:pt idx="8780">
                  <c:v>5.0235542967704463</c:v>
                </c:pt>
                <c:pt idx="8781">
                  <c:v>5.0163850502131515</c:v>
                </c:pt>
                <c:pt idx="8782">
                  <c:v>4.9655277212367244</c:v>
                </c:pt>
                <c:pt idx="8783">
                  <c:v>4.9767737484589576</c:v>
                </c:pt>
                <c:pt idx="8784">
                  <c:v>5.0433075986582923</c:v>
                </c:pt>
                <c:pt idx="8785">
                  <c:v>5.8762778967960312</c:v>
                </c:pt>
                <c:pt idx="8786">
                  <c:v>5.9488403023061478</c:v>
                </c:pt>
                <c:pt idx="8787">
                  <c:v>5.9338354125328818</c:v>
                </c:pt>
                <c:pt idx="8788">
                  <c:v>4.8764244429576964</c:v>
                </c:pt>
                <c:pt idx="8789">
                  <c:v>6.0174951945037423</c:v>
                </c:pt>
                <c:pt idx="8790">
                  <c:v>5.0000816012209848</c:v>
                </c:pt>
                <c:pt idx="8791">
                  <c:v>4.9472260941439004</c:v>
                </c:pt>
                <c:pt idx="8792">
                  <c:v>4.9847135017627426</c:v>
                </c:pt>
                <c:pt idx="8793">
                  <c:v>5.9794540487672752</c:v>
                </c:pt>
                <c:pt idx="8794">
                  <c:v>4.9555663833733785</c:v>
                </c:pt>
                <c:pt idx="8795">
                  <c:v>5.1570674385942503</c:v>
                </c:pt>
                <c:pt idx="8796">
                  <c:v>5.9055361495689134</c:v>
                </c:pt>
                <c:pt idx="8797">
                  <c:v>5.9442846102463056</c:v>
                </c:pt>
                <c:pt idx="8798">
                  <c:v>6.9097718034336326</c:v>
                </c:pt>
                <c:pt idx="8799">
                  <c:v>4.9738850458537387</c:v>
                </c:pt>
                <c:pt idx="8800">
                  <c:v>7.1488123260203196</c:v>
                </c:pt>
                <c:pt idx="8801">
                  <c:v>5.0148110286032859</c:v>
                </c:pt>
                <c:pt idx="8802">
                  <c:v>4.7627589891861382</c:v>
                </c:pt>
                <c:pt idx="8803">
                  <c:v>5.9389342226757691</c:v>
                </c:pt>
                <c:pt idx="8804">
                  <c:v>4.8427389233569231</c:v>
                </c:pt>
                <c:pt idx="8805">
                  <c:v>4.9874695707112124</c:v>
                </c:pt>
                <c:pt idx="8806">
                  <c:v>5.9324702887995802</c:v>
                </c:pt>
                <c:pt idx="8807">
                  <c:v>5.0338899394662651</c:v>
                </c:pt>
                <c:pt idx="8808">
                  <c:v>5.9986535814607365</c:v>
                </c:pt>
                <c:pt idx="8809">
                  <c:v>6.1318777859512812</c:v>
                </c:pt>
                <c:pt idx="8810">
                  <c:v>5.9113853998333861</c:v>
                </c:pt>
                <c:pt idx="8811">
                  <c:v>5.9756755897666007</c:v>
                </c:pt>
                <c:pt idx="8812">
                  <c:v>5.0792780832426736</c:v>
                </c:pt>
                <c:pt idx="8813">
                  <c:v>6.0417599916649998</c:v>
                </c:pt>
                <c:pt idx="8814">
                  <c:v>5.9030703183784317</c:v>
                </c:pt>
                <c:pt idx="8815">
                  <c:v>5.9503422492765594</c:v>
                </c:pt>
                <c:pt idx="8816">
                  <c:v>5.9384910991733841</c:v>
                </c:pt>
                <c:pt idx="8817">
                  <c:v>5.9851732681532752</c:v>
                </c:pt>
                <c:pt idx="8818">
                  <c:v>5.8637308186117476</c:v>
                </c:pt>
                <c:pt idx="8819">
                  <c:v>4.922462289270964</c:v>
                </c:pt>
                <c:pt idx="8820">
                  <c:v>5.9461232716342538</c:v>
                </c:pt>
                <c:pt idx="8821">
                  <c:v>5.9451500578962282</c:v>
                </c:pt>
                <c:pt idx="8822">
                  <c:v>5.7756854112952611</c:v>
                </c:pt>
                <c:pt idx="8823">
                  <c:v>6.0291624010067375</c:v>
                </c:pt>
                <c:pt idx="8824">
                  <c:v>4.9488761957890652</c:v>
                </c:pt>
                <c:pt idx="8825">
                  <c:v>5.0855262493617781</c:v>
                </c:pt>
                <c:pt idx="8826">
                  <c:v>5.0451390423789997</c:v>
                </c:pt>
                <c:pt idx="8827">
                  <c:v>6.0047467570540194</c:v>
                </c:pt>
                <c:pt idx="8828">
                  <c:v>6.9903749377734536</c:v>
                </c:pt>
                <c:pt idx="8829">
                  <c:v>5.8148885545374212</c:v>
                </c:pt>
                <c:pt idx="8830">
                  <c:v>6.0845163487578064</c:v>
                </c:pt>
                <c:pt idx="8831">
                  <c:v>7.1001252439315081</c:v>
                </c:pt>
                <c:pt idx="8832">
                  <c:v>6.0516677752430432</c:v>
                </c:pt>
                <c:pt idx="8833">
                  <c:v>6.1290077042783286</c:v>
                </c:pt>
                <c:pt idx="8834">
                  <c:v>4.9170744596975871</c:v>
                </c:pt>
                <c:pt idx="8835">
                  <c:v>6.9003431249069545</c:v>
                </c:pt>
                <c:pt idx="8836">
                  <c:v>6.1169456663574486</c:v>
                </c:pt>
                <c:pt idx="8837">
                  <c:v>6.1249253306071383</c:v>
                </c:pt>
                <c:pt idx="8838">
                  <c:v>7.0413649460190939</c:v>
                </c:pt>
                <c:pt idx="8839">
                  <c:v>5.9176359818301174</c:v>
                </c:pt>
                <c:pt idx="8840">
                  <c:v>6.089222413825742</c:v>
                </c:pt>
                <c:pt idx="8841">
                  <c:v>5.8516917490334928</c:v>
                </c:pt>
                <c:pt idx="8842">
                  <c:v>6.0952017437767987</c:v>
                </c:pt>
                <c:pt idx="8843">
                  <c:v>5.1423333258721833</c:v>
                </c:pt>
                <c:pt idx="8844">
                  <c:v>5.8512696556928345</c:v>
                </c:pt>
                <c:pt idx="8845">
                  <c:v>5.882040853108915</c:v>
                </c:pt>
                <c:pt idx="8846">
                  <c:v>6.0113743019529791</c:v>
                </c:pt>
                <c:pt idx="8847">
                  <c:v>7.1677972693278003</c:v>
                </c:pt>
                <c:pt idx="8848">
                  <c:v>6.0858193514792021</c:v>
                </c:pt>
                <c:pt idx="8849">
                  <c:v>5.9959371319028687</c:v>
                </c:pt>
                <c:pt idx="8850">
                  <c:v>6.1362992403759202</c:v>
                </c:pt>
                <c:pt idx="8851">
                  <c:v>6.0727792889163057</c:v>
                </c:pt>
                <c:pt idx="8852">
                  <c:v>6.0340127166132822</c:v>
                </c:pt>
                <c:pt idx="8853">
                  <c:v>5.0145953690920022</c:v>
                </c:pt>
                <c:pt idx="8854">
                  <c:v>5.9196259243851905</c:v>
                </c:pt>
                <c:pt idx="8855">
                  <c:v>6.0544734907731277</c:v>
                </c:pt>
                <c:pt idx="8856">
                  <c:v>5.124451745858984</c:v>
                </c:pt>
                <c:pt idx="8857">
                  <c:v>6.014734416683674</c:v>
                </c:pt>
                <c:pt idx="8858">
                  <c:v>4.9173580279498914</c:v>
                </c:pt>
                <c:pt idx="8859">
                  <c:v>6.0415012241262946</c:v>
                </c:pt>
                <c:pt idx="8860">
                  <c:v>4.9768691952928492</c:v>
                </c:pt>
                <c:pt idx="8861">
                  <c:v>7.1094124461742298</c:v>
                </c:pt>
                <c:pt idx="8862">
                  <c:v>6.0115464950537891</c:v>
                </c:pt>
                <c:pt idx="8863">
                  <c:v>5.9488530065759528</c:v>
                </c:pt>
                <c:pt idx="8864">
                  <c:v>5.9719063917193056</c:v>
                </c:pt>
                <c:pt idx="8865">
                  <c:v>6.0007478693205263</c:v>
                </c:pt>
                <c:pt idx="8866">
                  <c:v>6.0748896904432792</c:v>
                </c:pt>
                <c:pt idx="8867">
                  <c:v>5.0222456969876017</c:v>
                </c:pt>
                <c:pt idx="8868">
                  <c:v>6.8259541991913437</c:v>
                </c:pt>
                <c:pt idx="8869">
                  <c:v>6.0773187723593116</c:v>
                </c:pt>
                <c:pt idx="8870">
                  <c:v>4.9841907464099071</c:v>
                </c:pt>
                <c:pt idx="8871">
                  <c:v>6.0557252123173209</c:v>
                </c:pt>
                <c:pt idx="8872">
                  <c:v>6.1143733224437753</c:v>
                </c:pt>
                <c:pt idx="8873">
                  <c:v>4.8852015096540535</c:v>
                </c:pt>
                <c:pt idx="8874">
                  <c:v>4.9744113984696527</c:v>
                </c:pt>
                <c:pt idx="8875">
                  <c:v>5.0247380749300392</c:v>
                </c:pt>
                <c:pt idx="8876">
                  <c:v>5.9536660448212482</c:v>
                </c:pt>
                <c:pt idx="8877">
                  <c:v>3.7731593052021335</c:v>
                </c:pt>
                <c:pt idx="8878">
                  <c:v>4.9492856658062232</c:v>
                </c:pt>
                <c:pt idx="8879">
                  <c:v>5.884511727460505</c:v>
                </c:pt>
                <c:pt idx="8880">
                  <c:v>4.7732695634732556</c:v>
                </c:pt>
                <c:pt idx="8881">
                  <c:v>4.9495460049118289</c:v>
                </c:pt>
                <c:pt idx="8882">
                  <c:v>5.814169670771097</c:v>
                </c:pt>
                <c:pt idx="8883">
                  <c:v>5.9851635269746177</c:v>
                </c:pt>
                <c:pt idx="8884">
                  <c:v>4.970005070806347</c:v>
                </c:pt>
                <c:pt idx="8885">
                  <c:v>5.9119887568425469</c:v>
                </c:pt>
                <c:pt idx="8886">
                  <c:v>4.9879619844308252</c:v>
                </c:pt>
                <c:pt idx="8887">
                  <c:v>6.0527584674740016</c:v>
                </c:pt>
                <c:pt idx="8888">
                  <c:v>4.9205074383091683</c:v>
                </c:pt>
                <c:pt idx="8889">
                  <c:v>4.9759109246056052</c:v>
                </c:pt>
                <c:pt idx="8890">
                  <c:v>5.8594945212769058</c:v>
                </c:pt>
                <c:pt idx="8891">
                  <c:v>5.9117052231665994</c:v>
                </c:pt>
                <c:pt idx="8892">
                  <c:v>5.2553529260331162</c:v>
                </c:pt>
                <c:pt idx="8893">
                  <c:v>4.9295466371667898</c:v>
                </c:pt>
                <c:pt idx="8894">
                  <c:v>5.9730704102502115</c:v>
                </c:pt>
                <c:pt idx="8895">
                  <c:v>5.9826044478001572</c:v>
                </c:pt>
                <c:pt idx="8896">
                  <c:v>5.9517455366520293</c:v>
                </c:pt>
                <c:pt idx="8897">
                  <c:v>4.925274551524085</c:v>
                </c:pt>
                <c:pt idx="8898">
                  <c:v>4.9215410302816576</c:v>
                </c:pt>
                <c:pt idx="8899">
                  <c:v>4.9782052922835902</c:v>
                </c:pt>
                <c:pt idx="8900">
                  <c:v>4.9896483017292157</c:v>
                </c:pt>
                <c:pt idx="8901">
                  <c:v>5.9592144528115885</c:v>
                </c:pt>
                <c:pt idx="8902">
                  <c:v>6.035931663320584</c:v>
                </c:pt>
                <c:pt idx="8903">
                  <c:v>5.0228795905736101</c:v>
                </c:pt>
                <c:pt idx="8904">
                  <c:v>5.8966881716815447</c:v>
                </c:pt>
                <c:pt idx="8905">
                  <c:v>5.0178998583234646</c:v>
                </c:pt>
                <c:pt idx="8906">
                  <c:v>5.0627986192284027</c:v>
                </c:pt>
                <c:pt idx="8907">
                  <c:v>5.1012396160681384</c:v>
                </c:pt>
                <c:pt idx="8908">
                  <c:v>5.0463285239472269</c:v>
                </c:pt>
                <c:pt idx="8909">
                  <c:v>5.0445349397702639</c:v>
                </c:pt>
                <c:pt idx="8910">
                  <c:v>5.8944307538211484</c:v>
                </c:pt>
                <c:pt idx="8911">
                  <c:v>6.1581320380736431</c:v>
                </c:pt>
                <c:pt idx="8912">
                  <c:v>5.2511537652572819</c:v>
                </c:pt>
                <c:pt idx="8913">
                  <c:v>4.8242575522521296</c:v>
                </c:pt>
                <c:pt idx="8914">
                  <c:v>5.8844403282262912</c:v>
                </c:pt>
                <c:pt idx="8915">
                  <c:v>6.0948884255675333</c:v>
                </c:pt>
                <c:pt idx="8916">
                  <c:v>5.7591658185665198</c:v>
                </c:pt>
                <c:pt idx="8917">
                  <c:v>4.8849090525621168</c:v>
                </c:pt>
                <c:pt idx="8918">
                  <c:v>3.0417316075435705</c:v>
                </c:pt>
                <c:pt idx="8919">
                  <c:v>5.9155937964026037</c:v>
                </c:pt>
                <c:pt idx="8920">
                  <c:v>7.0560297629184454</c:v>
                </c:pt>
                <c:pt idx="8921">
                  <c:v>6.006894109819461</c:v>
                </c:pt>
                <c:pt idx="8922">
                  <c:v>5.9991079180186855</c:v>
                </c:pt>
                <c:pt idx="8923">
                  <c:v>6.8546107272963903</c:v>
                </c:pt>
                <c:pt idx="8924">
                  <c:v>5.9567277552288882</c:v>
                </c:pt>
                <c:pt idx="8925">
                  <c:v>4.9636753677941634</c:v>
                </c:pt>
                <c:pt idx="8926">
                  <c:v>4.953499612636624</c:v>
                </c:pt>
                <c:pt idx="8927">
                  <c:v>4.9335018957274865</c:v>
                </c:pt>
                <c:pt idx="8928">
                  <c:v>5.0489298055190321</c:v>
                </c:pt>
                <c:pt idx="8929">
                  <c:v>5.9308697973986915</c:v>
                </c:pt>
                <c:pt idx="8930">
                  <c:v>5.0141776845996597</c:v>
                </c:pt>
                <c:pt idx="8931">
                  <c:v>4.8832758697018877</c:v>
                </c:pt>
                <c:pt idx="8932">
                  <c:v>5.9573317958476819</c:v>
                </c:pt>
                <c:pt idx="8933">
                  <c:v>5.0916821519332673</c:v>
                </c:pt>
                <c:pt idx="8934">
                  <c:v>6.077790826378223</c:v>
                </c:pt>
                <c:pt idx="8935">
                  <c:v>6.088469353147727</c:v>
                </c:pt>
                <c:pt idx="8936">
                  <c:v>5.1312443981569595</c:v>
                </c:pt>
                <c:pt idx="8937">
                  <c:v>6.908360984075931</c:v>
                </c:pt>
                <c:pt idx="8938">
                  <c:v>6.9531523397983506</c:v>
                </c:pt>
                <c:pt idx="8939">
                  <c:v>7.031109680654378</c:v>
                </c:pt>
                <c:pt idx="8940">
                  <c:v>4.970705741918235</c:v>
                </c:pt>
                <c:pt idx="8941">
                  <c:v>5.925304502303673</c:v>
                </c:pt>
                <c:pt idx="8942">
                  <c:v>7.1378900332705477</c:v>
                </c:pt>
                <c:pt idx="8943">
                  <c:v>4.871879160956599</c:v>
                </c:pt>
                <c:pt idx="8944">
                  <c:v>5.7625875140566398</c:v>
                </c:pt>
                <c:pt idx="8945">
                  <c:v>5.0070813390570255</c:v>
                </c:pt>
                <c:pt idx="8946">
                  <c:v>6.0725648131232042</c:v>
                </c:pt>
                <c:pt idx="8947">
                  <c:v>6.1183700265981154</c:v>
                </c:pt>
                <c:pt idx="8948">
                  <c:v>5.9322675028883234</c:v>
                </c:pt>
                <c:pt idx="8949">
                  <c:v>4.9907387755483468</c:v>
                </c:pt>
                <c:pt idx="8950">
                  <c:v>4.9770265191051344</c:v>
                </c:pt>
                <c:pt idx="8951">
                  <c:v>4.9599199481932157</c:v>
                </c:pt>
                <c:pt idx="8952">
                  <c:v>6.0781585824865072</c:v>
                </c:pt>
                <c:pt idx="8953">
                  <c:v>5.9886525263207773</c:v>
                </c:pt>
                <c:pt idx="8954">
                  <c:v>5.0054920277589812</c:v>
                </c:pt>
                <c:pt idx="8955">
                  <c:v>4.9281136613426462</c:v>
                </c:pt>
                <c:pt idx="8956">
                  <c:v>7.0821504197658163</c:v>
                </c:pt>
                <c:pt idx="8957">
                  <c:v>4.966216283814199</c:v>
                </c:pt>
                <c:pt idx="8958">
                  <c:v>6.0128557944968781</c:v>
                </c:pt>
                <c:pt idx="8959">
                  <c:v>6.0674141852877455</c:v>
                </c:pt>
                <c:pt idx="8960">
                  <c:v>6.0513251425568271</c:v>
                </c:pt>
                <c:pt idx="8961">
                  <c:v>4.8671015293472628</c:v>
                </c:pt>
                <c:pt idx="8962">
                  <c:v>5.9464276931719198</c:v>
                </c:pt>
                <c:pt idx="8963">
                  <c:v>6.0368601487682714</c:v>
                </c:pt>
                <c:pt idx="8964">
                  <c:v>6.8832039055174983</c:v>
                </c:pt>
                <c:pt idx="8965">
                  <c:v>6.0159543404029563</c:v>
                </c:pt>
                <c:pt idx="8966">
                  <c:v>6.0140475133775464</c:v>
                </c:pt>
                <c:pt idx="8967">
                  <c:v>5.9888633133187623</c:v>
                </c:pt>
                <c:pt idx="8968">
                  <c:v>5.0715904250828094</c:v>
                </c:pt>
                <c:pt idx="8969">
                  <c:v>4.7838591717886541</c:v>
                </c:pt>
                <c:pt idx="8970">
                  <c:v>4.9851545340666847</c:v>
                </c:pt>
                <c:pt idx="8971">
                  <c:v>6.1115158433812891</c:v>
                </c:pt>
                <c:pt idx="8972">
                  <c:v>4.9679927744243342</c:v>
                </c:pt>
                <c:pt idx="8973">
                  <c:v>5.0658166108632496</c:v>
                </c:pt>
                <c:pt idx="8974">
                  <c:v>6.0549210265657107</c:v>
                </c:pt>
                <c:pt idx="8975">
                  <c:v>5.2183820477416072</c:v>
                </c:pt>
                <c:pt idx="8976">
                  <c:v>4.9688148387822553</c:v>
                </c:pt>
                <c:pt idx="8977">
                  <c:v>5.0146088687342187</c:v>
                </c:pt>
                <c:pt idx="8978">
                  <c:v>4.9268473372481898</c:v>
                </c:pt>
                <c:pt idx="8979">
                  <c:v>5.1842334780188404</c:v>
                </c:pt>
                <c:pt idx="8980">
                  <c:v>5.1669405561357902</c:v>
                </c:pt>
                <c:pt idx="8981">
                  <c:v>5.9047229703102442</c:v>
                </c:pt>
                <c:pt idx="8982">
                  <c:v>5.0368588159101018</c:v>
                </c:pt>
                <c:pt idx="8983">
                  <c:v>4.866310833770715</c:v>
                </c:pt>
                <c:pt idx="8984">
                  <c:v>4.9372099392479072</c:v>
                </c:pt>
                <c:pt idx="8985">
                  <c:v>5.9365202584549257</c:v>
                </c:pt>
                <c:pt idx="8986">
                  <c:v>4.9714217584653326</c:v>
                </c:pt>
                <c:pt idx="8987">
                  <c:v>5.8505629590717536</c:v>
                </c:pt>
                <c:pt idx="8988">
                  <c:v>5.7993490591359187</c:v>
                </c:pt>
                <c:pt idx="8989">
                  <c:v>5.0344144154934822</c:v>
                </c:pt>
                <c:pt idx="8990">
                  <c:v>5.1957573503055823</c:v>
                </c:pt>
                <c:pt idx="8991">
                  <c:v>4.9399661670928481</c:v>
                </c:pt>
                <c:pt idx="8992">
                  <c:v>4.8953702538380561</c:v>
                </c:pt>
                <c:pt idx="8993">
                  <c:v>4.6775585619286071</c:v>
                </c:pt>
                <c:pt idx="8994">
                  <c:v>4.9320172951500529</c:v>
                </c:pt>
                <c:pt idx="8995">
                  <c:v>4.802303891449915</c:v>
                </c:pt>
                <c:pt idx="8996">
                  <c:v>6.8009559177307848</c:v>
                </c:pt>
                <c:pt idx="8997">
                  <c:v>5.0163778197024298</c:v>
                </c:pt>
                <c:pt idx="8998">
                  <c:v>5.1460270807241573</c:v>
                </c:pt>
                <c:pt idx="8999">
                  <c:v>5.0056660372278987</c:v>
                </c:pt>
                <c:pt idx="9000">
                  <c:v>4.9334224068064279</c:v>
                </c:pt>
                <c:pt idx="9001">
                  <c:v>6.0135375786594389</c:v>
                </c:pt>
                <c:pt idx="9002">
                  <c:v>5.1038324170688378</c:v>
                </c:pt>
                <c:pt idx="9003">
                  <c:v>5.843749744533242</c:v>
                </c:pt>
                <c:pt idx="9004">
                  <c:v>5.0593684138652772</c:v>
                </c:pt>
                <c:pt idx="9005">
                  <c:v>5.0138448025433684</c:v>
                </c:pt>
                <c:pt idx="9006">
                  <c:v>5.0222467990364361</c:v>
                </c:pt>
                <c:pt idx="9007">
                  <c:v>5.0278446683251401</c:v>
                </c:pt>
                <c:pt idx="9008">
                  <c:v>4.8642642547152368</c:v>
                </c:pt>
                <c:pt idx="9009">
                  <c:v>5.126455350658973</c:v>
                </c:pt>
                <c:pt idx="9010">
                  <c:v>6.1348318419311143</c:v>
                </c:pt>
                <c:pt idx="9011">
                  <c:v>4.9308025172380754</c:v>
                </c:pt>
                <c:pt idx="9012">
                  <c:v>6.8756577081345363</c:v>
                </c:pt>
                <c:pt idx="9013">
                  <c:v>5.1872827418810195</c:v>
                </c:pt>
                <c:pt idx="9014">
                  <c:v>6.0149443642299003</c:v>
                </c:pt>
                <c:pt idx="9015">
                  <c:v>5.0438475982134987</c:v>
                </c:pt>
                <c:pt idx="9016">
                  <c:v>5.0538219235693722</c:v>
                </c:pt>
                <c:pt idx="9017">
                  <c:v>4.972951820749242</c:v>
                </c:pt>
                <c:pt idx="9018">
                  <c:v>5.0531168595450948</c:v>
                </c:pt>
                <c:pt idx="9019">
                  <c:v>5.113972343779519</c:v>
                </c:pt>
                <c:pt idx="9020">
                  <c:v>4.9418308381639724</c:v>
                </c:pt>
                <c:pt idx="9021">
                  <c:v>5.0444206134694003</c:v>
                </c:pt>
                <c:pt idx="9022">
                  <c:v>5.2286875612549863</c:v>
                </c:pt>
                <c:pt idx="9023">
                  <c:v>4.9662796145772559</c:v>
                </c:pt>
                <c:pt idx="9024">
                  <c:v>5.0700505712137804</c:v>
                </c:pt>
                <c:pt idx="9025">
                  <c:v>5.0740813838675054</c:v>
                </c:pt>
                <c:pt idx="9026">
                  <c:v>5.9120551457661854</c:v>
                </c:pt>
                <c:pt idx="9027">
                  <c:v>5.0125742331782179</c:v>
                </c:pt>
                <c:pt idx="9028">
                  <c:v>4.7846506853315818</c:v>
                </c:pt>
                <c:pt idx="9029">
                  <c:v>4.9877166534443615</c:v>
                </c:pt>
                <c:pt idx="9030">
                  <c:v>4.995518972837405</c:v>
                </c:pt>
                <c:pt idx="9031">
                  <c:v>4.8762032765782557</c:v>
                </c:pt>
                <c:pt idx="9032">
                  <c:v>5.985164294584882</c:v>
                </c:pt>
                <c:pt idx="9033">
                  <c:v>5.0062172228331763</c:v>
                </c:pt>
                <c:pt idx="9034">
                  <c:v>5.0913322377432761</c:v>
                </c:pt>
                <c:pt idx="9035">
                  <c:v>6.2546835679391179</c:v>
                </c:pt>
                <c:pt idx="9036">
                  <c:v>6.1320827950556671</c:v>
                </c:pt>
                <c:pt idx="9037">
                  <c:v>6.0648055256201712</c:v>
                </c:pt>
                <c:pt idx="9038">
                  <c:v>5.0011358926228304</c:v>
                </c:pt>
                <c:pt idx="9039">
                  <c:v>5.090930156361698</c:v>
                </c:pt>
                <c:pt idx="9040">
                  <c:v>5.8141814271804275</c:v>
                </c:pt>
                <c:pt idx="9041">
                  <c:v>5.9627561989716709</c:v>
                </c:pt>
                <c:pt idx="9042">
                  <c:v>4.9434419848715896</c:v>
                </c:pt>
                <c:pt idx="9043">
                  <c:v>4.9494354692197566</c:v>
                </c:pt>
                <c:pt idx="9044">
                  <c:v>5.1122014574526817</c:v>
                </c:pt>
                <c:pt idx="9045">
                  <c:v>4.8444645521952658</c:v>
                </c:pt>
                <c:pt idx="9046">
                  <c:v>4.82308773173565</c:v>
                </c:pt>
                <c:pt idx="9047">
                  <c:v>5.1114208028368591</c:v>
                </c:pt>
                <c:pt idx="9048">
                  <c:v>4.9512571886083059</c:v>
                </c:pt>
                <c:pt idx="9049">
                  <c:v>4.9708532253387991</c:v>
                </c:pt>
                <c:pt idx="9050">
                  <c:v>4.9186155783103587</c:v>
                </c:pt>
                <c:pt idx="9051">
                  <c:v>5.0621793921328049</c:v>
                </c:pt>
                <c:pt idx="9052">
                  <c:v>4.8449230744175598</c:v>
                </c:pt>
                <c:pt idx="9053">
                  <c:v>6.9863987734773056</c:v>
                </c:pt>
                <c:pt idx="9054">
                  <c:v>5.9107260202850815</c:v>
                </c:pt>
                <c:pt idx="9055">
                  <c:v>5.0504381579523514</c:v>
                </c:pt>
                <c:pt idx="9056">
                  <c:v>5.9370638802187283</c:v>
                </c:pt>
                <c:pt idx="9057">
                  <c:v>5.8175574540674493</c:v>
                </c:pt>
                <c:pt idx="9058">
                  <c:v>5.056170894139048</c:v>
                </c:pt>
                <c:pt idx="9059">
                  <c:v>6.1520483186118753</c:v>
                </c:pt>
                <c:pt idx="9060">
                  <c:v>4.952193307054638</c:v>
                </c:pt>
                <c:pt idx="9061">
                  <c:v>5.0775135616007798</c:v>
                </c:pt>
                <c:pt idx="9062">
                  <c:v>4.9708561112120249</c:v>
                </c:pt>
                <c:pt idx="9063">
                  <c:v>6.0553434519526981</c:v>
                </c:pt>
                <c:pt idx="9064">
                  <c:v>5.1421498147087759</c:v>
                </c:pt>
                <c:pt idx="9065">
                  <c:v>6.0127188651160184</c:v>
                </c:pt>
                <c:pt idx="9066">
                  <c:v>5.0310793888232412</c:v>
                </c:pt>
                <c:pt idx="9067">
                  <c:v>4.8932323340180996</c:v>
                </c:pt>
                <c:pt idx="9068">
                  <c:v>5.0085968412863613</c:v>
                </c:pt>
                <c:pt idx="9069">
                  <c:v>5.9812771971881453</c:v>
                </c:pt>
                <c:pt idx="9070">
                  <c:v>4.9923524632232805</c:v>
                </c:pt>
                <c:pt idx="9071">
                  <c:v>4.96072218856634</c:v>
                </c:pt>
                <c:pt idx="9072">
                  <c:v>4.914160248334797</c:v>
                </c:pt>
                <c:pt idx="9073">
                  <c:v>4.9534865665024173</c:v>
                </c:pt>
                <c:pt idx="9074">
                  <c:v>5.8048641592293695</c:v>
                </c:pt>
                <c:pt idx="9075">
                  <c:v>5.0309259672310791</c:v>
                </c:pt>
                <c:pt idx="9076">
                  <c:v>4.9833753179317908</c:v>
                </c:pt>
                <c:pt idx="9077">
                  <c:v>5.0799698937812723</c:v>
                </c:pt>
                <c:pt idx="9078">
                  <c:v>5.0734148681805431</c:v>
                </c:pt>
                <c:pt idx="9079">
                  <c:v>6.0132168659631438</c:v>
                </c:pt>
                <c:pt idx="9080">
                  <c:v>6.1210316809146574</c:v>
                </c:pt>
                <c:pt idx="9081">
                  <c:v>5.0015280122231136</c:v>
                </c:pt>
                <c:pt idx="9082">
                  <c:v>5.0506538132393546</c:v>
                </c:pt>
                <c:pt idx="9083">
                  <c:v>5.1641262276463573</c:v>
                </c:pt>
                <c:pt idx="9084">
                  <c:v>5.8292945680320836</c:v>
                </c:pt>
                <c:pt idx="9085">
                  <c:v>5.1780246043882894</c:v>
                </c:pt>
                <c:pt idx="9086">
                  <c:v>5.8533717881315726</c:v>
                </c:pt>
                <c:pt idx="9087">
                  <c:v>5.0902328997372397</c:v>
                </c:pt>
                <c:pt idx="9088">
                  <c:v>5.0045804096432009</c:v>
                </c:pt>
                <c:pt idx="9089">
                  <c:v>4.935289204451224</c:v>
                </c:pt>
                <c:pt idx="9090">
                  <c:v>5.0846843161435427</c:v>
                </c:pt>
                <c:pt idx="9091">
                  <c:v>4.8942804559051369</c:v>
                </c:pt>
                <c:pt idx="9092">
                  <c:v>7.0327068253092602</c:v>
                </c:pt>
                <c:pt idx="9093">
                  <c:v>4.7734727163345019</c:v>
                </c:pt>
                <c:pt idx="9094">
                  <c:v>5.0604883374296028</c:v>
                </c:pt>
                <c:pt idx="9095">
                  <c:v>5.0574523655353607</c:v>
                </c:pt>
                <c:pt idx="9096">
                  <c:v>4.9990918877053447</c:v>
                </c:pt>
                <c:pt idx="9097">
                  <c:v>6.0894869564088951</c:v>
                </c:pt>
                <c:pt idx="9098">
                  <c:v>4.9707311072177269</c:v>
                </c:pt>
                <c:pt idx="9099">
                  <c:v>5.0884044981790906</c:v>
                </c:pt>
                <c:pt idx="9100">
                  <c:v>5.0013721861734464</c:v>
                </c:pt>
                <c:pt idx="9101">
                  <c:v>4.9359515392109792</c:v>
                </c:pt>
                <c:pt idx="9102">
                  <c:v>4.9602377567926519</c:v>
                </c:pt>
                <c:pt idx="9103">
                  <c:v>1.9652324905492513</c:v>
                </c:pt>
                <c:pt idx="9104">
                  <c:v>5.1492463928666972</c:v>
                </c:pt>
                <c:pt idx="9105">
                  <c:v>4.8965504043605268</c:v>
                </c:pt>
                <c:pt idx="9106">
                  <c:v>4.841921163900305</c:v>
                </c:pt>
                <c:pt idx="9107">
                  <c:v>5.0523765311961881</c:v>
                </c:pt>
                <c:pt idx="9108">
                  <c:v>6.0069974876502883</c:v>
                </c:pt>
                <c:pt idx="9109">
                  <c:v>6.0897969628800865</c:v>
                </c:pt>
                <c:pt idx="9110">
                  <c:v>4.8954345403447048</c:v>
                </c:pt>
                <c:pt idx="9111">
                  <c:v>5.0281560771016212</c:v>
                </c:pt>
                <c:pt idx="9112">
                  <c:v>4.9753767388466228</c:v>
                </c:pt>
                <c:pt idx="9113">
                  <c:v>4.9207892369803767</c:v>
                </c:pt>
                <c:pt idx="9114">
                  <c:v>5.074798942273909</c:v>
                </c:pt>
                <c:pt idx="9115">
                  <c:v>5.0060972133688209</c:v>
                </c:pt>
                <c:pt idx="9116">
                  <c:v>6.977639197093449</c:v>
                </c:pt>
                <c:pt idx="9117">
                  <c:v>4.8575126087877631</c:v>
                </c:pt>
                <c:pt idx="9118">
                  <c:v>4.9052867594186056</c:v>
                </c:pt>
                <c:pt idx="9119">
                  <c:v>5.1983405559553111</c:v>
                </c:pt>
                <c:pt idx="9120">
                  <c:v>6.0502863015253983</c:v>
                </c:pt>
                <c:pt idx="9121">
                  <c:v>5.944601635701793</c:v>
                </c:pt>
                <c:pt idx="9122">
                  <c:v>5.0579272497359469</c:v>
                </c:pt>
                <c:pt idx="9123">
                  <c:v>5.0933023876333516</c:v>
                </c:pt>
                <c:pt idx="9124">
                  <c:v>5.8157698364019668</c:v>
                </c:pt>
                <c:pt idx="9125">
                  <c:v>5.8673176689382176</c:v>
                </c:pt>
                <c:pt idx="9126">
                  <c:v>6.0654129035411515</c:v>
                </c:pt>
                <c:pt idx="9127">
                  <c:v>4.9413663250039912</c:v>
                </c:pt>
                <c:pt idx="9128">
                  <c:v>5.760665379055796</c:v>
                </c:pt>
                <c:pt idx="9129">
                  <c:v>5.1137298849021207</c:v>
                </c:pt>
                <c:pt idx="9130">
                  <c:v>5.0264623851151002</c:v>
                </c:pt>
                <c:pt idx="9131">
                  <c:v>4.8083903968351889</c:v>
                </c:pt>
                <c:pt idx="9132">
                  <c:v>4.8286850546943674</c:v>
                </c:pt>
                <c:pt idx="9133">
                  <c:v>5.1116872800569535</c:v>
                </c:pt>
                <c:pt idx="9134">
                  <c:v>5.1846179459948738</c:v>
                </c:pt>
                <c:pt idx="9135">
                  <c:v>4.979039547728477</c:v>
                </c:pt>
                <c:pt idx="9136">
                  <c:v>5.0463275338221729</c:v>
                </c:pt>
                <c:pt idx="9137">
                  <c:v>4.8864945143453342</c:v>
                </c:pt>
                <c:pt idx="9138">
                  <c:v>4.9197428142090409</c:v>
                </c:pt>
                <c:pt idx="9139">
                  <c:v>4.907203483343678</c:v>
                </c:pt>
                <c:pt idx="9140">
                  <c:v>5.92474083414454</c:v>
                </c:pt>
                <c:pt idx="9141">
                  <c:v>4.8827660657244225</c:v>
                </c:pt>
                <c:pt idx="9142">
                  <c:v>5.0257380647780865</c:v>
                </c:pt>
                <c:pt idx="9143">
                  <c:v>5.0543116663814445</c:v>
                </c:pt>
                <c:pt idx="9144">
                  <c:v>4.9336444719230128</c:v>
                </c:pt>
                <c:pt idx="9145">
                  <c:v>5.0409888858238041</c:v>
                </c:pt>
                <c:pt idx="9146">
                  <c:v>5.0181683811498603</c:v>
                </c:pt>
                <c:pt idx="9147">
                  <c:v>4.9881011456871169</c:v>
                </c:pt>
                <c:pt idx="9148">
                  <c:v>5.84338472061917</c:v>
                </c:pt>
                <c:pt idx="9149">
                  <c:v>6.9053624408949004</c:v>
                </c:pt>
                <c:pt idx="9150">
                  <c:v>5.1521105505146565</c:v>
                </c:pt>
                <c:pt idx="9151">
                  <c:v>4.9743464365385472</c:v>
                </c:pt>
                <c:pt idx="9152">
                  <c:v>5.1758905144281577</c:v>
                </c:pt>
                <c:pt idx="9153">
                  <c:v>5.8768191125167961</c:v>
                </c:pt>
                <c:pt idx="9154">
                  <c:v>5.0629539412248885</c:v>
                </c:pt>
                <c:pt idx="9155">
                  <c:v>5.9201216911733523</c:v>
                </c:pt>
                <c:pt idx="9156">
                  <c:v>4.8696771751663874</c:v>
                </c:pt>
                <c:pt idx="9157">
                  <c:v>5.0352212334509927</c:v>
                </c:pt>
                <c:pt idx="9158">
                  <c:v>5.0132644302007563</c:v>
                </c:pt>
                <c:pt idx="9159">
                  <c:v>6.1984064753421535</c:v>
                </c:pt>
                <c:pt idx="9160">
                  <c:v>4.879153099411818</c:v>
                </c:pt>
                <c:pt idx="9161">
                  <c:v>6.0035390011039631</c:v>
                </c:pt>
                <c:pt idx="9162">
                  <c:v>4.9515427052223551</c:v>
                </c:pt>
                <c:pt idx="9163">
                  <c:v>5.9990862108375849</c:v>
                </c:pt>
                <c:pt idx="9164">
                  <c:v>5.2007991399967572</c:v>
                </c:pt>
                <c:pt idx="9165">
                  <c:v>5.9074067937875636</c:v>
                </c:pt>
                <c:pt idx="9166">
                  <c:v>4.9851560298913205</c:v>
                </c:pt>
                <c:pt idx="9167">
                  <c:v>4.94726079576317</c:v>
                </c:pt>
                <c:pt idx="9168">
                  <c:v>4.8950929397927521</c:v>
                </c:pt>
                <c:pt idx="9169">
                  <c:v>6.1149383055710604</c:v>
                </c:pt>
                <c:pt idx="9170">
                  <c:v>4.8913588059881867</c:v>
                </c:pt>
                <c:pt idx="9171">
                  <c:v>6.1748124125736359</c:v>
                </c:pt>
                <c:pt idx="9172">
                  <c:v>6.062689892108188</c:v>
                </c:pt>
                <c:pt idx="9173">
                  <c:v>5.0114209979104647</c:v>
                </c:pt>
                <c:pt idx="9174">
                  <c:v>5.0704786609995338</c:v>
                </c:pt>
                <c:pt idx="9175">
                  <c:v>4.9060871799719221</c:v>
                </c:pt>
                <c:pt idx="9176">
                  <c:v>5.9384727398874571</c:v>
                </c:pt>
                <c:pt idx="9177">
                  <c:v>5.0754239647808594</c:v>
                </c:pt>
                <c:pt idx="9178">
                  <c:v>5.0243823576799782</c:v>
                </c:pt>
                <c:pt idx="9179">
                  <c:v>6.0346073214375675</c:v>
                </c:pt>
                <c:pt idx="9180">
                  <c:v>4.7615624388540461</c:v>
                </c:pt>
                <c:pt idx="9181">
                  <c:v>5.0290265160631789</c:v>
                </c:pt>
                <c:pt idx="9182">
                  <c:v>5.1339793659797808</c:v>
                </c:pt>
                <c:pt idx="9183">
                  <c:v>4.7651943548694424</c:v>
                </c:pt>
                <c:pt idx="9184">
                  <c:v>5.1022664215451599</c:v>
                </c:pt>
                <c:pt idx="9185">
                  <c:v>4.9982969107851432</c:v>
                </c:pt>
                <c:pt idx="9186">
                  <c:v>4.9312089789805604</c:v>
                </c:pt>
                <c:pt idx="9187">
                  <c:v>4.9830559722730587</c:v>
                </c:pt>
                <c:pt idx="9188">
                  <c:v>5.9744943196736946</c:v>
                </c:pt>
                <c:pt idx="9189">
                  <c:v>5.0559170998016745</c:v>
                </c:pt>
                <c:pt idx="9190">
                  <c:v>5.0421694339940926</c:v>
                </c:pt>
                <c:pt idx="9191">
                  <c:v>5.9317977086735452</c:v>
                </c:pt>
                <c:pt idx="9192">
                  <c:v>5.126891680598761</c:v>
                </c:pt>
                <c:pt idx="9193">
                  <c:v>4.9558255811045244</c:v>
                </c:pt>
                <c:pt idx="9194">
                  <c:v>4.9534695957059149</c:v>
                </c:pt>
                <c:pt idx="9195">
                  <c:v>5.113319833569463</c:v>
                </c:pt>
                <c:pt idx="9196">
                  <c:v>5.0095782607350348</c:v>
                </c:pt>
                <c:pt idx="9197">
                  <c:v>5.1512414851574073</c:v>
                </c:pt>
                <c:pt idx="9198">
                  <c:v>5.8936674514187635</c:v>
                </c:pt>
                <c:pt idx="9199">
                  <c:v>4.8226268317207035</c:v>
                </c:pt>
                <c:pt idx="9200">
                  <c:v>6.0877862815040764</c:v>
                </c:pt>
                <c:pt idx="9201">
                  <c:v>5.0267086265376433</c:v>
                </c:pt>
                <c:pt idx="9202">
                  <c:v>5.9003344195845431</c:v>
                </c:pt>
                <c:pt idx="9203">
                  <c:v>5.1518422722197244</c:v>
                </c:pt>
                <c:pt idx="9204">
                  <c:v>4.9044825743566056</c:v>
                </c:pt>
                <c:pt idx="9205">
                  <c:v>5.0534883502141996</c:v>
                </c:pt>
                <c:pt idx="9206">
                  <c:v>4.9952376099281137</c:v>
                </c:pt>
                <c:pt idx="9207">
                  <c:v>4.8278242128620139</c:v>
                </c:pt>
                <c:pt idx="9208">
                  <c:v>5.9904413116034423</c:v>
                </c:pt>
                <c:pt idx="9209">
                  <c:v>5.9523237396859416</c:v>
                </c:pt>
                <c:pt idx="9210">
                  <c:v>4.9202484952031851</c:v>
                </c:pt>
                <c:pt idx="9211">
                  <c:v>4.9098074214841532</c:v>
                </c:pt>
                <c:pt idx="9212">
                  <c:v>4.995320640586951</c:v>
                </c:pt>
                <c:pt idx="9213">
                  <c:v>5.1953761932819473</c:v>
                </c:pt>
                <c:pt idx="9214">
                  <c:v>4.9551814937108647</c:v>
                </c:pt>
                <c:pt idx="9215">
                  <c:v>6.0959400523193095</c:v>
                </c:pt>
                <c:pt idx="9216">
                  <c:v>5.0505126156424298</c:v>
                </c:pt>
                <c:pt idx="9217">
                  <c:v>6.7982535747578767</c:v>
                </c:pt>
                <c:pt idx="9218">
                  <c:v>4.936130507289489</c:v>
                </c:pt>
                <c:pt idx="9219">
                  <c:v>4.9711533956331424</c:v>
                </c:pt>
                <c:pt idx="9220">
                  <c:v>5.8913825521629635</c:v>
                </c:pt>
                <c:pt idx="9221">
                  <c:v>6.123990644657197</c:v>
                </c:pt>
                <c:pt idx="9222">
                  <c:v>5.9430967567856507</c:v>
                </c:pt>
                <c:pt idx="9223">
                  <c:v>4.9159177774891889</c:v>
                </c:pt>
                <c:pt idx="9224">
                  <c:v>6.9783491697306932</c:v>
                </c:pt>
                <c:pt idx="9225">
                  <c:v>6.819923528556636</c:v>
                </c:pt>
                <c:pt idx="9226">
                  <c:v>7.0264837542498224</c:v>
                </c:pt>
                <c:pt idx="9227">
                  <c:v>7.2212306922641485</c:v>
                </c:pt>
                <c:pt idx="9228">
                  <c:v>7.1322964877669977</c:v>
                </c:pt>
                <c:pt idx="9229">
                  <c:v>4.8988286640818606</c:v>
                </c:pt>
                <c:pt idx="9230">
                  <c:v>5.965990876840519</c:v>
                </c:pt>
                <c:pt idx="9231">
                  <c:v>6.0824284241729822</c:v>
                </c:pt>
                <c:pt idx="9232">
                  <c:v>5.9609466760512833</c:v>
                </c:pt>
                <c:pt idx="9233">
                  <c:v>4.9358463559301686</c:v>
                </c:pt>
                <c:pt idx="9234">
                  <c:v>4.9217866956964205</c:v>
                </c:pt>
                <c:pt idx="9235">
                  <c:v>4.9910345686094129</c:v>
                </c:pt>
                <c:pt idx="9236">
                  <c:v>4.9351293307671256</c:v>
                </c:pt>
                <c:pt idx="9237">
                  <c:v>6.0525613689525581</c:v>
                </c:pt>
                <c:pt idx="9238">
                  <c:v>5.013396047052562</c:v>
                </c:pt>
                <c:pt idx="9239">
                  <c:v>5.9534417781258133</c:v>
                </c:pt>
                <c:pt idx="9240">
                  <c:v>6.0782418826407891</c:v>
                </c:pt>
                <c:pt idx="9241">
                  <c:v>7.0098061898427888</c:v>
                </c:pt>
                <c:pt idx="9242">
                  <c:v>5.0931413774104639</c:v>
                </c:pt>
                <c:pt idx="9243">
                  <c:v>5.9916275678218067</c:v>
                </c:pt>
                <c:pt idx="9244">
                  <c:v>5.8558648692676467</c:v>
                </c:pt>
                <c:pt idx="9245">
                  <c:v>6.9118542929523468</c:v>
                </c:pt>
                <c:pt idx="9246">
                  <c:v>6.9151547689088293</c:v>
                </c:pt>
                <c:pt idx="9247">
                  <c:v>5.9070295668716364</c:v>
                </c:pt>
                <c:pt idx="9248">
                  <c:v>5.0124381250185097</c:v>
                </c:pt>
                <c:pt idx="9249">
                  <c:v>4.9680217720442208</c:v>
                </c:pt>
                <c:pt idx="9250">
                  <c:v>6.0253115372761048</c:v>
                </c:pt>
                <c:pt idx="9251">
                  <c:v>4.8629252302789272</c:v>
                </c:pt>
                <c:pt idx="9252">
                  <c:v>6.0356097553294363</c:v>
                </c:pt>
                <c:pt idx="9253">
                  <c:v>5.0908928267038069</c:v>
                </c:pt>
                <c:pt idx="9254">
                  <c:v>6.072088852437366</c:v>
                </c:pt>
                <c:pt idx="9255">
                  <c:v>5.9960255142441632</c:v>
                </c:pt>
                <c:pt idx="9256">
                  <c:v>5.0631769648584868</c:v>
                </c:pt>
                <c:pt idx="9257">
                  <c:v>5.9947852361991023</c:v>
                </c:pt>
                <c:pt idx="9258">
                  <c:v>4.963343986983217</c:v>
                </c:pt>
                <c:pt idx="9259">
                  <c:v>5.9781614497780691</c:v>
                </c:pt>
                <c:pt idx="9260">
                  <c:v>5.9599792322023806</c:v>
                </c:pt>
                <c:pt idx="9261">
                  <c:v>5.0916873136110246</c:v>
                </c:pt>
                <c:pt idx="9262">
                  <c:v>6.0592801844267186</c:v>
                </c:pt>
                <c:pt idx="9263">
                  <c:v>4.9795048786606344</c:v>
                </c:pt>
                <c:pt idx="9264">
                  <c:v>4.936060745339506</c:v>
                </c:pt>
                <c:pt idx="9265">
                  <c:v>5.9842640098709321</c:v>
                </c:pt>
                <c:pt idx="9266">
                  <c:v>4.9561866085004649</c:v>
                </c:pt>
                <c:pt idx="9267">
                  <c:v>5.0068345151649769</c:v>
                </c:pt>
                <c:pt idx="9268">
                  <c:v>5.0698343379115398</c:v>
                </c:pt>
                <c:pt idx="9269">
                  <c:v>6.0475735499901253</c:v>
                </c:pt>
                <c:pt idx="9270">
                  <c:v>5.9195521539601765</c:v>
                </c:pt>
                <c:pt idx="9271">
                  <c:v>6.0678515603030245</c:v>
                </c:pt>
                <c:pt idx="9272">
                  <c:v>5.9659507944502748</c:v>
                </c:pt>
                <c:pt idx="9273">
                  <c:v>5.8113259909408503</c:v>
                </c:pt>
                <c:pt idx="9274">
                  <c:v>6.16223996310001</c:v>
                </c:pt>
                <c:pt idx="9275">
                  <c:v>6.1303773471199818</c:v>
                </c:pt>
                <c:pt idx="9276">
                  <c:v>4.8988540399343492</c:v>
                </c:pt>
                <c:pt idx="9277">
                  <c:v>6.0126380948792963</c:v>
                </c:pt>
                <c:pt idx="9278">
                  <c:v>5.9775322815971892</c:v>
                </c:pt>
                <c:pt idx="9279">
                  <c:v>6.0189517776498791</c:v>
                </c:pt>
                <c:pt idx="9280">
                  <c:v>6.0001003367741044</c:v>
                </c:pt>
                <c:pt idx="9281">
                  <c:v>6.091878978186763</c:v>
                </c:pt>
                <c:pt idx="9282">
                  <c:v>5.966725334998773</c:v>
                </c:pt>
                <c:pt idx="9283">
                  <c:v>5.8922503633546492</c:v>
                </c:pt>
                <c:pt idx="9284">
                  <c:v>5.1142940431340733</c:v>
                </c:pt>
                <c:pt idx="9285">
                  <c:v>5.9708040850066677</c:v>
                </c:pt>
                <c:pt idx="9286">
                  <c:v>5.932390177549383</c:v>
                </c:pt>
                <c:pt idx="9287">
                  <c:v>5.0478620677842221</c:v>
                </c:pt>
                <c:pt idx="9288">
                  <c:v>4.911727142565633</c:v>
                </c:pt>
                <c:pt idx="9289">
                  <c:v>4.7877877261274264</c:v>
                </c:pt>
                <c:pt idx="9290">
                  <c:v>3.0443314972664393</c:v>
                </c:pt>
                <c:pt idx="9291">
                  <c:v>4.9588591502023647</c:v>
                </c:pt>
                <c:pt idx="9292">
                  <c:v>6.0835641850051818</c:v>
                </c:pt>
                <c:pt idx="9293">
                  <c:v>6.0096906112777724</c:v>
                </c:pt>
                <c:pt idx="9294">
                  <c:v>5.0121563897600403</c:v>
                </c:pt>
                <c:pt idx="9295">
                  <c:v>5.0145371174536519</c:v>
                </c:pt>
                <c:pt idx="9296">
                  <c:v>4.9699383488170223</c:v>
                </c:pt>
                <c:pt idx="9297">
                  <c:v>5.9919446152186477</c:v>
                </c:pt>
                <c:pt idx="9298">
                  <c:v>5.0206349491492386</c:v>
                </c:pt>
                <c:pt idx="9299">
                  <c:v>6.16518012835727</c:v>
                </c:pt>
                <c:pt idx="9300">
                  <c:v>5.0438277438935604</c:v>
                </c:pt>
                <c:pt idx="9301">
                  <c:v>6.0467713359918793</c:v>
                </c:pt>
                <c:pt idx="9302">
                  <c:v>5.9937724442437128</c:v>
                </c:pt>
                <c:pt idx="9303">
                  <c:v>6.1409783950244954</c:v>
                </c:pt>
                <c:pt idx="9304">
                  <c:v>5.6491192386771996</c:v>
                </c:pt>
                <c:pt idx="9305">
                  <c:v>4.9796963064816291</c:v>
                </c:pt>
                <c:pt idx="9306">
                  <c:v>4.9712182293008924</c:v>
                </c:pt>
                <c:pt idx="9307">
                  <c:v>6.1097622266031415</c:v>
                </c:pt>
                <c:pt idx="9308">
                  <c:v>4.9880672713242848</c:v>
                </c:pt>
                <c:pt idx="9309">
                  <c:v>6.066688142145618</c:v>
                </c:pt>
                <c:pt idx="9310">
                  <c:v>6.0155734585662097</c:v>
                </c:pt>
                <c:pt idx="9311">
                  <c:v>4.974341323964528</c:v>
                </c:pt>
                <c:pt idx="9312">
                  <c:v>5.1110488558643299</c:v>
                </c:pt>
                <c:pt idx="9313">
                  <c:v>5.8734960506337037</c:v>
                </c:pt>
                <c:pt idx="9314">
                  <c:v>6.0590733059181536</c:v>
                </c:pt>
                <c:pt idx="9315">
                  <c:v>5.8781416755201166</c:v>
                </c:pt>
                <c:pt idx="9316">
                  <c:v>6.0775595411943337</c:v>
                </c:pt>
                <c:pt idx="9317">
                  <c:v>4.9817427254534259</c:v>
                </c:pt>
                <c:pt idx="9318">
                  <c:v>6.0850642948938019</c:v>
                </c:pt>
                <c:pt idx="9319">
                  <c:v>6.0222462006700068</c:v>
                </c:pt>
                <c:pt idx="9320">
                  <c:v>7.1687699124276172</c:v>
                </c:pt>
                <c:pt idx="9321">
                  <c:v>5.0180026259660941</c:v>
                </c:pt>
                <c:pt idx="9322">
                  <c:v>5.8997947166241573</c:v>
                </c:pt>
                <c:pt idx="9323">
                  <c:v>5.1592475641045077</c:v>
                </c:pt>
                <c:pt idx="9324">
                  <c:v>5.727322212867838</c:v>
                </c:pt>
                <c:pt idx="9325">
                  <c:v>5.8266527225218541</c:v>
                </c:pt>
                <c:pt idx="9326">
                  <c:v>5.962107935359402</c:v>
                </c:pt>
                <c:pt idx="9327">
                  <c:v>6.0301380242274298</c:v>
                </c:pt>
                <c:pt idx="9328">
                  <c:v>5.0383019303533771</c:v>
                </c:pt>
                <c:pt idx="9329">
                  <c:v>6.0006152040786045</c:v>
                </c:pt>
                <c:pt idx="9330">
                  <c:v>5.1640539197581772</c:v>
                </c:pt>
                <c:pt idx="9331">
                  <c:v>6.1230434043385014</c:v>
                </c:pt>
                <c:pt idx="9332">
                  <c:v>4.859172498576819</c:v>
                </c:pt>
                <c:pt idx="9333">
                  <c:v>5.043285583949638</c:v>
                </c:pt>
                <c:pt idx="9334">
                  <c:v>5.0609657403461457</c:v>
                </c:pt>
                <c:pt idx="9335">
                  <c:v>6.0029110910060881</c:v>
                </c:pt>
                <c:pt idx="9336">
                  <c:v>6.0484794124253849</c:v>
                </c:pt>
                <c:pt idx="9337">
                  <c:v>5.0251730416899161</c:v>
                </c:pt>
                <c:pt idx="9338">
                  <c:v>6.1497489374420784</c:v>
                </c:pt>
                <c:pt idx="9339">
                  <c:v>4.9762685987647854</c:v>
                </c:pt>
                <c:pt idx="9340">
                  <c:v>5.0460297381213683</c:v>
                </c:pt>
                <c:pt idx="9341">
                  <c:v>4.8542853845834495</c:v>
                </c:pt>
                <c:pt idx="9342">
                  <c:v>5.9186971137192748</c:v>
                </c:pt>
                <c:pt idx="9343">
                  <c:v>7.1483610124072907</c:v>
                </c:pt>
                <c:pt idx="9344">
                  <c:v>5.017957366621749</c:v>
                </c:pt>
                <c:pt idx="9345">
                  <c:v>4.7582987384084054</c:v>
                </c:pt>
                <c:pt idx="9346">
                  <c:v>6.0295654235924658</c:v>
                </c:pt>
                <c:pt idx="9347">
                  <c:v>5.7924074729920614</c:v>
                </c:pt>
                <c:pt idx="9348">
                  <c:v>5.9927749906925296</c:v>
                </c:pt>
                <c:pt idx="9349">
                  <c:v>5.8865165230790906</c:v>
                </c:pt>
                <c:pt idx="9350">
                  <c:v>4.94992660829468</c:v>
                </c:pt>
                <c:pt idx="9351">
                  <c:v>5.1197853878263286</c:v>
                </c:pt>
                <c:pt idx="9352">
                  <c:v>4.998841033835248</c:v>
                </c:pt>
                <c:pt idx="9353">
                  <c:v>5.0086743802374549</c:v>
                </c:pt>
                <c:pt idx="9354">
                  <c:v>6.1244157789363234</c:v>
                </c:pt>
                <c:pt idx="9355">
                  <c:v>5.1619185383863364</c:v>
                </c:pt>
                <c:pt idx="9356">
                  <c:v>5.9748696037015314</c:v>
                </c:pt>
                <c:pt idx="9357">
                  <c:v>4.8319114053278902</c:v>
                </c:pt>
                <c:pt idx="9358">
                  <c:v>5.9032899980647784</c:v>
                </c:pt>
                <c:pt idx="9359">
                  <c:v>5.8093534641060636</c:v>
                </c:pt>
                <c:pt idx="9360">
                  <c:v>4.944420542490926</c:v>
                </c:pt>
                <c:pt idx="9361">
                  <c:v>4.974677621236741</c:v>
                </c:pt>
                <c:pt idx="9362">
                  <c:v>4.8860908503037326</c:v>
                </c:pt>
                <c:pt idx="9363">
                  <c:v>6.0462331014621133</c:v>
                </c:pt>
                <c:pt idx="9364">
                  <c:v>5.0131079295283403</c:v>
                </c:pt>
                <c:pt idx="9365">
                  <c:v>6.0472718834396648</c:v>
                </c:pt>
                <c:pt idx="9366">
                  <c:v>6.0178916151250714</c:v>
                </c:pt>
                <c:pt idx="9367">
                  <c:v>6.0985532431870997</c:v>
                </c:pt>
                <c:pt idx="9368">
                  <c:v>4.8497371364222293</c:v>
                </c:pt>
                <c:pt idx="9369">
                  <c:v>6.0306701118930741</c:v>
                </c:pt>
                <c:pt idx="9370">
                  <c:v>5.9628739728676772</c:v>
                </c:pt>
                <c:pt idx="9371">
                  <c:v>6.0866893236125019</c:v>
                </c:pt>
                <c:pt idx="9372">
                  <c:v>5.9849181822143542</c:v>
                </c:pt>
                <c:pt idx="9373">
                  <c:v>4.9432408516162099</c:v>
                </c:pt>
                <c:pt idx="9374">
                  <c:v>6.0073377403504562</c:v>
                </c:pt>
                <c:pt idx="9375">
                  <c:v>6.0795396587704325</c:v>
                </c:pt>
                <c:pt idx="9376">
                  <c:v>6.1988770399375381</c:v>
                </c:pt>
                <c:pt idx="9377">
                  <c:v>6.0936963421642165</c:v>
                </c:pt>
                <c:pt idx="9378">
                  <c:v>4.8766912464783259</c:v>
                </c:pt>
                <c:pt idx="9379">
                  <c:v>5.9210685562259293</c:v>
                </c:pt>
                <c:pt idx="9380">
                  <c:v>5.1468580075658856</c:v>
                </c:pt>
                <c:pt idx="9381">
                  <c:v>5.965437065317408</c:v>
                </c:pt>
                <c:pt idx="9382">
                  <c:v>5.8618327808661093</c:v>
                </c:pt>
                <c:pt idx="9383">
                  <c:v>6.0497089474108074</c:v>
                </c:pt>
                <c:pt idx="9384">
                  <c:v>5.8650465033693004</c:v>
                </c:pt>
                <c:pt idx="9385">
                  <c:v>4.9683421827614431</c:v>
                </c:pt>
                <c:pt idx="9386">
                  <c:v>6.0728867447576418</c:v>
                </c:pt>
                <c:pt idx="9387">
                  <c:v>5.9356576243735297</c:v>
                </c:pt>
                <c:pt idx="9388">
                  <c:v>5.892678259132917</c:v>
                </c:pt>
                <c:pt idx="9389">
                  <c:v>5.8870703990364346</c:v>
                </c:pt>
                <c:pt idx="9390">
                  <c:v>5.9812977516656813</c:v>
                </c:pt>
                <c:pt idx="9391">
                  <c:v>5.901371914502092</c:v>
                </c:pt>
                <c:pt idx="9392">
                  <c:v>5.9681184937314509</c:v>
                </c:pt>
                <c:pt idx="9393">
                  <c:v>5.1186195165358841</c:v>
                </c:pt>
                <c:pt idx="9394">
                  <c:v>6.13898026270373</c:v>
                </c:pt>
                <c:pt idx="9395">
                  <c:v>4.7873028217763958</c:v>
                </c:pt>
                <c:pt idx="9396">
                  <c:v>6.2240051873877942</c:v>
                </c:pt>
                <c:pt idx="9397">
                  <c:v>5.8730968818372613</c:v>
                </c:pt>
                <c:pt idx="9398">
                  <c:v>5.0951585610164836</c:v>
                </c:pt>
                <c:pt idx="9399">
                  <c:v>5.8445149400155625</c:v>
                </c:pt>
                <c:pt idx="9400">
                  <c:v>6.0672876701054239</c:v>
                </c:pt>
                <c:pt idx="9401">
                  <c:v>5.0025126943448619</c:v>
                </c:pt>
                <c:pt idx="9402">
                  <c:v>4.9275183963600995</c:v>
                </c:pt>
                <c:pt idx="9403">
                  <c:v>4.8414837230563572</c:v>
                </c:pt>
                <c:pt idx="9404">
                  <c:v>6.0354399938147134</c:v>
                </c:pt>
                <c:pt idx="9405">
                  <c:v>4.9242730873797687</c:v>
                </c:pt>
                <c:pt idx="9406">
                  <c:v>5.9692869501716102</c:v>
                </c:pt>
                <c:pt idx="9407">
                  <c:v>5.9081937323020357</c:v>
                </c:pt>
                <c:pt idx="9408">
                  <c:v>5.9881026818480887</c:v>
                </c:pt>
                <c:pt idx="9409">
                  <c:v>5.8626028930436629</c:v>
                </c:pt>
                <c:pt idx="9410">
                  <c:v>6.0726634212009776</c:v>
                </c:pt>
                <c:pt idx="9411">
                  <c:v>6.1008279470899494</c:v>
                </c:pt>
                <c:pt idx="9412">
                  <c:v>4.0983157321662453</c:v>
                </c:pt>
                <c:pt idx="9413">
                  <c:v>5.9241351602033134</c:v>
                </c:pt>
                <c:pt idx="9414">
                  <c:v>5.8522406191495548</c:v>
                </c:pt>
                <c:pt idx="9415">
                  <c:v>5.9292274945862697</c:v>
                </c:pt>
                <c:pt idx="9416">
                  <c:v>6.02459365493156</c:v>
                </c:pt>
                <c:pt idx="9417">
                  <c:v>4.9998318882748789</c:v>
                </c:pt>
                <c:pt idx="9418">
                  <c:v>5.9548801623229517</c:v>
                </c:pt>
                <c:pt idx="9419">
                  <c:v>5.0523177803060886</c:v>
                </c:pt>
                <c:pt idx="9420">
                  <c:v>5.9862928999208602</c:v>
                </c:pt>
                <c:pt idx="9421">
                  <c:v>6.1331476221448185</c:v>
                </c:pt>
                <c:pt idx="9422">
                  <c:v>6.1735851685575733</c:v>
                </c:pt>
                <c:pt idx="9423">
                  <c:v>6.0271286245625406</c:v>
                </c:pt>
                <c:pt idx="9424">
                  <c:v>6.0155762882011059</c:v>
                </c:pt>
                <c:pt idx="9425">
                  <c:v>6.1017216095410927</c:v>
                </c:pt>
                <c:pt idx="9426">
                  <c:v>6.188951324438662</c:v>
                </c:pt>
                <c:pt idx="9427">
                  <c:v>6.0239966096851738</c:v>
                </c:pt>
                <c:pt idx="9428">
                  <c:v>5.9555689637590232</c:v>
                </c:pt>
                <c:pt idx="9429">
                  <c:v>5.8562496868889387</c:v>
                </c:pt>
                <c:pt idx="9430">
                  <c:v>6.0483466838639339</c:v>
                </c:pt>
                <c:pt idx="9431">
                  <c:v>6.0192772795212939</c:v>
                </c:pt>
                <c:pt idx="9432">
                  <c:v>4.9777883743836515</c:v>
                </c:pt>
                <c:pt idx="9433">
                  <c:v>5.9586354891367979</c:v>
                </c:pt>
                <c:pt idx="9434">
                  <c:v>4.8361223390696884</c:v>
                </c:pt>
                <c:pt idx="9435">
                  <c:v>6.084970608438236</c:v>
                </c:pt>
                <c:pt idx="9436">
                  <c:v>5.8865146361122456</c:v>
                </c:pt>
                <c:pt idx="9437">
                  <c:v>6.1051929144906421</c:v>
                </c:pt>
                <c:pt idx="9438">
                  <c:v>5.9919165395456293</c:v>
                </c:pt>
                <c:pt idx="9439">
                  <c:v>4.9418020001555263</c:v>
                </c:pt>
                <c:pt idx="9440">
                  <c:v>4.9934960320644031</c:v>
                </c:pt>
                <c:pt idx="9441">
                  <c:v>4.8294048293705547</c:v>
                </c:pt>
                <c:pt idx="9442">
                  <c:v>5.9986397389417094</c:v>
                </c:pt>
                <c:pt idx="9443">
                  <c:v>4.9224710384517003</c:v>
                </c:pt>
                <c:pt idx="9444">
                  <c:v>4.983526642317563</c:v>
                </c:pt>
                <c:pt idx="9445">
                  <c:v>5.9023068263653631</c:v>
                </c:pt>
                <c:pt idx="9446">
                  <c:v>4.9509595686726096</c:v>
                </c:pt>
                <c:pt idx="9447">
                  <c:v>5.0406878847988121</c:v>
                </c:pt>
                <c:pt idx="9448">
                  <c:v>3.944428474241636</c:v>
                </c:pt>
                <c:pt idx="9449">
                  <c:v>4.8772675652542263</c:v>
                </c:pt>
                <c:pt idx="9450">
                  <c:v>5.0295985202303886</c:v>
                </c:pt>
                <c:pt idx="9451">
                  <c:v>5.991222960522026</c:v>
                </c:pt>
                <c:pt idx="9452">
                  <c:v>5.0238572087070175</c:v>
                </c:pt>
                <c:pt idx="9453">
                  <c:v>5.0039022052323521</c:v>
                </c:pt>
                <c:pt idx="9454">
                  <c:v>4.9105575625197364</c:v>
                </c:pt>
                <c:pt idx="9455">
                  <c:v>5.8844446975979068</c:v>
                </c:pt>
                <c:pt idx="9456">
                  <c:v>4.8682911275439258</c:v>
                </c:pt>
                <c:pt idx="9457">
                  <c:v>5.9168272364416641</c:v>
                </c:pt>
                <c:pt idx="9458">
                  <c:v>4.9781474785323772</c:v>
                </c:pt>
                <c:pt idx="9459">
                  <c:v>5.9187901304447603</c:v>
                </c:pt>
                <c:pt idx="9460">
                  <c:v>6.0824664752011763</c:v>
                </c:pt>
                <c:pt idx="9461">
                  <c:v>5.9701615462900461</c:v>
                </c:pt>
                <c:pt idx="9462">
                  <c:v>5.0633526791567514</c:v>
                </c:pt>
                <c:pt idx="9463">
                  <c:v>5.9859817763603003</c:v>
                </c:pt>
                <c:pt idx="9464">
                  <c:v>5.9327644301687847</c:v>
                </c:pt>
                <c:pt idx="9465">
                  <c:v>6.0193959178871701</c:v>
                </c:pt>
                <c:pt idx="9466">
                  <c:v>6.0480152408495238</c:v>
                </c:pt>
                <c:pt idx="9467">
                  <c:v>5.892620758566526</c:v>
                </c:pt>
                <c:pt idx="9468">
                  <c:v>4.9593261160462561</c:v>
                </c:pt>
                <c:pt idx="9469">
                  <c:v>5.0339024383377788</c:v>
                </c:pt>
                <c:pt idx="9470">
                  <c:v>6.9747470096034236</c:v>
                </c:pt>
                <c:pt idx="9471">
                  <c:v>6.1797834135758647</c:v>
                </c:pt>
                <c:pt idx="9472">
                  <c:v>6.055744862128547</c:v>
                </c:pt>
                <c:pt idx="9473">
                  <c:v>6.0702325482102601</c:v>
                </c:pt>
                <c:pt idx="9474">
                  <c:v>5.8720201799542799</c:v>
                </c:pt>
                <c:pt idx="9475">
                  <c:v>4.9212887463236585</c:v>
                </c:pt>
                <c:pt idx="9476">
                  <c:v>6.017745833084013</c:v>
                </c:pt>
                <c:pt idx="9477">
                  <c:v>5.8728716965703809</c:v>
                </c:pt>
                <c:pt idx="9478">
                  <c:v>4.9279353180752077</c:v>
                </c:pt>
                <c:pt idx="9479">
                  <c:v>5.896823810916457</c:v>
                </c:pt>
                <c:pt idx="9480">
                  <c:v>6.0209592050873892</c:v>
                </c:pt>
                <c:pt idx="9481">
                  <c:v>5.9425130241092994</c:v>
                </c:pt>
                <c:pt idx="9482">
                  <c:v>5.9970219417556097</c:v>
                </c:pt>
                <c:pt idx="9483">
                  <c:v>5.902975406976962</c:v>
                </c:pt>
                <c:pt idx="9484">
                  <c:v>6.0990103927841703</c:v>
                </c:pt>
                <c:pt idx="9485">
                  <c:v>5.9441090785823079</c:v>
                </c:pt>
                <c:pt idx="9486">
                  <c:v>4.8407165206106928</c:v>
                </c:pt>
                <c:pt idx="9487">
                  <c:v>5.8464847263406474</c:v>
                </c:pt>
                <c:pt idx="9488">
                  <c:v>6.0594434816779108</c:v>
                </c:pt>
                <c:pt idx="9489">
                  <c:v>5.8783215463549947</c:v>
                </c:pt>
                <c:pt idx="9490">
                  <c:v>4.8961706261176055</c:v>
                </c:pt>
                <c:pt idx="9491">
                  <c:v>5.9057774491675739</c:v>
                </c:pt>
                <c:pt idx="9492">
                  <c:v>4.8025896814363724</c:v>
                </c:pt>
                <c:pt idx="9493">
                  <c:v>4.9605271352716533</c:v>
                </c:pt>
                <c:pt idx="9494">
                  <c:v>5.0511146312201767</c:v>
                </c:pt>
                <c:pt idx="9495">
                  <c:v>4.9346550413121095</c:v>
                </c:pt>
                <c:pt idx="9496">
                  <c:v>4.9327605489555388</c:v>
                </c:pt>
                <c:pt idx="9497">
                  <c:v>5.995718074989469</c:v>
                </c:pt>
                <c:pt idx="9498">
                  <c:v>4.8849067093701732</c:v>
                </c:pt>
                <c:pt idx="9499">
                  <c:v>6.0365754923650128</c:v>
                </c:pt>
                <c:pt idx="9500">
                  <c:v>6.036800925990633</c:v>
                </c:pt>
                <c:pt idx="9501">
                  <c:v>4.8747267807066983</c:v>
                </c:pt>
                <c:pt idx="9502">
                  <c:v>4.9687127977523851</c:v>
                </c:pt>
                <c:pt idx="9503">
                  <c:v>5.0656815788410166</c:v>
                </c:pt>
                <c:pt idx="9504">
                  <c:v>6.0707220437024736</c:v>
                </c:pt>
                <c:pt idx="9505">
                  <c:v>5.9145971954181391</c:v>
                </c:pt>
                <c:pt idx="9506">
                  <c:v>5.0557517526136913</c:v>
                </c:pt>
                <c:pt idx="9507">
                  <c:v>5.959431969825232</c:v>
                </c:pt>
                <c:pt idx="9508">
                  <c:v>6.1848700086664126</c:v>
                </c:pt>
                <c:pt idx="9509">
                  <c:v>5.8667082503699151</c:v>
                </c:pt>
                <c:pt idx="9510">
                  <c:v>5.9181852003688293</c:v>
                </c:pt>
                <c:pt idx="9511">
                  <c:v>6.029076446819098</c:v>
                </c:pt>
                <c:pt idx="9512">
                  <c:v>6.1525325908279527</c:v>
                </c:pt>
                <c:pt idx="9513">
                  <c:v>5.8120550246068374</c:v>
                </c:pt>
                <c:pt idx="9514">
                  <c:v>4.8883970020390972</c:v>
                </c:pt>
                <c:pt idx="9515">
                  <c:v>6.0520354051160901</c:v>
                </c:pt>
                <c:pt idx="9516">
                  <c:v>4.9525113715187654</c:v>
                </c:pt>
                <c:pt idx="9517">
                  <c:v>6.0195973518185513</c:v>
                </c:pt>
                <c:pt idx="9518">
                  <c:v>5.9278846115272668</c:v>
                </c:pt>
                <c:pt idx="9519">
                  <c:v>5.1073301320138889</c:v>
                </c:pt>
                <c:pt idx="9520">
                  <c:v>4.9514607373193558</c:v>
                </c:pt>
                <c:pt idx="9521">
                  <c:v>5.7958484302220246</c:v>
                </c:pt>
                <c:pt idx="9522">
                  <c:v>5.045074540983264</c:v>
                </c:pt>
                <c:pt idx="9523">
                  <c:v>5.9652220770019806</c:v>
                </c:pt>
                <c:pt idx="9524">
                  <c:v>6.8501535741504789</c:v>
                </c:pt>
                <c:pt idx="9525">
                  <c:v>4.9898074275078157</c:v>
                </c:pt>
                <c:pt idx="9526">
                  <c:v>5.7628364470026261</c:v>
                </c:pt>
                <c:pt idx="9527">
                  <c:v>6.1535345874946374</c:v>
                </c:pt>
                <c:pt idx="9528">
                  <c:v>6.0573829297901893</c:v>
                </c:pt>
                <c:pt idx="9529">
                  <c:v>4.9881826378371406</c:v>
                </c:pt>
                <c:pt idx="9530">
                  <c:v>5.8905518022422259</c:v>
                </c:pt>
                <c:pt idx="9531">
                  <c:v>5.0367077371156883</c:v>
                </c:pt>
                <c:pt idx="9532">
                  <c:v>7.0388162323667567</c:v>
                </c:pt>
                <c:pt idx="9533">
                  <c:v>5.0281821866617369</c:v>
                </c:pt>
                <c:pt idx="9534">
                  <c:v>5.9448166602648591</c:v>
                </c:pt>
                <c:pt idx="9535">
                  <c:v>5.9798737756582199</c:v>
                </c:pt>
                <c:pt idx="9536">
                  <c:v>5.9033784679259913</c:v>
                </c:pt>
                <c:pt idx="9537">
                  <c:v>5.096351254112875</c:v>
                </c:pt>
                <c:pt idx="9538">
                  <c:v>6.0933889978036397</c:v>
                </c:pt>
                <c:pt idx="9539">
                  <c:v>6.0084276076294509</c:v>
                </c:pt>
                <c:pt idx="9540">
                  <c:v>6.1027717353372566</c:v>
                </c:pt>
                <c:pt idx="9541">
                  <c:v>5.9182599619453331</c:v>
                </c:pt>
                <c:pt idx="9542">
                  <c:v>6.0926164225820596</c:v>
                </c:pt>
                <c:pt idx="9543">
                  <c:v>6.0553965528202784</c:v>
                </c:pt>
                <c:pt idx="9544">
                  <c:v>4.9478018430459301</c:v>
                </c:pt>
                <c:pt idx="9545">
                  <c:v>4.958013815038858</c:v>
                </c:pt>
                <c:pt idx="9546">
                  <c:v>6.0062655402069467</c:v>
                </c:pt>
                <c:pt idx="9547">
                  <c:v>5.0830315078096611</c:v>
                </c:pt>
                <c:pt idx="9548">
                  <c:v>5.0241491775903544</c:v>
                </c:pt>
                <c:pt idx="9549">
                  <c:v>5.1764396542500366</c:v>
                </c:pt>
                <c:pt idx="9550">
                  <c:v>4.9761973238424728</c:v>
                </c:pt>
                <c:pt idx="9551">
                  <c:v>5.9069100976152944</c:v>
                </c:pt>
                <c:pt idx="9552">
                  <c:v>5.9872119891897846</c:v>
                </c:pt>
                <c:pt idx="9553">
                  <c:v>5.9545142207918174</c:v>
                </c:pt>
                <c:pt idx="9554">
                  <c:v>4.9129931260762216</c:v>
                </c:pt>
                <c:pt idx="9555">
                  <c:v>6.1074368603974589</c:v>
                </c:pt>
                <c:pt idx="9556">
                  <c:v>5.9868174790355839</c:v>
                </c:pt>
                <c:pt idx="9557">
                  <c:v>5.0625852847246193</c:v>
                </c:pt>
                <c:pt idx="9558">
                  <c:v>5.7997029589732678</c:v>
                </c:pt>
                <c:pt idx="9559">
                  <c:v>6.2164413936191032</c:v>
                </c:pt>
                <c:pt idx="9560">
                  <c:v>5.9769658218791397</c:v>
                </c:pt>
                <c:pt idx="9561">
                  <c:v>5.9307619361838153</c:v>
                </c:pt>
                <c:pt idx="9562">
                  <c:v>4.9730491138721389</c:v>
                </c:pt>
                <c:pt idx="9563">
                  <c:v>4.9367022279817441</c:v>
                </c:pt>
                <c:pt idx="9564">
                  <c:v>5.0604217405147311</c:v>
                </c:pt>
                <c:pt idx="9565">
                  <c:v>5.0752902489179421</c:v>
                </c:pt>
                <c:pt idx="9566">
                  <c:v>5.1079800478202282</c:v>
                </c:pt>
                <c:pt idx="9567">
                  <c:v>5.89585502920177</c:v>
                </c:pt>
                <c:pt idx="9568">
                  <c:v>5.9695042476128801</c:v>
                </c:pt>
                <c:pt idx="9569">
                  <c:v>4.8964764606295352</c:v>
                </c:pt>
                <c:pt idx="9570">
                  <c:v>5.8916186481867463</c:v>
                </c:pt>
                <c:pt idx="9571">
                  <c:v>5.1131915397386347</c:v>
                </c:pt>
                <c:pt idx="9572">
                  <c:v>7.2229033074165399</c:v>
                </c:pt>
                <c:pt idx="9573">
                  <c:v>4.9106854274989482</c:v>
                </c:pt>
                <c:pt idx="9574">
                  <c:v>5.959324814907494</c:v>
                </c:pt>
                <c:pt idx="9575">
                  <c:v>4.9173301765921025</c:v>
                </c:pt>
                <c:pt idx="9576">
                  <c:v>4.9281158798215232</c:v>
                </c:pt>
                <c:pt idx="9577">
                  <c:v>4.909810509952</c:v>
                </c:pt>
                <c:pt idx="9578">
                  <c:v>7.0499919844381411</c:v>
                </c:pt>
                <c:pt idx="9579">
                  <c:v>5.0346564740789335</c:v>
                </c:pt>
                <c:pt idx="9580">
                  <c:v>6.1680101060219474</c:v>
                </c:pt>
                <c:pt idx="9581">
                  <c:v>5.9869562134549374</c:v>
                </c:pt>
                <c:pt idx="9582">
                  <c:v>6.0944634497838654</c:v>
                </c:pt>
                <c:pt idx="9583">
                  <c:v>6.9416236674722462</c:v>
                </c:pt>
                <c:pt idx="9584">
                  <c:v>4.97809365948733</c:v>
                </c:pt>
                <c:pt idx="9585">
                  <c:v>6.0954520406739379</c:v>
                </c:pt>
                <c:pt idx="9586">
                  <c:v>5.1100323107031294</c:v>
                </c:pt>
                <c:pt idx="9587">
                  <c:v>4.875755286559782</c:v>
                </c:pt>
                <c:pt idx="9588">
                  <c:v>5.8645507332857765</c:v>
                </c:pt>
                <c:pt idx="9589">
                  <c:v>5.01134876832859</c:v>
                </c:pt>
                <c:pt idx="9590">
                  <c:v>4.9742169755061223</c:v>
                </c:pt>
                <c:pt idx="9591">
                  <c:v>4.9620506980466565</c:v>
                </c:pt>
                <c:pt idx="9592">
                  <c:v>4.8840745922839881</c:v>
                </c:pt>
                <c:pt idx="9593">
                  <c:v>4.8623253758850637</c:v>
                </c:pt>
                <c:pt idx="9594">
                  <c:v>5.9833208523981991</c:v>
                </c:pt>
                <c:pt idx="9595">
                  <c:v>4.8695541658142636</c:v>
                </c:pt>
                <c:pt idx="9596">
                  <c:v>4.9914489563769466</c:v>
                </c:pt>
                <c:pt idx="9597">
                  <c:v>5.9811449277498223</c:v>
                </c:pt>
                <c:pt idx="9598">
                  <c:v>5.9081567296161142</c:v>
                </c:pt>
                <c:pt idx="9599">
                  <c:v>6.0175823616327779</c:v>
                </c:pt>
                <c:pt idx="9600">
                  <c:v>5.198288968779508</c:v>
                </c:pt>
                <c:pt idx="9601">
                  <c:v>5.9712063654737317</c:v>
                </c:pt>
                <c:pt idx="9602">
                  <c:v>4.874666919640207</c:v>
                </c:pt>
                <c:pt idx="9603">
                  <c:v>5.0032475080935175</c:v>
                </c:pt>
                <c:pt idx="9604">
                  <c:v>5.191302973350588</c:v>
                </c:pt>
                <c:pt idx="9605">
                  <c:v>5.0671235851823093</c:v>
                </c:pt>
                <c:pt idx="9606">
                  <c:v>4.9608257349717055</c:v>
                </c:pt>
                <c:pt idx="9607">
                  <c:v>5.0771694301651884</c:v>
                </c:pt>
                <c:pt idx="9608">
                  <c:v>4.8773849698088254</c:v>
                </c:pt>
                <c:pt idx="9609">
                  <c:v>4.9341681318047375</c:v>
                </c:pt>
                <c:pt idx="9610">
                  <c:v>5.0470357347558075</c:v>
                </c:pt>
                <c:pt idx="9611">
                  <c:v>4.8803171246007571</c:v>
                </c:pt>
                <c:pt idx="9612">
                  <c:v>5.112508657072194</c:v>
                </c:pt>
                <c:pt idx="9613">
                  <c:v>6.0291298731421072</c:v>
                </c:pt>
                <c:pt idx="9614">
                  <c:v>6.0241011098763098</c:v>
                </c:pt>
                <c:pt idx="9615">
                  <c:v>4.8495104004409519</c:v>
                </c:pt>
                <c:pt idx="9616">
                  <c:v>4.8871614835024308</c:v>
                </c:pt>
                <c:pt idx="9617">
                  <c:v>5.1776936437651377</c:v>
                </c:pt>
                <c:pt idx="9618">
                  <c:v>6.037606003225978</c:v>
                </c:pt>
                <c:pt idx="9619">
                  <c:v>4.8898458086883165</c:v>
                </c:pt>
                <c:pt idx="9620">
                  <c:v>4.9679402881939128</c:v>
                </c:pt>
                <c:pt idx="9621">
                  <c:v>5.0942904879141482</c:v>
                </c:pt>
                <c:pt idx="9622">
                  <c:v>4.9860132981996319</c:v>
                </c:pt>
                <c:pt idx="9623">
                  <c:v>5.0565758450491884</c:v>
                </c:pt>
                <c:pt idx="9624">
                  <c:v>6.1440686774613367</c:v>
                </c:pt>
                <c:pt idx="9625">
                  <c:v>5.1052179101774673</c:v>
                </c:pt>
                <c:pt idx="9626">
                  <c:v>5.0491589518300533</c:v>
                </c:pt>
                <c:pt idx="9627">
                  <c:v>6.0123750036703036</c:v>
                </c:pt>
                <c:pt idx="9628">
                  <c:v>5.9902753861395981</c:v>
                </c:pt>
                <c:pt idx="9629">
                  <c:v>5.0886321256411993</c:v>
                </c:pt>
                <c:pt idx="9630">
                  <c:v>5.0313347782381364</c:v>
                </c:pt>
                <c:pt idx="9631">
                  <c:v>4.9124803058950981</c:v>
                </c:pt>
                <c:pt idx="9632">
                  <c:v>5.8976866242423487</c:v>
                </c:pt>
                <c:pt idx="9633">
                  <c:v>4.84761627809341</c:v>
                </c:pt>
                <c:pt idx="9634">
                  <c:v>4.8368340005499189</c:v>
                </c:pt>
                <c:pt idx="9635">
                  <c:v>5.984731997634622</c:v>
                </c:pt>
                <c:pt idx="9636">
                  <c:v>5.027724739599571</c:v>
                </c:pt>
                <c:pt idx="9637">
                  <c:v>4.1744310563943348</c:v>
                </c:pt>
                <c:pt idx="9638">
                  <c:v>3.9577292662010719</c:v>
                </c:pt>
                <c:pt idx="9639">
                  <c:v>6.0538970922257382</c:v>
                </c:pt>
                <c:pt idx="9640">
                  <c:v>4.903450830490339</c:v>
                </c:pt>
                <c:pt idx="9641">
                  <c:v>4.994189037171644</c:v>
                </c:pt>
                <c:pt idx="9642">
                  <c:v>5.0419981816805945</c:v>
                </c:pt>
                <c:pt idx="9643">
                  <c:v>6.0184929020275142</c:v>
                </c:pt>
                <c:pt idx="9644">
                  <c:v>6.0637274459309394</c:v>
                </c:pt>
                <c:pt idx="9645">
                  <c:v>5.0896405031641239</c:v>
                </c:pt>
                <c:pt idx="9646">
                  <c:v>6.0233967340870986</c:v>
                </c:pt>
                <c:pt idx="9647">
                  <c:v>5.1479324297306404</c:v>
                </c:pt>
                <c:pt idx="9648">
                  <c:v>4.9212749323737688</c:v>
                </c:pt>
                <c:pt idx="9649">
                  <c:v>4.9469616738614901</c:v>
                </c:pt>
                <c:pt idx="9650">
                  <c:v>4.9782707544500981</c:v>
                </c:pt>
                <c:pt idx="9651">
                  <c:v>5.2141645271826125</c:v>
                </c:pt>
                <c:pt idx="9652">
                  <c:v>6.9150795760375052</c:v>
                </c:pt>
                <c:pt idx="9653">
                  <c:v>5.9233506948836965</c:v>
                </c:pt>
                <c:pt idx="9654">
                  <c:v>4.8308054961409264</c:v>
                </c:pt>
                <c:pt idx="9655">
                  <c:v>6.112296889014071</c:v>
                </c:pt>
                <c:pt idx="9656">
                  <c:v>5.1404447643174871</c:v>
                </c:pt>
                <c:pt idx="9657">
                  <c:v>5.9721518245532135</c:v>
                </c:pt>
                <c:pt idx="9658">
                  <c:v>6.0877577865688375</c:v>
                </c:pt>
                <c:pt idx="9659">
                  <c:v>4.9153412271179153</c:v>
                </c:pt>
                <c:pt idx="9660">
                  <c:v>5.9907629328919318</c:v>
                </c:pt>
                <c:pt idx="9661">
                  <c:v>6.1488159384079548</c:v>
                </c:pt>
                <c:pt idx="9662">
                  <c:v>5.1659263377292293</c:v>
                </c:pt>
                <c:pt idx="9663">
                  <c:v>6.0667229014591664</c:v>
                </c:pt>
                <c:pt idx="9664">
                  <c:v>6.0836614166439951</c:v>
                </c:pt>
                <c:pt idx="9665">
                  <c:v>4.9253316826150408</c:v>
                </c:pt>
                <c:pt idx="9666">
                  <c:v>5.0768624288872024</c:v>
                </c:pt>
                <c:pt idx="9667">
                  <c:v>5.0346494847623173</c:v>
                </c:pt>
                <c:pt idx="9668">
                  <c:v>5.9704368783994832</c:v>
                </c:pt>
                <c:pt idx="9669">
                  <c:v>4.8174365782958191</c:v>
                </c:pt>
                <c:pt idx="9670">
                  <c:v>5.212637437375089</c:v>
                </c:pt>
                <c:pt idx="9671">
                  <c:v>5.9046818436135906</c:v>
                </c:pt>
                <c:pt idx="9672">
                  <c:v>4.9884676219646504</c:v>
                </c:pt>
                <c:pt idx="9673">
                  <c:v>6.0268604177681304</c:v>
                </c:pt>
                <c:pt idx="9674">
                  <c:v>5.8700013399919868</c:v>
                </c:pt>
                <c:pt idx="9675">
                  <c:v>6.1494510769544801</c:v>
                </c:pt>
                <c:pt idx="9676">
                  <c:v>6.0549535218244337</c:v>
                </c:pt>
                <c:pt idx="9677">
                  <c:v>5.9608687769394839</c:v>
                </c:pt>
                <c:pt idx="9678">
                  <c:v>5.948865511527166</c:v>
                </c:pt>
                <c:pt idx="9679">
                  <c:v>6.0563991640296857</c:v>
                </c:pt>
                <c:pt idx="9680">
                  <c:v>5.0618195095464946</c:v>
                </c:pt>
                <c:pt idx="9681">
                  <c:v>5.895462981265621</c:v>
                </c:pt>
                <c:pt idx="9682">
                  <c:v>4.0023356133864905</c:v>
                </c:pt>
                <c:pt idx="9683">
                  <c:v>4.0195888370899899</c:v>
                </c:pt>
                <c:pt idx="9684">
                  <c:v>6.8932439663567182</c:v>
                </c:pt>
                <c:pt idx="9685">
                  <c:v>5.9319840812289222</c:v>
                </c:pt>
                <c:pt idx="9686">
                  <c:v>6.0106733027640455</c:v>
                </c:pt>
                <c:pt idx="9687">
                  <c:v>5.9732357913415415</c:v>
                </c:pt>
                <c:pt idx="9688">
                  <c:v>6.1314103404013949</c:v>
                </c:pt>
                <c:pt idx="9689">
                  <c:v>5.9153728966973906</c:v>
                </c:pt>
                <c:pt idx="9690">
                  <c:v>6.2025711188714698</c:v>
                </c:pt>
                <c:pt idx="9691">
                  <c:v>5.8519443906149879</c:v>
                </c:pt>
                <c:pt idx="9692">
                  <c:v>6.1657510797163253</c:v>
                </c:pt>
                <c:pt idx="9693">
                  <c:v>5.1447120220490348</c:v>
                </c:pt>
                <c:pt idx="9694">
                  <c:v>5.0017707735617076</c:v>
                </c:pt>
                <c:pt idx="9695">
                  <c:v>5.1266142085281796</c:v>
                </c:pt>
                <c:pt idx="9696">
                  <c:v>4.9671457049824514</c:v>
                </c:pt>
                <c:pt idx="9697">
                  <c:v>5.0594448625168651</c:v>
                </c:pt>
                <c:pt idx="9698">
                  <c:v>4.8632927151421601</c:v>
                </c:pt>
                <c:pt idx="9699">
                  <c:v>5.9010825379645961</c:v>
                </c:pt>
                <c:pt idx="9700">
                  <c:v>5.001750966358073</c:v>
                </c:pt>
                <c:pt idx="9701">
                  <c:v>6.0402284179155439</c:v>
                </c:pt>
                <c:pt idx="9702">
                  <c:v>5.9830160766646543</c:v>
                </c:pt>
                <c:pt idx="9703">
                  <c:v>5.8424753190606129</c:v>
                </c:pt>
                <c:pt idx="9704">
                  <c:v>6.069950807879736</c:v>
                </c:pt>
                <c:pt idx="9705">
                  <c:v>6.0391263157196171</c:v>
                </c:pt>
                <c:pt idx="9706">
                  <c:v>6.0564201690562127</c:v>
                </c:pt>
                <c:pt idx="9707">
                  <c:v>5.0321259255561213</c:v>
                </c:pt>
                <c:pt idx="9708">
                  <c:v>4.0307375105215568</c:v>
                </c:pt>
                <c:pt idx="9709">
                  <c:v>4.8137673704146149</c:v>
                </c:pt>
                <c:pt idx="9710">
                  <c:v>5.9062480380493172</c:v>
                </c:pt>
                <c:pt idx="9711">
                  <c:v>5.1590251931376132</c:v>
                </c:pt>
                <c:pt idx="9712">
                  <c:v>5.9915768043177611</c:v>
                </c:pt>
                <c:pt idx="9713">
                  <c:v>5.9535546918861106</c:v>
                </c:pt>
                <c:pt idx="9714">
                  <c:v>5.9741507033697818</c:v>
                </c:pt>
                <c:pt idx="9715">
                  <c:v>6.0071455592914047</c:v>
                </c:pt>
                <c:pt idx="9716">
                  <c:v>2.910928797674746</c:v>
                </c:pt>
                <c:pt idx="9717">
                  <c:v>5.8545744685034675</c:v>
                </c:pt>
                <c:pt idx="9718">
                  <c:v>5.9939939577005674</c:v>
                </c:pt>
                <c:pt idx="9719">
                  <c:v>2.9094285139093632</c:v>
                </c:pt>
                <c:pt idx="9720">
                  <c:v>5.1022514293502459</c:v>
                </c:pt>
                <c:pt idx="9721">
                  <c:v>2.9703911315938614</c:v>
                </c:pt>
                <c:pt idx="9722">
                  <c:v>5.0450301965538467</c:v>
                </c:pt>
                <c:pt idx="9723">
                  <c:v>5.9875685542552928</c:v>
                </c:pt>
                <c:pt idx="9724">
                  <c:v>5.9322766514047212</c:v>
                </c:pt>
                <c:pt idx="9725">
                  <c:v>5.9382197137468946</c:v>
                </c:pt>
                <c:pt idx="9726">
                  <c:v>4.9375824157219146</c:v>
                </c:pt>
                <c:pt idx="9727">
                  <c:v>4.8856599388567332</c:v>
                </c:pt>
                <c:pt idx="9728">
                  <c:v>5.9735814021808373</c:v>
                </c:pt>
                <c:pt idx="9729">
                  <c:v>6.0663845087494552</c:v>
                </c:pt>
                <c:pt idx="9730">
                  <c:v>6.9092863659930241</c:v>
                </c:pt>
                <c:pt idx="9731">
                  <c:v>5.9505231250166597</c:v>
                </c:pt>
                <c:pt idx="9732">
                  <c:v>5.9630228614957552</c:v>
                </c:pt>
                <c:pt idx="9733">
                  <c:v>4.9484497463167596</c:v>
                </c:pt>
                <c:pt idx="9734">
                  <c:v>5.1166721484342945</c:v>
                </c:pt>
                <c:pt idx="9735">
                  <c:v>6.24630205695372</c:v>
                </c:pt>
                <c:pt idx="9736">
                  <c:v>4.9571740434828504</c:v>
                </c:pt>
                <c:pt idx="9737">
                  <c:v>5.9670102431938732</c:v>
                </c:pt>
                <c:pt idx="9738">
                  <c:v>6.0629113960026375</c:v>
                </c:pt>
                <c:pt idx="9739">
                  <c:v>6.0154910043138257</c:v>
                </c:pt>
                <c:pt idx="9740">
                  <c:v>6.0621850351185094</c:v>
                </c:pt>
                <c:pt idx="9741">
                  <c:v>5.9293206374421992</c:v>
                </c:pt>
                <c:pt idx="9742">
                  <c:v>5.9942309630383832</c:v>
                </c:pt>
                <c:pt idx="9743">
                  <c:v>6.8795675695445606</c:v>
                </c:pt>
                <c:pt idx="9744">
                  <c:v>6.0254596542420078</c:v>
                </c:pt>
                <c:pt idx="9745">
                  <c:v>6.0277643444637219</c:v>
                </c:pt>
                <c:pt idx="9746">
                  <c:v>5.9505226522633841</c:v>
                </c:pt>
                <c:pt idx="9747">
                  <c:v>6.0401224733741383</c:v>
                </c:pt>
                <c:pt idx="9748">
                  <c:v>5.0256835848171102</c:v>
                </c:pt>
                <c:pt idx="9749">
                  <c:v>4.9072874591944631</c:v>
                </c:pt>
                <c:pt idx="9750">
                  <c:v>4.8281322478726798</c:v>
                </c:pt>
                <c:pt idx="9751">
                  <c:v>6.1047456188203046</c:v>
                </c:pt>
                <c:pt idx="9752">
                  <c:v>5.0662739683800462</c:v>
                </c:pt>
                <c:pt idx="9753">
                  <c:v>5.087634730296803</c:v>
                </c:pt>
                <c:pt idx="9754">
                  <c:v>1.9318062446772142</c:v>
                </c:pt>
                <c:pt idx="9755">
                  <c:v>1.9606230070228625</c:v>
                </c:pt>
                <c:pt idx="9756">
                  <c:v>6.0218019749832177</c:v>
                </c:pt>
                <c:pt idx="9757">
                  <c:v>5.0144398548965166</c:v>
                </c:pt>
                <c:pt idx="9758">
                  <c:v>5.0871416233646904</c:v>
                </c:pt>
                <c:pt idx="9759">
                  <c:v>5.0024939107788811</c:v>
                </c:pt>
                <c:pt idx="9760">
                  <c:v>5.0325478315521313</c:v>
                </c:pt>
                <c:pt idx="9761">
                  <c:v>6.1428066109479307</c:v>
                </c:pt>
                <c:pt idx="9762">
                  <c:v>5.8764656030808284</c:v>
                </c:pt>
                <c:pt idx="9763">
                  <c:v>4.8256747870335932</c:v>
                </c:pt>
                <c:pt idx="9764">
                  <c:v>5.8732703808195392</c:v>
                </c:pt>
                <c:pt idx="9765">
                  <c:v>6.0765664350321851</c:v>
                </c:pt>
                <c:pt idx="9766">
                  <c:v>6.9280002187633194</c:v>
                </c:pt>
                <c:pt idx="9767">
                  <c:v>5.9583949927576425</c:v>
                </c:pt>
                <c:pt idx="9768">
                  <c:v>5.0469478070828515</c:v>
                </c:pt>
                <c:pt idx="9769">
                  <c:v>6.0455423603405762</c:v>
                </c:pt>
                <c:pt idx="9770">
                  <c:v>5.931844452027188</c:v>
                </c:pt>
                <c:pt idx="9771">
                  <c:v>6.0635631804431753</c:v>
                </c:pt>
                <c:pt idx="9772">
                  <c:v>6.0921419761633739</c:v>
                </c:pt>
                <c:pt idx="9773">
                  <c:v>5.9314542139130557</c:v>
                </c:pt>
                <c:pt idx="9774">
                  <c:v>6.0511470707270858</c:v>
                </c:pt>
                <c:pt idx="9775">
                  <c:v>5.980303433427606</c:v>
                </c:pt>
                <c:pt idx="9776">
                  <c:v>6.2146487476230359</c:v>
                </c:pt>
                <c:pt idx="9777">
                  <c:v>5.9994325056539299</c:v>
                </c:pt>
                <c:pt idx="9778">
                  <c:v>4.8369598595527599</c:v>
                </c:pt>
                <c:pt idx="9779">
                  <c:v>3.0798320571685172</c:v>
                </c:pt>
                <c:pt idx="9780">
                  <c:v>6.1223342654138149</c:v>
                </c:pt>
                <c:pt idx="9781">
                  <c:v>6.0319020264165752</c:v>
                </c:pt>
                <c:pt idx="9782">
                  <c:v>5.9828905367394878</c:v>
                </c:pt>
                <c:pt idx="9783">
                  <c:v>5.0001101872250047</c:v>
                </c:pt>
                <c:pt idx="9784">
                  <c:v>5.023035920134828</c:v>
                </c:pt>
                <c:pt idx="9785">
                  <c:v>5.9090265810320286</c:v>
                </c:pt>
                <c:pt idx="9786">
                  <c:v>6.1523296822791345</c:v>
                </c:pt>
                <c:pt idx="9787">
                  <c:v>6.0188021656956554</c:v>
                </c:pt>
                <c:pt idx="9788">
                  <c:v>5.9596734903953781</c:v>
                </c:pt>
                <c:pt idx="9789">
                  <c:v>5.8996267807317402</c:v>
                </c:pt>
                <c:pt idx="9790">
                  <c:v>5.1008272776409074</c:v>
                </c:pt>
                <c:pt idx="9791">
                  <c:v>5.9922937094435316</c:v>
                </c:pt>
                <c:pt idx="9792">
                  <c:v>5.9749488014842767</c:v>
                </c:pt>
                <c:pt idx="9793">
                  <c:v>5.6959144752045718</c:v>
                </c:pt>
                <c:pt idx="9794">
                  <c:v>5.8755152082816249</c:v>
                </c:pt>
                <c:pt idx="9795">
                  <c:v>6.1311238247973012</c:v>
                </c:pt>
                <c:pt idx="9796">
                  <c:v>6.1733875071755699</c:v>
                </c:pt>
                <c:pt idx="9797">
                  <c:v>6.0888786413494458</c:v>
                </c:pt>
                <c:pt idx="9798">
                  <c:v>5.9360178171359212</c:v>
                </c:pt>
                <c:pt idx="9799">
                  <c:v>5.9857854339549865</c:v>
                </c:pt>
                <c:pt idx="9800">
                  <c:v>5.8215118859532851</c:v>
                </c:pt>
                <c:pt idx="9801">
                  <c:v>4.8976600751388748</c:v>
                </c:pt>
                <c:pt idx="9802">
                  <c:v>6.0775666525805008</c:v>
                </c:pt>
                <c:pt idx="9803">
                  <c:v>5.8794327093285021</c:v>
                </c:pt>
                <c:pt idx="9804">
                  <c:v>6.1230797876485319</c:v>
                </c:pt>
                <c:pt idx="9805">
                  <c:v>6.0898244579866381</c:v>
                </c:pt>
                <c:pt idx="9806">
                  <c:v>6.1292865334461153</c:v>
                </c:pt>
                <c:pt idx="9807">
                  <c:v>6.8912665204084602</c:v>
                </c:pt>
                <c:pt idx="9808">
                  <c:v>4.9953563705557782</c:v>
                </c:pt>
                <c:pt idx="9809">
                  <c:v>6.1182209975938511</c:v>
                </c:pt>
                <c:pt idx="9810">
                  <c:v>4.9081860045229933</c:v>
                </c:pt>
                <c:pt idx="9811">
                  <c:v>5.9255479884870734</c:v>
                </c:pt>
                <c:pt idx="9812">
                  <c:v>6.1390118427808602</c:v>
                </c:pt>
                <c:pt idx="9813">
                  <c:v>2.9826318074555243</c:v>
                </c:pt>
                <c:pt idx="9814">
                  <c:v>6.0547081412299466</c:v>
                </c:pt>
                <c:pt idx="9815">
                  <c:v>4.9572762579147689</c:v>
                </c:pt>
                <c:pt idx="9816">
                  <c:v>5.9239390985265521</c:v>
                </c:pt>
                <c:pt idx="9817">
                  <c:v>5.7519619650314375</c:v>
                </c:pt>
                <c:pt idx="9818">
                  <c:v>6.2028820949355854</c:v>
                </c:pt>
                <c:pt idx="9819">
                  <c:v>5.0341353079234468</c:v>
                </c:pt>
                <c:pt idx="9820">
                  <c:v>6.1165638239583835</c:v>
                </c:pt>
                <c:pt idx="9821">
                  <c:v>5.9158527929723279</c:v>
                </c:pt>
                <c:pt idx="9822">
                  <c:v>5.1532778430541644</c:v>
                </c:pt>
                <c:pt idx="9823">
                  <c:v>5.9132037800151194</c:v>
                </c:pt>
                <c:pt idx="9824">
                  <c:v>6.0577015148612752</c:v>
                </c:pt>
                <c:pt idx="9825">
                  <c:v>6.1453218422314411</c:v>
                </c:pt>
                <c:pt idx="9826">
                  <c:v>5.8780441119279692</c:v>
                </c:pt>
                <c:pt idx="9827">
                  <c:v>5.0898211600746697</c:v>
                </c:pt>
                <c:pt idx="9828">
                  <c:v>4.7578697175007987</c:v>
                </c:pt>
                <c:pt idx="9829">
                  <c:v>5.8773914584027871</c:v>
                </c:pt>
                <c:pt idx="9830">
                  <c:v>4.9777544546879096</c:v>
                </c:pt>
                <c:pt idx="9831">
                  <c:v>7.0603775218910076</c:v>
                </c:pt>
                <c:pt idx="9832">
                  <c:v>4.9617571172863748</c:v>
                </c:pt>
                <c:pt idx="9833">
                  <c:v>4.7690818886301356</c:v>
                </c:pt>
                <c:pt idx="9834">
                  <c:v>5.0639666662545793</c:v>
                </c:pt>
                <c:pt idx="9835">
                  <c:v>5.9103073297297062</c:v>
                </c:pt>
                <c:pt idx="9836">
                  <c:v>4.901511774064395</c:v>
                </c:pt>
                <c:pt idx="9837">
                  <c:v>7.0478195845428226</c:v>
                </c:pt>
                <c:pt idx="9838">
                  <c:v>4.930654162940038</c:v>
                </c:pt>
                <c:pt idx="9839">
                  <c:v>6.0668582663435471</c:v>
                </c:pt>
                <c:pt idx="9840">
                  <c:v>5.1105253233302355</c:v>
                </c:pt>
                <c:pt idx="9841">
                  <c:v>4.886845324659534</c:v>
                </c:pt>
                <c:pt idx="9842">
                  <c:v>6.0761143650216303</c:v>
                </c:pt>
                <c:pt idx="9843">
                  <c:v>5.0043806633124257</c:v>
                </c:pt>
                <c:pt idx="9844">
                  <c:v>5.9221493277888788</c:v>
                </c:pt>
                <c:pt idx="9845">
                  <c:v>6.0307008428962954</c:v>
                </c:pt>
                <c:pt idx="9846">
                  <c:v>5.8562687437954972</c:v>
                </c:pt>
                <c:pt idx="9847">
                  <c:v>6.0480594746899259</c:v>
                </c:pt>
                <c:pt idx="9848">
                  <c:v>4.9466330381816705</c:v>
                </c:pt>
                <c:pt idx="9849">
                  <c:v>4.9796149380853851</c:v>
                </c:pt>
                <c:pt idx="9850">
                  <c:v>7.1569132313230632</c:v>
                </c:pt>
                <c:pt idx="9851">
                  <c:v>6.1128923051166444</c:v>
                </c:pt>
                <c:pt idx="9852">
                  <c:v>5.9502125667408468</c:v>
                </c:pt>
                <c:pt idx="9853">
                  <c:v>6.9157423045193456</c:v>
                </c:pt>
                <c:pt idx="9854">
                  <c:v>6.9264494554276048</c:v>
                </c:pt>
                <c:pt idx="9855">
                  <c:v>6.9091649133176594</c:v>
                </c:pt>
                <c:pt idx="9856">
                  <c:v>6.9731635292180085</c:v>
                </c:pt>
                <c:pt idx="9857">
                  <c:v>5.9602560536960709</c:v>
                </c:pt>
                <c:pt idx="9858">
                  <c:v>5.8376070096843327</c:v>
                </c:pt>
                <c:pt idx="9859">
                  <c:v>5.8861478829984346</c:v>
                </c:pt>
                <c:pt idx="9860">
                  <c:v>5.0835980224713211</c:v>
                </c:pt>
                <c:pt idx="9861">
                  <c:v>5.1322022267834848</c:v>
                </c:pt>
                <c:pt idx="9862">
                  <c:v>6.0010725437122074</c:v>
                </c:pt>
                <c:pt idx="9863">
                  <c:v>5.9783307431523101</c:v>
                </c:pt>
                <c:pt idx="9864">
                  <c:v>5.9980960179940821</c:v>
                </c:pt>
                <c:pt idx="9865">
                  <c:v>4.9468422950320692</c:v>
                </c:pt>
                <c:pt idx="9866">
                  <c:v>6.0147770726931267</c:v>
                </c:pt>
                <c:pt idx="9867">
                  <c:v>4.9097460768546517</c:v>
                </c:pt>
                <c:pt idx="9868">
                  <c:v>5.9039257171991046</c:v>
                </c:pt>
                <c:pt idx="9869">
                  <c:v>4.9909912885026273</c:v>
                </c:pt>
                <c:pt idx="9870">
                  <c:v>5.0146535424597509</c:v>
                </c:pt>
                <c:pt idx="9871">
                  <c:v>4.8131717474255886</c:v>
                </c:pt>
                <c:pt idx="9872">
                  <c:v>4.9633790287625539</c:v>
                </c:pt>
                <c:pt idx="9873">
                  <c:v>6.1142431012842033</c:v>
                </c:pt>
                <c:pt idx="9874">
                  <c:v>5.8763244752015567</c:v>
                </c:pt>
                <c:pt idx="9875">
                  <c:v>5.8388364499165624</c:v>
                </c:pt>
                <c:pt idx="9876">
                  <c:v>7.1046301498941418</c:v>
                </c:pt>
                <c:pt idx="9877">
                  <c:v>5.972548886359677</c:v>
                </c:pt>
                <c:pt idx="9878">
                  <c:v>6.048342722955474</c:v>
                </c:pt>
                <c:pt idx="9879">
                  <c:v>4.952522066866865</c:v>
                </c:pt>
                <c:pt idx="9880">
                  <c:v>4.9826683350540755</c:v>
                </c:pt>
                <c:pt idx="9881">
                  <c:v>5.9652673508392766</c:v>
                </c:pt>
                <c:pt idx="9882">
                  <c:v>5.9038698168317065</c:v>
                </c:pt>
                <c:pt idx="9883">
                  <c:v>6.1661174485551102</c:v>
                </c:pt>
                <c:pt idx="9884">
                  <c:v>5.8415401171338734</c:v>
                </c:pt>
                <c:pt idx="9885">
                  <c:v>5.189513837903946</c:v>
                </c:pt>
                <c:pt idx="9886">
                  <c:v>4.9751596529537609</c:v>
                </c:pt>
                <c:pt idx="9887">
                  <c:v>4.9729990429220194</c:v>
                </c:pt>
                <c:pt idx="9888">
                  <c:v>6.033076171140495</c:v>
                </c:pt>
                <c:pt idx="9889">
                  <c:v>5.1867645153668782</c:v>
                </c:pt>
                <c:pt idx="9890">
                  <c:v>6.0933615467137585</c:v>
                </c:pt>
                <c:pt idx="9891">
                  <c:v>6.9854275616051389</c:v>
                </c:pt>
                <c:pt idx="9892">
                  <c:v>4.9292678848736813</c:v>
                </c:pt>
                <c:pt idx="9893">
                  <c:v>5.0570349784204716</c:v>
                </c:pt>
                <c:pt idx="9894">
                  <c:v>5.0815593482239043</c:v>
                </c:pt>
                <c:pt idx="9895">
                  <c:v>4.9745899041734241</c:v>
                </c:pt>
                <c:pt idx="9896">
                  <c:v>5.8484542620734272</c:v>
                </c:pt>
                <c:pt idx="9897">
                  <c:v>5.0704523026256743</c:v>
                </c:pt>
                <c:pt idx="9898">
                  <c:v>5.8501077406930158</c:v>
                </c:pt>
                <c:pt idx="9899">
                  <c:v>5.94381934475597</c:v>
                </c:pt>
                <c:pt idx="9900">
                  <c:v>5.8401427567092767</c:v>
                </c:pt>
                <c:pt idx="9901">
                  <c:v>5.9379981793782184</c:v>
                </c:pt>
                <c:pt idx="9902">
                  <c:v>5.0708863194891443</c:v>
                </c:pt>
                <c:pt idx="9903">
                  <c:v>7.0468587245942826</c:v>
                </c:pt>
                <c:pt idx="9904">
                  <c:v>6.1204474927619978</c:v>
                </c:pt>
                <c:pt idx="9905">
                  <c:v>5.1401935672982422</c:v>
                </c:pt>
                <c:pt idx="9906">
                  <c:v>6.0195897854286899</c:v>
                </c:pt>
                <c:pt idx="9907">
                  <c:v>6.1245479774535339</c:v>
                </c:pt>
                <c:pt idx="9908">
                  <c:v>6.0486172548601651</c:v>
                </c:pt>
                <c:pt idx="9909">
                  <c:v>5.9802819735128514</c:v>
                </c:pt>
                <c:pt idx="9910">
                  <c:v>5.9876721478100725</c:v>
                </c:pt>
                <c:pt idx="9911">
                  <c:v>5.1201448859329064</c:v>
                </c:pt>
                <c:pt idx="9912">
                  <c:v>6.0198362413420554</c:v>
                </c:pt>
                <c:pt idx="9913">
                  <c:v>4.8232398819467361</c:v>
                </c:pt>
                <c:pt idx="9914">
                  <c:v>5.1415626600558548</c:v>
                </c:pt>
                <c:pt idx="9915">
                  <c:v>5.9887194735764631</c:v>
                </c:pt>
                <c:pt idx="9916">
                  <c:v>6.0792648328848351</c:v>
                </c:pt>
                <c:pt idx="9917">
                  <c:v>5.0925233680534925</c:v>
                </c:pt>
                <c:pt idx="9918">
                  <c:v>6.0702390286045373</c:v>
                </c:pt>
                <c:pt idx="9919">
                  <c:v>5.091668885905074</c:v>
                </c:pt>
                <c:pt idx="9920">
                  <c:v>5.0533998866209799</c:v>
                </c:pt>
                <c:pt idx="9921">
                  <c:v>4.9228771326102292</c:v>
                </c:pt>
                <c:pt idx="9922">
                  <c:v>5.0348827184673581</c:v>
                </c:pt>
                <c:pt idx="9923">
                  <c:v>5.2065220017705176</c:v>
                </c:pt>
                <c:pt idx="9924">
                  <c:v>5.9837435915548545</c:v>
                </c:pt>
                <c:pt idx="9925">
                  <c:v>5.9591819017650929</c:v>
                </c:pt>
                <c:pt idx="9926">
                  <c:v>4.9813898059429418</c:v>
                </c:pt>
                <c:pt idx="9927">
                  <c:v>6.7686933016470752</c:v>
                </c:pt>
                <c:pt idx="9928">
                  <c:v>5.9704769121431402</c:v>
                </c:pt>
                <c:pt idx="9929">
                  <c:v>5.9113674201641144</c:v>
                </c:pt>
                <c:pt idx="9930">
                  <c:v>7.009221592286897</c:v>
                </c:pt>
                <c:pt idx="9931">
                  <c:v>5.9280901741758036</c:v>
                </c:pt>
                <c:pt idx="9932">
                  <c:v>5.9184490170138151</c:v>
                </c:pt>
                <c:pt idx="9933">
                  <c:v>2.9649255073497107</c:v>
                </c:pt>
                <c:pt idx="9934">
                  <c:v>4.8453341003813684</c:v>
                </c:pt>
                <c:pt idx="9935">
                  <c:v>7.0495626251881349</c:v>
                </c:pt>
                <c:pt idx="9936">
                  <c:v>6.0988111205618063</c:v>
                </c:pt>
                <c:pt idx="9937">
                  <c:v>5.0043633950320174</c:v>
                </c:pt>
                <c:pt idx="9938">
                  <c:v>6.0134680903197468</c:v>
                </c:pt>
                <c:pt idx="9939">
                  <c:v>6.06222635590371</c:v>
                </c:pt>
                <c:pt idx="9940">
                  <c:v>7.0287566569185556</c:v>
                </c:pt>
                <c:pt idx="9941">
                  <c:v>7.008107956215107</c:v>
                </c:pt>
                <c:pt idx="9942">
                  <c:v>6.0892440918914774</c:v>
                </c:pt>
                <c:pt idx="9943">
                  <c:v>6.9323446248942471</c:v>
                </c:pt>
                <c:pt idx="9944">
                  <c:v>7.0769539138889535</c:v>
                </c:pt>
                <c:pt idx="9945">
                  <c:v>7.0606503132671667</c:v>
                </c:pt>
                <c:pt idx="9946">
                  <c:v>5.8694864719419364</c:v>
                </c:pt>
                <c:pt idx="9947">
                  <c:v>7.0689149509979643</c:v>
                </c:pt>
                <c:pt idx="9948">
                  <c:v>5.9187280736941243</c:v>
                </c:pt>
                <c:pt idx="9949">
                  <c:v>6.2195795508622815</c:v>
                </c:pt>
                <c:pt idx="9950">
                  <c:v>6.1140034589582468</c:v>
                </c:pt>
                <c:pt idx="9951">
                  <c:v>5.9860451192893969</c:v>
                </c:pt>
                <c:pt idx="9952">
                  <c:v>7.2148351896278271</c:v>
                </c:pt>
                <c:pt idx="9953">
                  <c:v>5.9346359860952269</c:v>
                </c:pt>
                <c:pt idx="9954">
                  <c:v>6.0775195380544247</c:v>
                </c:pt>
                <c:pt idx="9955">
                  <c:v>6.0817824321797413</c:v>
                </c:pt>
                <c:pt idx="9956">
                  <c:v>4.985405455999615</c:v>
                </c:pt>
                <c:pt idx="9957">
                  <c:v>6.0558110974774078</c:v>
                </c:pt>
                <c:pt idx="9958">
                  <c:v>6.0640618032481148</c:v>
                </c:pt>
                <c:pt idx="9959">
                  <c:v>5.0327922233456084</c:v>
                </c:pt>
                <c:pt idx="9960">
                  <c:v>4.8799047712171983</c:v>
                </c:pt>
                <c:pt idx="9961">
                  <c:v>5.8827142839585873</c:v>
                </c:pt>
                <c:pt idx="9962">
                  <c:v>7.1667314834160321</c:v>
                </c:pt>
                <c:pt idx="9963">
                  <c:v>6.0379292017036938</c:v>
                </c:pt>
                <c:pt idx="9964">
                  <c:v>3.9866178189481358</c:v>
                </c:pt>
                <c:pt idx="9965">
                  <c:v>6.017945931698522</c:v>
                </c:pt>
                <c:pt idx="9966">
                  <c:v>4.7930521464638041</c:v>
                </c:pt>
                <c:pt idx="9967">
                  <c:v>5.0280860640985532</c:v>
                </c:pt>
                <c:pt idx="9968">
                  <c:v>5.9107031771321301</c:v>
                </c:pt>
                <c:pt idx="9969">
                  <c:v>5.8619317161076561</c:v>
                </c:pt>
                <c:pt idx="9970">
                  <c:v>5.9057238368453744</c:v>
                </c:pt>
                <c:pt idx="9971">
                  <c:v>5.0448960433264762</c:v>
                </c:pt>
                <c:pt idx="9972">
                  <c:v>5.9203921558111841</c:v>
                </c:pt>
                <c:pt idx="9973">
                  <c:v>5.0609740598687054</c:v>
                </c:pt>
                <c:pt idx="9974">
                  <c:v>4.8062870700343794</c:v>
                </c:pt>
                <c:pt idx="9975">
                  <c:v>6.1836530558304617</c:v>
                </c:pt>
                <c:pt idx="9976">
                  <c:v>5.945332464714471</c:v>
                </c:pt>
                <c:pt idx="9977">
                  <c:v>5.9826591401860973</c:v>
                </c:pt>
                <c:pt idx="9978">
                  <c:v>5.8208818503719391</c:v>
                </c:pt>
                <c:pt idx="9979">
                  <c:v>4.7935964672882463</c:v>
                </c:pt>
                <c:pt idx="9980">
                  <c:v>5.0166442628072607</c:v>
                </c:pt>
                <c:pt idx="9981">
                  <c:v>7.1083400936942862</c:v>
                </c:pt>
                <c:pt idx="9982">
                  <c:v>6.0119678026741337</c:v>
                </c:pt>
                <c:pt idx="9983">
                  <c:v>4.9376097970428035</c:v>
                </c:pt>
                <c:pt idx="9984">
                  <c:v>6.0155524599628301</c:v>
                </c:pt>
                <c:pt idx="9985">
                  <c:v>4.8479288065266495</c:v>
                </c:pt>
                <c:pt idx="9986">
                  <c:v>5.8362538804783473</c:v>
                </c:pt>
                <c:pt idx="9987">
                  <c:v>5.0259264632241303</c:v>
                </c:pt>
                <c:pt idx="9988">
                  <c:v>4.799564993284565</c:v>
                </c:pt>
                <c:pt idx="9989">
                  <c:v>6.1198152819650558</c:v>
                </c:pt>
                <c:pt idx="9990">
                  <c:v>5.6169416928589255</c:v>
                </c:pt>
                <c:pt idx="9991">
                  <c:v>5.8898736550241617</c:v>
                </c:pt>
                <c:pt idx="9992">
                  <c:v>6.0667497014022107</c:v>
                </c:pt>
                <c:pt idx="9993">
                  <c:v>6.1337927630409501</c:v>
                </c:pt>
                <c:pt idx="9994">
                  <c:v>6.0855696743894558</c:v>
                </c:pt>
                <c:pt idx="9995">
                  <c:v>3.1908145412575264</c:v>
                </c:pt>
                <c:pt idx="9996">
                  <c:v>6.1772623401370668</c:v>
                </c:pt>
                <c:pt idx="9997">
                  <c:v>5.0780316735745474</c:v>
                </c:pt>
                <c:pt idx="9998">
                  <c:v>5.8781182371865794</c:v>
                </c:pt>
                <c:pt idx="9999">
                  <c:v>5.9363665325225909</c:v>
                </c:pt>
                <c:pt idx="10000">
                  <c:v>5.0808584126229865</c:v>
                </c:pt>
                <c:pt idx="10001">
                  <c:v>7.0900745858192069</c:v>
                </c:pt>
                <c:pt idx="10002">
                  <c:v>5.0909051977990867</c:v>
                </c:pt>
                <c:pt idx="10003">
                  <c:v>4.9664969742296794</c:v>
                </c:pt>
                <c:pt idx="10004">
                  <c:v>4.9657386890544712</c:v>
                </c:pt>
                <c:pt idx="10005">
                  <c:v>5.8663040370734132</c:v>
                </c:pt>
                <c:pt idx="10006">
                  <c:v>5.967652696996316</c:v>
                </c:pt>
                <c:pt idx="10007">
                  <c:v>5.9048239936226539</c:v>
                </c:pt>
                <c:pt idx="10008">
                  <c:v>6.0021809300005247</c:v>
                </c:pt>
                <c:pt idx="10009">
                  <c:v>6.2491629465409284</c:v>
                </c:pt>
                <c:pt idx="10010">
                  <c:v>6.0481894575655071</c:v>
                </c:pt>
                <c:pt idx="10011">
                  <c:v>7.0462024036923241</c:v>
                </c:pt>
                <c:pt idx="10012">
                  <c:v>7.0801742120688074</c:v>
                </c:pt>
                <c:pt idx="10013">
                  <c:v>6.0418515068407137</c:v>
                </c:pt>
                <c:pt idx="10014">
                  <c:v>6.1603466346300229</c:v>
                </c:pt>
                <c:pt idx="10015">
                  <c:v>4.0371857045636466</c:v>
                </c:pt>
                <c:pt idx="10016">
                  <c:v>5.8747183908183418</c:v>
                </c:pt>
                <c:pt idx="10017">
                  <c:v>4.9976802208051305</c:v>
                </c:pt>
                <c:pt idx="10018">
                  <c:v>5.9745786101329825</c:v>
                </c:pt>
                <c:pt idx="10019">
                  <c:v>4.8849136884146462</c:v>
                </c:pt>
                <c:pt idx="10020">
                  <c:v>6.041522988335509</c:v>
                </c:pt>
                <c:pt idx="10021">
                  <c:v>4.9939188175227835</c:v>
                </c:pt>
                <c:pt idx="10022">
                  <c:v>5.9699367689240805</c:v>
                </c:pt>
                <c:pt idx="10023">
                  <c:v>6.1068128676914766</c:v>
                </c:pt>
                <c:pt idx="10024">
                  <c:v>4.9611362718870051</c:v>
                </c:pt>
                <c:pt idx="10025">
                  <c:v>5.9475661868546883</c:v>
                </c:pt>
                <c:pt idx="10026">
                  <c:v>5.0025560353984222</c:v>
                </c:pt>
                <c:pt idx="10027">
                  <c:v>4.9797826387936368</c:v>
                </c:pt>
                <c:pt idx="10028">
                  <c:v>4.8500792269550654</c:v>
                </c:pt>
                <c:pt idx="10029">
                  <c:v>4.9446624622398501</c:v>
                </c:pt>
                <c:pt idx="10030">
                  <c:v>4.961190834764067</c:v>
                </c:pt>
                <c:pt idx="10031">
                  <c:v>4.6982688529750058</c:v>
                </c:pt>
                <c:pt idx="10032">
                  <c:v>5.9288851994724237</c:v>
                </c:pt>
                <c:pt idx="10033">
                  <c:v>6.0346426285074468</c:v>
                </c:pt>
                <c:pt idx="10034">
                  <c:v>5.0123750830661731</c:v>
                </c:pt>
                <c:pt idx="10035">
                  <c:v>6.1360767193862875</c:v>
                </c:pt>
                <c:pt idx="10036">
                  <c:v>5.9108655702214152</c:v>
                </c:pt>
                <c:pt idx="10037">
                  <c:v>4.9299398154828804</c:v>
                </c:pt>
                <c:pt idx="10038">
                  <c:v>5.9767216348388761</c:v>
                </c:pt>
                <c:pt idx="10039">
                  <c:v>6.0568485612141965</c:v>
                </c:pt>
                <c:pt idx="10040">
                  <c:v>4.9968929148418235</c:v>
                </c:pt>
                <c:pt idx="10041">
                  <c:v>6.0298734770212725</c:v>
                </c:pt>
                <c:pt idx="10042">
                  <c:v>4.8902672578702955</c:v>
                </c:pt>
                <c:pt idx="10043">
                  <c:v>5.1149758862392227</c:v>
                </c:pt>
                <c:pt idx="10044">
                  <c:v>4.928225006967268</c:v>
                </c:pt>
                <c:pt idx="10045">
                  <c:v>6.0209236698992861</c:v>
                </c:pt>
                <c:pt idx="10046">
                  <c:v>5.9379944133785063</c:v>
                </c:pt>
                <c:pt idx="10047">
                  <c:v>6.0365841943326988</c:v>
                </c:pt>
                <c:pt idx="10048">
                  <c:v>5.9186748343334967</c:v>
                </c:pt>
                <c:pt idx="10049">
                  <c:v>5.9848749391547598</c:v>
                </c:pt>
                <c:pt idx="10050">
                  <c:v>5.9885297924196284</c:v>
                </c:pt>
                <c:pt idx="10051">
                  <c:v>6.1148583681292115</c:v>
                </c:pt>
                <c:pt idx="10052">
                  <c:v>6.0693591964010558</c:v>
                </c:pt>
                <c:pt idx="10053">
                  <c:v>5.9006643505720788</c:v>
                </c:pt>
                <c:pt idx="10054">
                  <c:v>3.9259055474764768</c:v>
                </c:pt>
                <c:pt idx="10055">
                  <c:v>4.0689298915164231</c:v>
                </c:pt>
                <c:pt idx="10056">
                  <c:v>6.0532288863690455</c:v>
                </c:pt>
                <c:pt idx="10057">
                  <c:v>6.1332404679317154</c:v>
                </c:pt>
                <c:pt idx="10058">
                  <c:v>6.1199311509648346</c:v>
                </c:pt>
                <c:pt idx="10059">
                  <c:v>5.0423651701493473</c:v>
                </c:pt>
                <c:pt idx="10060">
                  <c:v>6.07597657436785</c:v>
                </c:pt>
                <c:pt idx="10061">
                  <c:v>5.0668468002964602</c:v>
                </c:pt>
                <c:pt idx="10062">
                  <c:v>4.9140837931016765</c:v>
                </c:pt>
                <c:pt idx="10063">
                  <c:v>5.9787283185719673</c:v>
                </c:pt>
                <c:pt idx="10064">
                  <c:v>5.0919810068831968</c:v>
                </c:pt>
                <c:pt idx="10065">
                  <c:v>4.9348380251385979</c:v>
                </c:pt>
                <c:pt idx="10066">
                  <c:v>6.0543779076096076</c:v>
                </c:pt>
                <c:pt idx="10067">
                  <c:v>4.972040098009578</c:v>
                </c:pt>
                <c:pt idx="10068">
                  <c:v>5.9207265090099046</c:v>
                </c:pt>
                <c:pt idx="10069">
                  <c:v>5.027879570092721</c:v>
                </c:pt>
                <c:pt idx="10070">
                  <c:v>4.8971491212648326</c:v>
                </c:pt>
                <c:pt idx="10071">
                  <c:v>6.1660673677659013</c:v>
                </c:pt>
                <c:pt idx="10072">
                  <c:v>5.9350071483226206</c:v>
                </c:pt>
                <c:pt idx="10073">
                  <c:v>5.1052442974725931</c:v>
                </c:pt>
                <c:pt idx="10074">
                  <c:v>5.0441848900684052</c:v>
                </c:pt>
                <c:pt idx="10075">
                  <c:v>6.1432107087445393</c:v>
                </c:pt>
                <c:pt idx="10076">
                  <c:v>5.9421360488959971</c:v>
                </c:pt>
                <c:pt idx="10077">
                  <c:v>5.8787387936503563</c:v>
                </c:pt>
                <c:pt idx="10078">
                  <c:v>5.0446123925194097</c:v>
                </c:pt>
                <c:pt idx="10079">
                  <c:v>6.1027135646240289</c:v>
                </c:pt>
                <c:pt idx="10080">
                  <c:v>5.8795420982884261</c:v>
                </c:pt>
                <c:pt idx="10081">
                  <c:v>5.9998690137810424</c:v>
                </c:pt>
                <c:pt idx="10082">
                  <c:v>4.9835528313246042</c:v>
                </c:pt>
                <c:pt idx="10083">
                  <c:v>5.0209097646377066</c:v>
                </c:pt>
                <c:pt idx="10084">
                  <c:v>6.0757183237323691</c:v>
                </c:pt>
                <c:pt idx="10085">
                  <c:v>6.0739533209631151</c:v>
                </c:pt>
                <c:pt idx="10086">
                  <c:v>5.868763212145014</c:v>
                </c:pt>
                <c:pt idx="10087">
                  <c:v>5.068972030697136</c:v>
                </c:pt>
                <c:pt idx="10088">
                  <c:v>5.9211916022915592</c:v>
                </c:pt>
                <c:pt idx="10089">
                  <c:v>6.0761859552141582</c:v>
                </c:pt>
                <c:pt idx="10090">
                  <c:v>4.9992367477290607</c:v>
                </c:pt>
                <c:pt idx="10091">
                  <c:v>5.8278888914487386</c:v>
                </c:pt>
                <c:pt idx="10092">
                  <c:v>6.064147588857784</c:v>
                </c:pt>
                <c:pt idx="10093">
                  <c:v>6.1422954407554373</c:v>
                </c:pt>
                <c:pt idx="10094">
                  <c:v>5.9055344609716274</c:v>
                </c:pt>
                <c:pt idx="10095">
                  <c:v>6.0443335972853784</c:v>
                </c:pt>
                <c:pt idx="10096">
                  <c:v>6.0401693990254843</c:v>
                </c:pt>
                <c:pt idx="10097">
                  <c:v>6.0853397652750223</c:v>
                </c:pt>
                <c:pt idx="10098">
                  <c:v>5.1155617224670502</c:v>
                </c:pt>
                <c:pt idx="10099">
                  <c:v>4.9993178925560438</c:v>
                </c:pt>
                <c:pt idx="10100">
                  <c:v>5.9418381998127954</c:v>
                </c:pt>
                <c:pt idx="10101">
                  <c:v>4.8691569055930559</c:v>
                </c:pt>
                <c:pt idx="10102">
                  <c:v>5.9849547322042573</c:v>
                </c:pt>
                <c:pt idx="10103">
                  <c:v>6.1386142353364708</c:v>
                </c:pt>
                <c:pt idx="10104">
                  <c:v>4.8836180784508985</c:v>
                </c:pt>
                <c:pt idx="10105">
                  <c:v>4.0327561585699545</c:v>
                </c:pt>
                <c:pt idx="10106">
                  <c:v>4.9880608409691618</c:v>
                </c:pt>
                <c:pt idx="10107">
                  <c:v>5.9180698912400933</c:v>
                </c:pt>
                <c:pt idx="10108">
                  <c:v>4.8309438264072773</c:v>
                </c:pt>
                <c:pt idx="10109">
                  <c:v>5.0990927205565812</c:v>
                </c:pt>
                <c:pt idx="10110">
                  <c:v>6.0442465670798686</c:v>
                </c:pt>
                <c:pt idx="10111">
                  <c:v>4.9995841539464516</c:v>
                </c:pt>
                <c:pt idx="10112">
                  <c:v>5.210368752037418</c:v>
                </c:pt>
                <c:pt idx="10113">
                  <c:v>5.6384333350631746</c:v>
                </c:pt>
                <c:pt idx="10114">
                  <c:v>4.8888773609341794</c:v>
                </c:pt>
                <c:pt idx="10115">
                  <c:v>6.0995576478429356</c:v>
                </c:pt>
                <c:pt idx="10116">
                  <c:v>5.9060808610781255</c:v>
                </c:pt>
                <c:pt idx="10117">
                  <c:v>5.8934394399043137</c:v>
                </c:pt>
                <c:pt idx="10118">
                  <c:v>5.0488683989552054</c:v>
                </c:pt>
                <c:pt idx="10119">
                  <c:v>5.2658874384098553</c:v>
                </c:pt>
                <c:pt idx="10120">
                  <c:v>4.9979114000040701</c:v>
                </c:pt>
                <c:pt idx="10121">
                  <c:v>5.9441523592555745</c:v>
                </c:pt>
                <c:pt idx="10122">
                  <c:v>6.1440352572387873</c:v>
                </c:pt>
                <c:pt idx="10123">
                  <c:v>6.1165539147622203</c:v>
                </c:pt>
                <c:pt idx="10124">
                  <c:v>4.941962220291769</c:v>
                </c:pt>
                <c:pt idx="10125">
                  <c:v>6.3244007163582605</c:v>
                </c:pt>
                <c:pt idx="10126">
                  <c:v>5.0215981489326031</c:v>
                </c:pt>
                <c:pt idx="10127">
                  <c:v>6.1224859035968215</c:v>
                </c:pt>
                <c:pt idx="10128">
                  <c:v>5.9802940002695903</c:v>
                </c:pt>
                <c:pt idx="10129">
                  <c:v>5.8014143173258965</c:v>
                </c:pt>
                <c:pt idx="10130">
                  <c:v>5.0256106887663821</c:v>
                </c:pt>
                <c:pt idx="10131">
                  <c:v>6.0531735302495662</c:v>
                </c:pt>
                <c:pt idx="10132">
                  <c:v>5.9158917686411119</c:v>
                </c:pt>
                <c:pt idx="10133">
                  <c:v>6.1337849553678456</c:v>
                </c:pt>
                <c:pt idx="10134">
                  <c:v>5.8935300330179485</c:v>
                </c:pt>
                <c:pt idx="10135">
                  <c:v>5.1160238185528222</c:v>
                </c:pt>
                <c:pt idx="10136">
                  <c:v>5.962045090774347</c:v>
                </c:pt>
                <c:pt idx="10137">
                  <c:v>5.9295622471551344</c:v>
                </c:pt>
                <c:pt idx="10138">
                  <c:v>6.2111500737390859</c:v>
                </c:pt>
                <c:pt idx="10139">
                  <c:v>6.0773862602345901</c:v>
                </c:pt>
                <c:pt idx="10140">
                  <c:v>5.918305641261064</c:v>
                </c:pt>
                <c:pt idx="10141">
                  <c:v>4.8957833020101127</c:v>
                </c:pt>
                <c:pt idx="10142">
                  <c:v>5.958013805071559</c:v>
                </c:pt>
                <c:pt idx="10143">
                  <c:v>5.9620225815309231</c:v>
                </c:pt>
                <c:pt idx="10144">
                  <c:v>5.9054683282802483</c:v>
                </c:pt>
                <c:pt idx="10145">
                  <c:v>6.0652546616665948</c:v>
                </c:pt>
                <c:pt idx="10146">
                  <c:v>5.8996698600809889</c:v>
                </c:pt>
                <c:pt idx="10147">
                  <c:v>6.1212827265745622</c:v>
                </c:pt>
                <c:pt idx="10148">
                  <c:v>6.0562038288241222</c:v>
                </c:pt>
                <c:pt idx="10149">
                  <c:v>4.9659465362898603</c:v>
                </c:pt>
                <c:pt idx="10150">
                  <c:v>6.0496821983571287</c:v>
                </c:pt>
                <c:pt idx="10151">
                  <c:v>5.9385423671956099</c:v>
                </c:pt>
                <c:pt idx="10152">
                  <c:v>6.1573795976789469</c:v>
                </c:pt>
                <c:pt idx="10153">
                  <c:v>6.1445682376186443</c:v>
                </c:pt>
                <c:pt idx="10154">
                  <c:v>6.0002716569403365</c:v>
                </c:pt>
                <c:pt idx="10155">
                  <c:v>4.9710853291414727</c:v>
                </c:pt>
                <c:pt idx="10156">
                  <c:v>5.9314610847512066</c:v>
                </c:pt>
                <c:pt idx="10157">
                  <c:v>5.0184346583364823</c:v>
                </c:pt>
                <c:pt idx="10158">
                  <c:v>5.0987078992085619</c:v>
                </c:pt>
                <c:pt idx="10159">
                  <c:v>5.055862778961604</c:v>
                </c:pt>
                <c:pt idx="10160">
                  <c:v>6.1607777842427041</c:v>
                </c:pt>
                <c:pt idx="10161">
                  <c:v>5.8680124266265432</c:v>
                </c:pt>
                <c:pt idx="10162">
                  <c:v>6.1398683069933506</c:v>
                </c:pt>
                <c:pt idx="10163">
                  <c:v>5.1662092366552326</c:v>
                </c:pt>
                <c:pt idx="10164">
                  <c:v>5.0448941388171278</c:v>
                </c:pt>
                <c:pt idx="10165">
                  <c:v>5.0006592271257686</c:v>
                </c:pt>
                <c:pt idx="10166">
                  <c:v>6.0301260396347667</c:v>
                </c:pt>
                <c:pt idx="10167">
                  <c:v>5.9371318332332343</c:v>
                </c:pt>
                <c:pt idx="10168">
                  <c:v>5.9717171263116224</c:v>
                </c:pt>
                <c:pt idx="10169">
                  <c:v>5.0274691511528751</c:v>
                </c:pt>
                <c:pt idx="10170">
                  <c:v>5.9920671864962847</c:v>
                </c:pt>
                <c:pt idx="10171">
                  <c:v>4.9904828522559992</c:v>
                </c:pt>
                <c:pt idx="10172">
                  <c:v>5.8034074563484399</c:v>
                </c:pt>
                <c:pt idx="10173">
                  <c:v>5.1101708808010295</c:v>
                </c:pt>
                <c:pt idx="10174">
                  <c:v>5.9963627233780326</c:v>
                </c:pt>
                <c:pt idx="10175">
                  <c:v>5.9837595050144659</c:v>
                </c:pt>
                <c:pt idx="10176">
                  <c:v>6.0811610516497208</c:v>
                </c:pt>
                <c:pt idx="10177">
                  <c:v>4.8565088772922387</c:v>
                </c:pt>
                <c:pt idx="10178">
                  <c:v>6.0274145697273065</c:v>
                </c:pt>
                <c:pt idx="10179">
                  <c:v>5.0804442514435308</c:v>
                </c:pt>
                <c:pt idx="10180">
                  <c:v>5.935654983413218</c:v>
                </c:pt>
                <c:pt idx="10181">
                  <c:v>5.7941874828588205</c:v>
                </c:pt>
                <c:pt idx="10182">
                  <c:v>7.0698192426026507</c:v>
                </c:pt>
                <c:pt idx="10183">
                  <c:v>4.8154297932175938</c:v>
                </c:pt>
                <c:pt idx="10184">
                  <c:v>4.6961537118565984</c:v>
                </c:pt>
                <c:pt idx="10185">
                  <c:v>5.9248970021510452</c:v>
                </c:pt>
                <c:pt idx="10186">
                  <c:v>5.9236159621185136</c:v>
                </c:pt>
                <c:pt idx="10187">
                  <c:v>6.9097689617105305</c:v>
                </c:pt>
                <c:pt idx="10188">
                  <c:v>5.0774166238954495</c:v>
                </c:pt>
                <c:pt idx="10189">
                  <c:v>4.9977516506772783</c:v>
                </c:pt>
                <c:pt idx="10190">
                  <c:v>4.0103290929034134</c:v>
                </c:pt>
                <c:pt idx="10191">
                  <c:v>4.9746239165967756</c:v>
                </c:pt>
                <c:pt idx="10192">
                  <c:v>6.0662959307254365</c:v>
                </c:pt>
                <c:pt idx="10193">
                  <c:v>5.8478957258113029</c:v>
                </c:pt>
                <c:pt idx="10194">
                  <c:v>5.9010153404709023</c:v>
                </c:pt>
                <c:pt idx="10195">
                  <c:v>6.1207589262258155</c:v>
                </c:pt>
                <c:pt idx="10196">
                  <c:v>5.1374095274086651</c:v>
                </c:pt>
                <c:pt idx="10197">
                  <c:v>4.989471163755371</c:v>
                </c:pt>
                <c:pt idx="10198">
                  <c:v>6.0688812213537027</c:v>
                </c:pt>
                <c:pt idx="10199">
                  <c:v>5.0056524415571788</c:v>
                </c:pt>
                <c:pt idx="10200">
                  <c:v>5.9124834718967065</c:v>
                </c:pt>
                <c:pt idx="10201">
                  <c:v>4.8900015606792362</c:v>
                </c:pt>
                <c:pt idx="10202">
                  <c:v>5.976890317386947</c:v>
                </c:pt>
                <c:pt idx="10203">
                  <c:v>6.1130804645550674</c:v>
                </c:pt>
                <c:pt idx="10204">
                  <c:v>4.9657748506795372</c:v>
                </c:pt>
                <c:pt idx="10205">
                  <c:v>7.2008410679181223</c:v>
                </c:pt>
                <c:pt idx="10206">
                  <c:v>6.0339271992630508</c:v>
                </c:pt>
                <c:pt idx="10207">
                  <c:v>5.972515874447172</c:v>
                </c:pt>
                <c:pt idx="10208">
                  <c:v>6.187744962276561</c:v>
                </c:pt>
                <c:pt idx="10209">
                  <c:v>6.0271015822479121</c:v>
                </c:pt>
                <c:pt idx="10210">
                  <c:v>6.0463246662702597</c:v>
                </c:pt>
                <c:pt idx="10211">
                  <c:v>6.1458864633291936</c:v>
                </c:pt>
                <c:pt idx="10212">
                  <c:v>5.8023135512237074</c:v>
                </c:pt>
                <c:pt idx="10213">
                  <c:v>6.8707561496933387</c:v>
                </c:pt>
                <c:pt idx="10214">
                  <c:v>5.8397852631015557</c:v>
                </c:pt>
                <c:pt idx="10215">
                  <c:v>6.1349234434746274</c:v>
                </c:pt>
                <c:pt idx="10216">
                  <c:v>6.0187351435097174</c:v>
                </c:pt>
                <c:pt idx="10217">
                  <c:v>5.9110382573539413</c:v>
                </c:pt>
                <c:pt idx="10218">
                  <c:v>3.9827345155077634</c:v>
                </c:pt>
                <c:pt idx="10219">
                  <c:v>6.0054334487267411</c:v>
                </c:pt>
                <c:pt idx="10220">
                  <c:v>6.1070330454806854</c:v>
                </c:pt>
                <c:pt idx="10221">
                  <c:v>5.100749438150368</c:v>
                </c:pt>
                <c:pt idx="10222">
                  <c:v>6.9520114975030625</c:v>
                </c:pt>
                <c:pt idx="10223">
                  <c:v>5.9349986737564393</c:v>
                </c:pt>
                <c:pt idx="10224">
                  <c:v>4.9190802430513445</c:v>
                </c:pt>
                <c:pt idx="10225">
                  <c:v>5.9067757198227655</c:v>
                </c:pt>
                <c:pt idx="10226">
                  <c:v>4.9843450339489825</c:v>
                </c:pt>
                <c:pt idx="10227">
                  <c:v>5.9656274310523125</c:v>
                </c:pt>
                <c:pt idx="10228">
                  <c:v>4.9560425719428967</c:v>
                </c:pt>
                <c:pt idx="10229">
                  <c:v>5.9001390221489149</c:v>
                </c:pt>
                <c:pt idx="10230">
                  <c:v>6.0743573840674516</c:v>
                </c:pt>
                <c:pt idx="10231">
                  <c:v>4.997530314975295</c:v>
                </c:pt>
                <c:pt idx="10232">
                  <c:v>5.9008974804770862</c:v>
                </c:pt>
                <c:pt idx="10233">
                  <c:v>6.1989648477635688</c:v>
                </c:pt>
                <c:pt idx="10234">
                  <c:v>6.0591067211941185</c:v>
                </c:pt>
                <c:pt idx="10235">
                  <c:v>5.9332150254692122</c:v>
                </c:pt>
                <c:pt idx="10236">
                  <c:v>5.0861583237969308</c:v>
                </c:pt>
                <c:pt idx="10237">
                  <c:v>6.1284148883493499</c:v>
                </c:pt>
                <c:pt idx="10238">
                  <c:v>5.9330006567828706</c:v>
                </c:pt>
                <c:pt idx="10239">
                  <c:v>5.9500876516607955</c:v>
                </c:pt>
                <c:pt idx="10240">
                  <c:v>6.2873966502633749</c:v>
                </c:pt>
                <c:pt idx="10241">
                  <c:v>5.9432188613967067</c:v>
                </c:pt>
                <c:pt idx="10242">
                  <c:v>5.0266931197963949</c:v>
                </c:pt>
                <c:pt idx="10243">
                  <c:v>4.8834563549532115</c:v>
                </c:pt>
                <c:pt idx="10244">
                  <c:v>4.7720821696258335</c:v>
                </c:pt>
                <c:pt idx="10245">
                  <c:v>5.1087683900230703</c:v>
                </c:pt>
                <c:pt idx="10246">
                  <c:v>4.9724908887291974</c:v>
                </c:pt>
                <c:pt idx="10247">
                  <c:v>6.0316392069841918</c:v>
                </c:pt>
                <c:pt idx="10248">
                  <c:v>3.9859885773260171</c:v>
                </c:pt>
                <c:pt idx="10249">
                  <c:v>4.8780335806028985</c:v>
                </c:pt>
                <c:pt idx="10250">
                  <c:v>5.0660218222585289</c:v>
                </c:pt>
                <c:pt idx="10251">
                  <c:v>4.8981850802972788</c:v>
                </c:pt>
                <c:pt idx="10252">
                  <c:v>4.8833192969767598</c:v>
                </c:pt>
                <c:pt idx="10253">
                  <c:v>6.1217062249262639</c:v>
                </c:pt>
                <c:pt idx="10254">
                  <c:v>6.0586600883995798</c:v>
                </c:pt>
                <c:pt idx="10255">
                  <c:v>5.0540770129965535</c:v>
                </c:pt>
                <c:pt idx="10256">
                  <c:v>6.0226821743643848</c:v>
                </c:pt>
                <c:pt idx="10257">
                  <c:v>5.9837071891710645</c:v>
                </c:pt>
                <c:pt idx="10258">
                  <c:v>5.1078209702364381</c:v>
                </c:pt>
                <c:pt idx="10259">
                  <c:v>4.9962298029263472</c:v>
                </c:pt>
                <c:pt idx="10260">
                  <c:v>5.191400169893166</c:v>
                </c:pt>
                <c:pt idx="10261">
                  <c:v>7.0790732509587819</c:v>
                </c:pt>
                <c:pt idx="10262">
                  <c:v>6.1102951788814854</c:v>
                </c:pt>
                <c:pt idx="10263">
                  <c:v>6.3954622226750875</c:v>
                </c:pt>
                <c:pt idx="10264">
                  <c:v>5.9531627988705349</c:v>
                </c:pt>
                <c:pt idx="10265">
                  <c:v>4.9467246990184988</c:v>
                </c:pt>
                <c:pt idx="10266">
                  <c:v>4.8799653476445988</c:v>
                </c:pt>
                <c:pt idx="10267">
                  <c:v>4.9291799526117659</c:v>
                </c:pt>
                <c:pt idx="10268">
                  <c:v>4.935932715168005</c:v>
                </c:pt>
                <c:pt idx="10269">
                  <c:v>5.8851293763287309</c:v>
                </c:pt>
                <c:pt idx="10270">
                  <c:v>5.8881206191932733</c:v>
                </c:pt>
                <c:pt idx="10271">
                  <c:v>5.9853142163323954</c:v>
                </c:pt>
                <c:pt idx="10272">
                  <c:v>5.7949774213656031</c:v>
                </c:pt>
                <c:pt idx="10273">
                  <c:v>4.7938095140872958</c:v>
                </c:pt>
                <c:pt idx="10274">
                  <c:v>5.9016606672974108</c:v>
                </c:pt>
                <c:pt idx="10275">
                  <c:v>5.9181984325331687</c:v>
                </c:pt>
                <c:pt idx="10276">
                  <c:v>4.9541132836946611</c:v>
                </c:pt>
                <c:pt idx="10277">
                  <c:v>6.0410258815867488</c:v>
                </c:pt>
                <c:pt idx="10278">
                  <c:v>5.9153518122289555</c:v>
                </c:pt>
                <c:pt idx="10279">
                  <c:v>4.9741759102324936</c:v>
                </c:pt>
                <c:pt idx="10280">
                  <c:v>6.0357100736744682</c:v>
                </c:pt>
                <c:pt idx="10281">
                  <c:v>4.9476387868517957</c:v>
                </c:pt>
                <c:pt idx="10282">
                  <c:v>6.0323671252489435</c:v>
                </c:pt>
                <c:pt idx="10283">
                  <c:v>6.2213664307074206</c:v>
                </c:pt>
                <c:pt idx="10284">
                  <c:v>6.0958851446290083</c:v>
                </c:pt>
                <c:pt idx="10285">
                  <c:v>4.9887258036987392</c:v>
                </c:pt>
                <c:pt idx="10286">
                  <c:v>5.0855812098252891</c:v>
                </c:pt>
                <c:pt idx="10287">
                  <c:v>5.8816302887148844</c:v>
                </c:pt>
                <c:pt idx="10288">
                  <c:v>6.1219798455851642</c:v>
                </c:pt>
                <c:pt idx="10289">
                  <c:v>5.9638185104442671</c:v>
                </c:pt>
                <c:pt idx="10290">
                  <c:v>5.9080682932627884</c:v>
                </c:pt>
                <c:pt idx="10291">
                  <c:v>5.9680892295626942</c:v>
                </c:pt>
                <c:pt idx="10292">
                  <c:v>6.0138838878138019</c:v>
                </c:pt>
                <c:pt idx="10293">
                  <c:v>6.1428684006904417</c:v>
                </c:pt>
                <c:pt idx="10294">
                  <c:v>5.162718629816557</c:v>
                </c:pt>
                <c:pt idx="10295">
                  <c:v>6.082718812890902</c:v>
                </c:pt>
                <c:pt idx="10296">
                  <c:v>5.8829541276069941</c:v>
                </c:pt>
                <c:pt idx="10297">
                  <c:v>5.8666787338890574</c:v>
                </c:pt>
                <c:pt idx="10298">
                  <c:v>5.9887133337436413</c:v>
                </c:pt>
                <c:pt idx="10299">
                  <c:v>3.9708677954420137</c:v>
                </c:pt>
                <c:pt idx="10300">
                  <c:v>6.2409091505132093</c:v>
                </c:pt>
                <c:pt idx="10301">
                  <c:v>5.1909569067847539</c:v>
                </c:pt>
                <c:pt idx="10302">
                  <c:v>6.2880587353844319</c:v>
                </c:pt>
                <c:pt idx="10303">
                  <c:v>6.0400835960273431</c:v>
                </c:pt>
                <c:pt idx="10304">
                  <c:v>5.240898387532007</c:v>
                </c:pt>
                <c:pt idx="10305">
                  <c:v>5.0723751917454498</c:v>
                </c:pt>
                <c:pt idx="10306">
                  <c:v>4.9549087509496497</c:v>
                </c:pt>
                <c:pt idx="10307">
                  <c:v>6.0376964473713466</c:v>
                </c:pt>
                <c:pt idx="10308">
                  <c:v>4.9174513116330019</c:v>
                </c:pt>
                <c:pt idx="10309">
                  <c:v>5.9927882625194293</c:v>
                </c:pt>
                <c:pt idx="10310">
                  <c:v>5.9029027005469787</c:v>
                </c:pt>
                <c:pt idx="10311">
                  <c:v>5.0333448146088315</c:v>
                </c:pt>
                <c:pt idx="10312">
                  <c:v>5.8580084062297209</c:v>
                </c:pt>
                <c:pt idx="10313">
                  <c:v>6.0476240976564739</c:v>
                </c:pt>
                <c:pt idx="10314">
                  <c:v>5.8037952513060107</c:v>
                </c:pt>
                <c:pt idx="10315">
                  <c:v>3.1546531519755061</c:v>
                </c:pt>
                <c:pt idx="10316">
                  <c:v>3.0351372820323337</c:v>
                </c:pt>
                <c:pt idx="10317">
                  <c:v>5.9226737381753258</c:v>
                </c:pt>
                <c:pt idx="10318">
                  <c:v>2.967362238667314</c:v>
                </c:pt>
                <c:pt idx="10319">
                  <c:v>5.0530407340766734</c:v>
                </c:pt>
                <c:pt idx="10320">
                  <c:v>6.0405243773451724</c:v>
                </c:pt>
                <c:pt idx="10321">
                  <c:v>5.8980060144327195</c:v>
                </c:pt>
                <c:pt idx="10322">
                  <c:v>5.1357037191077115</c:v>
                </c:pt>
                <c:pt idx="10323">
                  <c:v>5.9773694703227411</c:v>
                </c:pt>
                <c:pt idx="10324">
                  <c:v>5.9839124862007722</c:v>
                </c:pt>
                <c:pt idx="10325">
                  <c:v>5.0489099198447818</c:v>
                </c:pt>
                <c:pt idx="10326">
                  <c:v>5.2192411853559966</c:v>
                </c:pt>
                <c:pt idx="10327">
                  <c:v>6.0499306038010126</c:v>
                </c:pt>
                <c:pt idx="10328">
                  <c:v>4.8498894376021919</c:v>
                </c:pt>
                <c:pt idx="10329">
                  <c:v>6.0957230187688829</c:v>
                </c:pt>
                <c:pt idx="10330">
                  <c:v>5.0622099033798733</c:v>
                </c:pt>
                <c:pt idx="10331">
                  <c:v>6.1154997518210061</c:v>
                </c:pt>
                <c:pt idx="10332">
                  <c:v>4.8571360421238818</c:v>
                </c:pt>
                <c:pt idx="10333">
                  <c:v>6.061045308305772</c:v>
                </c:pt>
                <c:pt idx="10334">
                  <c:v>6.1046707198439538</c:v>
                </c:pt>
                <c:pt idx="10335">
                  <c:v>6.1212828163103943</c:v>
                </c:pt>
                <c:pt idx="10336">
                  <c:v>5.075525307130123</c:v>
                </c:pt>
                <c:pt idx="10337">
                  <c:v>5.9070618535995632</c:v>
                </c:pt>
                <c:pt idx="10338">
                  <c:v>6.0937857379971563</c:v>
                </c:pt>
                <c:pt idx="10339">
                  <c:v>6.0701715123424602</c:v>
                </c:pt>
                <c:pt idx="10340">
                  <c:v>5.0893662971787439</c:v>
                </c:pt>
                <c:pt idx="10341">
                  <c:v>5.9901094851620993</c:v>
                </c:pt>
                <c:pt idx="10342">
                  <c:v>6.0545141364044941</c:v>
                </c:pt>
                <c:pt idx="10343">
                  <c:v>5.1920198596009763</c:v>
                </c:pt>
                <c:pt idx="10344">
                  <c:v>7.0699668935731861</c:v>
                </c:pt>
                <c:pt idx="10345">
                  <c:v>6.0262435478944392</c:v>
                </c:pt>
                <c:pt idx="10346">
                  <c:v>5.1308710542319345</c:v>
                </c:pt>
                <c:pt idx="10347">
                  <c:v>6.0018498002672267</c:v>
                </c:pt>
                <c:pt idx="10348">
                  <c:v>5.8544450814474613</c:v>
                </c:pt>
                <c:pt idx="10349">
                  <c:v>5.8636207572472996</c:v>
                </c:pt>
                <c:pt idx="10350">
                  <c:v>4.9858334720357158</c:v>
                </c:pt>
                <c:pt idx="10351">
                  <c:v>5.8619951874377199</c:v>
                </c:pt>
                <c:pt idx="10352">
                  <c:v>5.9067425901521329</c:v>
                </c:pt>
                <c:pt idx="10353">
                  <c:v>5.9433196794317027</c:v>
                </c:pt>
                <c:pt idx="10354">
                  <c:v>5.0093759730883081</c:v>
                </c:pt>
                <c:pt idx="10355">
                  <c:v>5.1170243619942806</c:v>
                </c:pt>
                <c:pt idx="10356">
                  <c:v>4.9519673574964207</c:v>
                </c:pt>
                <c:pt idx="10357">
                  <c:v>5.0428550588664809</c:v>
                </c:pt>
                <c:pt idx="10358">
                  <c:v>4.9764087715981518</c:v>
                </c:pt>
                <c:pt idx="10359">
                  <c:v>5.9614120534340032</c:v>
                </c:pt>
                <c:pt idx="10360">
                  <c:v>6.1363401392809713</c:v>
                </c:pt>
                <c:pt idx="10361">
                  <c:v>5.039232219175859</c:v>
                </c:pt>
                <c:pt idx="10362">
                  <c:v>7.1273820349781305</c:v>
                </c:pt>
                <c:pt idx="10363">
                  <c:v>5.0419055118160028</c:v>
                </c:pt>
                <c:pt idx="10364">
                  <c:v>4.8835320305985697</c:v>
                </c:pt>
                <c:pt idx="10365">
                  <c:v>6.0146435112399734</c:v>
                </c:pt>
                <c:pt idx="10366">
                  <c:v>7.1185472701633872</c:v>
                </c:pt>
                <c:pt idx="10367">
                  <c:v>4.9362379962183258</c:v>
                </c:pt>
                <c:pt idx="10368">
                  <c:v>6.0007888897492521</c:v>
                </c:pt>
                <c:pt idx="10369">
                  <c:v>6.1459060866363346</c:v>
                </c:pt>
                <c:pt idx="10370">
                  <c:v>6.0027647283859888</c:v>
                </c:pt>
                <c:pt idx="10371">
                  <c:v>3.9709692327323411</c:v>
                </c:pt>
                <c:pt idx="10372">
                  <c:v>4.001013342853839</c:v>
                </c:pt>
                <c:pt idx="10373">
                  <c:v>6.0452652708686569</c:v>
                </c:pt>
                <c:pt idx="10374">
                  <c:v>3.9174531511422188</c:v>
                </c:pt>
                <c:pt idx="10375">
                  <c:v>3.9726893817722528</c:v>
                </c:pt>
                <c:pt idx="10376">
                  <c:v>6.0635948011433296</c:v>
                </c:pt>
                <c:pt idx="10377">
                  <c:v>1.842097849600475</c:v>
                </c:pt>
                <c:pt idx="10378">
                  <c:v>6.01660735341967</c:v>
                </c:pt>
                <c:pt idx="10379">
                  <c:v>5.0869538039743309</c:v>
                </c:pt>
                <c:pt idx="10380">
                  <c:v>5.8969081777342662</c:v>
                </c:pt>
                <c:pt idx="10381">
                  <c:v>5.9943126800354971</c:v>
                </c:pt>
                <c:pt idx="10382">
                  <c:v>5.9564540208805816</c:v>
                </c:pt>
                <c:pt idx="10383">
                  <c:v>6.0240988302220044</c:v>
                </c:pt>
                <c:pt idx="10384">
                  <c:v>5.9789537190207618</c:v>
                </c:pt>
                <c:pt idx="10385">
                  <c:v>6.0011748841059909</c:v>
                </c:pt>
                <c:pt idx="10386">
                  <c:v>5.8569775198447669</c:v>
                </c:pt>
                <c:pt idx="10387">
                  <c:v>5.9273445014036268</c:v>
                </c:pt>
                <c:pt idx="10388">
                  <c:v>6.1239295791616861</c:v>
                </c:pt>
                <c:pt idx="10389">
                  <c:v>6.0837354918123721</c:v>
                </c:pt>
                <c:pt idx="10390">
                  <c:v>6.0623275508491172</c:v>
                </c:pt>
                <c:pt idx="10391">
                  <c:v>5.0351862301228092</c:v>
                </c:pt>
                <c:pt idx="10392">
                  <c:v>6.1276653953185365</c:v>
                </c:pt>
                <c:pt idx="10393">
                  <c:v>5.9362326729284041</c:v>
                </c:pt>
                <c:pt idx="10394">
                  <c:v>5.833532680553577</c:v>
                </c:pt>
                <c:pt idx="10395">
                  <c:v>5.8579446020835668</c:v>
                </c:pt>
                <c:pt idx="10396">
                  <c:v>5.0878474814776382</c:v>
                </c:pt>
                <c:pt idx="10397">
                  <c:v>6.044309815165243</c:v>
                </c:pt>
                <c:pt idx="10398">
                  <c:v>5.0012245636681065</c:v>
                </c:pt>
                <c:pt idx="10399">
                  <c:v>6.2841551130861895</c:v>
                </c:pt>
                <c:pt idx="10400">
                  <c:v>4.1623970912685557</c:v>
                </c:pt>
                <c:pt idx="10401">
                  <c:v>4.8937368108405668</c:v>
                </c:pt>
                <c:pt idx="10402">
                  <c:v>5.9968883674721249</c:v>
                </c:pt>
                <c:pt idx="10403">
                  <c:v>5.9409044013180434</c:v>
                </c:pt>
                <c:pt idx="10404">
                  <c:v>6.0137768762197874</c:v>
                </c:pt>
                <c:pt idx="10405">
                  <c:v>6.1554093404325414</c:v>
                </c:pt>
                <c:pt idx="10406">
                  <c:v>4.9826231293081173</c:v>
                </c:pt>
                <c:pt idx="10407">
                  <c:v>6.1315476540262166</c:v>
                </c:pt>
                <c:pt idx="10408">
                  <c:v>5.9175436894700075</c:v>
                </c:pt>
                <c:pt idx="10409">
                  <c:v>5.1068629789442967</c:v>
                </c:pt>
                <c:pt idx="10410">
                  <c:v>4.8154953910282963</c:v>
                </c:pt>
                <c:pt idx="10411">
                  <c:v>6.1155766177682054</c:v>
                </c:pt>
                <c:pt idx="10412">
                  <c:v>5.0264130601178403</c:v>
                </c:pt>
                <c:pt idx="10413">
                  <c:v>4.8138835441840211</c:v>
                </c:pt>
                <c:pt idx="10414">
                  <c:v>7.0748699597417328</c:v>
                </c:pt>
                <c:pt idx="10415">
                  <c:v>5.9589303811137659</c:v>
                </c:pt>
                <c:pt idx="10416">
                  <c:v>6.0584521781097793</c:v>
                </c:pt>
                <c:pt idx="10417">
                  <c:v>5.879940937127742</c:v>
                </c:pt>
                <c:pt idx="10418">
                  <c:v>5.9916511302686679</c:v>
                </c:pt>
                <c:pt idx="10419">
                  <c:v>6.9800062156431384</c:v>
                </c:pt>
                <c:pt idx="10420">
                  <c:v>6.0606402541913038</c:v>
                </c:pt>
                <c:pt idx="10421">
                  <c:v>5.0167566407244149</c:v>
                </c:pt>
                <c:pt idx="10422">
                  <c:v>4.9208530453408468</c:v>
                </c:pt>
                <c:pt idx="10423">
                  <c:v>6.1244537712042675</c:v>
                </c:pt>
                <c:pt idx="10424">
                  <c:v>5.9830188475384549</c:v>
                </c:pt>
                <c:pt idx="10425">
                  <c:v>4.9981413832262218</c:v>
                </c:pt>
                <c:pt idx="10426">
                  <c:v>5.9057373913458049</c:v>
                </c:pt>
                <c:pt idx="10427">
                  <c:v>6.0545796941393926</c:v>
                </c:pt>
                <c:pt idx="10428">
                  <c:v>5.9871777896163758</c:v>
                </c:pt>
                <c:pt idx="10429">
                  <c:v>6.1557562796657788</c:v>
                </c:pt>
                <c:pt idx="10430">
                  <c:v>6.0600198642240448</c:v>
                </c:pt>
                <c:pt idx="10431">
                  <c:v>6.1657451158973435</c:v>
                </c:pt>
                <c:pt idx="10432">
                  <c:v>6.0758782496498513</c:v>
                </c:pt>
                <c:pt idx="10433">
                  <c:v>5.0458071426033486</c:v>
                </c:pt>
                <c:pt idx="10434">
                  <c:v>6.1388181314009556</c:v>
                </c:pt>
                <c:pt idx="10435">
                  <c:v>5.9982160012644705</c:v>
                </c:pt>
                <c:pt idx="10436">
                  <c:v>5.9673610634824827</c:v>
                </c:pt>
                <c:pt idx="10437">
                  <c:v>6.0380606496511797</c:v>
                </c:pt>
                <c:pt idx="10438">
                  <c:v>5.1687925990355188</c:v>
                </c:pt>
                <c:pt idx="10439">
                  <c:v>5.9371132218123641</c:v>
                </c:pt>
                <c:pt idx="10440">
                  <c:v>6.0341072702099874</c:v>
                </c:pt>
                <c:pt idx="10441">
                  <c:v>6.9715420035289801</c:v>
                </c:pt>
                <c:pt idx="10442">
                  <c:v>4.9441062351032157</c:v>
                </c:pt>
                <c:pt idx="10443">
                  <c:v>5.9699874995167495</c:v>
                </c:pt>
                <c:pt idx="10444">
                  <c:v>5.1118498316878496</c:v>
                </c:pt>
                <c:pt idx="10445">
                  <c:v>5.0627730450827775</c:v>
                </c:pt>
                <c:pt idx="10446">
                  <c:v>4.961430605831568</c:v>
                </c:pt>
                <c:pt idx="10447">
                  <c:v>5.9976146631836675</c:v>
                </c:pt>
                <c:pt idx="10448">
                  <c:v>5.1352967443579889</c:v>
                </c:pt>
                <c:pt idx="10449">
                  <c:v>4.9331684072082931</c:v>
                </c:pt>
                <c:pt idx="10450">
                  <c:v>5.9196532502632477</c:v>
                </c:pt>
                <c:pt idx="10451">
                  <c:v>5.9881577925013802</c:v>
                </c:pt>
                <c:pt idx="10452">
                  <c:v>6.0197026145514334</c:v>
                </c:pt>
                <c:pt idx="10453">
                  <c:v>6.0566867849388668</c:v>
                </c:pt>
                <c:pt idx="10454">
                  <c:v>6.1230150582598313</c:v>
                </c:pt>
                <c:pt idx="10455">
                  <c:v>5.7555061661725437</c:v>
                </c:pt>
                <c:pt idx="10456">
                  <c:v>5.8687350514542453</c:v>
                </c:pt>
                <c:pt idx="10457">
                  <c:v>6.0132195811463811</c:v>
                </c:pt>
                <c:pt idx="10458">
                  <c:v>6.14248124701958</c:v>
                </c:pt>
                <c:pt idx="10459">
                  <c:v>5.9335615748880528</c:v>
                </c:pt>
                <c:pt idx="10460">
                  <c:v>5.9835357379734733</c:v>
                </c:pt>
                <c:pt idx="10461">
                  <c:v>5.9397542344662035</c:v>
                </c:pt>
                <c:pt idx="10462">
                  <c:v>6.0842756688598216</c:v>
                </c:pt>
                <c:pt idx="10463">
                  <c:v>5.9418391957177503</c:v>
                </c:pt>
                <c:pt idx="10464">
                  <c:v>5.9425444049818328</c:v>
                </c:pt>
                <c:pt idx="10465">
                  <c:v>4.8405389236858722</c:v>
                </c:pt>
                <c:pt idx="10466">
                  <c:v>7.1172580942021595</c:v>
                </c:pt>
                <c:pt idx="10467">
                  <c:v>6.0377211951503993</c:v>
                </c:pt>
                <c:pt idx="10468">
                  <c:v>4.8913321674274464</c:v>
                </c:pt>
                <c:pt idx="10469">
                  <c:v>6.0605966049688975</c:v>
                </c:pt>
                <c:pt idx="10470">
                  <c:v>5.868088443735461</c:v>
                </c:pt>
                <c:pt idx="10471">
                  <c:v>5.9573609283677804</c:v>
                </c:pt>
                <c:pt idx="10472">
                  <c:v>6.0885296219444669</c:v>
                </c:pt>
                <c:pt idx="10473">
                  <c:v>4.9221647789902478</c:v>
                </c:pt>
                <c:pt idx="10474">
                  <c:v>5.0248245523645938</c:v>
                </c:pt>
                <c:pt idx="10475">
                  <c:v>5.0886698329027311</c:v>
                </c:pt>
                <c:pt idx="10476">
                  <c:v>5.8736787931586996</c:v>
                </c:pt>
                <c:pt idx="10477">
                  <c:v>5.0379793810276698</c:v>
                </c:pt>
                <c:pt idx="10478">
                  <c:v>4.7865114781506808</c:v>
                </c:pt>
                <c:pt idx="10479">
                  <c:v>6.0428671056341212</c:v>
                </c:pt>
                <c:pt idx="10480">
                  <c:v>6.0232290726488449</c:v>
                </c:pt>
                <c:pt idx="10481">
                  <c:v>5.9085983373306119</c:v>
                </c:pt>
                <c:pt idx="10482">
                  <c:v>6.0723773496339284</c:v>
                </c:pt>
                <c:pt idx="10483">
                  <c:v>4.9363162968127794</c:v>
                </c:pt>
                <c:pt idx="10484">
                  <c:v>3.9486216246861336</c:v>
                </c:pt>
                <c:pt idx="10485">
                  <c:v>5.0247283716999345</c:v>
                </c:pt>
                <c:pt idx="10486">
                  <c:v>4.9045690172325651</c:v>
                </c:pt>
                <c:pt idx="10487">
                  <c:v>5.0453042186816388</c:v>
                </c:pt>
                <c:pt idx="10488">
                  <c:v>5.0424143137690685</c:v>
                </c:pt>
                <c:pt idx="10489">
                  <c:v>4.9151774897354992</c:v>
                </c:pt>
                <c:pt idx="10490">
                  <c:v>4.8839588260613835</c:v>
                </c:pt>
                <c:pt idx="10491">
                  <c:v>5.0880837680087598</c:v>
                </c:pt>
                <c:pt idx="10492">
                  <c:v>7.0485085728763961</c:v>
                </c:pt>
                <c:pt idx="10493">
                  <c:v>4.9380640632176895</c:v>
                </c:pt>
                <c:pt idx="10494">
                  <c:v>6.0739724150234062</c:v>
                </c:pt>
                <c:pt idx="10495">
                  <c:v>7.1225605232732594</c:v>
                </c:pt>
                <c:pt idx="10496">
                  <c:v>5.9189252846860283</c:v>
                </c:pt>
                <c:pt idx="10497">
                  <c:v>6.105613542937002</c:v>
                </c:pt>
                <c:pt idx="10498">
                  <c:v>6.0411243894897311</c:v>
                </c:pt>
                <c:pt idx="10499">
                  <c:v>5.006579423397608</c:v>
                </c:pt>
                <c:pt idx="10500">
                  <c:v>6.090556504607247</c:v>
                </c:pt>
                <c:pt idx="10501">
                  <c:v>4.9989661059783197</c:v>
                </c:pt>
                <c:pt idx="10502">
                  <c:v>6.0476052829754687</c:v>
                </c:pt>
                <c:pt idx="10503">
                  <c:v>5.2354110287026092</c:v>
                </c:pt>
                <c:pt idx="10504">
                  <c:v>5.9240705663199043</c:v>
                </c:pt>
                <c:pt idx="10505">
                  <c:v>5.1648896374110658</c:v>
                </c:pt>
                <c:pt idx="10506">
                  <c:v>6.0325985072084345</c:v>
                </c:pt>
                <c:pt idx="10507">
                  <c:v>6.0043534683325701</c:v>
                </c:pt>
                <c:pt idx="10508">
                  <c:v>6.2104388222473501</c:v>
                </c:pt>
                <c:pt idx="10509">
                  <c:v>5.0108983205983382</c:v>
                </c:pt>
                <c:pt idx="10510">
                  <c:v>4.9983798257494536</c:v>
                </c:pt>
                <c:pt idx="10511">
                  <c:v>6.1870594589888883</c:v>
                </c:pt>
                <c:pt idx="10512">
                  <c:v>5.2162317996041647</c:v>
                </c:pt>
                <c:pt idx="10513">
                  <c:v>5.9401254859045958</c:v>
                </c:pt>
                <c:pt idx="10514">
                  <c:v>5.0965983740880869</c:v>
                </c:pt>
                <c:pt idx="10515">
                  <c:v>4.9777972615748629</c:v>
                </c:pt>
                <c:pt idx="10516">
                  <c:v>5.1725324921697133</c:v>
                </c:pt>
                <c:pt idx="10517">
                  <c:v>5.953501933995093</c:v>
                </c:pt>
                <c:pt idx="10518">
                  <c:v>6.1042508864131229</c:v>
                </c:pt>
                <c:pt idx="10519">
                  <c:v>6.0479356275100589</c:v>
                </c:pt>
                <c:pt idx="10520">
                  <c:v>5.0426393803464586</c:v>
                </c:pt>
                <c:pt idx="10521">
                  <c:v>7.0699582207617189</c:v>
                </c:pt>
                <c:pt idx="10522">
                  <c:v>6.1123787846071922</c:v>
                </c:pt>
                <c:pt idx="10523">
                  <c:v>6.999536478317375</c:v>
                </c:pt>
                <c:pt idx="10524">
                  <c:v>4.9914616353629624</c:v>
                </c:pt>
                <c:pt idx="10525">
                  <c:v>6.0542949573861931</c:v>
                </c:pt>
                <c:pt idx="10526">
                  <c:v>5.9473189744689767</c:v>
                </c:pt>
                <c:pt idx="10527">
                  <c:v>6.0355550799329833</c:v>
                </c:pt>
                <c:pt idx="10528">
                  <c:v>6.1757598625156289</c:v>
                </c:pt>
                <c:pt idx="10529">
                  <c:v>5.8216658372869112</c:v>
                </c:pt>
                <c:pt idx="10530">
                  <c:v>6.0762564912353625</c:v>
                </c:pt>
                <c:pt idx="10531">
                  <c:v>6.1377156812982978</c:v>
                </c:pt>
                <c:pt idx="10532">
                  <c:v>6.1334315276681464</c:v>
                </c:pt>
                <c:pt idx="10533">
                  <c:v>5.9312051217140374</c:v>
                </c:pt>
                <c:pt idx="10534">
                  <c:v>5.9533003704130349</c:v>
                </c:pt>
                <c:pt idx="10535">
                  <c:v>6.0403646923084811</c:v>
                </c:pt>
                <c:pt idx="10536">
                  <c:v>5.9797093373598695</c:v>
                </c:pt>
                <c:pt idx="10537">
                  <c:v>5.9278799964221749</c:v>
                </c:pt>
                <c:pt idx="10538">
                  <c:v>6.1834191782905723</c:v>
                </c:pt>
                <c:pt idx="10539">
                  <c:v>6.2800139844826335</c:v>
                </c:pt>
                <c:pt idx="10540">
                  <c:v>4.9520013769325093</c:v>
                </c:pt>
                <c:pt idx="10541">
                  <c:v>7.1951437630022737</c:v>
                </c:pt>
                <c:pt idx="10542">
                  <c:v>6.1434192626576056</c:v>
                </c:pt>
                <c:pt idx="10543">
                  <c:v>5.0124907540432577</c:v>
                </c:pt>
                <c:pt idx="10544">
                  <c:v>5.0426252741863244</c:v>
                </c:pt>
                <c:pt idx="10545">
                  <c:v>6.065348819854556</c:v>
                </c:pt>
                <c:pt idx="10546">
                  <c:v>4.9572871274091455</c:v>
                </c:pt>
                <c:pt idx="10547">
                  <c:v>4.9986117991357162</c:v>
                </c:pt>
                <c:pt idx="10548">
                  <c:v>4.0947362339139142</c:v>
                </c:pt>
                <c:pt idx="10549">
                  <c:v>4.961102736520437</c:v>
                </c:pt>
                <c:pt idx="10550">
                  <c:v>6.0556784731047646</c:v>
                </c:pt>
                <c:pt idx="10551">
                  <c:v>5.0717918998425331</c:v>
                </c:pt>
                <c:pt idx="10552">
                  <c:v>4.90162616563632</c:v>
                </c:pt>
                <c:pt idx="10553">
                  <c:v>5.9969062147209975</c:v>
                </c:pt>
                <c:pt idx="10554">
                  <c:v>5.946511469856409</c:v>
                </c:pt>
                <c:pt idx="10555">
                  <c:v>5.1084301556876044</c:v>
                </c:pt>
                <c:pt idx="10556">
                  <c:v>5.9210134029018331</c:v>
                </c:pt>
                <c:pt idx="10557">
                  <c:v>6.1070958270494344</c:v>
                </c:pt>
                <c:pt idx="10558">
                  <c:v>6.9613427760838729</c:v>
                </c:pt>
                <c:pt idx="10559">
                  <c:v>6.0490099518472551</c:v>
                </c:pt>
                <c:pt idx="10560">
                  <c:v>4.9509839665998427</c:v>
                </c:pt>
                <c:pt idx="10561">
                  <c:v>6.0907432853277506</c:v>
                </c:pt>
                <c:pt idx="10562">
                  <c:v>5.9272298051246439</c:v>
                </c:pt>
                <c:pt idx="10563">
                  <c:v>4.9145204015084891</c:v>
                </c:pt>
                <c:pt idx="10564">
                  <c:v>5.1135484687685526</c:v>
                </c:pt>
                <c:pt idx="10565">
                  <c:v>5.9435904935021187</c:v>
                </c:pt>
                <c:pt idx="10566">
                  <c:v>5.9059843828608933</c:v>
                </c:pt>
                <c:pt idx="10567">
                  <c:v>5.1240615786628005</c:v>
                </c:pt>
                <c:pt idx="10568">
                  <c:v>4.9298641159387211</c:v>
                </c:pt>
                <c:pt idx="10569">
                  <c:v>4.9252570453359601</c:v>
                </c:pt>
                <c:pt idx="10570">
                  <c:v>5.9924077013492481</c:v>
                </c:pt>
                <c:pt idx="10571">
                  <c:v>6.9213444724072701</c:v>
                </c:pt>
                <c:pt idx="10572">
                  <c:v>6.0218611543448954</c:v>
                </c:pt>
                <c:pt idx="10573">
                  <c:v>5.9048635009007251</c:v>
                </c:pt>
                <c:pt idx="10574">
                  <c:v>5.9019222243040206</c:v>
                </c:pt>
                <c:pt idx="10575">
                  <c:v>5.9716324055296992</c:v>
                </c:pt>
                <c:pt idx="10576">
                  <c:v>5.9684481577951276</c:v>
                </c:pt>
                <c:pt idx="10577">
                  <c:v>4.9316633105260532</c:v>
                </c:pt>
                <c:pt idx="10578">
                  <c:v>6.1909350642411276</c:v>
                </c:pt>
                <c:pt idx="10579">
                  <c:v>7.0932670005970069</c:v>
                </c:pt>
                <c:pt idx="10580">
                  <c:v>6.2591697004001858</c:v>
                </c:pt>
                <c:pt idx="10581">
                  <c:v>7.0475104648861162</c:v>
                </c:pt>
                <c:pt idx="10582">
                  <c:v>6.9096807129347591</c:v>
                </c:pt>
                <c:pt idx="10583">
                  <c:v>6.1319146281729422</c:v>
                </c:pt>
                <c:pt idx="10584">
                  <c:v>6.8746522106946184</c:v>
                </c:pt>
                <c:pt idx="10585">
                  <c:v>3.8184611846911847</c:v>
                </c:pt>
                <c:pt idx="10586">
                  <c:v>6.0364890786615835</c:v>
                </c:pt>
                <c:pt idx="10587">
                  <c:v>7.210197237728635</c:v>
                </c:pt>
                <c:pt idx="10588">
                  <c:v>6.015816394061356</c:v>
                </c:pt>
                <c:pt idx="10589">
                  <c:v>5.9695549046577376</c:v>
                </c:pt>
                <c:pt idx="10590">
                  <c:v>5.0345129081093472</c:v>
                </c:pt>
                <c:pt idx="10591">
                  <c:v>5.7786856507105897</c:v>
                </c:pt>
                <c:pt idx="10592">
                  <c:v>6.1392907012419622</c:v>
                </c:pt>
                <c:pt idx="10593">
                  <c:v>4.1399151652882082</c:v>
                </c:pt>
                <c:pt idx="10594">
                  <c:v>6.1794577308838017</c:v>
                </c:pt>
                <c:pt idx="10595">
                  <c:v>5.9827460317608798</c:v>
                </c:pt>
                <c:pt idx="10596">
                  <c:v>6.043957131103892</c:v>
                </c:pt>
                <c:pt idx="10597">
                  <c:v>6.086530568717115</c:v>
                </c:pt>
                <c:pt idx="10598">
                  <c:v>6.072212751988558</c:v>
                </c:pt>
                <c:pt idx="10599">
                  <c:v>5.9887702479860945</c:v>
                </c:pt>
                <c:pt idx="10600">
                  <c:v>7.1980863359553826</c:v>
                </c:pt>
                <c:pt idx="10601">
                  <c:v>6.1228490667905859</c:v>
                </c:pt>
                <c:pt idx="10602">
                  <c:v>6.2987597345341264</c:v>
                </c:pt>
                <c:pt idx="10603">
                  <c:v>5.9229243083786596</c:v>
                </c:pt>
                <c:pt idx="10604">
                  <c:v>5.8096933745848229</c:v>
                </c:pt>
                <c:pt idx="10605">
                  <c:v>6.1192050915377809</c:v>
                </c:pt>
                <c:pt idx="10606">
                  <c:v>6.0327703881114596</c:v>
                </c:pt>
                <c:pt idx="10607">
                  <c:v>5.0222280247323825</c:v>
                </c:pt>
                <c:pt idx="10608">
                  <c:v>6.0667199583331319</c:v>
                </c:pt>
                <c:pt idx="10609">
                  <c:v>5.9428204202995767</c:v>
                </c:pt>
                <c:pt idx="10610">
                  <c:v>5.9305783289733114</c:v>
                </c:pt>
                <c:pt idx="10611">
                  <c:v>5.8334320468618444</c:v>
                </c:pt>
                <c:pt idx="10612">
                  <c:v>5.9172633756356099</c:v>
                </c:pt>
                <c:pt idx="10613">
                  <c:v>6.0119504346674919</c:v>
                </c:pt>
                <c:pt idx="10614">
                  <c:v>6.141912412121024</c:v>
                </c:pt>
                <c:pt idx="10615">
                  <c:v>5.9580289145368877</c:v>
                </c:pt>
                <c:pt idx="10616">
                  <c:v>7.0764797161909714</c:v>
                </c:pt>
                <c:pt idx="10617">
                  <c:v>4.9641455176723346</c:v>
                </c:pt>
                <c:pt idx="10618">
                  <c:v>6.1314533274194147</c:v>
                </c:pt>
                <c:pt idx="10619">
                  <c:v>6.0981719196615947</c:v>
                </c:pt>
                <c:pt idx="10620">
                  <c:v>6.1361937976411127</c:v>
                </c:pt>
                <c:pt idx="10621">
                  <c:v>5.8641912033328953</c:v>
                </c:pt>
                <c:pt idx="10622">
                  <c:v>6.112905039366094</c:v>
                </c:pt>
                <c:pt idx="10623">
                  <c:v>4.8858004036587959</c:v>
                </c:pt>
                <c:pt idx="10624">
                  <c:v>6.0071839489043555</c:v>
                </c:pt>
                <c:pt idx="10625">
                  <c:v>6.0744912100022033</c:v>
                </c:pt>
                <c:pt idx="10626">
                  <c:v>6.0353114717138663</c:v>
                </c:pt>
                <c:pt idx="10627">
                  <c:v>5.943288844279655</c:v>
                </c:pt>
                <c:pt idx="10628">
                  <c:v>5.9720031304577308</c:v>
                </c:pt>
                <c:pt idx="10629">
                  <c:v>5.9080299747713276</c:v>
                </c:pt>
                <c:pt idx="10630">
                  <c:v>5.9461737079604973</c:v>
                </c:pt>
                <c:pt idx="10631">
                  <c:v>6.1030113267924522</c:v>
                </c:pt>
                <c:pt idx="10632">
                  <c:v>6.0730477942629566</c:v>
                </c:pt>
                <c:pt idx="10633">
                  <c:v>7.0934938682185633</c:v>
                </c:pt>
                <c:pt idx="10634">
                  <c:v>4.9095724442374955</c:v>
                </c:pt>
                <c:pt idx="10635">
                  <c:v>6.1241561251015693</c:v>
                </c:pt>
                <c:pt idx="10636">
                  <c:v>5.8834161246500916</c:v>
                </c:pt>
                <c:pt idx="10637">
                  <c:v>6.0573048726692216</c:v>
                </c:pt>
                <c:pt idx="10638">
                  <c:v>5.9037643534095858</c:v>
                </c:pt>
                <c:pt idx="10639">
                  <c:v>5.9392713465030447</c:v>
                </c:pt>
                <c:pt idx="10640">
                  <c:v>6.9499185954348235</c:v>
                </c:pt>
                <c:pt idx="10641">
                  <c:v>5.8754828284694245</c:v>
                </c:pt>
                <c:pt idx="10642">
                  <c:v>5.9813044588384523</c:v>
                </c:pt>
                <c:pt idx="10643">
                  <c:v>5.959061281820607</c:v>
                </c:pt>
                <c:pt idx="10644">
                  <c:v>5.9640232455291109</c:v>
                </c:pt>
                <c:pt idx="10645">
                  <c:v>5.9331769209105545</c:v>
                </c:pt>
                <c:pt idx="10646">
                  <c:v>5.9399496807491756</c:v>
                </c:pt>
                <c:pt idx="10647">
                  <c:v>6.1434407407260681</c:v>
                </c:pt>
                <c:pt idx="10648">
                  <c:v>6.0950492792198014</c:v>
                </c:pt>
                <c:pt idx="10649">
                  <c:v>6.057108053595762</c:v>
                </c:pt>
                <c:pt idx="10650">
                  <c:v>5.0305609484533313</c:v>
                </c:pt>
                <c:pt idx="10651">
                  <c:v>6.09916028562506</c:v>
                </c:pt>
                <c:pt idx="10652">
                  <c:v>5.7980216893155179</c:v>
                </c:pt>
                <c:pt idx="10653">
                  <c:v>5.9480408428146765</c:v>
                </c:pt>
                <c:pt idx="10654">
                  <c:v>5.8940931004560868</c:v>
                </c:pt>
                <c:pt idx="10655">
                  <c:v>6.9732310927058982</c:v>
                </c:pt>
                <c:pt idx="10656">
                  <c:v>5.9585038628979383</c:v>
                </c:pt>
                <c:pt idx="10657">
                  <c:v>5.8746931589036988</c:v>
                </c:pt>
                <c:pt idx="10658">
                  <c:v>5.0678404639745507</c:v>
                </c:pt>
                <c:pt idx="10659">
                  <c:v>6.1210693009386858</c:v>
                </c:pt>
                <c:pt idx="10660">
                  <c:v>5.9490328597711812</c:v>
                </c:pt>
                <c:pt idx="10661">
                  <c:v>6.0902318727492055</c:v>
                </c:pt>
                <c:pt idx="10662">
                  <c:v>4.9658519721403138</c:v>
                </c:pt>
                <c:pt idx="10663">
                  <c:v>6.2060248896343282</c:v>
                </c:pt>
                <c:pt idx="10664">
                  <c:v>3.9826272924559514</c:v>
                </c:pt>
                <c:pt idx="10665">
                  <c:v>7.0061381111511123</c:v>
                </c:pt>
                <c:pt idx="10666">
                  <c:v>6.9660047535693437</c:v>
                </c:pt>
                <c:pt idx="10667">
                  <c:v>6.0579906081099884</c:v>
                </c:pt>
                <c:pt idx="10668">
                  <c:v>5.9678275509465335</c:v>
                </c:pt>
                <c:pt idx="10669">
                  <c:v>6.0178196411924469</c:v>
                </c:pt>
                <c:pt idx="10670">
                  <c:v>6.0793862430200285</c:v>
                </c:pt>
                <c:pt idx="10671">
                  <c:v>5.8967682214081405</c:v>
                </c:pt>
                <c:pt idx="10672">
                  <c:v>6.1505574848919782</c:v>
                </c:pt>
                <c:pt idx="10673">
                  <c:v>5.7619453734082633</c:v>
                </c:pt>
                <c:pt idx="10674">
                  <c:v>5.9778989679442756</c:v>
                </c:pt>
                <c:pt idx="10675">
                  <c:v>5.9051974222851138</c:v>
                </c:pt>
                <c:pt idx="10676">
                  <c:v>5.2044578094288756</c:v>
                </c:pt>
                <c:pt idx="10677">
                  <c:v>5.9251664963507178</c:v>
                </c:pt>
                <c:pt idx="10678">
                  <c:v>6.0214503665310337</c:v>
                </c:pt>
                <c:pt idx="10679">
                  <c:v>5.963094731619635</c:v>
                </c:pt>
                <c:pt idx="10680">
                  <c:v>5.9051404310543161</c:v>
                </c:pt>
                <c:pt idx="10681">
                  <c:v>6.1192501840841071</c:v>
                </c:pt>
                <c:pt idx="10682">
                  <c:v>6.0691075849577079</c:v>
                </c:pt>
                <c:pt idx="10683">
                  <c:v>5.8940889020076153</c:v>
                </c:pt>
                <c:pt idx="10684">
                  <c:v>5.2162913768589236</c:v>
                </c:pt>
                <c:pt idx="10685">
                  <c:v>5.9764940258823041</c:v>
                </c:pt>
                <c:pt idx="10686">
                  <c:v>6.0806766530123406</c:v>
                </c:pt>
                <c:pt idx="10687">
                  <c:v>5.9367202254450495</c:v>
                </c:pt>
                <c:pt idx="10688">
                  <c:v>5.7564363839923338</c:v>
                </c:pt>
                <c:pt idx="10689">
                  <c:v>6.1911875496259148</c:v>
                </c:pt>
                <c:pt idx="10690">
                  <c:v>5.7751930015944755</c:v>
                </c:pt>
                <c:pt idx="10691">
                  <c:v>6.0422442727265127</c:v>
                </c:pt>
                <c:pt idx="10692">
                  <c:v>5.8568248551340849</c:v>
                </c:pt>
                <c:pt idx="10693">
                  <c:v>6.0027603419108067</c:v>
                </c:pt>
                <c:pt idx="10694">
                  <c:v>6.0207294235945135</c:v>
                </c:pt>
                <c:pt idx="10695">
                  <c:v>6.0059172789479964</c:v>
                </c:pt>
                <c:pt idx="10696">
                  <c:v>5.9109199416115867</c:v>
                </c:pt>
                <c:pt idx="10697">
                  <c:v>5.9161020894620027</c:v>
                </c:pt>
                <c:pt idx="10698">
                  <c:v>5.9231171651892733</c:v>
                </c:pt>
                <c:pt idx="10699">
                  <c:v>6.1072557021270724</c:v>
                </c:pt>
                <c:pt idx="10700">
                  <c:v>5.0414440137616081</c:v>
                </c:pt>
                <c:pt idx="10701">
                  <c:v>5.911284838047294</c:v>
                </c:pt>
                <c:pt idx="10702">
                  <c:v>6.1133775921334816</c:v>
                </c:pt>
                <c:pt idx="10703">
                  <c:v>5.950883891208135</c:v>
                </c:pt>
                <c:pt idx="10704">
                  <c:v>6.0807812610818273</c:v>
                </c:pt>
                <c:pt idx="10705">
                  <c:v>4.9516644163116563</c:v>
                </c:pt>
                <c:pt idx="10706">
                  <c:v>5.9414961756580498</c:v>
                </c:pt>
                <c:pt idx="10707">
                  <c:v>5.0828192470106801</c:v>
                </c:pt>
                <c:pt idx="10708">
                  <c:v>5.1471920972558074</c:v>
                </c:pt>
                <c:pt idx="10709">
                  <c:v>5.820369093128809</c:v>
                </c:pt>
                <c:pt idx="10710">
                  <c:v>5.9743273178691947</c:v>
                </c:pt>
                <c:pt idx="10711">
                  <c:v>6.1599580851407962</c:v>
                </c:pt>
                <c:pt idx="10712">
                  <c:v>5.8762551973304742</c:v>
                </c:pt>
                <c:pt idx="10713">
                  <c:v>5.1233280782957396</c:v>
                </c:pt>
                <c:pt idx="10714">
                  <c:v>5.0904164108736927</c:v>
                </c:pt>
                <c:pt idx="10715">
                  <c:v>4.8575146434491883</c:v>
                </c:pt>
                <c:pt idx="10716">
                  <c:v>6.0315382939131181</c:v>
                </c:pt>
                <c:pt idx="10717">
                  <c:v>6.2109839730214365</c:v>
                </c:pt>
                <c:pt idx="10718">
                  <c:v>5.9516622285715481</c:v>
                </c:pt>
                <c:pt idx="10719">
                  <c:v>4.8159130177012068</c:v>
                </c:pt>
                <c:pt idx="10720">
                  <c:v>5.8948202367940166</c:v>
                </c:pt>
                <c:pt idx="10721">
                  <c:v>7.144895961794969</c:v>
                </c:pt>
                <c:pt idx="10722">
                  <c:v>5.912537525585611</c:v>
                </c:pt>
                <c:pt idx="10723">
                  <c:v>5.9449550842411636</c:v>
                </c:pt>
                <c:pt idx="10724">
                  <c:v>4.9679226191451464</c:v>
                </c:pt>
                <c:pt idx="10725">
                  <c:v>4.8192399950828388</c:v>
                </c:pt>
                <c:pt idx="10726">
                  <c:v>5.1170303524946537</c:v>
                </c:pt>
                <c:pt idx="10727">
                  <c:v>4.8427527434004833</c:v>
                </c:pt>
                <c:pt idx="10728">
                  <c:v>6.9855788294721339</c:v>
                </c:pt>
                <c:pt idx="10729">
                  <c:v>6.8943660671541904</c:v>
                </c:pt>
                <c:pt idx="10730">
                  <c:v>4.9354756758703591</c:v>
                </c:pt>
                <c:pt idx="10731">
                  <c:v>5.1359765373736899</c:v>
                </c:pt>
                <c:pt idx="10732">
                  <c:v>4.2387691433860777</c:v>
                </c:pt>
                <c:pt idx="10733">
                  <c:v>6.1887099112606592</c:v>
                </c:pt>
                <c:pt idx="10734">
                  <c:v>5.1052211297304595</c:v>
                </c:pt>
                <c:pt idx="10735">
                  <c:v>6.2141497623904716</c:v>
                </c:pt>
                <c:pt idx="10736">
                  <c:v>5.0376532054817327</c:v>
                </c:pt>
                <c:pt idx="10737">
                  <c:v>7.0924040209009585</c:v>
                </c:pt>
                <c:pt idx="10738">
                  <c:v>6.0608410806425166</c:v>
                </c:pt>
                <c:pt idx="10739">
                  <c:v>4.8983240974581967</c:v>
                </c:pt>
                <c:pt idx="10740">
                  <c:v>6.1036297156926906</c:v>
                </c:pt>
                <c:pt idx="10741">
                  <c:v>6.0128599085108112</c:v>
                </c:pt>
                <c:pt idx="10742">
                  <c:v>5.8587368857909583</c:v>
                </c:pt>
                <c:pt idx="10743">
                  <c:v>5.9554892328934894</c:v>
                </c:pt>
                <c:pt idx="10744">
                  <c:v>5.891547716903724</c:v>
                </c:pt>
                <c:pt idx="10745">
                  <c:v>5.9655465572984481</c:v>
                </c:pt>
                <c:pt idx="10746">
                  <c:v>6.1439857519175369</c:v>
                </c:pt>
                <c:pt idx="10747">
                  <c:v>4.9040896220763663</c:v>
                </c:pt>
                <c:pt idx="10748">
                  <c:v>4.9047786261943864</c:v>
                </c:pt>
                <c:pt idx="10749">
                  <c:v>6.0850422194796208</c:v>
                </c:pt>
                <c:pt idx="10750">
                  <c:v>5.8946662296475534</c:v>
                </c:pt>
                <c:pt idx="10751">
                  <c:v>5.8097268048912998</c:v>
                </c:pt>
                <c:pt idx="10752">
                  <c:v>5.2591817013474103</c:v>
                </c:pt>
                <c:pt idx="10753">
                  <c:v>5.8719481110332117</c:v>
                </c:pt>
                <c:pt idx="10754">
                  <c:v>6.1517976704977286</c:v>
                </c:pt>
                <c:pt idx="10755">
                  <c:v>3.8949335234146929</c:v>
                </c:pt>
                <c:pt idx="10756">
                  <c:v>5.9365672854001641</c:v>
                </c:pt>
                <c:pt idx="10757">
                  <c:v>5.0019171259007749</c:v>
                </c:pt>
                <c:pt idx="10758">
                  <c:v>6.0541603917199343</c:v>
                </c:pt>
                <c:pt idx="10759">
                  <c:v>4.9491173551649466</c:v>
                </c:pt>
                <c:pt idx="10760">
                  <c:v>5.0300944142030026</c:v>
                </c:pt>
                <c:pt idx="10761">
                  <c:v>6.0537337042540029</c:v>
                </c:pt>
                <c:pt idx="10762">
                  <c:v>5.9567896469839567</c:v>
                </c:pt>
                <c:pt idx="10763">
                  <c:v>5.8730185491408831</c:v>
                </c:pt>
                <c:pt idx="10764">
                  <c:v>6.1498181445179156</c:v>
                </c:pt>
                <c:pt idx="10765">
                  <c:v>6.0626402771362837</c:v>
                </c:pt>
                <c:pt idx="10766">
                  <c:v>5.1337028860644756</c:v>
                </c:pt>
                <c:pt idx="10767">
                  <c:v>5.0031115012522784</c:v>
                </c:pt>
                <c:pt idx="10768">
                  <c:v>6.1000965512804388</c:v>
                </c:pt>
                <c:pt idx="10769">
                  <c:v>4.9957638650343661</c:v>
                </c:pt>
                <c:pt idx="10770">
                  <c:v>6.0712615577121696</c:v>
                </c:pt>
                <c:pt idx="10771">
                  <c:v>4.0041919356863218</c:v>
                </c:pt>
                <c:pt idx="10772">
                  <c:v>4.1087253507865533</c:v>
                </c:pt>
                <c:pt idx="10773">
                  <c:v>4.9215676231966077</c:v>
                </c:pt>
                <c:pt idx="10774">
                  <c:v>5.8919585789779108</c:v>
                </c:pt>
                <c:pt idx="10775">
                  <c:v>6.062937512398622</c:v>
                </c:pt>
                <c:pt idx="10776">
                  <c:v>4.0665246551211922</c:v>
                </c:pt>
                <c:pt idx="10777">
                  <c:v>5.9604398087155701</c:v>
                </c:pt>
                <c:pt idx="10778">
                  <c:v>6.0715494296352359</c:v>
                </c:pt>
                <c:pt idx="10779">
                  <c:v>4.7939250422549247</c:v>
                </c:pt>
                <c:pt idx="10780">
                  <c:v>4.9749081706423066</c:v>
                </c:pt>
                <c:pt idx="10781">
                  <c:v>3.9201020046978892</c:v>
                </c:pt>
                <c:pt idx="10782">
                  <c:v>5.0775047172573222</c:v>
                </c:pt>
                <c:pt idx="10783">
                  <c:v>4.8735615442041942</c:v>
                </c:pt>
                <c:pt idx="10784">
                  <c:v>5.9852214889929707</c:v>
                </c:pt>
                <c:pt idx="10785">
                  <c:v>5.9123457370320001</c:v>
                </c:pt>
                <c:pt idx="10786">
                  <c:v>4.8274184212549072</c:v>
                </c:pt>
                <c:pt idx="10787">
                  <c:v>5.0268340188611873</c:v>
                </c:pt>
                <c:pt idx="10788">
                  <c:v>5.954347946153316</c:v>
                </c:pt>
                <c:pt idx="10789">
                  <c:v>4.843432627691894</c:v>
                </c:pt>
                <c:pt idx="10790">
                  <c:v>5.9740549664038198</c:v>
                </c:pt>
                <c:pt idx="10791">
                  <c:v>7.0918399366671263</c:v>
                </c:pt>
                <c:pt idx="10792">
                  <c:v>4.95670711263777</c:v>
                </c:pt>
                <c:pt idx="10793">
                  <c:v>7.1493092139444432</c:v>
                </c:pt>
                <c:pt idx="10794">
                  <c:v>7.076675625839921</c:v>
                </c:pt>
                <c:pt idx="10795">
                  <c:v>6.0940019864898431</c:v>
                </c:pt>
                <c:pt idx="10796">
                  <c:v>6.1224278946037405</c:v>
                </c:pt>
                <c:pt idx="10797">
                  <c:v>5.9859441093351426</c:v>
                </c:pt>
                <c:pt idx="10798">
                  <c:v>5.0972306794006057</c:v>
                </c:pt>
                <c:pt idx="10799">
                  <c:v>5.9290353552932338</c:v>
                </c:pt>
                <c:pt idx="10800">
                  <c:v>6.1042992490928611</c:v>
                </c:pt>
                <c:pt idx="10801">
                  <c:v>4.8491738005121015</c:v>
                </c:pt>
                <c:pt idx="10802">
                  <c:v>5.058477963097026</c:v>
                </c:pt>
                <c:pt idx="10803">
                  <c:v>4.8512469869335542</c:v>
                </c:pt>
                <c:pt idx="10804">
                  <c:v>5.9078080503493355</c:v>
                </c:pt>
                <c:pt idx="10805">
                  <c:v>5.961013076162013</c:v>
                </c:pt>
                <c:pt idx="10806">
                  <c:v>5.0464219700671551</c:v>
                </c:pt>
                <c:pt idx="10807">
                  <c:v>5.9101748623585335</c:v>
                </c:pt>
                <c:pt idx="10808">
                  <c:v>5.832002418792487</c:v>
                </c:pt>
                <c:pt idx="10809">
                  <c:v>5.0681394896302887</c:v>
                </c:pt>
                <c:pt idx="10810">
                  <c:v>4.8803715238401324</c:v>
                </c:pt>
                <c:pt idx="10811">
                  <c:v>5.9907289086432565</c:v>
                </c:pt>
                <c:pt idx="10812">
                  <c:v>3.9471634790893875</c:v>
                </c:pt>
                <c:pt idx="10813">
                  <c:v>5.0291510515634146</c:v>
                </c:pt>
                <c:pt idx="10814">
                  <c:v>6.1100959438094318</c:v>
                </c:pt>
                <c:pt idx="10815">
                  <c:v>5.8704908562830971</c:v>
                </c:pt>
                <c:pt idx="10816">
                  <c:v>6.8460412204095569</c:v>
                </c:pt>
                <c:pt idx="10817">
                  <c:v>5.0083143930327294</c:v>
                </c:pt>
                <c:pt idx="10818">
                  <c:v>7.0672561648723065</c:v>
                </c:pt>
                <c:pt idx="10819">
                  <c:v>4.9551955392303837</c:v>
                </c:pt>
                <c:pt idx="10820">
                  <c:v>6.0707897564560183</c:v>
                </c:pt>
                <c:pt idx="10821">
                  <c:v>5.084344049603887</c:v>
                </c:pt>
                <c:pt idx="10822">
                  <c:v>6.1074895664582014</c:v>
                </c:pt>
                <c:pt idx="10823">
                  <c:v>6.0185818257652128</c:v>
                </c:pt>
                <c:pt idx="10824">
                  <c:v>4.974412659013832</c:v>
                </c:pt>
                <c:pt idx="10825">
                  <c:v>5.0355943169983668</c:v>
                </c:pt>
                <c:pt idx="10826">
                  <c:v>5.9948966214843074</c:v>
                </c:pt>
                <c:pt idx="10827">
                  <c:v>6.9730110178379618</c:v>
                </c:pt>
                <c:pt idx="10828">
                  <c:v>5.2049435934799639</c:v>
                </c:pt>
                <c:pt idx="10829">
                  <c:v>5.0376162744865356</c:v>
                </c:pt>
                <c:pt idx="10830">
                  <c:v>4.9931294088286204</c:v>
                </c:pt>
                <c:pt idx="10831">
                  <c:v>4.8886329355568847</c:v>
                </c:pt>
                <c:pt idx="10832">
                  <c:v>6.0026455476462566</c:v>
                </c:pt>
                <c:pt idx="10833">
                  <c:v>5.1045571690279665</c:v>
                </c:pt>
                <c:pt idx="10834">
                  <c:v>5.944935334415101</c:v>
                </c:pt>
                <c:pt idx="10835">
                  <c:v>4.9002575382775895</c:v>
                </c:pt>
                <c:pt idx="10836">
                  <c:v>6.1203176930893397</c:v>
                </c:pt>
                <c:pt idx="10837">
                  <c:v>5.0002860794435735</c:v>
                </c:pt>
                <c:pt idx="10838">
                  <c:v>5.8890787467206174</c:v>
                </c:pt>
                <c:pt idx="10839">
                  <c:v>6.0697851695014782</c:v>
                </c:pt>
                <c:pt idx="10840">
                  <c:v>6.0338830805711785</c:v>
                </c:pt>
                <c:pt idx="10841">
                  <c:v>7.0875762248793972</c:v>
                </c:pt>
                <c:pt idx="10842">
                  <c:v>7.1200374769302615</c:v>
                </c:pt>
                <c:pt idx="10843">
                  <c:v>7.1196741613365662</c:v>
                </c:pt>
                <c:pt idx="10844">
                  <c:v>5.0804734034981172</c:v>
                </c:pt>
                <c:pt idx="10845">
                  <c:v>5.0956549490515695</c:v>
                </c:pt>
                <c:pt idx="10846">
                  <c:v>4.9227488875608918</c:v>
                </c:pt>
                <c:pt idx="10847">
                  <c:v>5.148601657352434</c:v>
                </c:pt>
                <c:pt idx="10848">
                  <c:v>5.0153879592108961</c:v>
                </c:pt>
                <c:pt idx="10849">
                  <c:v>4.6793480769077958</c:v>
                </c:pt>
                <c:pt idx="10850">
                  <c:v>4.8671093305779065</c:v>
                </c:pt>
                <c:pt idx="10851">
                  <c:v>5.1871442457638084</c:v>
                </c:pt>
                <c:pt idx="10852">
                  <c:v>4.9257397240820717</c:v>
                </c:pt>
                <c:pt idx="10853">
                  <c:v>5.0676171782749337</c:v>
                </c:pt>
                <c:pt idx="10854">
                  <c:v>5.9704337087680308</c:v>
                </c:pt>
                <c:pt idx="10855">
                  <c:v>4.8520649227548454</c:v>
                </c:pt>
                <c:pt idx="10856">
                  <c:v>5.0956712753843494</c:v>
                </c:pt>
                <c:pt idx="10857">
                  <c:v>6.9314248817719806</c:v>
                </c:pt>
                <c:pt idx="10858">
                  <c:v>5.9187451489613983</c:v>
                </c:pt>
                <c:pt idx="10859">
                  <c:v>4.8887271649869151</c:v>
                </c:pt>
                <c:pt idx="10860">
                  <c:v>5.0637877258467281</c:v>
                </c:pt>
                <c:pt idx="10861">
                  <c:v>5.0356347714520222</c:v>
                </c:pt>
                <c:pt idx="10862">
                  <c:v>5.9319184129052918</c:v>
                </c:pt>
                <c:pt idx="10863">
                  <c:v>4.965509422835062</c:v>
                </c:pt>
                <c:pt idx="10864">
                  <c:v>4.1579575083068141</c:v>
                </c:pt>
                <c:pt idx="10865">
                  <c:v>5.003728835153038</c:v>
                </c:pt>
                <c:pt idx="10866">
                  <c:v>6.971683125753505</c:v>
                </c:pt>
                <c:pt idx="10867">
                  <c:v>5.0772059403853262</c:v>
                </c:pt>
                <c:pt idx="10868">
                  <c:v>5.9312664308561338</c:v>
                </c:pt>
                <c:pt idx="10869">
                  <c:v>4.912967072844717</c:v>
                </c:pt>
                <c:pt idx="10870">
                  <c:v>5.9721474011569384</c:v>
                </c:pt>
                <c:pt idx="10871">
                  <c:v>4.9120142822135318</c:v>
                </c:pt>
                <c:pt idx="10872">
                  <c:v>4.8833406760582818</c:v>
                </c:pt>
                <c:pt idx="10873">
                  <c:v>4.9519081466733894</c:v>
                </c:pt>
                <c:pt idx="10874">
                  <c:v>5.8922715629527698</c:v>
                </c:pt>
                <c:pt idx="10875">
                  <c:v>5.0622854147388336</c:v>
                </c:pt>
                <c:pt idx="10876">
                  <c:v>5.1937535999523234</c:v>
                </c:pt>
                <c:pt idx="10877">
                  <c:v>4.9622265542545723</c:v>
                </c:pt>
                <c:pt idx="10878">
                  <c:v>7.0805717202273506</c:v>
                </c:pt>
                <c:pt idx="10879">
                  <c:v>5.0188270335075691</c:v>
                </c:pt>
                <c:pt idx="10880">
                  <c:v>5.0007517411429081</c:v>
                </c:pt>
                <c:pt idx="10881">
                  <c:v>6.0318518189279322</c:v>
                </c:pt>
                <c:pt idx="10882">
                  <c:v>6.0288700638380917</c:v>
                </c:pt>
                <c:pt idx="10883">
                  <c:v>6.1259923325440697</c:v>
                </c:pt>
                <c:pt idx="10884">
                  <c:v>4.9184762703544509</c:v>
                </c:pt>
                <c:pt idx="10885">
                  <c:v>5.9578388856339419</c:v>
                </c:pt>
                <c:pt idx="10886">
                  <c:v>5.9131021178346277</c:v>
                </c:pt>
                <c:pt idx="10887">
                  <c:v>4.8302998668265742</c:v>
                </c:pt>
                <c:pt idx="10888">
                  <c:v>6.1276413904201386</c:v>
                </c:pt>
                <c:pt idx="10889">
                  <c:v>4.9990398701243324</c:v>
                </c:pt>
                <c:pt idx="10890">
                  <c:v>4.8301257097097672</c:v>
                </c:pt>
                <c:pt idx="10891">
                  <c:v>5.1600957161188967</c:v>
                </c:pt>
                <c:pt idx="10892">
                  <c:v>6.0916617988251289</c:v>
                </c:pt>
                <c:pt idx="10893">
                  <c:v>6.0617802617226841</c:v>
                </c:pt>
                <c:pt idx="10894">
                  <c:v>4.9173669294420943</c:v>
                </c:pt>
                <c:pt idx="10895">
                  <c:v>6.0385062634450861</c:v>
                </c:pt>
                <c:pt idx="10896">
                  <c:v>6.1179626767254005</c:v>
                </c:pt>
                <c:pt idx="10897">
                  <c:v>5.0333886019025096</c:v>
                </c:pt>
                <c:pt idx="10898">
                  <c:v>5.8690874101068733</c:v>
                </c:pt>
                <c:pt idx="10899">
                  <c:v>5.1204963538487567</c:v>
                </c:pt>
                <c:pt idx="10900">
                  <c:v>6.0016720105286705</c:v>
                </c:pt>
                <c:pt idx="10901">
                  <c:v>5.1692737149678178</c:v>
                </c:pt>
                <c:pt idx="10902">
                  <c:v>5.9140618757220835</c:v>
                </c:pt>
                <c:pt idx="10903">
                  <c:v>5.0060739071989069</c:v>
                </c:pt>
                <c:pt idx="10904">
                  <c:v>5.9996844519911008</c:v>
                </c:pt>
                <c:pt idx="10905">
                  <c:v>5.9294421071846397</c:v>
                </c:pt>
                <c:pt idx="10906">
                  <c:v>5.9990224958337475</c:v>
                </c:pt>
                <c:pt idx="10907">
                  <c:v>6.0368175554371017</c:v>
                </c:pt>
                <c:pt idx="10908">
                  <c:v>5.9622943255450149</c:v>
                </c:pt>
                <c:pt idx="10909">
                  <c:v>4.8854890633020052</c:v>
                </c:pt>
                <c:pt idx="10910">
                  <c:v>5.0077114424402192</c:v>
                </c:pt>
                <c:pt idx="10911">
                  <c:v>5.2026563422022116</c:v>
                </c:pt>
                <c:pt idx="10912">
                  <c:v>6.0495692406507606</c:v>
                </c:pt>
                <c:pt idx="10913">
                  <c:v>6.1253513250142051</c:v>
                </c:pt>
                <c:pt idx="10914">
                  <c:v>5.9886620938858517</c:v>
                </c:pt>
                <c:pt idx="10915">
                  <c:v>6.0820557336281622</c:v>
                </c:pt>
                <c:pt idx="10916">
                  <c:v>4.8970190469725612</c:v>
                </c:pt>
                <c:pt idx="10917">
                  <c:v>5.0562363009425679</c:v>
                </c:pt>
                <c:pt idx="10918">
                  <c:v>5.9927377483311446</c:v>
                </c:pt>
                <c:pt idx="10919">
                  <c:v>5.0044687832800889</c:v>
                </c:pt>
                <c:pt idx="10920">
                  <c:v>5.1481382081015692</c:v>
                </c:pt>
                <c:pt idx="10921">
                  <c:v>6.048620691964409</c:v>
                </c:pt>
                <c:pt idx="10922">
                  <c:v>6.13930375962277</c:v>
                </c:pt>
                <c:pt idx="10923">
                  <c:v>6.0197349180876811</c:v>
                </c:pt>
                <c:pt idx="10924">
                  <c:v>5.9627874826274576</c:v>
                </c:pt>
                <c:pt idx="10925">
                  <c:v>4.9397731326441807</c:v>
                </c:pt>
                <c:pt idx="10926">
                  <c:v>5.1071277529811754</c:v>
                </c:pt>
                <c:pt idx="10927">
                  <c:v>4.8712420811380044</c:v>
                </c:pt>
                <c:pt idx="10928">
                  <c:v>5.9137146099874984</c:v>
                </c:pt>
                <c:pt idx="10929">
                  <c:v>5.9533432430520641</c:v>
                </c:pt>
                <c:pt idx="10930">
                  <c:v>5.9674589284173685</c:v>
                </c:pt>
                <c:pt idx="10931">
                  <c:v>5.0292149405233779</c:v>
                </c:pt>
                <c:pt idx="10932">
                  <c:v>5.9874158320367163</c:v>
                </c:pt>
                <c:pt idx="10933">
                  <c:v>5.1604415721099146</c:v>
                </c:pt>
                <c:pt idx="10934">
                  <c:v>5.0364999002710089</c:v>
                </c:pt>
                <c:pt idx="10935">
                  <c:v>4.9146359713584644</c:v>
                </c:pt>
                <c:pt idx="10936">
                  <c:v>5.0831010496584605</c:v>
                </c:pt>
                <c:pt idx="10937">
                  <c:v>5.8934203609390439</c:v>
                </c:pt>
                <c:pt idx="10938">
                  <c:v>6.0137331609210563</c:v>
                </c:pt>
                <c:pt idx="10939">
                  <c:v>5.0772401468211479</c:v>
                </c:pt>
                <c:pt idx="10940">
                  <c:v>4.8624419571623578</c:v>
                </c:pt>
                <c:pt idx="10941">
                  <c:v>6.0336198400639587</c:v>
                </c:pt>
                <c:pt idx="10942">
                  <c:v>5.0248651381664908</c:v>
                </c:pt>
                <c:pt idx="10943">
                  <c:v>6.1187425914971056</c:v>
                </c:pt>
                <c:pt idx="10944">
                  <c:v>5.9845830585461677</c:v>
                </c:pt>
                <c:pt idx="10945">
                  <c:v>5.0125367933133971</c:v>
                </c:pt>
                <c:pt idx="10946">
                  <c:v>5.9335537121137696</c:v>
                </c:pt>
                <c:pt idx="10947">
                  <c:v>4.9450106486557655</c:v>
                </c:pt>
                <c:pt idx="10948">
                  <c:v>6.0186693340316229</c:v>
                </c:pt>
                <c:pt idx="10949">
                  <c:v>5.8246258896823822</c:v>
                </c:pt>
                <c:pt idx="10950">
                  <c:v>6.0087160544135623</c:v>
                </c:pt>
                <c:pt idx="10951">
                  <c:v>6.0434784196568661</c:v>
                </c:pt>
                <c:pt idx="10952">
                  <c:v>5.8676247276837898</c:v>
                </c:pt>
                <c:pt idx="10953">
                  <c:v>5.9077554290511483</c:v>
                </c:pt>
                <c:pt idx="10954">
                  <c:v>5.9707107391980987</c:v>
                </c:pt>
                <c:pt idx="10955">
                  <c:v>5.0159939497665738</c:v>
                </c:pt>
                <c:pt idx="10956">
                  <c:v>6.1094446476445281</c:v>
                </c:pt>
                <c:pt idx="10957">
                  <c:v>5.8991191476686371</c:v>
                </c:pt>
                <c:pt idx="10958">
                  <c:v>3.9544182596572583</c:v>
                </c:pt>
                <c:pt idx="10959">
                  <c:v>4.9607381227519838</c:v>
                </c:pt>
                <c:pt idx="10960">
                  <c:v>5.8817780289333639</c:v>
                </c:pt>
                <c:pt idx="10961">
                  <c:v>6.0202561311380496</c:v>
                </c:pt>
                <c:pt idx="10962">
                  <c:v>4.988255505435566</c:v>
                </c:pt>
                <c:pt idx="10963">
                  <c:v>6.1677843924951157</c:v>
                </c:pt>
                <c:pt idx="10964">
                  <c:v>5.970436890028628</c:v>
                </c:pt>
                <c:pt idx="10965">
                  <c:v>2.9088993955288043</c:v>
                </c:pt>
                <c:pt idx="10966">
                  <c:v>2.9175281913896454</c:v>
                </c:pt>
                <c:pt idx="10967">
                  <c:v>3.100032174455996</c:v>
                </c:pt>
                <c:pt idx="10968">
                  <c:v>3.0073745956357976</c:v>
                </c:pt>
                <c:pt idx="10969">
                  <c:v>3.0276358807940742</c:v>
                </c:pt>
                <c:pt idx="10970">
                  <c:v>5.1295432475030687</c:v>
                </c:pt>
                <c:pt idx="10971">
                  <c:v>5.1008368079002961</c:v>
                </c:pt>
                <c:pt idx="10972">
                  <c:v>5.1060271759178324</c:v>
                </c:pt>
                <c:pt idx="10973">
                  <c:v>4.955573018375194</c:v>
                </c:pt>
                <c:pt idx="10974">
                  <c:v>4.9303325663065607</c:v>
                </c:pt>
                <c:pt idx="10975">
                  <c:v>4.9780475566909708</c:v>
                </c:pt>
                <c:pt idx="10976">
                  <c:v>5.0251498437826845</c:v>
                </c:pt>
                <c:pt idx="10977">
                  <c:v>6.0508164771304651</c:v>
                </c:pt>
                <c:pt idx="10978">
                  <c:v>5.8686304314954594</c:v>
                </c:pt>
                <c:pt idx="10979">
                  <c:v>6.0468653286490159</c:v>
                </c:pt>
                <c:pt idx="10980">
                  <c:v>6.0427664395687124</c:v>
                </c:pt>
                <c:pt idx="10981">
                  <c:v>6.944042280302904</c:v>
                </c:pt>
                <c:pt idx="10982">
                  <c:v>6.0705665961358273</c:v>
                </c:pt>
                <c:pt idx="10983">
                  <c:v>4.9979985979621047</c:v>
                </c:pt>
                <c:pt idx="10984">
                  <c:v>5.9816451017837524</c:v>
                </c:pt>
                <c:pt idx="10985">
                  <c:v>4.9599226432437034</c:v>
                </c:pt>
                <c:pt idx="10986">
                  <c:v>5.9695472649088188</c:v>
                </c:pt>
                <c:pt idx="10987">
                  <c:v>7.1261601602212057</c:v>
                </c:pt>
                <c:pt idx="10988">
                  <c:v>6.0996830791613972</c:v>
                </c:pt>
                <c:pt idx="10989">
                  <c:v>6.1563045471767959</c:v>
                </c:pt>
                <c:pt idx="10990">
                  <c:v>6.1104026590063878</c:v>
                </c:pt>
                <c:pt idx="10991">
                  <c:v>6.2257786553321459</c:v>
                </c:pt>
                <c:pt idx="10992">
                  <c:v>6.0730471065600105</c:v>
                </c:pt>
                <c:pt idx="10993">
                  <c:v>5.0655890912665118</c:v>
                </c:pt>
                <c:pt idx="10994">
                  <c:v>4.9893282559424765</c:v>
                </c:pt>
                <c:pt idx="10995">
                  <c:v>5.9542477531249514</c:v>
                </c:pt>
                <c:pt idx="10996">
                  <c:v>5.9688998564534002</c:v>
                </c:pt>
                <c:pt idx="10997">
                  <c:v>6.0426915132313175</c:v>
                </c:pt>
                <c:pt idx="10998">
                  <c:v>6.0691915527146092</c:v>
                </c:pt>
                <c:pt idx="10999">
                  <c:v>6.0248876144457784</c:v>
                </c:pt>
                <c:pt idx="11000">
                  <c:v>6.1893366206187563</c:v>
                </c:pt>
                <c:pt idx="11001">
                  <c:v>4.9265000975628848</c:v>
                </c:pt>
                <c:pt idx="11002">
                  <c:v>5.9047212940389286</c:v>
                </c:pt>
                <c:pt idx="11003">
                  <c:v>5.8184813808031262</c:v>
                </c:pt>
                <c:pt idx="11004">
                  <c:v>4.9148390959892891</c:v>
                </c:pt>
                <c:pt idx="11005">
                  <c:v>5.9410175188510532</c:v>
                </c:pt>
                <c:pt idx="11006">
                  <c:v>4.9076011422818286</c:v>
                </c:pt>
                <c:pt idx="11007">
                  <c:v>5.8915578679816258</c:v>
                </c:pt>
                <c:pt idx="11008">
                  <c:v>6.0754214640016118</c:v>
                </c:pt>
                <c:pt idx="11009">
                  <c:v>5.9887954710995341</c:v>
                </c:pt>
                <c:pt idx="11010">
                  <c:v>5.1046554277976988</c:v>
                </c:pt>
                <c:pt idx="11011">
                  <c:v>5.025191327273232</c:v>
                </c:pt>
                <c:pt idx="11012">
                  <c:v>4.9590163814434547</c:v>
                </c:pt>
                <c:pt idx="11013">
                  <c:v>6.0403457695099938</c:v>
                </c:pt>
                <c:pt idx="11014">
                  <c:v>5.0968459081941893</c:v>
                </c:pt>
                <c:pt idx="11015">
                  <c:v>5.9374790818343</c:v>
                </c:pt>
                <c:pt idx="11016">
                  <c:v>5.1239634816586657</c:v>
                </c:pt>
                <c:pt idx="11017">
                  <c:v>6.8529069821370516</c:v>
                </c:pt>
                <c:pt idx="11018">
                  <c:v>5.9935722072487616</c:v>
                </c:pt>
                <c:pt idx="11019">
                  <c:v>5.9379217648316098</c:v>
                </c:pt>
                <c:pt idx="11020">
                  <c:v>5.0879366796511896</c:v>
                </c:pt>
                <c:pt idx="11021">
                  <c:v>4.9738979430412229</c:v>
                </c:pt>
                <c:pt idx="11022">
                  <c:v>6.1479417434281212</c:v>
                </c:pt>
                <c:pt idx="11023">
                  <c:v>5.8559914358592939</c:v>
                </c:pt>
                <c:pt idx="11024">
                  <c:v>5.0344183522763579</c:v>
                </c:pt>
                <c:pt idx="11025">
                  <c:v>5.9424658817763447</c:v>
                </c:pt>
                <c:pt idx="11026">
                  <c:v>6.1245048267050217</c:v>
                </c:pt>
                <c:pt idx="11027">
                  <c:v>5.0792578039536211</c:v>
                </c:pt>
                <c:pt idx="11028">
                  <c:v>5.8825508148380292</c:v>
                </c:pt>
                <c:pt idx="11029">
                  <c:v>5.9326927754654815</c:v>
                </c:pt>
                <c:pt idx="11030">
                  <c:v>4.86680716506085</c:v>
                </c:pt>
                <c:pt idx="11031">
                  <c:v>6.0565897133526123</c:v>
                </c:pt>
                <c:pt idx="11032">
                  <c:v>6.013763171106028</c:v>
                </c:pt>
                <c:pt idx="11033">
                  <c:v>6.1618732206659388</c:v>
                </c:pt>
                <c:pt idx="11034">
                  <c:v>5.9507899631568915</c:v>
                </c:pt>
                <c:pt idx="11035">
                  <c:v>4.9710833934522114</c:v>
                </c:pt>
                <c:pt idx="11036">
                  <c:v>5.9537763173810534</c:v>
                </c:pt>
                <c:pt idx="11037">
                  <c:v>6.009927870144276</c:v>
                </c:pt>
                <c:pt idx="11038">
                  <c:v>5.9718076725246405</c:v>
                </c:pt>
                <c:pt idx="11039">
                  <c:v>6.0536620034666546</c:v>
                </c:pt>
                <c:pt idx="11040">
                  <c:v>5.9612822486270431</c:v>
                </c:pt>
                <c:pt idx="11041">
                  <c:v>5.9610728606100238</c:v>
                </c:pt>
                <c:pt idx="11042">
                  <c:v>5.9634767488744078</c:v>
                </c:pt>
                <c:pt idx="11043">
                  <c:v>5.9727003386730804</c:v>
                </c:pt>
                <c:pt idx="11044">
                  <c:v>6.015922055305496</c:v>
                </c:pt>
                <c:pt idx="11045">
                  <c:v>6.1263172989058301</c:v>
                </c:pt>
                <c:pt idx="11046">
                  <c:v>6.0516616940670547</c:v>
                </c:pt>
                <c:pt idx="11047">
                  <c:v>6.1570201813018866</c:v>
                </c:pt>
                <c:pt idx="11048">
                  <c:v>5.1470373511520044</c:v>
                </c:pt>
                <c:pt idx="11049">
                  <c:v>4.8923048131581526</c:v>
                </c:pt>
                <c:pt idx="11050">
                  <c:v>6.0248442897910151</c:v>
                </c:pt>
                <c:pt idx="11051">
                  <c:v>6.0023749231329875</c:v>
                </c:pt>
                <c:pt idx="11052">
                  <c:v>6.0222741615951403</c:v>
                </c:pt>
                <c:pt idx="11053">
                  <c:v>4.0496776296526162</c:v>
                </c:pt>
                <c:pt idx="11054">
                  <c:v>5.9378358259402884</c:v>
                </c:pt>
                <c:pt idx="11055">
                  <c:v>5.8927864775398344</c:v>
                </c:pt>
                <c:pt idx="11056">
                  <c:v>5.0188110825829977</c:v>
                </c:pt>
                <c:pt idx="11057">
                  <c:v>5.8165284627360059</c:v>
                </c:pt>
                <c:pt idx="11058">
                  <c:v>6.0502220282351038</c:v>
                </c:pt>
                <c:pt idx="11059">
                  <c:v>5.9953976499717285</c:v>
                </c:pt>
                <c:pt idx="11060">
                  <c:v>4.7403522116148578</c:v>
                </c:pt>
                <c:pt idx="11061">
                  <c:v>5.7473500847859942</c:v>
                </c:pt>
                <c:pt idx="11062">
                  <c:v>4.7279340106929899</c:v>
                </c:pt>
                <c:pt idx="11063">
                  <c:v>5.9935753710489621</c:v>
                </c:pt>
                <c:pt idx="11064">
                  <c:v>5.0709389761332693</c:v>
                </c:pt>
                <c:pt idx="11065">
                  <c:v>5.8780059055768472</c:v>
                </c:pt>
                <c:pt idx="11066">
                  <c:v>4.9503696983007472</c:v>
                </c:pt>
                <c:pt idx="11067">
                  <c:v>5.9267011600055577</c:v>
                </c:pt>
                <c:pt idx="11068">
                  <c:v>5.9011774163922226</c:v>
                </c:pt>
                <c:pt idx="11069">
                  <c:v>5.1943466541792978</c:v>
                </c:pt>
                <c:pt idx="11070">
                  <c:v>6.0313233966541233</c:v>
                </c:pt>
                <c:pt idx="11071">
                  <c:v>5.1844514553441181</c:v>
                </c:pt>
                <c:pt idx="11072">
                  <c:v>6.0618886089737627</c:v>
                </c:pt>
                <c:pt idx="11073">
                  <c:v>5.915017610184659</c:v>
                </c:pt>
                <c:pt idx="11074">
                  <c:v>5.1179126737311753</c:v>
                </c:pt>
                <c:pt idx="11075">
                  <c:v>5.8933942231650773</c:v>
                </c:pt>
                <c:pt idx="11076">
                  <c:v>5.9929363037606969</c:v>
                </c:pt>
                <c:pt idx="11077">
                  <c:v>5.7708445771730075</c:v>
                </c:pt>
                <c:pt idx="11078">
                  <c:v>4.9793121165313474</c:v>
                </c:pt>
                <c:pt idx="11079">
                  <c:v>5.9456366821758673</c:v>
                </c:pt>
                <c:pt idx="11080">
                  <c:v>6.2067846378393927</c:v>
                </c:pt>
                <c:pt idx="11081">
                  <c:v>4.8550700858805067</c:v>
                </c:pt>
                <c:pt idx="11082">
                  <c:v>5.9645746569018927</c:v>
                </c:pt>
                <c:pt idx="11083">
                  <c:v>5.1212552527145148</c:v>
                </c:pt>
                <c:pt idx="11084">
                  <c:v>6.0556227439035464</c:v>
                </c:pt>
                <c:pt idx="11085">
                  <c:v>5.9970780453026222</c:v>
                </c:pt>
                <c:pt idx="11086">
                  <c:v>5.0773194409942297</c:v>
                </c:pt>
                <c:pt idx="11087">
                  <c:v>5.8045643147175889</c:v>
                </c:pt>
                <c:pt idx="11088">
                  <c:v>5.9038807364388406</c:v>
                </c:pt>
                <c:pt idx="11089">
                  <c:v>6.0605868065617061</c:v>
                </c:pt>
                <c:pt idx="11090">
                  <c:v>5.8627191176056286</c:v>
                </c:pt>
                <c:pt idx="11091">
                  <c:v>5.9977722835774676</c:v>
                </c:pt>
                <c:pt idx="11092">
                  <c:v>6.051173382821454</c:v>
                </c:pt>
                <c:pt idx="11093">
                  <c:v>6.0488620766390779</c:v>
                </c:pt>
                <c:pt idx="11094">
                  <c:v>7.1568882657113422</c:v>
                </c:pt>
                <c:pt idx="11095">
                  <c:v>6.0046954358869238</c:v>
                </c:pt>
                <c:pt idx="11096">
                  <c:v>6.0959056032169121</c:v>
                </c:pt>
                <c:pt idx="11097">
                  <c:v>6.1506986452258925</c:v>
                </c:pt>
                <c:pt idx="11098">
                  <c:v>6.0016694023997266</c:v>
                </c:pt>
                <c:pt idx="11099">
                  <c:v>6.0444798846922483</c:v>
                </c:pt>
                <c:pt idx="11100">
                  <c:v>5.9423921405927498</c:v>
                </c:pt>
                <c:pt idx="11101">
                  <c:v>6.058687765333862</c:v>
                </c:pt>
                <c:pt idx="11102">
                  <c:v>6.1705790630748449</c:v>
                </c:pt>
                <c:pt idx="11103">
                  <c:v>6.1358548279600598</c:v>
                </c:pt>
                <c:pt idx="11104">
                  <c:v>5.8805079892220995</c:v>
                </c:pt>
                <c:pt idx="11105">
                  <c:v>6.0438623369477549</c:v>
                </c:pt>
                <c:pt idx="11106">
                  <c:v>5.880670968412165</c:v>
                </c:pt>
                <c:pt idx="11107">
                  <c:v>6.0134153392557481</c:v>
                </c:pt>
                <c:pt idx="11108">
                  <c:v>6.2519802089882743</c:v>
                </c:pt>
                <c:pt idx="11109">
                  <c:v>6.1369441793148551</c:v>
                </c:pt>
                <c:pt idx="11110">
                  <c:v>5.9297834548563202</c:v>
                </c:pt>
                <c:pt idx="11111">
                  <c:v>5.9905932928368815</c:v>
                </c:pt>
                <c:pt idx="11112">
                  <c:v>6.0582039852915059</c:v>
                </c:pt>
                <c:pt idx="11113">
                  <c:v>4.0851117410109499</c:v>
                </c:pt>
                <c:pt idx="11114">
                  <c:v>6.1190322981406489</c:v>
                </c:pt>
                <c:pt idx="11115">
                  <c:v>5.8103789934372667</c:v>
                </c:pt>
                <c:pt idx="11116">
                  <c:v>5.8894370388230577</c:v>
                </c:pt>
                <c:pt idx="11117">
                  <c:v>6.1008801749667994</c:v>
                </c:pt>
                <c:pt idx="11118">
                  <c:v>5.9700522875237976</c:v>
                </c:pt>
                <c:pt idx="11119">
                  <c:v>5.1399605698289728</c:v>
                </c:pt>
                <c:pt idx="11120">
                  <c:v>6.0250847401523151</c:v>
                </c:pt>
                <c:pt idx="11121">
                  <c:v>6.0766383969692397</c:v>
                </c:pt>
                <c:pt idx="11122">
                  <c:v>5.0937564367387367</c:v>
                </c:pt>
                <c:pt idx="11123">
                  <c:v>3.9248131211994473</c:v>
                </c:pt>
                <c:pt idx="11124">
                  <c:v>5.9357617038402486</c:v>
                </c:pt>
                <c:pt idx="11125">
                  <c:v>6.1627115224153926</c:v>
                </c:pt>
                <c:pt idx="11126">
                  <c:v>6.0806026410782499</c:v>
                </c:pt>
                <c:pt idx="11127">
                  <c:v>6.073905365544892</c:v>
                </c:pt>
                <c:pt idx="11128">
                  <c:v>5.0663337212722803</c:v>
                </c:pt>
                <c:pt idx="11129">
                  <c:v>5.9882138369100062</c:v>
                </c:pt>
                <c:pt idx="11130">
                  <c:v>6.0392941211558862</c:v>
                </c:pt>
                <c:pt idx="11131">
                  <c:v>6.9582472627432708</c:v>
                </c:pt>
                <c:pt idx="11132">
                  <c:v>6.9826008087131637</c:v>
                </c:pt>
                <c:pt idx="11133">
                  <c:v>6.2324841473118022</c:v>
                </c:pt>
                <c:pt idx="11134">
                  <c:v>5.9408962378866006</c:v>
                </c:pt>
                <c:pt idx="11135">
                  <c:v>6.0635665903695024</c:v>
                </c:pt>
                <c:pt idx="11136">
                  <c:v>6.9408243625404946</c:v>
                </c:pt>
                <c:pt idx="11137">
                  <c:v>6.0258558458307423</c:v>
                </c:pt>
                <c:pt idx="11138">
                  <c:v>1.8247528341917081</c:v>
                </c:pt>
                <c:pt idx="11139">
                  <c:v>2.0065941031787022</c:v>
                </c:pt>
                <c:pt idx="11140">
                  <c:v>6.0488690000426617</c:v>
                </c:pt>
                <c:pt idx="11141">
                  <c:v>1.897755836365451</c:v>
                </c:pt>
                <c:pt idx="11142">
                  <c:v>6.0846925134459271</c:v>
                </c:pt>
                <c:pt idx="11143">
                  <c:v>5.979802095878072</c:v>
                </c:pt>
                <c:pt idx="11144">
                  <c:v>5.9748740415616357</c:v>
                </c:pt>
                <c:pt idx="11145">
                  <c:v>5.9176444064964793</c:v>
                </c:pt>
                <c:pt idx="11146">
                  <c:v>6.0325951515336742</c:v>
                </c:pt>
                <c:pt idx="11147">
                  <c:v>5.8746829952560864</c:v>
                </c:pt>
                <c:pt idx="11148">
                  <c:v>6.2867535132379802</c:v>
                </c:pt>
                <c:pt idx="11149">
                  <c:v>6.0426905060754867</c:v>
                </c:pt>
                <c:pt idx="11150">
                  <c:v>5.9773730463430832</c:v>
                </c:pt>
                <c:pt idx="11151">
                  <c:v>5.9973797103363911</c:v>
                </c:pt>
                <c:pt idx="11152">
                  <c:v>5.95346989355492</c:v>
                </c:pt>
                <c:pt idx="11153">
                  <c:v>5.0310437499599159</c:v>
                </c:pt>
                <c:pt idx="11154">
                  <c:v>5.9432066958368761</c:v>
                </c:pt>
                <c:pt idx="11155">
                  <c:v>7.0229751048044431</c:v>
                </c:pt>
                <c:pt idx="11156">
                  <c:v>5.9869420151811781</c:v>
                </c:pt>
                <c:pt idx="11157">
                  <c:v>6.0535696406992248</c:v>
                </c:pt>
                <c:pt idx="11158">
                  <c:v>5.967825755512175</c:v>
                </c:pt>
                <c:pt idx="11159">
                  <c:v>5.9254979160878962</c:v>
                </c:pt>
                <c:pt idx="11160">
                  <c:v>4.9356012264057201</c:v>
                </c:pt>
                <c:pt idx="11161">
                  <c:v>4.8665565470430119</c:v>
                </c:pt>
                <c:pt idx="11162">
                  <c:v>6.0125073805477811</c:v>
                </c:pt>
                <c:pt idx="11163">
                  <c:v>4.9586263776176152</c:v>
                </c:pt>
                <c:pt idx="11164">
                  <c:v>6.0750828394978145</c:v>
                </c:pt>
                <c:pt idx="11165">
                  <c:v>5.8544647690106002</c:v>
                </c:pt>
                <c:pt idx="11166">
                  <c:v>5.0949828797038359</c:v>
                </c:pt>
                <c:pt idx="11167">
                  <c:v>5.8564756272642722</c:v>
                </c:pt>
                <c:pt idx="11168">
                  <c:v>6.9436191195629835</c:v>
                </c:pt>
                <c:pt idx="11169">
                  <c:v>5.8516846862828791</c:v>
                </c:pt>
                <c:pt idx="11170">
                  <c:v>5.8781760403432779</c:v>
                </c:pt>
                <c:pt idx="11171">
                  <c:v>6.0870410540308626</c:v>
                </c:pt>
                <c:pt idx="11172">
                  <c:v>6.2695637526182386</c:v>
                </c:pt>
                <c:pt idx="11173">
                  <c:v>6.2202258158513795</c:v>
                </c:pt>
                <c:pt idx="11174">
                  <c:v>6.0374835394667086</c:v>
                </c:pt>
                <c:pt idx="11175">
                  <c:v>5.85239938281783</c:v>
                </c:pt>
                <c:pt idx="11176">
                  <c:v>6.9454203728767938</c:v>
                </c:pt>
                <c:pt idx="11177">
                  <c:v>5.8608830692446201</c:v>
                </c:pt>
                <c:pt idx="11178">
                  <c:v>4.8722189594372116</c:v>
                </c:pt>
                <c:pt idx="11179">
                  <c:v>5.9918605223436741</c:v>
                </c:pt>
                <c:pt idx="11180">
                  <c:v>6.0173555856243954</c:v>
                </c:pt>
                <c:pt idx="11181">
                  <c:v>5.8554686681630548</c:v>
                </c:pt>
                <c:pt idx="11182">
                  <c:v>6.0261553117905438</c:v>
                </c:pt>
                <c:pt idx="11183">
                  <c:v>6.0899492981110201</c:v>
                </c:pt>
                <c:pt idx="11184">
                  <c:v>5.9986873561139999</c:v>
                </c:pt>
                <c:pt idx="11185">
                  <c:v>6.0454659640446646</c:v>
                </c:pt>
                <c:pt idx="11186">
                  <c:v>6.0775985832940025</c:v>
                </c:pt>
                <c:pt idx="11187">
                  <c:v>5.9169276553820662</c:v>
                </c:pt>
                <c:pt idx="11188">
                  <c:v>3.1965787535498125</c:v>
                </c:pt>
                <c:pt idx="11189">
                  <c:v>5.8592096721351856</c:v>
                </c:pt>
                <c:pt idx="11190">
                  <c:v>5.8983500432377625</c:v>
                </c:pt>
                <c:pt idx="11191">
                  <c:v>5.8580076212887118</c:v>
                </c:pt>
                <c:pt idx="11192">
                  <c:v>5.1191946003098563</c:v>
                </c:pt>
                <c:pt idx="11193">
                  <c:v>6.2328934988232065</c:v>
                </c:pt>
                <c:pt idx="11194">
                  <c:v>5.9625353361522375</c:v>
                </c:pt>
                <c:pt idx="11195">
                  <c:v>5.9509274603747233</c:v>
                </c:pt>
                <c:pt idx="11196">
                  <c:v>5.9949537933449291</c:v>
                </c:pt>
                <c:pt idx="11197">
                  <c:v>6.0459110878263704</c:v>
                </c:pt>
                <c:pt idx="11198">
                  <c:v>5.7903273600484395</c:v>
                </c:pt>
                <c:pt idx="11199">
                  <c:v>6.0234079850104179</c:v>
                </c:pt>
                <c:pt idx="11200">
                  <c:v>5.931037031608982</c:v>
                </c:pt>
                <c:pt idx="11201">
                  <c:v>5.9676379439787475</c:v>
                </c:pt>
                <c:pt idx="11202">
                  <c:v>6.222943591290111</c:v>
                </c:pt>
                <c:pt idx="11203">
                  <c:v>6.0322524279157728</c:v>
                </c:pt>
                <c:pt idx="11204">
                  <c:v>6.1327447403806135</c:v>
                </c:pt>
                <c:pt idx="11205">
                  <c:v>5.9767163441508702</c:v>
                </c:pt>
                <c:pt idx="11206">
                  <c:v>7.0169109623175414</c:v>
                </c:pt>
                <c:pt idx="11207">
                  <c:v>6.1250489856410395</c:v>
                </c:pt>
                <c:pt idx="11208">
                  <c:v>6.1288461319074035</c:v>
                </c:pt>
                <c:pt idx="11209">
                  <c:v>5.0341787941537683</c:v>
                </c:pt>
                <c:pt idx="11210">
                  <c:v>5.0279428342164403</c:v>
                </c:pt>
                <c:pt idx="11211">
                  <c:v>5.1363926632843677</c:v>
                </c:pt>
                <c:pt idx="11212">
                  <c:v>4.9836270454407572</c:v>
                </c:pt>
                <c:pt idx="11213">
                  <c:v>3.9356400033138574</c:v>
                </c:pt>
                <c:pt idx="11214">
                  <c:v>3.8727526330003634</c:v>
                </c:pt>
                <c:pt idx="11215">
                  <c:v>6.2082531715766658</c:v>
                </c:pt>
                <c:pt idx="11216">
                  <c:v>6.1352763724819139</c:v>
                </c:pt>
                <c:pt idx="11217">
                  <c:v>6.0347449144651382</c:v>
                </c:pt>
                <c:pt idx="11218">
                  <c:v>3.8534934010443673</c:v>
                </c:pt>
                <c:pt idx="11219">
                  <c:v>3.883101788286099</c:v>
                </c:pt>
                <c:pt idx="11220">
                  <c:v>4.1019260112272322</c:v>
                </c:pt>
                <c:pt idx="11221">
                  <c:v>6.00882170073357</c:v>
                </c:pt>
                <c:pt idx="11222">
                  <c:v>5.9688081158291242</c:v>
                </c:pt>
                <c:pt idx="11223">
                  <c:v>4.9799006543744273</c:v>
                </c:pt>
                <c:pt idx="11224">
                  <c:v>6.0178067468526848</c:v>
                </c:pt>
                <c:pt idx="11225">
                  <c:v>5.9916662090750501</c:v>
                </c:pt>
                <c:pt idx="11226">
                  <c:v>6.0094088695981061</c:v>
                </c:pt>
                <c:pt idx="11227">
                  <c:v>6.0389426155992574</c:v>
                </c:pt>
                <c:pt idx="11228">
                  <c:v>5.9868942136299177</c:v>
                </c:pt>
                <c:pt idx="11229">
                  <c:v>3.8580857035667533</c:v>
                </c:pt>
                <c:pt idx="11230">
                  <c:v>4.0006430429597808</c:v>
                </c:pt>
                <c:pt idx="11231">
                  <c:v>4.0026573522947064</c:v>
                </c:pt>
                <c:pt idx="11232">
                  <c:v>3.9887648554752646</c:v>
                </c:pt>
                <c:pt idx="11233">
                  <c:v>3.8925763804134448</c:v>
                </c:pt>
                <c:pt idx="11234">
                  <c:v>6.0108199747400386</c:v>
                </c:pt>
                <c:pt idx="11235">
                  <c:v>6.1688766388338099</c:v>
                </c:pt>
                <c:pt idx="11236">
                  <c:v>2.0375824134319735</c:v>
                </c:pt>
                <c:pt idx="11237">
                  <c:v>5.0609443627037027</c:v>
                </c:pt>
                <c:pt idx="11238">
                  <c:v>5.0775050080428139</c:v>
                </c:pt>
                <c:pt idx="11239">
                  <c:v>6.0324057881407347</c:v>
                </c:pt>
                <c:pt idx="11240">
                  <c:v>5.9279859585123038</c:v>
                </c:pt>
                <c:pt idx="11241">
                  <c:v>5.9233650757420113</c:v>
                </c:pt>
                <c:pt idx="11242">
                  <c:v>5.1089470933378029</c:v>
                </c:pt>
                <c:pt idx="11243">
                  <c:v>5.1423929827647097</c:v>
                </c:pt>
                <c:pt idx="11244">
                  <c:v>5.9235264552887097</c:v>
                </c:pt>
                <c:pt idx="11245">
                  <c:v>6.13231627906202</c:v>
                </c:pt>
                <c:pt idx="11246">
                  <c:v>5.9207363570648219</c:v>
                </c:pt>
                <c:pt idx="11247">
                  <c:v>6.8540074753443632</c:v>
                </c:pt>
                <c:pt idx="11248">
                  <c:v>5.9081949898126886</c:v>
                </c:pt>
                <c:pt idx="11249">
                  <c:v>5.09281754164991</c:v>
                </c:pt>
                <c:pt idx="11250">
                  <c:v>4.9894777122237954</c:v>
                </c:pt>
                <c:pt idx="11251">
                  <c:v>6.0270135475783135</c:v>
                </c:pt>
                <c:pt idx="11252">
                  <c:v>4.9297638180803949</c:v>
                </c:pt>
                <c:pt idx="11253">
                  <c:v>6.0163615908002317</c:v>
                </c:pt>
                <c:pt idx="11254">
                  <c:v>5.0713557909543647</c:v>
                </c:pt>
                <c:pt idx="11255">
                  <c:v>5.9364264983664583</c:v>
                </c:pt>
                <c:pt idx="11256">
                  <c:v>6.0068321403309826</c:v>
                </c:pt>
                <c:pt idx="11257">
                  <c:v>6.0153232298018358</c:v>
                </c:pt>
                <c:pt idx="11258">
                  <c:v>4.9612789862749951</c:v>
                </c:pt>
                <c:pt idx="11259">
                  <c:v>6.0248399411210247</c:v>
                </c:pt>
                <c:pt idx="11260">
                  <c:v>6.0138837653716948</c:v>
                </c:pt>
                <c:pt idx="11261">
                  <c:v>6.0410206460391578</c:v>
                </c:pt>
                <c:pt idx="11262">
                  <c:v>4.9104555691165404</c:v>
                </c:pt>
                <c:pt idx="11263">
                  <c:v>7.108884191419147</c:v>
                </c:pt>
                <c:pt idx="11264">
                  <c:v>5.8384128713165975</c:v>
                </c:pt>
                <c:pt idx="11265">
                  <c:v>4.9471659967916102</c:v>
                </c:pt>
                <c:pt idx="11266">
                  <c:v>5.9907807180979313</c:v>
                </c:pt>
                <c:pt idx="11267">
                  <c:v>4.8330222078268585</c:v>
                </c:pt>
                <c:pt idx="11268">
                  <c:v>5.9038585937272412</c:v>
                </c:pt>
                <c:pt idx="11269">
                  <c:v>5.9360741177339333</c:v>
                </c:pt>
                <c:pt idx="11270">
                  <c:v>6.1325806459039445</c:v>
                </c:pt>
                <c:pt idx="11271">
                  <c:v>5.8385611144080194</c:v>
                </c:pt>
                <c:pt idx="11272">
                  <c:v>5.9575576606921228</c:v>
                </c:pt>
                <c:pt idx="11273">
                  <c:v>5.0162444794377361</c:v>
                </c:pt>
                <c:pt idx="11274">
                  <c:v>5.0674212754148815</c:v>
                </c:pt>
                <c:pt idx="11275">
                  <c:v>5.0662891966861086</c:v>
                </c:pt>
                <c:pt idx="11276">
                  <c:v>4.8572613659248676</c:v>
                </c:pt>
                <c:pt idx="11277">
                  <c:v>6.0609011389087897</c:v>
                </c:pt>
                <c:pt idx="11278">
                  <c:v>4.8161206365992317</c:v>
                </c:pt>
                <c:pt idx="11279">
                  <c:v>5.7781277982619832</c:v>
                </c:pt>
                <c:pt idx="11280">
                  <c:v>6.0033071318896996</c:v>
                </c:pt>
                <c:pt idx="11281">
                  <c:v>6.1186607962474433</c:v>
                </c:pt>
                <c:pt idx="11282">
                  <c:v>5.9573837001886778</c:v>
                </c:pt>
                <c:pt idx="11283">
                  <c:v>6.0276270385645354</c:v>
                </c:pt>
                <c:pt idx="11284">
                  <c:v>6.0337131994912019</c:v>
                </c:pt>
                <c:pt idx="11285">
                  <c:v>6.0967316821726376</c:v>
                </c:pt>
                <c:pt idx="11286">
                  <c:v>4.8646265739298657</c:v>
                </c:pt>
                <c:pt idx="11287">
                  <c:v>5.1881041327507429</c:v>
                </c:pt>
                <c:pt idx="11288">
                  <c:v>5.1424424778771609</c:v>
                </c:pt>
                <c:pt idx="11289">
                  <c:v>5.9656457783207761</c:v>
                </c:pt>
                <c:pt idx="11290">
                  <c:v>4.7971288715426503</c:v>
                </c:pt>
                <c:pt idx="11291">
                  <c:v>6.0334229548921172</c:v>
                </c:pt>
                <c:pt idx="11292">
                  <c:v>6.0517016685062393</c:v>
                </c:pt>
                <c:pt idx="11293">
                  <c:v>5.9807727426684529</c:v>
                </c:pt>
                <c:pt idx="11294">
                  <c:v>5.0863721240743942</c:v>
                </c:pt>
                <c:pt idx="11295">
                  <c:v>5.9521234139243768</c:v>
                </c:pt>
                <c:pt idx="11296">
                  <c:v>6.2191274855971495</c:v>
                </c:pt>
                <c:pt idx="11297">
                  <c:v>6.004853503288933</c:v>
                </c:pt>
                <c:pt idx="11298">
                  <c:v>6.0783860133156749</c:v>
                </c:pt>
                <c:pt idx="11299">
                  <c:v>6.0151206950381733</c:v>
                </c:pt>
                <c:pt idx="11300">
                  <c:v>5.8771753823361923</c:v>
                </c:pt>
                <c:pt idx="11301">
                  <c:v>5.9290741288728119</c:v>
                </c:pt>
                <c:pt idx="11302">
                  <c:v>6.0026462735721182</c:v>
                </c:pt>
                <c:pt idx="11303">
                  <c:v>5.961697027718099</c:v>
                </c:pt>
                <c:pt idx="11304">
                  <c:v>5.008719660948028</c:v>
                </c:pt>
                <c:pt idx="11305">
                  <c:v>5.0107429139534609</c:v>
                </c:pt>
                <c:pt idx="11306">
                  <c:v>5.8952368612422097</c:v>
                </c:pt>
                <c:pt idx="11307">
                  <c:v>4.8649378453050893</c:v>
                </c:pt>
                <c:pt idx="11308">
                  <c:v>5.2267341074732236</c:v>
                </c:pt>
                <c:pt idx="11309">
                  <c:v>4.9760056777301145</c:v>
                </c:pt>
                <c:pt idx="11310">
                  <c:v>5.1330339593868226</c:v>
                </c:pt>
                <c:pt idx="11311">
                  <c:v>5.8021395231295854</c:v>
                </c:pt>
                <c:pt idx="11312">
                  <c:v>5.9189552962361782</c:v>
                </c:pt>
                <c:pt idx="11313">
                  <c:v>5.9416668529187548</c:v>
                </c:pt>
                <c:pt idx="11314">
                  <c:v>4.9941912225523124</c:v>
                </c:pt>
                <c:pt idx="11315">
                  <c:v>4.9681747733462673</c:v>
                </c:pt>
                <c:pt idx="11316">
                  <c:v>6.0253406864444932</c:v>
                </c:pt>
                <c:pt idx="11317">
                  <c:v>5.8936281460963897</c:v>
                </c:pt>
                <c:pt idx="11318">
                  <c:v>5.7931529541285265</c:v>
                </c:pt>
                <c:pt idx="11319">
                  <c:v>5.0671365179603987</c:v>
                </c:pt>
                <c:pt idx="11320">
                  <c:v>4.9414967049650329</c:v>
                </c:pt>
                <c:pt idx="11321">
                  <c:v>5.0262875813813057</c:v>
                </c:pt>
                <c:pt idx="11322">
                  <c:v>4.9866531318582457</c:v>
                </c:pt>
                <c:pt idx="11323">
                  <c:v>6.1053682958239026</c:v>
                </c:pt>
                <c:pt idx="11324">
                  <c:v>5.8179070418145731</c:v>
                </c:pt>
                <c:pt idx="11325">
                  <c:v>6.0947276630156217</c:v>
                </c:pt>
                <c:pt idx="11326">
                  <c:v>5.1363252007178399</c:v>
                </c:pt>
                <c:pt idx="11327">
                  <c:v>4.9682763596492512</c:v>
                </c:pt>
                <c:pt idx="11328">
                  <c:v>5.0471280062908015</c:v>
                </c:pt>
                <c:pt idx="11329">
                  <c:v>6.0315759703822431</c:v>
                </c:pt>
                <c:pt idx="11330">
                  <c:v>5.8926273169250116</c:v>
                </c:pt>
                <c:pt idx="11331">
                  <c:v>5.9772271971175321</c:v>
                </c:pt>
                <c:pt idx="11332">
                  <c:v>5.0917250684261903</c:v>
                </c:pt>
                <c:pt idx="11333">
                  <c:v>5.0077773920559991</c:v>
                </c:pt>
                <c:pt idx="11334">
                  <c:v>6.1061949390772012</c:v>
                </c:pt>
                <c:pt idx="11335">
                  <c:v>4.9755112495880223</c:v>
                </c:pt>
                <c:pt idx="11336">
                  <c:v>5.979652224453865</c:v>
                </c:pt>
                <c:pt idx="11337">
                  <c:v>2.85179803421281</c:v>
                </c:pt>
                <c:pt idx="11338">
                  <c:v>4.8984522458386888</c:v>
                </c:pt>
                <c:pt idx="11339">
                  <c:v>6.0610034717507384</c:v>
                </c:pt>
                <c:pt idx="11340">
                  <c:v>5.0201921776637484</c:v>
                </c:pt>
                <c:pt idx="11341">
                  <c:v>5.8505119488147246</c:v>
                </c:pt>
                <c:pt idx="11342">
                  <c:v>5.7940135438558382</c:v>
                </c:pt>
                <c:pt idx="11343">
                  <c:v>4.8993286992579836</c:v>
                </c:pt>
                <c:pt idx="11344">
                  <c:v>4.9665225010104992</c:v>
                </c:pt>
                <c:pt idx="11345">
                  <c:v>6.0906612626158028</c:v>
                </c:pt>
                <c:pt idx="11346">
                  <c:v>6.1690883361250863</c:v>
                </c:pt>
                <c:pt idx="11347">
                  <c:v>5.9033160669335984</c:v>
                </c:pt>
                <c:pt idx="11348">
                  <c:v>4.8689137872865569</c:v>
                </c:pt>
                <c:pt idx="11349">
                  <c:v>5.0918555614001191</c:v>
                </c:pt>
                <c:pt idx="11350">
                  <c:v>5.9912073556886325</c:v>
                </c:pt>
                <c:pt idx="11351">
                  <c:v>5.8295808978585431</c:v>
                </c:pt>
                <c:pt idx="11352">
                  <c:v>6.1146854320173389</c:v>
                </c:pt>
                <c:pt idx="11353">
                  <c:v>6.2277765737102015</c:v>
                </c:pt>
                <c:pt idx="11354">
                  <c:v>6.0449001478406856</c:v>
                </c:pt>
                <c:pt idx="11355">
                  <c:v>4.9850006017294239</c:v>
                </c:pt>
                <c:pt idx="11356">
                  <c:v>5.915587452957257</c:v>
                </c:pt>
                <c:pt idx="11357">
                  <c:v>5.0457567332550326</c:v>
                </c:pt>
                <c:pt idx="11358">
                  <c:v>6.1382431383586002</c:v>
                </c:pt>
                <c:pt idx="11359">
                  <c:v>6.0259662541290293</c:v>
                </c:pt>
                <c:pt idx="11360">
                  <c:v>6.1788637775147421</c:v>
                </c:pt>
                <c:pt idx="11361">
                  <c:v>3.9849819246345208</c:v>
                </c:pt>
                <c:pt idx="11362">
                  <c:v>4.0566634509001052</c:v>
                </c:pt>
                <c:pt idx="11363">
                  <c:v>4.9780747577794973</c:v>
                </c:pt>
                <c:pt idx="11364">
                  <c:v>5.8404271311878091</c:v>
                </c:pt>
                <c:pt idx="11365">
                  <c:v>6.0142255434640273</c:v>
                </c:pt>
                <c:pt idx="11366">
                  <c:v>6.1037990509460673</c:v>
                </c:pt>
                <c:pt idx="11367">
                  <c:v>5.1349878151088264</c:v>
                </c:pt>
                <c:pt idx="11368">
                  <c:v>6.0495857111385352</c:v>
                </c:pt>
                <c:pt idx="11369">
                  <c:v>6.0813537229103751</c:v>
                </c:pt>
                <c:pt idx="11370">
                  <c:v>6.0448069233767594</c:v>
                </c:pt>
                <c:pt idx="11371">
                  <c:v>6.0234391854941327</c:v>
                </c:pt>
                <c:pt idx="11372">
                  <c:v>4.8243250481615387</c:v>
                </c:pt>
                <c:pt idx="11373">
                  <c:v>5.0427691181696099</c:v>
                </c:pt>
                <c:pt idx="11374">
                  <c:v>5.9942093191773358</c:v>
                </c:pt>
                <c:pt idx="11375">
                  <c:v>6.0404423928649198</c:v>
                </c:pt>
                <c:pt idx="11376">
                  <c:v>5.8565913504114357</c:v>
                </c:pt>
                <c:pt idx="11377">
                  <c:v>6.0850442065905881</c:v>
                </c:pt>
                <c:pt idx="11378">
                  <c:v>5.7546833171635363</c:v>
                </c:pt>
                <c:pt idx="11379">
                  <c:v>6.9014195472276194</c:v>
                </c:pt>
                <c:pt idx="11380">
                  <c:v>5.1324029635427024</c:v>
                </c:pt>
                <c:pt idx="11381">
                  <c:v>6.9337104209365714</c:v>
                </c:pt>
                <c:pt idx="11382">
                  <c:v>5.7715715787923436</c:v>
                </c:pt>
                <c:pt idx="11383">
                  <c:v>6.0898920969382164</c:v>
                </c:pt>
                <c:pt idx="11384">
                  <c:v>5.8969566724229106</c:v>
                </c:pt>
                <c:pt idx="11385">
                  <c:v>5.7835374264981096</c:v>
                </c:pt>
                <c:pt idx="11386">
                  <c:v>6.9809473975315948</c:v>
                </c:pt>
                <c:pt idx="11387">
                  <c:v>6.0118867857363965</c:v>
                </c:pt>
                <c:pt idx="11388">
                  <c:v>7.0300569578226364</c:v>
                </c:pt>
                <c:pt idx="11389">
                  <c:v>7.1609822480270724</c:v>
                </c:pt>
                <c:pt idx="11390">
                  <c:v>6.1595782246967161</c:v>
                </c:pt>
                <c:pt idx="11391">
                  <c:v>5.9495210865104395</c:v>
                </c:pt>
                <c:pt idx="11392">
                  <c:v>4.862754410356616</c:v>
                </c:pt>
                <c:pt idx="11393">
                  <c:v>6.0866392360210551</c:v>
                </c:pt>
                <c:pt idx="11394">
                  <c:v>5.9956387534751316</c:v>
                </c:pt>
                <c:pt idx="11395">
                  <c:v>6.1929776947942647</c:v>
                </c:pt>
                <c:pt idx="11396">
                  <c:v>4.9601757406434261</c:v>
                </c:pt>
                <c:pt idx="11397">
                  <c:v>4.9215026394678958</c:v>
                </c:pt>
                <c:pt idx="11398">
                  <c:v>5.7550289128996166</c:v>
                </c:pt>
                <c:pt idx="11399">
                  <c:v>6.0568041675700668</c:v>
                </c:pt>
                <c:pt idx="11400">
                  <c:v>6.1542785838057839</c:v>
                </c:pt>
                <c:pt idx="11401">
                  <c:v>6.024072513822011</c:v>
                </c:pt>
                <c:pt idx="11402">
                  <c:v>5.1056471056355912</c:v>
                </c:pt>
                <c:pt idx="11403">
                  <c:v>5.8846132065346994</c:v>
                </c:pt>
                <c:pt idx="11404">
                  <c:v>6.0070042539284936</c:v>
                </c:pt>
                <c:pt idx="11405">
                  <c:v>6.0054666794517342</c:v>
                </c:pt>
                <c:pt idx="11406">
                  <c:v>5.036652471601081</c:v>
                </c:pt>
                <c:pt idx="11407">
                  <c:v>5.0575992125294604</c:v>
                </c:pt>
                <c:pt idx="11408">
                  <c:v>5.8808308752694636</c:v>
                </c:pt>
                <c:pt idx="11409">
                  <c:v>6.1062082445614116</c:v>
                </c:pt>
                <c:pt idx="11410">
                  <c:v>5.8291801395844853</c:v>
                </c:pt>
                <c:pt idx="11411">
                  <c:v>6.0246339036365102</c:v>
                </c:pt>
                <c:pt idx="11412">
                  <c:v>5.1137556780073341</c:v>
                </c:pt>
                <c:pt idx="11413">
                  <c:v>5.8460612194199593</c:v>
                </c:pt>
                <c:pt idx="11414">
                  <c:v>4.9864000605049128</c:v>
                </c:pt>
                <c:pt idx="11415">
                  <c:v>5.9643419861995639</c:v>
                </c:pt>
                <c:pt idx="11416">
                  <c:v>7.0485521729279954</c:v>
                </c:pt>
                <c:pt idx="11417">
                  <c:v>5.0618894132682</c:v>
                </c:pt>
                <c:pt idx="11418">
                  <c:v>6.1121622369719786</c:v>
                </c:pt>
                <c:pt idx="11419">
                  <c:v>5.9541570911462092</c:v>
                </c:pt>
                <c:pt idx="11420">
                  <c:v>5.9687931816030613</c:v>
                </c:pt>
                <c:pt idx="11421">
                  <c:v>6.0282191172608375</c:v>
                </c:pt>
                <c:pt idx="11422">
                  <c:v>6.1181376018041913</c:v>
                </c:pt>
                <c:pt idx="11423">
                  <c:v>5.0276177115732086</c:v>
                </c:pt>
                <c:pt idx="11424">
                  <c:v>7.1166395507755809</c:v>
                </c:pt>
                <c:pt idx="11425">
                  <c:v>5.954834887937583</c:v>
                </c:pt>
                <c:pt idx="11426">
                  <c:v>6.2386799338909631</c:v>
                </c:pt>
                <c:pt idx="11427">
                  <c:v>5.0022273852146002</c:v>
                </c:pt>
                <c:pt idx="11428">
                  <c:v>7.0364433507777058</c:v>
                </c:pt>
                <c:pt idx="11429">
                  <c:v>5.8672252692074203</c:v>
                </c:pt>
                <c:pt idx="11430">
                  <c:v>5.7510997237962584</c:v>
                </c:pt>
                <c:pt idx="11431">
                  <c:v>5.0903674194199242</c:v>
                </c:pt>
                <c:pt idx="11432">
                  <c:v>6.9557531082725443</c:v>
                </c:pt>
                <c:pt idx="11433">
                  <c:v>6.8199208317325821</c:v>
                </c:pt>
                <c:pt idx="11434">
                  <c:v>5.940961033154359</c:v>
                </c:pt>
                <c:pt idx="11435">
                  <c:v>7.2162224045766816</c:v>
                </c:pt>
                <c:pt idx="11436">
                  <c:v>7.0104314543823492</c:v>
                </c:pt>
                <c:pt idx="11437">
                  <c:v>5.0098021720874462</c:v>
                </c:pt>
                <c:pt idx="11438">
                  <c:v>5.9056875508225382</c:v>
                </c:pt>
                <c:pt idx="11439">
                  <c:v>5.8584410366061199</c:v>
                </c:pt>
                <c:pt idx="11440">
                  <c:v>5.9031425331936891</c:v>
                </c:pt>
                <c:pt idx="11441">
                  <c:v>5.9645005897390186</c:v>
                </c:pt>
                <c:pt idx="11442">
                  <c:v>5.9211840745291742</c:v>
                </c:pt>
                <c:pt idx="11443">
                  <c:v>5.8938443372735865</c:v>
                </c:pt>
                <c:pt idx="11444">
                  <c:v>5.0871222300186965</c:v>
                </c:pt>
                <c:pt idx="11445">
                  <c:v>6.081471970536672</c:v>
                </c:pt>
                <c:pt idx="11446">
                  <c:v>6.0480796175381837</c:v>
                </c:pt>
                <c:pt idx="11447">
                  <c:v>5.0824710779731594</c:v>
                </c:pt>
                <c:pt idx="11448">
                  <c:v>5.8155546264448992</c:v>
                </c:pt>
                <c:pt idx="11449">
                  <c:v>5.9554660080270683</c:v>
                </c:pt>
                <c:pt idx="11450">
                  <c:v>5.8632378750005154</c:v>
                </c:pt>
                <c:pt idx="11451">
                  <c:v>6.1085342506797957</c:v>
                </c:pt>
                <c:pt idx="11452">
                  <c:v>5.0049822425977002</c:v>
                </c:pt>
                <c:pt idx="11453">
                  <c:v>6.1083438660830129</c:v>
                </c:pt>
                <c:pt idx="11454">
                  <c:v>5.0395263797784215</c:v>
                </c:pt>
                <c:pt idx="11455">
                  <c:v>4.9713648696071964</c:v>
                </c:pt>
                <c:pt idx="11456">
                  <c:v>5.010771743962664</c:v>
                </c:pt>
                <c:pt idx="11457">
                  <c:v>5.8437609057331841</c:v>
                </c:pt>
                <c:pt idx="11458">
                  <c:v>3.8865077689159628</c:v>
                </c:pt>
                <c:pt idx="11459">
                  <c:v>3.9821982049454352</c:v>
                </c:pt>
                <c:pt idx="11460">
                  <c:v>5.9522427362332744</c:v>
                </c:pt>
                <c:pt idx="11461">
                  <c:v>6.7544310473430533</c:v>
                </c:pt>
                <c:pt idx="11462">
                  <c:v>6.8807851618339111</c:v>
                </c:pt>
                <c:pt idx="11463">
                  <c:v>6.9841653228196732</c:v>
                </c:pt>
                <c:pt idx="11464">
                  <c:v>6.0397795282492863</c:v>
                </c:pt>
                <c:pt idx="11465">
                  <c:v>5.8505572272123159</c:v>
                </c:pt>
                <c:pt idx="11466">
                  <c:v>6.0103071240481549</c:v>
                </c:pt>
                <c:pt idx="11467">
                  <c:v>6.0484968142871187</c:v>
                </c:pt>
                <c:pt idx="11468">
                  <c:v>4.9716868612648577</c:v>
                </c:pt>
                <c:pt idx="11469">
                  <c:v>5.1710274153451836</c:v>
                </c:pt>
                <c:pt idx="11470">
                  <c:v>5.88153399605239</c:v>
                </c:pt>
                <c:pt idx="11471">
                  <c:v>6.0422626770568391</c:v>
                </c:pt>
                <c:pt idx="11472">
                  <c:v>4.942307348809301</c:v>
                </c:pt>
                <c:pt idx="11473">
                  <c:v>5.9689822752993287</c:v>
                </c:pt>
                <c:pt idx="11474">
                  <c:v>4.0961652663540802</c:v>
                </c:pt>
                <c:pt idx="11475">
                  <c:v>5.9823678234371203</c:v>
                </c:pt>
                <c:pt idx="11476">
                  <c:v>5.0877351527750045</c:v>
                </c:pt>
                <c:pt idx="11477">
                  <c:v>5.9743415804383471</c:v>
                </c:pt>
                <c:pt idx="11478">
                  <c:v>5.7766832399895272</c:v>
                </c:pt>
                <c:pt idx="11479">
                  <c:v>4.9715614820466776</c:v>
                </c:pt>
                <c:pt idx="11480">
                  <c:v>6.9159454451422189</c:v>
                </c:pt>
                <c:pt idx="11481">
                  <c:v>4.903965990803794</c:v>
                </c:pt>
                <c:pt idx="11482">
                  <c:v>5.8368733981787431</c:v>
                </c:pt>
                <c:pt idx="11483">
                  <c:v>4.9469785464837095</c:v>
                </c:pt>
                <c:pt idx="11484">
                  <c:v>5.1611255610512012</c:v>
                </c:pt>
                <c:pt idx="11485">
                  <c:v>6.0979382751205105</c:v>
                </c:pt>
                <c:pt idx="11486">
                  <c:v>6.0982083164683747</c:v>
                </c:pt>
                <c:pt idx="11487">
                  <c:v>5.1186812313758958</c:v>
                </c:pt>
                <c:pt idx="11488">
                  <c:v>4.9775514791276754</c:v>
                </c:pt>
                <c:pt idx="11489">
                  <c:v>5.9714148296756084</c:v>
                </c:pt>
                <c:pt idx="11490">
                  <c:v>6.0618707532095311</c:v>
                </c:pt>
                <c:pt idx="11491">
                  <c:v>6.0919092980391794</c:v>
                </c:pt>
                <c:pt idx="11492">
                  <c:v>6.0193590945963038</c:v>
                </c:pt>
                <c:pt idx="11493">
                  <c:v>5.921766038555746</c:v>
                </c:pt>
                <c:pt idx="11494">
                  <c:v>5.987524462433135</c:v>
                </c:pt>
                <c:pt idx="11495">
                  <c:v>5.8832821103273503</c:v>
                </c:pt>
                <c:pt idx="11496">
                  <c:v>5.8428313196912107</c:v>
                </c:pt>
                <c:pt idx="11497">
                  <c:v>6.0020817798302879</c:v>
                </c:pt>
                <c:pt idx="11498">
                  <c:v>5.0024090118100268</c:v>
                </c:pt>
                <c:pt idx="11499">
                  <c:v>5.9139638411496804</c:v>
                </c:pt>
                <c:pt idx="11500">
                  <c:v>7.0450348435591117</c:v>
                </c:pt>
                <c:pt idx="11501">
                  <c:v>5.8164065305261632</c:v>
                </c:pt>
                <c:pt idx="11502">
                  <c:v>6.837134050232045</c:v>
                </c:pt>
                <c:pt idx="11503">
                  <c:v>6.0770158361078295</c:v>
                </c:pt>
                <c:pt idx="11504">
                  <c:v>4.8884400699774302</c:v>
                </c:pt>
                <c:pt idx="11505">
                  <c:v>5.9034172458415659</c:v>
                </c:pt>
                <c:pt idx="11506">
                  <c:v>4.907967367838034</c:v>
                </c:pt>
                <c:pt idx="11507">
                  <c:v>5.9032611925079079</c:v>
                </c:pt>
                <c:pt idx="11508">
                  <c:v>6.0283326453340802</c:v>
                </c:pt>
                <c:pt idx="11509">
                  <c:v>5.9665957616617531</c:v>
                </c:pt>
                <c:pt idx="11510">
                  <c:v>5.8360512629653032</c:v>
                </c:pt>
                <c:pt idx="11511">
                  <c:v>4.0551179615859629</c:v>
                </c:pt>
                <c:pt idx="11512">
                  <c:v>4.079556135186114</c:v>
                </c:pt>
                <c:pt idx="11513">
                  <c:v>5.1626137199463145</c:v>
                </c:pt>
                <c:pt idx="11514">
                  <c:v>5.9910011534032206</c:v>
                </c:pt>
                <c:pt idx="11515">
                  <c:v>5.1771000709585238</c:v>
                </c:pt>
                <c:pt idx="11516">
                  <c:v>6.0753505994591732</c:v>
                </c:pt>
                <c:pt idx="11517">
                  <c:v>4.9254909011807539</c:v>
                </c:pt>
                <c:pt idx="11518">
                  <c:v>6.1235055021924216</c:v>
                </c:pt>
                <c:pt idx="11519">
                  <c:v>6.1148654545722954</c:v>
                </c:pt>
                <c:pt idx="11520">
                  <c:v>5.9800604687100609</c:v>
                </c:pt>
                <c:pt idx="11521">
                  <c:v>5.0625568972295252</c:v>
                </c:pt>
                <c:pt idx="11522">
                  <c:v>5.0875857485413762</c:v>
                </c:pt>
                <c:pt idx="11523">
                  <c:v>5.9636362830360827</c:v>
                </c:pt>
                <c:pt idx="11524">
                  <c:v>5.9030348167345847</c:v>
                </c:pt>
                <c:pt idx="11525">
                  <c:v>6.0927203586265701</c:v>
                </c:pt>
                <c:pt idx="11526">
                  <c:v>5.9084569461267735</c:v>
                </c:pt>
                <c:pt idx="11527">
                  <c:v>5.0179915411218667</c:v>
                </c:pt>
                <c:pt idx="11528">
                  <c:v>4.8803949912643105</c:v>
                </c:pt>
                <c:pt idx="11529">
                  <c:v>5.9508678867749234</c:v>
                </c:pt>
                <c:pt idx="11530">
                  <c:v>4.9398054700682339</c:v>
                </c:pt>
                <c:pt idx="11531">
                  <c:v>6.19098811676424</c:v>
                </c:pt>
                <c:pt idx="11532">
                  <c:v>6.0121087411503433</c:v>
                </c:pt>
                <c:pt idx="11533">
                  <c:v>5.9338217457659663</c:v>
                </c:pt>
                <c:pt idx="11534">
                  <c:v>6.1099848320759778</c:v>
                </c:pt>
                <c:pt idx="11535">
                  <c:v>6.1457296238074717</c:v>
                </c:pt>
                <c:pt idx="11536">
                  <c:v>5.8466429391234822</c:v>
                </c:pt>
                <c:pt idx="11537">
                  <c:v>5.8742946187325611</c:v>
                </c:pt>
                <c:pt idx="11538">
                  <c:v>8.0671490381665212</c:v>
                </c:pt>
                <c:pt idx="11539">
                  <c:v>6.2368120651856618</c:v>
                </c:pt>
                <c:pt idx="11540">
                  <c:v>6.0024994402253595</c:v>
                </c:pt>
                <c:pt idx="11541">
                  <c:v>6.099361554944581</c:v>
                </c:pt>
                <c:pt idx="11542">
                  <c:v>6.0234575069366478</c:v>
                </c:pt>
                <c:pt idx="11543">
                  <c:v>6.1148799124800099</c:v>
                </c:pt>
                <c:pt idx="11544">
                  <c:v>5.9096101415297531</c:v>
                </c:pt>
                <c:pt idx="11545">
                  <c:v>5.0338761527177489</c:v>
                </c:pt>
                <c:pt idx="11546">
                  <c:v>5.1427598099884948</c:v>
                </c:pt>
                <c:pt idx="11547">
                  <c:v>5.9277713037250104</c:v>
                </c:pt>
                <c:pt idx="11548">
                  <c:v>6.1494391212189203</c:v>
                </c:pt>
                <c:pt idx="11549">
                  <c:v>7.1025231015718973</c:v>
                </c:pt>
                <c:pt idx="11550">
                  <c:v>6.1380291879897735</c:v>
                </c:pt>
                <c:pt idx="11551">
                  <c:v>5.9680937116729416</c:v>
                </c:pt>
                <c:pt idx="11552">
                  <c:v>5.9699899200498159</c:v>
                </c:pt>
                <c:pt idx="11553">
                  <c:v>7.0341170516461355</c:v>
                </c:pt>
                <c:pt idx="11554">
                  <c:v>4.9950314577155295</c:v>
                </c:pt>
                <c:pt idx="11555">
                  <c:v>6.9263637467098276</c:v>
                </c:pt>
                <c:pt idx="11556">
                  <c:v>4.8739156136099062</c:v>
                </c:pt>
                <c:pt idx="11557">
                  <c:v>7.0012082534932274</c:v>
                </c:pt>
                <c:pt idx="11558">
                  <c:v>6.91656437770515</c:v>
                </c:pt>
                <c:pt idx="11559">
                  <c:v>6.9333788585170826</c:v>
                </c:pt>
                <c:pt idx="11560">
                  <c:v>7.0615502123854768</c:v>
                </c:pt>
                <c:pt idx="11561">
                  <c:v>6.8606770403212884</c:v>
                </c:pt>
                <c:pt idx="11562">
                  <c:v>5.9550840568579568</c:v>
                </c:pt>
                <c:pt idx="11563">
                  <c:v>4.9705194906820145</c:v>
                </c:pt>
                <c:pt idx="11564">
                  <c:v>5.971629171657538</c:v>
                </c:pt>
                <c:pt idx="11565">
                  <c:v>4.8336488087836189</c:v>
                </c:pt>
                <c:pt idx="11566">
                  <c:v>6.2438331760521528</c:v>
                </c:pt>
                <c:pt idx="11567">
                  <c:v>6.0226480626421113</c:v>
                </c:pt>
                <c:pt idx="11568">
                  <c:v>4.871932862736128</c:v>
                </c:pt>
                <c:pt idx="11569">
                  <c:v>5.0049181335023851</c:v>
                </c:pt>
                <c:pt idx="11570">
                  <c:v>5.9938868961564022</c:v>
                </c:pt>
                <c:pt idx="11571">
                  <c:v>6.0313483334258491</c:v>
                </c:pt>
                <c:pt idx="11572">
                  <c:v>5.9290036160229347</c:v>
                </c:pt>
                <c:pt idx="11573">
                  <c:v>5.9708003314469025</c:v>
                </c:pt>
                <c:pt idx="11574">
                  <c:v>5.8425845417899742</c:v>
                </c:pt>
                <c:pt idx="11575">
                  <c:v>5.9769244397609969</c:v>
                </c:pt>
                <c:pt idx="11576">
                  <c:v>6.0526317648870958</c:v>
                </c:pt>
                <c:pt idx="11577">
                  <c:v>7.1575795978619174</c:v>
                </c:pt>
                <c:pt idx="11578">
                  <c:v>5.9043463891489498</c:v>
                </c:pt>
                <c:pt idx="11579">
                  <c:v>5.9066904910768248</c:v>
                </c:pt>
                <c:pt idx="11580">
                  <c:v>5.8470900258690035</c:v>
                </c:pt>
                <c:pt idx="11581">
                  <c:v>5.7990048890768788</c:v>
                </c:pt>
                <c:pt idx="11582">
                  <c:v>5.8081035792494671</c:v>
                </c:pt>
                <c:pt idx="11583">
                  <c:v>6.9676677131520766</c:v>
                </c:pt>
                <c:pt idx="11584">
                  <c:v>5.0322286816737298</c:v>
                </c:pt>
                <c:pt idx="11585">
                  <c:v>6.0366266249508307</c:v>
                </c:pt>
                <c:pt idx="11586">
                  <c:v>6.0034942190016798</c:v>
                </c:pt>
                <c:pt idx="11587">
                  <c:v>6.1972998760972873</c:v>
                </c:pt>
                <c:pt idx="11588">
                  <c:v>6.0107210893026366</c:v>
                </c:pt>
                <c:pt idx="11589">
                  <c:v>5.9552417459818123</c:v>
                </c:pt>
                <c:pt idx="11590">
                  <c:v>6.0169595003365144</c:v>
                </c:pt>
                <c:pt idx="11591">
                  <c:v>5.8645661876867505</c:v>
                </c:pt>
                <c:pt idx="11592">
                  <c:v>6.0404655065782986</c:v>
                </c:pt>
                <c:pt idx="11593">
                  <c:v>5.9441838570188033</c:v>
                </c:pt>
                <c:pt idx="11594">
                  <c:v>5.8816936567833684</c:v>
                </c:pt>
                <c:pt idx="11595">
                  <c:v>4.8438569123253723</c:v>
                </c:pt>
                <c:pt idx="11596">
                  <c:v>5.959397635995729</c:v>
                </c:pt>
                <c:pt idx="11597">
                  <c:v>5.9945068909918282</c:v>
                </c:pt>
                <c:pt idx="11598">
                  <c:v>4.9750725896783905</c:v>
                </c:pt>
                <c:pt idx="11599">
                  <c:v>5.2343511771446414</c:v>
                </c:pt>
                <c:pt idx="11600">
                  <c:v>5.8948964305829987</c:v>
                </c:pt>
                <c:pt idx="11601">
                  <c:v>6.0811958068306451</c:v>
                </c:pt>
                <c:pt idx="11602">
                  <c:v>6.0339110402502483</c:v>
                </c:pt>
                <c:pt idx="11603">
                  <c:v>4.9310437831026501</c:v>
                </c:pt>
                <c:pt idx="11604">
                  <c:v>6.0673699924056272</c:v>
                </c:pt>
                <c:pt idx="11605">
                  <c:v>4.7926934290176488</c:v>
                </c:pt>
                <c:pt idx="11606">
                  <c:v>5.0306991146636388</c:v>
                </c:pt>
                <c:pt idx="11607">
                  <c:v>3.9474748804788837</c:v>
                </c:pt>
                <c:pt idx="11608">
                  <c:v>4.8516605973192819</c:v>
                </c:pt>
                <c:pt idx="11609">
                  <c:v>5.9501376574829337</c:v>
                </c:pt>
                <c:pt idx="11610">
                  <c:v>5.1406797971544194</c:v>
                </c:pt>
                <c:pt idx="11611">
                  <c:v>4.9063647199576064</c:v>
                </c:pt>
                <c:pt idx="11612">
                  <c:v>5.9643473918149548</c:v>
                </c:pt>
                <c:pt idx="11613">
                  <c:v>6.0030758804715116</c:v>
                </c:pt>
                <c:pt idx="11614">
                  <c:v>6.0144188390744411</c:v>
                </c:pt>
                <c:pt idx="11615">
                  <c:v>6.0022002828743304</c:v>
                </c:pt>
                <c:pt idx="11616">
                  <c:v>5.9927345811502004</c:v>
                </c:pt>
                <c:pt idx="11617">
                  <c:v>5.8544236796879137</c:v>
                </c:pt>
                <c:pt idx="11618">
                  <c:v>4.9080374922952856</c:v>
                </c:pt>
                <c:pt idx="11619">
                  <c:v>5.9689669792204612</c:v>
                </c:pt>
                <c:pt idx="11620">
                  <c:v>6.063498431681567</c:v>
                </c:pt>
                <c:pt idx="11621">
                  <c:v>5.0746811804703915</c:v>
                </c:pt>
                <c:pt idx="11622">
                  <c:v>6.0122888106929899</c:v>
                </c:pt>
                <c:pt idx="11623">
                  <c:v>5.1411296141951901</c:v>
                </c:pt>
                <c:pt idx="11624">
                  <c:v>5.0004015473407559</c:v>
                </c:pt>
                <c:pt idx="11625">
                  <c:v>4.9265559849516487</c:v>
                </c:pt>
                <c:pt idx="11626">
                  <c:v>5.9420680778853701</c:v>
                </c:pt>
                <c:pt idx="11627">
                  <c:v>7.0488880518661947</c:v>
                </c:pt>
                <c:pt idx="11628">
                  <c:v>5.097736651582272</c:v>
                </c:pt>
                <c:pt idx="11629">
                  <c:v>5.88573920579391</c:v>
                </c:pt>
                <c:pt idx="11630">
                  <c:v>7.1177986430085003</c:v>
                </c:pt>
                <c:pt idx="11631">
                  <c:v>6.138146740079832</c:v>
                </c:pt>
                <c:pt idx="11632">
                  <c:v>5.0355497050629756</c:v>
                </c:pt>
                <c:pt idx="11633">
                  <c:v>5.0312424038456527</c:v>
                </c:pt>
                <c:pt idx="11634">
                  <c:v>6.0758603269342544</c:v>
                </c:pt>
                <c:pt idx="11635">
                  <c:v>6.1676655428018012</c:v>
                </c:pt>
                <c:pt idx="11636">
                  <c:v>6.0905933590951173</c:v>
                </c:pt>
                <c:pt idx="11637">
                  <c:v>5.8342106020437754</c:v>
                </c:pt>
                <c:pt idx="11638">
                  <c:v>5.0233023330679529</c:v>
                </c:pt>
                <c:pt idx="11639">
                  <c:v>6.0381484370849074</c:v>
                </c:pt>
                <c:pt idx="11640">
                  <c:v>6.0815932435044839</c:v>
                </c:pt>
                <c:pt idx="11641">
                  <c:v>6.0883921509660901</c:v>
                </c:pt>
                <c:pt idx="11642">
                  <c:v>5.0858741436843014</c:v>
                </c:pt>
                <c:pt idx="11643">
                  <c:v>4.9235049077960253</c:v>
                </c:pt>
                <c:pt idx="11644">
                  <c:v>6.0283244619495955</c:v>
                </c:pt>
                <c:pt idx="11645">
                  <c:v>6.1994150378681896</c:v>
                </c:pt>
                <c:pt idx="11646">
                  <c:v>5.985078265288962</c:v>
                </c:pt>
                <c:pt idx="11647">
                  <c:v>5.9132768723833466</c:v>
                </c:pt>
                <c:pt idx="11648">
                  <c:v>6.0935184699602187</c:v>
                </c:pt>
                <c:pt idx="11649">
                  <c:v>5.921979662267316</c:v>
                </c:pt>
                <c:pt idx="11650">
                  <c:v>6.0526727073340512</c:v>
                </c:pt>
                <c:pt idx="11651">
                  <c:v>5.0452731578178271</c:v>
                </c:pt>
                <c:pt idx="11652">
                  <c:v>5.9232864695637586</c:v>
                </c:pt>
                <c:pt idx="11653">
                  <c:v>5.9106933615731307</c:v>
                </c:pt>
                <c:pt idx="11654">
                  <c:v>4.6752069447082141</c:v>
                </c:pt>
                <c:pt idx="11655">
                  <c:v>5.0686532070868919</c:v>
                </c:pt>
                <c:pt idx="11656">
                  <c:v>5.918652535153047</c:v>
                </c:pt>
                <c:pt idx="11657">
                  <c:v>5.8893473577148123</c:v>
                </c:pt>
                <c:pt idx="11658">
                  <c:v>6.1067520426721513</c:v>
                </c:pt>
                <c:pt idx="11659">
                  <c:v>7.0395590517741597</c:v>
                </c:pt>
                <c:pt idx="11660">
                  <c:v>4.9110626561405395</c:v>
                </c:pt>
                <c:pt idx="11661">
                  <c:v>6.0169768319672059</c:v>
                </c:pt>
                <c:pt idx="11662">
                  <c:v>5.00540269418227</c:v>
                </c:pt>
                <c:pt idx="11663">
                  <c:v>5.132106509706575</c:v>
                </c:pt>
                <c:pt idx="11664">
                  <c:v>5.0847900268495128</c:v>
                </c:pt>
                <c:pt idx="11665">
                  <c:v>4.9311211876147567</c:v>
                </c:pt>
                <c:pt idx="11666">
                  <c:v>5.935573339763363</c:v>
                </c:pt>
                <c:pt idx="11667">
                  <c:v>6.0564185475891925</c:v>
                </c:pt>
                <c:pt idx="11668">
                  <c:v>6.0493526651155252</c:v>
                </c:pt>
                <c:pt idx="11669">
                  <c:v>4.8849135532144849</c:v>
                </c:pt>
                <c:pt idx="11670">
                  <c:v>5.8400129483729879</c:v>
                </c:pt>
                <c:pt idx="11671">
                  <c:v>6.0676669804447156</c:v>
                </c:pt>
                <c:pt idx="11672">
                  <c:v>5.0232603609186537</c:v>
                </c:pt>
                <c:pt idx="11673">
                  <c:v>5.9811532717759572</c:v>
                </c:pt>
                <c:pt idx="11674">
                  <c:v>4.8778653769156612</c:v>
                </c:pt>
                <c:pt idx="11675">
                  <c:v>5.961589805803948</c:v>
                </c:pt>
                <c:pt idx="11676">
                  <c:v>6.0387356895596485</c:v>
                </c:pt>
                <c:pt idx="11677">
                  <c:v>5.8977668681432602</c:v>
                </c:pt>
                <c:pt idx="11678">
                  <c:v>7.1029430993006102</c:v>
                </c:pt>
                <c:pt idx="11679">
                  <c:v>5.8702111653156743</c:v>
                </c:pt>
                <c:pt idx="11680">
                  <c:v>6.0009257935944929</c:v>
                </c:pt>
                <c:pt idx="11681">
                  <c:v>6.0080314039235816</c:v>
                </c:pt>
                <c:pt idx="11682">
                  <c:v>5.8103952325879487</c:v>
                </c:pt>
                <c:pt idx="11683">
                  <c:v>6.0237581537772229</c:v>
                </c:pt>
                <c:pt idx="11684">
                  <c:v>6.1004099963191445</c:v>
                </c:pt>
                <c:pt idx="11685">
                  <c:v>4.9200333981708555</c:v>
                </c:pt>
                <c:pt idx="11686">
                  <c:v>5.9333738945618695</c:v>
                </c:pt>
                <c:pt idx="11687">
                  <c:v>6.1461945536658975</c:v>
                </c:pt>
                <c:pt idx="11688">
                  <c:v>6.0534703884257626</c:v>
                </c:pt>
                <c:pt idx="11689">
                  <c:v>6.0025765543822267</c:v>
                </c:pt>
                <c:pt idx="11690">
                  <c:v>6.1323417698094662</c:v>
                </c:pt>
                <c:pt idx="11691">
                  <c:v>7.0960828972569905</c:v>
                </c:pt>
                <c:pt idx="11692">
                  <c:v>6.0609425680776434</c:v>
                </c:pt>
                <c:pt idx="11693">
                  <c:v>6.0199197485055933</c:v>
                </c:pt>
                <c:pt idx="11694">
                  <c:v>5.9640336802447891</c:v>
                </c:pt>
                <c:pt idx="11695">
                  <c:v>5.9512937421522132</c:v>
                </c:pt>
                <c:pt idx="11696">
                  <c:v>6.0539480278966877</c:v>
                </c:pt>
                <c:pt idx="11697">
                  <c:v>5.0524704350076703</c:v>
                </c:pt>
                <c:pt idx="11698">
                  <c:v>6.0169060725468864</c:v>
                </c:pt>
                <c:pt idx="11699">
                  <c:v>6.0486824858459558</c:v>
                </c:pt>
                <c:pt idx="11700">
                  <c:v>5.9939199466646675</c:v>
                </c:pt>
                <c:pt idx="11701">
                  <c:v>5.9602998537823959</c:v>
                </c:pt>
                <c:pt idx="11702">
                  <c:v>5.913195710981733</c:v>
                </c:pt>
                <c:pt idx="11703">
                  <c:v>6.0494843427374416</c:v>
                </c:pt>
                <c:pt idx="11704">
                  <c:v>4.9842264182091984</c:v>
                </c:pt>
                <c:pt idx="11705">
                  <c:v>6.0015826217702228</c:v>
                </c:pt>
                <c:pt idx="11706">
                  <c:v>5.0323755244207513</c:v>
                </c:pt>
                <c:pt idx="11707">
                  <c:v>6.0749895945802308</c:v>
                </c:pt>
                <c:pt idx="11708">
                  <c:v>6.0903450133667114</c:v>
                </c:pt>
                <c:pt idx="11709">
                  <c:v>5.8617648919937961</c:v>
                </c:pt>
                <c:pt idx="11710">
                  <c:v>6.0274757662482212</c:v>
                </c:pt>
                <c:pt idx="11711">
                  <c:v>5.8980713691989175</c:v>
                </c:pt>
                <c:pt idx="11712">
                  <c:v>4.8746140986595377</c:v>
                </c:pt>
                <c:pt idx="11713">
                  <c:v>5.9983558544930053</c:v>
                </c:pt>
                <c:pt idx="11714">
                  <c:v>5.9283092560920023</c:v>
                </c:pt>
                <c:pt idx="11715">
                  <c:v>4.8306087697629039</c:v>
                </c:pt>
                <c:pt idx="11716">
                  <c:v>5.8621898490075219</c:v>
                </c:pt>
                <c:pt idx="11717">
                  <c:v>5.8760118181436081</c:v>
                </c:pt>
                <c:pt idx="11718">
                  <c:v>6.0890355761592438</c:v>
                </c:pt>
                <c:pt idx="11719">
                  <c:v>6.0417538443130452</c:v>
                </c:pt>
                <c:pt idx="11720">
                  <c:v>6.0075811122173004</c:v>
                </c:pt>
                <c:pt idx="11721">
                  <c:v>6.1185367654822151</c:v>
                </c:pt>
                <c:pt idx="11722">
                  <c:v>5.9773407785579611</c:v>
                </c:pt>
                <c:pt idx="11723">
                  <c:v>6.1128591470766835</c:v>
                </c:pt>
                <c:pt idx="11724">
                  <c:v>5.9002899384714933</c:v>
                </c:pt>
                <c:pt idx="11725">
                  <c:v>6.03363749252585</c:v>
                </c:pt>
                <c:pt idx="11726">
                  <c:v>6.0452517991566035</c:v>
                </c:pt>
                <c:pt idx="11727">
                  <c:v>4.0369391271770514</c:v>
                </c:pt>
                <c:pt idx="11728">
                  <c:v>6.016734544393656</c:v>
                </c:pt>
                <c:pt idx="11729">
                  <c:v>6.1357075858394259</c:v>
                </c:pt>
                <c:pt idx="11730">
                  <c:v>5.0440982888165751</c:v>
                </c:pt>
                <c:pt idx="11731">
                  <c:v>5.823721945418983</c:v>
                </c:pt>
                <c:pt idx="11732">
                  <c:v>6.8225580976905551</c:v>
                </c:pt>
                <c:pt idx="11733">
                  <c:v>5.8833305512161944</c:v>
                </c:pt>
                <c:pt idx="11734">
                  <c:v>6.8293695460634307</c:v>
                </c:pt>
                <c:pt idx="11735">
                  <c:v>6.0218570331141699</c:v>
                </c:pt>
                <c:pt idx="11736">
                  <c:v>7.0940080499011353</c:v>
                </c:pt>
                <c:pt idx="11737">
                  <c:v>5.9290637184067645</c:v>
                </c:pt>
                <c:pt idx="11738">
                  <c:v>5.9635318794872436</c:v>
                </c:pt>
                <c:pt idx="11739">
                  <c:v>5.0635677462407989</c:v>
                </c:pt>
                <c:pt idx="11740">
                  <c:v>4.8492897186639388</c:v>
                </c:pt>
                <c:pt idx="11741">
                  <c:v>4.9689432225064785</c:v>
                </c:pt>
                <c:pt idx="11742">
                  <c:v>5.9877212192193792</c:v>
                </c:pt>
                <c:pt idx="11743">
                  <c:v>5.861921647785822</c:v>
                </c:pt>
                <c:pt idx="11744">
                  <c:v>5.1032814436699407</c:v>
                </c:pt>
                <c:pt idx="11745">
                  <c:v>6.9836778404395083</c:v>
                </c:pt>
                <c:pt idx="11746">
                  <c:v>7.0675159176212796</c:v>
                </c:pt>
                <c:pt idx="11747">
                  <c:v>7.0047830930425752</c:v>
                </c:pt>
                <c:pt idx="11748">
                  <c:v>6.0456282114885598</c:v>
                </c:pt>
                <c:pt idx="11749">
                  <c:v>5.9316260593122463</c:v>
                </c:pt>
                <c:pt idx="11750">
                  <c:v>5.9361498796416265</c:v>
                </c:pt>
                <c:pt idx="11751">
                  <c:v>5.9488576210378437</c:v>
                </c:pt>
                <c:pt idx="11752">
                  <c:v>5.9619289463681993</c:v>
                </c:pt>
                <c:pt idx="11753">
                  <c:v>4.9490488747344079</c:v>
                </c:pt>
                <c:pt idx="11754">
                  <c:v>7.0337467307061967</c:v>
                </c:pt>
                <c:pt idx="11755">
                  <c:v>5.9189730631435413</c:v>
                </c:pt>
                <c:pt idx="11756">
                  <c:v>5.9093732516236184</c:v>
                </c:pt>
                <c:pt idx="11757">
                  <c:v>5.933987136680118</c:v>
                </c:pt>
                <c:pt idx="11758">
                  <c:v>5.8851624877856388</c:v>
                </c:pt>
                <c:pt idx="11759">
                  <c:v>6.1013720173907968</c:v>
                </c:pt>
                <c:pt idx="11760">
                  <c:v>6.9754013882631014</c:v>
                </c:pt>
                <c:pt idx="11761">
                  <c:v>6.1048867797480399</c:v>
                </c:pt>
                <c:pt idx="11762">
                  <c:v>4.0951744828579013</c:v>
                </c:pt>
                <c:pt idx="11763">
                  <c:v>5.9858506424292957</c:v>
                </c:pt>
                <c:pt idx="11764">
                  <c:v>7.0395322628906385</c:v>
                </c:pt>
                <c:pt idx="11765">
                  <c:v>5.8832034104166135</c:v>
                </c:pt>
                <c:pt idx="11766">
                  <c:v>5.8915464328212561</c:v>
                </c:pt>
                <c:pt idx="11767">
                  <c:v>3.864761295197773</c:v>
                </c:pt>
                <c:pt idx="11768">
                  <c:v>6.0795786278703678</c:v>
                </c:pt>
                <c:pt idx="11769">
                  <c:v>5.9873840687788489</c:v>
                </c:pt>
                <c:pt idx="11770">
                  <c:v>6.0717293977340834</c:v>
                </c:pt>
                <c:pt idx="11771">
                  <c:v>3.0394526699067814</c:v>
                </c:pt>
                <c:pt idx="11772">
                  <c:v>5.8631776640274378</c:v>
                </c:pt>
                <c:pt idx="11773">
                  <c:v>6.0211326615040335</c:v>
                </c:pt>
                <c:pt idx="11774">
                  <c:v>5.9593817912284752</c:v>
                </c:pt>
                <c:pt idx="11775">
                  <c:v>5.9812355677677331</c:v>
                </c:pt>
                <c:pt idx="11776">
                  <c:v>5.943920759891081</c:v>
                </c:pt>
                <c:pt idx="11777">
                  <c:v>5.9709205104207772</c:v>
                </c:pt>
                <c:pt idx="11778">
                  <c:v>6.1801679413014181</c:v>
                </c:pt>
                <c:pt idx="11779">
                  <c:v>6.2488609942084929</c:v>
                </c:pt>
                <c:pt idx="11780">
                  <c:v>6.2288075289979528</c:v>
                </c:pt>
                <c:pt idx="11781">
                  <c:v>6.0160281738495636</c:v>
                </c:pt>
                <c:pt idx="11782">
                  <c:v>5.1380874537106429</c:v>
                </c:pt>
                <c:pt idx="11783">
                  <c:v>5.900294578149393</c:v>
                </c:pt>
                <c:pt idx="11784">
                  <c:v>4.9044963132413839</c:v>
                </c:pt>
                <c:pt idx="11785">
                  <c:v>5.8102399748891989</c:v>
                </c:pt>
                <c:pt idx="11786">
                  <c:v>5.8778650993304726</c:v>
                </c:pt>
                <c:pt idx="11787">
                  <c:v>6.9057126324550371</c:v>
                </c:pt>
                <c:pt idx="11788">
                  <c:v>5.0416648542077453</c:v>
                </c:pt>
                <c:pt idx="11789">
                  <c:v>5.0169609172649867</c:v>
                </c:pt>
                <c:pt idx="11790">
                  <c:v>4.8754765369874633</c:v>
                </c:pt>
                <c:pt idx="11791">
                  <c:v>6.0768638416031253</c:v>
                </c:pt>
                <c:pt idx="11792">
                  <c:v>6.0821766501879395</c:v>
                </c:pt>
                <c:pt idx="11793">
                  <c:v>5.8642058172550966</c:v>
                </c:pt>
                <c:pt idx="11794">
                  <c:v>6.9370818800050857</c:v>
                </c:pt>
                <c:pt idx="11795">
                  <c:v>6.1169356010702192</c:v>
                </c:pt>
                <c:pt idx="11796">
                  <c:v>5.9448735833180644</c:v>
                </c:pt>
                <c:pt idx="11797">
                  <c:v>3.9644924522792784</c:v>
                </c:pt>
                <c:pt idx="11798">
                  <c:v>4.9051491491585972</c:v>
                </c:pt>
                <c:pt idx="11799">
                  <c:v>4.9944203506390128</c:v>
                </c:pt>
                <c:pt idx="11800">
                  <c:v>3.9879414160667119</c:v>
                </c:pt>
                <c:pt idx="11801">
                  <c:v>4.0772846325811205</c:v>
                </c:pt>
                <c:pt idx="11802">
                  <c:v>6.1627804349425359</c:v>
                </c:pt>
                <c:pt idx="11803">
                  <c:v>4.9638953631423552</c:v>
                </c:pt>
                <c:pt idx="11804">
                  <c:v>6.8062294813483586</c:v>
                </c:pt>
                <c:pt idx="11805">
                  <c:v>6.1113968565130738</c:v>
                </c:pt>
                <c:pt idx="11806">
                  <c:v>6.9337891400156124</c:v>
                </c:pt>
                <c:pt idx="11807">
                  <c:v>5.1906490985326998</c:v>
                </c:pt>
                <c:pt idx="11808">
                  <c:v>4.9428238739645796</c:v>
                </c:pt>
                <c:pt idx="11809">
                  <c:v>6.1242336033744218</c:v>
                </c:pt>
                <c:pt idx="11810">
                  <c:v>5.9937534500813445</c:v>
                </c:pt>
                <c:pt idx="11811">
                  <c:v>4.9715210184430791</c:v>
                </c:pt>
                <c:pt idx="11812">
                  <c:v>5.9812122578139792</c:v>
                </c:pt>
                <c:pt idx="11813">
                  <c:v>5.9082527863359182</c:v>
                </c:pt>
                <c:pt idx="11814">
                  <c:v>6.0612433670377559</c:v>
                </c:pt>
                <c:pt idx="11815">
                  <c:v>5.9898244109300904</c:v>
                </c:pt>
                <c:pt idx="11816">
                  <c:v>5.8848106458182921</c:v>
                </c:pt>
                <c:pt idx="11817">
                  <c:v>5.9518253132866761</c:v>
                </c:pt>
                <c:pt idx="11818">
                  <c:v>5.046317311654116</c:v>
                </c:pt>
                <c:pt idx="11819">
                  <c:v>4.9731108248138067</c:v>
                </c:pt>
                <c:pt idx="11820">
                  <c:v>5.8515485327518908</c:v>
                </c:pt>
                <c:pt idx="11821">
                  <c:v>5.0892276644754739</c:v>
                </c:pt>
                <c:pt idx="11822">
                  <c:v>4.9473803099097378</c:v>
                </c:pt>
                <c:pt idx="11823">
                  <c:v>5.1458859667952046</c:v>
                </c:pt>
                <c:pt idx="11824">
                  <c:v>5.9571969195418131</c:v>
                </c:pt>
                <c:pt idx="11825">
                  <c:v>4.9887096739877768</c:v>
                </c:pt>
                <c:pt idx="11826">
                  <c:v>6.01544616709712</c:v>
                </c:pt>
                <c:pt idx="11827">
                  <c:v>5.846677430356654</c:v>
                </c:pt>
                <c:pt idx="11828">
                  <c:v>6.0447224888368023</c:v>
                </c:pt>
                <c:pt idx="11829">
                  <c:v>5.0174033313515762</c:v>
                </c:pt>
                <c:pt idx="11830">
                  <c:v>4.9246695271645118</c:v>
                </c:pt>
                <c:pt idx="11831">
                  <c:v>5.1786369717866059</c:v>
                </c:pt>
                <c:pt idx="11832">
                  <c:v>5.9403229613190014</c:v>
                </c:pt>
                <c:pt idx="11833">
                  <c:v>5.1697949703118589</c:v>
                </c:pt>
                <c:pt idx="11834">
                  <c:v>5.0592223504700566</c:v>
                </c:pt>
                <c:pt idx="11835">
                  <c:v>4.9209687970041287</c:v>
                </c:pt>
                <c:pt idx="11836">
                  <c:v>5.88294122878421</c:v>
                </c:pt>
                <c:pt idx="11837">
                  <c:v>4.8964871505008176</c:v>
                </c:pt>
                <c:pt idx="11838">
                  <c:v>6.1952984310198023</c:v>
                </c:pt>
                <c:pt idx="11839">
                  <c:v>5.1445084973261146</c:v>
                </c:pt>
                <c:pt idx="11840">
                  <c:v>5.0678663146292227</c:v>
                </c:pt>
                <c:pt idx="11841">
                  <c:v>6.09935941708709</c:v>
                </c:pt>
                <c:pt idx="11842">
                  <c:v>5.0701272483432955</c:v>
                </c:pt>
                <c:pt idx="11843">
                  <c:v>4.904073460991861</c:v>
                </c:pt>
                <c:pt idx="11844">
                  <c:v>5.0088184993115306</c:v>
                </c:pt>
                <c:pt idx="11845">
                  <c:v>4.7252032513158868</c:v>
                </c:pt>
                <c:pt idx="11846">
                  <c:v>6.8932110189089704</c:v>
                </c:pt>
                <c:pt idx="11847">
                  <c:v>6.1289584015906566</c:v>
                </c:pt>
                <c:pt idx="11848">
                  <c:v>4.9919373294005762</c:v>
                </c:pt>
                <c:pt idx="11849">
                  <c:v>5.1051916105851687</c:v>
                </c:pt>
                <c:pt idx="11850">
                  <c:v>4.9936646897755645</c:v>
                </c:pt>
                <c:pt idx="11851">
                  <c:v>4.9809082456924774</c:v>
                </c:pt>
                <c:pt idx="11852">
                  <c:v>5.0840201248744163</c:v>
                </c:pt>
                <c:pt idx="11853">
                  <c:v>5.0560125425706834</c:v>
                </c:pt>
                <c:pt idx="11854">
                  <c:v>5.0250767905360361</c:v>
                </c:pt>
                <c:pt idx="11855">
                  <c:v>5.1677609802728508</c:v>
                </c:pt>
                <c:pt idx="11856">
                  <c:v>4.7708661101847589</c:v>
                </c:pt>
                <c:pt idx="11857">
                  <c:v>5.0701873667091695</c:v>
                </c:pt>
                <c:pt idx="11858">
                  <c:v>4.8263373867640063</c:v>
                </c:pt>
                <c:pt idx="11859">
                  <c:v>6.0627246409508597</c:v>
                </c:pt>
                <c:pt idx="11860">
                  <c:v>5.2234091810808536</c:v>
                </c:pt>
                <c:pt idx="11861">
                  <c:v>5.1087605325441077</c:v>
                </c:pt>
                <c:pt idx="11862">
                  <c:v>5.0422714326529521</c:v>
                </c:pt>
                <c:pt idx="11863">
                  <c:v>5.0401049466740657</c:v>
                </c:pt>
                <c:pt idx="11864">
                  <c:v>6.0431774061634105</c:v>
                </c:pt>
                <c:pt idx="11865">
                  <c:v>5.9829632780530142</c:v>
                </c:pt>
                <c:pt idx="11866">
                  <c:v>4.9469192064528436</c:v>
                </c:pt>
                <c:pt idx="11867">
                  <c:v>4.744913409428543</c:v>
                </c:pt>
                <c:pt idx="11868">
                  <c:v>6.0266226250270218</c:v>
                </c:pt>
                <c:pt idx="11869">
                  <c:v>4.928702665841592</c:v>
                </c:pt>
                <c:pt idx="11870">
                  <c:v>5.9665215261232252</c:v>
                </c:pt>
                <c:pt idx="11871">
                  <c:v>4.9793222964663615</c:v>
                </c:pt>
                <c:pt idx="11872">
                  <c:v>3.9877048630674206</c:v>
                </c:pt>
                <c:pt idx="11873">
                  <c:v>6.8868136501610913</c:v>
                </c:pt>
                <c:pt idx="11874">
                  <c:v>6.0028824103922149</c:v>
                </c:pt>
                <c:pt idx="11875">
                  <c:v>4.9223626779284206</c:v>
                </c:pt>
                <c:pt idx="11876">
                  <c:v>5.094847024427331</c:v>
                </c:pt>
                <c:pt idx="11877">
                  <c:v>5.26715547008763</c:v>
                </c:pt>
                <c:pt idx="11878">
                  <c:v>4.9214410243181259</c:v>
                </c:pt>
                <c:pt idx="11879">
                  <c:v>4.9618157566666854</c:v>
                </c:pt>
                <c:pt idx="11880">
                  <c:v>6.0693690250935521</c:v>
                </c:pt>
                <c:pt idx="11881">
                  <c:v>5.8601634049911295</c:v>
                </c:pt>
                <c:pt idx="11882">
                  <c:v>5.8738296531210414</c:v>
                </c:pt>
                <c:pt idx="11883">
                  <c:v>5.1637537427800355</c:v>
                </c:pt>
                <c:pt idx="11884">
                  <c:v>4.9233460932104771</c:v>
                </c:pt>
                <c:pt idx="11885">
                  <c:v>5.9926525644936763</c:v>
                </c:pt>
                <c:pt idx="11886">
                  <c:v>5.0371892596210266</c:v>
                </c:pt>
                <c:pt idx="11887">
                  <c:v>6.1153115069979433</c:v>
                </c:pt>
                <c:pt idx="11888">
                  <c:v>6.0951532609762387</c:v>
                </c:pt>
                <c:pt idx="11889">
                  <c:v>6.034040314717604</c:v>
                </c:pt>
                <c:pt idx="11890">
                  <c:v>5.0226774144529163</c:v>
                </c:pt>
                <c:pt idx="11891">
                  <c:v>7.0330189980257725</c:v>
                </c:pt>
                <c:pt idx="11892">
                  <c:v>6.1439958218088089</c:v>
                </c:pt>
                <c:pt idx="11893">
                  <c:v>5.8171631695098469</c:v>
                </c:pt>
                <c:pt idx="11894">
                  <c:v>5.1183948310710097</c:v>
                </c:pt>
                <c:pt idx="11895">
                  <c:v>5.9062145185027086</c:v>
                </c:pt>
                <c:pt idx="11896">
                  <c:v>5.9829192177929755</c:v>
                </c:pt>
                <c:pt idx="11897">
                  <c:v>5.968078030054226</c:v>
                </c:pt>
                <c:pt idx="11898">
                  <c:v>5.9709161424629595</c:v>
                </c:pt>
                <c:pt idx="11899">
                  <c:v>6.1026559571691585</c:v>
                </c:pt>
                <c:pt idx="11900">
                  <c:v>4.9182654079452153</c:v>
                </c:pt>
                <c:pt idx="11901">
                  <c:v>4.9495862786819194</c:v>
                </c:pt>
                <c:pt idx="11902">
                  <c:v>6.0821164850874849</c:v>
                </c:pt>
                <c:pt idx="11903">
                  <c:v>5.0818770685303249</c:v>
                </c:pt>
                <c:pt idx="11904">
                  <c:v>5.9774122059917509</c:v>
                </c:pt>
                <c:pt idx="11905">
                  <c:v>6.9434267330297708</c:v>
                </c:pt>
                <c:pt idx="11906">
                  <c:v>6.058791506234428</c:v>
                </c:pt>
                <c:pt idx="11907">
                  <c:v>5.0910253731319939</c:v>
                </c:pt>
                <c:pt idx="11908">
                  <c:v>5.1122013242810915</c:v>
                </c:pt>
                <c:pt idx="11909">
                  <c:v>5.9544249278013703</c:v>
                </c:pt>
                <c:pt idx="11910">
                  <c:v>7.0390936968643913</c:v>
                </c:pt>
                <c:pt idx="11911">
                  <c:v>5.9992044069181478</c:v>
                </c:pt>
                <c:pt idx="11912">
                  <c:v>5.8854678112709582</c:v>
                </c:pt>
                <c:pt idx="11913">
                  <c:v>5.9464011671217385</c:v>
                </c:pt>
                <c:pt idx="11914">
                  <c:v>5.8874213045628112</c:v>
                </c:pt>
                <c:pt idx="11915">
                  <c:v>6.1269789985233256</c:v>
                </c:pt>
                <c:pt idx="11916">
                  <c:v>6.1921780394753236</c:v>
                </c:pt>
                <c:pt idx="11917">
                  <c:v>7.1007951323187743</c:v>
                </c:pt>
                <c:pt idx="11918">
                  <c:v>6.1388443722984833</c:v>
                </c:pt>
                <c:pt idx="11919">
                  <c:v>4.9946491485265634</c:v>
                </c:pt>
                <c:pt idx="11920">
                  <c:v>6.0232184549068721</c:v>
                </c:pt>
                <c:pt idx="11921">
                  <c:v>6.1222009246743294</c:v>
                </c:pt>
                <c:pt idx="11922">
                  <c:v>5.0387691724524677</c:v>
                </c:pt>
                <c:pt idx="11923">
                  <c:v>5.975378521538965</c:v>
                </c:pt>
                <c:pt idx="11924">
                  <c:v>4.9301167181864107</c:v>
                </c:pt>
                <c:pt idx="11925">
                  <c:v>6.8751539317845358</c:v>
                </c:pt>
                <c:pt idx="11926">
                  <c:v>6.0245093303076303</c:v>
                </c:pt>
                <c:pt idx="11927">
                  <c:v>7.0866984401186395</c:v>
                </c:pt>
                <c:pt idx="11928">
                  <c:v>6.9934250036907608</c:v>
                </c:pt>
                <c:pt idx="11929">
                  <c:v>5.9424825419820424</c:v>
                </c:pt>
                <c:pt idx="11930">
                  <c:v>6.0251870738451787</c:v>
                </c:pt>
                <c:pt idx="11931">
                  <c:v>6.0838994648832418</c:v>
                </c:pt>
                <c:pt idx="11932">
                  <c:v>4.981423155387156</c:v>
                </c:pt>
                <c:pt idx="11933">
                  <c:v>6.1533633242673496</c:v>
                </c:pt>
                <c:pt idx="11934">
                  <c:v>5.9608792437049569</c:v>
                </c:pt>
                <c:pt idx="11935">
                  <c:v>6.0254847284058473</c:v>
                </c:pt>
                <c:pt idx="11936">
                  <c:v>5.9764691209112009</c:v>
                </c:pt>
                <c:pt idx="11937">
                  <c:v>5.0286030249430489</c:v>
                </c:pt>
                <c:pt idx="11938">
                  <c:v>5.9547814295757542</c:v>
                </c:pt>
                <c:pt idx="11939">
                  <c:v>6.1623339247015538</c:v>
                </c:pt>
                <c:pt idx="11940">
                  <c:v>6.1838989473385526</c:v>
                </c:pt>
                <c:pt idx="11941">
                  <c:v>5.0770319307837983</c:v>
                </c:pt>
                <c:pt idx="11942">
                  <c:v>4.9196948101657298</c:v>
                </c:pt>
                <c:pt idx="11943">
                  <c:v>6.0480578845933879</c:v>
                </c:pt>
                <c:pt idx="11944">
                  <c:v>6.0234622948571159</c:v>
                </c:pt>
                <c:pt idx="11945">
                  <c:v>5.9711267094927303</c:v>
                </c:pt>
                <c:pt idx="11946">
                  <c:v>6.1783026493445696</c:v>
                </c:pt>
                <c:pt idx="11947">
                  <c:v>6.0926319320108719</c:v>
                </c:pt>
                <c:pt idx="11948">
                  <c:v>4.9221042167405464</c:v>
                </c:pt>
                <c:pt idx="11949">
                  <c:v>6.9465226428781</c:v>
                </c:pt>
                <c:pt idx="11950">
                  <c:v>5.9058796466818295</c:v>
                </c:pt>
                <c:pt idx="11951">
                  <c:v>5.9956696521193704</c:v>
                </c:pt>
                <c:pt idx="11952">
                  <c:v>5.9379686216746634</c:v>
                </c:pt>
                <c:pt idx="11953">
                  <c:v>5.9574778413855576</c:v>
                </c:pt>
                <c:pt idx="11954">
                  <c:v>6.1857731915567653</c:v>
                </c:pt>
                <c:pt idx="11955">
                  <c:v>4.8718196579695405</c:v>
                </c:pt>
                <c:pt idx="11956">
                  <c:v>5.8352806428637765</c:v>
                </c:pt>
                <c:pt idx="11957">
                  <c:v>5.9893983885304491</c:v>
                </c:pt>
                <c:pt idx="11958">
                  <c:v>6.0381073447044926</c:v>
                </c:pt>
                <c:pt idx="11959">
                  <c:v>6.0828689585788638</c:v>
                </c:pt>
                <c:pt idx="11960">
                  <c:v>5.9272371246942068</c:v>
                </c:pt>
                <c:pt idx="11961">
                  <c:v>6.0265849767184987</c:v>
                </c:pt>
                <c:pt idx="11962">
                  <c:v>5.8775676435572892</c:v>
                </c:pt>
                <c:pt idx="11963">
                  <c:v>6.1941081878993698</c:v>
                </c:pt>
                <c:pt idx="11964">
                  <c:v>5.9684391108953401</c:v>
                </c:pt>
                <c:pt idx="11965">
                  <c:v>5.9383571306051071</c:v>
                </c:pt>
                <c:pt idx="11966">
                  <c:v>6.0981326494281731</c:v>
                </c:pt>
                <c:pt idx="11967">
                  <c:v>6.0613206089880434</c:v>
                </c:pt>
                <c:pt idx="11968">
                  <c:v>5.9011820898922744</c:v>
                </c:pt>
                <c:pt idx="11969">
                  <c:v>6.1653980075441348</c:v>
                </c:pt>
                <c:pt idx="11970">
                  <c:v>5.9306624735158069</c:v>
                </c:pt>
                <c:pt idx="11971">
                  <c:v>5.6423887198257496</c:v>
                </c:pt>
                <c:pt idx="11972">
                  <c:v>6.0418629012668079</c:v>
                </c:pt>
                <c:pt idx="11973">
                  <c:v>5.0392407680635163</c:v>
                </c:pt>
                <c:pt idx="11974">
                  <c:v>5.9719820596293118</c:v>
                </c:pt>
                <c:pt idx="11975">
                  <c:v>7.1302799666098737</c:v>
                </c:pt>
                <c:pt idx="11976">
                  <c:v>4.8784414309716562</c:v>
                </c:pt>
                <c:pt idx="11977">
                  <c:v>3.2056488128511993</c:v>
                </c:pt>
                <c:pt idx="11978">
                  <c:v>7.0735102699908827</c:v>
                </c:pt>
                <c:pt idx="11979">
                  <c:v>5.0482164209719977</c:v>
                </c:pt>
                <c:pt idx="11980">
                  <c:v>6.1077738150992262</c:v>
                </c:pt>
                <c:pt idx="11981">
                  <c:v>5.920326071253581</c:v>
                </c:pt>
                <c:pt idx="11982">
                  <c:v>6.0026733374430217</c:v>
                </c:pt>
                <c:pt idx="11983">
                  <c:v>5.0821092363698401</c:v>
                </c:pt>
                <c:pt idx="11984">
                  <c:v>5.8970118798578479</c:v>
                </c:pt>
                <c:pt idx="11985">
                  <c:v>6.1388124417337453</c:v>
                </c:pt>
                <c:pt idx="11986">
                  <c:v>4.8778782694720064</c:v>
                </c:pt>
                <c:pt idx="11987">
                  <c:v>6.1720114863657427</c:v>
                </c:pt>
                <c:pt idx="11988">
                  <c:v>5.1043398995126577</c:v>
                </c:pt>
                <c:pt idx="11989">
                  <c:v>5.972300737826842</c:v>
                </c:pt>
                <c:pt idx="11990">
                  <c:v>6.0850746657490165</c:v>
                </c:pt>
                <c:pt idx="11991">
                  <c:v>6.001401721180482</c:v>
                </c:pt>
                <c:pt idx="11992">
                  <c:v>5.9100146183902629</c:v>
                </c:pt>
                <c:pt idx="11993">
                  <c:v>5.9026301804207222</c:v>
                </c:pt>
                <c:pt idx="11994">
                  <c:v>6.1157524747792067</c:v>
                </c:pt>
                <c:pt idx="11995">
                  <c:v>7.2235029835414286</c:v>
                </c:pt>
                <c:pt idx="11996">
                  <c:v>5.8981497915216172</c:v>
                </c:pt>
                <c:pt idx="11997">
                  <c:v>5.8240288641997573</c:v>
                </c:pt>
                <c:pt idx="11998">
                  <c:v>6.0071681004163535</c:v>
                </c:pt>
                <c:pt idx="11999">
                  <c:v>4.7117547192954818</c:v>
                </c:pt>
                <c:pt idx="12000">
                  <c:v>5.8237453736400688</c:v>
                </c:pt>
                <c:pt idx="12001">
                  <c:v>6.0290330549312818</c:v>
                </c:pt>
                <c:pt idx="12002">
                  <c:v>6.0968292666082773</c:v>
                </c:pt>
                <c:pt idx="12003">
                  <c:v>3.0612001731802465</c:v>
                </c:pt>
                <c:pt idx="12004">
                  <c:v>6.2388374261448796</c:v>
                </c:pt>
                <c:pt idx="12005">
                  <c:v>5.9152589825257404</c:v>
                </c:pt>
                <c:pt idx="12006">
                  <c:v>5.2108171971378434</c:v>
                </c:pt>
                <c:pt idx="12007">
                  <c:v>7.1338780613975548</c:v>
                </c:pt>
                <c:pt idx="12008">
                  <c:v>6.9338223143742717</c:v>
                </c:pt>
                <c:pt idx="12009">
                  <c:v>5.9349019445733173</c:v>
                </c:pt>
                <c:pt idx="12010">
                  <c:v>7.0563272978206859</c:v>
                </c:pt>
                <c:pt idx="12011">
                  <c:v>5.984983486760667</c:v>
                </c:pt>
                <c:pt idx="12012">
                  <c:v>7.0314776789303215</c:v>
                </c:pt>
                <c:pt idx="12013">
                  <c:v>5.9918981044529867</c:v>
                </c:pt>
                <c:pt idx="12014">
                  <c:v>5.9325666942531194</c:v>
                </c:pt>
                <c:pt idx="12015">
                  <c:v>5.9283099450392429</c:v>
                </c:pt>
                <c:pt idx="12016">
                  <c:v>5.859877163496038</c:v>
                </c:pt>
                <c:pt idx="12017">
                  <c:v>6.9684830551554366</c:v>
                </c:pt>
                <c:pt idx="12018">
                  <c:v>6.0065609868179575</c:v>
                </c:pt>
                <c:pt idx="12019">
                  <c:v>7.1049650146513121</c:v>
                </c:pt>
                <c:pt idx="12020">
                  <c:v>4.953307977356574</c:v>
                </c:pt>
                <c:pt idx="12021">
                  <c:v>5.134874223753326</c:v>
                </c:pt>
                <c:pt idx="12022">
                  <c:v>6.0572654883080643</c:v>
                </c:pt>
                <c:pt idx="12023">
                  <c:v>6.2014186741411654</c:v>
                </c:pt>
                <c:pt idx="12024">
                  <c:v>6.0719317493123546</c:v>
                </c:pt>
                <c:pt idx="12025">
                  <c:v>5.9481853530996647</c:v>
                </c:pt>
                <c:pt idx="12026">
                  <c:v>6.1018185533904203</c:v>
                </c:pt>
                <c:pt idx="12027">
                  <c:v>5.862418068814419</c:v>
                </c:pt>
                <c:pt idx="12028">
                  <c:v>5.062541742905716</c:v>
                </c:pt>
                <c:pt idx="12029">
                  <c:v>6.0936446177676249</c:v>
                </c:pt>
                <c:pt idx="12030">
                  <c:v>5.041216021333601</c:v>
                </c:pt>
                <c:pt idx="12031">
                  <c:v>5.7991153956858206</c:v>
                </c:pt>
                <c:pt idx="12032">
                  <c:v>5.9754834142788527</c:v>
                </c:pt>
                <c:pt idx="12033">
                  <c:v>6.0194474837181353</c:v>
                </c:pt>
                <c:pt idx="12034">
                  <c:v>5.9783965111405983</c:v>
                </c:pt>
                <c:pt idx="12035">
                  <c:v>5.782659177811138</c:v>
                </c:pt>
                <c:pt idx="12036">
                  <c:v>5.9680151835334074</c:v>
                </c:pt>
                <c:pt idx="12037">
                  <c:v>5.9088423430950217</c:v>
                </c:pt>
                <c:pt idx="12038">
                  <c:v>6.0337988136785627</c:v>
                </c:pt>
                <c:pt idx="12039">
                  <c:v>6.0897474676878849</c:v>
                </c:pt>
                <c:pt idx="12040">
                  <c:v>6.2358088102235465</c:v>
                </c:pt>
                <c:pt idx="12041">
                  <c:v>6.0013352194369416</c:v>
                </c:pt>
                <c:pt idx="12042">
                  <c:v>6.1722247593325648</c:v>
                </c:pt>
                <c:pt idx="12043">
                  <c:v>5.0108240608732029</c:v>
                </c:pt>
                <c:pt idx="12044">
                  <c:v>5.8477728623704941</c:v>
                </c:pt>
                <c:pt idx="12045">
                  <c:v>6.033973707887899</c:v>
                </c:pt>
                <c:pt idx="12046">
                  <c:v>5.968987610330009</c:v>
                </c:pt>
                <c:pt idx="12047">
                  <c:v>6.0943615905025679</c:v>
                </c:pt>
                <c:pt idx="12048">
                  <c:v>6.0131560593084608</c:v>
                </c:pt>
                <c:pt idx="12049">
                  <c:v>5.034520410168188</c:v>
                </c:pt>
                <c:pt idx="12050">
                  <c:v>5.1236426579655543</c:v>
                </c:pt>
                <c:pt idx="12051">
                  <c:v>4.9058884743159901</c:v>
                </c:pt>
                <c:pt idx="12052">
                  <c:v>7.0875429860371737</c:v>
                </c:pt>
                <c:pt idx="12053">
                  <c:v>5.0944119813432618</c:v>
                </c:pt>
                <c:pt idx="12054">
                  <c:v>6.0685433750809237</c:v>
                </c:pt>
                <c:pt idx="12055">
                  <c:v>4.9280869059848822</c:v>
                </c:pt>
                <c:pt idx="12056">
                  <c:v>7.0274243615303957</c:v>
                </c:pt>
                <c:pt idx="12057">
                  <c:v>6.1369904227805847</c:v>
                </c:pt>
                <c:pt idx="12058">
                  <c:v>5.8728888118351517</c:v>
                </c:pt>
                <c:pt idx="12059">
                  <c:v>5.0373496865055314</c:v>
                </c:pt>
                <c:pt idx="12060">
                  <c:v>6.9273050929930644</c:v>
                </c:pt>
                <c:pt idx="12061">
                  <c:v>5.0956083162759276</c:v>
                </c:pt>
                <c:pt idx="12062">
                  <c:v>5.9771853977931286</c:v>
                </c:pt>
                <c:pt idx="12063">
                  <c:v>5.1277845177703583</c:v>
                </c:pt>
                <c:pt idx="12064">
                  <c:v>4.9785517023397921</c:v>
                </c:pt>
                <c:pt idx="12065">
                  <c:v>5.9424137616192354</c:v>
                </c:pt>
                <c:pt idx="12066">
                  <c:v>5.1401494773193797</c:v>
                </c:pt>
                <c:pt idx="12067">
                  <c:v>5.9752120009392158</c:v>
                </c:pt>
                <c:pt idx="12068">
                  <c:v>5.9053902100213538</c:v>
                </c:pt>
                <c:pt idx="12069">
                  <c:v>6.9356591408166244</c:v>
                </c:pt>
                <c:pt idx="12070">
                  <c:v>7.0319915222511922</c:v>
                </c:pt>
                <c:pt idx="12071">
                  <c:v>6.9536920153852151</c:v>
                </c:pt>
                <c:pt idx="12072">
                  <c:v>6.1185947864887016</c:v>
                </c:pt>
                <c:pt idx="12073">
                  <c:v>5.9671223951837975</c:v>
                </c:pt>
                <c:pt idx="12074">
                  <c:v>6.0261657016969394</c:v>
                </c:pt>
                <c:pt idx="12075">
                  <c:v>6.0071066501963832</c:v>
                </c:pt>
                <c:pt idx="12076">
                  <c:v>6.060194920394756</c:v>
                </c:pt>
                <c:pt idx="12077">
                  <c:v>6.0552780411152076</c:v>
                </c:pt>
                <c:pt idx="12078">
                  <c:v>5.9259826128666422</c:v>
                </c:pt>
                <c:pt idx="12079">
                  <c:v>5.9374614455192969</c:v>
                </c:pt>
                <c:pt idx="12080">
                  <c:v>6.0261078515854676</c:v>
                </c:pt>
                <c:pt idx="12081">
                  <c:v>5.9963807248542036</c:v>
                </c:pt>
                <c:pt idx="12082">
                  <c:v>6.9220029052454226</c:v>
                </c:pt>
                <c:pt idx="12083">
                  <c:v>5.9666729831386522</c:v>
                </c:pt>
                <c:pt idx="12084">
                  <c:v>4.856821228900551</c:v>
                </c:pt>
                <c:pt idx="12085">
                  <c:v>5.1033182123943046</c:v>
                </c:pt>
                <c:pt idx="12086">
                  <c:v>5.9930364987094826</c:v>
                </c:pt>
                <c:pt idx="12087">
                  <c:v>5.9547135806765548</c:v>
                </c:pt>
                <c:pt idx="12088">
                  <c:v>5.9213347125572575</c:v>
                </c:pt>
                <c:pt idx="12089">
                  <c:v>6.1654705021909662</c:v>
                </c:pt>
                <c:pt idx="12090">
                  <c:v>6.0077268422909018</c:v>
                </c:pt>
                <c:pt idx="12091">
                  <c:v>4.9873468131750274</c:v>
                </c:pt>
                <c:pt idx="12092">
                  <c:v>5.9990060079947165</c:v>
                </c:pt>
                <c:pt idx="12093">
                  <c:v>6.0200892116655194</c:v>
                </c:pt>
                <c:pt idx="12094">
                  <c:v>6.9914388719208711</c:v>
                </c:pt>
                <c:pt idx="12095">
                  <c:v>5.9287008236703436</c:v>
                </c:pt>
                <c:pt idx="12096">
                  <c:v>5.8227754079807665</c:v>
                </c:pt>
                <c:pt idx="12097">
                  <c:v>5.9721772576576981</c:v>
                </c:pt>
                <c:pt idx="12098">
                  <c:v>6.1472192987334964</c:v>
                </c:pt>
                <c:pt idx="12099">
                  <c:v>5.1131851432621982</c:v>
                </c:pt>
                <c:pt idx="12100">
                  <c:v>6.0091487571411042</c:v>
                </c:pt>
                <c:pt idx="12101">
                  <c:v>7.0349079037341786</c:v>
                </c:pt>
                <c:pt idx="12102">
                  <c:v>5.1506686929571011</c:v>
                </c:pt>
                <c:pt idx="12103">
                  <c:v>6.1255707738025631</c:v>
                </c:pt>
                <c:pt idx="12104">
                  <c:v>7.0273533593743656</c:v>
                </c:pt>
                <c:pt idx="12105">
                  <c:v>7.1091703171752432</c:v>
                </c:pt>
                <c:pt idx="12106">
                  <c:v>4.9279437033442202</c:v>
                </c:pt>
                <c:pt idx="12107">
                  <c:v>6.0684595008856661</c:v>
                </c:pt>
                <c:pt idx="12108">
                  <c:v>6.0624748518993776</c:v>
                </c:pt>
                <c:pt idx="12109">
                  <c:v>6.0366811457622571</c:v>
                </c:pt>
                <c:pt idx="12110">
                  <c:v>4.8707610775286696</c:v>
                </c:pt>
                <c:pt idx="12111">
                  <c:v>5.9280631105982087</c:v>
                </c:pt>
                <c:pt idx="12112">
                  <c:v>5.9331301946488333</c:v>
                </c:pt>
                <c:pt idx="12113">
                  <c:v>6.0572968566455492</c:v>
                </c:pt>
                <c:pt idx="12114">
                  <c:v>6.0717429024552327</c:v>
                </c:pt>
                <c:pt idx="12115">
                  <c:v>6.0230024832961302</c:v>
                </c:pt>
                <c:pt idx="12116">
                  <c:v>7.0582311723573765</c:v>
                </c:pt>
                <c:pt idx="12117">
                  <c:v>7.1627096391531362</c:v>
                </c:pt>
                <c:pt idx="12118">
                  <c:v>7.083016924554995</c:v>
                </c:pt>
                <c:pt idx="12119">
                  <c:v>5.8584393566432382</c:v>
                </c:pt>
                <c:pt idx="12120">
                  <c:v>7.0836208245624936</c:v>
                </c:pt>
                <c:pt idx="12121">
                  <c:v>6.0598265711310439</c:v>
                </c:pt>
                <c:pt idx="12122">
                  <c:v>5.9977577619792823</c:v>
                </c:pt>
                <c:pt idx="12123">
                  <c:v>6.0416049957485276</c:v>
                </c:pt>
                <c:pt idx="12124">
                  <c:v>5.9489305738931701</c:v>
                </c:pt>
                <c:pt idx="12125">
                  <c:v>7.0818273852954938</c:v>
                </c:pt>
                <c:pt idx="12126">
                  <c:v>7.1709392438869664</c:v>
                </c:pt>
                <c:pt idx="12127">
                  <c:v>6.006271093577916</c:v>
                </c:pt>
                <c:pt idx="12128">
                  <c:v>5.8858093229324497</c:v>
                </c:pt>
                <c:pt idx="12129">
                  <c:v>5.9515586650893573</c:v>
                </c:pt>
                <c:pt idx="12130">
                  <c:v>6.9389297696731482</c:v>
                </c:pt>
                <c:pt idx="12131">
                  <c:v>7.0399650472137116</c:v>
                </c:pt>
                <c:pt idx="12132">
                  <c:v>7.0045944697896818</c:v>
                </c:pt>
                <c:pt idx="12133">
                  <c:v>4.9717533706563675</c:v>
                </c:pt>
                <c:pt idx="12134">
                  <c:v>4.8266781759010735</c:v>
                </c:pt>
                <c:pt idx="12135">
                  <c:v>6.8653263019624768</c:v>
                </c:pt>
                <c:pt idx="12136">
                  <c:v>5.9234300153551942</c:v>
                </c:pt>
                <c:pt idx="12137">
                  <c:v>7.0220160732790875</c:v>
                </c:pt>
                <c:pt idx="12138">
                  <c:v>6.9258392537881308</c:v>
                </c:pt>
                <c:pt idx="12139">
                  <c:v>5.9617096975468122</c:v>
                </c:pt>
                <c:pt idx="12140">
                  <c:v>6.007346684444105</c:v>
                </c:pt>
                <c:pt idx="12141">
                  <c:v>6.0005631270799631</c:v>
                </c:pt>
                <c:pt idx="12142">
                  <c:v>6.0703275303930679</c:v>
                </c:pt>
                <c:pt idx="12143">
                  <c:v>4.8928095342699889</c:v>
                </c:pt>
                <c:pt idx="12144">
                  <c:v>7.0545431098550395</c:v>
                </c:pt>
                <c:pt idx="12145">
                  <c:v>6.8647288847669694</c:v>
                </c:pt>
                <c:pt idx="12146">
                  <c:v>5.9072216036479723</c:v>
                </c:pt>
                <c:pt idx="12147">
                  <c:v>4.756835356098871</c:v>
                </c:pt>
                <c:pt idx="12148">
                  <c:v>6.0789303393379654</c:v>
                </c:pt>
                <c:pt idx="12149">
                  <c:v>5.8986208039834143</c:v>
                </c:pt>
                <c:pt idx="12150">
                  <c:v>5.2578150035793216</c:v>
                </c:pt>
                <c:pt idx="12151">
                  <c:v>5.9795868003761061</c:v>
                </c:pt>
                <c:pt idx="12152">
                  <c:v>5.06265289602098</c:v>
                </c:pt>
                <c:pt idx="12153">
                  <c:v>5.0802536836443073</c:v>
                </c:pt>
                <c:pt idx="12154">
                  <c:v>5.0865245572315461</c:v>
                </c:pt>
                <c:pt idx="12155">
                  <c:v>6.9649097608412323</c:v>
                </c:pt>
                <c:pt idx="12156">
                  <c:v>4.9000874973498583</c:v>
                </c:pt>
                <c:pt idx="12157">
                  <c:v>6.0663056705024712</c:v>
                </c:pt>
                <c:pt idx="12158">
                  <c:v>4.0380600015376755</c:v>
                </c:pt>
                <c:pt idx="12159">
                  <c:v>6.0301616068637998</c:v>
                </c:pt>
                <c:pt idx="12160">
                  <c:v>5.0476529779410173</c:v>
                </c:pt>
                <c:pt idx="12161">
                  <c:v>5.9805904111383157</c:v>
                </c:pt>
                <c:pt idx="12162">
                  <c:v>5.1518558981566507</c:v>
                </c:pt>
                <c:pt idx="12163">
                  <c:v>7.0464825634439947</c:v>
                </c:pt>
                <c:pt idx="12164">
                  <c:v>7.0022287306241457</c:v>
                </c:pt>
                <c:pt idx="12165">
                  <c:v>6.1544173204461998</c:v>
                </c:pt>
                <c:pt idx="12166">
                  <c:v>5.9225070891825027</c:v>
                </c:pt>
                <c:pt idx="12167">
                  <c:v>4.9719455190931408</c:v>
                </c:pt>
                <c:pt idx="12168">
                  <c:v>5.0158075896739911</c:v>
                </c:pt>
                <c:pt idx="12169">
                  <c:v>5.8457708367660777</c:v>
                </c:pt>
                <c:pt idx="12170">
                  <c:v>5.0229849062921836</c:v>
                </c:pt>
                <c:pt idx="12171">
                  <c:v>6.1658900191277652</c:v>
                </c:pt>
                <c:pt idx="12172">
                  <c:v>6.068294300377346</c:v>
                </c:pt>
                <c:pt idx="12173">
                  <c:v>5.9350513361815578</c:v>
                </c:pt>
                <c:pt idx="12174">
                  <c:v>6.06487195733704</c:v>
                </c:pt>
                <c:pt idx="12175">
                  <c:v>6.0828843662380869</c:v>
                </c:pt>
                <c:pt idx="12176">
                  <c:v>5.8558115739462924</c:v>
                </c:pt>
                <c:pt idx="12177">
                  <c:v>5.8208616558469624</c:v>
                </c:pt>
                <c:pt idx="12178">
                  <c:v>5.9887129395078817</c:v>
                </c:pt>
                <c:pt idx="12179">
                  <c:v>5.9382598813551972</c:v>
                </c:pt>
                <c:pt idx="12180">
                  <c:v>6.2735380154101579</c:v>
                </c:pt>
                <c:pt idx="12181">
                  <c:v>6.1110473898783058</c:v>
                </c:pt>
                <c:pt idx="12182">
                  <c:v>6.8547814299125802</c:v>
                </c:pt>
                <c:pt idx="12183">
                  <c:v>5.9619548887966083</c:v>
                </c:pt>
                <c:pt idx="12184">
                  <c:v>4.9590690606576926</c:v>
                </c:pt>
                <c:pt idx="12185">
                  <c:v>6.8411327959807995</c:v>
                </c:pt>
                <c:pt idx="12186">
                  <c:v>5.9651089214994073</c:v>
                </c:pt>
                <c:pt idx="12187">
                  <c:v>6.0836778017369202</c:v>
                </c:pt>
                <c:pt idx="12188">
                  <c:v>5.8298022570921733</c:v>
                </c:pt>
                <c:pt idx="12189">
                  <c:v>5.0285769389498176</c:v>
                </c:pt>
                <c:pt idx="12190">
                  <c:v>5.9445962736503812</c:v>
                </c:pt>
                <c:pt idx="12191">
                  <c:v>6.790209606505929</c:v>
                </c:pt>
                <c:pt idx="12192">
                  <c:v>5.9255813859419337</c:v>
                </c:pt>
                <c:pt idx="12193">
                  <c:v>5.9618576129097409</c:v>
                </c:pt>
                <c:pt idx="12194">
                  <c:v>4.9519507716256479</c:v>
                </c:pt>
                <c:pt idx="12195">
                  <c:v>6.8849222671967576</c:v>
                </c:pt>
                <c:pt idx="12196">
                  <c:v>7.0931838932246505</c:v>
                </c:pt>
                <c:pt idx="12197">
                  <c:v>7.1011894664230226</c:v>
                </c:pt>
                <c:pt idx="12198">
                  <c:v>7.0650566523176437</c:v>
                </c:pt>
                <c:pt idx="12199">
                  <c:v>4.9812594205417744</c:v>
                </c:pt>
                <c:pt idx="12200">
                  <c:v>6.0334350313176577</c:v>
                </c:pt>
                <c:pt idx="12201">
                  <c:v>7.1600899736422354</c:v>
                </c:pt>
                <c:pt idx="12202">
                  <c:v>6.0395099695633139</c:v>
                </c:pt>
                <c:pt idx="12203">
                  <c:v>6.8897853237426974</c:v>
                </c:pt>
                <c:pt idx="12204">
                  <c:v>5.8080294341256709</c:v>
                </c:pt>
                <c:pt idx="12205">
                  <c:v>6.0118704528749909</c:v>
                </c:pt>
                <c:pt idx="12206">
                  <c:v>7.0416620399758383</c:v>
                </c:pt>
                <c:pt idx="12207">
                  <c:v>5.9253958675578762</c:v>
                </c:pt>
                <c:pt idx="12208">
                  <c:v>5.1237255274681752</c:v>
                </c:pt>
                <c:pt idx="12209">
                  <c:v>5.8149123851302811</c:v>
                </c:pt>
                <c:pt idx="12210">
                  <c:v>5.9970127225548415</c:v>
                </c:pt>
                <c:pt idx="12211">
                  <c:v>6.0190919543447245</c:v>
                </c:pt>
                <c:pt idx="12212">
                  <c:v>6.1170856655289896</c:v>
                </c:pt>
                <c:pt idx="12213">
                  <c:v>5.0344039695338392</c:v>
                </c:pt>
                <c:pt idx="12214">
                  <c:v>6.1248631170081422</c:v>
                </c:pt>
                <c:pt idx="12215">
                  <c:v>5.973847719925093</c:v>
                </c:pt>
                <c:pt idx="12216">
                  <c:v>6.137588000459294</c:v>
                </c:pt>
                <c:pt idx="12217">
                  <c:v>5.0524407744595186</c:v>
                </c:pt>
                <c:pt idx="12218">
                  <c:v>5.9476563897725425</c:v>
                </c:pt>
                <c:pt idx="12219">
                  <c:v>5.9340087127915888</c:v>
                </c:pt>
                <c:pt idx="12220">
                  <c:v>5.8408091894548013</c:v>
                </c:pt>
                <c:pt idx="12221">
                  <c:v>7.0477661089771688</c:v>
                </c:pt>
                <c:pt idx="12222">
                  <c:v>6.8474648660088784</c:v>
                </c:pt>
                <c:pt idx="12223">
                  <c:v>6.9999192637103693</c:v>
                </c:pt>
                <c:pt idx="12224">
                  <c:v>5.8619270726835326</c:v>
                </c:pt>
                <c:pt idx="12225">
                  <c:v>6.0137603000596824</c:v>
                </c:pt>
                <c:pt idx="12226">
                  <c:v>6.0880839553415083</c:v>
                </c:pt>
                <c:pt idx="12227">
                  <c:v>5.0475194725414312</c:v>
                </c:pt>
                <c:pt idx="12228">
                  <c:v>6.0215633115545248</c:v>
                </c:pt>
                <c:pt idx="12229">
                  <c:v>5.1581631193681261</c:v>
                </c:pt>
                <c:pt idx="12230">
                  <c:v>5.9474107259923139</c:v>
                </c:pt>
                <c:pt idx="12231">
                  <c:v>5.790091181325665</c:v>
                </c:pt>
                <c:pt idx="12232">
                  <c:v>6.1969049921523851</c:v>
                </c:pt>
                <c:pt idx="12233">
                  <c:v>6.077067682413988</c:v>
                </c:pt>
                <c:pt idx="12234">
                  <c:v>6.1015485071795146</c:v>
                </c:pt>
                <c:pt idx="12235">
                  <c:v>5.143368878094587</c:v>
                </c:pt>
                <c:pt idx="12236">
                  <c:v>5.9947932967870683</c:v>
                </c:pt>
                <c:pt idx="12237">
                  <c:v>6.0061142729267365</c:v>
                </c:pt>
                <c:pt idx="12238">
                  <c:v>5.991223825983603</c:v>
                </c:pt>
                <c:pt idx="12239">
                  <c:v>5.015402848136806</c:v>
                </c:pt>
                <c:pt idx="12240">
                  <c:v>5.8041557541726903</c:v>
                </c:pt>
                <c:pt idx="12241">
                  <c:v>5.0959153502629793</c:v>
                </c:pt>
                <c:pt idx="12242">
                  <c:v>5.8039082378063647</c:v>
                </c:pt>
                <c:pt idx="12243">
                  <c:v>5.9544259196827198</c:v>
                </c:pt>
                <c:pt idx="12244">
                  <c:v>8.9697964181873981</c:v>
                </c:pt>
                <c:pt idx="12245">
                  <c:v>8.0327085564418592</c:v>
                </c:pt>
                <c:pt idx="12246">
                  <c:v>4.9344589320427339</c:v>
                </c:pt>
                <c:pt idx="12247">
                  <c:v>6.0593985968063633</c:v>
                </c:pt>
                <c:pt idx="12248">
                  <c:v>1.9369471503582578</c:v>
                </c:pt>
                <c:pt idx="12249">
                  <c:v>5.8785046067998685</c:v>
                </c:pt>
                <c:pt idx="12250">
                  <c:v>5.8559691373964373</c:v>
                </c:pt>
                <c:pt idx="12251">
                  <c:v>5.9853679929706161</c:v>
                </c:pt>
                <c:pt idx="12252">
                  <c:v>5.8321638481219917</c:v>
                </c:pt>
                <c:pt idx="12253">
                  <c:v>5.9787339113470654</c:v>
                </c:pt>
                <c:pt idx="12254">
                  <c:v>6.0571547129514069</c:v>
                </c:pt>
                <c:pt idx="12255">
                  <c:v>6.0850660221061164</c:v>
                </c:pt>
                <c:pt idx="12256">
                  <c:v>5.7494972888722629</c:v>
                </c:pt>
                <c:pt idx="12257">
                  <c:v>5.0051082241391089</c:v>
                </c:pt>
                <c:pt idx="12258">
                  <c:v>6.9878823571347368</c:v>
                </c:pt>
                <c:pt idx="12259">
                  <c:v>5.975148670319725</c:v>
                </c:pt>
                <c:pt idx="12260">
                  <c:v>6.9835031546415749</c:v>
                </c:pt>
                <c:pt idx="12261">
                  <c:v>6.1097537775329229</c:v>
                </c:pt>
                <c:pt idx="12262">
                  <c:v>3.0978333897477532</c:v>
                </c:pt>
                <c:pt idx="12263">
                  <c:v>6.0493386463201162</c:v>
                </c:pt>
                <c:pt idx="12264">
                  <c:v>5.7684594748408919</c:v>
                </c:pt>
                <c:pt idx="12265">
                  <c:v>4.8620110512472507</c:v>
                </c:pt>
                <c:pt idx="12266">
                  <c:v>6.1171974212552689</c:v>
                </c:pt>
                <c:pt idx="12267">
                  <c:v>5.958866779336863</c:v>
                </c:pt>
                <c:pt idx="12268">
                  <c:v>4.8732561734563102</c:v>
                </c:pt>
                <c:pt idx="12269">
                  <c:v>5.0612767937649661</c:v>
                </c:pt>
                <c:pt idx="12270">
                  <c:v>5.9998241432845481</c:v>
                </c:pt>
                <c:pt idx="12271">
                  <c:v>4.8625736123723309</c:v>
                </c:pt>
                <c:pt idx="12272">
                  <c:v>6.020248583097537</c:v>
                </c:pt>
                <c:pt idx="12273">
                  <c:v>5.1194927266030756</c:v>
                </c:pt>
                <c:pt idx="12274">
                  <c:v>6.219820283232778</c:v>
                </c:pt>
                <c:pt idx="12275">
                  <c:v>5.0962522731779023</c:v>
                </c:pt>
                <c:pt idx="12276">
                  <c:v>4.8870757107827867</c:v>
                </c:pt>
                <c:pt idx="12277">
                  <c:v>6.0922160434778014</c:v>
                </c:pt>
                <c:pt idx="12278">
                  <c:v>5.0228766643857705</c:v>
                </c:pt>
                <c:pt idx="12279">
                  <c:v>5.9596683633989542</c:v>
                </c:pt>
                <c:pt idx="12280">
                  <c:v>5.9391291095543375</c:v>
                </c:pt>
                <c:pt idx="12281">
                  <c:v>5.0634108391916612</c:v>
                </c:pt>
                <c:pt idx="12282">
                  <c:v>7.1116165130467053</c:v>
                </c:pt>
                <c:pt idx="12283">
                  <c:v>5.0018967508273144</c:v>
                </c:pt>
                <c:pt idx="12284">
                  <c:v>5.9711941704912741</c:v>
                </c:pt>
                <c:pt idx="12285">
                  <c:v>5.0275657494490078</c:v>
                </c:pt>
                <c:pt idx="12286">
                  <c:v>6.1757670756444565</c:v>
                </c:pt>
                <c:pt idx="12287">
                  <c:v>6.0466869087593986</c:v>
                </c:pt>
                <c:pt idx="12288">
                  <c:v>6.090300167919815</c:v>
                </c:pt>
                <c:pt idx="12289">
                  <c:v>4.9686644158087194</c:v>
                </c:pt>
                <c:pt idx="12290">
                  <c:v>5.8893347966009637</c:v>
                </c:pt>
                <c:pt idx="12291">
                  <c:v>5.9936170845282124</c:v>
                </c:pt>
                <c:pt idx="12292">
                  <c:v>6.9091013117841031</c:v>
                </c:pt>
                <c:pt idx="12293">
                  <c:v>6.7417075635927315</c:v>
                </c:pt>
                <c:pt idx="12294">
                  <c:v>6.0174852280666347</c:v>
                </c:pt>
                <c:pt idx="12295">
                  <c:v>7.1062044201979795</c:v>
                </c:pt>
                <c:pt idx="12296">
                  <c:v>5.9933992272838559</c:v>
                </c:pt>
                <c:pt idx="12297">
                  <c:v>4.777302052541021</c:v>
                </c:pt>
                <c:pt idx="12298">
                  <c:v>5.8681049069772966</c:v>
                </c:pt>
                <c:pt idx="12299">
                  <c:v>5.9673711290265965</c:v>
                </c:pt>
                <c:pt idx="12300">
                  <c:v>5.897958969271536</c:v>
                </c:pt>
                <c:pt idx="12301">
                  <c:v>5.0828388867958854</c:v>
                </c:pt>
                <c:pt idx="12302">
                  <c:v>5.9071168700511167</c:v>
                </c:pt>
                <c:pt idx="12303">
                  <c:v>6.9200953484680845</c:v>
                </c:pt>
                <c:pt idx="12304">
                  <c:v>6.9751928856479282</c:v>
                </c:pt>
                <c:pt idx="12305">
                  <c:v>4.9922789810519621</c:v>
                </c:pt>
                <c:pt idx="12306">
                  <c:v>4.9559688136118787</c:v>
                </c:pt>
                <c:pt idx="12307">
                  <c:v>7.1414785011041788</c:v>
                </c:pt>
                <c:pt idx="12308">
                  <c:v>3.8186399037625778</c:v>
                </c:pt>
                <c:pt idx="12309">
                  <c:v>6.2083630930905498</c:v>
                </c:pt>
                <c:pt idx="12310">
                  <c:v>7.0192547137384711</c:v>
                </c:pt>
                <c:pt idx="12311">
                  <c:v>6.9891707276067487</c:v>
                </c:pt>
                <c:pt idx="12312">
                  <c:v>5.8570218525886162</c:v>
                </c:pt>
                <c:pt idx="12313">
                  <c:v>5.0634564150630457</c:v>
                </c:pt>
                <c:pt idx="12314">
                  <c:v>5.8789527817448972</c:v>
                </c:pt>
                <c:pt idx="12315">
                  <c:v>5.9339788885420468</c:v>
                </c:pt>
                <c:pt idx="12316">
                  <c:v>5.0393853381827913</c:v>
                </c:pt>
                <c:pt idx="12317">
                  <c:v>5.9592633245556073</c:v>
                </c:pt>
                <c:pt idx="12318">
                  <c:v>5.1202836796287245</c:v>
                </c:pt>
                <c:pt idx="12319">
                  <c:v>6.0479919437258411</c:v>
                </c:pt>
                <c:pt idx="12320">
                  <c:v>5.0075060588772544</c:v>
                </c:pt>
                <c:pt idx="12321">
                  <c:v>5.1848955912170576</c:v>
                </c:pt>
                <c:pt idx="12322">
                  <c:v>5.0642954412111845</c:v>
                </c:pt>
                <c:pt idx="12323">
                  <c:v>6.8987887664402834</c:v>
                </c:pt>
                <c:pt idx="12324">
                  <c:v>4.9116047575540396</c:v>
                </c:pt>
                <c:pt idx="12325">
                  <c:v>5.002423110305287</c:v>
                </c:pt>
                <c:pt idx="12326">
                  <c:v>5.1399859180145739</c:v>
                </c:pt>
                <c:pt idx="12327">
                  <c:v>5.0858363155121165</c:v>
                </c:pt>
                <c:pt idx="12328">
                  <c:v>6.0135189843913812</c:v>
                </c:pt>
                <c:pt idx="12329">
                  <c:v>4.9959232005116485</c:v>
                </c:pt>
                <c:pt idx="12330">
                  <c:v>5.9280280264670973</c:v>
                </c:pt>
                <c:pt idx="12331">
                  <c:v>4.8683197736206862</c:v>
                </c:pt>
                <c:pt idx="12332">
                  <c:v>5.0242818941648153</c:v>
                </c:pt>
                <c:pt idx="12333">
                  <c:v>5.0033055123421146</c:v>
                </c:pt>
                <c:pt idx="12334">
                  <c:v>6.0268423260209758</c:v>
                </c:pt>
                <c:pt idx="12335">
                  <c:v>5.0280330247633929</c:v>
                </c:pt>
                <c:pt idx="12336">
                  <c:v>5.3183378979566474</c:v>
                </c:pt>
                <c:pt idx="12337">
                  <c:v>4.9082061476020336</c:v>
                </c:pt>
                <c:pt idx="12338">
                  <c:v>4.851402618837759</c:v>
                </c:pt>
                <c:pt idx="12339">
                  <c:v>5.8912917542920376</c:v>
                </c:pt>
                <c:pt idx="12340">
                  <c:v>4.9523704473599066</c:v>
                </c:pt>
                <c:pt idx="12341">
                  <c:v>6.0170897304388857</c:v>
                </c:pt>
                <c:pt idx="12342">
                  <c:v>4.804206151904963</c:v>
                </c:pt>
                <c:pt idx="12343">
                  <c:v>6.0129499545422478</c:v>
                </c:pt>
                <c:pt idx="12344">
                  <c:v>4.9883721754583448</c:v>
                </c:pt>
                <c:pt idx="12345">
                  <c:v>7.0996820051636913</c:v>
                </c:pt>
                <c:pt idx="12346">
                  <c:v>5.9746314472981119</c:v>
                </c:pt>
                <c:pt idx="12347">
                  <c:v>5.0017324470976279</c:v>
                </c:pt>
                <c:pt idx="12348">
                  <c:v>4.1981168016853925</c:v>
                </c:pt>
                <c:pt idx="12349">
                  <c:v>6.124653731773587</c:v>
                </c:pt>
                <c:pt idx="12350">
                  <c:v>6.0140874550958934</c:v>
                </c:pt>
                <c:pt idx="12351">
                  <c:v>5.0166976553968752</c:v>
                </c:pt>
                <c:pt idx="12352">
                  <c:v>6.0975407928351375</c:v>
                </c:pt>
                <c:pt idx="12353">
                  <c:v>5.879272019711931</c:v>
                </c:pt>
                <c:pt idx="12354">
                  <c:v>6.2479484844326443</c:v>
                </c:pt>
                <c:pt idx="12355">
                  <c:v>6.0033623575380215</c:v>
                </c:pt>
                <c:pt idx="12356">
                  <c:v>6.0974092693720481</c:v>
                </c:pt>
                <c:pt idx="12357">
                  <c:v>6.0327838525557373</c:v>
                </c:pt>
                <c:pt idx="12358">
                  <c:v>6.0225066501306985</c:v>
                </c:pt>
                <c:pt idx="12359">
                  <c:v>5.1058538524096271</c:v>
                </c:pt>
                <c:pt idx="12360">
                  <c:v>4.9208119564868031</c:v>
                </c:pt>
                <c:pt idx="12361">
                  <c:v>5.1981074837677141</c:v>
                </c:pt>
                <c:pt idx="12362">
                  <c:v>5.0199067993409399</c:v>
                </c:pt>
                <c:pt idx="12363">
                  <c:v>5.0778023718654683</c:v>
                </c:pt>
                <c:pt idx="12364">
                  <c:v>6.0024932440738095</c:v>
                </c:pt>
                <c:pt idx="12365">
                  <c:v>5.0180238004589466</c:v>
                </c:pt>
                <c:pt idx="12366">
                  <c:v>6.0431528106325212</c:v>
                </c:pt>
                <c:pt idx="12367">
                  <c:v>6.0272941587928335</c:v>
                </c:pt>
                <c:pt idx="12368">
                  <c:v>5.8850185161792385</c:v>
                </c:pt>
                <c:pt idx="12369">
                  <c:v>5.9963141522678978</c:v>
                </c:pt>
                <c:pt idx="12370">
                  <c:v>6.0386362091673176</c:v>
                </c:pt>
                <c:pt idx="12371">
                  <c:v>5.9051101448748344</c:v>
                </c:pt>
                <c:pt idx="12372">
                  <c:v>5.1526174079907516</c:v>
                </c:pt>
                <c:pt idx="12373">
                  <c:v>6.1465264522958822</c:v>
                </c:pt>
                <c:pt idx="12374">
                  <c:v>5.9603325241000116</c:v>
                </c:pt>
                <c:pt idx="12375">
                  <c:v>4.9957224428232783</c:v>
                </c:pt>
                <c:pt idx="12376">
                  <c:v>5.8482790120143004</c:v>
                </c:pt>
                <c:pt idx="12377">
                  <c:v>4.9385480652099689</c:v>
                </c:pt>
                <c:pt idx="12378">
                  <c:v>5.9763986325793859</c:v>
                </c:pt>
                <c:pt idx="12379">
                  <c:v>6.0520601196750654</c:v>
                </c:pt>
                <c:pt idx="12380">
                  <c:v>7.1069613757301626</c:v>
                </c:pt>
                <c:pt idx="12381">
                  <c:v>5.0068926707346142</c:v>
                </c:pt>
                <c:pt idx="12382">
                  <c:v>6.0263142831136882</c:v>
                </c:pt>
                <c:pt idx="12383">
                  <c:v>5.984989434329461</c:v>
                </c:pt>
                <c:pt idx="12384">
                  <c:v>6.0236589831550624</c:v>
                </c:pt>
                <c:pt idx="12385">
                  <c:v>6.0655918780057654</c:v>
                </c:pt>
                <c:pt idx="12386">
                  <c:v>6.9578662324070537</c:v>
                </c:pt>
                <c:pt idx="12387">
                  <c:v>5.9981034745063795</c:v>
                </c:pt>
                <c:pt idx="12388">
                  <c:v>6.9445883179823813</c:v>
                </c:pt>
                <c:pt idx="12389">
                  <c:v>5.8698540800718861</c:v>
                </c:pt>
                <c:pt idx="12390">
                  <c:v>6.1359989570357962</c:v>
                </c:pt>
                <c:pt idx="12391">
                  <c:v>5.9567679891124659</c:v>
                </c:pt>
                <c:pt idx="12392">
                  <c:v>4.8334318355260599</c:v>
                </c:pt>
                <c:pt idx="12393">
                  <c:v>6.8444216249541112</c:v>
                </c:pt>
                <c:pt idx="12394">
                  <c:v>6.018963244347054</c:v>
                </c:pt>
                <c:pt idx="12395">
                  <c:v>6.0380304480649389</c:v>
                </c:pt>
                <c:pt idx="12396">
                  <c:v>6.9213604863486333</c:v>
                </c:pt>
                <c:pt idx="12397">
                  <c:v>5.9584260901135968</c:v>
                </c:pt>
                <c:pt idx="12398">
                  <c:v>6.0111142396596948</c:v>
                </c:pt>
                <c:pt idx="12399">
                  <c:v>4.8435305267248392</c:v>
                </c:pt>
                <c:pt idx="12400">
                  <c:v>5.9883404000983287</c:v>
                </c:pt>
                <c:pt idx="12401">
                  <c:v>5.8247419149032584</c:v>
                </c:pt>
                <c:pt idx="12402">
                  <c:v>5.9082399799507304</c:v>
                </c:pt>
                <c:pt idx="12403">
                  <c:v>5.9660905013998855</c:v>
                </c:pt>
                <c:pt idx="12404">
                  <c:v>7.032496402379194</c:v>
                </c:pt>
                <c:pt idx="12405">
                  <c:v>5.9735864064307949</c:v>
                </c:pt>
                <c:pt idx="12406">
                  <c:v>6.9715724023164336</c:v>
                </c:pt>
                <c:pt idx="12407">
                  <c:v>6.0764756371132718</c:v>
                </c:pt>
                <c:pt idx="12408">
                  <c:v>6.0215945279159522</c:v>
                </c:pt>
                <c:pt idx="12409">
                  <c:v>4.9493748356535701</c:v>
                </c:pt>
                <c:pt idx="12410">
                  <c:v>5.8941440970709902</c:v>
                </c:pt>
                <c:pt idx="12411">
                  <c:v>6.1437097792289865</c:v>
                </c:pt>
                <c:pt idx="12412">
                  <c:v>6.1426867924105819</c:v>
                </c:pt>
                <c:pt idx="12413">
                  <c:v>6.0168249700843175</c:v>
                </c:pt>
                <c:pt idx="12414">
                  <c:v>6.0629232743246844</c:v>
                </c:pt>
                <c:pt idx="12415">
                  <c:v>6.0535033744676321</c:v>
                </c:pt>
                <c:pt idx="12416">
                  <c:v>6.0580487112256129</c:v>
                </c:pt>
                <c:pt idx="12417">
                  <c:v>5.7662145259117024</c:v>
                </c:pt>
                <c:pt idx="12418">
                  <c:v>6.131084846700622</c:v>
                </c:pt>
                <c:pt idx="12419">
                  <c:v>5.8711834840976111</c:v>
                </c:pt>
                <c:pt idx="12420">
                  <c:v>7.0677205881458347</c:v>
                </c:pt>
                <c:pt idx="12421">
                  <c:v>6.0259738804093725</c:v>
                </c:pt>
                <c:pt idx="12422">
                  <c:v>5.9094912257137695</c:v>
                </c:pt>
                <c:pt idx="12423">
                  <c:v>5.8567226232068794</c:v>
                </c:pt>
                <c:pt idx="12424">
                  <c:v>6.1275615223941138</c:v>
                </c:pt>
                <c:pt idx="12425">
                  <c:v>5.9700291983964489</c:v>
                </c:pt>
                <c:pt idx="12426">
                  <c:v>5.8757550733487349</c:v>
                </c:pt>
                <c:pt idx="12427">
                  <c:v>6.0238955785364254</c:v>
                </c:pt>
                <c:pt idx="12428">
                  <c:v>6.8593787374901227</c:v>
                </c:pt>
                <c:pt idx="12429">
                  <c:v>6.0022244570501631</c:v>
                </c:pt>
                <c:pt idx="12430">
                  <c:v>7.1869129293068728</c:v>
                </c:pt>
                <c:pt idx="12431">
                  <c:v>5.8958324824606558</c:v>
                </c:pt>
                <c:pt idx="12432">
                  <c:v>6.0741282445414519</c:v>
                </c:pt>
                <c:pt idx="12433">
                  <c:v>5.825252297726685</c:v>
                </c:pt>
                <c:pt idx="12434">
                  <c:v>5.0855530740869481</c:v>
                </c:pt>
                <c:pt idx="12435">
                  <c:v>3.8269730225027225</c:v>
                </c:pt>
                <c:pt idx="12436">
                  <c:v>6.0678095234678739</c:v>
                </c:pt>
                <c:pt idx="12437">
                  <c:v>4.1756300779893341</c:v>
                </c:pt>
                <c:pt idx="12438">
                  <c:v>5.9112141512277709</c:v>
                </c:pt>
                <c:pt idx="12439">
                  <c:v>6.0948923086311195</c:v>
                </c:pt>
                <c:pt idx="12440">
                  <c:v>5.1256538909121234</c:v>
                </c:pt>
                <c:pt idx="12441">
                  <c:v>6.0810546802003671</c:v>
                </c:pt>
                <c:pt idx="12442">
                  <c:v>4.0795317467708765</c:v>
                </c:pt>
                <c:pt idx="12443">
                  <c:v>6.050066713136248</c:v>
                </c:pt>
                <c:pt idx="12444">
                  <c:v>6.0775429022280676</c:v>
                </c:pt>
                <c:pt idx="12445">
                  <c:v>6.0220228506930287</c:v>
                </c:pt>
                <c:pt idx="12446">
                  <c:v>6.1116734405239468</c:v>
                </c:pt>
                <c:pt idx="12447">
                  <c:v>7.0359037564182092</c:v>
                </c:pt>
                <c:pt idx="12448">
                  <c:v>4.8417474555848914</c:v>
                </c:pt>
                <c:pt idx="12449">
                  <c:v>6.205809831771707</c:v>
                </c:pt>
                <c:pt idx="12450">
                  <c:v>7.0677875264616583</c:v>
                </c:pt>
                <c:pt idx="12451">
                  <c:v>5.9346433587132399</c:v>
                </c:pt>
                <c:pt idx="12452">
                  <c:v>5.018100837800926</c:v>
                </c:pt>
                <c:pt idx="12453">
                  <c:v>6.0757487553870879</c:v>
                </c:pt>
                <c:pt idx="12454">
                  <c:v>6.06170407715544</c:v>
                </c:pt>
                <c:pt idx="12455">
                  <c:v>6.0500880466007665</c:v>
                </c:pt>
                <c:pt idx="12456">
                  <c:v>5.990543945346559</c:v>
                </c:pt>
                <c:pt idx="12457">
                  <c:v>3.8404232916354863</c:v>
                </c:pt>
                <c:pt idx="12458">
                  <c:v>6.9079131313399573</c:v>
                </c:pt>
                <c:pt idx="12459">
                  <c:v>5.9970751259004258</c:v>
                </c:pt>
                <c:pt idx="12460">
                  <c:v>6.9595786925820962</c:v>
                </c:pt>
                <c:pt idx="12461">
                  <c:v>6.1267719536005405</c:v>
                </c:pt>
                <c:pt idx="12462">
                  <c:v>4.8655516512264008</c:v>
                </c:pt>
                <c:pt idx="12463">
                  <c:v>5.9854568875558831</c:v>
                </c:pt>
                <c:pt idx="12464">
                  <c:v>5.9192379401195394</c:v>
                </c:pt>
                <c:pt idx="12465">
                  <c:v>5.9642565371848901</c:v>
                </c:pt>
                <c:pt idx="12466">
                  <c:v>7.2506500577139015</c:v>
                </c:pt>
                <c:pt idx="12467">
                  <c:v>5.981351942958776</c:v>
                </c:pt>
                <c:pt idx="12468">
                  <c:v>5.0143956607034035</c:v>
                </c:pt>
                <c:pt idx="12469">
                  <c:v>6.9843231967671464</c:v>
                </c:pt>
                <c:pt idx="12470">
                  <c:v>5.0503812545813958</c:v>
                </c:pt>
                <c:pt idx="12471">
                  <c:v>4.9370131918513929</c:v>
                </c:pt>
                <c:pt idx="12472">
                  <c:v>5.9315808380246819</c:v>
                </c:pt>
                <c:pt idx="12473">
                  <c:v>5.9450560557607037</c:v>
                </c:pt>
                <c:pt idx="12474">
                  <c:v>6.9842800642512426</c:v>
                </c:pt>
                <c:pt idx="12475">
                  <c:v>6.9620292719386994</c:v>
                </c:pt>
                <c:pt idx="12476">
                  <c:v>6.0870061011120562</c:v>
                </c:pt>
                <c:pt idx="12477">
                  <c:v>4.9536406278191745</c:v>
                </c:pt>
                <c:pt idx="12478">
                  <c:v>5.9772186023648741</c:v>
                </c:pt>
                <c:pt idx="12479">
                  <c:v>6.9315125071804111</c:v>
                </c:pt>
                <c:pt idx="12480">
                  <c:v>6.0847438775694824</c:v>
                </c:pt>
                <c:pt idx="12481">
                  <c:v>5.9726849031352156</c:v>
                </c:pt>
                <c:pt idx="12482">
                  <c:v>7.0942791212587295</c:v>
                </c:pt>
                <c:pt idx="12483">
                  <c:v>6.9301045142268096</c:v>
                </c:pt>
                <c:pt idx="12484">
                  <c:v>4.9603410520520992</c:v>
                </c:pt>
                <c:pt idx="12485">
                  <c:v>5.9159489532764189</c:v>
                </c:pt>
                <c:pt idx="12486">
                  <c:v>7.0573888721046574</c:v>
                </c:pt>
                <c:pt idx="12487">
                  <c:v>5.9069732564007253</c:v>
                </c:pt>
                <c:pt idx="12488">
                  <c:v>4.9909118611068637</c:v>
                </c:pt>
                <c:pt idx="12489">
                  <c:v>4.8657084333300729</c:v>
                </c:pt>
                <c:pt idx="12490">
                  <c:v>7.1383629276669502</c:v>
                </c:pt>
                <c:pt idx="12491">
                  <c:v>5.9700854820467173</c:v>
                </c:pt>
                <c:pt idx="12492">
                  <c:v>5.9333495261469427</c:v>
                </c:pt>
                <c:pt idx="12493">
                  <c:v>6.9836965705761784</c:v>
                </c:pt>
                <c:pt idx="12494">
                  <c:v>6.0201124368195789</c:v>
                </c:pt>
                <c:pt idx="12495">
                  <c:v>7.0187883969785014</c:v>
                </c:pt>
                <c:pt idx="12496">
                  <c:v>6.1348928208380489</c:v>
                </c:pt>
                <c:pt idx="12497">
                  <c:v>5.8162807930870599</c:v>
                </c:pt>
                <c:pt idx="12498">
                  <c:v>7.0977451739077448</c:v>
                </c:pt>
                <c:pt idx="12499">
                  <c:v>6.1112436907175089</c:v>
                </c:pt>
                <c:pt idx="12500">
                  <c:v>7.0341902754338372</c:v>
                </c:pt>
                <c:pt idx="12501">
                  <c:v>7.0717192205019526</c:v>
                </c:pt>
                <c:pt idx="12502">
                  <c:v>6.9888494295636141</c:v>
                </c:pt>
                <c:pt idx="12503">
                  <c:v>5.9488457455572936</c:v>
                </c:pt>
                <c:pt idx="12504">
                  <c:v>6.8926288128118705</c:v>
                </c:pt>
                <c:pt idx="12505">
                  <c:v>6.7914553202174535</c:v>
                </c:pt>
                <c:pt idx="12506">
                  <c:v>6.9291520150946821</c:v>
                </c:pt>
                <c:pt idx="12507">
                  <c:v>5.9970985038957636</c:v>
                </c:pt>
                <c:pt idx="12508">
                  <c:v>6.1049183312270401</c:v>
                </c:pt>
                <c:pt idx="12509">
                  <c:v>3.9263915675200498</c:v>
                </c:pt>
                <c:pt idx="12510">
                  <c:v>6.0337959120350781</c:v>
                </c:pt>
                <c:pt idx="12511">
                  <c:v>6.8895703700418647</c:v>
                </c:pt>
                <c:pt idx="12512">
                  <c:v>7.1621296140667488</c:v>
                </c:pt>
                <c:pt idx="12513">
                  <c:v>6.9996457502806342</c:v>
                </c:pt>
                <c:pt idx="12514">
                  <c:v>3.0533032506038471</c:v>
                </c:pt>
                <c:pt idx="12515">
                  <c:v>6.1417582254162131</c:v>
                </c:pt>
                <c:pt idx="12516">
                  <c:v>7.0449373209042241</c:v>
                </c:pt>
                <c:pt idx="12517">
                  <c:v>6.9521504808440655</c:v>
                </c:pt>
                <c:pt idx="12518">
                  <c:v>5.0183721449420862</c:v>
                </c:pt>
                <c:pt idx="12519">
                  <c:v>6.0781998100523777</c:v>
                </c:pt>
                <c:pt idx="12520">
                  <c:v>5.951734599251929</c:v>
                </c:pt>
                <c:pt idx="12521">
                  <c:v>6.0560543707897958</c:v>
                </c:pt>
                <c:pt idx="12522">
                  <c:v>4.8561330856166993</c:v>
                </c:pt>
                <c:pt idx="12523">
                  <c:v>5.9345603951306929</c:v>
                </c:pt>
                <c:pt idx="12524">
                  <c:v>6.7978689691471468</c:v>
                </c:pt>
                <c:pt idx="12525">
                  <c:v>6.0625436628862897</c:v>
                </c:pt>
                <c:pt idx="12526">
                  <c:v>4.9827217773634604</c:v>
                </c:pt>
                <c:pt idx="12527">
                  <c:v>6.0304847131003747</c:v>
                </c:pt>
                <c:pt idx="12528">
                  <c:v>5.8650973291304567</c:v>
                </c:pt>
                <c:pt idx="12529">
                  <c:v>5.0700090580334694</c:v>
                </c:pt>
                <c:pt idx="12530">
                  <c:v>5.8726949925297216</c:v>
                </c:pt>
                <c:pt idx="12531">
                  <c:v>5.0330976817454465</c:v>
                </c:pt>
                <c:pt idx="12532">
                  <c:v>5.0407771863918605</c:v>
                </c:pt>
                <c:pt idx="12533">
                  <c:v>6.1104729271173044</c:v>
                </c:pt>
                <c:pt idx="12534">
                  <c:v>5.9106466146923822</c:v>
                </c:pt>
                <c:pt idx="12535">
                  <c:v>6.1608241847917808</c:v>
                </c:pt>
                <c:pt idx="12536">
                  <c:v>6.053590674879036</c:v>
                </c:pt>
                <c:pt idx="12537">
                  <c:v>6.9282250794592386</c:v>
                </c:pt>
                <c:pt idx="12538">
                  <c:v>6.0769938977058642</c:v>
                </c:pt>
                <c:pt idx="12539">
                  <c:v>5.8905298693693116</c:v>
                </c:pt>
                <c:pt idx="12540">
                  <c:v>6.0059675197137379</c:v>
                </c:pt>
                <c:pt idx="12541">
                  <c:v>6.0945529847674083</c:v>
                </c:pt>
                <c:pt idx="12542">
                  <c:v>1.9444771351321299</c:v>
                </c:pt>
                <c:pt idx="12543">
                  <c:v>5.8366687187289923</c:v>
                </c:pt>
                <c:pt idx="12544">
                  <c:v>6.3239402387660668</c:v>
                </c:pt>
                <c:pt idx="12545">
                  <c:v>6.9774121344182944</c:v>
                </c:pt>
                <c:pt idx="12546">
                  <c:v>5.0667000266821436</c:v>
                </c:pt>
                <c:pt idx="12547">
                  <c:v>5.9626460912327595</c:v>
                </c:pt>
                <c:pt idx="12548">
                  <c:v>7.1693857186145395</c:v>
                </c:pt>
                <c:pt idx="12549">
                  <c:v>6.0277078134265585</c:v>
                </c:pt>
                <c:pt idx="12550">
                  <c:v>6.0962296961757048</c:v>
                </c:pt>
                <c:pt idx="12551">
                  <c:v>5.8800630745036582</c:v>
                </c:pt>
                <c:pt idx="12552">
                  <c:v>6.1372102193592921</c:v>
                </c:pt>
                <c:pt idx="12553">
                  <c:v>6.8764704747095093</c:v>
                </c:pt>
                <c:pt idx="12554">
                  <c:v>2.1861048549222044</c:v>
                </c:pt>
                <c:pt idx="12555">
                  <c:v>5.9952060671323588</c:v>
                </c:pt>
                <c:pt idx="12556">
                  <c:v>6.0193470672033076</c:v>
                </c:pt>
                <c:pt idx="12557">
                  <c:v>4.9791072779773966</c:v>
                </c:pt>
                <c:pt idx="12558">
                  <c:v>5.9737174766364207</c:v>
                </c:pt>
                <c:pt idx="12559">
                  <c:v>6.1195493719708294</c:v>
                </c:pt>
                <c:pt idx="12560">
                  <c:v>5.8956641511202061</c:v>
                </c:pt>
                <c:pt idx="12561">
                  <c:v>5.8325529377932384</c:v>
                </c:pt>
                <c:pt idx="12562">
                  <c:v>6.0621872556309091</c:v>
                </c:pt>
                <c:pt idx="12563">
                  <c:v>5.8561129542094719</c:v>
                </c:pt>
                <c:pt idx="12564">
                  <c:v>6.2943603292040136</c:v>
                </c:pt>
                <c:pt idx="12565">
                  <c:v>6.0034051585482171</c:v>
                </c:pt>
                <c:pt idx="12566">
                  <c:v>6.1559974934685027</c:v>
                </c:pt>
                <c:pt idx="12567">
                  <c:v>5.8672310118208362</c:v>
                </c:pt>
                <c:pt idx="12568">
                  <c:v>5.9401591770838706</c:v>
                </c:pt>
                <c:pt idx="12569">
                  <c:v>5.963079742083278</c:v>
                </c:pt>
                <c:pt idx="12570">
                  <c:v>5.0078945950724485</c:v>
                </c:pt>
                <c:pt idx="12571">
                  <c:v>6.0177430336588911</c:v>
                </c:pt>
                <c:pt idx="12572">
                  <c:v>4.880816111180037</c:v>
                </c:pt>
                <c:pt idx="12573">
                  <c:v>6.0248796949304477</c:v>
                </c:pt>
                <c:pt idx="12574">
                  <c:v>5.0280860738682147</c:v>
                </c:pt>
                <c:pt idx="12575">
                  <c:v>6.9729959159643364</c:v>
                </c:pt>
                <c:pt idx="12576">
                  <c:v>5.9896893789371788</c:v>
                </c:pt>
                <c:pt idx="12577">
                  <c:v>6.0906777505212988</c:v>
                </c:pt>
                <c:pt idx="12578">
                  <c:v>6.7371432976861314</c:v>
                </c:pt>
                <c:pt idx="12579">
                  <c:v>5.9307173656251528</c:v>
                </c:pt>
                <c:pt idx="12580">
                  <c:v>6.1708736857354864</c:v>
                </c:pt>
                <c:pt idx="12581">
                  <c:v>5.886813209769536</c:v>
                </c:pt>
                <c:pt idx="12582">
                  <c:v>5.9363015073802483</c:v>
                </c:pt>
                <c:pt idx="12583">
                  <c:v>6.0676692180464959</c:v>
                </c:pt>
                <c:pt idx="12584">
                  <c:v>5.9195732702292894</c:v>
                </c:pt>
                <c:pt idx="12585">
                  <c:v>5.8612206181971001</c:v>
                </c:pt>
                <c:pt idx="12586">
                  <c:v>5.8386580435757454</c:v>
                </c:pt>
                <c:pt idx="12587">
                  <c:v>6.0149330780596779</c:v>
                </c:pt>
                <c:pt idx="12588">
                  <c:v>6.0162980490043898</c:v>
                </c:pt>
                <c:pt idx="12589">
                  <c:v>6.0559946862119078</c:v>
                </c:pt>
                <c:pt idx="12590">
                  <c:v>5.7993783812223958</c:v>
                </c:pt>
                <c:pt idx="12591">
                  <c:v>6.9525935120704085</c:v>
                </c:pt>
                <c:pt idx="12592">
                  <c:v>4.0752358930515822</c:v>
                </c:pt>
                <c:pt idx="12593">
                  <c:v>5.8467269325469031</c:v>
                </c:pt>
                <c:pt idx="12594">
                  <c:v>5.9021736357879888</c:v>
                </c:pt>
                <c:pt idx="12595">
                  <c:v>6.0787814333319101</c:v>
                </c:pt>
                <c:pt idx="12596">
                  <c:v>6.1103340432458522</c:v>
                </c:pt>
                <c:pt idx="12597">
                  <c:v>6.1158979986223452</c:v>
                </c:pt>
                <c:pt idx="12598">
                  <c:v>5.9546514695331938</c:v>
                </c:pt>
                <c:pt idx="12599">
                  <c:v>5.9387889620214356</c:v>
                </c:pt>
                <c:pt idx="12600">
                  <c:v>5.8591793943855697</c:v>
                </c:pt>
                <c:pt idx="12601">
                  <c:v>5.9755095795865341</c:v>
                </c:pt>
                <c:pt idx="12602">
                  <c:v>5.8776707030901427</c:v>
                </c:pt>
                <c:pt idx="12603">
                  <c:v>6.139659592453194</c:v>
                </c:pt>
                <c:pt idx="12604">
                  <c:v>6.9618562786093001</c:v>
                </c:pt>
                <c:pt idx="12605">
                  <c:v>5.9980262127018298</c:v>
                </c:pt>
                <c:pt idx="12606">
                  <c:v>6.0449834867042682</c:v>
                </c:pt>
                <c:pt idx="12607">
                  <c:v>6.9241699756238244</c:v>
                </c:pt>
                <c:pt idx="12608">
                  <c:v>6.0626676041726437</c:v>
                </c:pt>
                <c:pt idx="12609">
                  <c:v>5.8310983186727077</c:v>
                </c:pt>
                <c:pt idx="12610">
                  <c:v>5.8499801302425558</c:v>
                </c:pt>
                <c:pt idx="12611">
                  <c:v>5.8863490289588665</c:v>
                </c:pt>
                <c:pt idx="12612">
                  <c:v>6.1936783741300587</c:v>
                </c:pt>
                <c:pt idx="12613">
                  <c:v>5.9932773660295178</c:v>
                </c:pt>
                <c:pt idx="12614">
                  <c:v>6.0080804099803986</c:v>
                </c:pt>
                <c:pt idx="12615">
                  <c:v>6.0561149795766509</c:v>
                </c:pt>
                <c:pt idx="12616">
                  <c:v>6.1358861914006777</c:v>
                </c:pt>
                <c:pt idx="12617">
                  <c:v>5.8826563055667709</c:v>
                </c:pt>
                <c:pt idx="12618">
                  <c:v>6.0204089434773467</c:v>
                </c:pt>
                <c:pt idx="12619">
                  <c:v>6.1203960890602129</c:v>
                </c:pt>
                <c:pt idx="12620">
                  <c:v>6.6696032514314787</c:v>
                </c:pt>
                <c:pt idx="12621">
                  <c:v>6.0822771785007106</c:v>
                </c:pt>
                <c:pt idx="12622">
                  <c:v>6.1773772275438308</c:v>
                </c:pt>
                <c:pt idx="12623">
                  <c:v>6.7976880761366356</c:v>
                </c:pt>
                <c:pt idx="12624">
                  <c:v>3.0269737410496664</c:v>
                </c:pt>
                <c:pt idx="12625">
                  <c:v>7.0786278353117726</c:v>
                </c:pt>
                <c:pt idx="12626">
                  <c:v>6.1515952184995637</c:v>
                </c:pt>
                <c:pt idx="12627">
                  <c:v>7.0265679740663947</c:v>
                </c:pt>
                <c:pt idx="12628">
                  <c:v>5.997413032325615</c:v>
                </c:pt>
                <c:pt idx="12629">
                  <c:v>5.8477492433427978</c:v>
                </c:pt>
                <c:pt idx="12630">
                  <c:v>6.0285402314796848</c:v>
                </c:pt>
                <c:pt idx="12631">
                  <c:v>5.8869408892892601</c:v>
                </c:pt>
                <c:pt idx="12632">
                  <c:v>6.0192069697734629</c:v>
                </c:pt>
                <c:pt idx="12633">
                  <c:v>6.0950656526248608</c:v>
                </c:pt>
                <c:pt idx="12634">
                  <c:v>5.8895283755333745</c:v>
                </c:pt>
                <c:pt idx="12635">
                  <c:v>6.1067655015510747</c:v>
                </c:pt>
                <c:pt idx="12636">
                  <c:v>6.0438264812721165</c:v>
                </c:pt>
                <c:pt idx="12637">
                  <c:v>6.0919549088735314</c:v>
                </c:pt>
                <c:pt idx="12638">
                  <c:v>6.1128436437886009</c:v>
                </c:pt>
                <c:pt idx="12639">
                  <c:v>6.0371399707814559</c:v>
                </c:pt>
                <c:pt idx="12640">
                  <c:v>6.154492464412364</c:v>
                </c:pt>
                <c:pt idx="12641">
                  <c:v>5.9552051720499311</c:v>
                </c:pt>
                <c:pt idx="12642">
                  <c:v>6.0676362667105428</c:v>
                </c:pt>
                <c:pt idx="12643">
                  <c:v>5.9802761376342213</c:v>
                </c:pt>
                <c:pt idx="12644">
                  <c:v>5.0629710207567724</c:v>
                </c:pt>
                <c:pt idx="12645">
                  <c:v>6.1565268765005046</c:v>
                </c:pt>
                <c:pt idx="12646">
                  <c:v>6.0303720260529543</c:v>
                </c:pt>
                <c:pt idx="12647">
                  <c:v>6.9732326524726664</c:v>
                </c:pt>
                <c:pt idx="12648">
                  <c:v>6.9356138594164145</c:v>
                </c:pt>
                <c:pt idx="12649">
                  <c:v>5.8663647406681454</c:v>
                </c:pt>
                <c:pt idx="12650">
                  <c:v>6.1123683699984701</c:v>
                </c:pt>
                <c:pt idx="12651">
                  <c:v>5.0002850993163523</c:v>
                </c:pt>
                <c:pt idx="12652">
                  <c:v>4.017703542072744</c:v>
                </c:pt>
                <c:pt idx="12653">
                  <c:v>3.9222297218111644</c:v>
                </c:pt>
                <c:pt idx="12654">
                  <c:v>5.897116104167238</c:v>
                </c:pt>
                <c:pt idx="12655">
                  <c:v>7.1644864234994179</c:v>
                </c:pt>
                <c:pt idx="12656">
                  <c:v>5.0736765198485765</c:v>
                </c:pt>
                <c:pt idx="12657">
                  <c:v>6.0452188367573312</c:v>
                </c:pt>
                <c:pt idx="12658">
                  <c:v>6.0642173820719432</c:v>
                </c:pt>
                <c:pt idx="12659">
                  <c:v>5.004812211522875</c:v>
                </c:pt>
                <c:pt idx="12660">
                  <c:v>5.0918384348814021</c:v>
                </c:pt>
                <c:pt idx="12661">
                  <c:v>5.9177658302905156</c:v>
                </c:pt>
                <c:pt idx="12662">
                  <c:v>4.9452411259560112</c:v>
                </c:pt>
                <c:pt idx="12663">
                  <c:v>6.1157249052648259</c:v>
                </c:pt>
                <c:pt idx="12664">
                  <c:v>6.0320558279728518</c:v>
                </c:pt>
                <c:pt idx="12665">
                  <c:v>4.9386415199736415</c:v>
                </c:pt>
                <c:pt idx="12666">
                  <c:v>5.943723422475558</c:v>
                </c:pt>
                <c:pt idx="12667">
                  <c:v>7.0692576016358393</c:v>
                </c:pt>
                <c:pt idx="12668">
                  <c:v>5.9673659061460951</c:v>
                </c:pt>
                <c:pt idx="12669">
                  <c:v>6.9755155566703078</c:v>
                </c:pt>
                <c:pt idx="12670">
                  <c:v>4.872169731235295</c:v>
                </c:pt>
                <c:pt idx="12671">
                  <c:v>4.9348931735159116</c:v>
                </c:pt>
                <c:pt idx="12672">
                  <c:v>5.98026771911948</c:v>
                </c:pt>
                <c:pt idx="12673">
                  <c:v>6.0657782694687015</c:v>
                </c:pt>
                <c:pt idx="12674">
                  <c:v>5.1181897551515405</c:v>
                </c:pt>
                <c:pt idx="12675">
                  <c:v>6.0734669709654598</c:v>
                </c:pt>
                <c:pt idx="12676">
                  <c:v>6.122984246826654</c:v>
                </c:pt>
                <c:pt idx="12677">
                  <c:v>5.9095423077091827</c:v>
                </c:pt>
                <c:pt idx="12678">
                  <c:v>5.8793470802112244</c:v>
                </c:pt>
                <c:pt idx="12679">
                  <c:v>7.0437350373457059</c:v>
                </c:pt>
                <c:pt idx="12680">
                  <c:v>7.0381617188990084</c:v>
                </c:pt>
                <c:pt idx="12681">
                  <c:v>7.0991960712011331</c:v>
                </c:pt>
                <c:pt idx="12682">
                  <c:v>6.9624281280167439</c:v>
                </c:pt>
                <c:pt idx="12683">
                  <c:v>5.9278897500334917</c:v>
                </c:pt>
                <c:pt idx="12684">
                  <c:v>7.0345319739540066</c:v>
                </c:pt>
                <c:pt idx="12685">
                  <c:v>5.8477395404025527</c:v>
                </c:pt>
                <c:pt idx="12686">
                  <c:v>6.045866667913141</c:v>
                </c:pt>
                <c:pt idx="12687">
                  <c:v>6.1226534169492286</c:v>
                </c:pt>
                <c:pt idx="12688">
                  <c:v>6.0669669113346716</c:v>
                </c:pt>
                <c:pt idx="12689">
                  <c:v>6.0147184640897402</c:v>
                </c:pt>
                <c:pt idx="12690">
                  <c:v>5.9301001082011844</c:v>
                </c:pt>
                <c:pt idx="12691">
                  <c:v>4.9953426413430577</c:v>
                </c:pt>
                <c:pt idx="12692">
                  <c:v>6.0414879231445004</c:v>
                </c:pt>
                <c:pt idx="12693">
                  <c:v>5.8123329304592035</c:v>
                </c:pt>
                <c:pt idx="12694">
                  <c:v>5.8971475962533715</c:v>
                </c:pt>
                <c:pt idx="12695">
                  <c:v>6.0662297363024829</c:v>
                </c:pt>
                <c:pt idx="12696">
                  <c:v>6.1654970849832829</c:v>
                </c:pt>
                <c:pt idx="12697">
                  <c:v>5.9447833852030838</c:v>
                </c:pt>
                <c:pt idx="12698">
                  <c:v>5.8826305017787091</c:v>
                </c:pt>
                <c:pt idx="12699">
                  <c:v>6.0269533795047847</c:v>
                </c:pt>
                <c:pt idx="12700">
                  <c:v>5.0018401228886198</c:v>
                </c:pt>
                <c:pt idx="12701">
                  <c:v>5.9782955394904276</c:v>
                </c:pt>
                <c:pt idx="12702">
                  <c:v>7.0073104870721847</c:v>
                </c:pt>
                <c:pt idx="12703">
                  <c:v>5.9278119851193658</c:v>
                </c:pt>
                <c:pt idx="12704">
                  <c:v>5.9665642055665602</c:v>
                </c:pt>
                <c:pt idx="12705">
                  <c:v>4.9075114761661673</c:v>
                </c:pt>
                <c:pt idx="12706">
                  <c:v>5.909836848397406</c:v>
                </c:pt>
                <c:pt idx="12707">
                  <c:v>6.0658854310799306</c:v>
                </c:pt>
                <c:pt idx="12708">
                  <c:v>5.92431434971689</c:v>
                </c:pt>
                <c:pt idx="12709">
                  <c:v>6.9600979619186019</c:v>
                </c:pt>
                <c:pt idx="12710">
                  <c:v>6.0032700582475407</c:v>
                </c:pt>
                <c:pt idx="12711">
                  <c:v>6.0032907406223925</c:v>
                </c:pt>
                <c:pt idx="12712">
                  <c:v>5.981100064189766</c:v>
                </c:pt>
                <c:pt idx="12713">
                  <c:v>6.1168398569443081</c:v>
                </c:pt>
                <c:pt idx="12714">
                  <c:v>6.1409091196987982</c:v>
                </c:pt>
                <c:pt idx="12715">
                  <c:v>5.0956300513233641</c:v>
                </c:pt>
                <c:pt idx="12716">
                  <c:v>5.9069240284394722</c:v>
                </c:pt>
                <c:pt idx="12717">
                  <c:v>5.9178110068597336</c:v>
                </c:pt>
                <c:pt idx="12718">
                  <c:v>6.1184839803740774</c:v>
                </c:pt>
                <c:pt idx="12719">
                  <c:v>4.9602749504803603</c:v>
                </c:pt>
                <c:pt idx="12720">
                  <c:v>6.0513757172422222</c:v>
                </c:pt>
                <c:pt idx="12721">
                  <c:v>7.0095139871802559</c:v>
                </c:pt>
                <c:pt idx="12722">
                  <c:v>6.1212141911846141</c:v>
                </c:pt>
                <c:pt idx="12723">
                  <c:v>6.0434613865304279</c:v>
                </c:pt>
                <c:pt idx="12724">
                  <c:v>6.2425671952820636</c:v>
                </c:pt>
                <c:pt idx="12725">
                  <c:v>5.9933474644265274</c:v>
                </c:pt>
                <c:pt idx="12726">
                  <c:v>6.1564388002791191</c:v>
                </c:pt>
                <c:pt idx="12727">
                  <c:v>5.9765162997110437</c:v>
                </c:pt>
                <c:pt idx="12728">
                  <c:v>5.8855668449705689</c:v>
                </c:pt>
                <c:pt idx="12729">
                  <c:v>4.9642499126818933</c:v>
                </c:pt>
                <c:pt idx="12730">
                  <c:v>5.9558573667155343</c:v>
                </c:pt>
                <c:pt idx="12731">
                  <c:v>4.98092200326158</c:v>
                </c:pt>
                <c:pt idx="12732">
                  <c:v>5.966704583612791</c:v>
                </c:pt>
                <c:pt idx="12733">
                  <c:v>5.9901220799074322</c:v>
                </c:pt>
                <c:pt idx="12734">
                  <c:v>6.8212082305006057</c:v>
                </c:pt>
                <c:pt idx="12735">
                  <c:v>7.0856398215784262</c:v>
                </c:pt>
                <c:pt idx="12736">
                  <c:v>6.0785845575424737</c:v>
                </c:pt>
                <c:pt idx="12737">
                  <c:v>5.9205312248677311</c:v>
                </c:pt>
                <c:pt idx="12738">
                  <c:v>5.9144728955654369</c:v>
                </c:pt>
                <c:pt idx="12739">
                  <c:v>5.1557007073720289</c:v>
                </c:pt>
                <c:pt idx="12740">
                  <c:v>5.9381023629031215</c:v>
                </c:pt>
                <c:pt idx="12741">
                  <c:v>4.950810167906849</c:v>
                </c:pt>
                <c:pt idx="12742">
                  <c:v>5.0714360400085674</c:v>
                </c:pt>
                <c:pt idx="12743">
                  <c:v>7.0220584742693983</c:v>
                </c:pt>
                <c:pt idx="12744">
                  <c:v>6.9980034800454467</c:v>
                </c:pt>
                <c:pt idx="12745">
                  <c:v>6.02117315151611</c:v>
                </c:pt>
                <c:pt idx="12746">
                  <c:v>6.9796919597653488</c:v>
                </c:pt>
                <c:pt idx="12747">
                  <c:v>7.1336064069370462</c:v>
                </c:pt>
                <c:pt idx="12748">
                  <c:v>6.8884272099769541</c:v>
                </c:pt>
                <c:pt idx="12749">
                  <c:v>6.9515230876181731</c:v>
                </c:pt>
                <c:pt idx="12750">
                  <c:v>6.9698944480456761</c:v>
                </c:pt>
                <c:pt idx="12751">
                  <c:v>7.0686429074129187</c:v>
                </c:pt>
                <c:pt idx="12752">
                  <c:v>7.0092899210714075</c:v>
                </c:pt>
                <c:pt idx="12753">
                  <c:v>7.2744873771048759</c:v>
                </c:pt>
                <c:pt idx="12754">
                  <c:v>6.8842889263865077</c:v>
                </c:pt>
                <c:pt idx="12755">
                  <c:v>5.8529685288440945</c:v>
                </c:pt>
                <c:pt idx="12756">
                  <c:v>6.9517086587037884</c:v>
                </c:pt>
                <c:pt idx="12757">
                  <c:v>7.0469805339227705</c:v>
                </c:pt>
                <c:pt idx="12758">
                  <c:v>7.114554895741497</c:v>
                </c:pt>
                <c:pt idx="12759">
                  <c:v>5.8752798840788447</c:v>
                </c:pt>
                <c:pt idx="12760">
                  <c:v>6.0288352178063462</c:v>
                </c:pt>
                <c:pt idx="12761">
                  <c:v>5.9992018317878841</c:v>
                </c:pt>
                <c:pt idx="12762">
                  <c:v>6.0266974342793471</c:v>
                </c:pt>
                <c:pt idx="12763">
                  <c:v>5.9108510877631417</c:v>
                </c:pt>
                <c:pt idx="12764">
                  <c:v>5.9662823117987296</c:v>
                </c:pt>
                <c:pt idx="12765">
                  <c:v>6.0915908222989721</c:v>
                </c:pt>
                <c:pt idx="12766">
                  <c:v>6.9781544671389684</c:v>
                </c:pt>
                <c:pt idx="12767">
                  <c:v>6.1798004408642448</c:v>
                </c:pt>
                <c:pt idx="12768">
                  <c:v>6.0951969260187884</c:v>
                </c:pt>
                <c:pt idx="12769">
                  <c:v>7.1103645483307236</c:v>
                </c:pt>
                <c:pt idx="12770">
                  <c:v>7.0324330885037156</c:v>
                </c:pt>
                <c:pt idx="12771">
                  <c:v>7.0302636432224537</c:v>
                </c:pt>
                <c:pt idx="12772">
                  <c:v>6.0654251960924208</c:v>
                </c:pt>
                <c:pt idx="12773">
                  <c:v>6.0363187141294112</c:v>
                </c:pt>
                <c:pt idx="12774">
                  <c:v>6.1054469097795243</c:v>
                </c:pt>
                <c:pt idx="12775">
                  <c:v>6.031885339559107</c:v>
                </c:pt>
                <c:pt idx="12776">
                  <c:v>5.881049122110805</c:v>
                </c:pt>
                <c:pt idx="12777">
                  <c:v>5.8887265747529591</c:v>
                </c:pt>
                <c:pt idx="12778">
                  <c:v>6.0476084896886757</c:v>
                </c:pt>
                <c:pt idx="12779">
                  <c:v>5.8720614776830313</c:v>
                </c:pt>
                <c:pt idx="12780">
                  <c:v>5.9093272371334447</c:v>
                </c:pt>
                <c:pt idx="12781">
                  <c:v>6.1441252723004611</c:v>
                </c:pt>
                <c:pt idx="12782">
                  <c:v>6.1099758532925206</c:v>
                </c:pt>
                <c:pt idx="12783">
                  <c:v>2.0411116702457424</c:v>
                </c:pt>
                <c:pt idx="12784">
                  <c:v>6.0500886304544634</c:v>
                </c:pt>
                <c:pt idx="12785">
                  <c:v>5.1031398678356998</c:v>
                </c:pt>
                <c:pt idx="12786">
                  <c:v>5.9119358251722085</c:v>
                </c:pt>
                <c:pt idx="12787">
                  <c:v>6.1012497036310167</c:v>
                </c:pt>
                <c:pt idx="12788">
                  <c:v>6.146766909442662</c:v>
                </c:pt>
                <c:pt idx="12789">
                  <c:v>6.0630490178036327</c:v>
                </c:pt>
                <c:pt idx="12790">
                  <c:v>4.8321730625174446</c:v>
                </c:pt>
                <c:pt idx="12791">
                  <c:v>5.9218735974627235</c:v>
                </c:pt>
                <c:pt idx="12792">
                  <c:v>6.035662566220509</c:v>
                </c:pt>
                <c:pt idx="12793">
                  <c:v>6.0701931659291288</c:v>
                </c:pt>
                <c:pt idx="12794">
                  <c:v>3.848765604355096</c:v>
                </c:pt>
                <c:pt idx="12795">
                  <c:v>5.9207605191169348</c:v>
                </c:pt>
                <c:pt idx="12796">
                  <c:v>6.0903474920863312</c:v>
                </c:pt>
                <c:pt idx="12797">
                  <c:v>6.1782833384995621</c:v>
                </c:pt>
                <c:pt idx="12798">
                  <c:v>5.0775831112698349</c:v>
                </c:pt>
                <c:pt idx="12799">
                  <c:v>5.9886771101556491</c:v>
                </c:pt>
                <c:pt idx="12800">
                  <c:v>5.916032756320317</c:v>
                </c:pt>
                <c:pt idx="12801">
                  <c:v>5.8196259924563334</c:v>
                </c:pt>
                <c:pt idx="12802">
                  <c:v>4.7336306456651451</c:v>
                </c:pt>
                <c:pt idx="12803">
                  <c:v>5.0150009191970115</c:v>
                </c:pt>
                <c:pt idx="12804">
                  <c:v>6.0037259452576155</c:v>
                </c:pt>
                <c:pt idx="12805">
                  <c:v>6.0717146864960831</c:v>
                </c:pt>
                <c:pt idx="12806">
                  <c:v>6.0640871174890272</c:v>
                </c:pt>
                <c:pt idx="12807">
                  <c:v>5.9009567681430317</c:v>
                </c:pt>
                <c:pt idx="12808">
                  <c:v>6.113474328964176</c:v>
                </c:pt>
                <c:pt idx="12809">
                  <c:v>6.059356482717166</c:v>
                </c:pt>
                <c:pt idx="12810">
                  <c:v>4.9597903788854865</c:v>
                </c:pt>
                <c:pt idx="12811">
                  <c:v>7.0542394100695045</c:v>
                </c:pt>
                <c:pt idx="12812">
                  <c:v>6.9756497565842999</c:v>
                </c:pt>
                <c:pt idx="12813">
                  <c:v>5.8943201843005522</c:v>
                </c:pt>
                <c:pt idx="12814">
                  <c:v>6.1130375196960536</c:v>
                </c:pt>
                <c:pt idx="12815">
                  <c:v>5.8301192130626962</c:v>
                </c:pt>
                <c:pt idx="12816">
                  <c:v>5.9299282410733625</c:v>
                </c:pt>
                <c:pt idx="12817">
                  <c:v>5.9794995681696186</c:v>
                </c:pt>
                <c:pt idx="12818">
                  <c:v>4.9672367098364951</c:v>
                </c:pt>
                <c:pt idx="12819">
                  <c:v>4.8402973953555462</c:v>
                </c:pt>
                <c:pt idx="12820">
                  <c:v>6.9010292665158914</c:v>
                </c:pt>
                <c:pt idx="12821">
                  <c:v>7.187252563607017</c:v>
                </c:pt>
                <c:pt idx="12822">
                  <c:v>5.1838625322080354</c:v>
                </c:pt>
                <c:pt idx="12823">
                  <c:v>6.0296363449029027</c:v>
                </c:pt>
                <c:pt idx="12824">
                  <c:v>5.8895804175791104</c:v>
                </c:pt>
                <c:pt idx="12825">
                  <c:v>5.0055953629993528</c:v>
                </c:pt>
                <c:pt idx="12826">
                  <c:v>5.8522117981517594</c:v>
                </c:pt>
                <c:pt idx="12827">
                  <c:v>5.9213297481881702</c:v>
                </c:pt>
                <c:pt idx="12828">
                  <c:v>6.0800845024673125</c:v>
                </c:pt>
                <c:pt idx="12829">
                  <c:v>6.1530754789016111</c:v>
                </c:pt>
                <c:pt idx="12830">
                  <c:v>5.046865502258763</c:v>
                </c:pt>
                <c:pt idx="12831">
                  <c:v>4.8927468318458276</c:v>
                </c:pt>
                <c:pt idx="12832">
                  <c:v>5.8841455651724832</c:v>
                </c:pt>
                <c:pt idx="12833">
                  <c:v>5.9683086855502818</c:v>
                </c:pt>
                <c:pt idx="12834">
                  <c:v>4.9225428274064198</c:v>
                </c:pt>
                <c:pt idx="12835">
                  <c:v>6.9230837221116914</c:v>
                </c:pt>
                <c:pt idx="12836">
                  <c:v>6.9118515492166424</c:v>
                </c:pt>
                <c:pt idx="12837">
                  <c:v>5.011453051649486</c:v>
                </c:pt>
                <c:pt idx="12838">
                  <c:v>7.1143028644922497</c:v>
                </c:pt>
                <c:pt idx="12839">
                  <c:v>6.9710229135618507</c:v>
                </c:pt>
                <c:pt idx="12840">
                  <c:v>4.9145861357720184</c:v>
                </c:pt>
                <c:pt idx="12841">
                  <c:v>6.9803493692950926</c:v>
                </c:pt>
                <c:pt idx="12842">
                  <c:v>6.01408302337442</c:v>
                </c:pt>
                <c:pt idx="12843">
                  <c:v>6.1322008216394108</c:v>
                </c:pt>
                <c:pt idx="12844">
                  <c:v>5.0164811130104665</c:v>
                </c:pt>
                <c:pt idx="12845">
                  <c:v>7.0918289421444243</c:v>
                </c:pt>
                <c:pt idx="12846">
                  <c:v>4.9251359714067542</c:v>
                </c:pt>
                <c:pt idx="12847">
                  <c:v>5.9532978929206184</c:v>
                </c:pt>
                <c:pt idx="12848">
                  <c:v>5.9414113048041859</c:v>
                </c:pt>
                <c:pt idx="12849">
                  <c:v>5.9484167694495724</c:v>
                </c:pt>
                <c:pt idx="12850">
                  <c:v>5.8812269870491312</c:v>
                </c:pt>
                <c:pt idx="12851">
                  <c:v>5.8974517102901443</c:v>
                </c:pt>
                <c:pt idx="12852">
                  <c:v>5.9542420186868519</c:v>
                </c:pt>
                <c:pt idx="12853">
                  <c:v>6.0903906432201191</c:v>
                </c:pt>
                <c:pt idx="12854">
                  <c:v>4.0399411286139335</c:v>
                </c:pt>
                <c:pt idx="12855">
                  <c:v>2.9281401492276387</c:v>
                </c:pt>
                <c:pt idx="12856">
                  <c:v>5.8592813485686577</c:v>
                </c:pt>
                <c:pt idx="12857">
                  <c:v>5.9005240259403093</c:v>
                </c:pt>
                <c:pt idx="12858">
                  <c:v>5.0703922372214425</c:v>
                </c:pt>
                <c:pt idx="12859">
                  <c:v>5.9943096239866165</c:v>
                </c:pt>
                <c:pt idx="12860">
                  <c:v>4.848654815405018</c:v>
                </c:pt>
                <c:pt idx="12861">
                  <c:v>6.0361903690146894</c:v>
                </c:pt>
                <c:pt idx="12862">
                  <c:v>5.0569591387576889</c:v>
                </c:pt>
                <c:pt idx="12863">
                  <c:v>4.9498250788375149</c:v>
                </c:pt>
                <c:pt idx="12864">
                  <c:v>4.9537318561505641</c:v>
                </c:pt>
                <c:pt idx="12865">
                  <c:v>5.0885224554238899</c:v>
                </c:pt>
                <c:pt idx="12866">
                  <c:v>5.0121411079236875</c:v>
                </c:pt>
                <c:pt idx="12867">
                  <c:v>6.0287986045493147</c:v>
                </c:pt>
                <c:pt idx="12868">
                  <c:v>7.0615967741493613</c:v>
                </c:pt>
                <c:pt idx="12869">
                  <c:v>4.9523468243485915</c:v>
                </c:pt>
                <c:pt idx="12870">
                  <c:v>6.202174912958017</c:v>
                </c:pt>
                <c:pt idx="12871">
                  <c:v>5.9388729886422551</c:v>
                </c:pt>
                <c:pt idx="12872">
                  <c:v>5.8772094684034402</c:v>
                </c:pt>
                <c:pt idx="12873">
                  <c:v>5.0070822397337116</c:v>
                </c:pt>
                <c:pt idx="12874">
                  <c:v>5.0220208344001946</c:v>
                </c:pt>
                <c:pt idx="12875">
                  <c:v>5.0255280873532362</c:v>
                </c:pt>
                <c:pt idx="12876">
                  <c:v>5.9230622201616203</c:v>
                </c:pt>
                <c:pt idx="12877">
                  <c:v>5.0140521183150932</c:v>
                </c:pt>
                <c:pt idx="12878">
                  <c:v>5.9078344069212783</c:v>
                </c:pt>
                <c:pt idx="12879">
                  <c:v>5.869655159500315</c:v>
                </c:pt>
                <c:pt idx="12880">
                  <c:v>6.117287688056753</c:v>
                </c:pt>
                <c:pt idx="12881">
                  <c:v>9.0449240105679909</c:v>
                </c:pt>
                <c:pt idx="12882">
                  <c:v>6.0431729281061033</c:v>
                </c:pt>
                <c:pt idx="12883">
                  <c:v>3.9935901267655614</c:v>
                </c:pt>
                <c:pt idx="12884">
                  <c:v>5.7882856494349086</c:v>
                </c:pt>
                <c:pt idx="12885">
                  <c:v>7.1275211836454071</c:v>
                </c:pt>
                <c:pt idx="12886">
                  <c:v>7.0455750898627967</c:v>
                </c:pt>
                <c:pt idx="12887">
                  <c:v>5.9125098944978145</c:v>
                </c:pt>
                <c:pt idx="12888">
                  <c:v>5.8327997293939102</c:v>
                </c:pt>
                <c:pt idx="12889">
                  <c:v>4.8362247594034518</c:v>
                </c:pt>
                <c:pt idx="12890">
                  <c:v>7.0482565947881657</c:v>
                </c:pt>
                <c:pt idx="12891">
                  <c:v>6.0185297245985732</c:v>
                </c:pt>
                <c:pt idx="12892">
                  <c:v>4.9697718256937815</c:v>
                </c:pt>
                <c:pt idx="12893">
                  <c:v>5.924633671233682</c:v>
                </c:pt>
                <c:pt idx="12894">
                  <c:v>4.9982759934781011</c:v>
                </c:pt>
                <c:pt idx="12895">
                  <c:v>6.8496627549674853</c:v>
                </c:pt>
                <c:pt idx="12896">
                  <c:v>6.020840344412818</c:v>
                </c:pt>
                <c:pt idx="12897">
                  <c:v>6.0048891489217668</c:v>
                </c:pt>
                <c:pt idx="12898">
                  <c:v>5.8656442944021183</c:v>
                </c:pt>
                <c:pt idx="12899">
                  <c:v>6.169584686257358</c:v>
                </c:pt>
                <c:pt idx="12900">
                  <c:v>6.9834741262756133</c:v>
                </c:pt>
                <c:pt idx="12901">
                  <c:v>5.8570814867493066</c:v>
                </c:pt>
                <c:pt idx="12902">
                  <c:v>7.1567651859778261</c:v>
                </c:pt>
                <c:pt idx="12903">
                  <c:v>5.8355165490004328</c:v>
                </c:pt>
                <c:pt idx="12904">
                  <c:v>5.0584735644717336</c:v>
                </c:pt>
                <c:pt idx="12905">
                  <c:v>5.9972088128806931</c:v>
                </c:pt>
                <c:pt idx="12906">
                  <c:v>5.9737813719367576</c:v>
                </c:pt>
                <c:pt idx="12907">
                  <c:v>6.07639760007046</c:v>
                </c:pt>
                <c:pt idx="12908">
                  <c:v>6.024970998391491</c:v>
                </c:pt>
                <c:pt idx="12909">
                  <c:v>6.0519281752899268</c:v>
                </c:pt>
                <c:pt idx="12910">
                  <c:v>9.1281917455379293</c:v>
                </c:pt>
                <c:pt idx="12911">
                  <c:v>5.9099024977769039</c:v>
                </c:pt>
                <c:pt idx="12912">
                  <c:v>5.9806966056732351</c:v>
                </c:pt>
                <c:pt idx="12913">
                  <c:v>6.953299529223214</c:v>
                </c:pt>
                <c:pt idx="12914">
                  <c:v>4.9014291046749792</c:v>
                </c:pt>
                <c:pt idx="12915">
                  <c:v>6.9193499529556002</c:v>
                </c:pt>
                <c:pt idx="12916">
                  <c:v>3.906069628371001</c:v>
                </c:pt>
                <c:pt idx="12917">
                  <c:v>6.0784591530381773</c:v>
                </c:pt>
                <c:pt idx="12918">
                  <c:v>6.0837880070051771</c:v>
                </c:pt>
                <c:pt idx="12919">
                  <c:v>4.1652740031689621</c:v>
                </c:pt>
                <c:pt idx="12920">
                  <c:v>5.9541304270465556</c:v>
                </c:pt>
                <c:pt idx="12921">
                  <c:v>6.9595987621587616</c:v>
                </c:pt>
                <c:pt idx="12922">
                  <c:v>5.9890735066229954</c:v>
                </c:pt>
                <c:pt idx="12923">
                  <c:v>6.048981761237842</c:v>
                </c:pt>
                <c:pt idx="12924">
                  <c:v>6.1607698157626123</c:v>
                </c:pt>
                <c:pt idx="12925">
                  <c:v>6.9399283065298212</c:v>
                </c:pt>
                <c:pt idx="12926">
                  <c:v>7.0185448643518589</c:v>
                </c:pt>
                <c:pt idx="12927">
                  <c:v>6.0300636961778862</c:v>
                </c:pt>
                <c:pt idx="12928">
                  <c:v>7.8899505866676813</c:v>
                </c:pt>
                <c:pt idx="12929">
                  <c:v>4.2873586785438365</c:v>
                </c:pt>
                <c:pt idx="12930">
                  <c:v>4.065252983590228</c:v>
                </c:pt>
                <c:pt idx="12931">
                  <c:v>3.9368257098590198</c:v>
                </c:pt>
                <c:pt idx="12932">
                  <c:v>6.1627363326608551</c:v>
                </c:pt>
                <c:pt idx="12933">
                  <c:v>3.9721912786418181</c:v>
                </c:pt>
                <c:pt idx="12934">
                  <c:v>6.9655497501138912</c:v>
                </c:pt>
                <c:pt idx="12935">
                  <c:v>7.0754733171881528</c:v>
                </c:pt>
                <c:pt idx="12936">
                  <c:v>6.9442828129696146</c:v>
                </c:pt>
                <c:pt idx="12937">
                  <c:v>4.1307914303332467</c:v>
                </c:pt>
                <c:pt idx="12938">
                  <c:v>3.8769352766369987</c:v>
                </c:pt>
                <c:pt idx="12939">
                  <c:v>5.9160122312229797</c:v>
                </c:pt>
                <c:pt idx="12940">
                  <c:v>5.9684764299769837</c:v>
                </c:pt>
                <c:pt idx="12941">
                  <c:v>6.2418958711224874</c:v>
                </c:pt>
                <c:pt idx="12942">
                  <c:v>7.0363719865584304</c:v>
                </c:pt>
                <c:pt idx="12943">
                  <c:v>4.8728133585746898</c:v>
                </c:pt>
                <c:pt idx="12944">
                  <c:v>5.9983861347653802</c:v>
                </c:pt>
                <c:pt idx="12945">
                  <c:v>6.8327938134362585</c:v>
                </c:pt>
                <c:pt idx="12946">
                  <c:v>2.0604309912966232</c:v>
                </c:pt>
                <c:pt idx="12947">
                  <c:v>5.9846071204397076</c:v>
                </c:pt>
                <c:pt idx="12948">
                  <c:v>4.871791124196009</c:v>
                </c:pt>
                <c:pt idx="12949">
                  <c:v>7.0529706404731876</c:v>
                </c:pt>
                <c:pt idx="12950">
                  <c:v>4.9575750999648243</c:v>
                </c:pt>
                <c:pt idx="12951">
                  <c:v>6.8713571806149067</c:v>
                </c:pt>
                <c:pt idx="12952">
                  <c:v>4.9039528379740984</c:v>
                </c:pt>
                <c:pt idx="12953">
                  <c:v>5.9690903463969223</c:v>
                </c:pt>
                <c:pt idx="12954">
                  <c:v>6.0168537813891332</c:v>
                </c:pt>
                <c:pt idx="12955">
                  <c:v>5.155317282117899</c:v>
                </c:pt>
                <c:pt idx="12956">
                  <c:v>4.9674628114884403</c:v>
                </c:pt>
                <c:pt idx="12957">
                  <c:v>5.938870155672606</c:v>
                </c:pt>
                <c:pt idx="12958">
                  <c:v>6.112416801626793</c:v>
                </c:pt>
                <c:pt idx="12959">
                  <c:v>4.932060235210753</c:v>
                </c:pt>
                <c:pt idx="12960">
                  <c:v>5.9749051794587</c:v>
                </c:pt>
                <c:pt idx="12961">
                  <c:v>5.1197759576353947</c:v>
                </c:pt>
                <c:pt idx="12962">
                  <c:v>6.0848947055077138</c:v>
                </c:pt>
                <c:pt idx="12963">
                  <c:v>7.1480641456314853</c:v>
                </c:pt>
                <c:pt idx="12964">
                  <c:v>5.0084232931765706</c:v>
                </c:pt>
                <c:pt idx="12965">
                  <c:v>5.9531802356159442</c:v>
                </c:pt>
                <c:pt idx="12966">
                  <c:v>4.9026826210676244</c:v>
                </c:pt>
                <c:pt idx="12967">
                  <c:v>4.8775003674406792</c:v>
                </c:pt>
                <c:pt idx="12968">
                  <c:v>4.8914703400706658</c:v>
                </c:pt>
                <c:pt idx="12969">
                  <c:v>5.8352450960807056</c:v>
                </c:pt>
                <c:pt idx="12970">
                  <c:v>4.8569313905935472</c:v>
                </c:pt>
                <c:pt idx="12971">
                  <c:v>6.8667943129736058</c:v>
                </c:pt>
                <c:pt idx="12972">
                  <c:v>5.7745955707604768</c:v>
                </c:pt>
                <c:pt idx="12973">
                  <c:v>6.1451751837600934</c:v>
                </c:pt>
                <c:pt idx="12974">
                  <c:v>4.9098740438195341</c:v>
                </c:pt>
                <c:pt idx="12975">
                  <c:v>3.0422621697778602</c:v>
                </c:pt>
                <c:pt idx="12976">
                  <c:v>6.035026644441893</c:v>
                </c:pt>
                <c:pt idx="12977">
                  <c:v>6.2475244359270503</c:v>
                </c:pt>
                <c:pt idx="12978">
                  <c:v>3.9391700489101233</c:v>
                </c:pt>
                <c:pt idx="12979">
                  <c:v>5.9169982514809227</c:v>
                </c:pt>
                <c:pt idx="12980">
                  <c:v>5.0041016928918722</c:v>
                </c:pt>
                <c:pt idx="12981">
                  <c:v>6.0887817035994996</c:v>
                </c:pt>
                <c:pt idx="12982">
                  <c:v>4.0656279740641192</c:v>
                </c:pt>
                <c:pt idx="12983">
                  <c:v>6.0434743878365538</c:v>
                </c:pt>
                <c:pt idx="12984">
                  <c:v>3.9141584293681775</c:v>
                </c:pt>
                <c:pt idx="12985">
                  <c:v>6.0913195486303371</c:v>
                </c:pt>
                <c:pt idx="12986">
                  <c:v>5.0464105285868373</c:v>
                </c:pt>
                <c:pt idx="12987">
                  <c:v>4.8756253165323171</c:v>
                </c:pt>
                <c:pt idx="12988">
                  <c:v>5.0111739994273305</c:v>
                </c:pt>
                <c:pt idx="12989">
                  <c:v>4.9883825313343229</c:v>
                </c:pt>
                <c:pt idx="12990">
                  <c:v>4.9849135260101347</c:v>
                </c:pt>
                <c:pt idx="12991">
                  <c:v>5.904504475267963</c:v>
                </c:pt>
                <c:pt idx="12992">
                  <c:v>4.817727909677445</c:v>
                </c:pt>
                <c:pt idx="12993">
                  <c:v>4.0694466899976449</c:v>
                </c:pt>
                <c:pt idx="12994">
                  <c:v>5.2487266069455547</c:v>
                </c:pt>
                <c:pt idx="12995">
                  <c:v>5.9067674445390042</c:v>
                </c:pt>
                <c:pt idx="12996">
                  <c:v>5.8797901067857365</c:v>
                </c:pt>
                <c:pt idx="12997">
                  <c:v>6.9235097227302438</c:v>
                </c:pt>
                <c:pt idx="12998">
                  <c:v>6.9563374959010575</c:v>
                </c:pt>
                <c:pt idx="12999">
                  <c:v>3.1337168436135756</c:v>
                </c:pt>
                <c:pt idx="13000">
                  <c:v>4.2744983259940392</c:v>
                </c:pt>
                <c:pt idx="13001">
                  <c:v>6.9613608845628612</c:v>
                </c:pt>
                <c:pt idx="13002">
                  <c:v>3.9727720120926984</c:v>
                </c:pt>
                <c:pt idx="13003">
                  <c:v>2.9999366087733077</c:v>
                </c:pt>
                <c:pt idx="13004">
                  <c:v>6.1616665215075042</c:v>
                </c:pt>
                <c:pt idx="13005">
                  <c:v>5.0133699362281199</c:v>
                </c:pt>
                <c:pt idx="13006">
                  <c:v>6.0060055172056135</c:v>
                </c:pt>
                <c:pt idx="13007">
                  <c:v>5.9110886086289449</c:v>
                </c:pt>
                <c:pt idx="13008">
                  <c:v>7.1240769936327784</c:v>
                </c:pt>
                <c:pt idx="13009">
                  <c:v>7.0338911636757953</c:v>
                </c:pt>
                <c:pt idx="13010">
                  <c:v>5.9151217530753843</c:v>
                </c:pt>
                <c:pt idx="13011">
                  <c:v>6.9114050632545467</c:v>
                </c:pt>
                <c:pt idx="13012">
                  <c:v>5.0776697392168568</c:v>
                </c:pt>
                <c:pt idx="13013">
                  <c:v>5.954949220048487</c:v>
                </c:pt>
                <c:pt idx="13014">
                  <c:v>5.8838756240795638</c:v>
                </c:pt>
                <c:pt idx="13015">
                  <c:v>5.0233410703068042</c:v>
                </c:pt>
                <c:pt idx="13016">
                  <c:v>7.9305516023115121</c:v>
                </c:pt>
                <c:pt idx="13017">
                  <c:v>5.0346771964621535</c:v>
                </c:pt>
                <c:pt idx="13018">
                  <c:v>6.1397204856747392</c:v>
                </c:pt>
                <c:pt idx="13019">
                  <c:v>7.1035798748719383</c:v>
                </c:pt>
                <c:pt idx="13020">
                  <c:v>5.9987052763483595</c:v>
                </c:pt>
                <c:pt idx="13021">
                  <c:v>7.0356393132613197</c:v>
                </c:pt>
                <c:pt idx="13022">
                  <c:v>2.9877402415856777</c:v>
                </c:pt>
                <c:pt idx="13023">
                  <c:v>2.9927817229751934</c:v>
                </c:pt>
                <c:pt idx="13024">
                  <c:v>6.0678893115153612</c:v>
                </c:pt>
                <c:pt idx="13025">
                  <c:v>3.0311397522508257</c:v>
                </c:pt>
                <c:pt idx="13026">
                  <c:v>5.0526035713069763</c:v>
                </c:pt>
                <c:pt idx="13027">
                  <c:v>5.0592100019276334</c:v>
                </c:pt>
                <c:pt idx="13028">
                  <c:v>6.0521412545019437</c:v>
                </c:pt>
                <c:pt idx="13029">
                  <c:v>7.0359304813654333</c:v>
                </c:pt>
                <c:pt idx="13030">
                  <c:v>4.8637341774992606</c:v>
                </c:pt>
                <c:pt idx="13031">
                  <c:v>7.0173994333300627</c:v>
                </c:pt>
                <c:pt idx="13032">
                  <c:v>3.0058190361483166</c:v>
                </c:pt>
                <c:pt idx="13033">
                  <c:v>4.9257655810675098</c:v>
                </c:pt>
                <c:pt idx="13034">
                  <c:v>6.0427861907019995</c:v>
                </c:pt>
                <c:pt idx="13035">
                  <c:v>6.9478215303365358</c:v>
                </c:pt>
                <c:pt idx="13036">
                  <c:v>5.1848036842148844</c:v>
                </c:pt>
                <c:pt idx="13037">
                  <c:v>2.0297000293494101</c:v>
                </c:pt>
                <c:pt idx="13038">
                  <c:v>4.9698589347474158</c:v>
                </c:pt>
                <c:pt idx="13039">
                  <c:v>6.0272936135539048</c:v>
                </c:pt>
                <c:pt idx="13040">
                  <c:v>8.02833359353113</c:v>
                </c:pt>
                <c:pt idx="13041">
                  <c:v>8.0289330266707637</c:v>
                </c:pt>
                <c:pt idx="13042">
                  <c:v>8.096038379773308</c:v>
                </c:pt>
                <c:pt idx="13043">
                  <c:v>8.0226374381105572</c:v>
                </c:pt>
                <c:pt idx="13044">
                  <c:v>7.9791864977780858</c:v>
                </c:pt>
                <c:pt idx="13045">
                  <c:v>5.9720061969252702</c:v>
                </c:pt>
                <c:pt idx="13046">
                  <c:v>6.0786666265607812</c:v>
                </c:pt>
                <c:pt idx="13047">
                  <c:v>5.9519201935610866</c:v>
                </c:pt>
                <c:pt idx="13048">
                  <c:v>5.9159762710620978</c:v>
                </c:pt>
                <c:pt idx="13049">
                  <c:v>7.115247403510315</c:v>
                </c:pt>
                <c:pt idx="13050">
                  <c:v>6.8952952268375061</c:v>
                </c:pt>
                <c:pt idx="13051">
                  <c:v>7.0222937623964867</c:v>
                </c:pt>
                <c:pt idx="13052">
                  <c:v>6.1639082769587787</c:v>
                </c:pt>
                <c:pt idx="13053">
                  <c:v>6.8913050406479277</c:v>
                </c:pt>
                <c:pt idx="13054">
                  <c:v>7.02197325591123</c:v>
                </c:pt>
                <c:pt idx="13055">
                  <c:v>3.9967825833492965</c:v>
                </c:pt>
                <c:pt idx="13056">
                  <c:v>5.0175739963299746</c:v>
                </c:pt>
                <c:pt idx="13057">
                  <c:v>3.8771865793336775</c:v>
                </c:pt>
                <c:pt idx="13058">
                  <c:v>5.9559768048808763</c:v>
                </c:pt>
                <c:pt idx="13059">
                  <c:v>5.9036136368231276</c:v>
                </c:pt>
                <c:pt idx="13060">
                  <c:v>7.0531412311597075</c:v>
                </c:pt>
                <c:pt idx="13061">
                  <c:v>6.8906431080914992</c:v>
                </c:pt>
                <c:pt idx="13062">
                  <c:v>5.9738345966711464</c:v>
                </c:pt>
                <c:pt idx="13063">
                  <c:v>4.9417148419643429</c:v>
                </c:pt>
                <c:pt idx="13064">
                  <c:v>7.077049533041758</c:v>
                </c:pt>
                <c:pt idx="13065">
                  <c:v>3.9639264590526837</c:v>
                </c:pt>
                <c:pt idx="13066">
                  <c:v>6.9211564355071209</c:v>
                </c:pt>
                <c:pt idx="13067">
                  <c:v>4.9732353419603044</c:v>
                </c:pt>
                <c:pt idx="13068">
                  <c:v>5.0025083250848965</c:v>
                </c:pt>
                <c:pt idx="13069">
                  <c:v>7.0969143951824121</c:v>
                </c:pt>
                <c:pt idx="13070">
                  <c:v>4.8692088612812876</c:v>
                </c:pt>
                <c:pt idx="13071">
                  <c:v>5.1043530288091565</c:v>
                </c:pt>
                <c:pt idx="13072">
                  <c:v>5.0276593994277974</c:v>
                </c:pt>
                <c:pt idx="13073">
                  <c:v>6.9371997964985752</c:v>
                </c:pt>
                <c:pt idx="13074">
                  <c:v>4.9676769299709163</c:v>
                </c:pt>
                <c:pt idx="13075">
                  <c:v>7.0383912737638612</c:v>
                </c:pt>
                <c:pt idx="13076">
                  <c:v>7.0059404557840601</c:v>
                </c:pt>
                <c:pt idx="13077">
                  <c:v>3.9667851694152656</c:v>
                </c:pt>
                <c:pt idx="13078">
                  <c:v>7.9598965873155487</c:v>
                </c:pt>
                <c:pt idx="13079">
                  <c:v>6.9151993678374861</c:v>
                </c:pt>
                <c:pt idx="13080">
                  <c:v>4.0978510674826119</c:v>
                </c:pt>
              </c:numCache>
            </c:numRef>
          </c:yVal>
          <c:smooth val="0"/>
          <c:extLst>
            <c:ext xmlns:c16="http://schemas.microsoft.com/office/drawing/2014/chart" uri="{C3380CC4-5D6E-409C-BE32-E72D297353CC}">
              <c16:uniqueId val="{00000000-CB98-46CC-B7E4-0466270B0873}"/>
            </c:ext>
          </c:extLst>
        </c:ser>
        <c:ser>
          <c:idx val="1"/>
          <c:order val="1"/>
          <c:tx>
            <c:strRef>
              <c:f>'power_generator-2024-09-23T (2)'!$W$1</c:f>
              <c:strCache>
                <c:ptCount val="1"/>
                <c:pt idx="0">
                  <c:v>Hydro</c:v>
                </c:pt>
              </c:strCache>
            </c:strRef>
          </c:tx>
          <c:spPr>
            <a:ln w="38100" cap="rnd">
              <a:noFill/>
              <a:round/>
            </a:ln>
            <a:effectLst/>
          </c:spPr>
          <c:marker>
            <c:symbol val="square"/>
            <c:size val="5"/>
            <c:spPr>
              <a:solidFill>
                <a:srgbClr val="3A92F9">
                  <a:alpha val="25000"/>
                </a:srgbClr>
              </a:solidFill>
              <a:ln w="12700">
                <a:solidFill>
                  <a:srgbClr val="3A92F9"/>
                </a:solidFill>
              </a:ln>
              <a:effectLst/>
            </c:spPr>
          </c:marker>
          <c:xVal>
            <c:numRef>
              <c:f>'power_generator-2024-09-23T (2)'!$W$2:$W$13082</c:f>
              <c:numCache>
                <c:formatCode>0.00</c:formatCode>
                <c:ptCount val="13081"/>
                <c:pt idx="0">
                  <c:v>#N/A</c:v>
                </c:pt>
                <c:pt idx="1">
                  <c:v>#N/A</c:v>
                </c:pt>
                <c:pt idx="2">
                  <c:v>#N/A</c:v>
                </c:pt>
                <c:pt idx="3">
                  <c:v>#N/A</c:v>
                </c:pt>
                <c:pt idx="4">
                  <c:v>#N/A</c:v>
                </c:pt>
                <c:pt idx="5">
                  <c:v>#N/A</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pt idx="34">
                  <c:v>#N/A</c:v>
                </c:pt>
                <c:pt idx="35">
                  <c:v>#N/A</c:v>
                </c:pt>
                <c:pt idx="36">
                  <c:v>#N/A</c:v>
                </c:pt>
                <c:pt idx="37">
                  <c:v>#N/A</c:v>
                </c:pt>
                <c:pt idx="38">
                  <c:v>#N/A</c:v>
                </c:pt>
                <c:pt idx="39">
                  <c:v>#N/A</c:v>
                </c:pt>
                <c:pt idx="40">
                  <c:v>#N/A</c:v>
                </c:pt>
                <c:pt idx="41">
                  <c:v>#N/A</c:v>
                </c:pt>
                <c:pt idx="42">
                  <c:v>#N/A</c:v>
                </c:pt>
                <c:pt idx="43">
                  <c:v>#N/A</c:v>
                </c:pt>
                <c:pt idx="44">
                  <c:v>#N/A</c:v>
                </c:pt>
                <c:pt idx="45">
                  <c:v>#N/A</c:v>
                </c:pt>
                <c:pt idx="46">
                  <c:v>#N/A</c:v>
                </c:pt>
                <c:pt idx="47">
                  <c:v>#N/A</c:v>
                </c:pt>
                <c:pt idx="48">
                  <c:v>#N/A</c:v>
                </c:pt>
                <c:pt idx="49">
                  <c:v>#N/A</c:v>
                </c:pt>
                <c:pt idx="50">
                  <c:v>#N/A</c:v>
                </c:pt>
                <c:pt idx="51">
                  <c:v>#N/A</c:v>
                </c:pt>
                <c:pt idx="52">
                  <c:v>#N/A</c:v>
                </c:pt>
                <c:pt idx="53">
                  <c:v>#N/A</c:v>
                </c:pt>
                <c:pt idx="54">
                  <c:v>#N/A</c:v>
                </c:pt>
                <c:pt idx="55">
                  <c:v>#N/A</c:v>
                </c:pt>
                <c:pt idx="56">
                  <c:v>#N/A</c:v>
                </c:pt>
                <c:pt idx="57">
                  <c:v>#N/A</c:v>
                </c:pt>
                <c:pt idx="58">
                  <c:v>#N/A</c:v>
                </c:pt>
                <c:pt idx="59">
                  <c:v>#N/A</c:v>
                </c:pt>
                <c:pt idx="60">
                  <c:v>#N/A</c:v>
                </c:pt>
                <c:pt idx="61">
                  <c:v>#N/A</c:v>
                </c:pt>
                <c:pt idx="62">
                  <c:v>#N/A</c:v>
                </c:pt>
                <c:pt idx="63">
                  <c:v>#N/A</c:v>
                </c:pt>
                <c:pt idx="64">
                  <c:v>#N/A</c:v>
                </c:pt>
                <c:pt idx="65">
                  <c:v>#N/A</c:v>
                </c:pt>
                <c:pt idx="66">
                  <c:v>#N/A</c:v>
                </c:pt>
                <c:pt idx="67">
                  <c:v>#N/A</c:v>
                </c:pt>
                <c:pt idx="68">
                  <c:v>#N/A</c:v>
                </c:pt>
                <c:pt idx="69">
                  <c:v>#N/A</c:v>
                </c:pt>
                <c:pt idx="70">
                  <c:v>#N/A</c:v>
                </c:pt>
                <c:pt idx="71">
                  <c:v>#N/A</c:v>
                </c:pt>
                <c:pt idx="72">
                  <c:v>#N/A</c:v>
                </c:pt>
                <c:pt idx="73">
                  <c:v>#N/A</c:v>
                </c:pt>
                <c:pt idx="74">
                  <c:v>#N/A</c:v>
                </c:pt>
                <c:pt idx="75">
                  <c:v>#N/A</c:v>
                </c:pt>
                <c:pt idx="76">
                  <c:v>#N/A</c:v>
                </c:pt>
                <c:pt idx="77">
                  <c:v>#N/A</c:v>
                </c:pt>
                <c:pt idx="78">
                  <c:v>#N/A</c:v>
                </c:pt>
                <c:pt idx="79">
                  <c:v>#N/A</c:v>
                </c:pt>
                <c:pt idx="80">
                  <c:v>#N/A</c:v>
                </c:pt>
                <c:pt idx="81">
                  <c:v>#N/A</c:v>
                </c:pt>
                <c:pt idx="82">
                  <c:v>#N/A</c:v>
                </c:pt>
                <c:pt idx="83">
                  <c:v>#N/A</c:v>
                </c:pt>
                <c:pt idx="84">
                  <c:v>#N/A</c:v>
                </c:pt>
                <c:pt idx="85">
                  <c:v>#N/A</c:v>
                </c:pt>
                <c:pt idx="86">
                  <c:v>#N/A</c:v>
                </c:pt>
                <c:pt idx="87">
                  <c:v>#N/A</c:v>
                </c:pt>
                <c:pt idx="88">
                  <c:v>#N/A</c:v>
                </c:pt>
                <c:pt idx="89">
                  <c:v>#N/A</c:v>
                </c:pt>
                <c:pt idx="90">
                  <c:v>#N/A</c:v>
                </c:pt>
                <c:pt idx="91">
                  <c:v>#N/A</c:v>
                </c:pt>
                <c:pt idx="92">
                  <c:v>#N/A</c:v>
                </c:pt>
                <c:pt idx="93">
                  <c:v>#N/A</c:v>
                </c:pt>
                <c:pt idx="94">
                  <c:v>#N/A</c:v>
                </c:pt>
                <c:pt idx="95">
                  <c:v>#N/A</c:v>
                </c:pt>
                <c:pt idx="96">
                  <c:v>#N/A</c:v>
                </c:pt>
                <c:pt idx="97">
                  <c:v>#N/A</c:v>
                </c:pt>
                <c:pt idx="98">
                  <c:v>#N/A</c:v>
                </c:pt>
                <c:pt idx="99">
                  <c:v>#N/A</c:v>
                </c:pt>
                <c:pt idx="100">
                  <c:v>#N/A</c:v>
                </c:pt>
                <c:pt idx="101">
                  <c:v>#N/A</c:v>
                </c:pt>
                <c:pt idx="102">
                  <c:v>#N/A</c:v>
                </c:pt>
                <c:pt idx="103">
                  <c:v>#N/A</c:v>
                </c:pt>
                <c:pt idx="104">
                  <c:v>#N/A</c:v>
                </c:pt>
                <c:pt idx="105">
                  <c:v>#N/A</c:v>
                </c:pt>
                <c:pt idx="106">
                  <c:v>#N/A</c:v>
                </c:pt>
                <c:pt idx="107">
                  <c:v>#N/A</c:v>
                </c:pt>
                <c:pt idx="108">
                  <c:v>#N/A</c:v>
                </c:pt>
                <c:pt idx="109">
                  <c:v>#N/A</c:v>
                </c:pt>
                <c:pt idx="110">
                  <c:v>#N/A</c:v>
                </c:pt>
                <c:pt idx="111">
                  <c:v>#N/A</c:v>
                </c:pt>
                <c:pt idx="112">
                  <c:v>#N/A</c:v>
                </c:pt>
                <c:pt idx="113">
                  <c:v>#N/A</c:v>
                </c:pt>
                <c:pt idx="114">
                  <c:v>#N/A</c:v>
                </c:pt>
                <c:pt idx="115">
                  <c:v>#N/A</c:v>
                </c:pt>
                <c:pt idx="116">
                  <c:v>#N/A</c:v>
                </c:pt>
                <c:pt idx="117">
                  <c:v>#N/A</c:v>
                </c:pt>
                <c:pt idx="118">
                  <c:v>#N/A</c:v>
                </c:pt>
                <c:pt idx="119">
                  <c:v>#N/A</c:v>
                </c:pt>
                <c:pt idx="120">
                  <c:v>#N/A</c:v>
                </c:pt>
                <c:pt idx="121">
                  <c:v>#N/A</c:v>
                </c:pt>
                <c:pt idx="122">
                  <c:v>#N/A</c:v>
                </c:pt>
                <c:pt idx="123">
                  <c:v>#N/A</c:v>
                </c:pt>
                <c:pt idx="124">
                  <c:v>#N/A</c:v>
                </c:pt>
                <c:pt idx="125">
                  <c:v>#N/A</c:v>
                </c:pt>
                <c:pt idx="126">
                  <c:v>#N/A</c:v>
                </c:pt>
                <c:pt idx="127">
                  <c:v>#N/A</c:v>
                </c:pt>
                <c:pt idx="128">
                  <c:v>#N/A</c:v>
                </c:pt>
                <c:pt idx="129">
                  <c:v>#N/A</c:v>
                </c:pt>
                <c:pt idx="130">
                  <c:v>#N/A</c:v>
                </c:pt>
                <c:pt idx="131">
                  <c:v>#N/A</c:v>
                </c:pt>
                <c:pt idx="132">
                  <c:v>#N/A</c:v>
                </c:pt>
                <c:pt idx="133">
                  <c:v>#N/A</c:v>
                </c:pt>
                <c:pt idx="134">
                  <c:v>#N/A</c:v>
                </c:pt>
                <c:pt idx="135">
                  <c:v>#N/A</c:v>
                </c:pt>
                <c:pt idx="136">
                  <c:v>#N/A</c:v>
                </c:pt>
                <c:pt idx="137">
                  <c:v>#N/A</c:v>
                </c:pt>
                <c:pt idx="138">
                  <c:v>#N/A</c:v>
                </c:pt>
                <c:pt idx="139">
                  <c:v>#N/A</c:v>
                </c:pt>
                <c:pt idx="140">
                  <c:v>#N/A</c:v>
                </c:pt>
                <c:pt idx="141">
                  <c:v>#N/A</c:v>
                </c:pt>
                <c:pt idx="142">
                  <c:v>#N/A</c:v>
                </c:pt>
                <c:pt idx="143">
                  <c:v>#N/A</c:v>
                </c:pt>
                <c:pt idx="144">
                  <c:v>#N/A</c:v>
                </c:pt>
                <c:pt idx="145">
                  <c:v>#N/A</c:v>
                </c:pt>
                <c:pt idx="146">
                  <c:v>#N/A</c:v>
                </c:pt>
                <c:pt idx="147">
                  <c:v>#N/A</c:v>
                </c:pt>
                <c:pt idx="148">
                  <c:v>#N/A</c:v>
                </c:pt>
                <c:pt idx="149">
                  <c:v>#N/A</c:v>
                </c:pt>
                <c:pt idx="150">
                  <c:v>#N/A</c:v>
                </c:pt>
                <c:pt idx="151">
                  <c:v>#N/A</c:v>
                </c:pt>
                <c:pt idx="152">
                  <c:v>#N/A</c:v>
                </c:pt>
                <c:pt idx="153">
                  <c:v>#N/A</c:v>
                </c:pt>
                <c:pt idx="154">
                  <c:v>#N/A</c:v>
                </c:pt>
                <c:pt idx="155">
                  <c:v>#N/A</c:v>
                </c:pt>
                <c:pt idx="156">
                  <c:v>#N/A</c:v>
                </c:pt>
                <c:pt idx="157">
                  <c:v>#N/A</c:v>
                </c:pt>
                <c:pt idx="158">
                  <c:v>#N/A</c:v>
                </c:pt>
                <c:pt idx="159">
                  <c:v>#N/A</c:v>
                </c:pt>
                <c:pt idx="160">
                  <c:v>#N/A</c:v>
                </c:pt>
                <c:pt idx="161">
                  <c:v>#N/A</c:v>
                </c:pt>
                <c:pt idx="162">
                  <c:v>#N/A</c:v>
                </c:pt>
                <c:pt idx="163">
                  <c:v>#N/A</c:v>
                </c:pt>
                <c:pt idx="164">
                  <c:v>#N/A</c:v>
                </c:pt>
                <c:pt idx="165">
                  <c:v>#N/A</c:v>
                </c:pt>
                <c:pt idx="166">
                  <c:v>#N/A</c:v>
                </c:pt>
                <c:pt idx="167">
                  <c:v>#N/A</c:v>
                </c:pt>
                <c:pt idx="168">
                  <c:v>#N/A</c:v>
                </c:pt>
                <c:pt idx="169">
                  <c:v>#N/A</c:v>
                </c:pt>
                <c:pt idx="170">
                  <c:v>#N/A</c:v>
                </c:pt>
                <c:pt idx="171">
                  <c:v>#N/A</c:v>
                </c:pt>
                <c:pt idx="172">
                  <c:v>#N/A</c:v>
                </c:pt>
                <c:pt idx="173">
                  <c:v>#N/A</c:v>
                </c:pt>
                <c:pt idx="174">
                  <c:v>#N/A</c:v>
                </c:pt>
                <c:pt idx="175">
                  <c:v>#N/A</c:v>
                </c:pt>
                <c:pt idx="176">
                  <c:v>#N/A</c:v>
                </c:pt>
                <c:pt idx="177">
                  <c:v>#N/A</c:v>
                </c:pt>
                <c:pt idx="178">
                  <c:v>#N/A</c:v>
                </c:pt>
                <c:pt idx="179">
                  <c:v>#N/A</c:v>
                </c:pt>
                <c:pt idx="180">
                  <c:v>#N/A</c:v>
                </c:pt>
                <c:pt idx="181">
                  <c:v>#N/A</c:v>
                </c:pt>
                <c:pt idx="182">
                  <c:v>#N/A</c:v>
                </c:pt>
                <c:pt idx="183">
                  <c:v>#N/A</c:v>
                </c:pt>
                <c:pt idx="184">
                  <c:v>#N/A</c:v>
                </c:pt>
                <c:pt idx="185">
                  <c:v>#N/A</c:v>
                </c:pt>
                <c:pt idx="186">
                  <c:v>#N/A</c:v>
                </c:pt>
                <c:pt idx="187">
                  <c:v>#N/A</c:v>
                </c:pt>
                <c:pt idx="188">
                  <c:v>#N/A</c:v>
                </c:pt>
                <c:pt idx="189">
                  <c:v>#N/A</c:v>
                </c:pt>
                <c:pt idx="190">
                  <c:v>#N/A</c:v>
                </c:pt>
                <c:pt idx="191">
                  <c:v>#N/A</c:v>
                </c:pt>
                <c:pt idx="192">
                  <c:v>#N/A</c:v>
                </c:pt>
                <c:pt idx="193">
                  <c:v>#N/A</c:v>
                </c:pt>
                <c:pt idx="194">
                  <c:v>#N/A</c:v>
                </c:pt>
                <c:pt idx="195">
                  <c:v>#N/A</c:v>
                </c:pt>
                <c:pt idx="196">
                  <c:v>#N/A</c:v>
                </c:pt>
                <c:pt idx="197">
                  <c:v>#N/A</c:v>
                </c:pt>
                <c:pt idx="198">
                  <c:v>#N/A</c:v>
                </c:pt>
                <c:pt idx="199">
                  <c:v>#N/A</c:v>
                </c:pt>
                <c:pt idx="200">
                  <c:v>#N/A</c:v>
                </c:pt>
                <c:pt idx="201">
                  <c:v>#N/A</c:v>
                </c:pt>
                <c:pt idx="202">
                  <c:v>#N/A</c:v>
                </c:pt>
                <c:pt idx="203">
                  <c:v>#N/A</c:v>
                </c:pt>
                <c:pt idx="204">
                  <c:v>#N/A</c:v>
                </c:pt>
                <c:pt idx="205">
                  <c:v>#N/A</c:v>
                </c:pt>
                <c:pt idx="206">
                  <c:v>0.36164383561643837</c:v>
                </c:pt>
                <c:pt idx="207">
                  <c:v>#N/A</c:v>
                </c:pt>
                <c:pt idx="208">
                  <c:v>#N/A</c:v>
                </c:pt>
                <c:pt idx="209">
                  <c:v>#N/A</c:v>
                </c:pt>
                <c:pt idx="210">
                  <c:v>#N/A</c:v>
                </c:pt>
                <c:pt idx="211">
                  <c:v>#N/A</c:v>
                </c:pt>
                <c:pt idx="212">
                  <c:v>#N/A</c:v>
                </c:pt>
                <c:pt idx="213">
                  <c:v>#N/A</c:v>
                </c:pt>
                <c:pt idx="214">
                  <c:v>#N/A</c:v>
                </c:pt>
                <c:pt idx="215">
                  <c:v>#N/A</c:v>
                </c:pt>
                <c:pt idx="216">
                  <c:v>#N/A</c:v>
                </c:pt>
                <c:pt idx="217">
                  <c:v>#N/A</c:v>
                </c:pt>
                <c:pt idx="218">
                  <c:v>#N/A</c:v>
                </c:pt>
                <c:pt idx="219">
                  <c:v>#N/A</c:v>
                </c:pt>
                <c:pt idx="220">
                  <c:v>#N/A</c:v>
                </c:pt>
                <c:pt idx="221">
                  <c:v>#N/A</c:v>
                </c:pt>
                <c:pt idx="222">
                  <c:v>#N/A</c:v>
                </c:pt>
                <c:pt idx="223">
                  <c:v>#N/A</c:v>
                </c:pt>
                <c:pt idx="224">
                  <c:v>#N/A</c:v>
                </c:pt>
                <c:pt idx="225">
                  <c:v>#N/A</c:v>
                </c:pt>
                <c:pt idx="226">
                  <c:v>#N/A</c:v>
                </c:pt>
                <c:pt idx="227">
                  <c:v>#N/A</c:v>
                </c:pt>
                <c:pt idx="228">
                  <c:v>#N/A</c:v>
                </c:pt>
                <c:pt idx="229">
                  <c:v>#N/A</c:v>
                </c:pt>
                <c:pt idx="230">
                  <c:v>#N/A</c:v>
                </c:pt>
                <c:pt idx="231">
                  <c:v>#N/A</c:v>
                </c:pt>
                <c:pt idx="232">
                  <c:v>#N/A</c:v>
                </c:pt>
                <c:pt idx="233">
                  <c:v>0.36986301369863012</c:v>
                </c:pt>
                <c:pt idx="234">
                  <c:v>#N/A</c:v>
                </c:pt>
                <c:pt idx="235">
                  <c:v>#N/A</c:v>
                </c:pt>
                <c:pt idx="236">
                  <c:v>#N/A</c:v>
                </c:pt>
                <c:pt idx="237">
                  <c:v>#N/A</c:v>
                </c:pt>
                <c:pt idx="238">
                  <c:v>#N/A</c:v>
                </c:pt>
                <c:pt idx="239">
                  <c:v>#N/A</c:v>
                </c:pt>
                <c:pt idx="240">
                  <c:v>#N/A</c:v>
                </c:pt>
                <c:pt idx="241">
                  <c:v>#N/A</c:v>
                </c:pt>
                <c:pt idx="242">
                  <c:v>#N/A</c:v>
                </c:pt>
                <c:pt idx="243">
                  <c:v>#N/A</c:v>
                </c:pt>
                <c:pt idx="244">
                  <c:v>#N/A</c:v>
                </c:pt>
                <c:pt idx="245">
                  <c:v>#N/A</c:v>
                </c:pt>
                <c:pt idx="246">
                  <c:v>#N/A</c:v>
                </c:pt>
                <c:pt idx="247">
                  <c:v>#N/A</c:v>
                </c:pt>
                <c:pt idx="248">
                  <c:v>#N/A</c:v>
                </c:pt>
                <c:pt idx="249">
                  <c:v>#N/A</c:v>
                </c:pt>
                <c:pt idx="250">
                  <c:v>#N/A</c:v>
                </c:pt>
                <c:pt idx="251">
                  <c:v>#N/A</c:v>
                </c:pt>
                <c:pt idx="252">
                  <c:v>#N/A</c:v>
                </c:pt>
                <c:pt idx="253">
                  <c:v>#N/A</c:v>
                </c:pt>
                <c:pt idx="254">
                  <c:v>#N/A</c:v>
                </c:pt>
                <c:pt idx="255">
                  <c:v>#N/A</c:v>
                </c:pt>
                <c:pt idx="256">
                  <c:v>#N/A</c:v>
                </c:pt>
                <c:pt idx="257">
                  <c:v>#N/A</c:v>
                </c:pt>
                <c:pt idx="258">
                  <c:v>#N/A</c:v>
                </c:pt>
                <c:pt idx="259">
                  <c:v>#N/A</c:v>
                </c:pt>
                <c:pt idx="260">
                  <c:v>#N/A</c:v>
                </c:pt>
                <c:pt idx="261">
                  <c:v>#N/A</c:v>
                </c:pt>
                <c:pt idx="262">
                  <c:v>#N/A</c:v>
                </c:pt>
                <c:pt idx="263">
                  <c:v>#N/A</c:v>
                </c:pt>
                <c:pt idx="264">
                  <c:v>#N/A</c:v>
                </c:pt>
                <c:pt idx="265">
                  <c:v>#N/A</c:v>
                </c:pt>
                <c:pt idx="266">
                  <c:v>#N/A</c:v>
                </c:pt>
                <c:pt idx="267">
                  <c:v>#N/A</c:v>
                </c:pt>
                <c:pt idx="268">
                  <c:v>#N/A</c:v>
                </c:pt>
                <c:pt idx="269">
                  <c:v>#N/A</c:v>
                </c:pt>
                <c:pt idx="270">
                  <c:v>#N/A</c:v>
                </c:pt>
                <c:pt idx="271">
                  <c:v>#N/A</c:v>
                </c:pt>
                <c:pt idx="272">
                  <c:v>#N/A</c:v>
                </c:pt>
                <c:pt idx="273">
                  <c:v>#N/A</c:v>
                </c:pt>
                <c:pt idx="274">
                  <c:v>#N/A</c:v>
                </c:pt>
                <c:pt idx="275">
                  <c:v>0.38356164383561642</c:v>
                </c:pt>
                <c:pt idx="276">
                  <c:v>#N/A</c:v>
                </c:pt>
                <c:pt idx="277">
                  <c:v>#N/A</c:v>
                </c:pt>
                <c:pt idx="278">
                  <c:v>#N/A</c:v>
                </c:pt>
                <c:pt idx="279">
                  <c:v>#N/A</c:v>
                </c:pt>
                <c:pt idx="280">
                  <c:v>#N/A</c:v>
                </c:pt>
                <c:pt idx="281">
                  <c:v>#N/A</c:v>
                </c:pt>
                <c:pt idx="282">
                  <c:v>#N/A</c:v>
                </c:pt>
                <c:pt idx="283">
                  <c:v>#N/A</c:v>
                </c:pt>
                <c:pt idx="284">
                  <c:v>#N/A</c:v>
                </c:pt>
                <c:pt idx="285">
                  <c:v>#N/A</c:v>
                </c:pt>
                <c:pt idx="286">
                  <c:v>#N/A</c:v>
                </c:pt>
                <c:pt idx="287">
                  <c:v>#N/A</c:v>
                </c:pt>
                <c:pt idx="288">
                  <c:v>#N/A</c:v>
                </c:pt>
                <c:pt idx="289">
                  <c:v>#N/A</c:v>
                </c:pt>
                <c:pt idx="290">
                  <c:v>#N/A</c:v>
                </c:pt>
                <c:pt idx="291">
                  <c:v>#N/A</c:v>
                </c:pt>
                <c:pt idx="292">
                  <c:v>#N/A</c:v>
                </c:pt>
                <c:pt idx="293">
                  <c:v>#N/A</c:v>
                </c:pt>
                <c:pt idx="294">
                  <c:v>#N/A</c:v>
                </c:pt>
                <c:pt idx="295">
                  <c:v>#N/A</c:v>
                </c:pt>
                <c:pt idx="296">
                  <c:v>#N/A</c:v>
                </c:pt>
                <c:pt idx="297">
                  <c:v>#N/A</c:v>
                </c:pt>
                <c:pt idx="298">
                  <c:v>#N/A</c:v>
                </c:pt>
                <c:pt idx="299">
                  <c:v>#N/A</c:v>
                </c:pt>
                <c:pt idx="300">
                  <c:v>#N/A</c:v>
                </c:pt>
                <c:pt idx="301">
                  <c:v>#N/A</c:v>
                </c:pt>
                <c:pt idx="302">
                  <c:v>#N/A</c:v>
                </c:pt>
                <c:pt idx="303">
                  <c:v>#N/A</c:v>
                </c:pt>
                <c:pt idx="304">
                  <c:v>#N/A</c:v>
                </c:pt>
                <c:pt idx="305">
                  <c:v>#N/A</c:v>
                </c:pt>
                <c:pt idx="306">
                  <c:v>#N/A</c:v>
                </c:pt>
                <c:pt idx="307">
                  <c:v>#N/A</c:v>
                </c:pt>
                <c:pt idx="308">
                  <c:v>#N/A</c:v>
                </c:pt>
                <c:pt idx="309">
                  <c:v>#N/A</c:v>
                </c:pt>
                <c:pt idx="310">
                  <c:v>#N/A</c:v>
                </c:pt>
                <c:pt idx="311">
                  <c:v>#N/A</c:v>
                </c:pt>
                <c:pt idx="312">
                  <c:v>#N/A</c:v>
                </c:pt>
                <c:pt idx="313">
                  <c:v>#N/A</c:v>
                </c:pt>
                <c:pt idx="314">
                  <c:v>#N/A</c:v>
                </c:pt>
                <c:pt idx="315">
                  <c:v>#N/A</c:v>
                </c:pt>
                <c:pt idx="316">
                  <c:v>#N/A</c:v>
                </c:pt>
                <c:pt idx="317">
                  <c:v>#N/A</c:v>
                </c:pt>
                <c:pt idx="318">
                  <c:v>#N/A</c:v>
                </c:pt>
                <c:pt idx="319">
                  <c:v>#N/A</c:v>
                </c:pt>
                <c:pt idx="320">
                  <c:v>#N/A</c:v>
                </c:pt>
                <c:pt idx="321">
                  <c:v>#N/A</c:v>
                </c:pt>
                <c:pt idx="322">
                  <c:v>#N/A</c:v>
                </c:pt>
                <c:pt idx="323">
                  <c:v>#N/A</c:v>
                </c:pt>
                <c:pt idx="324">
                  <c:v>#N/A</c:v>
                </c:pt>
                <c:pt idx="325">
                  <c:v>#N/A</c:v>
                </c:pt>
                <c:pt idx="326">
                  <c:v>#N/A</c:v>
                </c:pt>
                <c:pt idx="327">
                  <c:v>#N/A</c:v>
                </c:pt>
                <c:pt idx="328">
                  <c:v>#N/A</c:v>
                </c:pt>
                <c:pt idx="329">
                  <c:v>#N/A</c:v>
                </c:pt>
                <c:pt idx="330">
                  <c:v>#N/A</c:v>
                </c:pt>
                <c:pt idx="331">
                  <c:v>#N/A</c:v>
                </c:pt>
                <c:pt idx="332">
                  <c:v>#N/A</c:v>
                </c:pt>
                <c:pt idx="333">
                  <c:v>#N/A</c:v>
                </c:pt>
                <c:pt idx="334">
                  <c:v>#N/A</c:v>
                </c:pt>
                <c:pt idx="335">
                  <c:v>#N/A</c:v>
                </c:pt>
                <c:pt idx="336">
                  <c:v>#N/A</c:v>
                </c:pt>
                <c:pt idx="337">
                  <c:v>#N/A</c:v>
                </c:pt>
                <c:pt idx="338">
                  <c:v>#N/A</c:v>
                </c:pt>
                <c:pt idx="339">
                  <c:v>#N/A</c:v>
                </c:pt>
                <c:pt idx="340">
                  <c:v>#N/A</c:v>
                </c:pt>
                <c:pt idx="341">
                  <c:v>#N/A</c:v>
                </c:pt>
                <c:pt idx="342">
                  <c:v>#N/A</c:v>
                </c:pt>
                <c:pt idx="343">
                  <c:v>#N/A</c:v>
                </c:pt>
                <c:pt idx="344">
                  <c:v>#N/A</c:v>
                </c:pt>
                <c:pt idx="345">
                  <c:v>#N/A</c:v>
                </c:pt>
                <c:pt idx="346">
                  <c:v>#N/A</c:v>
                </c:pt>
                <c:pt idx="347">
                  <c:v>#N/A</c:v>
                </c:pt>
                <c:pt idx="348">
                  <c:v>#N/A</c:v>
                </c:pt>
                <c:pt idx="349">
                  <c:v>#N/A</c:v>
                </c:pt>
                <c:pt idx="350">
                  <c:v>#N/A</c:v>
                </c:pt>
                <c:pt idx="351">
                  <c:v>#N/A</c:v>
                </c:pt>
                <c:pt idx="352">
                  <c:v>#N/A</c:v>
                </c:pt>
                <c:pt idx="353">
                  <c:v>#N/A</c:v>
                </c:pt>
                <c:pt idx="354">
                  <c:v>#N/A</c:v>
                </c:pt>
                <c:pt idx="355">
                  <c:v>#N/A</c:v>
                </c:pt>
                <c:pt idx="356">
                  <c:v>#N/A</c:v>
                </c:pt>
                <c:pt idx="357">
                  <c:v>#N/A</c:v>
                </c:pt>
                <c:pt idx="358">
                  <c:v>#N/A</c:v>
                </c:pt>
                <c:pt idx="359">
                  <c:v>#N/A</c:v>
                </c:pt>
                <c:pt idx="360">
                  <c:v>#N/A</c:v>
                </c:pt>
                <c:pt idx="361">
                  <c:v>#N/A</c:v>
                </c:pt>
                <c:pt idx="362">
                  <c:v>#N/A</c:v>
                </c:pt>
                <c:pt idx="363">
                  <c:v>#N/A</c:v>
                </c:pt>
                <c:pt idx="364">
                  <c:v>#N/A</c:v>
                </c:pt>
                <c:pt idx="365">
                  <c:v>#N/A</c:v>
                </c:pt>
                <c:pt idx="366">
                  <c:v>#N/A</c:v>
                </c:pt>
                <c:pt idx="367">
                  <c:v>#N/A</c:v>
                </c:pt>
                <c:pt idx="368">
                  <c:v>#N/A</c:v>
                </c:pt>
                <c:pt idx="369">
                  <c:v>#N/A</c:v>
                </c:pt>
                <c:pt idx="370">
                  <c:v>#N/A</c:v>
                </c:pt>
                <c:pt idx="371">
                  <c:v>#N/A</c:v>
                </c:pt>
                <c:pt idx="372">
                  <c:v>#N/A</c:v>
                </c:pt>
                <c:pt idx="373">
                  <c:v>#N/A</c:v>
                </c:pt>
                <c:pt idx="374">
                  <c:v>#N/A</c:v>
                </c:pt>
                <c:pt idx="375">
                  <c:v>#N/A</c:v>
                </c:pt>
                <c:pt idx="376">
                  <c:v>#N/A</c:v>
                </c:pt>
                <c:pt idx="377">
                  <c:v>#N/A</c:v>
                </c:pt>
                <c:pt idx="378">
                  <c:v>#N/A</c:v>
                </c:pt>
                <c:pt idx="379">
                  <c:v>#N/A</c:v>
                </c:pt>
                <c:pt idx="380">
                  <c:v>#N/A</c:v>
                </c:pt>
                <c:pt idx="381">
                  <c:v>#N/A</c:v>
                </c:pt>
                <c:pt idx="382">
                  <c:v>#N/A</c:v>
                </c:pt>
                <c:pt idx="383">
                  <c:v>#N/A</c:v>
                </c:pt>
                <c:pt idx="384">
                  <c:v>#N/A</c:v>
                </c:pt>
                <c:pt idx="385">
                  <c:v>#N/A</c:v>
                </c:pt>
                <c:pt idx="386">
                  <c:v>#N/A</c:v>
                </c:pt>
                <c:pt idx="387">
                  <c:v>#N/A</c:v>
                </c:pt>
                <c:pt idx="388">
                  <c:v>#N/A</c:v>
                </c:pt>
                <c:pt idx="389">
                  <c:v>#N/A</c:v>
                </c:pt>
                <c:pt idx="390">
                  <c:v>#N/A</c:v>
                </c:pt>
                <c:pt idx="391">
                  <c:v>#N/A</c:v>
                </c:pt>
                <c:pt idx="392">
                  <c:v>#N/A</c:v>
                </c:pt>
                <c:pt idx="393">
                  <c:v>#N/A</c:v>
                </c:pt>
                <c:pt idx="394">
                  <c:v>#N/A</c:v>
                </c:pt>
                <c:pt idx="395">
                  <c:v>#N/A</c:v>
                </c:pt>
                <c:pt idx="396">
                  <c:v>#N/A</c:v>
                </c:pt>
                <c:pt idx="397">
                  <c:v>#N/A</c:v>
                </c:pt>
                <c:pt idx="398">
                  <c:v>#N/A</c:v>
                </c:pt>
                <c:pt idx="399">
                  <c:v>#N/A</c:v>
                </c:pt>
                <c:pt idx="400">
                  <c:v>#N/A</c:v>
                </c:pt>
                <c:pt idx="401">
                  <c:v>#N/A</c:v>
                </c:pt>
                <c:pt idx="402">
                  <c:v>#N/A</c:v>
                </c:pt>
                <c:pt idx="403">
                  <c:v>#N/A</c:v>
                </c:pt>
                <c:pt idx="404">
                  <c:v>#N/A</c:v>
                </c:pt>
                <c:pt idx="405">
                  <c:v>#N/A</c:v>
                </c:pt>
                <c:pt idx="406">
                  <c:v>#N/A</c:v>
                </c:pt>
                <c:pt idx="407">
                  <c:v>#N/A</c:v>
                </c:pt>
                <c:pt idx="408">
                  <c:v>#N/A</c:v>
                </c:pt>
                <c:pt idx="409">
                  <c:v>#N/A</c:v>
                </c:pt>
                <c:pt idx="410">
                  <c:v>#N/A</c:v>
                </c:pt>
                <c:pt idx="411">
                  <c:v>#N/A</c:v>
                </c:pt>
                <c:pt idx="412">
                  <c:v>#N/A</c:v>
                </c:pt>
                <c:pt idx="413">
                  <c:v>#N/A</c:v>
                </c:pt>
                <c:pt idx="414">
                  <c:v>#N/A</c:v>
                </c:pt>
                <c:pt idx="415">
                  <c:v>#N/A</c:v>
                </c:pt>
                <c:pt idx="416">
                  <c:v>#N/A</c:v>
                </c:pt>
                <c:pt idx="417">
                  <c:v>#N/A</c:v>
                </c:pt>
                <c:pt idx="418">
                  <c:v>#N/A</c:v>
                </c:pt>
                <c:pt idx="419">
                  <c:v>#N/A</c:v>
                </c:pt>
                <c:pt idx="420">
                  <c:v>#N/A</c:v>
                </c:pt>
                <c:pt idx="421">
                  <c:v>#N/A</c:v>
                </c:pt>
                <c:pt idx="422">
                  <c:v>#N/A</c:v>
                </c:pt>
                <c:pt idx="423">
                  <c:v>#N/A</c:v>
                </c:pt>
                <c:pt idx="424">
                  <c:v>#N/A</c:v>
                </c:pt>
                <c:pt idx="425">
                  <c:v>#N/A</c:v>
                </c:pt>
                <c:pt idx="426">
                  <c:v>#N/A</c:v>
                </c:pt>
                <c:pt idx="427">
                  <c:v>#N/A</c:v>
                </c:pt>
                <c:pt idx="428">
                  <c:v>#N/A</c:v>
                </c:pt>
                <c:pt idx="429">
                  <c:v>#N/A</c:v>
                </c:pt>
                <c:pt idx="430">
                  <c:v>#N/A</c:v>
                </c:pt>
                <c:pt idx="431">
                  <c:v>#N/A</c:v>
                </c:pt>
                <c:pt idx="432">
                  <c:v>#N/A</c:v>
                </c:pt>
                <c:pt idx="433">
                  <c:v>#N/A</c:v>
                </c:pt>
                <c:pt idx="434">
                  <c:v>#N/A</c:v>
                </c:pt>
                <c:pt idx="435">
                  <c:v>#N/A</c:v>
                </c:pt>
                <c:pt idx="436">
                  <c:v>#N/A</c:v>
                </c:pt>
                <c:pt idx="437">
                  <c:v>#N/A</c:v>
                </c:pt>
                <c:pt idx="438">
                  <c:v>#N/A</c:v>
                </c:pt>
                <c:pt idx="439">
                  <c:v>#N/A</c:v>
                </c:pt>
                <c:pt idx="440">
                  <c:v>#N/A</c:v>
                </c:pt>
                <c:pt idx="441">
                  <c:v>#N/A</c:v>
                </c:pt>
                <c:pt idx="442">
                  <c:v>#N/A</c:v>
                </c:pt>
                <c:pt idx="443">
                  <c:v>#N/A</c:v>
                </c:pt>
                <c:pt idx="444">
                  <c:v>#N/A</c:v>
                </c:pt>
                <c:pt idx="445">
                  <c:v>#N/A</c:v>
                </c:pt>
                <c:pt idx="446">
                  <c:v>#N/A</c:v>
                </c:pt>
                <c:pt idx="447">
                  <c:v>#N/A</c:v>
                </c:pt>
                <c:pt idx="448">
                  <c:v>#N/A</c:v>
                </c:pt>
                <c:pt idx="449">
                  <c:v>#N/A</c:v>
                </c:pt>
                <c:pt idx="450">
                  <c:v>#N/A</c:v>
                </c:pt>
                <c:pt idx="451">
                  <c:v>#N/A</c:v>
                </c:pt>
                <c:pt idx="452">
                  <c:v>#N/A</c:v>
                </c:pt>
                <c:pt idx="453">
                  <c:v>#N/A</c:v>
                </c:pt>
                <c:pt idx="454">
                  <c:v>#N/A</c:v>
                </c:pt>
                <c:pt idx="455">
                  <c:v>#N/A</c:v>
                </c:pt>
                <c:pt idx="456">
                  <c:v>#N/A</c:v>
                </c:pt>
                <c:pt idx="457">
                  <c:v>#N/A</c:v>
                </c:pt>
                <c:pt idx="458">
                  <c:v>#N/A</c:v>
                </c:pt>
                <c:pt idx="459">
                  <c:v>#N/A</c:v>
                </c:pt>
                <c:pt idx="460">
                  <c:v>#N/A</c:v>
                </c:pt>
                <c:pt idx="461">
                  <c:v>#N/A</c:v>
                </c:pt>
                <c:pt idx="462">
                  <c:v>#N/A</c:v>
                </c:pt>
                <c:pt idx="463">
                  <c:v>#N/A</c:v>
                </c:pt>
                <c:pt idx="464">
                  <c:v>#N/A</c:v>
                </c:pt>
                <c:pt idx="465">
                  <c:v>#N/A</c:v>
                </c:pt>
                <c:pt idx="466">
                  <c:v>#N/A</c:v>
                </c:pt>
                <c:pt idx="467">
                  <c:v>#N/A</c:v>
                </c:pt>
                <c:pt idx="468">
                  <c:v>#N/A</c:v>
                </c:pt>
                <c:pt idx="469">
                  <c:v>#N/A</c:v>
                </c:pt>
                <c:pt idx="470">
                  <c:v>#N/A</c:v>
                </c:pt>
                <c:pt idx="471">
                  <c:v>#N/A</c:v>
                </c:pt>
                <c:pt idx="472">
                  <c:v>#N/A</c:v>
                </c:pt>
                <c:pt idx="473">
                  <c:v>#N/A</c:v>
                </c:pt>
                <c:pt idx="474">
                  <c:v>#N/A</c:v>
                </c:pt>
                <c:pt idx="475">
                  <c:v>#N/A</c:v>
                </c:pt>
                <c:pt idx="476">
                  <c:v>#N/A</c:v>
                </c:pt>
                <c:pt idx="477">
                  <c:v>#N/A</c:v>
                </c:pt>
                <c:pt idx="478">
                  <c:v>#N/A</c:v>
                </c:pt>
                <c:pt idx="479">
                  <c:v>#N/A</c:v>
                </c:pt>
                <c:pt idx="480">
                  <c:v>#N/A</c:v>
                </c:pt>
                <c:pt idx="481">
                  <c:v>#N/A</c:v>
                </c:pt>
                <c:pt idx="482">
                  <c:v>#N/A</c:v>
                </c:pt>
                <c:pt idx="483">
                  <c:v>#N/A</c:v>
                </c:pt>
                <c:pt idx="484">
                  <c:v>#N/A</c:v>
                </c:pt>
                <c:pt idx="485">
                  <c:v>#N/A</c:v>
                </c:pt>
                <c:pt idx="486">
                  <c:v>#N/A</c:v>
                </c:pt>
                <c:pt idx="487">
                  <c:v>#N/A</c:v>
                </c:pt>
                <c:pt idx="488">
                  <c:v>#N/A</c:v>
                </c:pt>
                <c:pt idx="489">
                  <c:v>#N/A</c:v>
                </c:pt>
                <c:pt idx="490">
                  <c:v>#N/A</c:v>
                </c:pt>
                <c:pt idx="491">
                  <c:v>#N/A</c:v>
                </c:pt>
                <c:pt idx="492">
                  <c:v>#N/A</c:v>
                </c:pt>
                <c:pt idx="493">
                  <c:v>#N/A</c:v>
                </c:pt>
                <c:pt idx="494">
                  <c:v>#N/A</c:v>
                </c:pt>
                <c:pt idx="495">
                  <c:v>#N/A</c:v>
                </c:pt>
                <c:pt idx="496">
                  <c:v>#N/A</c:v>
                </c:pt>
                <c:pt idx="497">
                  <c:v>#N/A</c:v>
                </c:pt>
                <c:pt idx="498">
                  <c:v>#N/A</c:v>
                </c:pt>
                <c:pt idx="499">
                  <c:v>#N/A</c:v>
                </c:pt>
                <c:pt idx="500">
                  <c:v>#N/A</c:v>
                </c:pt>
                <c:pt idx="501">
                  <c:v>#N/A</c:v>
                </c:pt>
                <c:pt idx="502">
                  <c:v>#N/A</c:v>
                </c:pt>
                <c:pt idx="503">
                  <c:v>#N/A</c:v>
                </c:pt>
                <c:pt idx="504">
                  <c:v>#N/A</c:v>
                </c:pt>
                <c:pt idx="505">
                  <c:v>#N/A</c:v>
                </c:pt>
                <c:pt idx="506">
                  <c:v>#N/A</c:v>
                </c:pt>
                <c:pt idx="507">
                  <c:v>#N/A</c:v>
                </c:pt>
                <c:pt idx="508">
                  <c:v>#N/A</c:v>
                </c:pt>
                <c:pt idx="509">
                  <c:v>#N/A</c:v>
                </c:pt>
                <c:pt idx="510">
                  <c:v>#N/A</c:v>
                </c:pt>
                <c:pt idx="511">
                  <c:v>#N/A</c:v>
                </c:pt>
                <c:pt idx="512">
                  <c:v>#N/A</c:v>
                </c:pt>
                <c:pt idx="513">
                  <c:v>#N/A</c:v>
                </c:pt>
                <c:pt idx="514">
                  <c:v>#N/A</c:v>
                </c:pt>
                <c:pt idx="515">
                  <c:v>#N/A</c:v>
                </c:pt>
                <c:pt idx="516">
                  <c:v>#N/A</c:v>
                </c:pt>
                <c:pt idx="517">
                  <c:v>#N/A</c:v>
                </c:pt>
                <c:pt idx="518">
                  <c:v>#N/A</c:v>
                </c:pt>
                <c:pt idx="519">
                  <c:v>#N/A</c:v>
                </c:pt>
                <c:pt idx="520">
                  <c:v>#N/A</c:v>
                </c:pt>
                <c:pt idx="521">
                  <c:v>#N/A</c:v>
                </c:pt>
                <c:pt idx="522">
                  <c:v>#N/A</c:v>
                </c:pt>
                <c:pt idx="523">
                  <c:v>#N/A</c:v>
                </c:pt>
                <c:pt idx="524">
                  <c:v>#N/A</c:v>
                </c:pt>
                <c:pt idx="525">
                  <c:v>#N/A</c:v>
                </c:pt>
                <c:pt idx="526">
                  <c:v>#N/A</c:v>
                </c:pt>
                <c:pt idx="527">
                  <c:v>#N/A</c:v>
                </c:pt>
                <c:pt idx="528">
                  <c:v>#N/A</c:v>
                </c:pt>
                <c:pt idx="529">
                  <c:v>#N/A</c:v>
                </c:pt>
                <c:pt idx="530">
                  <c:v>#N/A</c:v>
                </c:pt>
                <c:pt idx="531">
                  <c:v>#N/A</c:v>
                </c:pt>
                <c:pt idx="532">
                  <c:v>#N/A</c:v>
                </c:pt>
                <c:pt idx="533">
                  <c:v>#N/A</c:v>
                </c:pt>
                <c:pt idx="534">
                  <c:v>#N/A</c:v>
                </c:pt>
                <c:pt idx="535">
                  <c:v>#N/A</c:v>
                </c:pt>
                <c:pt idx="536">
                  <c:v>#N/A</c:v>
                </c:pt>
                <c:pt idx="537">
                  <c:v>#N/A</c:v>
                </c:pt>
                <c:pt idx="538">
                  <c:v>#N/A</c:v>
                </c:pt>
                <c:pt idx="539">
                  <c:v>#N/A</c:v>
                </c:pt>
                <c:pt idx="540">
                  <c:v>#N/A</c:v>
                </c:pt>
                <c:pt idx="541">
                  <c:v>#N/A</c:v>
                </c:pt>
                <c:pt idx="542">
                  <c:v>#N/A</c:v>
                </c:pt>
                <c:pt idx="543">
                  <c:v>#N/A</c:v>
                </c:pt>
                <c:pt idx="544">
                  <c:v>#N/A</c:v>
                </c:pt>
                <c:pt idx="545">
                  <c:v>#N/A</c:v>
                </c:pt>
                <c:pt idx="546">
                  <c:v>#N/A</c:v>
                </c:pt>
                <c:pt idx="547">
                  <c:v>#N/A</c:v>
                </c:pt>
                <c:pt idx="548">
                  <c:v>#N/A</c:v>
                </c:pt>
                <c:pt idx="549">
                  <c:v>#N/A</c:v>
                </c:pt>
                <c:pt idx="550">
                  <c:v>#N/A</c:v>
                </c:pt>
                <c:pt idx="551">
                  <c:v>#N/A</c:v>
                </c:pt>
                <c:pt idx="552">
                  <c:v>#N/A</c:v>
                </c:pt>
                <c:pt idx="553">
                  <c:v>#N/A</c:v>
                </c:pt>
                <c:pt idx="554">
                  <c:v>#N/A</c:v>
                </c:pt>
                <c:pt idx="555">
                  <c:v>#N/A</c:v>
                </c:pt>
                <c:pt idx="556">
                  <c:v>#N/A</c:v>
                </c:pt>
                <c:pt idx="557">
                  <c:v>#N/A</c:v>
                </c:pt>
                <c:pt idx="558">
                  <c:v>#N/A</c:v>
                </c:pt>
                <c:pt idx="559">
                  <c:v>#N/A</c:v>
                </c:pt>
                <c:pt idx="560">
                  <c:v>#N/A</c:v>
                </c:pt>
                <c:pt idx="561">
                  <c:v>#N/A</c:v>
                </c:pt>
                <c:pt idx="562">
                  <c:v>#N/A</c:v>
                </c:pt>
                <c:pt idx="563">
                  <c:v>#N/A</c:v>
                </c:pt>
                <c:pt idx="564">
                  <c:v>#N/A</c:v>
                </c:pt>
                <c:pt idx="565">
                  <c:v>#N/A</c:v>
                </c:pt>
                <c:pt idx="566">
                  <c:v>#N/A</c:v>
                </c:pt>
                <c:pt idx="567">
                  <c:v>#N/A</c:v>
                </c:pt>
                <c:pt idx="568">
                  <c:v>#N/A</c:v>
                </c:pt>
                <c:pt idx="569">
                  <c:v>#N/A</c:v>
                </c:pt>
                <c:pt idx="570">
                  <c:v>#N/A</c:v>
                </c:pt>
                <c:pt idx="571">
                  <c:v>#N/A</c:v>
                </c:pt>
                <c:pt idx="572">
                  <c:v>#N/A</c:v>
                </c:pt>
                <c:pt idx="573">
                  <c:v>#N/A</c:v>
                </c:pt>
                <c:pt idx="574">
                  <c:v>#N/A</c:v>
                </c:pt>
                <c:pt idx="575">
                  <c:v>#N/A</c:v>
                </c:pt>
                <c:pt idx="576">
                  <c:v>#N/A</c:v>
                </c:pt>
                <c:pt idx="577">
                  <c:v>#N/A</c:v>
                </c:pt>
                <c:pt idx="578">
                  <c:v>#N/A</c:v>
                </c:pt>
                <c:pt idx="579">
                  <c:v>#N/A</c:v>
                </c:pt>
                <c:pt idx="580">
                  <c:v>#N/A</c:v>
                </c:pt>
                <c:pt idx="581">
                  <c:v>#N/A</c:v>
                </c:pt>
                <c:pt idx="582">
                  <c:v>#N/A</c:v>
                </c:pt>
                <c:pt idx="583">
                  <c:v>#N/A</c:v>
                </c:pt>
                <c:pt idx="584">
                  <c:v>#N/A</c:v>
                </c:pt>
                <c:pt idx="585">
                  <c:v>#N/A</c:v>
                </c:pt>
                <c:pt idx="586">
                  <c:v>#N/A</c:v>
                </c:pt>
                <c:pt idx="587">
                  <c:v>#N/A</c:v>
                </c:pt>
                <c:pt idx="588">
                  <c:v>#N/A</c:v>
                </c:pt>
                <c:pt idx="589">
                  <c:v>#N/A</c:v>
                </c:pt>
                <c:pt idx="590">
                  <c:v>#N/A</c:v>
                </c:pt>
                <c:pt idx="591">
                  <c:v>#N/A</c:v>
                </c:pt>
                <c:pt idx="592">
                  <c:v>#N/A</c:v>
                </c:pt>
                <c:pt idx="593">
                  <c:v>#N/A</c:v>
                </c:pt>
                <c:pt idx="594">
                  <c:v>#N/A</c:v>
                </c:pt>
                <c:pt idx="595">
                  <c:v>#N/A</c:v>
                </c:pt>
                <c:pt idx="596">
                  <c:v>#N/A</c:v>
                </c:pt>
                <c:pt idx="597">
                  <c:v>#N/A</c:v>
                </c:pt>
                <c:pt idx="598">
                  <c:v>#N/A</c:v>
                </c:pt>
                <c:pt idx="599">
                  <c:v>#N/A</c:v>
                </c:pt>
                <c:pt idx="600">
                  <c:v>#N/A</c:v>
                </c:pt>
                <c:pt idx="601">
                  <c:v>#N/A</c:v>
                </c:pt>
                <c:pt idx="602">
                  <c:v>#N/A</c:v>
                </c:pt>
                <c:pt idx="603">
                  <c:v>#N/A</c:v>
                </c:pt>
                <c:pt idx="604">
                  <c:v>#N/A</c:v>
                </c:pt>
                <c:pt idx="605">
                  <c:v>#N/A</c:v>
                </c:pt>
                <c:pt idx="606">
                  <c:v>#N/A</c:v>
                </c:pt>
                <c:pt idx="607">
                  <c:v>#N/A</c:v>
                </c:pt>
                <c:pt idx="608">
                  <c:v>#N/A</c:v>
                </c:pt>
                <c:pt idx="609">
                  <c:v>#N/A</c:v>
                </c:pt>
                <c:pt idx="610">
                  <c:v>#N/A</c:v>
                </c:pt>
                <c:pt idx="611">
                  <c:v>#N/A</c:v>
                </c:pt>
                <c:pt idx="612">
                  <c:v>#N/A</c:v>
                </c:pt>
                <c:pt idx="613">
                  <c:v>#N/A</c:v>
                </c:pt>
                <c:pt idx="614">
                  <c:v>#N/A</c:v>
                </c:pt>
                <c:pt idx="615">
                  <c:v>#N/A</c:v>
                </c:pt>
                <c:pt idx="616">
                  <c:v>#N/A</c:v>
                </c:pt>
                <c:pt idx="617">
                  <c:v>#N/A</c:v>
                </c:pt>
                <c:pt idx="618">
                  <c:v>#N/A</c:v>
                </c:pt>
                <c:pt idx="619">
                  <c:v>0.45753424657534247</c:v>
                </c:pt>
                <c:pt idx="620">
                  <c:v>#N/A</c:v>
                </c:pt>
                <c:pt idx="621">
                  <c:v>#N/A</c:v>
                </c:pt>
                <c:pt idx="622">
                  <c:v>#N/A</c:v>
                </c:pt>
                <c:pt idx="623">
                  <c:v>#N/A</c:v>
                </c:pt>
                <c:pt idx="624">
                  <c:v>#N/A</c:v>
                </c:pt>
                <c:pt idx="625">
                  <c:v>#N/A</c:v>
                </c:pt>
                <c:pt idx="626">
                  <c:v>#N/A</c:v>
                </c:pt>
                <c:pt idx="627">
                  <c:v>#N/A</c:v>
                </c:pt>
                <c:pt idx="628">
                  <c:v>#N/A</c:v>
                </c:pt>
                <c:pt idx="629">
                  <c:v>#N/A</c:v>
                </c:pt>
                <c:pt idx="630">
                  <c:v>#N/A</c:v>
                </c:pt>
                <c:pt idx="631">
                  <c:v>#N/A</c:v>
                </c:pt>
                <c:pt idx="632">
                  <c:v>#N/A</c:v>
                </c:pt>
                <c:pt idx="633">
                  <c:v>#N/A</c:v>
                </c:pt>
                <c:pt idx="634">
                  <c:v>#N/A</c:v>
                </c:pt>
                <c:pt idx="635">
                  <c:v>#N/A</c:v>
                </c:pt>
                <c:pt idx="636">
                  <c:v>#N/A</c:v>
                </c:pt>
                <c:pt idx="637">
                  <c:v>#N/A</c:v>
                </c:pt>
                <c:pt idx="638">
                  <c:v>#N/A</c:v>
                </c:pt>
                <c:pt idx="639">
                  <c:v>#N/A</c:v>
                </c:pt>
                <c:pt idx="640">
                  <c:v>#N/A</c:v>
                </c:pt>
                <c:pt idx="641">
                  <c:v>#N/A</c:v>
                </c:pt>
                <c:pt idx="642">
                  <c:v>#N/A</c:v>
                </c:pt>
                <c:pt idx="643">
                  <c:v>#N/A</c:v>
                </c:pt>
                <c:pt idx="644">
                  <c:v>#N/A</c:v>
                </c:pt>
                <c:pt idx="645">
                  <c:v>#N/A</c:v>
                </c:pt>
                <c:pt idx="646">
                  <c:v>#N/A</c:v>
                </c:pt>
                <c:pt idx="647">
                  <c:v>#N/A</c:v>
                </c:pt>
                <c:pt idx="648">
                  <c:v>#N/A</c:v>
                </c:pt>
                <c:pt idx="649">
                  <c:v>#N/A</c:v>
                </c:pt>
                <c:pt idx="650">
                  <c:v>#N/A</c:v>
                </c:pt>
                <c:pt idx="651">
                  <c:v>#N/A</c:v>
                </c:pt>
                <c:pt idx="652">
                  <c:v>#N/A</c:v>
                </c:pt>
                <c:pt idx="653">
                  <c:v>#N/A</c:v>
                </c:pt>
                <c:pt idx="654">
                  <c:v>#N/A</c:v>
                </c:pt>
                <c:pt idx="655">
                  <c:v>#N/A</c:v>
                </c:pt>
                <c:pt idx="656">
                  <c:v>#N/A</c:v>
                </c:pt>
                <c:pt idx="657">
                  <c:v>#N/A</c:v>
                </c:pt>
                <c:pt idx="658">
                  <c:v>#N/A</c:v>
                </c:pt>
                <c:pt idx="659">
                  <c:v>#N/A</c:v>
                </c:pt>
                <c:pt idx="660">
                  <c:v>#N/A</c:v>
                </c:pt>
                <c:pt idx="661">
                  <c:v>#N/A</c:v>
                </c:pt>
                <c:pt idx="662">
                  <c:v>#N/A</c:v>
                </c:pt>
                <c:pt idx="663">
                  <c:v>#N/A</c:v>
                </c:pt>
                <c:pt idx="664">
                  <c:v>#N/A</c:v>
                </c:pt>
                <c:pt idx="665">
                  <c:v>#N/A</c:v>
                </c:pt>
                <c:pt idx="666">
                  <c:v>#N/A</c:v>
                </c:pt>
                <c:pt idx="667">
                  <c:v>#N/A</c:v>
                </c:pt>
                <c:pt idx="668">
                  <c:v>#N/A</c:v>
                </c:pt>
                <c:pt idx="669">
                  <c:v>#N/A</c:v>
                </c:pt>
                <c:pt idx="670">
                  <c:v>#N/A</c:v>
                </c:pt>
                <c:pt idx="671">
                  <c:v>#N/A</c:v>
                </c:pt>
                <c:pt idx="672">
                  <c:v>#N/A</c:v>
                </c:pt>
                <c:pt idx="673">
                  <c:v>#N/A</c:v>
                </c:pt>
                <c:pt idx="674">
                  <c:v>#N/A</c:v>
                </c:pt>
                <c:pt idx="675">
                  <c:v>#N/A</c:v>
                </c:pt>
                <c:pt idx="676">
                  <c:v>#N/A</c:v>
                </c:pt>
                <c:pt idx="677">
                  <c:v>#N/A</c:v>
                </c:pt>
                <c:pt idx="678">
                  <c:v>#N/A</c:v>
                </c:pt>
                <c:pt idx="679">
                  <c:v>#N/A</c:v>
                </c:pt>
                <c:pt idx="680">
                  <c:v>#N/A</c:v>
                </c:pt>
                <c:pt idx="681">
                  <c:v>#N/A</c:v>
                </c:pt>
                <c:pt idx="682">
                  <c:v>#N/A</c:v>
                </c:pt>
                <c:pt idx="683">
                  <c:v>#N/A</c:v>
                </c:pt>
                <c:pt idx="684">
                  <c:v>#N/A</c:v>
                </c:pt>
                <c:pt idx="685">
                  <c:v>#N/A</c:v>
                </c:pt>
                <c:pt idx="686">
                  <c:v>#N/A</c:v>
                </c:pt>
                <c:pt idx="687">
                  <c:v>#N/A</c:v>
                </c:pt>
                <c:pt idx="688">
                  <c:v>#N/A</c:v>
                </c:pt>
                <c:pt idx="689">
                  <c:v>#N/A</c:v>
                </c:pt>
                <c:pt idx="690">
                  <c:v>#N/A</c:v>
                </c:pt>
                <c:pt idx="691">
                  <c:v>#N/A</c:v>
                </c:pt>
                <c:pt idx="692">
                  <c:v>#N/A</c:v>
                </c:pt>
                <c:pt idx="693">
                  <c:v>#N/A</c:v>
                </c:pt>
                <c:pt idx="694">
                  <c:v>#N/A</c:v>
                </c:pt>
                <c:pt idx="695">
                  <c:v>#N/A</c:v>
                </c:pt>
                <c:pt idx="696">
                  <c:v>#N/A</c:v>
                </c:pt>
                <c:pt idx="697">
                  <c:v>#N/A</c:v>
                </c:pt>
                <c:pt idx="698">
                  <c:v>#N/A</c:v>
                </c:pt>
                <c:pt idx="699">
                  <c:v>#N/A</c:v>
                </c:pt>
                <c:pt idx="700">
                  <c:v>#N/A</c:v>
                </c:pt>
                <c:pt idx="701">
                  <c:v>#N/A</c:v>
                </c:pt>
                <c:pt idx="702">
                  <c:v>#N/A</c:v>
                </c:pt>
                <c:pt idx="703">
                  <c:v>#N/A</c:v>
                </c:pt>
                <c:pt idx="704">
                  <c:v>#N/A</c:v>
                </c:pt>
                <c:pt idx="705">
                  <c:v>#N/A</c:v>
                </c:pt>
                <c:pt idx="706">
                  <c:v>#N/A</c:v>
                </c:pt>
                <c:pt idx="707">
                  <c:v>#N/A</c:v>
                </c:pt>
                <c:pt idx="708">
                  <c:v>#N/A</c:v>
                </c:pt>
                <c:pt idx="709">
                  <c:v>#N/A</c:v>
                </c:pt>
                <c:pt idx="710">
                  <c:v>#N/A</c:v>
                </c:pt>
                <c:pt idx="711">
                  <c:v>#N/A</c:v>
                </c:pt>
                <c:pt idx="712">
                  <c:v>#N/A</c:v>
                </c:pt>
                <c:pt idx="713">
                  <c:v>#N/A</c:v>
                </c:pt>
                <c:pt idx="714">
                  <c:v>#N/A</c:v>
                </c:pt>
                <c:pt idx="715">
                  <c:v>#N/A</c:v>
                </c:pt>
                <c:pt idx="716">
                  <c:v>#N/A</c:v>
                </c:pt>
                <c:pt idx="717">
                  <c:v>#N/A</c:v>
                </c:pt>
                <c:pt idx="718">
                  <c:v>#N/A</c:v>
                </c:pt>
                <c:pt idx="719">
                  <c:v>#N/A</c:v>
                </c:pt>
                <c:pt idx="720">
                  <c:v>#N/A</c:v>
                </c:pt>
                <c:pt idx="721">
                  <c:v>#N/A</c:v>
                </c:pt>
                <c:pt idx="722">
                  <c:v>#N/A</c:v>
                </c:pt>
                <c:pt idx="723">
                  <c:v>#N/A</c:v>
                </c:pt>
                <c:pt idx="724">
                  <c:v>#N/A</c:v>
                </c:pt>
                <c:pt idx="725">
                  <c:v>#N/A</c:v>
                </c:pt>
                <c:pt idx="726">
                  <c:v>#N/A</c:v>
                </c:pt>
                <c:pt idx="727">
                  <c:v>#N/A</c:v>
                </c:pt>
                <c:pt idx="728">
                  <c:v>#N/A</c:v>
                </c:pt>
                <c:pt idx="729">
                  <c:v>#N/A</c:v>
                </c:pt>
                <c:pt idx="730">
                  <c:v>#N/A</c:v>
                </c:pt>
                <c:pt idx="731">
                  <c:v>#N/A</c:v>
                </c:pt>
                <c:pt idx="732">
                  <c:v>#N/A</c:v>
                </c:pt>
                <c:pt idx="733">
                  <c:v>#N/A</c:v>
                </c:pt>
                <c:pt idx="734">
                  <c:v>#N/A</c:v>
                </c:pt>
                <c:pt idx="735">
                  <c:v>#N/A</c:v>
                </c:pt>
                <c:pt idx="736">
                  <c:v>#N/A</c:v>
                </c:pt>
                <c:pt idx="737">
                  <c:v>#N/A</c:v>
                </c:pt>
                <c:pt idx="738">
                  <c:v>#N/A</c:v>
                </c:pt>
                <c:pt idx="739">
                  <c:v>#N/A</c:v>
                </c:pt>
                <c:pt idx="740">
                  <c:v>#N/A</c:v>
                </c:pt>
                <c:pt idx="741">
                  <c:v>#N/A</c:v>
                </c:pt>
                <c:pt idx="742">
                  <c:v>#N/A</c:v>
                </c:pt>
                <c:pt idx="743">
                  <c:v>#N/A</c:v>
                </c:pt>
                <c:pt idx="744">
                  <c:v>#N/A</c:v>
                </c:pt>
                <c:pt idx="745">
                  <c:v>#N/A</c:v>
                </c:pt>
                <c:pt idx="746">
                  <c:v>#N/A</c:v>
                </c:pt>
                <c:pt idx="747">
                  <c:v>#N/A</c:v>
                </c:pt>
                <c:pt idx="748">
                  <c:v>#N/A</c:v>
                </c:pt>
                <c:pt idx="749">
                  <c:v>#N/A</c:v>
                </c:pt>
                <c:pt idx="750">
                  <c:v>#N/A</c:v>
                </c:pt>
                <c:pt idx="751">
                  <c:v>#N/A</c:v>
                </c:pt>
                <c:pt idx="752">
                  <c:v>#N/A</c:v>
                </c:pt>
                <c:pt idx="753">
                  <c:v>#N/A</c:v>
                </c:pt>
                <c:pt idx="754">
                  <c:v>#N/A</c:v>
                </c:pt>
                <c:pt idx="755">
                  <c:v>#N/A</c:v>
                </c:pt>
                <c:pt idx="756">
                  <c:v>#N/A</c:v>
                </c:pt>
                <c:pt idx="757">
                  <c:v>#N/A</c:v>
                </c:pt>
                <c:pt idx="758">
                  <c:v>#N/A</c:v>
                </c:pt>
                <c:pt idx="759">
                  <c:v>#N/A</c:v>
                </c:pt>
                <c:pt idx="760">
                  <c:v>#N/A</c:v>
                </c:pt>
                <c:pt idx="761">
                  <c:v>#N/A</c:v>
                </c:pt>
                <c:pt idx="762">
                  <c:v>#N/A</c:v>
                </c:pt>
                <c:pt idx="763">
                  <c:v>#N/A</c:v>
                </c:pt>
                <c:pt idx="764">
                  <c:v>#N/A</c:v>
                </c:pt>
                <c:pt idx="765">
                  <c:v>#N/A</c:v>
                </c:pt>
                <c:pt idx="766">
                  <c:v>#N/A</c:v>
                </c:pt>
                <c:pt idx="767">
                  <c:v>#N/A</c:v>
                </c:pt>
                <c:pt idx="768">
                  <c:v>#N/A</c:v>
                </c:pt>
                <c:pt idx="769">
                  <c:v>#N/A</c:v>
                </c:pt>
                <c:pt idx="770">
                  <c:v>#N/A</c:v>
                </c:pt>
                <c:pt idx="771">
                  <c:v>#N/A</c:v>
                </c:pt>
                <c:pt idx="772">
                  <c:v>#N/A</c:v>
                </c:pt>
                <c:pt idx="773">
                  <c:v>#N/A</c:v>
                </c:pt>
                <c:pt idx="774">
                  <c:v>#N/A</c:v>
                </c:pt>
                <c:pt idx="775">
                  <c:v>#N/A</c:v>
                </c:pt>
                <c:pt idx="776">
                  <c:v>#N/A</c:v>
                </c:pt>
                <c:pt idx="777">
                  <c:v>#N/A</c:v>
                </c:pt>
                <c:pt idx="778">
                  <c:v>#N/A</c:v>
                </c:pt>
                <c:pt idx="779">
                  <c:v>#N/A</c:v>
                </c:pt>
                <c:pt idx="780">
                  <c:v>#N/A</c:v>
                </c:pt>
                <c:pt idx="781">
                  <c:v>#N/A</c:v>
                </c:pt>
                <c:pt idx="782">
                  <c:v>#N/A</c:v>
                </c:pt>
                <c:pt idx="783">
                  <c:v>#N/A</c:v>
                </c:pt>
                <c:pt idx="784">
                  <c:v>#N/A</c:v>
                </c:pt>
                <c:pt idx="785">
                  <c:v>#N/A</c:v>
                </c:pt>
                <c:pt idx="786">
                  <c:v>#N/A</c:v>
                </c:pt>
                <c:pt idx="787">
                  <c:v>#N/A</c:v>
                </c:pt>
                <c:pt idx="788">
                  <c:v>#N/A</c:v>
                </c:pt>
                <c:pt idx="789">
                  <c:v>#N/A</c:v>
                </c:pt>
                <c:pt idx="790">
                  <c:v>#N/A</c:v>
                </c:pt>
                <c:pt idx="791">
                  <c:v>#N/A</c:v>
                </c:pt>
                <c:pt idx="792">
                  <c:v>#N/A</c:v>
                </c:pt>
                <c:pt idx="793">
                  <c:v>#N/A</c:v>
                </c:pt>
                <c:pt idx="794">
                  <c:v>#N/A</c:v>
                </c:pt>
                <c:pt idx="795">
                  <c:v>#N/A</c:v>
                </c:pt>
                <c:pt idx="796">
                  <c:v>#N/A</c:v>
                </c:pt>
                <c:pt idx="797">
                  <c:v>#N/A</c:v>
                </c:pt>
                <c:pt idx="798">
                  <c:v>#N/A</c:v>
                </c:pt>
                <c:pt idx="799">
                  <c:v>#N/A</c:v>
                </c:pt>
                <c:pt idx="800">
                  <c:v>#N/A</c:v>
                </c:pt>
                <c:pt idx="801">
                  <c:v>#N/A</c:v>
                </c:pt>
                <c:pt idx="802">
                  <c:v>#N/A</c:v>
                </c:pt>
                <c:pt idx="803">
                  <c:v>#N/A</c:v>
                </c:pt>
                <c:pt idx="804">
                  <c:v>#N/A</c:v>
                </c:pt>
                <c:pt idx="805">
                  <c:v>#N/A</c:v>
                </c:pt>
                <c:pt idx="806">
                  <c:v>#N/A</c:v>
                </c:pt>
                <c:pt idx="807">
                  <c:v>#N/A</c:v>
                </c:pt>
                <c:pt idx="808">
                  <c:v>#N/A</c:v>
                </c:pt>
                <c:pt idx="809">
                  <c:v>#N/A</c:v>
                </c:pt>
                <c:pt idx="810">
                  <c:v>#N/A</c:v>
                </c:pt>
                <c:pt idx="811">
                  <c:v>#N/A</c:v>
                </c:pt>
                <c:pt idx="812">
                  <c:v>#N/A</c:v>
                </c:pt>
                <c:pt idx="813">
                  <c:v>#N/A</c:v>
                </c:pt>
                <c:pt idx="814">
                  <c:v>#N/A</c:v>
                </c:pt>
                <c:pt idx="815">
                  <c:v>#N/A</c:v>
                </c:pt>
                <c:pt idx="816">
                  <c:v>#N/A</c:v>
                </c:pt>
                <c:pt idx="817">
                  <c:v>#N/A</c:v>
                </c:pt>
                <c:pt idx="818">
                  <c:v>#N/A</c:v>
                </c:pt>
                <c:pt idx="819">
                  <c:v>#N/A</c:v>
                </c:pt>
                <c:pt idx="820">
                  <c:v>#N/A</c:v>
                </c:pt>
                <c:pt idx="821">
                  <c:v>#N/A</c:v>
                </c:pt>
                <c:pt idx="822">
                  <c:v>#N/A</c:v>
                </c:pt>
                <c:pt idx="823">
                  <c:v>#N/A</c:v>
                </c:pt>
                <c:pt idx="824">
                  <c:v>#N/A</c:v>
                </c:pt>
                <c:pt idx="825">
                  <c:v>#N/A</c:v>
                </c:pt>
                <c:pt idx="826">
                  <c:v>#N/A</c:v>
                </c:pt>
                <c:pt idx="827">
                  <c:v>#N/A</c:v>
                </c:pt>
                <c:pt idx="828">
                  <c:v>#N/A</c:v>
                </c:pt>
                <c:pt idx="829">
                  <c:v>#N/A</c:v>
                </c:pt>
                <c:pt idx="830">
                  <c:v>#N/A</c:v>
                </c:pt>
                <c:pt idx="831">
                  <c:v>#N/A</c:v>
                </c:pt>
                <c:pt idx="832">
                  <c:v>#N/A</c:v>
                </c:pt>
                <c:pt idx="833">
                  <c:v>#N/A</c:v>
                </c:pt>
                <c:pt idx="834">
                  <c:v>#N/A</c:v>
                </c:pt>
                <c:pt idx="835">
                  <c:v>#N/A</c:v>
                </c:pt>
                <c:pt idx="836">
                  <c:v>#N/A</c:v>
                </c:pt>
                <c:pt idx="837">
                  <c:v>#N/A</c:v>
                </c:pt>
                <c:pt idx="838">
                  <c:v>#N/A</c:v>
                </c:pt>
                <c:pt idx="839">
                  <c:v>#N/A</c:v>
                </c:pt>
                <c:pt idx="840">
                  <c:v>#N/A</c:v>
                </c:pt>
                <c:pt idx="841">
                  <c:v>#N/A</c:v>
                </c:pt>
                <c:pt idx="842">
                  <c:v>#N/A</c:v>
                </c:pt>
                <c:pt idx="843">
                  <c:v>#N/A</c:v>
                </c:pt>
                <c:pt idx="844">
                  <c:v>#N/A</c:v>
                </c:pt>
                <c:pt idx="845">
                  <c:v>#N/A</c:v>
                </c:pt>
                <c:pt idx="846">
                  <c:v>#N/A</c:v>
                </c:pt>
                <c:pt idx="847">
                  <c:v>#N/A</c:v>
                </c:pt>
                <c:pt idx="848">
                  <c:v>#N/A</c:v>
                </c:pt>
                <c:pt idx="849">
                  <c:v>#N/A</c:v>
                </c:pt>
                <c:pt idx="850">
                  <c:v>#N/A</c:v>
                </c:pt>
                <c:pt idx="851">
                  <c:v>#N/A</c:v>
                </c:pt>
                <c:pt idx="852">
                  <c:v>#N/A</c:v>
                </c:pt>
                <c:pt idx="853">
                  <c:v>#N/A</c:v>
                </c:pt>
                <c:pt idx="854">
                  <c:v>#N/A</c:v>
                </c:pt>
                <c:pt idx="855">
                  <c:v>#N/A</c:v>
                </c:pt>
                <c:pt idx="856">
                  <c:v>#N/A</c:v>
                </c:pt>
                <c:pt idx="857">
                  <c:v>#N/A</c:v>
                </c:pt>
                <c:pt idx="858">
                  <c:v>#N/A</c:v>
                </c:pt>
                <c:pt idx="859">
                  <c:v>#N/A</c:v>
                </c:pt>
                <c:pt idx="860">
                  <c:v>#N/A</c:v>
                </c:pt>
                <c:pt idx="861">
                  <c:v>#N/A</c:v>
                </c:pt>
                <c:pt idx="862">
                  <c:v>#N/A</c:v>
                </c:pt>
                <c:pt idx="863">
                  <c:v>#N/A</c:v>
                </c:pt>
                <c:pt idx="864">
                  <c:v>#N/A</c:v>
                </c:pt>
                <c:pt idx="865">
                  <c:v>#N/A</c:v>
                </c:pt>
                <c:pt idx="866">
                  <c:v>#N/A</c:v>
                </c:pt>
                <c:pt idx="867">
                  <c:v>#N/A</c:v>
                </c:pt>
                <c:pt idx="868">
                  <c:v>#N/A</c:v>
                </c:pt>
                <c:pt idx="869">
                  <c:v>#N/A</c:v>
                </c:pt>
                <c:pt idx="870">
                  <c:v>#N/A</c:v>
                </c:pt>
                <c:pt idx="871">
                  <c:v>#N/A</c:v>
                </c:pt>
                <c:pt idx="872">
                  <c:v>#N/A</c:v>
                </c:pt>
                <c:pt idx="873">
                  <c:v>#N/A</c:v>
                </c:pt>
                <c:pt idx="874">
                  <c:v>#N/A</c:v>
                </c:pt>
                <c:pt idx="875">
                  <c:v>#N/A</c:v>
                </c:pt>
                <c:pt idx="876">
                  <c:v>#N/A</c:v>
                </c:pt>
                <c:pt idx="877">
                  <c:v>#N/A</c:v>
                </c:pt>
                <c:pt idx="878">
                  <c:v>#N/A</c:v>
                </c:pt>
                <c:pt idx="879">
                  <c:v>#N/A</c:v>
                </c:pt>
                <c:pt idx="880">
                  <c:v>#N/A</c:v>
                </c:pt>
                <c:pt idx="881">
                  <c:v>#N/A</c:v>
                </c:pt>
                <c:pt idx="882">
                  <c:v>#N/A</c:v>
                </c:pt>
                <c:pt idx="883">
                  <c:v>#N/A</c:v>
                </c:pt>
                <c:pt idx="884">
                  <c:v>#N/A</c:v>
                </c:pt>
                <c:pt idx="885">
                  <c:v>#N/A</c:v>
                </c:pt>
                <c:pt idx="886">
                  <c:v>#N/A</c:v>
                </c:pt>
                <c:pt idx="887">
                  <c:v>#N/A</c:v>
                </c:pt>
                <c:pt idx="888">
                  <c:v>#N/A</c:v>
                </c:pt>
                <c:pt idx="889">
                  <c:v>#N/A</c:v>
                </c:pt>
                <c:pt idx="890">
                  <c:v>#N/A</c:v>
                </c:pt>
                <c:pt idx="891">
                  <c:v>#N/A</c:v>
                </c:pt>
                <c:pt idx="892">
                  <c:v>#N/A</c:v>
                </c:pt>
                <c:pt idx="893">
                  <c:v>#N/A</c:v>
                </c:pt>
                <c:pt idx="894">
                  <c:v>#N/A</c:v>
                </c:pt>
                <c:pt idx="895">
                  <c:v>#N/A</c:v>
                </c:pt>
                <c:pt idx="896">
                  <c:v>#N/A</c:v>
                </c:pt>
                <c:pt idx="897">
                  <c:v>#N/A</c:v>
                </c:pt>
                <c:pt idx="898">
                  <c:v>#N/A</c:v>
                </c:pt>
                <c:pt idx="899">
                  <c:v>#N/A</c:v>
                </c:pt>
                <c:pt idx="900">
                  <c:v>#N/A</c:v>
                </c:pt>
                <c:pt idx="901">
                  <c:v>#N/A</c:v>
                </c:pt>
                <c:pt idx="902">
                  <c:v>#N/A</c:v>
                </c:pt>
                <c:pt idx="903">
                  <c:v>#N/A</c:v>
                </c:pt>
                <c:pt idx="904">
                  <c:v>#N/A</c:v>
                </c:pt>
                <c:pt idx="905">
                  <c:v>#N/A</c:v>
                </c:pt>
                <c:pt idx="906">
                  <c:v>#N/A</c:v>
                </c:pt>
                <c:pt idx="907">
                  <c:v>#N/A</c:v>
                </c:pt>
                <c:pt idx="908">
                  <c:v>#N/A</c:v>
                </c:pt>
                <c:pt idx="909">
                  <c:v>#N/A</c:v>
                </c:pt>
                <c:pt idx="910">
                  <c:v>#N/A</c:v>
                </c:pt>
                <c:pt idx="911">
                  <c:v>#N/A</c:v>
                </c:pt>
                <c:pt idx="912">
                  <c:v>#N/A</c:v>
                </c:pt>
                <c:pt idx="913">
                  <c:v>#N/A</c:v>
                </c:pt>
                <c:pt idx="914">
                  <c:v>#N/A</c:v>
                </c:pt>
                <c:pt idx="915">
                  <c:v>#N/A</c:v>
                </c:pt>
                <c:pt idx="916">
                  <c:v>#N/A</c:v>
                </c:pt>
                <c:pt idx="917">
                  <c:v>#N/A</c:v>
                </c:pt>
                <c:pt idx="918">
                  <c:v>#N/A</c:v>
                </c:pt>
                <c:pt idx="919">
                  <c:v>#N/A</c:v>
                </c:pt>
                <c:pt idx="920">
                  <c:v>#N/A</c:v>
                </c:pt>
                <c:pt idx="921">
                  <c:v>#N/A</c:v>
                </c:pt>
                <c:pt idx="922">
                  <c:v>#N/A</c:v>
                </c:pt>
                <c:pt idx="923">
                  <c:v>#N/A</c:v>
                </c:pt>
                <c:pt idx="924">
                  <c:v>#N/A</c:v>
                </c:pt>
                <c:pt idx="925">
                  <c:v>#N/A</c:v>
                </c:pt>
                <c:pt idx="926">
                  <c:v>#N/A</c:v>
                </c:pt>
                <c:pt idx="927">
                  <c:v>#N/A</c:v>
                </c:pt>
                <c:pt idx="928">
                  <c:v>#N/A</c:v>
                </c:pt>
                <c:pt idx="929">
                  <c:v>#N/A</c:v>
                </c:pt>
                <c:pt idx="930">
                  <c:v>#N/A</c:v>
                </c:pt>
                <c:pt idx="931">
                  <c:v>#N/A</c:v>
                </c:pt>
                <c:pt idx="932">
                  <c:v>#N/A</c:v>
                </c:pt>
                <c:pt idx="933">
                  <c:v>#N/A</c:v>
                </c:pt>
                <c:pt idx="934">
                  <c:v>#N/A</c:v>
                </c:pt>
                <c:pt idx="935">
                  <c:v>#N/A</c:v>
                </c:pt>
                <c:pt idx="936">
                  <c:v>#N/A</c:v>
                </c:pt>
                <c:pt idx="937">
                  <c:v>#N/A</c:v>
                </c:pt>
                <c:pt idx="938">
                  <c:v>#N/A</c:v>
                </c:pt>
                <c:pt idx="939">
                  <c:v>#N/A</c:v>
                </c:pt>
                <c:pt idx="940">
                  <c:v>#N/A</c:v>
                </c:pt>
                <c:pt idx="941">
                  <c:v>#N/A</c:v>
                </c:pt>
                <c:pt idx="942">
                  <c:v>#N/A</c:v>
                </c:pt>
                <c:pt idx="943">
                  <c:v>#N/A</c:v>
                </c:pt>
                <c:pt idx="944">
                  <c:v>#N/A</c:v>
                </c:pt>
                <c:pt idx="945">
                  <c:v>#N/A</c:v>
                </c:pt>
                <c:pt idx="946">
                  <c:v>#N/A</c:v>
                </c:pt>
                <c:pt idx="947">
                  <c:v>#N/A</c:v>
                </c:pt>
                <c:pt idx="948">
                  <c:v>#N/A</c:v>
                </c:pt>
                <c:pt idx="949">
                  <c:v>#N/A</c:v>
                </c:pt>
                <c:pt idx="950">
                  <c:v>#N/A</c:v>
                </c:pt>
                <c:pt idx="951">
                  <c:v>#N/A</c:v>
                </c:pt>
                <c:pt idx="952">
                  <c:v>#N/A</c:v>
                </c:pt>
                <c:pt idx="953">
                  <c:v>#N/A</c:v>
                </c:pt>
                <c:pt idx="954">
                  <c:v>#N/A</c:v>
                </c:pt>
                <c:pt idx="955">
                  <c:v>#N/A</c:v>
                </c:pt>
                <c:pt idx="956">
                  <c:v>#N/A</c:v>
                </c:pt>
                <c:pt idx="957">
                  <c:v>#N/A</c:v>
                </c:pt>
                <c:pt idx="958">
                  <c:v>#N/A</c:v>
                </c:pt>
                <c:pt idx="959">
                  <c:v>#N/A</c:v>
                </c:pt>
                <c:pt idx="960">
                  <c:v>#N/A</c:v>
                </c:pt>
                <c:pt idx="961">
                  <c:v>#N/A</c:v>
                </c:pt>
                <c:pt idx="962">
                  <c:v>#N/A</c:v>
                </c:pt>
                <c:pt idx="963">
                  <c:v>#N/A</c:v>
                </c:pt>
                <c:pt idx="964">
                  <c:v>#N/A</c:v>
                </c:pt>
                <c:pt idx="965">
                  <c:v>#N/A</c:v>
                </c:pt>
                <c:pt idx="966">
                  <c:v>#N/A</c:v>
                </c:pt>
                <c:pt idx="967">
                  <c:v>#N/A</c:v>
                </c:pt>
                <c:pt idx="968">
                  <c:v>#N/A</c:v>
                </c:pt>
                <c:pt idx="969">
                  <c:v>#N/A</c:v>
                </c:pt>
                <c:pt idx="970">
                  <c:v>#N/A</c:v>
                </c:pt>
                <c:pt idx="971">
                  <c:v>#N/A</c:v>
                </c:pt>
                <c:pt idx="972">
                  <c:v>#N/A</c:v>
                </c:pt>
                <c:pt idx="973">
                  <c:v>#N/A</c:v>
                </c:pt>
                <c:pt idx="974">
                  <c:v>#N/A</c:v>
                </c:pt>
                <c:pt idx="975">
                  <c:v>#N/A</c:v>
                </c:pt>
                <c:pt idx="976">
                  <c:v>#N/A</c:v>
                </c:pt>
                <c:pt idx="977">
                  <c:v>#N/A</c:v>
                </c:pt>
                <c:pt idx="978">
                  <c:v>#N/A</c:v>
                </c:pt>
                <c:pt idx="979">
                  <c:v>#N/A</c:v>
                </c:pt>
                <c:pt idx="980">
                  <c:v>#N/A</c:v>
                </c:pt>
                <c:pt idx="981">
                  <c:v>#N/A</c:v>
                </c:pt>
                <c:pt idx="982">
                  <c:v>#N/A</c:v>
                </c:pt>
                <c:pt idx="983">
                  <c:v>#N/A</c:v>
                </c:pt>
                <c:pt idx="984">
                  <c:v>#N/A</c:v>
                </c:pt>
                <c:pt idx="985">
                  <c:v>#N/A</c:v>
                </c:pt>
                <c:pt idx="986">
                  <c:v>#N/A</c:v>
                </c:pt>
                <c:pt idx="987">
                  <c:v>#N/A</c:v>
                </c:pt>
                <c:pt idx="988">
                  <c:v>#N/A</c:v>
                </c:pt>
                <c:pt idx="989">
                  <c:v>#N/A</c:v>
                </c:pt>
                <c:pt idx="990">
                  <c:v>#N/A</c:v>
                </c:pt>
                <c:pt idx="991">
                  <c:v>#N/A</c:v>
                </c:pt>
                <c:pt idx="992">
                  <c:v>#N/A</c:v>
                </c:pt>
                <c:pt idx="993">
                  <c:v>#N/A</c:v>
                </c:pt>
                <c:pt idx="994">
                  <c:v>#N/A</c:v>
                </c:pt>
                <c:pt idx="995">
                  <c:v>#N/A</c:v>
                </c:pt>
                <c:pt idx="996">
                  <c:v>#N/A</c:v>
                </c:pt>
                <c:pt idx="997">
                  <c:v>#N/A</c:v>
                </c:pt>
                <c:pt idx="998">
                  <c:v>#N/A</c:v>
                </c:pt>
                <c:pt idx="999">
                  <c:v>#N/A</c:v>
                </c:pt>
                <c:pt idx="1000">
                  <c:v>#N/A</c:v>
                </c:pt>
                <c:pt idx="1001">
                  <c:v>#N/A</c:v>
                </c:pt>
                <c:pt idx="1002">
                  <c:v>#N/A</c:v>
                </c:pt>
                <c:pt idx="1003">
                  <c:v>#N/A</c:v>
                </c:pt>
                <c:pt idx="1004">
                  <c:v>#N/A</c:v>
                </c:pt>
                <c:pt idx="1005">
                  <c:v>#N/A</c:v>
                </c:pt>
                <c:pt idx="1006">
                  <c:v>#N/A</c:v>
                </c:pt>
                <c:pt idx="1007">
                  <c:v>#N/A</c:v>
                </c:pt>
                <c:pt idx="1008">
                  <c:v>#N/A</c:v>
                </c:pt>
                <c:pt idx="1009">
                  <c:v>#N/A</c:v>
                </c:pt>
                <c:pt idx="1010">
                  <c:v>#N/A</c:v>
                </c:pt>
                <c:pt idx="1011">
                  <c:v>#N/A</c:v>
                </c:pt>
                <c:pt idx="1012">
                  <c:v>#N/A</c:v>
                </c:pt>
                <c:pt idx="1013">
                  <c:v>#N/A</c:v>
                </c:pt>
                <c:pt idx="1014">
                  <c:v>#N/A</c:v>
                </c:pt>
                <c:pt idx="1015">
                  <c:v>#N/A</c:v>
                </c:pt>
                <c:pt idx="1016">
                  <c:v>#N/A</c:v>
                </c:pt>
                <c:pt idx="1017">
                  <c:v>#N/A</c:v>
                </c:pt>
                <c:pt idx="1018">
                  <c:v>#N/A</c:v>
                </c:pt>
                <c:pt idx="1019">
                  <c:v>#N/A</c:v>
                </c:pt>
                <c:pt idx="1020">
                  <c:v>#N/A</c:v>
                </c:pt>
                <c:pt idx="1021">
                  <c:v>#N/A</c:v>
                </c:pt>
                <c:pt idx="1022">
                  <c:v>#N/A</c:v>
                </c:pt>
                <c:pt idx="1023">
                  <c:v>#N/A</c:v>
                </c:pt>
                <c:pt idx="1024">
                  <c:v>#N/A</c:v>
                </c:pt>
                <c:pt idx="1025">
                  <c:v>#N/A</c:v>
                </c:pt>
                <c:pt idx="1026">
                  <c:v>#N/A</c:v>
                </c:pt>
                <c:pt idx="1027">
                  <c:v>#N/A</c:v>
                </c:pt>
                <c:pt idx="1028">
                  <c:v>#N/A</c:v>
                </c:pt>
                <c:pt idx="1029">
                  <c:v>#N/A</c:v>
                </c:pt>
                <c:pt idx="1030">
                  <c:v>#N/A</c:v>
                </c:pt>
                <c:pt idx="1031">
                  <c:v>#N/A</c:v>
                </c:pt>
                <c:pt idx="1032">
                  <c:v>#N/A</c:v>
                </c:pt>
                <c:pt idx="1033">
                  <c:v>#N/A</c:v>
                </c:pt>
                <c:pt idx="1034">
                  <c:v>#N/A</c:v>
                </c:pt>
                <c:pt idx="1035">
                  <c:v>#N/A</c:v>
                </c:pt>
                <c:pt idx="1036">
                  <c:v>#N/A</c:v>
                </c:pt>
                <c:pt idx="1037">
                  <c:v>#N/A</c:v>
                </c:pt>
                <c:pt idx="1038">
                  <c:v>#N/A</c:v>
                </c:pt>
                <c:pt idx="1039">
                  <c:v>#N/A</c:v>
                </c:pt>
                <c:pt idx="1040">
                  <c:v>#N/A</c:v>
                </c:pt>
                <c:pt idx="1041">
                  <c:v>#N/A</c:v>
                </c:pt>
                <c:pt idx="1042">
                  <c:v>#N/A</c:v>
                </c:pt>
                <c:pt idx="1043">
                  <c:v>#N/A</c:v>
                </c:pt>
                <c:pt idx="1044">
                  <c:v>#N/A</c:v>
                </c:pt>
                <c:pt idx="1045">
                  <c:v>#N/A</c:v>
                </c:pt>
                <c:pt idx="1046">
                  <c:v>#N/A</c:v>
                </c:pt>
                <c:pt idx="1047">
                  <c:v>#N/A</c:v>
                </c:pt>
                <c:pt idx="1048">
                  <c:v>#N/A</c:v>
                </c:pt>
                <c:pt idx="1049">
                  <c:v>#N/A</c:v>
                </c:pt>
                <c:pt idx="1050">
                  <c:v>#N/A</c:v>
                </c:pt>
                <c:pt idx="1051">
                  <c:v>#N/A</c:v>
                </c:pt>
                <c:pt idx="1052">
                  <c:v>#N/A</c:v>
                </c:pt>
                <c:pt idx="1053">
                  <c:v>#N/A</c:v>
                </c:pt>
                <c:pt idx="1054">
                  <c:v>#N/A</c:v>
                </c:pt>
                <c:pt idx="1055">
                  <c:v>#N/A</c:v>
                </c:pt>
                <c:pt idx="1056">
                  <c:v>#N/A</c:v>
                </c:pt>
                <c:pt idx="1057">
                  <c:v>#N/A</c:v>
                </c:pt>
                <c:pt idx="1058">
                  <c:v>#N/A</c:v>
                </c:pt>
                <c:pt idx="1059">
                  <c:v>#N/A</c:v>
                </c:pt>
                <c:pt idx="1060">
                  <c:v>#N/A</c:v>
                </c:pt>
                <c:pt idx="1061">
                  <c:v>#N/A</c:v>
                </c:pt>
                <c:pt idx="1062">
                  <c:v>#N/A</c:v>
                </c:pt>
                <c:pt idx="1063">
                  <c:v>#N/A</c:v>
                </c:pt>
                <c:pt idx="1064">
                  <c:v>#N/A</c:v>
                </c:pt>
                <c:pt idx="1065">
                  <c:v>#N/A</c:v>
                </c:pt>
                <c:pt idx="1066">
                  <c:v>#N/A</c:v>
                </c:pt>
                <c:pt idx="1067">
                  <c:v>#N/A</c:v>
                </c:pt>
                <c:pt idx="1068">
                  <c:v>#N/A</c:v>
                </c:pt>
                <c:pt idx="1069">
                  <c:v>#N/A</c:v>
                </c:pt>
                <c:pt idx="1070">
                  <c:v>#N/A</c:v>
                </c:pt>
                <c:pt idx="1071">
                  <c:v>#N/A</c:v>
                </c:pt>
                <c:pt idx="1072">
                  <c:v>#N/A</c:v>
                </c:pt>
                <c:pt idx="1073">
                  <c:v>#N/A</c:v>
                </c:pt>
                <c:pt idx="1074">
                  <c:v>#N/A</c:v>
                </c:pt>
                <c:pt idx="1075">
                  <c:v>#N/A</c:v>
                </c:pt>
                <c:pt idx="1076">
                  <c:v>#N/A</c:v>
                </c:pt>
                <c:pt idx="1077">
                  <c:v>#N/A</c:v>
                </c:pt>
                <c:pt idx="1078">
                  <c:v>#N/A</c:v>
                </c:pt>
                <c:pt idx="1079">
                  <c:v>#N/A</c:v>
                </c:pt>
                <c:pt idx="1080">
                  <c:v>#N/A</c:v>
                </c:pt>
                <c:pt idx="1081">
                  <c:v>#N/A</c:v>
                </c:pt>
                <c:pt idx="1082">
                  <c:v>#N/A</c:v>
                </c:pt>
                <c:pt idx="1083">
                  <c:v>#N/A</c:v>
                </c:pt>
                <c:pt idx="1084">
                  <c:v>#N/A</c:v>
                </c:pt>
                <c:pt idx="1085">
                  <c:v>#N/A</c:v>
                </c:pt>
                <c:pt idx="1086">
                  <c:v>#N/A</c:v>
                </c:pt>
                <c:pt idx="1087">
                  <c:v>#N/A</c:v>
                </c:pt>
                <c:pt idx="1088">
                  <c:v>#N/A</c:v>
                </c:pt>
                <c:pt idx="1089">
                  <c:v>#N/A</c:v>
                </c:pt>
                <c:pt idx="1090">
                  <c:v>#N/A</c:v>
                </c:pt>
                <c:pt idx="1091">
                  <c:v>#N/A</c:v>
                </c:pt>
                <c:pt idx="1092">
                  <c:v>#N/A</c:v>
                </c:pt>
                <c:pt idx="1093">
                  <c:v>#N/A</c:v>
                </c:pt>
                <c:pt idx="1094">
                  <c:v>#N/A</c:v>
                </c:pt>
                <c:pt idx="1095">
                  <c:v>#N/A</c:v>
                </c:pt>
                <c:pt idx="1096">
                  <c:v>#N/A</c:v>
                </c:pt>
                <c:pt idx="1097">
                  <c:v>#N/A</c:v>
                </c:pt>
                <c:pt idx="1098">
                  <c:v>#N/A</c:v>
                </c:pt>
                <c:pt idx="1099">
                  <c:v>#N/A</c:v>
                </c:pt>
                <c:pt idx="1100">
                  <c:v>#N/A</c:v>
                </c:pt>
                <c:pt idx="1101">
                  <c:v>#N/A</c:v>
                </c:pt>
                <c:pt idx="1102">
                  <c:v>#N/A</c:v>
                </c:pt>
                <c:pt idx="1103">
                  <c:v>#N/A</c:v>
                </c:pt>
                <c:pt idx="1104">
                  <c:v>#N/A</c:v>
                </c:pt>
                <c:pt idx="1105">
                  <c:v>#N/A</c:v>
                </c:pt>
                <c:pt idx="1106">
                  <c:v>#N/A</c:v>
                </c:pt>
                <c:pt idx="1107">
                  <c:v>#N/A</c:v>
                </c:pt>
                <c:pt idx="1108">
                  <c:v>#N/A</c:v>
                </c:pt>
                <c:pt idx="1109">
                  <c:v>#N/A</c:v>
                </c:pt>
                <c:pt idx="1110">
                  <c:v>#N/A</c:v>
                </c:pt>
                <c:pt idx="1111">
                  <c:v>#N/A</c:v>
                </c:pt>
                <c:pt idx="1112">
                  <c:v>#N/A</c:v>
                </c:pt>
                <c:pt idx="1113">
                  <c:v>#N/A</c:v>
                </c:pt>
                <c:pt idx="1114">
                  <c:v>#N/A</c:v>
                </c:pt>
                <c:pt idx="1115">
                  <c:v>#N/A</c:v>
                </c:pt>
                <c:pt idx="1116">
                  <c:v>#N/A</c:v>
                </c:pt>
                <c:pt idx="1117">
                  <c:v>#N/A</c:v>
                </c:pt>
                <c:pt idx="1118">
                  <c:v>#N/A</c:v>
                </c:pt>
                <c:pt idx="1119">
                  <c:v>#N/A</c:v>
                </c:pt>
                <c:pt idx="1120">
                  <c:v>#N/A</c:v>
                </c:pt>
                <c:pt idx="1121">
                  <c:v>#N/A</c:v>
                </c:pt>
                <c:pt idx="1122">
                  <c:v>#N/A</c:v>
                </c:pt>
                <c:pt idx="1123">
                  <c:v>#N/A</c:v>
                </c:pt>
                <c:pt idx="1124">
                  <c:v>#N/A</c:v>
                </c:pt>
                <c:pt idx="1125">
                  <c:v>#N/A</c:v>
                </c:pt>
                <c:pt idx="1126">
                  <c:v>#N/A</c:v>
                </c:pt>
                <c:pt idx="1127">
                  <c:v>#N/A</c:v>
                </c:pt>
                <c:pt idx="1128">
                  <c:v>#N/A</c:v>
                </c:pt>
                <c:pt idx="1129">
                  <c:v>#N/A</c:v>
                </c:pt>
                <c:pt idx="1130">
                  <c:v>#N/A</c:v>
                </c:pt>
                <c:pt idx="1131">
                  <c:v>#N/A</c:v>
                </c:pt>
                <c:pt idx="1132">
                  <c:v>#N/A</c:v>
                </c:pt>
                <c:pt idx="1133">
                  <c:v>#N/A</c:v>
                </c:pt>
                <c:pt idx="1134">
                  <c:v>#N/A</c:v>
                </c:pt>
                <c:pt idx="1135">
                  <c:v>#N/A</c:v>
                </c:pt>
                <c:pt idx="1136">
                  <c:v>#N/A</c:v>
                </c:pt>
                <c:pt idx="1137">
                  <c:v>#N/A</c:v>
                </c:pt>
                <c:pt idx="1138">
                  <c:v>#N/A</c:v>
                </c:pt>
                <c:pt idx="1139">
                  <c:v>#N/A</c:v>
                </c:pt>
                <c:pt idx="1140">
                  <c:v>#N/A</c:v>
                </c:pt>
                <c:pt idx="1141">
                  <c:v>#N/A</c:v>
                </c:pt>
                <c:pt idx="1142">
                  <c:v>#N/A</c:v>
                </c:pt>
                <c:pt idx="1143">
                  <c:v>#N/A</c:v>
                </c:pt>
                <c:pt idx="1144">
                  <c:v>#N/A</c:v>
                </c:pt>
                <c:pt idx="1145">
                  <c:v>#N/A</c:v>
                </c:pt>
                <c:pt idx="1146">
                  <c:v>#N/A</c:v>
                </c:pt>
                <c:pt idx="1147">
                  <c:v>#N/A</c:v>
                </c:pt>
                <c:pt idx="1148">
                  <c:v>#N/A</c:v>
                </c:pt>
                <c:pt idx="1149">
                  <c:v>#N/A</c:v>
                </c:pt>
                <c:pt idx="1150">
                  <c:v>#N/A</c:v>
                </c:pt>
                <c:pt idx="1151">
                  <c:v>#N/A</c:v>
                </c:pt>
                <c:pt idx="1152">
                  <c:v>#N/A</c:v>
                </c:pt>
                <c:pt idx="1153">
                  <c:v>#N/A</c:v>
                </c:pt>
                <c:pt idx="1154">
                  <c:v>#N/A</c:v>
                </c:pt>
                <c:pt idx="1155">
                  <c:v>#N/A</c:v>
                </c:pt>
                <c:pt idx="1156">
                  <c:v>#N/A</c:v>
                </c:pt>
                <c:pt idx="1157">
                  <c:v>#N/A</c:v>
                </c:pt>
                <c:pt idx="1158">
                  <c:v>#N/A</c:v>
                </c:pt>
                <c:pt idx="1159">
                  <c:v>#N/A</c:v>
                </c:pt>
                <c:pt idx="1160">
                  <c:v>#N/A</c:v>
                </c:pt>
                <c:pt idx="1161">
                  <c:v>#N/A</c:v>
                </c:pt>
                <c:pt idx="1162">
                  <c:v>#N/A</c:v>
                </c:pt>
                <c:pt idx="1163">
                  <c:v>#N/A</c:v>
                </c:pt>
                <c:pt idx="1164">
                  <c:v>#N/A</c:v>
                </c:pt>
                <c:pt idx="1165">
                  <c:v>#N/A</c:v>
                </c:pt>
                <c:pt idx="1166">
                  <c:v>#N/A</c:v>
                </c:pt>
                <c:pt idx="1167">
                  <c:v>#N/A</c:v>
                </c:pt>
                <c:pt idx="1168">
                  <c:v>#N/A</c:v>
                </c:pt>
                <c:pt idx="1169">
                  <c:v>#N/A</c:v>
                </c:pt>
                <c:pt idx="1170">
                  <c:v>#N/A</c:v>
                </c:pt>
                <c:pt idx="1171">
                  <c:v>#N/A</c:v>
                </c:pt>
                <c:pt idx="1172">
                  <c:v>#N/A</c:v>
                </c:pt>
                <c:pt idx="1173">
                  <c:v>#N/A</c:v>
                </c:pt>
                <c:pt idx="1174">
                  <c:v>#N/A</c:v>
                </c:pt>
                <c:pt idx="1175">
                  <c:v>#N/A</c:v>
                </c:pt>
                <c:pt idx="1176">
                  <c:v>#N/A</c:v>
                </c:pt>
                <c:pt idx="1177">
                  <c:v>#N/A</c:v>
                </c:pt>
                <c:pt idx="1178">
                  <c:v>#N/A</c:v>
                </c:pt>
                <c:pt idx="1179">
                  <c:v>#N/A</c:v>
                </c:pt>
                <c:pt idx="1180">
                  <c:v>#N/A</c:v>
                </c:pt>
                <c:pt idx="1181">
                  <c:v>#N/A</c:v>
                </c:pt>
                <c:pt idx="1182">
                  <c:v>#N/A</c:v>
                </c:pt>
                <c:pt idx="1183">
                  <c:v>#N/A</c:v>
                </c:pt>
                <c:pt idx="1184">
                  <c:v>#N/A</c:v>
                </c:pt>
                <c:pt idx="1185">
                  <c:v>#N/A</c:v>
                </c:pt>
                <c:pt idx="1186">
                  <c:v>#N/A</c:v>
                </c:pt>
                <c:pt idx="1187">
                  <c:v>#N/A</c:v>
                </c:pt>
                <c:pt idx="1188">
                  <c:v>#N/A</c:v>
                </c:pt>
                <c:pt idx="1189">
                  <c:v>#N/A</c:v>
                </c:pt>
                <c:pt idx="1190">
                  <c:v>#N/A</c:v>
                </c:pt>
                <c:pt idx="1191">
                  <c:v>#N/A</c:v>
                </c:pt>
                <c:pt idx="1192">
                  <c:v>#N/A</c:v>
                </c:pt>
                <c:pt idx="1193">
                  <c:v>#N/A</c:v>
                </c:pt>
                <c:pt idx="1194">
                  <c:v>#N/A</c:v>
                </c:pt>
                <c:pt idx="1195">
                  <c:v>#N/A</c:v>
                </c:pt>
                <c:pt idx="1196">
                  <c:v>#N/A</c:v>
                </c:pt>
                <c:pt idx="1197">
                  <c:v>#N/A</c:v>
                </c:pt>
                <c:pt idx="1198">
                  <c:v>#N/A</c:v>
                </c:pt>
                <c:pt idx="1199">
                  <c:v>#N/A</c:v>
                </c:pt>
                <c:pt idx="1200">
                  <c:v>#N/A</c:v>
                </c:pt>
                <c:pt idx="1201">
                  <c:v>#N/A</c:v>
                </c:pt>
                <c:pt idx="1202">
                  <c:v>#N/A</c:v>
                </c:pt>
                <c:pt idx="1203">
                  <c:v>#N/A</c:v>
                </c:pt>
                <c:pt idx="1204">
                  <c:v>#N/A</c:v>
                </c:pt>
                <c:pt idx="1205">
                  <c:v>#N/A</c:v>
                </c:pt>
                <c:pt idx="1206">
                  <c:v>#N/A</c:v>
                </c:pt>
                <c:pt idx="1207">
                  <c:v>#N/A</c:v>
                </c:pt>
                <c:pt idx="1208">
                  <c:v>#N/A</c:v>
                </c:pt>
                <c:pt idx="1209">
                  <c:v>#N/A</c:v>
                </c:pt>
                <c:pt idx="1210">
                  <c:v>#N/A</c:v>
                </c:pt>
                <c:pt idx="1211">
                  <c:v>#N/A</c:v>
                </c:pt>
                <c:pt idx="1212">
                  <c:v>#N/A</c:v>
                </c:pt>
                <c:pt idx="1213">
                  <c:v>#N/A</c:v>
                </c:pt>
                <c:pt idx="1214">
                  <c:v>#N/A</c:v>
                </c:pt>
                <c:pt idx="1215">
                  <c:v>#N/A</c:v>
                </c:pt>
                <c:pt idx="1216">
                  <c:v>#N/A</c:v>
                </c:pt>
                <c:pt idx="1217">
                  <c:v>#N/A</c:v>
                </c:pt>
                <c:pt idx="1218">
                  <c:v>#N/A</c:v>
                </c:pt>
                <c:pt idx="1219">
                  <c:v>#N/A</c:v>
                </c:pt>
                <c:pt idx="1220">
                  <c:v>#N/A</c:v>
                </c:pt>
                <c:pt idx="1221">
                  <c:v>#N/A</c:v>
                </c:pt>
                <c:pt idx="1222">
                  <c:v>#N/A</c:v>
                </c:pt>
                <c:pt idx="1223">
                  <c:v>#N/A</c:v>
                </c:pt>
                <c:pt idx="1224">
                  <c:v>#N/A</c:v>
                </c:pt>
                <c:pt idx="1225">
                  <c:v>#N/A</c:v>
                </c:pt>
                <c:pt idx="1226">
                  <c:v>#N/A</c:v>
                </c:pt>
                <c:pt idx="1227">
                  <c:v>#N/A</c:v>
                </c:pt>
                <c:pt idx="1228">
                  <c:v>#N/A</c:v>
                </c:pt>
                <c:pt idx="1229">
                  <c:v>#N/A</c:v>
                </c:pt>
                <c:pt idx="1230">
                  <c:v>#N/A</c:v>
                </c:pt>
                <c:pt idx="1231">
                  <c:v>#N/A</c:v>
                </c:pt>
                <c:pt idx="1232">
                  <c:v>#N/A</c:v>
                </c:pt>
                <c:pt idx="1233">
                  <c:v>#N/A</c:v>
                </c:pt>
                <c:pt idx="1234">
                  <c:v>#N/A</c:v>
                </c:pt>
                <c:pt idx="1235">
                  <c:v>#N/A</c:v>
                </c:pt>
                <c:pt idx="1236">
                  <c:v>#N/A</c:v>
                </c:pt>
                <c:pt idx="1237">
                  <c:v>#N/A</c:v>
                </c:pt>
                <c:pt idx="1238">
                  <c:v>#N/A</c:v>
                </c:pt>
                <c:pt idx="1239">
                  <c:v>#N/A</c:v>
                </c:pt>
                <c:pt idx="1240">
                  <c:v>#N/A</c:v>
                </c:pt>
                <c:pt idx="1241">
                  <c:v>#N/A</c:v>
                </c:pt>
                <c:pt idx="1242">
                  <c:v>#N/A</c:v>
                </c:pt>
                <c:pt idx="1243">
                  <c:v>#N/A</c:v>
                </c:pt>
                <c:pt idx="1244">
                  <c:v>#N/A</c:v>
                </c:pt>
                <c:pt idx="1245">
                  <c:v>#N/A</c:v>
                </c:pt>
                <c:pt idx="1246">
                  <c:v>#N/A</c:v>
                </c:pt>
                <c:pt idx="1247">
                  <c:v>#N/A</c:v>
                </c:pt>
                <c:pt idx="1248">
                  <c:v>#N/A</c:v>
                </c:pt>
                <c:pt idx="1249">
                  <c:v>#N/A</c:v>
                </c:pt>
                <c:pt idx="1250">
                  <c:v>#N/A</c:v>
                </c:pt>
                <c:pt idx="1251">
                  <c:v>#N/A</c:v>
                </c:pt>
                <c:pt idx="1252">
                  <c:v>#N/A</c:v>
                </c:pt>
                <c:pt idx="1253">
                  <c:v>#N/A</c:v>
                </c:pt>
                <c:pt idx="1254">
                  <c:v>#N/A</c:v>
                </c:pt>
                <c:pt idx="1255">
                  <c:v>#N/A</c:v>
                </c:pt>
                <c:pt idx="1256">
                  <c:v>#N/A</c:v>
                </c:pt>
                <c:pt idx="1257">
                  <c:v>#N/A</c:v>
                </c:pt>
                <c:pt idx="1258">
                  <c:v>#N/A</c:v>
                </c:pt>
                <c:pt idx="1259">
                  <c:v>#N/A</c:v>
                </c:pt>
                <c:pt idx="1260">
                  <c:v>#N/A</c:v>
                </c:pt>
                <c:pt idx="1261">
                  <c:v>#N/A</c:v>
                </c:pt>
                <c:pt idx="1262">
                  <c:v>#N/A</c:v>
                </c:pt>
                <c:pt idx="1263">
                  <c:v>#N/A</c:v>
                </c:pt>
                <c:pt idx="1264">
                  <c:v>#N/A</c:v>
                </c:pt>
                <c:pt idx="1265">
                  <c:v>#N/A</c:v>
                </c:pt>
                <c:pt idx="1266">
                  <c:v>#N/A</c:v>
                </c:pt>
                <c:pt idx="1267">
                  <c:v>#N/A</c:v>
                </c:pt>
                <c:pt idx="1268">
                  <c:v>#N/A</c:v>
                </c:pt>
                <c:pt idx="1269">
                  <c:v>#N/A</c:v>
                </c:pt>
                <c:pt idx="1270">
                  <c:v>#N/A</c:v>
                </c:pt>
                <c:pt idx="1271">
                  <c:v>#N/A</c:v>
                </c:pt>
                <c:pt idx="1272">
                  <c:v>#N/A</c:v>
                </c:pt>
                <c:pt idx="1273">
                  <c:v>#N/A</c:v>
                </c:pt>
                <c:pt idx="1274">
                  <c:v>#N/A</c:v>
                </c:pt>
                <c:pt idx="1275">
                  <c:v>#N/A</c:v>
                </c:pt>
                <c:pt idx="1276">
                  <c:v>#N/A</c:v>
                </c:pt>
                <c:pt idx="1277">
                  <c:v>#N/A</c:v>
                </c:pt>
                <c:pt idx="1278">
                  <c:v>#N/A</c:v>
                </c:pt>
                <c:pt idx="1279">
                  <c:v>#N/A</c:v>
                </c:pt>
                <c:pt idx="1280">
                  <c:v>#N/A</c:v>
                </c:pt>
                <c:pt idx="1281">
                  <c:v>#N/A</c:v>
                </c:pt>
                <c:pt idx="1282">
                  <c:v>#N/A</c:v>
                </c:pt>
                <c:pt idx="1283">
                  <c:v>#N/A</c:v>
                </c:pt>
                <c:pt idx="1284">
                  <c:v>#N/A</c:v>
                </c:pt>
                <c:pt idx="1285">
                  <c:v>#N/A</c:v>
                </c:pt>
                <c:pt idx="1286">
                  <c:v>#N/A</c:v>
                </c:pt>
                <c:pt idx="1287">
                  <c:v>#N/A</c:v>
                </c:pt>
                <c:pt idx="1288">
                  <c:v>#N/A</c:v>
                </c:pt>
                <c:pt idx="1289">
                  <c:v>#N/A</c:v>
                </c:pt>
                <c:pt idx="1290">
                  <c:v>#N/A</c:v>
                </c:pt>
                <c:pt idx="1291">
                  <c:v>#N/A</c:v>
                </c:pt>
                <c:pt idx="1292">
                  <c:v>#N/A</c:v>
                </c:pt>
                <c:pt idx="1293">
                  <c:v>#N/A</c:v>
                </c:pt>
                <c:pt idx="1294">
                  <c:v>#N/A</c:v>
                </c:pt>
                <c:pt idx="1295">
                  <c:v>#N/A</c:v>
                </c:pt>
                <c:pt idx="1296">
                  <c:v>#N/A</c:v>
                </c:pt>
                <c:pt idx="1297">
                  <c:v>#N/A</c:v>
                </c:pt>
                <c:pt idx="1298">
                  <c:v>#N/A</c:v>
                </c:pt>
                <c:pt idx="1299">
                  <c:v>#N/A</c:v>
                </c:pt>
                <c:pt idx="1300">
                  <c:v>#N/A</c:v>
                </c:pt>
                <c:pt idx="1301">
                  <c:v>#N/A</c:v>
                </c:pt>
                <c:pt idx="1302">
                  <c:v>#N/A</c:v>
                </c:pt>
                <c:pt idx="1303">
                  <c:v>#N/A</c:v>
                </c:pt>
                <c:pt idx="1304">
                  <c:v>#N/A</c:v>
                </c:pt>
                <c:pt idx="1305">
                  <c:v>#N/A</c:v>
                </c:pt>
                <c:pt idx="1306">
                  <c:v>#N/A</c:v>
                </c:pt>
                <c:pt idx="1307">
                  <c:v>#N/A</c:v>
                </c:pt>
                <c:pt idx="1308">
                  <c:v>#N/A</c:v>
                </c:pt>
                <c:pt idx="1309">
                  <c:v>#N/A</c:v>
                </c:pt>
                <c:pt idx="1310">
                  <c:v>#N/A</c:v>
                </c:pt>
                <c:pt idx="1311">
                  <c:v>#N/A</c:v>
                </c:pt>
                <c:pt idx="1312">
                  <c:v>#N/A</c:v>
                </c:pt>
                <c:pt idx="1313">
                  <c:v>#N/A</c:v>
                </c:pt>
                <c:pt idx="1314">
                  <c:v>#N/A</c:v>
                </c:pt>
                <c:pt idx="1315">
                  <c:v>#N/A</c:v>
                </c:pt>
                <c:pt idx="1316">
                  <c:v>#N/A</c:v>
                </c:pt>
                <c:pt idx="1317">
                  <c:v>#N/A</c:v>
                </c:pt>
                <c:pt idx="1318">
                  <c:v>0.55616438356164388</c:v>
                </c:pt>
                <c:pt idx="1319">
                  <c:v>#N/A</c:v>
                </c:pt>
                <c:pt idx="1320">
                  <c:v>#N/A</c:v>
                </c:pt>
                <c:pt idx="1321">
                  <c:v>#N/A</c:v>
                </c:pt>
                <c:pt idx="1322">
                  <c:v>#N/A</c:v>
                </c:pt>
                <c:pt idx="1323">
                  <c:v>#N/A</c:v>
                </c:pt>
                <c:pt idx="1324">
                  <c:v>#N/A</c:v>
                </c:pt>
                <c:pt idx="1325">
                  <c:v>#N/A</c:v>
                </c:pt>
                <c:pt idx="1326">
                  <c:v>#N/A</c:v>
                </c:pt>
                <c:pt idx="1327">
                  <c:v>#N/A</c:v>
                </c:pt>
                <c:pt idx="1328">
                  <c:v>#N/A</c:v>
                </c:pt>
                <c:pt idx="1329">
                  <c:v>#N/A</c:v>
                </c:pt>
                <c:pt idx="1330">
                  <c:v>#N/A</c:v>
                </c:pt>
                <c:pt idx="1331">
                  <c:v>#N/A</c:v>
                </c:pt>
                <c:pt idx="1332">
                  <c:v>#N/A</c:v>
                </c:pt>
                <c:pt idx="1333">
                  <c:v>#N/A</c:v>
                </c:pt>
                <c:pt idx="1334">
                  <c:v>#N/A</c:v>
                </c:pt>
                <c:pt idx="1335">
                  <c:v>#N/A</c:v>
                </c:pt>
                <c:pt idx="1336">
                  <c:v>#N/A</c:v>
                </c:pt>
                <c:pt idx="1337">
                  <c:v>#N/A</c:v>
                </c:pt>
                <c:pt idx="1338">
                  <c:v>#N/A</c:v>
                </c:pt>
                <c:pt idx="1339">
                  <c:v>#N/A</c:v>
                </c:pt>
                <c:pt idx="1340">
                  <c:v>#N/A</c:v>
                </c:pt>
                <c:pt idx="1341">
                  <c:v>#N/A</c:v>
                </c:pt>
                <c:pt idx="1342">
                  <c:v>#N/A</c:v>
                </c:pt>
                <c:pt idx="1343">
                  <c:v>#N/A</c:v>
                </c:pt>
                <c:pt idx="1344">
                  <c:v>#N/A</c:v>
                </c:pt>
                <c:pt idx="1345">
                  <c:v>#N/A</c:v>
                </c:pt>
                <c:pt idx="1346">
                  <c:v>#N/A</c:v>
                </c:pt>
                <c:pt idx="1347">
                  <c:v>#N/A</c:v>
                </c:pt>
                <c:pt idx="1348">
                  <c:v>#N/A</c:v>
                </c:pt>
                <c:pt idx="1349">
                  <c:v>#N/A</c:v>
                </c:pt>
                <c:pt idx="1350">
                  <c:v>#N/A</c:v>
                </c:pt>
                <c:pt idx="1351">
                  <c:v>#N/A</c:v>
                </c:pt>
                <c:pt idx="1352">
                  <c:v>#N/A</c:v>
                </c:pt>
                <c:pt idx="1353">
                  <c:v>#N/A</c:v>
                </c:pt>
                <c:pt idx="1354">
                  <c:v>#N/A</c:v>
                </c:pt>
                <c:pt idx="1355">
                  <c:v>#N/A</c:v>
                </c:pt>
                <c:pt idx="1356">
                  <c:v>#N/A</c:v>
                </c:pt>
                <c:pt idx="1357">
                  <c:v>#N/A</c:v>
                </c:pt>
                <c:pt idx="1358">
                  <c:v>#N/A</c:v>
                </c:pt>
                <c:pt idx="1359">
                  <c:v>#N/A</c:v>
                </c:pt>
                <c:pt idx="1360">
                  <c:v>#N/A</c:v>
                </c:pt>
                <c:pt idx="1361">
                  <c:v>#N/A</c:v>
                </c:pt>
                <c:pt idx="1362">
                  <c:v>#N/A</c:v>
                </c:pt>
                <c:pt idx="1363">
                  <c:v>#N/A</c:v>
                </c:pt>
                <c:pt idx="1364">
                  <c:v>#N/A</c:v>
                </c:pt>
                <c:pt idx="1365">
                  <c:v>#N/A</c:v>
                </c:pt>
                <c:pt idx="1366">
                  <c:v>#N/A</c:v>
                </c:pt>
                <c:pt idx="1367">
                  <c:v>#N/A</c:v>
                </c:pt>
                <c:pt idx="1368">
                  <c:v>#N/A</c:v>
                </c:pt>
                <c:pt idx="1369">
                  <c:v>#N/A</c:v>
                </c:pt>
                <c:pt idx="1370">
                  <c:v>#N/A</c:v>
                </c:pt>
                <c:pt idx="1371">
                  <c:v>#N/A</c:v>
                </c:pt>
                <c:pt idx="1372">
                  <c:v>#N/A</c:v>
                </c:pt>
                <c:pt idx="1373">
                  <c:v>#N/A</c:v>
                </c:pt>
                <c:pt idx="1374">
                  <c:v>#N/A</c:v>
                </c:pt>
                <c:pt idx="1375">
                  <c:v>#N/A</c:v>
                </c:pt>
                <c:pt idx="1376">
                  <c:v>#N/A</c:v>
                </c:pt>
                <c:pt idx="1377">
                  <c:v>#N/A</c:v>
                </c:pt>
                <c:pt idx="1378">
                  <c:v>#N/A</c:v>
                </c:pt>
                <c:pt idx="1379">
                  <c:v>#N/A</c:v>
                </c:pt>
                <c:pt idx="1380">
                  <c:v>#N/A</c:v>
                </c:pt>
                <c:pt idx="1381">
                  <c:v>#N/A</c:v>
                </c:pt>
                <c:pt idx="1382">
                  <c:v>#N/A</c:v>
                </c:pt>
                <c:pt idx="1383">
                  <c:v>#N/A</c:v>
                </c:pt>
                <c:pt idx="1384">
                  <c:v>#N/A</c:v>
                </c:pt>
                <c:pt idx="1385">
                  <c:v>#N/A</c:v>
                </c:pt>
                <c:pt idx="1386">
                  <c:v>#N/A</c:v>
                </c:pt>
                <c:pt idx="1387">
                  <c:v>#N/A</c:v>
                </c:pt>
                <c:pt idx="1388">
                  <c:v>#N/A</c:v>
                </c:pt>
                <c:pt idx="1389">
                  <c:v>#N/A</c:v>
                </c:pt>
                <c:pt idx="1390">
                  <c:v>#N/A</c:v>
                </c:pt>
                <c:pt idx="1391">
                  <c:v>#N/A</c:v>
                </c:pt>
                <c:pt idx="1392">
                  <c:v>#N/A</c:v>
                </c:pt>
                <c:pt idx="1393">
                  <c:v>#N/A</c:v>
                </c:pt>
                <c:pt idx="1394">
                  <c:v>#N/A</c:v>
                </c:pt>
                <c:pt idx="1395">
                  <c:v>#N/A</c:v>
                </c:pt>
                <c:pt idx="1396">
                  <c:v>#N/A</c:v>
                </c:pt>
                <c:pt idx="1397">
                  <c:v>#N/A</c:v>
                </c:pt>
                <c:pt idx="1398">
                  <c:v>#N/A</c:v>
                </c:pt>
                <c:pt idx="1399">
                  <c:v>#N/A</c:v>
                </c:pt>
                <c:pt idx="1400">
                  <c:v>#N/A</c:v>
                </c:pt>
                <c:pt idx="1401">
                  <c:v>#N/A</c:v>
                </c:pt>
                <c:pt idx="1402">
                  <c:v>#N/A</c:v>
                </c:pt>
                <c:pt idx="1403">
                  <c:v>#N/A</c:v>
                </c:pt>
                <c:pt idx="1404">
                  <c:v>#N/A</c:v>
                </c:pt>
                <c:pt idx="1405">
                  <c:v>#N/A</c:v>
                </c:pt>
                <c:pt idx="1406">
                  <c:v>#N/A</c:v>
                </c:pt>
                <c:pt idx="1407">
                  <c:v>#N/A</c:v>
                </c:pt>
                <c:pt idx="1408">
                  <c:v>#N/A</c:v>
                </c:pt>
                <c:pt idx="1409">
                  <c:v>#N/A</c:v>
                </c:pt>
                <c:pt idx="1410">
                  <c:v>#N/A</c:v>
                </c:pt>
                <c:pt idx="1411">
                  <c:v>#N/A</c:v>
                </c:pt>
                <c:pt idx="1412">
                  <c:v>#N/A</c:v>
                </c:pt>
                <c:pt idx="1413">
                  <c:v>#N/A</c:v>
                </c:pt>
                <c:pt idx="1414">
                  <c:v>#N/A</c:v>
                </c:pt>
                <c:pt idx="1415">
                  <c:v>#N/A</c:v>
                </c:pt>
                <c:pt idx="1416">
                  <c:v>#N/A</c:v>
                </c:pt>
                <c:pt idx="1417">
                  <c:v>#N/A</c:v>
                </c:pt>
                <c:pt idx="1418">
                  <c:v>#N/A</c:v>
                </c:pt>
                <c:pt idx="1419">
                  <c:v>#N/A</c:v>
                </c:pt>
                <c:pt idx="1420">
                  <c:v>#N/A</c:v>
                </c:pt>
                <c:pt idx="1421">
                  <c:v>#N/A</c:v>
                </c:pt>
                <c:pt idx="1422">
                  <c:v>#N/A</c:v>
                </c:pt>
                <c:pt idx="1423">
                  <c:v>#N/A</c:v>
                </c:pt>
                <c:pt idx="1424">
                  <c:v>#N/A</c:v>
                </c:pt>
                <c:pt idx="1425">
                  <c:v>#N/A</c:v>
                </c:pt>
                <c:pt idx="1426">
                  <c:v>#N/A</c:v>
                </c:pt>
                <c:pt idx="1427">
                  <c:v>#N/A</c:v>
                </c:pt>
                <c:pt idx="1428">
                  <c:v>#N/A</c:v>
                </c:pt>
                <c:pt idx="1429">
                  <c:v>#N/A</c:v>
                </c:pt>
                <c:pt idx="1430">
                  <c:v>#N/A</c:v>
                </c:pt>
                <c:pt idx="1431">
                  <c:v>#N/A</c:v>
                </c:pt>
                <c:pt idx="1432">
                  <c:v>#N/A</c:v>
                </c:pt>
                <c:pt idx="1433">
                  <c:v>#N/A</c:v>
                </c:pt>
                <c:pt idx="1434">
                  <c:v>#N/A</c:v>
                </c:pt>
                <c:pt idx="1435">
                  <c:v>#N/A</c:v>
                </c:pt>
                <c:pt idx="1436">
                  <c:v>#N/A</c:v>
                </c:pt>
                <c:pt idx="1437">
                  <c:v>#N/A</c:v>
                </c:pt>
                <c:pt idx="1438">
                  <c:v>#N/A</c:v>
                </c:pt>
                <c:pt idx="1439">
                  <c:v>#N/A</c:v>
                </c:pt>
                <c:pt idx="1440">
                  <c:v>#N/A</c:v>
                </c:pt>
                <c:pt idx="1441">
                  <c:v>#N/A</c:v>
                </c:pt>
                <c:pt idx="1442">
                  <c:v>#N/A</c:v>
                </c:pt>
                <c:pt idx="1443">
                  <c:v>#N/A</c:v>
                </c:pt>
                <c:pt idx="1444">
                  <c:v>#N/A</c:v>
                </c:pt>
                <c:pt idx="1445">
                  <c:v>#N/A</c:v>
                </c:pt>
                <c:pt idx="1446">
                  <c:v>#N/A</c:v>
                </c:pt>
                <c:pt idx="1447">
                  <c:v>#N/A</c:v>
                </c:pt>
                <c:pt idx="1448">
                  <c:v>#N/A</c:v>
                </c:pt>
                <c:pt idx="1449">
                  <c:v>#N/A</c:v>
                </c:pt>
                <c:pt idx="1450">
                  <c:v>#N/A</c:v>
                </c:pt>
                <c:pt idx="1451">
                  <c:v>#N/A</c:v>
                </c:pt>
                <c:pt idx="1452">
                  <c:v>0.66849315068493154</c:v>
                </c:pt>
                <c:pt idx="1453">
                  <c:v>#N/A</c:v>
                </c:pt>
                <c:pt idx="1454">
                  <c:v>#N/A</c:v>
                </c:pt>
                <c:pt idx="1455">
                  <c:v>#N/A</c:v>
                </c:pt>
                <c:pt idx="1456">
                  <c:v>#N/A</c:v>
                </c:pt>
                <c:pt idx="1457">
                  <c:v>#N/A</c:v>
                </c:pt>
                <c:pt idx="1458">
                  <c:v>#N/A</c:v>
                </c:pt>
                <c:pt idx="1459">
                  <c:v>#N/A</c:v>
                </c:pt>
                <c:pt idx="1460">
                  <c:v>#N/A</c:v>
                </c:pt>
                <c:pt idx="1461">
                  <c:v>#N/A</c:v>
                </c:pt>
                <c:pt idx="1462">
                  <c:v>#N/A</c:v>
                </c:pt>
                <c:pt idx="1463">
                  <c:v>#N/A</c:v>
                </c:pt>
                <c:pt idx="1464">
                  <c:v>#N/A</c:v>
                </c:pt>
                <c:pt idx="1465">
                  <c:v>#N/A</c:v>
                </c:pt>
                <c:pt idx="1466">
                  <c:v>#N/A</c:v>
                </c:pt>
                <c:pt idx="1467">
                  <c:v>#N/A</c:v>
                </c:pt>
                <c:pt idx="1468">
                  <c:v>#N/A</c:v>
                </c:pt>
                <c:pt idx="1469">
                  <c:v>#N/A</c:v>
                </c:pt>
                <c:pt idx="1470">
                  <c:v>#N/A</c:v>
                </c:pt>
                <c:pt idx="1471">
                  <c:v>#N/A</c:v>
                </c:pt>
                <c:pt idx="1472">
                  <c:v>#N/A</c:v>
                </c:pt>
                <c:pt idx="1473">
                  <c:v>#N/A</c:v>
                </c:pt>
                <c:pt idx="1474">
                  <c:v>#N/A</c:v>
                </c:pt>
                <c:pt idx="1475">
                  <c:v>#N/A</c:v>
                </c:pt>
                <c:pt idx="1476">
                  <c:v>#N/A</c:v>
                </c:pt>
                <c:pt idx="1477">
                  <c:v>#N/A</c:v>
                </c:pt>
                <c:pt idx="1478">
                  <c:v>#N/A</c:v>
                </c:pt>
                <c:pt idx="1479">
                  <c:v>#N/A</c:v>
                </c:pt>
                <c:pt idx="1480">
                  <c:v>#N/A</c:v>
                </c:pt>
                <c:pt idx="1481">
                  <c:v>#N/A</c:v>
                </c:pt>
                <c:pt idx="1482">
                  <c:v>#N/A</c:v>
                </c:pt>
                <c:pt idx="1483">
                  <c:v>#N/A</c:v>
                </c:pt>
                <c:pt idx="1484">
                  <c:v>#N/A</c:v>
                </c:pt>
                <c:pt idx="1485">
                  <c:v>#N/A</c:v>
                </c:pt>
                <c:pt idx="1486">
                  <c:v>#N/A</c:v>
                </c:pt>
                <c:pt idx="1487">
                  <c:v>#N/A</c:v>
                </c:pt>
                <c:pt idx="1488">
                  <c:v>#N/A</c:v>
                </c:pt>
                <c:pt idx="1489">
                  <c:v>#N/A</c:v>
                </c:pt>
                <c:pt idx="1490">
                  <c:v>#N/A</c:v>
                </c:pt>
                <c:pt idx="1491">
                  <c:v>#N/A</c:v>
                </c:pt>
                <c:pt idx="1492">
                  <c:v>#N/A</c:v>
                </c:pt>
                <c:pt idx="1493">
                  <c:v>#N/A</c:v>
                </c:pt>
                <c:pt idx="1494">
                  <c:v>#N/A</c:v>
                </c:pt>
                <c:pt idx="1495">
                  <c:v>#N/A</c:v>
                </c:pt>
                <c:pt idx="1496">
                  <c:v>#N/A</c:v>
                </c:pt>
                <c:pt idx="1497">
                  <c:v>#N/A</c:v>
                </c:pt>
                <c:pt idx="1498">
                  <c:v>#N/A</c:v>
                </c:pt>
                <c:pt idx="1499">
                  <c:v>#N/A</c:v>
                </c:pt>
                <c:pt idx="1500">
                  <c:v>#N/A</c:v>
                </c:pt>
                <c:pt idx="1501">
                  <c:v>#N/A</c:v>
                </c:pt>
                <c:pt idx="1502">
                  <c:v>#N/A</c:v>
                </c:pt>
                <c:pt idx="1503">
                  <c:v>#N/A</c:v>
                </c:pt>
                <c:pt idx="1504">
                  <c:v>#N/A</c:v>
                </c:pt>
                <c:pt idx="1505">
                  <c:v>#N/A</c:v>
                </c:pt>
                <c:pt idx="1506">
                  <c:v>#N/A</c:v>
                </c:pt>
                <c:pt idx="1507">
                  <c:v>#N/A</c:v>
                </c:pt>
                <c:pt idx="1508">
                  <c:v>#N/A</c:v>
                </c:pt>
                <c:pt idx="1509">
                  <c:v>#N/A</c:v>
                </c:pt>
                <c:pt idx="1510">
                  <c:v>#N/A</c:v>
                </c:pt>
                <c:pt idx="1511">
                  <c:v>#N/A</c:v>
                </c:pt>
                <c:pt idx="1512">
                  <c:v>#N/A</c:v>
                </c:pt>
                <c:pt idx="1513">
                  <c:v>#N/A</c:v>
                </c:pt>
                <c:pt idx="1514">
                  <c:v>#N/A</c:v>
                </c:pt>
                <c:pt idx="1515">
                  <c:v>#N/A</c:v>
                </c:pt>
                <c:pt idx="1516">
                  <c:v>#N/A</c:v>
                </c:pt>
                <c:pt idx="1517">
                  <c:v>#N/A</c:v>
                </c:pt>
                <c:pt idx="1518">
                  <c:v>#N/A</c:v>
                </c:pt>
                <c:pt idx="1519">
                  <c:v>#N/A</c:v>
                </c:pt>
                <c:pt idx="1520">
                  <c:v>#N/A</c:v>
                </c:pt>
                <c:pt idx="1521">
                  <c:v>#N/A</c:v>
                </c:pt>
                <c:pt idx="1522">
                  <c:v>#N/A</c:v>
                </c:pt>
                <c:pt idx="1523">
                  <c:v>#N/A</c:v>
                </c:pt>
                <c:pt idx="1524">
                  <c:v>#N/A</c:v>
                </c:pt>
                <c:pt idx="1525">
                  <c:v>#N/A</c:v>
                </c:pt>
                <c:pt idx="1526">
                  <c:v>#N/A</c:v>
                </c:pt>
                <c:pt idx="1527">
                  <c:v>#N/A</c:v>
                </c:pt>
                <c:pt idx="1528">
                  <c:v>#N/A</c:v>
                </c:pt>
                <c:pt idx="1529">
                  <c:v>#N/A</c:v>
                </c:pt>
                <c:pt idx="1530">
                  <c:v>#N/A</c:v>
                </c:pt>
                <c:pt idx="1531">
                  <c:v>#N/A</c:v>
                </c:pt>
                <c:pt idx="1532">
                  <c:v>#N/A</c:v>
                </c:pt>
                <c:pt idx="1533">
                  <c:v>#N/A</c:v>
                </c:pt>
                <c:pt idx="1534">
                  <c:v>#N/A</c:v>
                </c:pt>
                <c:pt idx="1535">
                  <c:v>#N/A</c:v>
                </c:pt>
                <c:pt idx="1536">
                  <c:v>#N/A</c:v>
                </c:pt>
                <c:pt idx="1537">
                  <c:v>#N/A</c:v>
                </c:pt>
                <c:pt idx="1538">
                  <c:v>#N/A</c:v>
                </c:pt>
                <c:pt idx="1539">
                  <c:v>#N/A</c:v>
                </c:pt>
                <c:pt idx="1540">
                  <c:v>#N/A</c:v>
                </c:pt>
                <c:pt idx="1541">
                  <c:v>#N/A</c:v>
                </c:pt>
                <c:pt idx="1542">
                  <c:v>#N/A</c:v>
                </c:pt>
                <c:pt idx="1543">
                  <c:v>#N/A</c:v>
                </c:pt>
                <c:pt idx="1544">
                  <c:v>#N/A</c:v>
                </c:pt>
                <c:pt idx="1545">
                  <c:v>#N/A</c:v>
                </c:pt>
                <c:pt idx="1546">
                  <c:v>#N/A</c:v>
                </c:pt>
                <c:pt idx="1547">
                  <c:v>#N/A</c:v>
                </c:pt>
                <c:pt idx="1548">
                  <c:v>#N/A</c:v>
                </c:pt>
                <c:pt idx="1549">
                  <c:v>#N/A</c:v>
                </c:pt>
                <c:pt idx="1550">
                  <c:v>#N/A</c:v>
                </c:pt>
                <c:pt idx="1551">
                  <c:v>#N/A</c:v>
                </c:pt>
                <c:pt idx="1552">
                  <c:v>#N/A</c:v>
                </c:pt>
                <c:pt idx="1553">
                  <c:v>#N/A</c:v>
                </c:pt>
                <c:pt idx="1554">
                  <c:v>#N/A</c:v>
                </c:pt>
                <c:pt idx="1555">
                  <c:v>#N/A</c:v>
                </c:pt>
                <c:pt idx="1556">
                  <c:v>#N/A</c:v>
                </c:pt>
                <c:pt idx="1557">
                  <c:v>#N/A</c:v>
                </c:pt>
                <c:pt idx="1558">
                  <c:v>#N/A</c:v>
                </c:pt>
                <c:pt idx="1559">
                  <c:v>#N/A</c:v>
                </c:pt>
                <c:pt idx="1560">
                  <c:v>#N/A</c:v>
                </c:pt>
                <c:pt idx="1561">
                  <c:v>#N/A</c:v>
                </c:pt>
                <c:pt idx="1562">
                  <c:v>#N/A</c:v>
                </c:pt>
                <c:pt idx="1563">
                  <c:v>#N/A</c:v>
                </c:pt>
                <c:pt idx="1564">
                  <c:v>#N/A</c:v>
                </c:pt>
                <c:pt idx="1565">
                  <c:v>#N/A</c:v>
                </c:pt>
                <c:pt idx="1566">
                  <c:v>#N/A</c:v>
                </c:pt>
                <c:pt idx="1567">
                  <c:v>#N/A</c:v>
                </c:pt>
                <c:pt idx="1568">
                  <c:v>#N/A</c:v>
                </c:pt>
                <c:pt idx="1569">
                  <c:v>#N/A</c:v>
                </c:pt>
                <c:pt idx="1570">
                  <c:v>#N/A</c:v>
                </c:pt>
                <c:pt idx="1571">
                  <c:v>#N/A</c:v>
                </c:pt>
                <c:pt idx="1572">
                  <c:v>#N/A</c:v>
                </c:pt>
                <c:pt idx="1573">
                  <c:v>#N/A</c:v>
                </c:pt>
                <c:pt idx="1574">
                  <c:v>#N/A</c:v>
                </c:pt>
                <c:pt idx="1575">
                  <c:v>#N/A</c:v>
                </c:pt>
                <c:pt idx="1576">
                  <c:v>#N/A</c:v>
                </c:pt>
                <c:pt idx="1577">
                  <c:v>#N/A</c:v>
                </c:pt>
                <c:pt idx="1578">
                  <c:v>#N/A</c:v>
                </c:pt>
                <c:pt idx="1579">
                  <c:v>#N/A</c:v>
                </c:pt>
                <c:pt idx="1580">
                  <c:v>#N/A</c:v>
                </c:pt>
                <c:pt idx="1581">
                  <c:v>#N/A</c:v>
                </c:pt>
                <c:pt idx="1582">
                  <c:v>#N/A</c:v>
                </c:pt>
                <c:pt idx="1583">
                  <c:v>#N/A</c:v>
                </c:pt>
                <c:pt idx="1584">
                  <c:v>#N/A</c:v>
                </c:pt>
                <c:pt idx="1585">
                  <c:v>#N/A</c:v>
                </c:pt>
                <c:pt idx="1586">
                  <c:v>#N/A</c:v>
                </c:pt>
                <c:pt idx="1587">
                  <c:v>#N/A</c:v>
                </c:pt>
                <c:pt idx="1588">
                  <c:v>#N/A</c:v>
                </c:pt>
                <c:pt idx="1589">
                  <c:v>#N/A</c:v>
                </c:pt>
                <c:pt idx="1590">
                  <c:v>#N/A</c:v>
                </c:pt>
                <c:pt idx="1591">
                  <c:v>#N/A</c:v>
                </c:pt>
                <c:pt idx="1592">
                  <c:v>#N/A</c:v>
                </c:pt>
                <c:pt idx="1593">
                  <c:v>#N/A</c:v>
                </c:pt>
                <c:pt idx="1594">
                  <c:v>#N/A</c:v>
                </c:pt>
                <c:pt idx="1595">
                  <c:v>#N/A</c:v>
                </c:pt>
                <c:pt idx="1596">
                  <c:v>#N/A</c:v>
                </c:pt>
                <c:pt idx="1597">
                  <c:v>#N/A</c:v>
                </c:pt>
                <c:pt idx="1598">
                  <c:v>#N/A</c:v>
                </c:pt>
                <c:pt idx="1599">
                  <c:v>#N/A</c:v>
                </c:pt>
                <c:pt idx="1600">
                  <c:v>#N/A</c:v>
                </c:pt>
                <c:pt idx="1601">
                  <c:v>#N/A</c:v>
                </c:pt>
                <c:pt idx="1602">
                  <c:v>#N/A</c:v>
                </c:pt>
                <c:pt idx="1603">
                  <c:v>#N/A</c:v>
                </c:pt>
                <c:pt idx="1604">
                  <c:v>#N/A</c:v>
                </c:pt>
                <c:pt idx="1605">
                  <c:v>#N/A</c:v>
                </c:pt>
                <c:pt idx="1606">
                  <c:v>#N/A</c:v>
                </c:pt>
                <c:pt idx="1607">
                  <c:v>#N/A</c:v>
                </c:pt>
                <c:pt idx="1608">
                  <c:v>#N/A</c:v>
                </c:pt>
                <c:pt idx="1609">
                  <c:v>#N/A</c:v>
                </c:pt>
                <c:pt idx="1610">
                  <c:v>#N/A</c:v>
                </c:pt>
                <c:pt idx="1611">
                  <c:v>#N/A</c:v>
                </c:pt>
                <c:pt idx="1612">
                  <c:v>#N/A</c:v>
                </c:pt>
                <c:pt idx="1613">
                  <c:v>#N/A</c:v>
                </c:pt>
                <c:pt idx="1614">
                  <c:v>#N/A</c:v>
                </c:pt>
                <c:pt idx="1615">
                  <c:v>#N/A</c:v>
                </c:pt>
                <c:pt idx="1616">
                  <c:v>#N/A</c:v>
                </c:pt>
                <c:pt idx="1617">
                  <c:v>#N/A</c:v>
                </c:pt>
                <c:pt idx="1618">
                  <c:v>#N/A</c:v>
                </c:pt>
                <c:pt idx="1619">
                  <c:v>#N/A</c:v>
                </c:pt>
                <c:pt idx="1620">
                  <c:v>#N/A</c:v>
                </c:pt>
                <c:pt idx="1621">
                  <c:v>#N/A</c:v>
                </c:pt>
                <c:pt idx="1622">
                  <c:v>#N/A</c:v>
                </c:pt>
                <c:pt idx="1623">
                  <c:v>#N/A</c:v>
                </c:pt>
                <c:pt idx="1624">
                  <c:v>#N/A</c:v>
                </c:pt>
                <c:pt idx="1625">
                  <c:v>#N/A</c:v>
                </c:pt>
                <c:pt idx="1626">
                  <c:v>#N/A</c:v>
                </c:pt>
                <c:pt idx="1627">
                  <c:v>#N/A</c:v>
                </c:pt>
                <c:pt idx="1628">
                  <c:v>#N/A</c:v>
                </c:pt>
                <c:pt idx="1629">
                  <c:v>#N/A</c:v>
                </c:pt>
                <c:pt idx="1630">
                  <c:v>#N/A</c:v>
                </c:pt>
                <c:pt idx="1631">
                  <c:v>#N/A</c:v>
                </c:pt>
                <c:pt idx="1632">
                  <c:v>#N/A</c:v>
                </c:pt>
                <c:pt idx="1633">
                  <c:v>#N/A</c:v>
                </c:pt>
                <c:pt idx="1634">
                  <c:v>#N/A</c:v>
                </c:pt>
                <c:pt idx="1635">
                  <c:v>#N/A</c:v>
                </c:pt>
                <c:pt idx="1636">
                  <c:v>#N/A</c:v>
                </c:pt>
                <c:pt idx="1637">
                  <c:v>#N/A</c:v>
                </c:pt>
                <c:pt idx="1638">
                  <c:v>#N/A</c:v>
                </c:pt>
                <c:pt idx="1639">
                  <c:v>#N/A</c:v>
                </c:pt>
                <c:pt idx="1640">
                  <c:v>#N/A</c:v>
                </c:pt>
                <c:pt idx="1641">
                  <c:v>#N/A</c:v>
                </c:pt>
                <c:pt idx="1642">
                  <c:v>#N/A</c:v>
                </c:pt>
                <c:pt idx="1643">
                  <c:v>#N/A</c:v>
                </c:pt>
                <c:pt idx="1644">
                  <c:v>#N/A</c:v>
                </c:pt>
                <c:pt idx="1645">
                  <c:v>#N/A</c:v>
                </c:pt>
                <c:pt idx="1646">
                  <c:v>#N/A</c:v>
                </c:pt>
                <c:pt idx="1647">
                  <c:v>#N/A</c:v>
                </c:pt>
                <c:pt idx="1648">
                  <c:v>#N/A</c:v>
                </c:pt>
                <c:pt idx="1649">
                  <c:v>#N/A</c:v>
                </c:pt>
                <c:pt idx="1650">
                  <c:v>#N/A</c:v>
                </c:pt>
                <c:pt idx="1651">
                  <c:v>#N/A</c:v>
                </c:pt>
                <c:pt idx="1652">
                  <c:v>#N/A</c:v>
                </c:pt>
                <c:pt idx="1653">
                  <c:v>#N/A</c:v>
                </c:pt>
                <c:pt idx="1654">
                  <c:v>#N/A</c:v>
                </c:pt>
                <c:pt idx="1655">
                  <c:v>#N/A</c:v>
                </c:pt>
                <c:pt idx="1656">
                  <c:v>#N/A</c:v>
                </c:pt>
                <c:pt idx="1657">
                  <c:v>#N/A</c:v>
                </c:pt>
                <c:pt idx="1658">
                  <c:v>#N/A</c:v>
                </c:pt>
                <c:pt idx="1659">
                  <c:v>#N/A</c:v>
                </c:pt>
                <c:pt idx="1660">
                  <c:v>#N/A</c:v>
                </c:pt>
                <c:pt idx="1661">
                  <c:v>#N/A</c:v>
                </c:pt>
                <c:pt idx="1662">
                  <c:v>#N/A</c:v>
                </c:pt>
                <c:pt idx="1663">
                  <c:v>#N/A</c:v>
                </c:pt>
                <c:pt idx="1664">
                  <c:v>#N/A</c:v>
                </c:pt>
                <c:pt idx="1665">
                  <c:v>#N/A</c:v>
                </c:pt>
                <c:pt idx="1666">
                  <c:v>#N/A</c:v>
                </c:pt>
                <c:pt idx="1667">
                  <c:v>#N/A</c:v>
                </c:pt>
                <c:pt idx="1668">
                  <c:v>#N/A</c:v>
                </c:pt>
                <c:pt idx="1669">
                  <c:v>#N/A</c:v>
                </c:pt>
                <c:pt idx="1670">
                  <c:v>#N/A</c:v>
                </c:pt>
                <c:pt idx="1671">
                  <c:v>#N/A</c:v>
                </c:pt>
                <c:pt idx="1672">
                  <c:v>#N/A</c:v>
                </c:pt>
                <c:pt idx="1673">
                  <c:v>#N/A</c:v>
                </c:pt>
                <c:pt idx="1674">
                  <c:v>#N/A</c:v>
                </c:pt>
                <c:pt idx="1675">
                  <c:v>#N/A</c:v>
                </c:pt>
                <c:pt idx="1676">
                  <c:v>#N/A</c:v>
                </c:pt>
                <c:pt idx="1677">
                  <c:v>#N/A</c:v>
                </c:pt>
                <c:pt idx="1678">
                  <c:v>#N/A</c:v>
                </c:pt>
                <c:pt idx="1679">
                  <c:v>#N/A</c:v>
                </c:pt>
                <c:pt idx="1680">
                  <c:v>#N/A</c:v>
                </c:pt>
                <c:pt idx="1681">
                  <c:v>#N/A</c:v>
                </c:pt>
                <c:pt idx="1682">
                  <c:v>#N/A</c:v>
                </c:pt>
                <c:pt idx="1683">
                  <c:v>#N/A</c:v>
                </c:pt>
                <c:pt idx="1684">
                  <c:v>#N/A</c:v>
                </c:pt>
                <c:pt idx="1685">
                  <c:v>#N/A</c:v>
                </c:pt>
                <c:pt idx="1686">
                  <c:v>#N/A</c:v>
                </c:pt>
                <c:pt idx="1687">
                  <c:v>#N/A</c:v>
                </c:pt>
                <c:pt idx="1688">
                  <c:v>#N/A</c:v>
                </c:pt>
                <c:pt idx="1689">
                  <c:v>#N/A</c:v>
                </c:pt>
                <c:pt idx="1690">
                  <c:v>#N/A</c:v>
                </c:pt>
                <c:pt idx="1691">
                  <c:v>#N/A</c:v>
                </c:pt>
                <c:pt idx="1692">
                  <c:v>#N/A</c:v>
                </c:pt>
                <c:pt idx="1693">
                  <c:v>#N/A</c:v>
                </c:pt>
                <c:pt idx="1694">
                  <c:v>#N/A</c:v>
                </c:pt>
                <c:pt idx="1695">
                  <c:v>#N/A</c:v>
                </c:pt>
                <c:pt idx="1696">
                  <c:v>#N/A</c:v>
                </c:pt>
                <c:pt idx="1697">
                  <c:v>#N/A</c:v>
                </c:pt>
                <c:pt idx="1698">
                  <c:v>#N/A</c:v>
                </c:pt>
                <c:pt idx="1699">
                  <c:v>#N/A</c:v>
                </c:pt>
                <c:pt idx="1700">
                  <c:v>#N/A</c:v>
                </c:pt>
                <c:pt idx="1701">
                  <c:v>#N/A</c:v>
                </c:pt>
                <c:pt idx="1702">
                  <c:v>#N/A</c:v>
                </c:pt>
                <c:pt idx="1703">
                  <c:v>#N/A</c:v>
                </c:pt>
                <c:pt idx="1704">
                  <c:v>#N/A</c:v>
                </c:pt>
                <c:pt idx="1705">
                  <c:v>#N/A</c:v>
                </c:pt>
                <c:pt idx="1706">
                  <c:v>#N/A</c:v>
                </c:pt>
                <c:pt idx="1707">
                  <c:v>#N/A</c:v>
                </c:pt>
                <c:pt idx="1708">
                  <c:v>#N/A</c:v>
                </c:pt>
                <c:pt idx="1709">
                  <c:v>#N/A</c:v>
                </c:pt>
                <c:pt idx="1710">
                  <c:v>#N/A</c:v>
                </c:pt>
                <c:pt idx="1711">
                  <c:v>#N/A</c:v>
                </c:pt>
                <c:pt idx="1712">
                  <c:v>#N/A</c:v>
                </c:pt>
                <c:pt idx="1713">
                  <c:v>#N/A</c:v>
                </c:pt>
                <c:pt idx="1714">
                  <c:v>#N/A</c:v>
                </c:pt>
                <c:pt idx="1715">
                  <c:v>#N/A</c:v>
                </c:pt>
                <c:pt idx="1716">
                  <c:v>#N/A</c:v>
                </c:pt>
                <c:pt idx="1717">
                  <c:v>#N/A</c:v>
                </c:pt>
                <c:pt idx="1718">
                  <c:v>#N/A</c:v>
                </c:pt>
                <c:pt idx="1719">
                  <c:v>#N/A</c:v>
                </c:pt>
                <c:pt idx="1720">
                  <c:v>#N/A</c:v>
                </c:pt>
                <c:pt idx="1721">
                  <c:v>#N/A</c:v>
                </c:pt>
                <c:pt idx="1722">
                  <c:v>#N/A</c:v>
                </c:pt>
                <c:pt idx="1723">
                  <c:v>#N/A</c:v>
                </c:pt>
                <c:pt idx="1724">
                  <c:v>#N/A</c:v>
                </c:pt>
                <c:pt idx="1725">
                  <c:v>#N/A</c:v>
                </c:pt>
                <c:pt idx="1726">
                  <c:v>#N/A</c:v>
                </c:pt>
                <c:pt idx="1727">
                  <c:v>#N/A</c:v>
                </c:pt>
                <c:pt idx="1728">
                  <c:v>#N/A</c:v>
                </c:pt>
                <c:pt idx="1729">
                  <c:v>#N/A</c:v>
                </c:pt>
                <c:pt idx="1730">
                  <c:v>#N/A</c:v>
                </c:pt>
                <c:pt idx="1731">
                  <c:v>#N/A</c:v>
                </c:pt>
                <c:pt idx="1732">
                  <c:v>#N/A</c:v>
                </c:pt>
                <c:pt idx="1733">
                  <c:v>#N/A</c:v>
                </c:pt>
                <c:pt idx="1734">
                  <c:v>#N/A</c:v>
                </c:pt>
                <c:pt idx="1735">
                  <c:v>#N/A</c:v>
                </c:pt>
                <c:pt idx="1736">
                  <c:v>#N/A</c:v>
                </c:pt>
                <c:pt idx="1737">
                  <c:v>#N/A</c:v>
                </c:pt>
                <c:pt idx="1738">
                  <c:v>#N/A</c:v>
                </c:pt>
                <c:pt idx="1739">
                  <c:v>#N/A</c:v>
                </c:pt>
                <c:pt idx="1740">
                  <c:v>#N/A</c:v>
                </c:pt>
                <c:pt idx="1741">
                  <c:v>#N/A</c:v>
                </c:pt>
                <c:pt idx="1742">
                  <c:v>#N/A</c:v>
                </c:pt>
                <c:pt idx="1743">
                  <c:v>#N/A</c:v>
                </c:pt>
                <c:pt idx="1744">
                  <c:v>#N/A</c:v>
                </c:pt>
                <c:pt idx="1745">
                  <c:v>#N/A</c:v>
                </c:pt>
                <c:pt idx="1746">
                  <c:v>#N/A</c:v>
                </c:pt>
                <c:pt idx="1747">
                  <c:v>#N/A</c:v>
                </c:pt>
                <c:pt idx="1748">
                  <c:v>#N/A</c:v>
                </c:pt>
                <c:pt idx="1749">
                  <c:v>#N/A</c:v>
                </c:pt>
                <c:pt idx="1750">
                  <c:v>#N/A</c:v>
                </c:pt>
                <c:pt idx="1751">
                  <c:v>#N/A</c:v>
                </c:pt>
                <c:pt idx="1752">
                  <c:v>#N/A</c:v>
                </c:pt>
                <c:pt idx="1753">
                  <c:v>#N/A</c:v>
                </c:pt>
                <c:pt idx="1754">
                  <c:v>#N/A</c:v>
                </c:pt>
                <c:pt idx="1755">
                  <c:v>#N/A</c:v>
                </c:pt>
                <c:pt idx="1756">
                  <c:v>#N/A</c:v>
                </c:pt>
                <c:pt idx="1757">
                  <c:v>#N/A</c:v>
                </c:pt>
                <c:pt idx="1758">
                  <c:v>#N/A</c:v>
                </c:pt>
                <c:pt idx="1759">
                  <c:v>#N/A</c:v>
                </c:pt>
                <c:pt idx="1760">
                  <c:v>#N/A</c:v>
                </c:pt>
                <c:pt idx="1761">
                  <c:v>#N/A</c:v>
                </c:pt>
                <c:pt idx="1762">
                  <c:v>#N/A</c:v>
                </c:pt>
                <c:pt idx="1763">
                  <c:v>#N/A</c:v>
                </c:pt>
                <c:pt idx="1764">
                  <c:v>#N/A</c:v>
                </c:pt>
                <c:pt idx="1765">
                  <c:v>#N/A</c:v>
                </c:pt>
                <c:pt idx="1766">
                  <c:v>#N/A</c:v>
                </c:pt>
                <c:pt idx="1767">
                  <c:v>#N/A</c:v>
                </c:pt>
                <c:pt idx="1768">
                  <c:v>#N/A</c:v>
                </c:pt>
                <c:pt idx="1769">
                  <c:v>#N/A</c:v>
                </c:pt>
                <c:pt idx="1770">
                  <c:v>#N/A</c:v>
                </c:pt>
                <c:pt idx="1771">
                  <c:v>#N/A</c:v>
                </c:pt>
                <c:pt idx="1772">
                  <c:v>#N/A</c:v>
                </c:pt>
                <c:pt idx="1773">
                  <c:v>#N/A</c:v>
                </c:pt>
                <c:pt idx="1774">
                  <c:v>#N/A</c:v>
                </c:pt>
                <c:pt idx="1775">
                  <c:v>#N/A</c:v>
                </c:pt>
                <c:pt idx="1776">
                  <c:v>#N/A</c:v>
                </c:pt>
                <c:pt idx="1777">
                  <c:v>#N/A</c:v>
                </c:pt>
                <c:pt idx="1778">
                  <c:v>#N/A</c:v>
                </c:pt>
                <c:pt idx="1779">
                  <c:v>#N/A</c:v>
                </c:pt>
                <c:pt idx="1780">
                  <c:v>#N/A</c:v>
                </c:pt>
                <c:pt idx="1781">
                  <c:v>#N/A</c:v>
                </c:pt>
                <c:pt idx="1782">
                  <c:v>#N/A</c:v>
                </c:pt>
                <c:pt idx="1783">
                  <c:v>#N/A</c:v>
                </c:pt>
                <c:pt idx="1784">
                  <c:v>#N/A</c:v>
                </c:pt>
                <c:pt idx="1785">
                  <c:v>#N/A</c:v>
                </c:pt>
                <c:pt idx="1786">
                  <c:v>#N/A</c:v>
                </c:pt>
                <c:pt idx="1787">
                  <c:v>#N/A</c:v>
                </c:pt>
                <c:pt idx="1788">
                  <c:v>#N/A</c:v>
                </c:pt>
                <c:pt idx="1789">
                  <c:v>#N/A</c:v>
                </c:pt>
                <c:pt idx="1790">
                  <c:v>#N/A</c:v>
                </c:pt>
                <c:pt idx="1791">
                  <c:v>#N/A</c:v>
                </c:pt>
                <c:pt idx="1792">
                  <c:v>#N/A</c:v>
                </c:pt>
                <c:pt idx="1793">
                  <c:v>#N/A</c:v>
                </c:pt>
                <c:pt idx="1794">
                  <c:v>#N/A</c:v>
                </c:pt>
                <c:pt idx="1795">
                  <c:v>#N/A</c:v>
                </c:pt>
                <c:pt idx="1796">
                  <c:v>#N/A</c:v>
                </c:pt>
                <c:pt idx="1797">
                  <c:v>#N/A</c:v>
                </c:pt>
                <c:pt idx="1798">
                  <c:v>#N/A</c:v>
                </c:pt>
                <c:pt idx="1799">
                  <c:v>#N/A</c:v>
                </c:pt>
                <c:pt idx="1800">
                  <c:v>#N/A</c:v>
                </c:pt>
                <c:pt idx="1801">
                  <c:v>#N/A</c:v>
                </c:pt>
                <c:pt idx="1802">
                  <c:v>#N/A</c:v>
                </c:pt>
                <c:pt idx="1803">
                  <c:v>#N/A</c:v>
                </c:pt>
                <c:pt idx="1804">
                  <c:v>#N/A</c:v>
                </c:pt>
                <c:pt idx="1805">
                  <c:v>#N/A</c:v>
                </c:pt>
                <c:pt idx="1806">
                  <c:v>#N/A</c:v>
                </c:pt>
                <c:pt idx="1807">
                  <c:v>#N/A</c:v>
                </c:pt>
                <c:pt idx="1808">
                  <c:v>#N/A</c:v>
                </c:pt>
                <c:pt idx="1809">
                  <c:v>#N/A</c:v>
                </c:pt>
                <c:pt idx="1810">
                  <c:v>#N/A</c:v>
                </c:pt>
                <c:pt idx="1811">
                  <c:v>#N/A</c:v>
                </c:pt>
                <c:pt idx="1812">
                  <c:v>#N/A</c:v>
                </c:pt>
                <c:pt idx="1813">
                  <c:v>#N/A</c:v>
                </c:pt>
                <c:pt idx="1814">
                  <c:v>#N/A</c:v>
                </c:pt>
                <c:pt idx="1815">
                  <c:v>#N/A</c:v>
                </c:pt>
                <c:pt idx="1816">
                  <c:v>#N/A</c:v>
                </c:pt>
                <c:pt idx="1817">
                  <c:v>#N/A</c:v>
                </c:pt>
                <c:pt idx="1818">
                  <c:v>#N/A</c:v>
                </c:pt>
                <c:pt idx="1819">
                  <c:v>#N/A</c:v>
                </c:pt>
                <c:pt idx="1820">
                  <c:v>#N/A</c:v>
                </c:pt>
                <c:pt idx="1821">
                  <c:v>#N/A</c:v>
                </c:pt>
                <c:pt idx="1822">
                  <c:v>#N/A</c:v>
                </c:pt>
                <c:pt idx="1823">
                  <c:v>#N/A</c:v>
                </c:pt>
                <c:pt idx="1824">
                  <c:v>#N/A</c:v>
                </c:pt>
                <c:pt idx="1825">
                  <c:v>#N/A</c:v>
                </c:pt>
                <c:pt idx="1826">
                  <c:v>#N/A</c:v>
                </c:pt>
                <c:pt idx="1827">
                  <c:v>#N/A</c:v>
                </c:pt>
                <c:pt idx="1828">
                  <c:v>#N/A</c:v>
                </c:pt>
                <c:pt idx="1829">
                  <c:v>#N/A</c:v>
                </c:pt>
                <c:pt idx="1830">
                  <c:v>#N/A</c:v>
                </c:pt>
                <c:pt idx="1831">
                  <c:v>#N/A</c:v>
                </c:pt>
                <c:pt idx="1832">
                  <c:v>#N/A</c:v>
                </c:pt>
                <c:pt idx="1833">
                  <c:v>#N/A</c:v>
                </c:pt>
                <c:pt idx="1834">
                  <c:v>#N/A</c:v>
                </c:pt>
                <c:pt idx="1835">
                  <c:v>#N/A</c:v>
                </c:pt>
                <c:pt idx="1836">
                  <c:v>#N/A</c:v>
                </c:pt>
                <c:pt idx="1837">
                  <c:v>#N/A</c:v>
                </c:pt>
                <c:pt idx="1838">
                  <c:v>#N/A</c:v>
                </c:pt>
                <c:pt idx="1839">
                  <c:v>#N/A</c:v>
                </c:pt>
                <c:pt idx="1840">
                  <c:v>#N/A</c:v>
                </c:pt>
                <c:pt idx="1841">
                  <c:v>#N/A</c:v>
                </c:pt>
                <c:pt idx="1842">
                  <c:v>#N/A</c:v>
                </c:pt>
                <c:pt idx="1843">
                  <c:v>#N/A</c:v>
                </c:pt>
                <c:pt idx="1844">
                  <c:v>#N/A</c:v>
                </c:pt>
                <c:pt idx="1845">
                  <c:v>#N/A</c:v>
                </c:pt>
                <c:pt idx="1846">
                  <c:v>#N/A</c:v>
                </c:pt>
                <c:pt idx="1847">
                  <c:v>#N/A</c:v>
                </c:pt>
                <c:pt idx="1848">
                  <c:v>#N/A</c:v>
                </c:pt>
                <c:pt idx="1849">
                  <c:v>#N/A</c:v>
                </c:pt>
                <c:pt idx="1850">
                  <c:v>#N/A</c:v>
                </c:pt>
                <c:pt idx="1851">
                  <c:v>#N/A</c:v>
                </c:pt>
                <c:pt idx="1852">
                  <c:v>#N/A</c:v>
                </c:pt>
                <c:pt idx="1853">
                  <c:v>#N/A</c:v>
                </c:pt>
                <c:pt idx="1854">
                  <c:v>#N/A</c:v>
                </c:pt>
                <c:pt idx="1855">
                  <c:v>#N/A</c:v>
                </c:pt>
                <c:pt idx="1856">
                  <c:v>#N/A</c:v>
                </c:pt>
                <c:pt idx="1857">
                  <c:v>#N/A</c:v>
                </c:pt>
                <c:pt idx="1858">
                  <c:v>#N/A</c:v>
                </c:pt>
                <c:pt idx="1859">
                  <c:v>#N/A</c:v>
                </c:pt>
                <c:pt idx="1860">
                  <c:v>#N/A</c:v>
                </c:pt>
                <c:pt idx="1861">
                  <c:v>#N/A</c:v>
                </c:pt>
                <c:pt idx="1862">
                  <c:v>#N/A</c:v>
                </c:pt>
                <c:pt idx="1863">
                  <c:v>#N/A</c:v>
                </c:pt>
                <c:pt idx="1864">
                  <c:v>#N/A</c:v>
                </c:pt>
                <c:pt idx="1865">
                  <c:v>#N/A</c:v>
                </c:pt>
                <c:pt idx="1866">
                  <c:v>#N/A</c:v>
                </c:pt>
                <c:pt idx="1867">
                  <c:v>#N/A</c:v>
                </c:pt>
                <c:pt idx="1868">
                  <c:v>#N/A</c:v>
                </c:pt>
                <c:pt idx="1869">
                  <c:v>#N/A</c:v>
                </c:pt>
                <c:pt idx="1870">
                  <c:v>#N/A</c:v>
                </c:pt>
                <c:pt idx="1871">
                  <c:v>#N/A</c:v>
                </c:pt>
                <c:pt idx="1872">
                  <c:v>#N/A</c:v>
                </c:pt>
                <c:pt idx="1873">
                  <c:v>#N/A</c:v>
                </c:pt>
                <c:pt idx="1874">
                  <c:v>#N/A</c:v>
                </c:pt>
                <c:pt idx="1875">
                  <c:v>#N/A</c:v>
                </c:pt>
                <c:pt idx="1876">
                  <c:v>#N/A</c:v>
                </c:pt>
                <c:pt idx="1877">
                  <c:v>#N/A</c:v>
                </c:pt>
                <c:pt idx="1878">
                  <c:v>#N/A</c:v>
                </c:pt>
                <c:pt idx="1879">
                  <c:v>#N/A</c:v>
                </c:pt>
                <c:pt idx="1880">
                  <c:v>#N/A</c:v>
                </c:pt>
                <c:pt idx="1881">
                  <c:v>#N/A</c:v>
                </c:pt>
                <c:pt idx="1882">
                  <c:v>#N/A</c:v>
                </c:pt>
                <c:pt idx="1883">
                  <c:v>#N/A</c:v>
                </c:pt>
                <c:pt idx="1884">
                  <c:v>#N/A</c:v>
                </c:pt>
                <c:pt idx="1885">
                  <c:v>#N/A</c:v>
                </c:pt>
                <c:pt idx="1886">
                  <c:v>#N/A</c:v>
                </c:pt>
                <c:pt idx="1887">
                  <c:v>#N/A</c:v>
                </c:pt>
                <c:pt idx="1888">
                  <c:v>#N/A</c:v>
                </c:pt>
                <c:pt idx="1889">
                  <c:v>#N/A</c:v>
                </c:pt>
                <c:pt idx="1890">
                  <c:v>#N/A</c:v>
                </c:pt>
                <c:pt idx="1891">
                  <c:v>#N/A</c:v>
                </c:pt>
                <c:pt idx="1892">
                  <c:v>#N/A</c:v>
                </c:pt>
                <c:pt idx="1893">
                  <c:v>#N/A</c:v>
                </c:pt>
                <c:pt idx="1894">
                  <c:v>#N/A</c:v>
                </c:pt>
                <c:pt idx="1895">
                  <c:v>#N/A</c:v>
                </c:pt>
                <c:pt idx="1896">
                  <c:v>#N/A</c:v>
                </c:pt>
                <c:pt idx="1897">
                  <c:v>#N/A</c:v>
                </c:pt>
                <c:pt idx="1898">
                  <c:v>#N/A</c:v>
                </c:pt>
                <c:pt idx="1899">
                  <c:v>#N/A</c:v>
                </c:pt>
                <c:pt idx="1900">
                  <c:v>#N/A</c:v>
                </c:pt>
                <c:pt idx="1901">
                  <c:v>#N/A</c:v>
                </c:pt>
                <c:pt idx="1902">
                  <c:v>#N/A</c:v>
                </c:pt>
                <c:pt idx="1903">
                  <c:v>#N/A</c:v>
                </c:pt>
                <c:pt idx="1904">
                  <c:v>#N/A</c:v>
                </c:pt>
                <c:pt idx="1905">
                  <c:v>#N/A</c:v>
                </c:pt>
                <c:pt idx="1906">
                  <c:v>#N/A</c:v>
                </c:pt>
                <c:pt idx="1907">
                  <c:v>#N/A</c:v>
                </c:pt>
                <c:pt idx="1908">
                  <c:v>#N/A</c:v>
                </c:pt>
                <c:pt idx="1909">
                  <c:v>#N/A</c:v>
                </c:pt>
                <c:pt idx="1910">
                  <c:v>#N/A</c:v>
                </c:pt>
                <c:pt idx="1911">
                  <c:v>#N/A</c:v>
                </c:pt>
                <c:pt idx="1912">
                  <c:v>#N/A</c:v>
                </c:pt>
                <c:pt idx="1913">
                  <c:v>#N/A</c:v>
                </c:pt>
                <c:pt idx="1914">
                  <c:v>#N/A</c:v>
                </c:pt>
                <c:pt idx="1915">
                  <c:v>#N/A</c:v>
                </c:pt>
                <c:pt idx="1916">
                  <c:v>#N/A</c:v>
                </c:pt>
                <c:pt idx="1917">
                  <c:v>#N/A</c:v>
                </c:pt>
                <c:pt idx="1918">
                  <c:v>#N/A</c:v>
                </c:pt>
                <c:pt idx="1919">
                  <c:v>#N/A</c:v>
                </c:pt>
                <c:pt idx="1920">
                  <c:v>#N/A</c:v>
                </c:pt>
                <c:pt idx="1921">
                  <c:v>#N/A</c:v>
                </c:pt>
                <c:pt idx="1922">
                  <c:v>#N/A</c:v>
                </c:pt>
                <c:pt idx="1923">
                  <c:v>#N/A</c:v>
                </c:pt>
                <c:pt idx="1924">
                  <c:v>#N/A</c:v>
                </c:pt>
                <c:pt idx="1925">
                  <c:v>#N/A</c:v>
                </c:pt>
                <c:pt idx="1926">
                  <c:v>#N/A</c:v>
                </c:pt>
                <c:pt idx="1927">
                  <c:v>#N/A</c:v>
                </c:pt>
                <c:pt idx="1928">
                  <c:v>#N/A</c:v>
                </c:pt>
                <c:pt idx="1929">
                  <c:v>#N/A</c:v>
                </c:pt>
                <c:pt idx="1930">
                  <c:v>#N/A</c:v>
                </c:pt>
                <c:pt idx="1931">
                  <c:v>#N/A</c:v>
                </c:pt>
                <c:pt idx="1932">
                  <c:v>#N/A</c:v>
                </c:pt>
                <c:pt idx="1933">
                  <c:v>#N/A</c:v>
                </c:pt>
                <c:pt idx="1934">
                  <c:v>#N/A</c:v>
                </c:pt>
                <c:pt idx="1935">
                  <c:v>#N/A</c:v>
                </c:pt>
                <c:pt idx="1936">
                  <c:v>#N/A</c:v>
                </c:pt>
                <c:pt idx="1937">
                  <c:v>#N/A</c:v>
                </c:pt>
                <c:pt idx="1938">
                  <c:v>#N/A</c:v>
                </c:pt>
                <c:pt idx="1939">
                  <c:v>#N/A</c:v>
                </c:pt>
                <c:pt idx="1940">
                  <c:v>#N/A</c:v>
                </c:pt>
                <c:pt idx="1941">
                  <c:v>#N/A</c:v>
                </c:pt>
                <c:pt idx="1942">
                  <c:v>#N/A</c:v>
                </c:pt>
                <c:pt idx="1943">
                  <c:v>#N/A</c:v>
                </c:pt>
                <c:pt idx="1944">
                  <c:v>#N/A</c:v>
                </c:pt>
                <c:pt idx="1945">
                  <c:v>#N/A</c:v>
                </c:pt>
                <c:pt idx="1946">
                  <c:v>#N/A</c:v>
                </c:pt>
                <c:pt idx="1947">
                  <c:v>#N/A</c:v>
                </c:pt>
                <c:pt idx="1948">
                  <c:v>#N/A</c:v>
                </c:pt>
                <c:pt idx="1949">
                  <c:v>#N/A</c:v>
                </c:pt>
                <c:pt idx="1950">
                  <c:v>#N/A</c:v>
                </c:pt>
                <c:pt idx="1951">
                  <c:v>#N/A</c:v>
                </c:pt>
                <c:pt idx="1952">
                  <c:v>#N/A</c:v>
                </c:pt>
                <c:pt idx="1953">
                  <c:v>#N/A</c:v>
                </c:pt>
                <c:pt idx="1954">
                  <c:v>#N/A</c:v>
                </c:pt>
                <c:pt idx="1955">
                  <c:v>#N/A</c:v>
                </c:pt>
                <c:pt idx="1956">
                  <c:v>0.9726027397260274</c:v>
                </c:pt>
                <c:pt idx="1957">
                  <c:v>0.9726027397260274</c:v>
                </c:pt>
                <c:pt idx="1958">
                  <c:v>#N/A</c:v>
                </c:pt>
                <c:pt idx="1959">
                  <c:v>#N/A</c:v>
                </c:pt>
                <c:pt idx="1960">
                  <c:v>#N/A</c:v>
                </c:pt>
                <c:pt idx="1961">
                  <c:v>#N/A</c:v>
                </c:pt>
                <c:pt idx="1962">
                  <c:v>#N/A</c:v>
                </c:pt>
                <c:pt idx="1963">
                  <c:v>#N/A</c:v>
                </c:pt>
                <c:pt idx="1964">
                  <c:v>#N/A</c:v>
                </c:pt>
                <c:pt idx="1965">
                  <c:v>#N/A</c:v>
                </c:pt>
                <c:pt idx="1966">
                  <c:v>#N/A</c:v>
                </c:pt>
                <c:pt idx="1967">
                  <c:v>#N/A</c:v>
                </c:pt>
                <c:pt idx="1968">
                  <c:v>#N/A</c:v>
                </c:pt>
                <c:pt idx="1969">
                  <c:v>#N/A</c:v>
                </c:pt>
                <c:pt idx="1970">
                  <c:v>#N/A</c:v>
                </c:pt>
                <c:pt idx="1971">
                  <c:v>#N/A</c:v>
                </c:pt>
                <c:pt idx="1972">
                  <c:v>#N/A</c:v>
                </c:pt>
                <c:pt idx="1973">
                  <c:v>#N/A</c:v>
                </c:pt>
                <c:pt idx="1974">
                  <c:v>#N/A</c:v>
                </c:pt>
                <c:pt idx="1975">
                  <c:v>#N/A</c:v>
                </c:pt>
                <c:pt idx="1976">
                  <c:v>#N/A</c:v>
                </c:pt>
                <c:pt idx="1977">
                  <c:v>#N/A</c:v>
                </c:pt>
                <c:pt idx="1978">
                  <c:v>#N/A</c:v>
                </c:pt>
                <c:pt idx="1979">
                  <c:v>#N/A</c:v>
                </c:pt>
                <c:pt idx="1980">
                  <c:v>#N/A</c:v>
                </c:pt>
                <c:pt idx="1981">
                  <c:v>#N/A</c:v>
                </c:pt>
                <c:pt idx="1982">
                  <c:v>#N/A</c:v>
                </c:pt>
                <c:pt idx="1983">
                  <c:v>#N/A</c:v>
                </c:pt>
                <c:pt idx="1984">
                  <c:v>#N/A</c:v>
                </c:pt>
                <c:pt idx="1985">
                  <c:v>#N/A</c:v>
                </c:pt>
                <c:pt idx="1986">
                  <c:v>#N/A</c:v>
                </c:pt>
                <c:pt idx="1987">
                  <c:v>#N/A</c:v>
                </c:pt>
                <c:pt idx="1988">
                  <c:v>#N/A</c:v>
                </c:pt>
                <c:pt idx="1989">
                  <c:v>#N/A</c:v>
                </c:pt>
                <c:pt idx="1990">
                  <c:v>#N/A</c:v>
                </c:pt>
                <c:pt idx="1991">
                  <c:v>#N/A</c:v>
                </c:pt>
                <c:pt idx="1992">
                  <c:v>#N/A</c:v>
                </c:pt>
                <c:pt idx="1993">
                  <c:v>#N/A</c:v>
                </c:pt>
                <c:pt idx="1994">
                  <c:v>#N/A</c:v>
                </c:pt>
                <c:pt idx="1995">
                  <c:v>#N/A</c:v>
                </c:pt>
                <c:pt idx="1996">
                  <c:v>#N/A</c:v>
                </c:pt>
                <c:pt idx="1997">
                  <c:v>#N/A</c:v>
                </c:pt>
                <c:pt idx="1998">
                  <c:v>#N/A</c:v>
                </c:pt>
                <c:pt idx="1999">
                  <c:v>#N/A</c:v>
                </c:pt>
                <c:pt idx="2000">
                  <c:v>#N/A</c:v>
                </c:pt>
                <c:pt idx="2001">
                  <c:v>#N/A</c:v>
                </c:pt>
                <c:pt idx="2002">
                  <c:v>#N/A</c:v>
                </c:pt>
                <c:pt idx="2003">
                  <c:v>#N/A</c:v>
                </c:pt>
                <c:pt idx="2004">
                  <c:v>#N/A</c:v>
                </c:pt>
                <c:pt idx="2005">
                  <c:v>#N/A</c:v>
                </c:pt>
                <c:pt idx="2006">
                  <c:v>#N/A</c:v>
                </c:pt>
                <c:pt idx="2007">
                  <c:v>#N/A</c:v>
                </c:pt>
                <c:pt idx="2008">
                  <c:v>#N/A</c:v>
                </c:pt>
                <c:pt idx="2009">
                  <c:v>#N/A</c:v>
                </c:pt>
                <c:pt idx="2010">
                  <c:v>#N/A</c:v>
                </c:pt>
                <c:pt idx="2011">
                  <c:v>#N/A</c:v>
                </c:pt>
                <c:pt idx="2012">
                  <c:v>#N/A</c:v>
                </c:pt>
                <c:pt idx="2013">
                  <c:v>#N/A</c:v>
                </c:pt>
                <c:pt idx="2014">
                  <c:v>#N/A</c:v>
                </c:pt>
                <c:pt idx="2015">
                  <c:v>#N/A</c:v>
                </c:pt>
                <c:pt idx="2016">
                  <c:v>#N/A</c:v>
                </c:pt>
                <c:pt idx="2017">
                  <c:v>#N/A</c:v>
                </c:pt>
                <c:pt idx="2018">
                  <c:v>#N/A</c:v>
                </c:pt>
                <c:pt idx="2019">
                  <c:v>#N/A</c:v>
                </c:pt>
                <c:pt idx="2020">
                  <c:v>#N/A</c:v>
                </c:pt>
                <c:pt idx="2021">
                  <c:v>#N/A</c:v>
                </c:pt>
                <c:pt idx="2022">
                  <c:v>#N/A</c:v>
                </c:pt>
                <c:pt idx="2023">
                  <c:v>#N/A</c:v>
                </c:pt>
                <c:pt idx="2024">
                  <c:v>#N/A</c:v>
                </c:pt>
                <c:pt idx="2025">
                  <c:v>#N/A</c:v>
                </c:pt>
                <c:pt idx="2026">
                  <c:v>#N/A</c:v>
                </c:pt>
                <c:pt idx="2027">
                  <c:v>#N/A</c:v>
                </c:pt>
                <c:pt idx="2028">
                  <c:v>#N/A</c:v>
                </c:pt>
                <c:pt idx="2029">
                  <c:v>#N/A</c:v>
                </c:pt>
                <c:pt idx="2030">
                  <c:v>#N/A</c:v>
                </c:pt>
                <c:pt idx="2031">
                  <c:v>#N/A</c:v>
                </c:pt>
                <c:pt idx="2032">
                  <c:v>#N/A</c:v>
                </c:pt>
                <c:pt idx="2033">
                  <c:v>#N/A</c:v>
                </c:pt>
                <c:pt idx="2034">
                  <c:v>#N/A</c:v>
                </c:pt>
                <c:pt idx="2035">
                  <c:v>#N/A</c:v>
                </c:pt>
                <c:pt idx="2036">
                  <c:v>#N/A</c:v>
                </c:pt>
                <c:pt idx="2037">
                  <c:v>#N/A</c:v>
                </c:pt>
                <c:pt idx="2038">
                  <c:v>#N/A</c:v>
                </c:pt>
                <c:pt idx="2039">
                  <c:v>#N/A</c:v>
                </c:pt>
                <c:pt idx="2040">
                  <c:v>#N/A</c:v>
                </c:pt>
                <c:pt idx="2041">
                  <c:v>#N/A</c:v>
                </c:pt>
                <c:pt idx="2042">
                  <c:v>#N/A</c:v>
                </c:pt>
                <c:pt idx="2043">
                  <c:v>#N/A</c:v>
                </c:pt>
                <c:pt idx="2044">
                  <c:v>#N/A</c:v>
                </c:pt>
                <c:pt idx="2045">
                  <c:v>#N/A</c:v>
                </c:pt>
                <c:pt idx="2046">
                  <c:v>#N/A</c:v>
                </c:pt>
                <c:pt idx="2047">
                  <c:v>#N/A</c:v>
                </c:pt>
                <c:pt idx="2048">
                  <c:v>#N/A</c:v>
                </c:pt>
                <c:pt idx="2049">
                  <c:v>#N/A</c:v>
                </c:pt>
                <c:pt idx="2050">
                  <c:v>#N/A</c:v>
                </c:pt>
                <c:pt idx="2051">
                  <c:v>#N/A</c:v>
                </c:pt>
                <c:pt idx="2052">
                  <c:v>#N/A</c:v>
                </c:pt>
                <c:pt idx="2053">
                  <c:v>#N/A</c:v>
                </c:pt>
                <c:pt idx="2054">
                  <c:v>#N/A</c:v>
                </c:pt>
                <c:pt idx="2055">
                  <c:v>#N/A</c:v>
                </c:pt>
                <c:pt idx="2056">
                  <c:v>#N/A</c:v>
                </c:pt>
                <c:pt idx="2057">
                  <c:v>#N/A</c:v>
                </c:pt>
                <c:pt idx="2058">
                  <c:v>#N/A</c:v>
                </c:pt>
                <c:pt idx="2059">
                  <c:v>#N/A</c:v>
                </c:pt>
                <c:pt idx="2060">
                  <c:v>#N/A</c:v>
                </c:pt>
                <c:pt idx="2061">
                  <c:v>#N/A</c:v>
                </c:pt>
                <c:pt idx="2062">
                  <c:v>#N/A</c:v>
                </c:pt>
                <c:pt idx="2063">
                  <c:v>#N/A</c:v>
                </c:pt>
                <c:pt idx="2064">
                  <c:v>#N/A</c:v>
                </c:pt>
                <c:pt idx="2065">
                  <c:v>#N/A</c:v>
                </c:pt>
                <c:pt idx="2066">
                  <c:v>#N/A</c:v>
                </c:pt>
                <c:pt idx="2067">
                  <c:v>#N/A</c:v>
                </c:pt>
                <c:pt idx="2068">
                  <c:v>#N/A</c:v>
                </c:pt>
                <c:pt idx="2069">
                  <c:v>#N/A</c:v>
                </c:pt>
                <c:pt idx="2070">
                  <c:v>#N/A</c:v>
                </c:pt>
                <c:pt idx="2071">
                  <c:v>#N/A</c:v>
                </c:pt>
                <c:pt idx="2072">
                  <c:v>#N/A</c:v>
                </c:pt>
                <c:pt idx="2073">
                  <c:v>#N/A</c:v>
                </c:pt>
                <c:pt idx="2074">
                  <c:v>#N/A</c:v>
                </c:pt>
                <c:pt idx="2075">
                  <c:v>#N/A</c:v>
                </c:pt>
                <c:pt idx="2076">
                  <c:v>#N/A</c:v>
                </c:pt>
                <c:pt idx="2077">
                  <c:v>#N/A</c:v>
                </c:pt>
                <c:pt idx="2078">
                  <c:v>#N/A</c:v>
                </c:pt>
                <c:pt idx="2079">
                  <c:v>#N/A</c:v>
                </c:pt>
                <c:pt idx="2080">
                  <c:v>#N/A</c:v>
                </c:pt>
                <c:pt idx="2081">
                  <c:v>#N/A</c:v>
                </c:pt>
                <c:pt idx="2082">
                  <c:v>#N/A</c:v>
                </c:pt>
                <c:pt idx="2083">
                  <c:v>#N/A</c:v>
                </c:pt>
                <c:pt idx="2084">
                  <c:v>#N/A</c:v>
                </c:pt>
                <c:pt idx="2085">
                  <c:v>#N/A</c:v>
                </c:pt>
                <c:pt idx="2086">
                  <c:v>#N/A</c:v>
                </c:pt>
                <c:pt idx="2087">
                  <c:v>#N/A</c:v>
                </c:pt>
                <c:pt idx="2088">
                  <c:v>#N/A</c:v>
                </c:pt>
                <c:pt idx="2089">
                  <c:v>#N/A</c:v>
                </c:pt>
                <c:pt idx="2090">
                  <c:v>#N/A</c:v>
                </c:pt>
                <c:pt idx="2091">
                  <c:v>#N/A</c:v>
                </c:pt>
                <c:pt idx="2092">
                  <c:v>#N/A</c:v>
                </c:pt>
                <c:pt idx="2093">
                  <c:v>#N/A</c:v>
                </c:pt>
                <c:pt idx="2094">
                  <c:v>#N/A</c:v>
                </c:pt>
                <c:pt idx="2095">
                  <c:v>#N/A</c:v>
                </c:pt>
                <c:pt idx="2096">
                  <c:v>#N/A</c:v>
                </c:pt>
                <c:pt idx="2097">
                  <c:v>#N/A</c:v>
                </c:pt>
                <c:pt idx="2098">
                  <c:v>#N/A</c:v>
                </c:pt>
                <c:pt idx="2099">
                  <c:v>#N/A</c:v>
                </c:pt>
                <c:pt idx="2100">
                  <c:v>#N/A</c:v>
                </c:pt>
                <c:pt idx="2101">
                  <c:v>#N/A</c:v>
                </c:pt>
                <c:pt idx="2102">
                  <c:v>#N/A</c:v>
                </c:pt>
                <c:pt idx="2103">
                  <c:v>#N/A</c:v>
                </c:pt>
                <c:pt idx="2104">
                  <c:v>#N/A</c:v>
                </c:pt>
                <c:pt idx="2105">
                  <c:v>#N/A</c:v>
                </c:pt>
                <c:pt idx="2106">
                  <c:v>#N/A</c:v>
                </c:pt>
                <c:pt idx="2107">
                  <c:v>#N/A</c:v>
                </c:pt>
                <c:pt idx="2108">
                  <c:v>#N/A</c:v>
                </c:pt>
                <c:pt idx="2109">
                  <c:v>#N/A</c:v>
                </c:pt>
                <c:pt idx="2110">
                  <c:v>#N/A</c:v>
                </c:pt>
                <c:pt idx="2111">
                  <c:v>#N/A</c:v>
                </c:pt>
                <c:pt idx="2112">
                  <c:v>#N/A</c:v>
                </c:pt>
                <c:pt idx="2113">
                  <c:v>#N/A</c:v>
                </c:pt>
                <c:pt idx="2114">
                  <c:v>#N/A</c:v>
                </c:pt>
                <c:pt idx="2115">
                  <c:v>#N/A</c:v>
                </c:pt>
                <c:pt idx="2116">
                  <c:v>#N/A</c:v>
                </c:pt>
                <c:pt idx="2117">
                  <c:v>#N/A</c:v>
                </c:pt>
                <c:pt idx="2118">
                  <c:v>#N/A</c:v>
                </c:pt>
                <c:pt idx="2119">
                  <c:v>#N/A</c:v>
                </c:pt>
                <c:pt idx="2120">
                  <c:v>#N/A</c:v>
                </c:pt>
                <c:pt idx="2121">
                  <c:v>#N/A</c:v>
                </c:pt>
                <c:pt idx="2122">
                  <c:v>#N/A</c:v>
                </c:pt>
                <c:pt idx="2123">
                  <c:v>#N/A</c:v>
                </c:pt>
                <c:pt idx="2124">
                  <c:v>#N/A</c:v>
                </c:pt>
                <c:pt idx="2125">
                  <c:v>#N/A</c:v>
                </c:pt>
                <c:pt idx="2126">
                  <c:v>#N/A</c:v>
                </c:pt>
                <c:pt idx="2127">
                  <c:v>#N/A</c:v>
                </c:pt>
                <c:pt idx="2128">
                  <c:v>#N/A</c:v>
                </c:pt>
                <c:pt idx="2129">
                  <c:v>#N/A</c:v>
                </c:pt>
                <c:pt idx="2130">
                  <c:v>#N/A</c:v>
                </c:pt>
                <c:pt idx="2131">
                  <c:v>#N/A</c:v>
                </c:pt>
                <c:pt idx="2132">
                  <c:v>#N/A</c:v>
                </c:pt>
                <c:pt idx="2133">
                  <c:v>#N/A</c:v>
                </c:pt>
                <c:pt idx="2134">
                  <c:v>#N/A</c:v>
                </c:pt>
                <c:pt idx="2135">
                  <c:v>#N/A</c:v>
                </c:pt>
                <c:pt idx="2136">
                  <c:v>#N/A</c:v>
                </c:pt>
                <c:pt idx="2137">
                  <c:v>#N/A</c:v>
                </c:pt>
                <c:pt idx="2138">
                  <c:v>#N/A</c:v>
                </c:pt>
                <c:pt idx="2139">
                  <c:v>#N/A</c:v>
                </c:pt>
                <c:pt idx="2140">
                  <c:v>#N/A</c:v>
                </c:pt>
                <c:pt idx="2141">
                  <c:v>#N/A</c:v>
                </c:pt>
                <c:pt idx="2142">
                  <c:v>#N/A</c:v>
                </c:pt>
                <c:pt idx="2143">
                  <c:v>#N/A</c:v>
                </c:pt>
                <c:pt idx="2144">
                  <c:v>#N/A</c:v>
                </c:pt>
                <c:pt idx="2145">
                  <c:v>#N/A</c:v>
                </c:pt>
                <c:pt idx="2146">
                  <c:v>#N/A</c:v>
                </c:pt>
                <c:pt idx="2147">
                  <c:v>#N/A</c:v>
                </c:pt>
                <c:pt idx="2148">
                  <c:v>#N/A</c:v>
                </c:pt>
                <c:pt idx="2149">
                  <c:v>#N/A</c:v>
                </c:pt>
                <c:pt idx="2150">
                  <c:v>#N/A</c:v>
                </c:pt>
                <c:pt idx="2151">
                  <c:v>#N/A</c:v>
                </c:pt>
                <c:pt idx="2152">
                  <c:v>#N/A</c:v>
                </c:pt>
                <c:pt idx="2153">
                  <c:v>#N/A</c:v>
                </c:pt>
                <c:pt idx="2154">
                  <c:v>#N/A</c:v>
                </c:pt>
                <c:pt idx="2155">
                  <c:v>#N/A</c:v>
                </c:pt>
                <c:pt idx="2156">
                  <c:v>#N/A</c:v>
                </c:pt>
                <c:pt idx="2157">
                  <c:v>#N/A</c:v>
                </c:pt>
                <c:pt idx="2158">
                  <c:v>#N/A</c:v>
                </c:pt>
                <c:pt idx="2159">
                  <c:v>#N/A</c:v>
                </c:pt>
                <c:pt idx="2160">
                  <c:v>#N/A</c:v>
                </c:pt>
                <c:pt idx="2161">
                  <c:v>#N/A</c:v>
                </c:pt>
                <c:pt idx="2162">
                  <c:v>#N/A</c:v>
                </c:pt>
                <c:pt idx="2163">
                  <c:v>#N/A</c:v>
                </c:pt>
                <c:pt idx="2164">
                  <c:v>#N/A</c:v>
                </c:pt>
                <c:pt idx="2165">
                  <c:v>#N/A</c:v>
                </c:pt>
                <c:pt idx="2166">
                  <c:v>#N/A</c:v>
                </c:pt>
                <c:pt idx="2167">
                  <c:v>#N/A</c:v>
                </c:pt>
                <c:pt idx="2168">
                  <c:v>#N/A</c:v>
                </c:pt>
                <c:pt idx="2169">
                  <c:v>#N/A</c:v>
                </c:pt>
                <c:pt idx="2170">
                  <c:v>#N/A</c:v>
                </c:pt>
                <c:pt idx="2171">
                  <c:v>#N/A</c:v>
                </c:pt>
                <c:pt idx="2172">
                  <c:v>#N/A</c:v>
                </c:pt>
                <c:pt idx="2173">
                  <c:v>#N/A</c:v>
                </c:pt>
                <c:pt idx="2174">
                  <c:v>#N/A</c:v>
                </c:pt>
                <c:pt idx="2175">
                  <c:v>#N/A</c:v>
                </c:pt>
                <c:pt idx="2176">
                  <c:v>#N/A</c:v>
                </c:pt>
                <c:pt idx="2177">
                  <c:v>#N/A</c:v>
                </c:pt>
                <c:pt idx="2178">
                  <c:v>#N/A</c:v>
                </c:pt>
                <c:pt idx="2179">
                  <c:v>#N/A</c:v>
                </c:pt>
                <c:pt idx="2180">
                  <c:v>#N/A</c:v>
                </c:pt>
                <c:pt idx="2181">
                  <c:v>#N/A</c:v>
                </c:pt>
                <c:pt idx="2182">
                  <c:v>#N/A</c:v>
                </c:pt>
                <c:pt idx="2183">
                  <c:v>#N/A</c:v>
                </c:pt>
                <c:pt idx="2184">
                  <c:v>#N/A</c:v>
                </c:pt>
                <c:pt idx="2185">
                  <c:v>#N/A</c:v>
                </c:pt>
                <c:pt idx="2186">
                  <c:v>#N/A</c:v>
                </c:pt>
                <c:pt idx="2187">
                  <c:v>#N/A</c:v>
                </c:pt>
                <c:pt idx="2188">
                  <c:v>#N/A</c:v>
                </c:pt>
                <c:pt idx="2189">
                  <c:v>#N/A</c:v>
                </c:pt>
                <c:pt idx="2190">
                  <c:v>#N/A</c:v>
                </c:pt>
                <c:pt idx="2191">
                  <c:v>#N/A</c:v>
                </c:pt>
                <c:pt idx="2192">
                  <c:v>#N/A</c:v>
                </c:pt>
                <c:pt idx="2193">
                  <c:v>#N/A</c:v>
                </c:pt>
                <c:pt idx="2194">
                  <c:v>#N/A</c:v>
                </c:pt>
                <c:pt idx="2195">
                  <c:v>#N/A</c:v>
                </c:pt>
                <c:pt idx="2196">
                  <c:v>#N/A</c:v>
                </c:pt>
                <c:pt idx="2197">
                  <c:v>#N/A</c:v>
                </c:pt>
                <c:pt idx="2198">
                  <c:v>#N/A</c:v>
                </c:pt>
                <c:pt idx="2199">
                  <c:v>#N/A</c:v>
                </c:pt>
                <c:pt idx="2200">
                  <c:v>#N/A</c:v>
                </c:pt>
                <c:pt idx="2201">
                  <c:v>#N/A</c:v>
                </c:pt>
                <c:pt idx="2202">
                  <c:v>#N/A</c:v>
                </c:pt>
                <c:pt idx="2203">
                  <c:v>#N/A</c:v>
                </c:pt>
                <c:pt idx="2204">
                  <c:v>#N/A</c:v>
                </c:pt>
                <c:pt idx="2205">
                  <c:v>#N/A</c:v>
                </c:pt>
                <c:pt idx="2206">
                  <c:v>#N/A</c:v>
                </c:pt>
                <c:pt idx="2207">
                  <c:v>#N/A</c:v>
                </c:pt>
                <c:pt idx="2208">
                  <c:v>#N/A</c:v>
                </c:pt>
                <c:pt idx="2209">
                  <c:v>#N/A</c:v>
                </c:pt>
                <c:pt idx="2210">
                  <c:v>#N/A</c:v>
                </c:pt>
                <c:pt idx="2211">
                  <c:v>#N/A</c:v>
                </c:pt>
                <c:pt idx="2212">
                  <c:v>#N/A</c:v>
                </c:pt>
                <c:pt idx="2213">
                  <c:v>#N/A</c:v>
                </c:pt>
                <c:pt idx="2214">
                  <c:v>#N/A</c:v>
                </c:pt>
                <c:pt idx="2215">
                  <c:v>#N/A</c:v>
                </c:pt>
                <c:pt idx="2216">
                  <c:v>#N/A</c:v>
                </c:pt>
                <c:pt idx="2217">
                  <c:v>#N/A</c:v>
                </c:pt>
                <c:pt idx="2218">
                  <c:v>#N/A</c:v>
                </c:pt>
                <c:pt idx="2219">
                  <c:v>#N/A</c:v>
                </c:pt>
                <c:pt idx="2220">
                  <c:v>#N/A</c:v>
                </c:pt>
                <c:pt idx="2221">
                  <c:v>#N/A</c:v>
                </c:pt>
                <c:pt idx="2222">
                  <c:v>#N/A</c:v>
                </c:pt>
                <c:pt idx="2223">
                  <c:v>#N/A</c:v>
                </c:pt>
                <c:pt idx="2224">
                  <c:v>#N/A</c:v>
                </c:pt>
                <c:pt idx="2225">
                  <c:v>#N/A</c:v>
                </c:pt>
                <c:pt idx="2226">
                  <c:v>#N/A</c:v>
                </c:pt>
                <c:pt idx="2227">
                  <c:v>#N/A</c:v>
                </c:pt>
                <c:pt idx="2228">
                  <c:v>#N/A</c:v>
                </c:pt>
                <c:pt idx="2229">
                  <c:v>#N/A</c:v>
                </c:pt>
                <c:pt idx="2230">
                  <c:v>#N/A</c:v>
                </c:pt>
                <c:pt idx="2231">
                  <c:v>#N/A</c:v>
                </c:pt>
                <c:pt idx="2232">
                  <c:v>#N/A</c:v>
                </c:pt>
                <c:pt idx="2233">
                  <c:v>#N/A</c:v>
                </c:pt>
                <c:pt idx="2234">
                  <c:v>#N/A</c:v>
                </c:pt>
                <c:pt idx="2235">
                  <c:v>#N/A</c:v>
                </c:pt>
                <c:pt idx="2236">
                  <c:v>#N/A</c:v>
                </c:pt>
                <c:pt idx="2237">
                  <c:v>#N/A</c:v>
                </c:pt>
                <c:pt idx="2238">
                  <c:v>#N/A</c:v>
                </c:pt>
                <c:pt idx="2239">
                  <c:v>#N/A</c:v>
                </c:pt>
                <c:pt idx="2240">
                  <c:v>#N/A</c:v>
                </c:pt>
                <c:pt idx="2241">
                  <c:v>#N/A</c:v>
                </c:pt>
                <c:pt idx="2242">
                  <c:v>#N/A</c:v>
                </c:pt>
                <c:pt idx="2243">
                  <c:v>#N/A</c:v>
                </c:pt>
                <c:pt idx="2244">
                  <c:v>#N/A</c:v>
                </c:pt>
                <c:pt idx="2245">
                  <c:v>#N/A</c:v>
                </c:pt>
                <c:pt idx="2246">
                  <c:v>#N/A</c:v>
                </c:pt>
                <c:pt idx="2247">
                  <c:v>#N/A</c:v>
                </c:pt>
                <c:pt idx="2248">
                  <c:v>#N/A</c:v>
                </c:pt>
                <c:pt idx="2249">
                  <c:v>#N/A</c:v>
                </c:pt>
                <c:pt idx="2250">
                  <c:v>#N/A</c:v>
                </c:pt>
                <c:pt idx="2251">
                  <c:v>#N/A</c:v>
                </c:pt>
                <c:pt idx="2252">
                  <c:v>#N/A</c:v>
                </c:pt>
                <c:pt idx="2253">
                  <c:v>#N/A</c:v>
                </c:pt>
                <c:pt idx="2254">
                  <c:v>#N/A</c:v>
                </c:pt>
                <c:pt idx="2255">
                  <c:v>#N/A</c:v>
                </c:pt>
                <c:pt idx="2256">
                  <c:v>#N/A</c:v>
                </c:pt>
                <c:pt idx="2257">
                  <c:v>#N/A</c:v>
                </c:pt>
                <c:pt idx="2258">
                  <c:v>#N/A</c:v>
                </c:pt>
                <c:pt idx="2259">
                  <c:v>#N/A</c:v>
                </c:pt>
                <c:pt idx="2260">
                  <c:v>#N/A</c:v>
                </c:pt>
                <c:pt idx="2261">
                  <c:v>#N/A</c:v>
                </c:pt>
                <c:pt idx="2262">
                  <c:v>#N/A</c:v>
                </c:pt>
                <c:pt idx="2263">
                  <c:v>#N/A</c:v>
                </c:pt>
                <c:pt idx="2264">
                  <c:v>#N/A</c:v>
                </c:pt>
                <c:pt idx="2265">
                  <c:v>#N/A</c:v>
                </c:pt>
                <c:pt idx="2266">
                  <c:v>#N/A</c:v>
                </c:pt>
                <c:pt idx="2267">
                  <c:v>#N/A</c:v>
                </c:pt>
                <c:pt idx="2268">
                  <c:v>#N/A</c:v>
                </c:pt>
                <c:pt idx="2269">
                  <c:v>#N/A</c:v>
                </c:pt>
                <c:pt idx="2270">
                  <c:v>#N/A</c:v>
                </c:pt>
                <c:pt idx="2271">
                  <c:v>#N/A</c:v>
                </c:pt>
                <c:pt idx="2272">
                  <c:v>#N/A</c:v>
                </c:pt>
                <c:pt idx="2273">
                  <c:v>#N/A</c:v>
                </c:pt>
                <c:pt idx="2274">
                  <c:v>#N/A</c:v>
                </c:pt>
                <c:pt idx="2275">
                  <c:v>#N/A</c:v>
                </c:pt>
                <c:pt idx="2276">
                  <c:v>#N/A</c:v>
                </c:pt>
                <c:pt idx="2277">
                  <c:v>#N/A</c:v>
                </c:pt>
                <c:pt idx="2278">
                  <c:v>#N/A</c:v>
                </c:pt>
                <c:pt idx="2279">
                  <c:v>#N/A</c:v>
                </c:pt>
                <c:pt idx="2280">
                  <c:v>#N/A</c:v>
                </c:pt>
                <c:pt idx="2281">
                  <c:v>#N/A</c:v>
                </c:pt>
                <c:pt idx="2282">
                  <c:v>#N/A</c:v>
                </c:pt>
                <c:pt idx="2283">
                  <c:v>#N/A</c:v>
                </c:pt>
                <c:pt idx="2284">
                  <c:v>#N/A</c:v>
                </c:pt>
                <c:pt idx="2285">
                  <c:v>#N/A</c:v>
                </c:pt>
                <c:pt idx="2286">
                  <c:v>#N/A</c:v>
                </c:pt>
                <c:pt idx="2287">
                  <c:v>#N/A</c:v>
                </c:pt>
                <c:pt idx="2288">
                  <c:v>#N/A</c:v>
                </c:pt>
                <c:pt idx="2289">
                  <c:v>#N/A</c:v>
                </c:pt>
                <c:pt idx="2290">
                  <c:v>#N/A</c:v>
                </c:pt>
                <c:pt idx="2291">
                  <c:v>#N/A</c:v>
                </c:pt>
                <c:pt idx="2292">
                  <c:v>#N/A</c:v>
                </c:pt>
                <c:pt idx="2293">
                  <c:v>#N/A</c:v>
                </c:pt>
                <c:pt idx="2294">
                  <c:v>#N/A</c:v>
                </c:pt>
                <c:pt idx="2295">
                  <c:v>#N/A</c:v>
                </c:pt>
                <c:pt idx="2296">
                  <c:v>#N/A</c:v>
                </c:pt>
                <c:pt idx="2297">
                  <c:v>#N/A</c:v>
                </c:pt>
                <c:pt idx="2298">
                  <c:v>#N/A</c:v>
                </c:pt>
                <c:pt idx="2299">
                  <c:v>#N/A</c:v>
                </c:pt>
                <c:pt idx="2300">
                  <c:v>#N/A</c:v>
                </c:pt>
                <c:pt idx="2301">
                  <c:v>#N/A</c:v>
                </c:pt>
                <c:pt idx="2302">
                  <c:v>#N/A</c:v>
                </c:pt>
                <c:pt idx="2303">
                  <c:v>#N/A</c:v>
                </c:pt>
                <c:pt idx="2304">
                  <c:v>#N/A</c:v>
                </c:pt>
                <c:pt idx="2305">
                  <c:v>#N/A</c:v>
                </c:pt>
                <c:pt idx="2306">
                  <c:v>#N/A</c:v>
                </c:pt>
                <c:pt idx="2307">
                  <c:v>#N/A</c:v>
                </c:pt>
                <c:pt idx="2308">
                  <c:v>#N/A</c:v>
                </c:pt>
                <c:pt idx="2309">
                  <c:v>#N/A</c:v>
                </c:pt>
                <c:pt idx="2310">
                  <c:v>#N/A</c:v>
                </c:pt>
                <c:pt idx="2311">
                  <c:v>#N/A</c:v>
                </c:pt>
                <c:pt idx="2312">
                  <c:v>#N/A</c:v>
                </c:pt>
                <c:pt idx="2313">
                  <c:v>#N/A</c:v>
                </c:pt>
                <c:pt idx="2314">
                  <c:v>#N/A</c:v>
                </c:pt>
                <c:pt idx="2315">
                  <c:v>#N/A</c:v>
                </c:pt>
                <c:pt idx="2316">
                  <c:v>#N/A</c:v>
                </c:pt>
                <c:pt idx="2317">
                  <c:v>#N/A</c:v>
                </c:pt>
                <c:pt idx="2318">
                  <c:v>#N/A</c:v>
                </c:pt>
                <c:pt idx="2319">
                  <c:v>#N/A</c:v>
                </c:pt>
                <c:pt idx="2320">
                  <c:v>#N/A</c:v>
                </c:pt>
                <c:pt idx="2321">
                  <c:v>#N/A</c:v>
                </c:pt>
                <c:pt idx="2322">
                  <c:v>#N/A</c:v>
                </c:pt>
                <c:pt idx="2323">
                  <c:v>#N/A</c:v>
                </c:pt>
                <c:pt idx="2324">
                  <c:v>#N/A</c:v>
                </c:pt>
                <c:pt idx="2325">
                  <c:v>#N/A</c:v>
                </c:pt>
                <c:pt idx="2326">
                  <c:v>#N/A</c:v>
                </c:pt>
                <c:pt idx="2327">
                  <c:v>#N/A</c:v>
                </c:pt>
                <c:pt idx="2328">
                  <c:v>#N/A</c:v>
                </c:pt>
                <c:pt idx="2329">
                  <c:v>#N/A</c:v>
                </c:pt>
                <c:pt idx="2330">
                  <c:v>#N/A</c:v>
                </c:pt>
                <c:pt idx="2331">
                  <c:v>#N/A</c:v>
                </c:pt>
                <c:pt idx="2332">
                  <c:v>#N/A</c:v>
                </c:pt>
                <c:pt idx="2333">
                  <c:v>#N/A</c:v>
                </c:pt>
                <c:pt idx="2334">
                  <c:v>#N/A</c:v>
                </c:pt>
                <c:pt idx="2335">
                  <c:v>#N/A</c:v>
                </c:pt>
                <c:pt idx="2336">
                  <c:v>#N/A</c:v>
                </c:pt>
                <c:pt idx="2337">
                  <c:v>#N/A</c:v>
                </c:pt>
                <c:pt idx="2338">
                  <c:v>#N/A</c:v>
                </c:pt>
                <c:pt idx="2339">
                  <c:v>#N/A</c:v>
                </c:pt>
                <c:pt idx="2340">
                  <c:v>#N/A</c:v>
                </c:pt>
                <c:pt idx="2341">
                  <c:v>#N/A</c:v>
                </c:pt>
                <c:pt idx="2342">
                  <c:v>#N/A</c:v>
                </c:pt>
                <c:pt idx="2343">
                  <c:v>#N/A</c:v>
                </c:pt>
                <c:pt idx="2344">
                  <c:v>#N/A</c:v>
                </c:pt>
                <c:pt idx="2345">
                  <c:v>#N/A</c:v>
                </c:pt>
                <c:pt idx="2346">
                  <c:v>#N/A</c:v>
                </c:pt>
                <c:pt idx="2347">
                  <c:v>#N/A</c:v>
                </c:pt>
                <c:pt idx="2348">
                  <c:v>#N/A</c:v>
                </c:pt>
                <c:pt idx="2349">
                  <c:v>#N/A</c:v>
                </c:pt>
                <c:pt idx="2350">
                  <c:v>#N/A</c:v>
                </c:pt>
                <c:pt idx="2351">
                  <c:v>#N/A</c:v>
                </c:pt>
                <c:pt idx="2352">
                  <c:v>#N/A</c:v>
                </c:pt>
                <c:pt idx="2353">
                  <c:v>#N/A</c:v>
                </c:pt>
                <c:pt idx="2354">
                  <c:v>#N/A</c:v>
                </c:pt>
                <c:pt idx="2355">
                  <c:v>#N/A</c:v>
                </c:pt>
                <c:pt idx="2356">
                  <c:v>#N/A</c:v>
                </c:pt>
                <c:pt idx="2357">
                  <c:v>#N/A</c:v>
                </c:pt>
                <c:pt idx="2358">
                  <c:v>#N/A</c:v>
                </c:pt>
                <c:pt idx="2359">
                  <c:v>#N/A</c:v>
                </c:pt>
                <c:pt idx="2360">
                  <c:v>#N/A</c:v>
                </c:pt>
                <c:pt idx="2361">
                  <c:v>#N/A</c:v>
                </c:pt>
                <c:pt idx="2362">
                  <c:v>#N/A</c:v>
                </c:pt>
                <c:pt idx="2363">
                  <c:v>#N/A</c:v>
                </c:pt>
                <c:pt idx="2364">
                  <c:v>#N/A</c:v>
                </c:pt>
                <c:pt idx="2365">
                  <c:v>#N/A</c:v>
                </c:pt>
                <c:pt idx="2366">
                  <c:v>#N/A</c:v>
                </c:pt>
                <c:pt idx="2367">
                  <c:v>#N/A</c:v>
                </c:pt>
                <c:pt idx="2368">
                  <c:v>#N/A</c:v>
                </c:pt>
                <c:pt idx="2369">
                  <c:v>#N/A</c:v>
                </c:pt>
                <c:pt idx="2370">
                  <c:v>#N/A</c:v>
                </c:pt>
                <c:pt idx="2371">
                  <c:v>#N/A</c:v>
                </c:pt>
                <c:pt idx="2372">
                  <c:v>#N/A</c:v>
                </c:pt>
                <c:pt idx="2373">
                  <c:v>#N/A</c:v>
                </c:pt>
                <c:pt idx="2374">
                  <c:v>#N/A</c:v>
                </c:pt>
                <c:pt idx="2375">
                  <c:v>#N/A</c:v>
                </c:pt>
                <c:pt idx="2376">
                  <c:v>#N/A</c:v>
                </c:pt>
                <c:pt idx="2377">
                  <c:v>#N/A</c:v>
                </c:pt>
                <c:pt idx="2378">
                  <c:v>#N/A</c:v>
                </c:pt>
                <c:pt idx="2379">
                  <c:v>#N/A</c:v>
                </c:pt>
                <c:pt idx="2380">
                  <c:v>#N/A</c:v>
                </c:pt>
                <c:pt idx="2381">
                  <c:v>#N/A</c:v>
                </c:pt>
                <c:pt idx="2382">
                  <c:v>#N/A</c:v>
                </c:pt>
                <c:pt idx="2383">
                  <c:v>#N/A</c:v>
                </c:pt>
                <c:pt idx="2384">
                  <c:v>#N/A</c:v>
                </c:pt>
                <c:pt idx="2385">
                  <c:v>#N/A</c:v>
                </c:pt>
                <c:pt idx="2386">
                  <c:v>#N/A</c:v>
                </c:pt>
                <c:pt idx="2387">
                  <c:v>#N/A</c:v>
                </c:pt>
                <c:pt idx="2388">
                  <c:v>#N/A</c:v>
                </c:pt>
                <c:pt idx="2389">
                  <c:v>#N/A</c:v>
                </c:pt>
                <c:pt idx="2390">
                  <c:v>#N/A</c:v>
                </c:pt>
                <c:pt idx="2391">
                  <c:v>#N/A</c:v>
                </c:pt>
                <c:pt idx="2392">
                  <c:v>#N/A</c:v>
                </c:pt>
                <c:pt idx="2393">
                  <c:v>#N/A</c:v>
                </c:pt>
                <c:pt idx="2394">
                  <c:v>#N/A</c:v>
                </c:pt>
                <c:pt idx="2395">
                  <c:v>#N/A</c:v>
                </c:pt>
                <c:pt idx="2396">
                  <c:v>#N/A</c:v>
                </c:pt>
                <c:pt idx="2397">
                  <c:v>#N/A</c:v>
                </c:pt>
                <c:pt idx="2398">
                  <c:v>#N/A</c:v>
                </c:pt>
                <c:pt idx="2399">
                  <c:v>#N/A</c:v>
                </c:pt>
                <c:pt idx="2400">
                  <c:v>#N/A</c:v>
                </c:pt>
                <c:pt idx="2401">
                  <c:v>#N/A</c:v>
                </c:pt>
                <c:pt idx="2402">
                  <c:v>#N/A</c:v>
                </c:pt>
                <c:pt idx="2403">
                  <c:v>#N/A</c:v>
                </c:pt>
                <c:pt idx="2404">
                  <c:v>#N/A</c:v>
                </c:pt>
                <c:pt idx="2405">
                  <c:v>#N/A</c:v>
                </c:pt>
                <c:pt idx="2406">
                  <c:v>#N/A</c:v>
                </c:pt>
                <c:pt idx="2407">
                  <c:v>#N/A</c:v>
                </c:pt>
                <c:pt idx="2408">
                  <c:v>#N/A</c:v>
                </c:pt>
                <c:pt idx="2409">
                  <c:v>#N/A</c:v>
                </c:pt>
                <c:pt idx="2410">
                  <c:v>#N/A</c:v>
                </c:pt>
                <c:pt idx="2411">
                  <c:v>#N/A</c:v>
                </c:pt>
                <c:pt idx="2412">
                  <c:v>#N/A</c:v>
                </c:pt>
                <c:pt idx="2413">
                  <c:v>#N/A</c:v>
                </c:pt>
                <c:pt idx="2414">
                  <c:v>#N/A</c:v>
                </c:pt>
                <c:pt idx="2415">
                  <c:v>#N/A</c:v>
                </c:pt>
                <c:pt idx="2416">
                  <c:v>#N/A</c:v>
                </c:pt>
                <c:pt idx="2417">
                  <c:v>#N/A</c:v>
                </c:pt>
                <c:pt idx="2418">
                  <c:v>#N/A</c:v>
                </c:pt>
                <c:pt idx="2419">
                  <c:v>#N/A</c:v>
                </c:pt>
                <c:pt idx="2420">
                  <c:v>#N/A</c:v>
                </c:pt>
                <c:pt idx="2421">
                  <c:v>#N/A</c:v>
                </c:pt>
                <c:pt idx="2422">
                  <c:v>#N/A</c:v>
                </c:pt>
                <c:pt idx="2423">
                  <c:v>#N/A</c:v>
                </c:pt>
                <c:pt idx="2424">
                  <c:v>#N/A</c:v>
                </c:pt>
                <c:pt idx="2425">
                  <c:v>#N/A</c:v>
                </c:pt>
                <c:pt idx="2426">
                  <c:v>#N/A</c:v>
                </c:pt>
                <c:pt idx="2427">
                  <c:v>#N/A</c:v>
                </c:pt>
                <c:pt idx="2428">
                  <c:v>#N/A</c:v>
                </c:pt>
                <c:pt idx="2429">
                  <c:v>#N/A</c:v>
                </c:pt>
                <c:pt idx="2430">
                  <c:v>#N/A</c:v>
                </c:pt>
                <c:pt idx="2431">
                  <c:v>#N/A</c:v>
                </c:pt>
                <c:pt idx="2432">
                  <c:v>#N/A</c:v>
                </c:pt>
                <c:pt idx="2433">
                  <c:v>#N/A</c:v>
                </c:pt>
                <c:pt idx="2434">
                  <c:v>#N/A</c:v>
                </c:pt>
                <c:pt idx="2435">
                  <c:v>#N/A</c:v>
                </c:pt>
                <c:pt idx="2436">
                  <c:v>#N/A</c:v>
                </c:pt>
                <c:pt idx="2437">
                  <c:v>#N/A</c:v>
                </c:pt>
                <c:pt idx="2438">
                  <c:v>#N/A</c:v>
                </c:pt>
                <c:pt idx="2439">
                  <c:v>#N/A</c:v>
                </c:pt>
                <c:pt idx="2440">
                  <c:v>#N/A</c:v>
                </c:pt>
                <c:pt idx="2441">
                  <c:v>#N/A</c:v>
                </c:pt>
                <c:pt idx="2442">
                  <c:v>#N/A</c:v>
                </c:pt>
                <c:pt idx="2443">
                  <c:v>#N/A</c:v>
                </c:pt>
                <c:pt idx="2444">
                  <c:v>#N/A</c:v>
                </c:pt>
                <c:pt idx="2445">
                  <c:v>#N/A</c:v>
                </c:pt>
                <c:pt idx="2446">
                  <c:v>#N/A</c:v>
                </c:pt>
                <c:pt idx="2447">
                  <c:v>#N/A</c:v>
                </c:pt>
                <c:pt idx="2448">
                  <c:v>#N/A</c:v>
                </c:pt>
                <c:pt idx="2449">
                  <c:v>#N/A</c:v>
                </c:pt>
                <c:pt idx="2450">
                  <c:v>#N/A</c:v>
                </c:pt>
                <c:pt idx="2451">
                  <c:v>#N/A</c:v>
                </c:pt>
                <c:pt idx="2452">
                  <c:v>#N/A</c:v>
                </c:pt>
                <c:pt idx="2453">
                  <c:v>#N/A</c:v>
                </c:pt>
                <c:pt idx="2454">
                  <c:v>#N/A</c:v>
                </c:pt>
                <c:pt idx="2455">
                  <c:v>#N/A</c:v>
                </c:pt>
                <c:pt idx="2456">
                  <c:v>#N/A</c:v>
                </c:pt>
                <c:pt idx="2457">
                  <c:v>#N/A</c:v>
                </c:pt>
                <c:pt idx="2458">
                  <c:v>#N/A</c:v>
                </c:pt>
                <c:pt idx="2459">
                  <c:v>#N/A</c:v>
                </c:pt>
                <c:pt idx="2460">
                  <c:v>#N/A</c:v>
                </c:pt>
                <c:pt idx="2461">
                  <c:v>#N/A</c:v>
                </c:pt>
                <c:pt idx="2462">
                  <c:v>#N/A</c:v>
                </c:pt>
                <c:pt idx="2463">
                  <c:v>#N/A</c:v>
                </c:pt>
                <c:pt idx="2464">
                  <c:v>#N/A</c:v>
                </c:pt>
                <c:pt idx="2465">
                  <c:v>#N/A</c:v>
                </c:pt>
                <c:pt idx="2466">
                  <c:v>#N/A</c:v>
                </c:pt>
                <c:pt idx="2467">
                  <c:v>#N/A</c:v>
                </c:pt>
                <c:pt idx="2468">
                  <c:v>#N/A</c:v>
                </c:pt>
                <c:pt idx="2469">
                  <c:v>#N/A</c:v>
                </c:pt>
                <c:pt idx="2470">
                  <c:v>#N/A</c:v>
                </c:pt>
                <c:pt idx="2471">
                  <c:v>#N/A</c:v>
                </c:pt>
                <c:pt idx="2472">
                  <c:v>#N/A</c:v>
                </c:pt>
                <c:pt idx="2473">
                  <c:v>#N/A</c:v>
                </c:pt>
                <c:pt idx="2474">
                  <c:v>#N/A</c:v>
                </c:pt>
                <c:pt idx="2475">
                  <c:v>#N/A</c:v>
                </c:pt>
                <c:pt idx="2476">
                  <c:v>#N/A</c:v>
                </c:pt>
                <c:pt idx="2477">
                  <c:v>#N/A</c:v>
                </c:pt>
                <c:pt idx="2478">
                  <c:v>#N/A</c:v>
                </c:pt>
                <c:pt idx="2479">
                  <c:v>#N/A</c:v>
                </c:pt>
                <c:pt idx="2480">
                  <c:v>#N/A</c:v>
                </c:pt>
                <c:pt idx="2481">
                  <c:v>#N/A</c:v>
                </c:pt>
                <c:pt idx="2482">
                  <c:v>#N/A</c:v>
                </c:pt>
                <c:pt idx="2483">
                  <c:v>#N/A</c:v>
                </c:pt>
                <c:pt idx="2484">
                  <c:v>#N/A</c:v>
                </c:pt>
                <c:pt idx="2485">
                  <c:v>#N/A</c:v>
                </c:pt>
                <c:pt idx="2486">
                  <c:v>#N/A</c:v>
                </c:pt>
                <c:pt idx="2487">
                  <c:v>#N/A</c:v>
                </c:pt>
                <c:pt idx="2488">
                  <c:v>#N/A</c:v>
                </c:pt>
                <c:pt idx="2489">
                  <c:v>#N/A</c:v>
                </c:pt>
                <c:pt idx="2490">
                  <c:v>#N/A</c:v>
                </c:pt>
                <c:pt idx="2491">
                  <c:v>#N/A</c:v>
                </c:pt>
                <c:pt idx="2492">
                  <c:v>#N/A</c:v>
                </c:pt>
                <c:pt idx="2493">
                  <c:v>#N/A</c:v>
                </c:pt>
                <c:pt idx="2494">
                  <c:v>#N/A</c:v>
                </c:pt>
                <c:pt idx="2495">
                  <c:v>#N/A</c:v>
                </c:pt>
                <c:pt idx="2496">
                  <c:v>#N/A</c:v>
                </c:pt>
                <c:pt idx="2497">
                  <c:v>#N/A</c:v>
                </c:pt>
                <c:pt idx="2498">
                  <c:v>#N/A</c:v>
                </c:pt>
                <c:pt idx="2499">
                  <c:v>#N/A</c:v>
                </c:pt>
                <c:pt idx="2500">
                  <c:v>#N/A</c:v>
                </c:pt>
                <c:pt idx="2501">
                  <c:v>#N/A</c:v>
                </c:pt>
                <c:pt idx="2502">
                  <c:v>#N/A</c:v>
                </c:pt>
                <c:pt idx="2503">
                  <c:v>#N/A</c:v>
                </c:pt>
                <c:pt idx="2504">
                  <c:v>#N/A</c:v>
                </c:pt>
                <c:pt idx="2505">
                  <c:v>#N/A</c:v>
                </c:pt>
                <c:pt idx="2506">
                  <c:v>#N/A</c:v>
                </c:pt>
                <c:pt idx="2507">
                  <c:v>#N/A</c:v>
                </c:pt>
                <c:pt idx="2508">
                  <c:v>#N/A</c:v>
                </c:pt>
                <c:pt idx="2509">
                  <c:v>#N/A</c:v>
                </c:pt>
                <c:pt idx="2510">
                  <c:v>#N/A</c:v>
                </c:pt>
                <c:pt idx="2511">
                  <c:v>#N/A</c:v>
                </c:pt>
                <c:pt idx="2512">
                  <c:v>#N/A</c:v>
                </c:pt>
                <c:pt idx="2513">
                  <c:v>#N/A</c:v>
                </c:pt>
                <c:pt idx="2514">
                  <c:v>#N/A</c:v>
                </c:pt>
                <c:pt idx="2515">
                  <c:v>#N/A</c:v>
                </c:pt>
                <c:pt idx="2516">
                  <c:v>#N/A</c:v>
                </c:pt>
                <c:pt idx="2517">
                  <c:v>#N/A</c:v>
                </c:pt>
                <c:pt idx="2518">
                  <c:v>#N/A</c:v>
                </c:pt>
                <c:pt idx="2519">
                  <c:v>#N/A</c:v>
                </c:pt>
                <c:pt idx="2520">
                  <c:v>#N/A</c:v>
                </c:pt>
                <c:pt idx="2521">
                  <c:v>#N/A</c:v>
                </c:pt>
                <c:pt idx="2522">
                  <c:v>#N/A</c:v>
                </c:pt>
                <c:pt idx="2523">
                  <c:v>#N/A</c:v>
                </c:pt>
                <c:pt idx="2524">
                  <c:v>#N/A</c:v>
                </c:pt>
                <c:pt idx="2525">
                  <c:v>#N/A</c:v>
                </c:pt>
                <c:pt idx="2526">
                  <c:v>#N/A</c:v>
                </c:pt>
                <c:pt idx="2527">
                  <c:v>#N/A</c:v>
                </c:pt>
                <c:pt idx="2528">
                  <c:v>#N/A</c:v>
                </c:pt>
                <c:pt idx="2529">
                  <c:v>#N/A</c:v>
                </c:pt>
                <c:pt idx="2530">
                  <c:v>#N/A</c:v>
                </c:pt>
                <c:pt idx="2531">
                  <c:v>#N/A</c:v>
                </c:pt>
                <c:pt idx="2532">
                  <c:v>#N/A</c:v>
                </c:pt>
                <c:pt idx="2533">
                  <c:v>#N/A</c:v>
                </c:pt>
                <c:pt idx="2534">
                  <c:v>#N/A</c:v>
                </c:pt>
                <c:pt idx="2535">
                  <c:v>#N/A</c:v>
                </c:pt>
                <c:pt idx="2536">
                  <c:v>#N/A</c:v>
                </c:pt>
                <c:pt idx="2537">
                  <c:v>#N/A</c:v>
                </c:pt>
                <c:pt idx="2538">
                  <c:v>#N/A</c:v>
                </c:pt>
                <c:pt idx="2539">
                  <c:v>#N/A</c:v>
                </c:pt>
                <c:pt idx="2540">
                  <c:v>#N/A</c:v>
                </c:pt>
                <c:pt idx="2541">
                  <c:v>#N/A</c:v>
                </c:pt>
                <c:pt idx="2542">
                  <c:v>#N/A</c:v>
                </c:pt>
                <c:pt idx="2543">
                  <c:v>#N/A</c:v>
                </c:pt>
                <c:pt idx="2544">
                  <c:v>#N/A</c:v>
                </c:pt>
                <c:pt idx="2545">
                  <c:v>#N/A</c:v>
                </c:pt>
                <c:pt idx="2546">
                  <c:v>#N/A</c:v>
                </c:pt>
                <c:pt idx="2547">
                  <c:v>#N/A</c:v>
                </c:pt>
                <c:pt idx="2548">
                  <c:v>#N/A</c:v>
                </c:pt>
                <c:pt idx="2549">
                  <c:v>#N/A</c:v>
                </c:pt>
                <c:pt idx="2550">
                  <c:v>#N/A</c:v>
                </c:pt>
                <c:pt idx="2551">
                  <c:v>#N/A</c:v>
                </c:pt>
                <c:pt idx="2552">
                  <c:v>#N/A</c:v>
                </c:pt>
                <c:pt idx="2553">
                  <c:v>#N/A</c:v>
                </c:pt>
                <c:pt idx="2554">
                  <c:v>#N/A</c:v>
                </c:pt>
                <c:pt idx="2555">
                  <c:v>#N/A</c:v>
                </c:pt>
                <c:pt idx="2556">
                  <c:v>#N/A</c:v>
                </c:pt>
                <c:pt idx="2557">
                  <c:v>#N/A</c:v>
                </c:pt>
                <c:pt idx="2558">
                  <c:v>#N/A</c:v>
                </c:pt>
                <c:pt idx="2559">
                  <c:v>#N/A</c:v>
                </c:pt>
                <c:pt idx="2560">
                  <c:v>#N/A</c:v>
                </c:pt>
                <c:pt idx="2561">
                  <c:v>#N/A</c:v>
                </c:pt>
                <c:pt idx="2562">
                  <c:v>#N/A</c:v>
                </c:pt>
                <c:pt idx="2563">
                  <c:v>#N/A</c:v>
                </c:pt>
                <c:pt idx="2564">
                  <c:v>#N/A</c:v>
                </c:pt>
                <c:pt idx="2565">
                  <c:v>#N/A</c:v>
                </c:pt>
                <c:pt idx="2566">
                  <c:v>#N/A</c:v>
                </c:pt>
                <c:pt idx="2567">
                  <c:v>#N/A</c:v>
                </c:pt>
                <c:pt idx="2568">
                  <c:v>#N/A</c:v>
                </c:pt>
                <c:pt idx="2569">
                  <c:v>#N/A</c:v>
                </c:pt>
                <c:pt idx="2570">
                  <c:v>#N/A</c:v>
                </c:pt>
                <c:pt idx="2571">
                  <c:v>#N/A</c:v>
                </c:pt>
                <c:pt idx="2572">
                  <c:v>#N/A</c:v>
                </c:pt>
                <c:pt idx="2573">
                  <c:v>#N/A</c:v>
                </c:pt>
                <c:pt idx="2574">
                  <c:v>#N/A</c:v>
                </c:pt>
                <c:pt idx="2575">
                  <c:v>#N/A</c:v>
                </c:pt>
                <c:pt idx="2576">
                  <c:v>#N/A</c:v>
                </c:pt>
                <c:pt idx="2577">
                  <c:v>#N/A</c:v>
                </c:pt>
                <c:pt idx="2578">
                  <c:v>#N/A</c:v>
                </c:pt>
                <c:pt idx="2579">
                  <c:v>#N/A</c:v>
                </c:pt>
                <c:pt idx="2580">
                  <c:v>#N/A</c:v>
                </c:pt>
                <c:pt idx="2581">
                  <c:v>#N/A</c:v>
                </c:pt>
                <c:pt idx="2582">
                  <c:v>#N/A</c:v>
                </c:pt>
                <c:pt idx="2583">
                  <c:v>#N/A</c:v>
                </c:pt>
                <c:pt idx="2584">
                  <c:v>#N/A</c:v>
                </c:pt>
                <c:pt idx="2585">
                  <c:v>#N/A</c:v>
                </c:pt>
                <c:pt idx="2586">
                  <c:v>#N/A</c:v>
                </c:pt>
                <c:pt idx="2587">
                  <c:v>#N/A</c:v>
                </c:pt>
                <c:pt idx="2588">
                  <c:v>#N/A</c:v>
                </c:pt>
                <c:pt idx="2589">
                  <c:v>#N/A</c:v>
                </c:pt>
                <c:pt idx="2590">
                  <c:v>#N/A</c:v>
                </c:pt>
                <c:pt idx="2591">
                  <c:v>#N/A</c:v>
                </c:pt>
                <c:pt idx="2592">
                  <c:v>#N/A</c:v>
                </c:pt>
                <c:pt idx="2593">
                  <c:v>#N/A</c:v>
                </c:pt>
                <c:pt idx="2594">
                  <c:v>#N/A</c:v>
                </c:pt>
                <c:pt idx="2595">
                  <c:v>#N/A</c:v>
                </c:pt>
                <c:pt idx="2596">
                  <c:v>#N/A</c:v>
                </c:pt>
                <c:pt idx="2597">
                  <c:v>#N/A</c:v>
                </c:pt>
                <c:pt idx="2598">
                  <c:v>#N/A</c:v>
                </c:pt>
                <c:pt idx="2599">
                  <c:v>#N/A</c:v>
                </c:pt>
                <c:pt idx="2600">
                  <c:v>#N/A</c:v>
                </c:pt>
                <c:pt idx="2601">
                  <c:v>#N/A</c:v>
                </c:pt>
                <c:pt idx="2602">
                  <c:v>#N/A</c:v>
                </c:pt>
                <c:pt idx="2603">
                  <c:v>#N/A</c:v>
                </c:pt>
                <c:pt idx="2604">
                  <c:v>#N/A</c:v>
                </c:pt>
                <c:pt idx="2605">
                  <c:v>#N/A</c:v>
                </c:pt>
                <c:pt idx="2606">
                  <c:v>#N/A</c:v>
                </c:pt>
                <c:pt idx="2607">
                  <c:v>#N/A</c:v>
                </c:pt>
                <c:pt idx="2608">
                  <c:v>#N/A</c:v>
                </c:pt>
                <c:pt idx="2609">
                  <c:v>#N/A</c:v>
                </c:pt>
                <c:pt idx="2610">
                  <c:v>#N/A</c:v>
                </c:pt>
                <c:pt idx="2611">
                  <c:v>#N/A</c:v>
                </c:pt>
                <c:pt idx="2612">
                  <c:v>#N/A</c:v>
                </c:pt>
                <c:pt idx="2613">
                  <c:v>#N/A</c:v>
                </c:pt>
                <c:pt idx="2614">
                  <c:v>#N/A</c:v>
                </c:pt>
                <c:pt idx="2615">
                  <c:v>#N/A</c:v>
                </c:pt>
                <c:pt idx="2616">
                  <c:v>#N/A</c:v>
                </c:pt>
                <c:pt idx="2617">
                  <c:v>#N/A</c:v>
                </c:pt>
                <c:pt idx="2618">
                  <c:v>#N/A</c:v>
                </c:pt>
                <c:pt idx="2619">
                  <c:v>#N/A</c:v>
                </c:pt>
                <c:pt idx="2620">
                  <c:v>#N/A</c:v>
                </c:pt>
                <c:pt idx="2621">
                  <c:v>#N/A</c:v>
                </c:pt>
                <c:pt idx="2622">
                  <c:v>#N/A</c:v>
                </c:pt>
                <c:pt idx="2623">
                  <c:v>#N/A</c:v>
                </c:pt>
                <c:pt idx="2624">
                  <c:v>#N/A</c:v>
                </c:pt>
                <c:pt idx="2625">
                  <c:v>#N/A</c:v>
                </c:pt>
                <c:pt idx="2626">
                  <c:v>#N/A</c:v>
                </c:pt>
                <c:pt idx="2627">
                  <c:v>#N/A</c:v>
                </c:pt>
                <c:pt idx="2628">
                  <c:v>#N/A</c:v>
                </c:pt>
                <c:pt idx="2629">
                  <c:v>#N/A</c:v>
                </c:pt>
                <c:pt idx="2630">
                  <c:v>#N/A</c:v>
                </c:pt>
                <c:pt idx="2631">
                  <c:v>#N/A</c:v>
                </c:pt>
                <c:pt idx="2632">
                  <c:v>#N/A</c:v>
                </c:pt>
                <c:pt idx="2633">
                  <c:v>1.2657534246575342</c:v>
                </c:pt>
                <c:pt idx="2634">
                  <c:v>#N/A</c:v>
                </c:pt>
                <c:pt idx="2635">
                  <c:v>#N/A</c:v>
                </c:pt>
                <c:pt idx="2636">
                  <c:v>#N/A</c:v>
                </c:pt>
                <c:pt idx="2637">
                  <c:v>1.2657534246575342</c:v>
                </c:pt>
                <c:pt idx="2638">
                  <c:v>#N/A</c:v>
                </c:pt>
                <c:pt idx="2639">
                  <c:v>#N/A</c:v>
                </c:pt>
                <c:pt idx="2640">
                  <c:v>#N/A</c:v>
                </c:pt>
                <c:pt idx="2641">
                  <c:v>#N/A</c:v>
                </c:pt>
                <c:pt idx="2642">
                  <c:v>#N/A</c:v>
                </c:pt>
                <c:pt idx="2643">
                  <c:v>#N/A</c:v>
                </c:pt>
                <c:pt idx="2644">
                  <c:v>#N/A</c:v>
                </c:pt>
                <c:pt idx="2645">
                  <c:v>#N/A</c:v>
                </c:pt>
                <c:pt idx="2646">
                  <c:v>#N/A</c:v>
                </c:pt>
                <c:pt idx="2647">
                  <c:v>#N/A</c:v>
                </c:pt>
                <c:pt idx="2648">
                  <c:v>#N/A</c:v>
                </c:pt>
                <c:pt idx="2649">
                  <c:v>#N/A</c:v>
                </c:pt>
                <c:pt idx="2650">
                  <c:v>#N/A</c:v>
                </c:pt>
                <c:pt idx="2651">
                  <c:v>#N/A</c:v>
                </c:pt>
                <c:pt idx="2652">
                  <c:v>#N/A</c:v>
                </c:pt>
                <c:pt idx="2653">
                  <c:v>#N/A</c:v>
                </c:pt>
                <c:pt idx="2654">
                  <c:v>#N/A</c:v>
                </c:pt>
                <c:pt idx="2655">
                  <c:v>1.2657534246575342</c:v>
                </c:pt>
                <c:pt idx="2656">
                  <c:v>#N/A</c:v>
                </c:pt>
                <c:pt idx="2657">
                  <c:v>#N/A</c:v>
                </c:pt>
                <c:pt idx="2658">
                  <c:v>#N/A</c:v>
                </c:pt>
                <c:pt idx="2659">
                  <c:v>#N/A</c:v>
                </c:pt>
                <c:pt idx="2660">
                  <c:v>#N/A</c:v>
                </c:pt>
                <c:pt idx="2661">
                  <c:v>#N/A</c:v>
                </c:pt>
                <c:pt idx="2662">
                  <c:v>#N/A</c:v>
                </c:pt>
                <c:pt idx="2663">
                  <c:v>#N/A</c:v>
                </c:pt>
                <c:pt idx="2664">
                  <c:v>#N/A</c:v>
                </c:pt>
                <c:pt idx="2665">
                  <c:v>#N/A</c:v>
                </c:pt>
                <c:pt idx="2666">
                  <c:v>1.2657534246575342</c:v>
                </c:pt>
                <c:pt idx="2667">
                  <c:v>#N/A</c:v>
                </c:pt>
                <c:pt idx="2668">
                  <c:v>#N/A</c:v>
                </c:pt>
                <c:pt idx="2669">
                  <c:v>#N/A</c:v>
                </c:pt>
                <c:pt idx="2670">
                  <c:v>#N/A</c:v>
                </c:pt>
                <c:pt idx="2671">
                  <c:v>#N/A</c:v>
                </c:pt>
                <c:pt idx="2672">
                  <c:v>#N/A</c:v>
                </c:pt>
                <c:pt idx="2673">
                  <c:v>1.2657534246575342</c:v>
                </c:pt>
                <c:pt idx="2674">
                  <c:v>#N/A</c:v>
                </c:pt>
                <c:pt idx="2675">
                  <c:v>#N/A</c:v>
                </c:pt>
                <c:pt idx="2676">
                  <c:v>#N/A</c:v>
                </c:pt>
                <c:pt idx="2677">
                  <c:v>#N/A</c:v>
                </c:pt>
                <c:pt idx="2678">
                  <c:v>#N/A</c:v>
                </c:pt>
                <c:pt idx="2679">
                  <c:v>#N/A</c:v>
                </c:pt>
                <c:pt idx="2680">
                  <c:v>#N/A</c:v>
                </c:pt>
                <c:pt idx="2681">
                  <c:v>#N/A</c:v>
                </c:pt>
                <c:pt idx="2682">
                  <c:v>#N/A</c:v>
                </c:pt>
                <c:pt idx="2683">
                  <c:v>#N/A</c:v>
                </c:pt>
                <c:pt idx="2684">
                  <c:v>#N/A</c:v>
                </c:pt>
                <c:pt idx="2685">
                  <c:v>#N/A</c:v>
                </c:pt>
                <c:pt idx="2686">
                  <c:v>#N/A</c:v>
                </c:pt>
                <c:pt idx="2687">
                  <c:v>#N/A</c:v>
                </c:pt>
                <c:pt idx="2688">
                  <c:v>#N/A</c:v>
                </c:pt>
                <c:pt idx="2689">
                  <c:v>#N/A</c:v>
                </c:pt>
                <c:pt idx="2690">
                  <c:v>#N/A</c:v>
                </c:pt>
                <c:pt idx="2691">
                  <c:v>#N/A</c:v>
                </c:pt>
                <c:pt idx="2692">
                  <c:v>#N/A</c:v>
                </c:pt>
                <c:pt idx="2693">
                  <c:v>#N/A</c:v>
                </c:pt>
                <c:pt idx="2694">
                  <c:v>#N/A</c:v>
                </c:pt>
                <c:pt idx="2695">
                  <c:v>#N/A</c:v>
                </c:pt>
                <c:pt idx="2696">
                  <c:v>#N/A</c:v>
                </c:pt>
                <c:pt idx="2697">
                  <c:v>#N/A</c:v>
                </c:pt>
                <c:pt idx="2698">
                  <c:v>#N/A</c:v>
                </c:pt>
                <c:pt idx="2699">
                  <c:v>#N/A</c:v>
                </c:pt>
                <c:pt idx="2700">
                  <c:v>#N/A</c:v>
                </c:pt>
                <c:pt idx="2701">
                  <c:v>#N/A</c:v>
                </c:pt>
                <c:pt idx="2702">
                  <c:v>#N/A</c:v>
                </c:pt>
                <c:pt idx="2703">
                  <c:v>#N/A</c:v>
                </c:pt>
                <c:pt idx="2704">
                  <c:v>#N/A</c:v>
                </c:pt>
                <c:pt idx="2705">
                  <c:v>#N/A</c:v>
                </c:pt>
                <c:pt idx="2706">
                  <c:v>#N/A</c:v>
                </c:pt>
                <c:pt idx="2707">
                  <c:v>#N/A</c:v>
                </c:pt>
                <c:pt idx="2708">
                  <c:v>#N/A</c:v>
                </c:pt>
                <c:pt idx="2709">
                  <c:v>#N/A</c:v>
                </c:pt>
                <c:pt idx="2710">
                  <c:v>#N/A</c:v>
                </c:pt>
                <c:pt idx="2711">
                  <c:v>#N/A</c:v>
                </c:pt>
                <c:pt idx="2712">
                  <c:v>#N/A</c:v>
                </c:pt>
                <c:pt idx="2713">
                  <c:v>#N/A</c:v>
                </c:pt>
                <c:pt idx="2714">
                  <c:v>#N/A</c:v>
                </c:pt>
                <c:pt idx="2715">
                  <c:v>#N/A</c:v>
                </c:pt>
                <c:pt idx="2716">
                  <c:v>#N/A</c:v>
                </c:pt>
                <c:pt idx="2717">
                  <c:v>#N/A</c:v>
                </c:pt>
                <c:pt idx="2718">
                  <c:v>#N/A</c:v>
                </c:pt>
                <c:pt idx="2719">
                  <c:v>#N/A</c:v>
                </c:pt>
                <c:pt idx="2720">
                  <c:v>#N/A</c:v>
                </c:pt>
                <c:pt idx="2721">
                  <c:v>#N/A</c:v>
                </c:pt>
                <c:pt idx="2722">
                  <c:v>#N/A</c:v>
                </c:pt>
                <c:pt idx="2723">
                  <c:v>#N/A</c:v>
                </c:pt>
                <c:pt idx="2724">
                  <c:v>#N/A</c:v>
                </c:pt>
                <c:pt idx="2725">
                  <c:v>#N/A</c:v>
                </c:pt>
                <c:pt idx="2726">
                  <c:v>#N/A</c:v>
                </c:pt>
                <c:pt idx="2727">
                  <c:v>#N/A</c:v>
                </c:pt>
                <c:pt idx="2728">
                  <c:v>#N/A</c:v>
                </c:pt>
                <c:pt idx="2729">
                  <c:v>#N/A</c:v>
                </c:pt>
                <c:pt idx="2730">
                  <c:v>#N/A</c:v>
                </c:pt>
                <c:pt idx="2731">
                  <c:v>#N/A</c:v>
                </c:pt>
                <c:pt idx="2732">
                  <c:v>#N/A</c:v>
                </c:pt>
                <c:pt idx="2733">
                  <c:v>#N/A</c:v>
                </c:pt>
                <c:pt idx="2734">
                  <c:v>#N/A</c:v>
                </c:pt>
                <c:pt idx="2735">
                  <c:v>#N/A</c:v>
                </c:pt>
                <c:pt idx="2736">
                  <c:v>#N/A</c:v>
                </c:pt>
                <c:pt idx="2737">
                  <c:v>#N/A</c:v>
                </c:pt>
                <c:pt idx="2738">
                  <c:v>#N/A</c:v>
                </c:pt>
                <c:pt idx="2739">
                  <c:v>#N/A</c:v>
                </c:pt>
                <c:pt idx="2740">
                  <c:v>#N/A</c:v>
                </c:pt>
                <c:pt idx="2741">
                  <c:v>#N/A</c:v>
                </c:pt>
                <c:pt idx="2742">
                  <c:v>#N/A</c:v>
                </c:pt>
                <c:pt idx="2743">
                  <c:v>#N/A</c:v>
                </c:pt>
                <c:pt idx="2744">
                  <c:v>#N/A</c:v>
                </c:pt>
                <c:pt idx="2745">
                  <c:v>#N/A</c:v>
                </c:pt>
                <c:pt idx="2746">
                  <c:v>#N/A</c:v>
                </c:pt>
                <c:pt idx="2747">
                  <c:v>#N/A</c:v>
                </c:pt>
                <c:pt idx="2748">
                  <c:v>#N/A</c:v>
                </c:pt>
                <c:pt idx="2749">
                  <c:v>#N/A</c:v>
                </c:pt>
                <c:pt idx="2750">
                  <c:v>#N/A</c:v>
                </c:pt>
                <c:pt idx="2751">
                  <c:v>#N/A</c:v>
                </c:pt>
                <c:pt idx="2752">
                  <c:v>#N/A</c:v>
                </c:pt>
                <c:pt idx="2753">
                  <c:v>#N/A</c:v>
                </c:pt>
                <c:pt idx="2754">
                  <c:v>#N/A</c:v>
                </c:pt>
                <c:pt idx="2755">
                  <c:v>#N/A</c:v>
                </c:pt>
                <c:pt idx="2756">
                  <c:v>#N/A</c:v>
                </c:pt>
                <c:pt idx="2757">
                  <c:v>#N/A</c:v>
                </c:pt>
                <c:pt idx="2758">
                  <c:v>#N/A</c:v>
                </c:pt>
                <c:pt idx="2759">
                  <c:v>#N/A</c:v>
                </c:pt>
                <c:pt idx="2760">
                  <c:v>#N/A</c:v>
                </c:pt>
                <c:pt idx="2761">
                  <c:v>#N/A</c:v>
                </c:pt>
                <c:pt idx="2762">
                  <c:v>#N/A</c:v>
                </c:pt>
                <c:pt idx="2763">
                  <c:v>#N/A</c:v>
                </c:pt>
                <c:pt idx="2764">
                  <c:v>#N/A</c:v>
                </c:pt>
                <c:pt idx="2765">
                  <c:v>#N/A</c:v>
                </c:pt>
                <c:pt idx="2766">
                  <c:v>#N/A</c:v>
                </c:pt>
                <c:pt idx="2767">
                  <c:v>#N/A</c:v>
                </c:pt>
                <c:pt idx="2768">
                  <c:v>#N/A</c:v>
                </c:pt>
                <c:pt idx="2769">
                  <c:v>#N/A</c:v>
                </c:pt>
                <c:pt idx="2770">
                  <c:v>#N/A</c:v>
                </c:pt>
                <c:pt idx="2771">
                  <c:v>#N/A</c:v>
                </c:pt>
                <c:pt idx="2772">
                  <c:v>#N/A</c:v>
                </c:pt>
                <c:pt idx="2773">
                  <c:v>#N/A</c:v>
                </c:pt>
                <c:pt idx="2774">
                  <c:v>#N/A</c:v>
                </c:pt>
                <c:pt idx="2775">
                  <c:v>#N/A</c:v>
                </c:pt>
                <c:pt idx="2776">
                  <c:v>#N/A</c:v>
                </c:pt>
                <c:pt idx="2777">
                  <c:v>#N/A</c:v>
                </c:pt>
                <c:pt idx="2778">
                  <c:v>#N/A</c:v>
                </c:pt>
                <c:pt idx="2779">
                  <c:v>#N/A</c:v>
                </c:pt>
                <c:pt idx="2780">
                  <c:v>#N/A</c:v>
                </c:pt>
                <c:pt idx="2781">
                  <c:v>#N/A</c:v>
                </c:pt>
                <c:pt idx="2782">
                  <c:v>#N/A</c:v>
                </c:pt>
                <c:pt idx="2783">
                  <c:v>#N/A</c:v>
                </c:pt>
                <c:pt idx="2784">
                  <c:v>#N/A</c:v>
                </c:pt>
                <c:pt idx="2785">
                  <c:v>#N/A</c:v>
                </c:pt>
                <c:pt idx="2786">
                  <c:v>#N/A</c:v>
                </c:pt>
                <c:pt idx="2787">
                  <c:v>#N/A</c:v>
                </c:pt>
                <c:pt idx="2788">
                  <c:v>#N/A</c:v>
                </c:pt>
                <c:pt idx="2789">
                  <c:v>#N/A</c:v>
                </c:pt>
                <c:pt idx="2790">
                  <c:v>#N/A</c:v>
                </c:pt>
                <c:pt idx="2791">
                  <c:v>#N/A</c:v>
                </c:pt>
                <c:pt idx="2792">
                  <c:v>#N/A</c:v>
                </c:pt>
                <c:pt idx="2793">
                  <c:v>#N/A</c:v>
                </c:pt>
                <c:pt idx="2794">
                  <c:v>#N/A</c:v>
                </c:pt>
                <c:pt idx="2795">
                  <c:v>#N/A</c:v>
                </c:pt>
                <c:pt idx="2796">
                  <c:v>#N/A</c:v>
                </c:pt>
                <c:pt idx="2797">
                  <c:v>#N/A</c:v>
                </c:pt>
                <c:pt idx="2798">
                  <c:v>#N/A</c:v>
                </c:pt>
                <c:pt idx="2799">
                  <c:v>#N/A</c:v>
                </c:pt>
                <c:pt idx="2800">
                  <c:v>#N/A</c:v>
                </c:pt>
                <c:pt idx="2801">
                  <c:v>#N/A</c:v>
                </c:pt>
                <c:pt idx="2802">
                  <c:v>#N/A</c:v>
                </c:pt>
                <c:pt idx="2803">
                  <c:v>#N/A</c:v>
                </c:pt>
                <c:pt idx="2804">
                  <c:v>#N/A</c:v>
                </c:pt>
                <c:pt idx="2805">
                  <c:v>#N/A</c:v>
                </c:pt>
                <c:pt idx="2806">
                  <c:v>#N/A</c:v>
                </c:pt>
                <c:pt idx="2807">
                  <c:v>#N/A</c:v>
                </c:pt>
                <c:pt idx="2808">
                  <c:v>#N/A</c:v>
                </c:pt>
                <c:pt idx="2809">
                  <c:v>#N/A</c:v>
                </c:pt>
                <c:pt idx="2810">
                  <c:v>#N/A</c:v>
                </c:pt>
                <c:pt idx="2811">
                  <c:v>#N/A</c:v>
                </c:pt>
                <c:pt idx="2812">
                  <c:v>#N/A</c:v>
                </c:pt>
                <c:pt idx="2813">
                  <c:v>#N/A</c:v>
                </c:pt>
                <c:pt idx="2814">
                  <c:v>#N/A</c:v>
                </c:pt>
                <c:pt idx="2815">
                  <c:v>#N/A</c:v>
                </c:pt>
                <c:pt idx="2816">
                  <c:v>#N/A</c:v>
                </c:pt>
                <c:pt idx="2817">
                  <c:v>#N/A</c:v>
                </c:pt>
                <c:pt idx="2818">
                  <c:v>#N/A</c:v>
                </c:pt>
                <c:pt idx="2819">
                  <c:v>#N/A</c:v>
                </c:pt>
                <c:pt idx="2820">
                  <c:v>#N/A</c:v>
                </c:pt>
                <c:pt idx="2821">
                  <c:v>#N/A</c:v>
                </c:pt>
                <c:pt idx="2822">
                  <c:v>#N/A</c:v>
                </c:pt>
                <c:pt idx="2823">
                  <c:v>#N/A</c:v>
                </c:pt>
                <c:pt idx="2824">
                  <c:v>#N/A</c:v>
                </c:pt>
                <c:pt idx="2825">
                  <c:v>#N/A</c:v>
                </c:pt>
                <c:pt idx="2826">
                  <c:v>#N/A</c:v>
                </c:pt>
                <c:pt idx="2827">
                  <c:v>#N/A</c:v>
                </c:pt>
                <c:pt idx="2828">
                  <c:v>#N/A</c:v>
                </c:pt>
                <c:pt idx="2829">
                  <c:v>#N/A</c:v>
                </c:pt>
                <c:pt idx="2830">
                  <c:v>#N/A</c:v>
                </c:pt>
                <c:pt idx="2831">
                  <c:v>#N/A</c:v>
                </c:pt>
                <c:pt idx="2832">
                  <c:v>#N/A</c:v>
                </c:pt>
                <c:pt idx="2833">
                  <c:v>#N/A</c:v>
                </c:pt>
                <c:pt idx="2834">
                  <c:v>#N/A</c:v>
                </c:pt>
                <c:pt idx="2835">
                  <c:v>#N/A</c:v>
                </c:pt>
                <c:pt idx="2836">
                  <c:v>#N/A</c:v>
                </c:pt>
                <c:pt idx="2837">
                  <c:v>#N/A</c:v>
                </c:pt>
                <c:pt idx="2838">
                  <c:v>#N/A</c:v>
                </c:pt>
                <c:pt idx="2839">
                  <c:v>#N/A</c:v>
                </c:pt>
                <c:pt idx="2840">
                  <c:v>#N/A</c:v>
                </c:pt>
                <c:pt idx="2841">
                  <c:v>#N/A</c:v>
                </c:pt>
                <c:pt idx="2842">
                  <c:v>#N/A</c:v>
                </c:pt>
                <c:pt idx="2843">
                  <c:v>#N/A</c:v>
                </c:pt>
                <c:pt idx="2844">
                  <c:v>#N/A</c:v>
                </c:pt>
                <c:pt idx="2845">
                  <c:v>#N/A</c:v>
                </c:pt>
                <c:pt idx="2846">
                  <c:v>#N/A</c:v>
                </c:pt>
                <c:pt idx="2847">
                  <c:v>#N/A</c:v>
                </c:pt>
                <c:pt idx="2848">
                  <c:v>#N/A</c:v>
                </c:pt>
                <c:pt idx="2849">
                  <c:v>#N/A</c:v>
                </c:pt>
                <c:pt idx="2850">
                  <c:v>#N/A</c:v>
                </c:pt>
                <c:pt idx="2851">
                  <c:v>#N/A</c:v>
                </c:pt>
                <c:pt idx="2852">
                  <c:v>#N/A</c:v>
                </c:pt>
                <c:pt idx="2853">
                  <c:v>#N/A</c:v>
                </c:pt>
                <c:pt idx="2854">
                  <c:v>#N/A</c:v>
                </c:pt>
                <c:pt idx="2855">
                  <c:v>#N/A</c:v>
                </c:pt>
                <c:pt idx="2856">
                  <c:v>#N/A</c:v>
                </c:pt>
                <c:pt idx="2857">
                  <c:v>#N/A</c:v>
                </c:pt>
                <c:pt idx="2858">
                  <c:v>#N/A</c:v>
                </c:pt>
                <c:pt idx="2859">
                  <c:v>#N/A</c:v>
                </c:pt>
                <c:pt idx="2860">
                  <c:v>#N/A</c:v>
                </c:pt>
                <c:pt idx="2861">
                  <c:v>#N/A</c:v>
                </c:pt>
                <c:pt idx="2862">
                  <c:v>#N/A</c:v>
                </c:pt>
                <c:pt idx="2863">
                  <c:v>#N/A</c:v>
                </c:pt>
                <c:pt idx="2864">
                  <c:v>#N/A</c:v>
                </c:pt>
                <c:pt idx="2865">
                  <c:v>#N/A</c:v>
                </c:pt>
                <c:pt idx="2866">
                  <c:v>#N/A</c:v>
                </c:pt>
                <c:pt idx="2867">
                  <c:v>#N/A</c:v>
                </c:pt>
                <c:pt idx="2868">
                  <c:v>#N/A</c:v>
                </c:pt>
                <c:pt idx="2869">
                  <c:v>#N/A</c:v>
                </c:pt>
                <c:pt idx="2870">
                  <c:v>#N/A</c:v>
                </c:pt>
                <c:pt idx="2871">
                  <c:v>#N/A</c:v>
                </c:pt>
                <c:pt idx="2872">
                  <c:v>#N/A</c:v>
                </c:pt>
                <c:pt idx="2873">
                  <c:v>#N/A</c:v>
                </c:pt>
                <c:pt idx="2874">
                  <c:v>#N/A</c:v>
                </c:pt>
                <c:pt idx="2875">
                  <c:v>#N/A</c:v>
                </c:pt>
                <c:pt idx="2876">
                  <c:v>#N/A</c:v>
                </c:pt>
                <c:pt idx="2877">
                  <c:v>#N/A</c:v>
                </c:pt>
                <c:pt idx="2878">
                  <c:v>#N/A</c:v>
                </c:pt>
                <c:pt idx="2879">
                  <c:v>#N/A</c:v>
                </c:pt>
                <c:pt idx="2880">
                  <c:v>#N/A</c:v>
                </c:pt>
                <c:pt idx="2881">
                  <c:v>#N/A</c:v>
                </c:pt>
                <c:pt idx="2882">
                  <c:v>#N/A</c:v>
                </c:pt>
                <c:pt idx="2883">
                  <c:v>#N/A</c:v>
                </c:pt>
                <c:pt idx="2884">
                  <c:v>#N/A</c:v>
                </c:pt>
                <c:pt idx="2885">
                  <c:v>#N/A</c:v>
                </c:pt>
                <c:pt idx="2886">
                  <c:v>#N/A</c:v>
                </c:pt>
                <c:pt idx="2887">
                  <c:v>#N/A</c:v>
                </c:pt>
                <c:pt idx="2888">
                  <c:v>#N/A</c:v>
                </c:pt>
                <c:pt idx="2889">
                  <c:v>#N/A</c:v>
                </c:pt>
                <c:pt idx="2890">
                  <c:v>#N/A</c:v>
                </c:pt>
                <c:pt idx="2891">
                  <c:v>#N/A</c:v>
                </c:pt>
                <c:pt idx="2892">
                  <c:v>#N/A</c:v>
                </c:pt>
                <c:pt idx="2893">
                  <c:v>#N/A</c:v>
                </c:pt>
                <c:pt idx="2894">
                  <c:v>#N/A</c:v>
                </c:pt>
                <c:pt idx="2895">
                  <c:v>#N/A</c:v>
                </c:pt>
                <c:pt idx="2896">
                  <c:v>#N/A</c:v>
                </c:pt>
                <c:pt idx="2897">
                  <c:v>#N/A</c:v>
                </c:pt>
                <c:pt idx="2898">
                  <c:v>#N/A</c:v>
                </c:pt>
                <c:pt idx="2899">
                  <c:v>#N/A</c:v>
                </c:pt>
                <c:pt idx="2900">
                  <c:v>#N/A</c:v>
                </c:pt>
                <c:pt idx="2901">
                  <c:v>#N/A</c:v>
                </c:pt>
                <c:pt idx="2902">
                  <c:v>#N/A</c:v>
                </c:pt>
                <c:pt idx="2903">
                  <c:v>#N/A</c:v>
                </c:pt>
                <c:pt idx="2904">
                  <c:v>#N/A</c:v>
                </c:pt>
                <c:pt idx="2905">
                  <c:v>#N/A</c:v>
                </c:pt>
                <c:pt idx="2906">
                  <c:v>#N/A</c:v>
                </c:pt>
                <c:pt idx="2907">
                  <c:v>#N/A</c:v>
                </c:pt>
                <c:pt idx="2908">
                  <c:v>#N/A</c:v>
                </c:pt>
                <c:pt idx="2909">
                  <c:v>#N/A</c:v>
                </c:pt>
                <c:pt idx="2910">
                  <c:v>#N/A</c:v>
                </c:pt>
                <c:pt idx="2911">
                  <c:v>#N/A</c:v>
                </c:pt>
                <c:pt idx="2912">
                  <c:v>#N/A</c:v>
                </c:pt>
                <c:pt idx="2913">
                  <c:v>#N/A</c:v>
                </c:pt>
                <c:pt idx="2914">
                  <c:v>#N/A</c:v>
                </c:pt>
                <c:pt idx="2915">
                  <c:v>#N/A</c:v>
                </c:pt>
                <c:pt idx="2916">
                  <c:v>#N/A</c:v>
                </c:pt>
                <c:pt idx="2917">
                  <c:v>#N/A</c:v>
                </c:pt>
                <c:pt idx="2918">
                  <c:v>#N/A</c:v>
                </c:pt>
                <c:pt idx="2919">
                  <c:v>#N/A</c:v>
                </c:pt>
                <c:pt idx="2920">
                  <c:v>#N/A</c:v>
                </c:pt>
                <c:pt idx="2921">
                  <c:v>#N/A</c:v>
                </c:pt>
                <c:pt idx="2922">
                  <c:v>#N/A</c:v>
                </c:pt>
                <c:pt idx="2923">
                  <c:v>#N/A</c:v>
                </c:pt>
                <c:pt idx="2924">
                  <c:v>#N/A</c:v>
                </c:pt>
                <c:pt idx="2925">
                  <c:v>#N/A</c:v>
                </c:pt>
                <c:pt idx="2926">
                  <c:v>#N/A</c:v>
                </c:pt>
                <c:pt idx="2927">
                  <c:v>#N/A</c:v>
                </c:pt>
                <c:pt idx="2928">
                  <c:v>#N/A</c:v>
                </c:pt>
                <c:pt idx="2929">
                  <c:v>#N/A</c:v>
                </c:pt>
                <c:pt idx="2930">
                  <c:v>#N/A</c:v>
                </c:pt>
                <c:pt idx="2931">
                  <c:v>#N/A</c:v>
                </c:pt>
                <c:pt idx="2932">
                  <c:v>#N/A</c:v>
                </c:pt>
                <c:pt idx="2933">
                  <c:v>#N/A</c:v>
                </c:pt>
                <c:pt idx="2934">
                  <c:v>#N/A</c:v>
                </c:pt>
                <c:pt idx="2935">
                  <c:v>#N/A</c:v>
                </c:pt>
                <c:pt idx="2936">
                  <c:v>#N/A</c:v>
                </c:pt>
                <c:pt idx="2937">
                  <c:v>#N/A</c:v>
                </c:pt>
                <c:pt idx="2938">
                  <c:v>#N/A</c:v>
                </c:pt>
                <c:pt idx="2939">
                  <c:v>#N/A</c:v>
                </c:pt>
                <c:pt idx="2940">
                  <c:v>#N/A</c:v>
                </c:pt>
                <c:pt idx="2941">
                  <c:v>#N/A</c:v>
                </c:pt>
                <c:pt idx="2942">
                  <c:v>#N/A</c:v>
                </c:pt>
                <c:pt idx="2943">
                  <c:v>#N/A</c:v>
                </c:pt>
                <c:pt idx="2944">
                  <c:v>#N/A</c:v>
                </c:pt>
                <c:pt idx="2945">
                  <c:v>#N/A</c:v>
                </c:pt>
                <c:pt idx="2946">
                  <c:v>#N/A</c:v>
                </c:pt>
                <c:pt idx="2947">
                  <c:v>#N/A</c:v>
                </c:pt>
                <c:pt idx="2948">
                  <c:v>#N/A</c:v>
                </c:pt>
                <c:pt idx="2949">
                  <c:v>#N/A</c:v>
                </c:pt>
                <c:pt idx="2950">
                  <c:v>#N/A</c:v>
                </c:pt>
                <c:pt idx="2951">
                  <c:v>#N/A</c:v>
                </c:pt>
                <c:pt idx="2952">
                  <c:v>#N/A</c:v>
                </c:pt>
                <c:pt idx="2953">
                  <c:v>#N/A</c:v>
                </c:pt>
                <c:pt idx="2954">
                  <c:v>#N/A</c:v>
                </c:pt>
                <c:pt idx="2955">
                  <c:v>#N/A</c:v>
                </c:pt>
                <c:pt idx="2956">
                  <c:v>#N/A</c:v>
                </c:pt>
                <c:pt idx="2957">
                  <c:v>#N/A</c:v>
                </c:pt>
                <c:pt idx="2958">
                  <c:v>#N/A</c:v>
                </c:pt>
                <c:pt idx="2959">
                  <c:v>#N/A</c:v>
                </c:pt>
                <c:pt idx="2960">
                  <c:v>#N/A</c:v>
                </c:pt>
                <c:pt idx="2961">
                  <c:v>#N/A</c:v>
                </c:pt>
                <c:pt idx="2962">
                  <c:v>#N/A</c:v>
                </c:pt>
                <c:pt idx="2963">
                  <c:v>#N/A</c:v>
                </c:pt>
                <c:pt idx="2964">
                  <c:v>#N/A</c:v>
                </c:pt>
                <c:pt idx="2965">
                  <c:v>#N/A</c:v>
                </c:pt>
                <c:pt idx="2966">
                  <c:v>#N/A</c:v>
                </c:pt>
                <c:pt idx="2967">
                  <c:v>#N/A</c:v>
                </c:pt>
                <c:pt idx="2968">
                  <c:v>#N/A</c:v>
                </c:pt>
                <c:pt idx="2969">
                  <c:v>#N/A</c:v>
                </c:pt>
                <c:pt idx="2970">
                  <c:v>#N/A</c:v>
                </c:pt>
                <c:pt idx="2971">
                  <c:v>#N/A</c:v>
                </c:pt>
                <c:pt idx="2972">
                  <c:v>#N/A</c:v>
                </c:pt>
                <c:pt idx="2973">
                  <c:v>#N/A</c:v>
                </c:pt>
                <c:pt idx="2974">
                  <c:v>#N/A</c:v>
                </c:pt>
                <c:pt idx="2975">
                  <c:v>#N/A</c:v>
                </c:pt>
                <c:pt idx="2976">
                  <c:v>#N/A</c:v>
                </c:pt>
                <c:pt idx="2977">
                  <c:v>#N/A</c:v>
                </c:pt>
                <c:pt idx="2978">
                  <c:v>#N/A</c:v>
                </c:pt>
                <c:pt idx="2979">
                  <c:v>#N/A</c:v>
                </c:pt>
                <c:pt idx="2980">
                  <c:v>#N/A</c:v>
                </c:pt>
                <c:pt idx="2981">
                  <c:v>#N/A</c:v>
                </c:pt>
                <c:pt idx="2982">
                  <c:v>#N/A</c:v>
                </c:pt>
                <c:pt idx="2983">
                  <c:v>#N/A</c:v>
                </c:pt>
                <c:pt idx="2984">
                  <c:v>#N/A</c:v>
                </c:pt>
                <c:pt idx="2985">
                  <c:v>#N/A</c:v>
                </c:pt>
                <c:pt idx="2986">
                  <c:v>#N/A</c:v>
                </c:pt>
                <c:pt idx="2987">
                  <c:v>#N/A</c:v>
                </c:pt>
                <c:pt idx="2988">
                  <c:v>#N/A</c:v>
                </c:pt>
                <c:pt idx="2989">
                  <c:v>#N/A</c:v>
                </c:pt>
                <c:pt idx="2990">
                  <c:v>#N/A</c:v>
                </c:pt>
                <c:pt idx="2991">
                  <c:v>#N/A</c:v>
                </c:pt>
                <c:pt idx="2992">
                  <c:v>#N/A</c:v>
                </c:pt>
                <c:pt idx="2993">
                  <c:v>#N/A</c:v>
                </c:pt>
                <c:pt idx="2994">
                  <c:v>#N/A</c:v>
                </c:pt>
                <c:pt idx="2995">
                  <c:v>#N/A</c:v>
                </c:pt>
                <c:pt idx="2996">
                  <c:v>#N/A</c:v>
                </c:pt>
                <c:pt idx="2997">
                  <c:v>#N/A</c:v>
                </c:pt>
                <c:pt idx="2998">
                  <c:v>#N/A</c:v>
                </c:pt>
                <c:pt idx="2999">
                  <c:v>#N/A</c:v>
                </c:pt>
                <c:pt idx="3000">
                  <c:v>#N/A</c:v>
                </c:pt>
                <c:pt idx="3001">
                  <c:v>#N/A</c:v>
                </c:pt>
                <c:pt idx="3002">
                  <c:v>#N/A</c:v>
                </c:pt>
                <c:pt idx="3003">
                  <c:v>#N/A</c:v>
                </c:pt>
                <c:pt idx="3004">
                  <c:v>#N/A</c:v>
                </c:pt>
                <c:pt idx="3005">
                  <c:v>#N/A</c:v>
                </c:pt>
                <c:pt idx="3006">
                  <c:v>#N/A</c:v>
                </c:pt>
                <c:pt idx="3007">
                  <c:v>#N/A</c:v>
                </c:pt>
                <c:pt idx="3008">
                  <c:v>#N/A</c:v>
                </c:pt>
                <c:pt idx="3009">
                  <c:v>#N/A</c:v>
                </c:pt>
                <c:pt idx="3010">
                  <c:v>#N/A</c:v>
                </c:pt>
                <c:pt idx="3011">
                  <c:v>#N/A</c:v>
                </c:pt>
                <c:pt idx="3012">
                  <c:v>#N/A</c:v>
                </c:pt>
                <c:pt idx="3013">
                  <c:v>#N/A</c:v>
                </c:pt>
                <c:pt idx="3014">
                  <c:v>#N/A</c:v>
                </c:pt>
                <c:pt idx="3015">
                  <c:v>#N/A</c:v>
                </c:pt>
                <c:pt idx="3016">
                  <c:v>#N/A</c:v>
                </c:pt>
                <c:pt idx="3017">
                  <c:v>#N/A</c:v>
                </c:pt>
                <c:pt idx="3018">
                  <c:v>#N/A</c:v>
                </c:pt>
                <c:pt idx="3019">
                  <c:v>#N/A</c:v>
                </c:pt>
                <c:pt idx="3020">
                  <c:v>#N/A</c:v>
                </c:pt>
                <c:pt idx="3021">
                  <c:v>#N/A</c:v>
                </c:pt>
                <c:pt idx="3022">
                  <c:v>#N/A</c:v>
                </c:pt>
                <c:pt idx="3023">
                  <c:v>#N/A</c:v>
                </c:pt>
                <c:pt idx="3024">
                  <c:v>#N/A</c:v>
                </c:pt>
                <c:pt idx="3025">
                  <c:v>#N/A</c:v>
                </c:pt>
                <c:pt idx="3026">
                  <c:v>#N/A</c:v>
                </c:pt>
                <c:pt idx="3027">
                  <c:v>#N/A</c:v>
                </c:pt>
                <c:pt idx="3028">
                  <c:v>#N/A</c:v>
                </c:pt>
                <c:pt idx="3029">
                  <c:v>#N/A</c:v>
                </c:pt>
                <c:pt idx="3030">
                  <c:v>#N/A</c:v>
                </c:pt>
                <c:pt idx="3031">
                  <c:v>#N/A</c:v>
                </c:pt>
                <c:pt idx="3032">
                  <c:v>#N/A</c:v>
                </c:pt>
                <c:pt idx="3033">
                  <c:v>#N/A</c:v>
                </c:pt>
                <c:pt idx="3034">
                  <c:v>#N/A</c:v>
                </c:pt>
                <c:pt idx="3035">
                  <c:v>#N/A</c:v>
                </c:pt>
                <c:pt idx="3036">
                  <c:v>#N/A</c:v>
                </c:pt>
                <c:pt idx="3037">
                  <c:v>#N/A</c:v>
                </c:pt>
                <c:pt idx="3038">
                  <c:v>#N/A</c:v>
                </c:pt>
                <c:pt idx="3039">
                  <c:v>#N/A</c:v>
                </c:pt>
                <c:pt idx="3040">
                  <c:v>#N/A</c:v>
                </c:pt>
                <c:pt idx="3041">
                  <c:v>#N/A</c:v>
                </c:pt>
                <c:pt idx="3042">
                  <c:v>#N/A</c:v>
                </c:pt>
                <c:pt idx="3043">
                  <c:v>#N/A</c:v>
                </c:pt>
                <c:pt idx="3044">
                  <c:v>#N/A</c:v>
                </c:pt>
                <c:pt idx="3045">
                  <c:v>#N/A</c:v>
                </c:pt>
                <c:pt idx="3046">
                  <c:v>#N/A</c:v>
                </c:pt>
                <c:pt idx="3047">
                  <c:v>#N/A</c:v>
                </c:pt>
                <c:pt idx="3048">
                  <c:v>#N/A</c:v>
                </c:pt>
                <c:pt idx="3049">
                  <c:v>#N/A</c:v>
                </c:pt>
                <c:pt idx="3050">
                  <c:v>#N/A</c:v>
                </c:pt>
                <c:pt idx="3051">
                  <c:v>#N/A</c:v>
                </c:pt>
                <c:pt idx="3052">
                  <c:v>#N/A</c:v>
                </c:pt>
                <c:pt idx="3053">
                  <c:v>#N/A</c:v>
                </c:pt>
                <c:pt idx="3054">
                  <c:v>#N/A</c:v>
                </c:pt>
                <c:pt idx="3055">
                  <c:v>#N/A</c:v>
                </c:pt>
                <c:pt idx="3056">
                  <c:v>#N/A</c:v>
                </c:pt>
                <c:pt idx="3057">
                  <c:v>#N/A</c:v>
                </c:pt>
                <c:pt idx="3058">
                  <c:v>#N/A</c:v>
                </c:pt>
                <c:pt idx="3059">
                  <c:v>#N/A</c:v>
                </c:pt>
                <c:pt idx="3060">
                  <c:v>#N/A</c:v>
                </c:pt>
                <c:pt idx="3061">
                  <c:v>#N/A</c:v>
                </c:pt>
                <c:pt idx="3062">
                  <c:v>#N/A</c:v>
                </c:pt>
                <c:pt idx="3063">
                  <c:v>#N/A</c:v>
                </c:pt>
                <c:pt idx="3064">
                  <c:v>#N/A</c:v>
                </c:pt>
                <c:pt idx="3065">
                  <c:v>#N/A</c:v>
                </c:pt>
                <c:pt idx="3066">
                  <c:v>#N/A</c:v>
                </c:pt>
                <c:pt idx="3067">
                  <c:v>#N/A</c:v>
                </c:pt>
                <c:pt idx="3068">
                  <c:v>#N/A</c:v>
                </c:pt>
                <c:pt idx="3069">
                  <c:v>#N/A</c:v>
                </c:pt>
                <c:pt idx="3070">
                  <c:v>#N/A</c:v>
                </c:pt>
                <c:pt idx="3071">
                  <c:v>#N/A</c:v>
                </c:pt>
                <c:pt idx="3072">
                  <c:v>#N/A</c:v>
                </c:pt>
                <c:pt idx="3073">
                  <c:v>#N/A</c:v>
                </c:pt>
                <c:pt idx="3074">
                  <c:v>#N/A</c:v>
                </c:pt>
                <c:pt idx="3075">
                  <c:v>#N/A</c:v>
                </c:pt>
                <c:pt idx="3076">
                  <c:v>#N/A</c:v>
                </c:pt>
                <c:pt idx="3077">
                  <c:v>#N/A</c:v>
                </c:pt>
                <c:pt idx="3078">
                  <c:v>#N/A</c:v>
                </c:pt>
                <c:pt idx="3079">
                  <c:v>#N/A</c:v>
                </c:pt>
                <c:pt idx="3080">
                  <c:v>#N/A</c:v>
                </c:pt>
                <c:pt idx="3081">
                  <c:v>#N/A</c:v>
                </c:pt>
                <c:pt idx="3082">
                  <c:v>#N/A</c:v>
                </c:pt>
                <c:pt idx="3083">
                  <c:v>#N/A</c:v>
                </c:pt>
                <c:pt idx="3084">
                  <c:v>#N/A</c:v>
                </c:pt>
                <c:pt idx="3085">
                  <c:v>#N/A</c:v>
                </c:pt>
                <c:pt idx="3086">
                  <c:v>#N/A</c:v>
                </c:pt>
                <c:pt idx="3087">
                  <c:v>#N/A</c:v>
                </c:pt>
                <c:pt idx="3088">
                  <c:v>#N/A</c:v>
                </c:pt>
                <c:pt idx="3089">
                  <c:v>#N/A</c:v>
                </c:pt>
                <c:pt idx="3090">
                  <c:v>#N/A</c:v>
                </c:pt>
                <c:pt idx="3091">
                  <c:v>#N/A</c:v>
                </c:pt>
                <c:pt idx="3092">
                  <c:v>#N/A</c:v>
                </c:pt>
                <c:pt idx="3093">
                  <c:v>#N/A</c:v>
                </c:pt>
                <c:pt idx="3094">
                  <c:v>#N/A</c:v>
                </c:pt>
                <c:pt idx="3095">
                  <c:v>#N/A</c:v>
                </c:pt>
                <c:pt idx="3096">
                  <c:v>#N/A</c:v>
                </c:pt>
                <c:pt idx="3097">
                  <c:v>#N/A</c:v>
                </c:pt>
                <c:pt idx="3098">
                  <c:v>#N/A</c:v>
                </c:pt>
                <c:pt idx="3099">
                  <c:v>#N/A</c:v>
                </c:pt>
                <c:pt idx="3100">
                  <c:v>#N/A</c:v>
                </c:pt>
                <c:pt idx="3101">
                  <c:v>#N/A</c:v>
                </c:pt>
                <c:pt idx="3102">
                  <c:v>#N/A</c:v>
                </c:pt>
                <c:pt idx="3103">
                  <c:v>#N/A</c:v>
                </c:pt>
                <c:pt idx="3104">
                  <c:v>#N/A</c:v>
                </c:pt>
                <c:pt idx="3105">
                  <c:v>#N/A</c:v>
                </c:pt>
                <c:pt idx="3106">
                  <c:v>#N/A</c:v>
                </c:pt>
                <c:pt idx="3107">
                  <c:v>#N/A</c:v>
                </c:pt>
                <c:pt idx="3108">
                  <c:v>1.4246575342465753</c:v>
                </c:pt>
                <c:pt idx="3109">
                  <c:v>#N/A</c:v>
                </c:pt>
                <c:pt idx="3110">
                  <c:v>#N/A</c:v>
                </c:pt>
                <c:pt idx="3111">
                  <c:v>#N/A</c:v>
                </c:pt>
                <c:pt idx="3112">
                  <c:v>#N/A</c:v>
                </c:pt>
                <c:pt idx="3113">
                  <c:v>#N/A</c:v>
                </c:pt>
                <c:pt idx="3114">
                  <c:v>#N/A</c:v>
                </c:pt>
                <c:pt idx="3115">
                  <c:v>#N/A</c:v>
                </c:pt>
                <c:pt idx="3116">
                  <c:v>#N/A</c:v>
                </c:pt>
                <c:pt idx="3117">
                  <c:v>#N/A</c:v>
                </c:pt>
                <c:pt idx="3118">
                  <c:v>#N/A</c:v>
                </c:pt>
                <c:pt idx="3119">
                  <c:v>#N/A</c:v>
                </c:pt>
                <c:pt idx="3120">
                  <c:v>#N/A</c:v>
                </c:pt>
                <c:pt idx="3121">
                  <c:v>#N/A</c:v>
                </c:pt>
                <c:pt idx="3122">
                  <c:v>#N/A</c:v>
                </c:pt>
                <c:pt idx="3123">
                  <c:v>#N/A</c:v>
                </c:pt>
                <c:pt idx="3124">
                  <c:v>#N/A</c:v>
                </c:pt>
                <c:pt idx="3125">
                  <c:v>#N/A</c:v>
                </c:pt>
                <c:pt idx="3126">
                  <c:v>#N/A</c:v>
                </c:pt>
                <c:pt idx="3127">
                  <c:v>#N/A</c:v>
                </c:pt>
                <c:pt idx="3128">
                  <c:v>#N/A</c:v>
                </c:pt>
                <c:pt idx="3129">
                  <c:v>#N/A</c:v>
                </c:pt>
                <c:pt idx="3130">
                  <c:v>#N/A</c:v>
                </c:pt>
                <c:pt idx="3131">
                  <c:v>#N/A</c:v>
                </c:pt>
                <c:pt idx="3132">
                  <c:v>#N/A</c:v>
                </c:pt>
                <c:pt idx="3133">
                  <c:v>#N/A</c:v>
                </c:pt>
                <c:pt idx="3134">
                  <c:v>#N/A</c:v>
                </c:pt>
                <c:pt idx="3135">
                  <c:v>#N/A</c:v>
                </c:pt>
                <c:pt idx="3136">
                  <c:v>#N/A</c:v>
                </c:pt>
                <c:pt idx="3137">
                  <c:v>#N/A</c:v>
                </c:pt>
                <c:pt idx="3138">
                  <c:v>#N/A</c:v>
                </c:pt>
                <c:pt idx="3139">
                  <c:v>#N/A</c:v>
                </c:pt>
                <c:pt idx="3140">
                  <c:v>#N/A</c:v>
                </c:pt>
                <c:pt idx="3141">
                  <c:v>#N/A</c:v>
                </c:pt>
                <c:pt idx="3142">
                  <c:v>#N/A</c:v>
                </c:pt>
                <c:pt idx="3143">
                  <c:v>#N/A</c:v>
                </c:pt>
                <c:pt idx="3144">
                  <c:v>#N/A</c:v>
                </c:pt>
                <c:pt idx="3145">
                  <c:v>#N/A</c:v>
                </c:pt>
                <c:pt idx="3146">
                  <c:v>#N/A</c:v>
                </c:pt>
                <c:pt idx="3147">
                  <c:v>#N/A</c:v>
                </c:pt>
                <c:pt idx="3148">
                  <c:v>#N/A</c:v>
                </c:pt>
                <c:pt idx="3149">
                  <c:v>#N/A</c:v>
                </c:pt>
                <c:pt idx="3150">
                  <c:v>#N/A</c:v>
                </c:pt>
                <c:pt idx="3151">
                  <c:v>#N/A</c:v>
                </c:pt>
                <c:pt idx="3152">
                  <c:v>#N/A</c:v>
                </c:pt>
                <c:pt idx="3153">
                  <c:v>#N/A</c:v>
                </c:pt>
                <c:pt idx="3154">
                  <c:v>#N/A</c:v>
                </c:pt>
                <c:pt idx="3155">
                  <c:v>#N/A</c:v>
                </c:pt>
                <c:pt idx="3156">
                  <c:v>#N/A</c:v>
                </c:pt>
                <c:pt idx="3157">
                  <c:v>#N/A</c:v>
                </c:pt>
                <c:pt idx="3158">
                  <c:v>#N/A</c:v>
                </c:pt>
                <c:pt idx="3159">
                  <c:v>#N/A</c:v>
                </c:pt>
                <c:pt idx="3160">
                  <c:v>#N/A</c:v>
                </c:pt>
                <c:pt idx="3161">
                  <c:v>#N/A</c:v>
                </c:pt>
                <c:pt idx="3162">
                  <c:v>#N/A</c:v>
                </c:pt>
                <c:pt idx="3163">
                  <c:v>#N/A</c:v>
                </c:pt>
                <c:pt idx="3164">
                  <c:v>#N/A</c:v>
                </c:pt>
                <c:pt idx="3165">
                  <c:v>#N/A</c:v>
                </c:pt>
                <c:pt idx="3166">
                  <c:v>#N/A</c:v>
                </c:pt>
                <c:pt idx="3167">
                  <c:v>#N/A</c:v>
                </c:pt>
                <c:pt idx="3168">
                  <c:v>#N/A</c:v>
                </c:pt>
                <c:pt idx="3169">
                  <c:v>#N/A</c:v>
                </c:pt>
                <c:pt idx="3170">
                  <c:v>#N/A</c:v>
                </c:pt>
                <c:pt idx="3171">
                  <c:v>#N/A</c:v>
                </c:pt>
                <c:pt idx="3172">
                  <c:v>#N/A</c:v>
                </c:pt>
                <c:pt idx="3173">
                  <c:v>#N/A</c:v>
                </c:pt>
                <c:pt idx="3174">
                  <c:v>#N/A</c:v>
                </c:pt>
                <c:pt idx="3175">
                  <c:v>#N/A</c:v>
                </c:pt>
                <c:pt idx="3176">
                  <c:v>#N/A</c:v>
                </c:pt>
                <c:pt idx="3177">
                  <c:v>#N/A</c:v>
                </c:pt>
                <c:pt idx="3178">
                  <c:v>#N/A</c:v>
                </c:pt>
                <c:pt idx="3179">
                  <c:v>#N/A</c:v>
                </c:pt>
                <c:pt idx="3180">
                  <c:v>#N/A</c:v>
                </c:pt>
                <c:pt idx="3181">
                  <c:v>#N/A</c:v>
                </c:pt>
                <c:pt idx="3182">
                  <c:v>#N/A</c:v>
                </c:pt>
                <c:pt idx="3183">
                  <c:v>#N/A</c:v>
                </c:pt>
                <c:pt idx="3184">
                  <c:v>#N/A</c:v>
                </c:pt>
                <c:pt idx="3185">
                  <c:v>#N/A</c:v>
                </c:pt>
                <c:pt idx="3186">
                  <c:v>#N/A</c:v>
                </c:pt>
                <c:pt idx="3187">
                  <c:v>#N/A</c:v>
                </c:pt>
                <c:pt idx="3188">
                  <c:v>#N/A</c:v>
                </c:pt>
                <c:pt idx="3189">
                  <c:v>#N/A</c:v>
                </c:pt>
                <c:pt idx="3190">
                  <c:v>#N/A</c:v>
                </c:pt>
                <c:pt idx="3191">
                  <c:v>#N/A</c:v>
                </c:pt>
                <c:pt idx="3192">
                  <c:v>#N/A</c:v>
                </c:pt>
                <c:pt idx="3193">
                  <c:v>#N/A</c:v>
                </c:pt>
                <c:pt idx="3194">
                  <c:v>#N/A</c:v>
                </c:pt>
                <c:pt idx="3195">
                  <c:v>#N/A</c:v>
                </c:pt>
                <c:pt idx="3196">
                  <c:v>#N/A</c:v>
                </c:pt>
                <c:pt idx="3197">
                  <c:v>#N/A</c:v>
                </c:pt>
                <c:pt idx="3198">
                  <c:v>#N/A</c:v>
                </c:pt>
                <c:pt idx="3199">
                  <c:v>#N/A</c:v>
                </c:pt>
                <c:pt idx="3200">
                  <c:v>#N/A</c:v>
                </c:pt>
                <c:pt idx="3201">
                  <c:v>#N/A</c:v>
                </c:pt>
                <c:pt idx="3202">
                  <c:v>#N/A</c:v>
                </c:pt>
                <c:pt idx="3203">
                  <c:v>#N/A</c:v>
                </c:pt>
                <c:pt idx="3204">
                  <c:v>#N/A</c:v>
                </c:pt>
                <c:pt idx="3205">
                  <c:v>#N/A</c:v>
                </c:pt>
                <c:pt idx="3206">
                  <c:v>#N/A</c:v>
                </c:pt>
                <c:pt idx="3207">
                  <c:v>#N/A</c:v>
                </c:pt>
                <c:pt idx="3208">
                  <c:v>#N/A</c:v>
                </c:pt>
                <c:pt idx="3209">
                  <c:v>#N/A</c:v>
                </c:pt>
                <c:pt idx="3210">
                  <c:v>#N/A</c:v>
                </c:pt>
                <c:pt idx="3211">
                  <c:v>#N/A</c:v>
                </c:pt>
                <c:pt idx="3212">
                  <c:v>#N/A</c:v>
                </c:pt>
                <c:pt idx="3213">
                  <c:v>#N/A</c:v>
                </c:pt>
                <c:pt idx="3214">
                  <c:v>#N/A</c:v>
                </c:pt>
                <c:pt idx="3215">
                  <c:v>#N/A</c:v>
                </c:pt>
                <c:pt idx="3216">
                  <c:v>#N/A</c:v>
                </c:pt>
                <c:pt idx="3217">
                  <c:v>#N/A</c:v>
                </c:pt>
                <c:pt idx="3218">
                  <c:v>#N/A</c:v>
                </c:pt>
                <c:pt idx="3219">
                  <c:v>#N/A</c:v>
                </c:pt>
                <c:pt idx="3220">
                  <c:v>#N/A</c:v>
                </c:pt>
                <c:pt idx="3221">
                  <c:v>#N/A</c:v>
                </c:pt>
                <c:pt idx="3222">
                  <c:v>#N/A</c:v>
                </c:pt>
                <c:pt idx="3223">
                  <c:v>#N/A</c:v>
                </c:pt>
                <c:pt idx="3224">
                  <c:v>#N/A</c:v>
                </c:pt>
                <c:pt idx="3225">
                  <c:v>#N/A</c:v>
                </c:pt>
                <c:pt idx="3226">
                  <c:v>#N/A</c:v>
                </c:pt>
                <c:pt idx="3227">
                  <c:v>#N/A</c:v>
                </c:pt>
                <c:pt idx="3228">
                  <c:v>#N/A</c:v>
                </c:pt>
                <c:pt idx="3229">
                  <c:v>#N/A</c:v>
                </c:pt>
                <c:pt idx="3230">
                  <c:v>#N/A</c:v>
                </c:pt>
                <c:pt idx="3231">
                  <c:v>#N/A</c:v>
                </c:pt>
                <c:pt idx="3232">
                  <c:v>#N/A</c:v>
                </c:pt>
                <c:pt idx="3233">
                  <c:v>#N/A</c:v>
                </c:pt>
                <c:pt idx="3234">
                  <c:v>#N/A</c:v>
                </c:pt>
                <c:pt idx="3235">
                  <c:v>#N/A</c:v>
                </c:pt>
                <c:pt idx="3236">
                  <c:v>#N/A</c:v>
                </c:pt>
                <c:pt idx="3237">
                  <c:v>#N/A</c:v>
                </c:pt>
                <c:pt idx="3238">
                  <c:v>#N/A</c:v>
                </c:pt>
                <c:pt idx="3239">
                  <c:v>#N/A</c:v>
                </c:pt>
                <c:pt idx="3240">
                  <c:v>#N/A</c:v>
                </c:pt>
                <c:pt idx="3241">
                  <c:v>#N/A</c:v>
                </c:pt>
                <c:pt idx="3242">
                  <c:v>#N/A</c:v>
                </c:pt>
                <c:pt idx="3243">
                  <c:v>#N/A</c:v>
                </c:pt>
                <c:pt idx="3244">
                  <c:v>#N/A</c:v>
                </c:pt>
                <c:pt idx="3245">
                  <c:v>#N/A</c:v>
                </c:pt>
                <c:pt idx="3246">
                  <c:v>#N/A</c:v>
                </c:pt>
                <c:pt idx="3247">
                  <c:v>#N/A</c:v>
                </c:pt>
                <c:pt idx="3248">
                  <c:v>#N/A</c:v>
                </c:pt>
                <c:pt idx="3249">
                  <c:v>#N/A</c:v>
                </c:pt>
                <c:pt idx="3250">
                  <c:v>#N/A</c:v>
                </c:pt>
                <c:pt idx="3251">
                  <c:v>#N/A</c:v>
                </c:pt>
                <c:pt idx="3252">
                  <c:v>#N/A</c:v>
                </c:pt>
                <c:pt idx="3253">
                  <c:v>#N/A</c:v>
                </c:pt>
                <c:pt idx="3254">
                  <c:v>#N/A</c:v>
                </c:pt>
                <c:pt idx="3255">
                  <c:v>#N/A</c:v>
                </c:pt>
                <c:pt idx="3256">
                  <c:v>#N/A</c:v>
                </c:pt>
                <c:pt idx="3257">
                  <c:v>#N/A</c:v>
                </c:pt>
                <c:pt idx="3258">
                  <c:v>#N/A</c:v>
                </c:pt>
                <c:pt idx="3259">
                  <c:v>#N/A</c:v>
                </c:pt>
                <c:pt idx="3260">
                  <c:v>#N/A</c:v>
                </c:pt>
                <c:pt idx="3261">
                  <c:v>#N/A</c:v>
                </c:pt>
                <c:pt idx="3262">
                  <c:v>#N/A</c:v>
                </c:pt>
                <c:pt idx="3263">
                  <c:v>#N/A</c:v>
                </c:pt>
                <c:pt idx="3264">
                  <c:v>#N/A</c:v>
                </c:pt>
                <c:pt idx="3265">
                  <c:v>#N/A</c:v>
                </c:pt>
                <c:pt idx="3266">
                  <c:v>#N/A</c:v>
                </c:pt>
                <c:pt idx="3267">
                  <c:v>#N/A</c:v>
                </c:pt>
                <c:pt idx="3268">
                  <c:v>#N/A</c:v>
                </c:pt>
                <c:pt idx="3269">
                  <c:v>#N/A</c:v>
                </c:pt>
                <c:pt idx="3270">
                  <c:v>#N/A</c:v>
                </c:pt>
                <c:pt idx="3271">
                  <c:v>#N/A</c:v>
                </c:pt>
                <c:pt idx="3272">
                  <c:v>#N/A</c:v>
                </c:pt>
                <c:pt idx="3273">
                  <c:v>#N/A</c:v>
                </c:pt>
                <c:pt idx="3274">
                  <c:v>#N/A</c:v>
                </c:pt>
                <c:pt idx="3275">
                  <c:v>#N/A</c:v>
                </c:pt>
                <c:pt idx="3276">
                  <c:v>#N/A</c:v>
                </c:pt>
                <c:pt idx="3277">
                  <c:v>#N/A</c:v>
                </c:pt>
                <c:pt idx="3278">
                  <c:v>#N/A</c:v>
                </c:pt>
                <c:pt idx="3279">
                  <c:v>#N/A</c:v>
                </c:pt>
                <c:pt idx="3280">
                  <c:v>#N/A</c:v>
                </c:pt>
                <c:pt idx="3281">
                  <c:v>#N/A</c:v>
                </c:pt>
                <c:pt idx="3282">
                  <c:v>#N/A</c:v>
                </c:pt>
                <c:pt idx="3283">
                  <c:v>#N/A</c:v>
                </c:pt>
                <c:pt idx="3284">
                  <c:v>#N/A</c:v>
                </c:pt>
                <c:pt idx="3285">
                  <c:v>#N/A</c:v>
                </c:pt>
                <c:pt idx="3286">
                  <c:v>#N/A</c:v>
                </c:pt>
                <c:pt idx="3287">
                  <c:v>#N/A</c:v>
                </c:pt>
                <c:pt idx="3288">
                  <c:v>#N/A</c:v>
                </c:pt>
                <c:pt idx="3289">
                  <c:v>#N/A</c:v>
                </c:pt>
                <c:pt idx="3290">
                  <c:v>#N/A</c:v>
                </c:pt>
                <c:pt idx="3291">
                  <c:v>#N/A</c:v>
                </c:pt>
                <c:pt idx="3292">
                  <c:v>#N/A</c:v>
                </c:pt>
                <c:pt idx="3293">
                  <c:v>#N/A</c:v>
                </c:pt>
                <c:pt idx="3294">
                  <c:v>#N/A</c:v>
                </c:pt>
                <c:pt idx="3295">
                  <c:v>#N/A</c:v>
                </c:pt>
                <c:pt idx="3296">
                  <c:v>#N/A</c:v>
                </c:pt>
                <c:pt idx="3297">
                  <c:v>#N/A</c:v>
                </c:pt>
                <c:pt idx="3298">
                  <c:v>#N/A</c:v>
                </c:pt>
                <c:pt idx="3299">
                  <c:v>#N/A</c:v>
                </c:pt>
                <c:pt idx="3300">
                  <c:v>#N/A</c:v>
                </c:pt>
                <c:pt idx="3301">
                  <c:v>#N/A</c:v>
                </c:pt>
                <c:pt idx="3302">
                  <c:v>#N/A</c:v>
                </c:pt>
                <c:pt idx="3303">
                  <c:v>#N/A</c:v>
                </c:pt>
                <c:pt idx="3304">
                  <c:v>#N/A</c:v>
                </c:pt>
                <c:pt idx="3305">
                  <c:v>#N/A</c:v>
                </c:pt>
                <c:pt idx="3306">
                  <c:v>#N/A</c:v>
                </c:pt>
                <c:pt idx="3307">
                  <c:v>#N/A</c:v>
                </c:pt>
                <c:pt idx="3308">
                  <c:v>#N/A</c:v>
                </c:pt>
                <c:pt idx="3309">
                  <c:v>#N/A</c:v>
                </c:pt>
                <c:pt idx="3310">
                  <c:v>#N/A</c:v>
                </c:pt>
                <c:pt idx="3311">
                  <c:v>#N/A</c:v>
                </c:pt>
                <c:pt idx="3312">
                  <c:v>#N/A</c:v>
                </c:pt>
                <c:pt idx="3313">
                  <c:v>#N/A</c:v>
                </c:pt>
                <c:pt idx="3314">
                  <c:v>#N/A</c:v>
                </c:pt>
                <c:pt idx="3315">
                  <c:v>#N/A</c:v>
                </c:pt>
                <c:pt idx="3316">
                  <c:v>#N/A</c:v>
                </c:pt>
                <c:pt idx="3317">
                  <c:v>#N/A</c:v>
                </c:pt>
                <c:pt idx="3318">
                  <c:v>#N/A</c:v>
                </c:pt>
                <c:pt idx="3319">
                  <c:v>#N/A</c:v>
                </c:pt>
                <c:pt idx="3320">
                  <c:v>#N/A</c:v>
                </c:pt>
                <c:pt idx="3321">
                  <c:v>#N/A</c:v>
                </c:pt>
                <c:pt idx="3322">
                  <c:v>#N/A</c:v>
                </c:pt>
                <c:pt idx="3323">
                  <c:v>#N/A</c:v>
                </c:pt>
                <c:pt idx="3324">
                  <c:v>#N/A</c:v>
                </c:pt>
                <c:pt idx="3325">
                  <c:v>#N/A</c:v>
                </c:pt>
                <c:pt idx="3326">
                  <c:v>#N/A</c:v>
                </c:pt>
                <c:pt idx="3327">
                  <c:v>#N/A</c:v>
                </c:pt>
                <c:pt idx="3328">
                  <c:v>#N/A</c:v>
                </c:pt>
                <c:pt idx="3329">
                  <c:v>#N/A</c:v>
                </c:pt>
                <c:pt idx="3330">
                  <c:v>#N/A</c:v>
                </c:pt>
                <c:pt idx="3331">
                  <c:v>#N/A</c:v>
                </c:pt>
                <c:pt idx="3332">
                  <c:v>#N/A</c:v>
                </c:pt>
                <c:pt idx="3333">
                  <c:v>#N/A</c:v>
                </c:pt>
                <c:pt idx="3334">
                  <c:v>#N/A</c:v>
                </c:pt>
                <c:pt idx="3335">
                  <c:v>#N/A</c:v>
                </c:pt>
                <c:pt idx="3336">
                  <c:v>#N/A</c:v>
                </c:pt>
                <c:pt idx="3337">
                  <c:v>#N/A</c:v>
                </c:pt>
                <c:pt idx="3338">
                  <c:v>#N/A</c:v>
                </c:pt>
                <c:pt idx="3339">
                  <c:v>#N/A</c:v>
                </c:pt>
                <c:pt idx="3340">
                  <c:v>#N/A</c:v>
                </c:pt>
                <c:pt idx="3341">
                  <c:v>#N/A</c:v>
                </c:pt>
                <c:pt idx="3342">
                  <c:v>#N/A</c:v>
                </c:pt>
                <c:pt idx="3343">
                  <c:v>#N/A</c:v>
                </c:pt>
                <c:pt idx="3344">
                  <c:v>#N/A</c:v>
                </c:pt>
                <c:pt idx="3345">
                  <c:v>#N/A</c:v>
                </c:pt>
                <c:pt idx="3346">
                  <c:v>#N/A</c:v>
                </c:pt>
                <c:pt idx="3347">
                  <c:v>#N/A</c:v>
                </c:pt>
                <c:pt idx="3348">
                  <c:v>#N/A</c:v>
                </c:pt>
                <c:pt idx="3349">
                  <c:v>#N/A</c:v>
                </c:pt>
                <c:pt idx="3350">
                  <c:v>#N/A</c:v>
                </c:pt>
                <c:pt idx="3351">
                  <c:v>#N/A</c:v>
                </c:pt>
                <c:pt idx="3352">
                  <c:v>#N/A</c:v>
                </c:pt>
                <c:pt idx="3353">
                  <c:v>1.4684931506849315</c:v>
                </c:pt>
                <c:pt idx="3354">
                  <c:v>#N/A</c:v>
                </c:pt>
                <c:pt idx="3355">
                  <c:v>#N/A</c:v>
                </c:pt>
                <c:pt idx="3356">
                  <c:v>#N/A</c:v>
                </c:pt>
                <c:pt idx="3357">
                  <c:v>#N/A</c:v>
                </c:pt>
                <c:pt idx="3358">
                  <c:v>#N/A</c:v>
                </c:pt>
                <c:pt idx="3359">
                  <c:v>#N/A</c:v>
                </c:pt>
                <c:pt idx="3360">
                  <c:v>#N/A</c:v>
                </c:pt>
                <c:pt idx="3361">
                  <c:v>#N/A</c:v>
                </c:pt>
                <c:pt idx="3362">
                  <c:v>#N/A</c:v>
                </c:pt>
                <c:pt idx="3363">
                  <c:v>#N/A</c:v>
                </c:pt>
                <c:pt idx="3364">
                  <c:v>#N/A</c:v>
                </c:pt>
                <c:pt idx="3365">
                  <c:v>#N/A</c:v>
                </c:pt>
                <c:pt idx="3366">
                  <c:v>#N/A</c:v>
                </c:pt>
                <c:pt idx="3367">
                  <c:v>#N/A</c:v>
                </c:pt>
                <c:pt idx="3368">
                  <c:v>#N/A</c:v>
                </c:pt>
                <c:pt idx="3369">
                  <c:v>#N/A</c:v>
                </c:pt>
                <c:pt idx="3370">
                  <c:v>#N/A</c:v>
                </c:pt>
                <c:pt idx="3371">
                  <c:v>#N/A</c:v>
                </c:pt>
                <c:pt idx="3372">
                  <c:v>#N/A</c:v>
                </c:pt>
                <c:pt idx="3373">
                  <c:v>#N/A</c:v>
                </c:pt>
                <c:pt idx="3374">
                  <c:v>#N/A</c:v>
                </c:pt>
                <c:pt idx="3375">
                  <c:v>#N/A</c:v>
                </c:pt>
                <c:pt idx="3376">
                  <c:v>#N/A</c:v>
                </c:pt>
                <c:pt idx="3377">
                  <c:v>#N/A</c:v>
                </c:pt>
                <c:pt idx="3378">
                  <c:v>#N/A</c:v>
                </c:pt>
                <c:pt idx="3379">
                  <c:v>#N/A</c:v>
                </c:pt>
                <c:pt idx="3380">
                  <c:v>#N/A</c:v>
                </c:pt>
                <c:pt idx="3381">
                  <c:v>#N/A</c:v>
                </c:pt>
                <c:pt idx="3382">
                  <c:v>#N/A</c:v>
                </c:pt>
                <c:pt idx="3383">
                  <c:v>#N/A</c:v>
                </c:pt>
                <c:pt idx="3384">
                  <c:v>#N/A</c:v>
                </c:pt>
                <c:pt idx="3385">
                  <c:v>#N/A</c:v>
                </c:pt>
                <c:pt idx="3386">
                  <c:v>#N/A</c:v>
                </c:pt>
                <c:pt idx="3387">
                  <c:v>#N/A</c:v>
                </c:pt>
                <c:pt idx="3388">
                  <c:v>#N/A</c:v>
                </c:pt>
                <c:pt idx="3389">
                  <c:v>#N/A</c:v>
                </c:pt>
                <c:pt idx="3390">
                  <c:v>#N/A</c:v>
                </c:pt>
                <c:pt idx="3391">
                  <c:v>#N/A</c:v>
                </c:pt>
                <c:pt idx="3392">
                  <c:v>#N/A</c:v>
                </c:pt>
                <c:pt idx="3393">
                  <c:v>#N/A</c:v>
                </c:pt>
                <c:pt idx="3394">
                  <c:v>#N/A</c:v>
                </c:pt>
                <c:pt idx="3395">
                  <c:v>#N/A</c:v>
                </c:pt>
                <c:pt idx="3396">
                  <c:v>#N/A</c:v>
                </c:pt>
                <c:pt idx="3397">
                  <c:v>#N/A</c:v>
                </c:pt>
                <c:pt idx="3398">
                  <c:v>#N/A</c:v>
                </c:pt>
                <c:pt idx="3399">
                  <c:v>#N/A</c:v>
                </c:pt>
                <c:pt idx="3400">
                  <c:v>#N/A</c:v>
                </c:pt>
                <c:pt idx="3401">
                  <c:v>#N/A</c:v>
                </c:pt>
                <c:pt idx="3402">
                  <c:v>#N/A</c:v>
                </c:pt>
                <c:pt idx="3403">
                  <c:v>#N/A</c:v>
                </c:pt>
                <c:pt idx="3404">
                  <c:v>#N/A</c:v>
                </c:pt>
                <c:pt idx="3405">
                  <c:v>#N/A</c:v>
                </c:pt>
                <c:pt idx="3406">
                  <c:v>#N/A</c:v>
                </c:pt>
                <c:pt idx="3407">
                  <c:v>#N/A</c:v>
                </c:pt>
                <c:pt idx="3408">
                  <c:v>#N/A</c:v>
                </c:pt>
                <c:pt idx="3409">
                  <c:v>#N/A</c:v>
                </c:pt>
                <c:pt idx="3410">
                  <c:v>#N/A</c:v>
                </c:pt>
                <c:pt idx="3411">
                  <c:v>#N/A</c:v>
                </c:pt>
                <c:pt idx="3412">
                  <c:v>#N/A</c:v>
                </c:pt>
                <c:pt idx="3413">
                  <c:v>#N/A</c:v>
                </c:pt>
                <c:pt idx="3414">
                  <c:v>#N/A</c:v>
                </c:pt>
                <c:pt idx="3415">
                  <c:v>#N/A</c:v>
                </c:pt>
                <c:pt idx="3416">
                  <c:v>#N/A</c:v>
                </c:pt>
                <c:pt idx="3417">
                  <c:v>#N/A</c:v>
                </c:pt>
                <c:pt idx="3418">
                  <c:v>#N/A</c:v>
                </c:pt>
                <c:pt idx="3419">
                  <c:v>#N/A</c:v>
                </c:pt>
                <c:pt idx="3420">
                  <c:v>#N/A</c:v>
                </c:pt>
                <c:pt idx="3421">
                  <c:v>#N/A</c:v>
                </c:pt>
                <c:pt idx="3422">
                  <c:v>#N/A</c:v>
                </c:pt>
                <c:pt idx="3423">
                  <c:v>#N/A</c:v>
                </c:pt>
                <c:pt idx="3424">
                  <c:v>#N/A</c:v>
                </c:pt>
                <c:pt idx="3425">
                  <c:v>#N/A</c:v>
                </c:pt>
                <c:pt idx="3426">
                  <c:v>#N/A</c:v>
                </c:pt>
                <c:pt idx="3427">
                  <c:v>#N/A</c:v>
                </c:pt>
                <c:pt idx="3428">
                  <c:v>#N/A</c:v>
                </c:pt>
                <c:pt idx="3429">
                  <c:v>#N/A</c:v>
                </c:pt>
                <c:pt idx="3430">
                  <c:v>#N/A</c:v>
                </c:pt>
                <c:pt idx="3431">
                  <c:v>#N/A</c:v>
                </c:pt>
                <c:pt idx="3432">
                  <c:v>#N/A</c:v>
                </c:pt>
                <c:pt idx="3433">
                  <c:v>#N/A</c:v>
                </c:pt>
                <c:pt idx="3434">
                  <c:v>#N/A</c:v>
                </c:pt>
                <c:pt idx="3435">
                  <c:v>#N/A</c:v>
                </c:pt>
                <c:pt idx="3436">
                  <c:v>#N/A</c:v>
                </c:pt>
                <c:pt idx="3437">
                  <c:v>#N/A</c:v>
                </c:pt>
                <c:pt idx="3438">
                  <c:v>#N/A</c:v>
                </c:pt>
                <c:pt idx="3439">
                  <c:v>#N/A</c:v>
                </c:pt>
                <c:pt idx="3440">
                  <c:v>#N/A</c:v>
                </c:pt>
                <c:pt idx="3441">
                  <c:v>#N/A</c:v>
                </c:pt>
                <c:pt idx="3442">
                  <c:v>#N/A</c:v>
                </c:pt>
                <c:pt idx="3443">
                  <c:v>#N/A</c:v>
                </c:pt>
                <c:pt idx="3444">
                  <c:v>#N/A</c:v>
                </c:pt>
                <c:pt idx="3445">
                  <c:v>#N/A</c:v>
                </c:pt>
                <c:pt idx="3446">
                  <c:v>#N/A</c:v>
                </c:pt>
                <c:pt idx="3447">
                  <c:v>#N/A</c:v>
                </c:pt>
                <c:pt idx="3448">
                  <c:v>#N/A</c:v>
                </c:pt>
                <c:pt idx="3449">
                  <c:v>#N/A</c:v>
                </c:pt>
                <c:pt idx="3450">
                  <c:v>#N/A</c:v>
                </c:pt>
                <c:pt idx="3451">
                  <c:v>#N/A</c:v>
                </c:pt>
                <c:pt idx="3452">
                  <c:v>#N/A</c:v>
                </c:pt>
                <c:pt idx="3453">
                  <c:v>#N/A</c:v>
                </c:pt>
                <c:pt idx="3454">
                  <c:v>#N/A</c:v>
                </c:pt>
                <c:pt idx="3455">
                  <c:v>#N/A</c:v>
                </c:pt>
                <c:pt idx="3456">
                  <c:v>#N/A</c:v>
                </c:pt>
                <c:pt idx="3457">
                  <c:v>#N/A</c:v>
                </c:pt>
                <c:pt idx="3458">
                  <c:v>#N/A</c:v>
                </c:pt>
                <c:pt idx="3459">
                  <c:v>#N/A</c:v>
                </c:pt>
                <c:pt idx="3460">
                  <c:v>#N/A</c:v>
                </c:pt>
                <c:pt idx="3461">
                  <c:v>#N/A</c:v>
                </c:pt>
                <c:pt idx="3462">
                  <c:v>#N/A</c:v>
                </c:pt>
                <c:pt idx="3463">
                  <c:v>#N/A</c:v>
                </c:pt>
                <c:pt idx="3464">
                  <c:v>#N/A</c:v>
                </c:pt>
                <c:pt idx="3465">
                  <c:v>#N/A</c:v>
                </c:pt>
                <c:pt idx="3466">
                  <c:v>#N/A</c:v>
                </c:pt>
                <c:pt idx="3467">
                  <c:v>#N/A</c:v>
                </c:pt>
                <c:pt idx="3468">
                  <c:v>#N/A</c:v>
                </c:pt>
                <c:pt idx="3469">
                  <c:v>#N/A</c:v>
                </c:pt>
                <c:pt idx="3470">
                  <c:v>#N/A</c:v>
                </c:pt>
                <c:pt idx="3471">
                  <c:v>#N/A</c:v>
                </c:pt>
                <c:pt idx="3472">
                  <c:v>#N/A</c:v>
                </c:pt>
                <c:pt idx="3473">
                  <c:v>#N/A</c:v>
                </c:pt>
                <c:pt idx="3474">
                  <c:v>#N/A</c:v>
                </c:pt>
                <c:pt idx="3475">
                  <c:v>#N/A</c:v>
                </c:pt>
                <c:pt idx="3476">
                  <c:v>#N/A</c:v>
                </c:pt>
                <c:pt idx="3477">
                  <c:v>#N/A</c:v>
                </c:pt>
                <c:pt idx="3478">
                  <c:v>#N/A</c:v>
                </c:pt>
                <c:pt idx="3479">
                  <c:v>#N/A</c:v>
                </c:pt>
                <c:pt idx="3480">
                  <c:v>#N/A</c:v>
                </c:pt>
                <c:pt idx="3481">
                  <c:v>#N/A</c:v>
                </c:pt>
                <c:pt idx="3482">
                  <c:v>#N/A</c:v>
                </c:pt>
                <c:pt idx="3483">
                  <c:v>#N/A</c:v>
                </c:pt>
                <c:pt idx="3484">
                  <c:v>#N/A</c:v>
                </c:pt>
                <c:pt idx="3485">
                  <c:v>#N/A</c:v>
                </c:pt>
                <c:pt idx="3486">
                  <c:v>#N/A</c:v>
                </c:pt>
                <c:pt idx="3487">
                  <c:v>#N/A</c:v>
                </c:pt>
                <c:pt idx="3488">
                  <c:v>#N/A</c:v>
                </c:pt>
                <c:pt idx="3489">
                  <c:v>#N/A</c:v>
                </c:pt>
                <c:pt idx="3490">
                  <c:v>#N/A</c:v>
                </c:pt>
                <c:pt idx="3491">
                  <c:v>#N/A</c:v>
                </c:pt>
                <c:pt idx="3492">
                  <c:v>#N/A</c:v>
                </c:pt>
                <c:pt idx="3493">
                  <c:v>#N/A</c:v>
                </c:pt>
                <c:pt idx="3494">
                  <c:v>#N/A</c:v>
                </c:pt>
                <c:pt idx="3495">
                  <c:v>#N/A</c:v>
                </c:pt>
                <c:pt idx="3496">
                  <c:v>#N/A</c:v>
                </c:pt>
                <c:pt idx="3497">
                  <c:v>#N/A</c:v>
                </c:pt>
                <c:pt idx="3498">
                  <c:v>#N/A</c:v>
                </c:pt>
                <c:pt idx="3499">
                  <c:v>#N/A</c:v>
                </c:pt>
                <c:pt idx="3500">
                  <c:v>#N/A</c:v>
                </c:pt>
                <c:pt idx="3501">
                  <c:v>#N/A</c:v>
                </c:pt>
                <c:pt idx="3502">
                  <c:v>#N/A</c:v>
                </c:pt>
                <c:pt idx="3503">
                  <c:v>#N/A</c:v>
                </c:pt>
                <c:pt idx="3504">
                  <c:v>#N/A</c:v>
                </c:pt>
                <c:pt idx="3505">
                  <c:v>#N/A</c:v>
                </c:pt>
                <c:pt idx="3506">
                  <c:v>#N/A</c:v>
                </c:pt>
                <c:pt idx="3507">
                  <c:v>#N/A</c:v>
                </c:pt>
                <c:pt idx="3508">
                  <c:v>#N/A</c:v>
                </c:pt>
                <c:pt idx="3509">
                  <c:v>#N/A</c:v>
                </c:pt>
                <c:pt idx="3510">
                  <c:v>#N/A</c:v>
                </c:pt>
                <c:pt idx="3511">
                  <c:v>#N/A</c:v>
                </c:pt>
                <c:pt idx="3512">
                  <c:v>#N/A</c:v>
                </c:pt>
                <c:pt idx="3513">
                  <c:v>#N/A</c:v>
                </c:pt>
                <c:pt idx="3514">
                  <c:v>#N/A</c:v>
                </c:pt>
                <c:pt idx="3515">
                  <c:v>#N/A</c:v>
                </c:pt>
                <c:pt idx="3516">
                  <c:v>#N/A</c:v>
                </c:pt>
                <c:pt idx="3517">
                  <c:v>#N/A</c:v>
                </c:pt>
                <c:pt idx="3518">
                  <c:v>#N/A</c:v>
                </c:pt>
                <c:pt idx="3519">
                  <c:v>#N/A</c:v>
                </c:pt>
                <c:pt idx="3520">
                  <c:v>#N/A</c:v>
                </c:pt>
                <c:pt idx="3521">
                  <c:v>#N/A</c:v>
                </c:pt>
                <c:pt idx="3522">
                  <c:v>#N/A</c:v>
                </c:pt>
                <c:pt idx="3523">
                  <c:v>#N/A</c:v>
                </c:pt>
                <c:pt idx="3524">
                  <c:v>#N/A</c:v>
                </c:pt>
                <c:pt idx="3525">
                  <c:v>#N/A</c:v>
                </c:pt>
                <c:pt idx="3526">
                  <c:v>#N/A</c:v>
                </c:pt>
                <c:pt idx="3527">
                  <c:v>#N/A</c:v>
                </c:pt>
                <c:pt idx="3528">
                  <c:v>#N/A</c:v>
                </c:pt>
                <c:pt idx="3529">
                  <c:v>#N/A</c:v>
                </c:pt>
                <c:pt idx="3530">
                  <c:v>#N/A</c:v>
                </c:pt>
                <c:pt idx="3531">
                  <c:v>#N/A</c:v>
                </c:pt>
                <c:pt idx="3532">
                  <c:v>#N/A</c:v>
                </c:pt>
                <c:pt idx="3533">
                  <c:v>#N/A</c:v>
                </c:pt>
                <c:pt idx="3534">
                  <c:v>#N/A</c:v>
                </c:pt>
                <c:pt idx="3535">
                  <c:v>#N/A</c:v>
                </c:pt>
                <c:pt idx="3536">
                  <c:v>#N/A</c:v>
                </c:pt>
                <c:pt idx="3537">
                  <c:v>#N/A</c:v>
                </c:pt>
                <c:pt idx="3538">
                  <c:v>#N/A</c:v>
                </c:pt>
                <c:pt idx="3539">
                  <c:v>#N/A</c:v>
                </c:pt>
                <c:pt idx="3540">
                  <c:v>#N/A</c:v>
                </c:pt>
                <c:pt idx="3541">
                  <c:v>#N/A</c:v>
                </c:pt>
                <c:pt idx="3542">
                  <c:v>#N/A</c:v>
                </c:pt>
                <c:pt idx="3543">
                  <c:v>#N/A</c:v>
                </c:pt>
                <c:pt idx="3544">
                  <c:v>#N/A</c:v>
                </c:pt>
                <c:pt idx="3545">
                  <c:v>#N/A</c:v>
                </c:pt>
                <c:pt idx="3546">
                  <c:v>#N/A</c:v>
                </c:pt>
                <c:pt idx="3547">
                  <c:v>#N/A</c:v>
                </c:pt>
                <c:pt idx="3548">
                  <c:v>#N/A</c:v>
                </c:pt>
                <c:pt idx="3549">
                  <c:v>#N/A</c:v>
                </c:pt>
                <c:pt idx="3550">
                  <c:v>#N/A</c:v>
                </c:pt>
                <c:pt idx="3551">
                  <c:v>#N/A</c:v>
                </c:pt>
                <c:pt idx="3552">
                  <c:v>#N/A</c:v>
                </c:pt>
                <c:pt idx="3553">
                  <c:v>#N/A</c:v>
                </c:pt>
                <c:pt idx="3554">
                  <c:v>#N/A</c:v>
                </c:pt>
                <c:pt idx="3555">
                  <c:v>#N/A</c:v>
                </c:pt>
                <c:pt idx="3556">
                  <c:v>#N/A</c:v>
                </c:pt>
                <c:pt idx="3557">
                  <c:v>#N/A</c:v>
                </c:pt>
                <c:pt idx="3558">
                  <c:v>#N/A</c:v>
                </c:pt>
                <c:pt idx="3559">
                  <c:v>#N/A</c:v>
                </c:pt>
                <c:pt idx="3560">
                  <c:v>#N/A</c:v>
                </c:pt>
                <c:pt idx="3561">
                  <c:v>#N/A</c:v>
                </c:pt>
                <c:pt idx="3562">
                  <c:v>#N/A</c:v>
                </c:pt>
                <c:pt idx="3563">
                  <c:v>#N/A</c:v>
                </c:pt>
                <c:pt idx="3564">
                  <c:v>#N/A</c:v>
                </c:pt>
                <c:pt idx="3565">
                  <c:v>#N/A</c:v>
                </c:pt>
                <c:pt idx="3566">
                  <c:v>#N/A</c:v>
                </c:pt>
                <c:pt idx="3567">
                  <c:v>#N/A</c:v>
                </c:pt>
                <c:pt idx="3568">
                  <c:v>#N/A</c:v>
                </c:pt>
                <c:pt idx="3569">
                  <c:v>#N/A</c:v>
                </c:pt>
                <c:pt idx="3570">
                  <c:v>#N/A</c:v>
                </c:pt>
                <c:pt idx="3571">
                  <c:v>#N/A</c:v>
                </c:pt>
                <c:pt idx="3572">
                  <c:v>#N/A</c:v>
                </c:pt>
                <c:pt idx="3573">
                  <c:v>#N/A</c:v>
                </c:pt>
                <c:pt idx="3574">
                  <c:v>#N/A</c:v>
                </c:pt>
                <c:pt idx="3575">
                  <c:v>#N/A</c:v>
                </c:pt>
                <c:pt idx="3576">
                  <c:v>#N/A</c:v>
                </c:pt>
                <c:pt idx="3577">
                  <c:v>#N/A</c:v>
                </c:pt>
                <c:pt idx="3578">
                  <c:v>#N/A</c:v>
                </c:pt>
                <c:pt idx="3579">
                  <c:v>#N/A</c:v>
                </c:pt>
                <c:pt idx="3580">
                  <c:v>#N/A</c:v>
                </c:pt>
                <c:pt idx="3581">
                  <c:v>#N/A</c:v>
                </c:pt>
                <c:pt idx="3582">
                  <c:v>#N/A</c:v>
                </c:pt>
                <c:pt idx="3583">
                  <c:v>#N/A</c:v>
                </c:pt>
                <c:pt idx="3584">
                  <c:v>#N/A</c:v>
                </c:pt>
                <c:pt idx="3585">
                  <c:v>#N/A</c:v>
                </c:pt>
                <c:pt idx="3586">
                  <c:v>#N/A</c:v>
                </c:pt>
                <c:pt idx="3587">
                  <c:v>#N/A</c:v>
                </c:pt>
                <c:pt idx="3588">
                  <c:v>#N/A</c:v>
                </c:pt>
                <c:pt idx="3589">
                  <c:v>#N/A</c:v>
                </c:pt>
                <c:pt idx="3590">
                  <c:v>#N/A</c:v>
                </c:pt>
                <c:pt idx="3591">
                  <c:v>#N/A</c:v>
                </c:pt>
                <c:pt idx="3592">
                  <c:v>#N/A</c:v>
                </c:pt>
                <c:pt idx="3593">
                  <c:v>#N/A</c:v>
                </c:pt>
                <c:pt idx="3594">
                  <c:v>#N/A</c:v>
                </c:pt>
                <c:pt idx="3595">
                  <c:v>#N/A</c:v>
                </c:pt>
                <c:pt idx="3596">
                  <c:v>#N/A</c:v>
                </c:pt>
                <c:pt idx="3597">
                  <c:v>#N/A</c:v>
                </c:pt>
                <c:pt idx="3598">
                  <c:v>#N/A</c:v>
                </c:pt>
                <c:pt idx="3599">
                  <c:v>#N/A</c:v>
                </c:pt>
                <c:pt idx="3600">
                  <c:v>#N/A</c:v>
                </c:pt>
                <c:pt idx="3601">
                  <c:v>#N/A</c:v>
                </c:pt>
                <c:pt idx="3602">
                  <c:v>#N/A</c:v>
                </c:pt>
                <c:pt idx="3603">
                  <c:v>#N/A</c:v>
                </c:pt>
                <c:pt idx="3604">
                  <c:v>#N/A</c:v>
                </c:pt>
                <c:pt idx="3605">
                  <c:v>#N/A</c:v>
                </c:pt>
                <c:pt idx="3606">
                  <c:v>#N/A</c:v>
                </c:pt>
                <c:pt idx="3607">
                  <c:v>#N/A</c:v>
                </c:pt>
                <c:pt idx="3608">
                  <c:v>#N/A</c:v>
                </c:pt>
                <c:pt idx="3609">
                  <c:v>#N/A</c:v>
                </c:pt>
                <c:pt idx="3610">
                  <c:v>#N/A</c:v>
                </c:pt>
                <c:pt idx="3611">
                  <c:v>#N/A</c:v>
                </c:pt>
                <c:pt idx="3612">
                  <c:v>#N/A</c:v>
                </c:pt>
                <c:pt idx="3613">
                  <c:v>#N/A</c:v>
                </c:pt>
                <c:pt idx="3614">
                  <c:v>#N/A</c:v>
                </c:pt>
                <c:pt idx="3615">
                  <c:v>#N/A</c:v>
                </c:pt>
                <c:pt idx="3616">
                  <c:v>#N/A</c:v>
                </c:pt>
                <c:pt idx="3617">
                  <c:v>#N/A</c:v>
                </c:pt>
                <c:pt idx="3618">
                  <c:v>#N/A</c:v>
                </c:pt>
                <c:pt idx="3619">
                  <c:v>#N/A</c:v>
                </c:pt>
                <c:pt idx="3620">
                  <c:v>#N/A</c:v>
                </c:pt>
                <c:pt idx="3621">
                  <c:v>#N/A</c:v>
                </c:pt>
                <c:pt idx="3622">
                  <c:v>#N/A</c:v>
                </c:pt>
                <c:pt idx="3623">
                  <c:v>#N/A</c:v>
                </c:pt>
                <c:pt idx="3624">
                  <c:v>#N/A</c:v>
                </c:pt>
                <c:pt idx="3625">
                  <c:v>#N/A</c:v>
                </c:pt>
                <c:pt idx="3626">
                  <c:v>#N/A</c:v>
                </c:pt>
                <c:pt idx="3627">
                  <c:v>#N/A</c:v>
                </c:pt>
                <c:pt idx="3628">
                  <c:v>#N/A</c:v>
                </c:pt>
                <c:pt idx="3629">
                  <c:v>#N/A</c:v>
                </c:pt>
                <c:pt idx="3630">
                  <c:v>#N/A</c:v>
                </c:pt>
                <c:pt idx="3631">
                  <c:v>#N/A</c:v>
                </c:pt>
                <c:pt idx="3632">
                  <c:v>#N/A</c:v>
                </c:pt>
                <c:pt idx="3633">
                  <c:v>#N/A</c:v>
                </c:pt>
                <c:pt idx="3634">
                  <c:v>#N/A</c:v>
                </c:pt>
                <c:pt idx="3635">
                  <c:v>#N/A</c:v>
                </c:pt>
                <c:pt idx="3636">
                  <c:v>#N/A</c:v>
                </c:pt>
                <c:pt idx="3637">
                  <c:v>#N/A</c:v>
                </c:pt>
                <c:pt idx="3638">
                  <c:v>#N/A</c:v>
                </c:pt>
                <c:pt idx="3639">
                  <c:v>#N/A</c:v>
                </c:pt>
                <c:pt idx="3640">
                  <c:v>#N/A</c:v>
                </c:pt>
                <c:pt idx="3641">
                  <c:v>#N/A</c:v>
                </c:pt>
                <c:pt idx="3642">
                  <c:v>#N/A</c:v>
                </c:pt>
                <c:pt idx="3643">
                  <c:v>#N/A</c:v>
                </c:pt>
                <c:pt idx="3644">
                  <c:v>#N/A</c:v>
                </c:pt>
                <c:pt idx="3645">
                  <c:v>#N/A</c:v>
                </c:pt>
                <c:pt idx="3646">
                  <c:v>#N/A</c:v>
                </c:pt>
                <c:pt idx="3647">
                  <c:v>#N/A</c:v>
                </c:pt>
                <c:pt idx="3648">
                  <c:v>#N/A</c:v>
                </c:pt>
                <c:pt idx="3649">
                  <c:v>#N/A</c:v>
                </c:pt>
                <c:pt idx="3650">
                  <c:v>#N/A</c:v>
                </c:pt>
                <c:pt idx="3651">
                  <c:v>#N/A</c:v>
                </c:pt>
                <c:pt idx="3652">
                  <c:v>#N/A</c:v>
                </c:pt>
                <c:pt idx="3653">
                  <c:v>#N/A</c:v>
                </c:pt>
                <c:pt idx="3654">
                  <c:v>#N/A</c:v>
                </c:pt>
                <c:pt idx="3655">
                  <c:v>#N/A</c:v>
                </c:pt>
                <c:pt idx="3656">
                  <c:v>#N/A</c:v>
                </c:pt>
                <c:pt idx="3657">
                  <c:v>#N/A</c:v>
                </c:pt>
                <c:pt idx="3658">
                  <c:v>#N/A</c:v>
                </c:pt>
                <c:pt idx="3659">
                  <c:v>#N/A</c:v>
                </c:pt>
                <c:pt idx="3660">
                  <c:v>#N/A</c:v>
                </c:pt>
                <c:pt idx="3661">
                  <c:v>#N/A</c:v>
                </c:pt>
                <c:pt idx="3662">
                  <c:v>#N/A</c:v>
                </c:pt>
                <c:pt idx="3663">
                  <c:v>#N/A</c:v>
                </c:pt>
                <c:pt idx="3664">
                  <c:v>#N/A</c:v>
                </c:pt>
                <c:pt idx="3665">
                  <c:v>#N/A</c:v>
                </c:pt>
                <c:pt idx="3666">
                  <c:v>#N/A</c:v>
                </c:pt>
                <c:pt idx="3667">
                  <c:v>#N/A</c:v>
                </c:pt>
                <c:pt idx="3668">
                  <c:v>#N/A</c:v>
                </c:pt>
                <c:pt idx="3669">
                  <c:v>#N/A</c:v>
                </c:pt>
                <c:pt idx="3670">
                  <c:v>#N/A</c:v>
                </c:pt>
                <c:pt idx="3671">
                  <c:v>#N/A</c:v>
                </c:pt>
                <c:pt idx="3672">
                  <c:v>#N/A</c:v>
                </c:pt>
                <c:pt idx="3673">
                  <c:v>#N/A</c:v>
                </c:pt>
                <c:pt idx="3674">
                  <c:v>#N/A</c:v>
                </c:pt>
                <c:pt idx="3675">
                  <c:v>#N/A</c:v>
                </c:pt>
                <c:pt idx="3676">
                  <c:v>#N/A</c:v>
                </c:pt>
                <c:pt idx="3677">
                  <c:v>#N/A</c:v>
                </c:pt>
                <c:pt idx="3678">
                  <c:v>#N/A</c:v>
                </c:pt>
                <c:pt idx="3679">
                  <c:v>#N/A</c:v>
                </c:pt>
                <c:pt idx="3680">
                  <c:v>#N/A</c:v>
                </c:pt>
                <c:pt idx="3681">
                  <c:v>#N/A</c:v>
                </c:pt>
                <c:pt idx="3682">
                  <c:v>#N/A</c:v>
                </c:pt>
                <c:pt idx="3683">
                  <c:v>#N/A</c:v>
                </c:pt>
                <c:pt idx="3684">
                  <c:v>#N/A</c:v>
                </c:pt>
                <c:pt idx="3685">
                  <c:v>#N/A</c:v>
                </c:pt>
                <c:pt idx="3686">
                  <c:v>#N/A</c:v>
                </c:pt>
                <c:pt idx="3687">
                  <c:v>#N/A</c:v>
                </c:pt>
                <c:pt idx="3688">
                  <c:v>#N/A</c:v>
                </c:pt>
                <c:pt idx="3689">
                  <c:v>#N/A</c:v>
                </c:pt>
                <c:pt idx="3690">
                  <c:v>#N/A</c:v>
                </c:pt>
                <c:pt idx="3691">
                  <c:v>#N/A</c:v>
                </c:pt>
                <c:pt idx="3692">
                  <c:v>#N/A</c:v>
                </c:pt>
                <c:pt idx="3693">
                  <c:v>#N/A</c:v>
                </c:pt>
                <c:pt idx="3694">
                  <c:v>#N/A</c:v>
                </c:pt>
                <c:pt idx="3695">
                  <c:v>#N/A</c:v>
                </c:pt>
                <c:pt idx="3696">
                  <c:v>#N/A</c:v>
                </c:pt>
                <c:pt idx="3697">
                  <c:v>#N/A</c:v>
                </c:pt>
                <c:pt idx="3698">
                  <c:v>#N/A</c:v>
                </c:pt>
                <c:pt idx="3699">
                  <c:v>#N/A</c:v>
                </c:pt>
                <c:pt idx="3700">
                  <c:v>#N/A</c:v>
                </c:pt>
                <c:pt idx="3701">
                  <c:v>#N/A</c:v>
                </c:pt>
                <c:pt idx="3702">
                  <c:v>#N/A</c:v>
                </c:pt>
                <c:pt idx="3703">
                  <c:v>#N/A</c:v>
                </c:pt>
                <c:pt idx="3704">
                  <c:v>#N/A</c:v>
                </c:pt>
                <c:pt idx="3705">
                  <c:v>#N/A</c:v>
                </c:pt>
                <c:pt idx="3706">
                  <c:v>#N/A</c:v>
                </c:pt>
                <c:pt idx="3707">
                  <c:v>#N/A</c:v>
                </c:pt>
                <c:pt idx="3708">
                  <c:v>#N/A</c:v>
                </c:pt>
                <c:pt idx="3709">
                  <c:v>#N/A</c:v>
                </c:pt>
                <c:pt idx="3710">
                  <c:v>#N/A</c:v>
                </c:pt>
                <c:pt idx="3711">
                  <c:v>#N/A</c:v>
                </c:pt>
                <c:pt idx="3712">
                  <c:v>#N/A</c:v>
                </c:pt>
                <c:pt idx="3713">
                  <c:v>#N/A</c:v>
                </c:pt>
                <c:pt idx="3714">
                  <c:v>#N/A</c:v>
                </c:pt>
                <c:pt idx="3715">
                  <c:v>#N/A</c:v>
                </c:pt>
                <c:pt idx="3716">
                  <c:v>#N/A</c:v>
                </c:pt>
                <c:pt idx="3717">
                  <c:v>#N/A</c:v>
                </c:pt>
                <c:pt idx="3718">
                  <c:v>#N/A</c:v>
                </c:pt>
                <c:pt idx="3719">
                  <c:v>#N/A</c:v>
                </c:pt>
                <c:pt idx="3720">
                  <c:v>#N/A</c:v>
                </c:pt>
                <c:pt idx="3721">
                  <c:v>#N/A</c:v>
                </c:pt>
                <c:pt idx="3722">
                  <c:v>#N/A</c:v>
                </c:pt>
                <c:pt idx="3723">
                  <c:v>#N/A</c:v>
                </c:pt>
                <c:pt idx="3724">
                  <c:v>#N/A</c:v>
                </c:pt>
                <c:pt idx="3725">
                  <c:v>#N/A</c:v>
                </c:pt>
                <c:pt idx="3726">
                  <c:v>#N/A</c:v>
                </c:pt>
                <c:pt idx="3727">
                  <c:v>#N/A</c:v>
                </c:pt>
                <c:pt idx="3728">
                  <c:v>#N/A</c:v>
                </c:pt>
                <c:pt idx="3729">
                  <c:v>#N/A</c:v>
                </c:pt>
                <c:pt idx="3730">
                  <c:v>#N/A</c:v>
                </c:pt>
                <c:pt idx="3731">
                  <c:v>#N/A</c:v>
                </c:pt>
                <c:pt idx="3732">
                  <c:v>#N/A</c:v>
                </c:pt>
                <c:pt idx="3733">
                  <c:v>#N/A</c:v>
                </c:pt>
                <c:pt idx="3734">
                  <c:v>#N/A</c:v>
                </c:pt>
                <c:pt idx="3735">
                  <c:v>#N/A</c:v>
                </c:pt>
                <c:pt idx="3736">
                  <c:v>#N/A</c:v>
                </c:pt>
                <c:pt idx="3737">
                  <c:v>#N/A</c:v>
                </c:pt>
                <c:pt idx="3738">
                  <c:v>#N/A</c:v>
                </c:pt>
                <c:pt idx="3739">
                  <c:v>#N/A</c:v>
                </c:pt>
                <c:pt idx="3740">
                  <c:v>#N/A</c:v>
                </c:pt>
                <c:pt idx="3741">
                  <c:v>#N/A</c:v>
                </c:pt>
                <c:pt idx="3742">
                  <c:v>#N/A</c:v>
                </c:pt>
                <c:pt idx="3743">
                  <c:v>#N/A</c:v>
                </c:pt>
                <c:pt idx="3744">
                  <c:v>#N/A</c:v>
                </c:pt>
                <c:pt idx="3745">
                  <c:v>#N/A</c:v>
                </c:pt>
                <c:pt idx="3746">
                  <c:v>#N/A</c:v>
                </c:pt>
                <c:pt idx="3747">
                  <c:v>#N/A</c:v>
                </c:pt>
                <c:pt idx="3748">
                  <c:v>#N/A</c:v>
                </c:pt>
                <c:pt idx="3749">
                  <c:v>#N/A</c:v>
                </c:pt>
                <c:pt idx="3750">
                  <c:v>#N/A</c:v>
                </c:pt>
                <c:pt idx="3751">
                  <c:v>#N/A</c:v>
                </c:pt>
                <c:pt idx="3752">
                  <c:v>#N/A</c:v>
                </c:pt>
                <c:pt idx="3753">
                  <c:v>#N/A</c:v>
                </c:pt>
                <c:pt idx="3754">
                  <c:v>#N/A</c:v>
                </c:pt>
                <c:pt idx="3755">
                  <c:v>#N/A</c:v>
                </c:pt>
                <c:pt idx="3756">
                  <c:v>#N/A</c:v>
                </c:pt>
                <c:pt idx="3757">
                  <c:v>#N/A</c:v>
                </c:pt>
                <c:pt idx="3758">
                  <c:v>#N/A</c:v>
                </c:pt>
                <c:pt idx="3759">
                  <c:v>#N/A</c:v>
                </c:pt>
                <c:pt idx="3760">
                  <c:v>#N/A</c:v>
                </c:pt>
                <c:pt idx="3761">
                  <c:v>#N/A</c:v>
                </c:pt>
                <c:pt idx="3762">
                  <c:v>#N/A</c:v>
                </c:pt>
                <c:pt idx="3763">
                  <c:v>#N/A</c:v>
                </c:pt>
                <c:pt idx="3764">
                  <c:v>#N/A</c:v>
                </c:pt>
                <c:pt idx="3765">
                  <c:v>#N/A</c:v>
                </c:pt>
                <c:pt idx="3766">
                  <c:v>#N/A</c:v>
                </c:pt>
                <c:pt idx="3767">
                  <c:v>#N/A</c:v>
                </c:pt>
                <c:pt idx="3768">
                  <c:v>#N/A</c:v>
                </c:pt>
                <c:pt idx="3769">
                  <c:v>#N/A</c:v>
                </c:pt>
                <c:pt idx="3770">
                  <c:v>#N/A</c:v>
                </c:pt>
                <c:pt idx="3771">
                  <c:v>#N/A</c:v>
                </c:pt>
                <c:pt idx="3772">
                  <c:v>#N/A</c:v>
                </c:pt>
                <c:pt idx="3773">
                  <c:v>#N/A</c:v>
                </c:pt>
                <c:pt idx="3774">
                  <c:v>#N/A</c:v>
                </c:pt>
                <c:pt idx="3775">
                  <c:v>#N/A</c:v>
                </c:pt>
                <c:pt idx="3776">
                  <c:v>#N/A</c:v>
                </c:pt>
                <c:pt idx="3777">
                  <c:v>#N/A</c:v>
                </c:pt>
                <c:pt idx="3778">
                  <c:v>#N/A</c:v>
                </c:pt>
                <c:pt idx="3779">
                  <c:v>#N/A</c:v>
                </c:pt>
                <c:pt idx="3780">
                  <c:v>#N/A</c:v>
                </c:pt>
                <c:pt idx="3781">
                  <c:v>#N/A</c:v>
                </c:pt>
                <c:pt idx="3782">
                  <c:v>#N/A</c:v>
                </c:pt>
                <c:pt idx="3783">
                  <c:v>#N/A</c:v>
                </c:pt>
                <c:pt idx="3784">
                  <c:v>#N/A</c:v>
                </c:pt>
                <c:pt idx="3785">
                  <c:v>#N/A</c:v>
                </c:pt>
                <c:pt idx="3786">
                  <c:v>#N/A</c:v>
                </c:pt>
                <c:pt idx="3787">
                  <c:v>#N/A</c:v>
                </c:pt>
                <c:pt idx="3788">
                  <c:v>#N/A</c:v>
                </c:pt>
                <c:pt idx="3789">
                  <c:v>#N/A</c:v>
                </c:pt>
                <c:pt idx="3790">
                  <c:v>#N/A</c:v>
                </c:pt>
                <c:pt idx="3791">
                  <c:v>#N/A</c:v>
                </c:pt>
                <c:pt idx="3792">
                  <c:v>#N/A</c:v>
                </c:pt>
                <c:pt idx="3793">
                  <c:v>#N/A</c:v>
                </c:pt>
                <c:pt idx="3794">
                  <c:v>#N/A</c:v>
                </c:pt>
                <c:pt idx="3795">
                  <c:v>#N/A</c:v>
                </c:pt>
                <c:pt idx="3796">
                  <c:v>#N/A</c:v>
                </c:pt>
                <c:pt idx="3797">
                  <c:v>#N/A</c:v>
                </c:pt>
                <c:pt idx="3798">
                  <c:v>#N/A</c:v>
                </c:pt>
                <c:pt idx="3799">
                  <c:v>#N/A</c:v>
                </c:pt>
                <c:pt idx="3800">
                  <c:v>#N/A</c:v>
                </c:pt>
                <c:pt idx="3801">
                  <c:v>#N/A</c:v>
                </c:pt>
                <c:pt idx="3802">
                  <c:v>#N/A</c:v>
                </c:pt>
                <c:pt idx="3803">
                  <c:v>#N/A</c:v>
                </c:pt>
                <c:pt idx="3804">
                  <c:v>#N/A</c:v>
                </c:pt>
                <c:pt idx="3805">
                  <c:v>#N/A</c:v>
                </c:pt>
                <c:pt idx="3806">
                  <c:v>#N/A</c:v>
                </c:pt>
                <c:pt idx="3807">
                  <c:v>#N/A</c:v>
                </c:pt>
                <c:pt idx="3808">
                  <c:v>#N/A</c:v>
                </c:pt>
                <c:pt idx="3809">
                  <c:v>#N/A</c:v>
                </c:pt>
                <c:pt idx="3810">
                  <c:v>#N/A</c:v>
                </c:pt>
                <c:pt idx="3811">
                  <c:v>#N/A</c:v>
                </c:pt>
                <c:pt idx="3812">
                  <c:v>#N/A</c:v>
                </c:pt>
                <c:pt idx="3813">
                  <c:v>#N/A</c:v>
                </c:pt>
                <c:pt idx="3814">
                  <c:v>#N/A</c:v>
                </c:pt>
                <c:pt idx="3815">
                  <c:v>#N/A</c:v>
                </c:pt>
                <c:pt idx="3816">
                  <c:v>#N/A</c:v>
                </c:pt>
                <c:pt idx="3817">
                  <c:v>#N/A</c:v>
                </c:pt>
                <c:pt idx="3818">
                  <c:v>#N/A</c:v>
                </c:pt>
                <c:pt idx="3819">
                  <c:v>#N/A</c:v>
                </c:pt>
                <c:pt idx="3820">
                  <c:v>#N/A</c:v>
                </c:pt>
                <c:pt idx="3821">
                  <c:v>#N/A</c:v>
                </c:pt>
                <c:pt idx="3822">
                  <c:v>#N/A</c:v>
                </c:pt>
                <c:pt idx="3823">
                  <c:v>#N/A</c:v>
                </c:pt>
                <c:pt idx="3824">
                  <c:v>#N/A</c:v>
                </c:pt>
                <c:pt idx="3825">
                  <c:v>#N/A</c:v>
                </c:pt>
                <c:pt idx="3826">
                  <c:v>#N/A</c:v>
                </c:pt>
                <c:pt idx="3827">
                  <c:v>#N/A</c:v>
                </c:pt>
                <c:pt idx="3828">
                  <c:v>#N/A</c:v>
                </c:pt>
                <c:pt idx="3829">
                  <c:v>#N/A</c:v>
                </c:pt>
                <c:pt idx="3830">
                  <c:v>#N/A</c:v>
                </c:pt>
                <c:pt idx="3831">
                  <c:v>#N/A</c:v>
                </c:pt>
                <c:pt idx="3832">
                  <c:v>#N/A</c:v>
                </c:pt>
                <c:pt idx="3833">
                  <c:v>#N/A</c:v>
                </c:pt>
                <c:pt idx="3834">
                  <c:v>#N/A</c:v>
                </c:pt>
                <c:pt idx="3835">
                  <c:v>#N/A</c:v>
                </c:pt>
                <c:pt idx="3836">
                  <c:v>#N/A</c:v>
                </c:pt>
                <c:pt idx="3837">
                  <c:v>#N/A</c:v>
                </c:pt>
                <c:pt idx="3838">
                  <c:v>#N/A</c:v>
                </c:pt>
                <c:pt idx="3839">
                  <c:v>#N/A</c:v>
                </c:pt>
                <c:pt idx="3840">
                  <c:v>#N/A</c:v>
                </c:pt>
                <c:pt idx="3841">
                  <c:v>#N/A</c:v>
                </c:pt>
                <c:pt idx="3842">
                  <c:v>#N/A</c:v>
                </c:pt>
                <c:pt idx="3843">
                  <c:v>#N/A</c:v>
                </c:pt>
                <c:pt idx="3844">
                  <c:v>#N/A</c:v>
                </c:pt>
                <c:pt idx="3845">
                  <c:v>#N/A</c:v>
                </c:pt>
                <c:pt idx="3846">
                  <c:v>#N/A</c:v>
                </c:pt>
                <c:pt idx="3847">
                  <c:v>#N/A</c:v>
                </c:pt>
                <c:pt idx="3848">
                  <c:v>#N/A</c:v>
                </c:pt>
                <c:pt idx="3849">
                  <c:v>#N/A</c:v>
                </c:pt>
                <c:pt idx="3850">
                  <c:v>#N/A</c:v>
                </c:pt>
                <c:pt idx="3851">
                  <c:v>#N/A</c:v>
                </c:pt>
                <c:pt idx="3852">
                  <c:v>#N/A</c:v>
                </c:pt>
                <c:pt idx="3853">
                  <c:v>#N/A</c:v>
                </c:pt>
                <c:pt idx="3854">
                  <c:v>#N/A</c:v>
                </c:pt>
                <c:pt idx="3855">
                  <c:v>#N/A</c:v>
                </c:pt>
                <c:pt idx="3856">
                  <c:v>#N/A</c:v>
                </c:pt>
                <c:pt idx="3857">
                  <c:v>#N/A</c:v>
                </c:pt>
                <c:pt idx="3858">
                  <c:v>#N/A</c:v>
                </c:pt>
                <c:pt idx="3859">
                  <c:v>#N/A</c:v>
                </c:pt>
                <c:pt idx="3860">
                  <c:v>#N/A</c:v>
                </c:pt>
                <c:pt idx="3861">
                  <c:v>#N/A</c:v>
                </c:pt>
                <c:pt idx="3862">
                  <c:v>#N/A</c:v>
                </c:pt>
                <c:pt idx="3863">
                  <c:v>#N/A</c:v>
                </c:pt>
                <c:pt idx="3864">
                  <c:v>#N/A</c:v>
                </c:pt>
                <c:pt idx="3865">
                  <c:v>#N/A</c:v>
                </c:pt>
                <c:pt idx="3866">
                  <c:v>#N/A</c:v>
                </c:pt>
                <c:pt idx="3867">
                  <c:v>#N/A</c:v>
                </c:pt>
                <c:pt idx="3868">
                  <c:v>#N/A</c:v>
                </c:pt>
                <c:pt idx="3869">
                  <c:v>#N/A</c:v>
                </c:pt>
                <c:pt idx="3870">
                  <c:v>#N/A</c:v>
                </c:pt>
                <c:pt idx="3871">
                  <c:v>#N/A</c:v>
                </c:pt>
                <c:pt idx="3872">
                  <c:v>#N/A</c:v>
                </c:pt>
                <c:pt idx="3873">
                  <c:v>#N/A</c:v>
                </c:pt>
                <c:pt idx="3874">
                  <c:v>#N/A</c:v>
                </c:pt>
                <c:pt idx="3875">
                  <c:v>#N/A</c:v>
                </c:pt>
                <c:pt idx="3876">
                  <c:v>#N/A</c:v>
                </c:pt>
                <c:pt idx="3877">
                  <c:v>#N/A</c:v>
                </c:pt>
                <c:pt idx="3878">
                  <c:v>#N/A</c:v>
                </c:pt>
                <c:pt idx="3879">
                  <c:v>#N/A</c:v>
                </c:pt>
                <c:pt idx="3880">
                  <c:v>#N/A</c:v>
                </c:pt>
                <c:pt idx="3881">
                  <c:v>#N/A</c:v>
                </c:pt>
                <c:pt idx="3882">
                  <c:v>#N/A</c:v>
                </c:pt>
                <c:pt idx="3883">
                  <c:v>#N/A</c:v>
                </c:pt>
                <c:pt idx="3884">
                  <c:v>#N/A</c:v>
                </c:pt>
                <c:pt idx="3885">
                  <c:v>#N/A</c:v>
                </c:pt>
                <c:pt idx="3886">
                  <c:v>#N/A</c:v>
                </c:pt>
                <c:pt idx="3887">
                  <c:v>#N/A</c:v>
                </c:pt>
                <c:pt idx="3888">
                  <c:v>#N/A</c:v>
                </c:pt>
                <c:pt idx="3889">
                  <c:v>#N/A</c:v>
                </c:pt>
                <c:pt idx="3890">
                  <c:v>#N/A</c:v>
                </c:pt>
                <c:pt idx="3891">
                  <c:v>#N/A</c:v>
                </c:pt>
                <c:pt idx="3892">
                  <c:v>#N/A</c:v>
                </c:pt>
                <c:pt idx="3893">
                  <c:v>#N/A</c:v>
                </c:pt>
                <c:pt idx="3894">
                  <c:v>#N/A</c:v>
                </c:pt>
                <c:pt idx="3895">
                  <c:v>#N/A</c:v>
                </c:pt>
                <c:pt idx="3896">
                  <c:v>#N/A</c:v>
                </c:pt>
                <c:pt idx="3897">
                  <c:v>#N/A</c:v>
                </c:pt>
                <c:pt idx="3898">
                  <c:v>#N/A</c:v>
                </c:pt>
                <c:pt idx="3899">
                  <c:v>#N/A</c:v>
                </c:pt>
                <c:pt idx="3900">
                  <c:v>#N/A</c:v>
                </c:pt>
                <c:pt idx="3901">
                  <c:v>#N/A</c:v>
                </c:pt>
                <c:pt idx="3902">
                  <c:v>#N/A</c:v>
                </c:pt>
                <c:pt idx="3903">
                  <c:v>#N/A</c:v>
                </c:pt>
                <c:pt idx="3904">
                  <c:v>#N/A</c:v>
                </c:pt>
                <c:pt idx="3905">
                  <c:v>#N/A</c:v>
                </c:pt>
                <c:pt idx="3906">
                  <c:v>#N/A</c:v>
                </c:pt>
                <c:pt idx="3907">
                  <c:v>#N/A</c:v>
                </c:pt>
                <c:pt idx="3908">
                  <c:v>#N/A</c:v>
                </c:pt>
                <c:pt idx="3909">
                  <c:v>#N/A</c:v>
                </c:pt>
                <c:pt idx="3910">
                  <c:v>#N/A</c:v>
                </c:pt>
                <c:pt idx="3911">
                  <c:v>#N/A</c:v>
                </c:pt>
                <c:pt idx="3912">
                  <c:v>#N/A</c:v>
                </c:pt>
                <c:pt idx="3913">
                  <c:v>#N/A</c:v>
                </c:pt>
                <c:pt idx="3914">
                  <c:v>#N/A</c:v>
                </c:pt>
                <c:pt idx="3915">
                  <c:v>#N/A</c:v>
                </c:pt>
                <c:pt idx="3916">
                  <c:v>#N/A</c:v>
                </c:pt>
                <c:pt idx="3917">
                  <c:v>#N/A</c:v>
                </c:pt>
                <c:pt idx="3918">
                  <c:v>#N/A</c:v>
                </c:pt>
                <c:pt idx="3919">
                  <c:v>#N/A</c:v>
                </c:pt>
                <c:pt idx="3920">
                  <c:v>#N/A</c:v>
                </c:pt>
                <c:pt idx="3921">
                  <c:v>#N/A</c:v>
                </c:pt>
                <c:pt idx="3922">
                  <c:v>#N/A</c:v>
                </c:pt>
                <c:pt idx="3923">
                  <c:v>#N/A</c:v>
                </c:pt>
                <c:pt idx="3924">
                  <c:v>#N/A</c:v>
                </c:pt>
                <c:pt idx="3925">
                  <c:v>#N/A</c:v>
                </c:pt>
                <c:pt idx="3926">
                  <c:v>#N/A</c:v>
                </c:pt>
                <c:pt idx="3927">
                  <c:v>#N/A</c:v>
                </c:pt>
                <c:pt idx="3928">
                  <c:v>#N/A</c:v>
                </c:pt>
                <c:pt idx="3929">
                  <c:v>#N/A</c:v>
                </c:pt>
                <c:pt idx="3930">
                  <c:v>#N/A</c:v>
                </c:pt>
                <c:pt idx="3931">
                  <c:v>#N/A</c:v>
                </c:pt>
                <c:pt idx="3932">
                  <c:v>#N/A</c:v>
                </c:pt>
                <c:pt idx="3933">
                  <c:v>#N/A</c:v>
                </c:pt>
                <c:pt idx="3934">
                  <c:v>#N/A</c:v>
                </c:pt>
                <c:pt idx="3935">
                  <c:v>#N/A</c:v>
                </c:pt>
                <c:pt idx="3936">
                  <c:v>#N/A</c:v>
                </c:pt>
                <c:pt idx="3937">
                  <c:v>#N/A</c:v>
                </c:pt>
                <c:pt idx="3938">
                  <c:v>#N/A</c:v>
                </c:pt>
                <c:pt idx="3939">
                  <c:v>#N/A</c:v>
                </c:pt>
                <c:pt idx="3940">
                  <c:v>#N/A</c:v>
                </c:pt>
                <c:pt idx="3941">
                  <c:v>#N/A</c:v>
                </c:pt>
                <c:pt idx="3942">
                  <c:v>#N/A</c:v>
                </c:pt>
                <c:pt idx="3943">
                  <c:v>#N/A</c:v>
                </c:pt>
                <c:pt idx="3944">
                  <c:v>#N/A</c:v>
                </c:pt>
                <c:pt idx="3945">
                  <c:v>#N/A</c:v>
                </c:pt>
                <c:pt idx="3946">
                  <c:v>#N/A</c:v>
                </c:pt>
                <c:pt idx="3947">
                  <c:v>#N/A</c:v>
                </c:pt>
                <c:pt idx="3948">
                  <c:v>#N/A</c:v>
                </c:pt>
                <c:pt idx="3949">
                  <c:v>#N/A</c:v>
                </c:pt>
                <c:pt idx="3950">
                  <c:v>#N/A</c:v>
                </c:pt>
                <c:pt idx="3951">
                  <c:v>#N/A</c:v>
                </c:pt>
                <c:pt idx="3952">
                  <c:v>#N/A</c:v>
                </c:pt>
                <c:pt idx="3953">
                  <c:v>#N/A</c:v>
                </c:pt>
                <c:pt idx="3954">
                  <c:v>#N/A</c:v>
                </c:pt>
                <c:pt idx="3955">
                  <c:v>#N/A</c:v>
                </c:pt>
                <c:pt idx="3956">
                  <c:v>#N/A</c:v>
                </c:pt>
                <c:pt idx="3957">
                  <c:v>#N/A</c:v>
                </c:pt>
                <c:pt idx="3958">
                  <c:v>#N/A</c:v>
                </c:pt>
                <c:pt idx="3959">
                  <c:v>#N/A</c:v>
                </c:pt>
                <c:pt idx="3960">
                  <c:v>#N/A</c:v>
                </c:pt>
                <c:pt idx="3961">
                  <c:v>#N/A</c:v>
                </c:pt>
                <c:pt idx="3962">
                  <c:v>#N/A</c:v>
                </c:pt>
                <c:pt idx="3963">
                  <c:v>#N/A</c:v>
                </c:pt>
                <c:pt idx="3964">
                  <c:v>#N/A</c:v>
                </c:pt>
                <c:pt idx="3965">
                  <c:v>#N/A</c:v>
                </c:pt>
                <c:pt idx="3966">
                  <c:v>#N/A</c:v>
                </c:pt>
                <c:pt idx="3967">
                  <c:v>#N/A</c:v>
                </c:pt>
                <c:pt idx="3968">
                  <c:v>#N/A</c:v>
                </c:pt>
                <c:pt idx="3969">
                  <c:v>#N/A</c:v>
                </c:pt>
                <c:pt idx="3970">
                  <c:v>#N/A</c:v>
                </c:pt>
                <c:pt idx="3971">
                  <c:v>#N/A</c:v>
                </c:pt>
                <c:pt idx="3972">
                  <c:v>#N/A</c:v>
                </c:pt>
                <c:pt idx="3973">
                  <c:v>#N/A</c:v>
                </c:pt>
                <c:pt idx="3974">
                  <c:v>#N/A</c:v>
                </c:pt>
                <c:pt idx="3975">
                  <c:v>#N/A</c:v>
                </c:pt>
                <c:pt idx="3976">
                  <c:v>#N/A</c:v>
                </c:pt>
                <c:pt idx="3977">
                  <c:v>#N/A</c:v>
                </c:pt>
                <c:pt idx="3978">
                  <c:v>#N/A</c:v>
                </c:pt>
                <c:pt idx="3979">
                  <c:v>#N/A</c:v>
                </c:pt>
                <c:pt idx="3980">
                  <c:v>#N/A</c:v>
                </c:pt>
                <c:pt idx="3981">
                  <c:v>#N/A</c:v>
                </c:pt>
                <c:pt idx="3982">
                  <c:v>#N/A</c:v>
                </c:pt>
                <c:pt idx="3983">
                  <c:v>#N/A</c:v>
                </c:pt>
                <c:pt idx="3984">
                  <c:v>#N/A</c:v>
                </c:pt>
                <c:pt idx="3985">
                  <c:v>#N/A</c:v>
                </c:pt>
                <c:pt idx="3986">
                  <c:v>#N/A</c:v>
                </c:pt>
                <c:pt idx="3987">
                  <c:v>#N/A</c:v>
                </c:pt>
                <c:pt idx="3988">
                  <c:v>#N/A</c:v>
                </c:pt>
                <c:pt idx="3989">
                  <c:v>#N/A</c:v>
                </c:pt>
                <c:pt idx="3990">
                  <c:v>#N/A</c:v>
                </c:pt>
                <c:pt idx="3991">
                  <c:v>#N/A</c:v>
                </c:pt>
                <c:pt idx="3992">
                  <c:v>#N/A</c:v>
                </c:pt>
                <c:pt idx="3993">
                  <c:v>#N/A</c:v>
                </c:pt>
                <c:pt idx="3994">
                  <c:v>#N/A</c:v>
                </c:pt>
                <c:pt idx="3995">
                  <c:v>#N/A</c:v>
                </c:pt>
                <c:pt idx="3996">
                  <c:v>#N/A</c:v>
                </c:pt>
                <c:pt idx="3997">
                  <c:v>#N/A</c:v>
                </c:pt>
                <c:pt idx="3998">
                  <c:v>#N/A</c:v>
                </c:pt>
                <c:pt idx="3999">
                  <c:v>#N/A</c:v>
                </c:pt>
                <c:pt idx="4000">
                  <c:v>#N/A</c:v>
                </c:pt>
                <c:pt idx="4001">
                  <c:v>#N/A</c:v>
                </c:pt>
                <c:pt idx="4002">
                  <c:v>#N/A</c:v>
                </c:pt>
                <c:pt idx="4003">
                  <c:v>#N/A</c:v>
                </c:pt>
                <c:pt idx="4004">
                  <c:v>#N/A</c:v>
                </c:pt>
                <c:pt idx="4005">
                  <c:v>#N/A</c:v>
                </c:pt>
                <c:pt idx="4006">
                  <c:v>#N/A</c:v>
                </c:pt>
                <c:pt idx="4007">
                  <c:v>#N/A</c:v>
                </c:pt>
                <c:pt idx="4008">
                  <c:v>#N/A</c:v>
                </c:pt>
                <c:pt idx="4009">
                  <c:v>#N/A</c:v>
                </c:pt>
                <c:pt idx="4010">
                  <c:v>#N/A</c:v>
                </c:pt>
                <c:pt idx="4011">
                  <c:v>#N/A</c:v>
                </c:pt>
                <c:pt idx="4012">
                  <c:v>#N/A</c:v>
                </c:pt>
                <c:pt idx="4013">
                  <c:v>#N/A</c:v>
                </c:pt>
                <c:pt idx="4014">
                  <c:v>#N/A</c:v>
                </c:pt>
                <c:pt idx="4015">
                  <c:v>#N/A</c:v>
                </c:pt>
                <c:pt idx="4016">
                  <c:v>#N/A</c:v>
                </c:pt>
                <c:pt idx="4017">
                  <c:v>#N/A</c:v>
                </c:pt>
                <c:pt idx="4018">
                  <c:v>#N/A</c:v>
                </c:pt>
                <c:pt idx="4019">
                  <c:v>#N/A</c:v>
                </c:pt>
                <c:pt idx="4020">
                  <c:v>#N/A</c:v>
                </c:pt>
                <c:pt idx="4021">
                  <c:v>#N/A</c:v>
                </c:pt>
                <c:pt idx="4022">
                  <c:v>#N/A</c:v>
                </c:pt>
                <c:pt idx="4023">
                  <c:v>#N/A</c:v>
                </c:pt>
                <c:pt idx="4024">
                  <c:v>#N/A</c:v>
                </c:pt>
                <c:pt idx="4025">
                  <c:v>#N/A</c:v>
                </c:pt>
                <c:pt idx="4026">
                  <c:v>#N/A</c:v>
                </c:pt>
                <c:pt idx="4027">
                  <c:v>#N/A</c:v>
                </c:pt>
                <c:pt idx="4028">
                  <c:v>#N/A</c:v>
                </c:pt>
                <c:pt idx="4029">
                  <c:v>#N/A</c:v>
                </c:pt>
                <c:pt idx="4030">
                  <c:v>#N/A</c:v>
                </c:pt>
                <c:pt idx="4031">
                  <c:v>#N/A</c:v>
                </c:pt>
                <c:pt idx="4032">
                  <c:v>#N/A</c:v>
                </c:pt>
                <c:pt idx="4033">
                  <c:v>#N/A</c:v>
                </c:pt>
                <c:pt idx="4034">
                  <c:v>#N/A</c:v>
                </c:pt>
                <c:pt idx="4035">
                  <c:v>#N/A</c:v>
                </c:pt>
                <c:pt idx="4036">
                  <c:v>#N/A</c:v>
                </c:pt>
                <c:pt idx="4037">
                  <c:v>#N/A</c:v>
                </c:pt>
                <c:pt idx="4038">
                  <c:v>#N/A</c:v>
                </c:pt>
                <c:pt idx="4039">
                  <c:v>#N/A</c:v>
                </c:pt>
                <c:pt idx="4040">
                  <c:v>#N/A</c:v>
                </c:pt>
                <c:pt idx="4041">
                  <c:v>#N/A</c:v>
                </c:pt>
                <c:pt idx="4042">
                  <c:v>#N/A</c:v>
                </c:pt>
                <c:pt idx="4043">
                  <c:v>#N/A</c:v>
                </c:pt>
                <c:pt idx="4044">
                  <c:v>#N/A</c:v>
                </c:pt>
                <c:pt idx="4045">
                  <c:v>#N/A</c:v>
                </c:pt>
                <c:pt idx="4046">
                  <c:v>#N/A</c:v>
                </c:pt>
                <c:pt idx="4047">
                  <c:v>#N/A</c:v>
                </c:pt>
                <c:pt idx="4048">
                  <c:v>#N/A</c:v>
                </c:pt>
                <c:pt idx="4049">
                  <c:v>#N/A</c:v>
                </c:pt>
                <c:pt idx="4050">
                  <c:v>#N/A</c:v>
                </c:pt>
                <c:pt idx="4051">
                  <c:v>#N/A</c:v>
                </c:pt>
                <c:pt idx="4052">
                  <c:v>#N/A</c:v>
                </c:pt>
                <c:pt idx="4053">
                  <c:v>#N/A</c:v>
                </c:pt>
                <c:pt idx="4054">
                  <c:v>#N/A</c:v>
                </c:pt>
                <c:pt idx="4055">
                  <c:v>#N/A</c:v>
                </c:pt>
                <c:pt idx="4056">
                  <c:v>#N/A</c:v>
                </c:pt>
                <c:pt idx="4057">
                  <c:v>#N/A</c:v>
                </c:pt>
                <c:pt idx="4058">
                  <c:v>#N/A</c:v>
                </c:pt>
                <c:pt idx="4059">
                  <c:v>#N/A</c:v>
                </c:pt>
                <c:pt idx="4060">
                  <c:v>#N/A</c:v>
                </c:pt>
                <c:pt idx="4061">
                  <c:v>#N/A</c:v>
                </c:pt>
                <c:pt idx="4062">
                  <c:v>#N/A</c:v>
                </c:pt>
                <c:pt idx="4063">
                  <c:v>#N/A</c:v>
                </c:pt>
                <c:pt idx="4064">
                  <c:v>#N/A</c:v>
                </c:pt>
                <c:pt idx="4065">
                  <c:v>#N/A</c:v>
                </c:pt>
                <c:pt idx="4066">
                  <c:v>#N/A</c:v>
                </c:pt>
                <c:pt idx="4067">
                  <c:v>#N/A</c:v>
                </c:pt>
                <c:pt idx="4068">
                  <c:v>#N/A</c:v>
                </c:pt>
                <c:pt idx="4069">
                  <c:v>#N/A</c:v>
                </c:pt>
                <c:pt idx="4070">
                  <c:v>#N/A</c:v>
                </c:pt>
                <c:pt idx="4071">
                  <c:v>#N/A</c:v>
                </c:pt>
                <c:pt idx="4072">
                  <c:v>#N/A</c:v>
                </c:pt>
                <c:pt idx="4073">
                  <c:v>#N/A</c:v>
                </c:pt>
                <c:pt idx="4074">
                  <c:v>#N/A</c:v>
                </c:pt>
                <c:pt idx="4075">
                  <c:v>#N/A</c:v>
                </c:pt>
                <c:pt idx="4076">
                  <c:v>#N/A</c:v>
                </c:pt>
                <c:pt idx="4077">
                  <c:v>#N/A</c:v>
                </c:pt>
                <c:pt idx="4078">
                  <c:v>#N/A</c:v>
                </c:pt>
                <c:pt idx="4079">
                  <c:v>#N/A</c:v>
                </c:pt>
                <c:pt idx="4080">
                  <c:v>#N/A</c:v>
                </c:pt>
                <c:pt idx="4081">
                  <c:v>#N/A</c:v>
                </c:pt>
                <c:pt idx="4082">
                  <c:v>#N/A</c:v>
                </c:pt>
                <c:pt idx="4083">
                  <c:v>#N/A</c:v>
                </c:pt>
                <c:pt idx="4084">
                  <c:v>#N/A</c:v>
                </c:pt>
                <c:pt idx="4085">
                  <c:v>#N/A</c:v>
                </c:pt>
                <c:pt idx="4086">
                  <c:v>#N/A</c:v>
                </c:pt>
                <c:pt idx="4087">
                  <c:v>#N/A</c:v>
                </c:pt>
                <c:pt idx="4088">
                  <c:v>#N/A</c:v>
                </c:pt>
                <c:pt idx="4089">
                  <c:v>#N/A</c:v>
                </c:pt>
                <c:pt idx="4090">
                  <c:v>#N/A</c:v>
                </c:pt>
                <c:pt idx="4091">
                  <c:v>#N/A</c:v>
                </c:pt>
                <c:pt idx="4092">
                  <c:v>#N/A</c:v>
                </c:pt>
                <c:pt idx="4093">
                  <c:v>#N/A</c:v>
                </c:pt>
                <c:pt idx="4094">
                  <c:v>#N/A</c:v>
                </c:pt>
                <c:pt idx="4095">
                  <c:v>#N/A</c:v>
                </c:pt>
                <c:pt idx="4096">
                  <c:v>#N/A</c:v>
                </c:pt>
                <c:pt idx="4097">
                  <c:v>#N/A</c:v>
                </c:pt>
                <c:pt idx="4098">
                  <c:v>#N/A</c:v>
                </c:pt>
                <c:pt idx="4099">
                  <c:v>1.5671232876712329</c:v>
                </c:pt>
                <c:pt idx="4100">
                  <c:v>#N/A</c:v>
                </c:pt>
                <c:pt idx="4101">
                  <c:v>#N/A</c:v>
                </c:pt>
                <c:pt idx="4102">
                  <c:v>#N/A</c:v>
                </c:pt>
                <c:pt idx="4103">
                  <c:v>#N/A</c:v>
                </c:pt>
                <c:pt idx="4104">
                  <c:v>#N/A</c:v>
                </c:pt>
                <c:pt idx="4105">
                  <c:v>#N/A</c:v>
                </c:pt>
                <c:pt idx="4106">
                  <c:v>#N/A</c:v>
                </c:pt>
                <c:pt idx="4107">
                  <c:v>#N/A</c:v>
                </c:pt>
                <c:pt idx="4108">
                  <c:v>#N/A</c:v>
                </c:pt>
                <c:pt idx="4109">
                  <c:v>#N/A</c:v>
                </c:pt>
                <c:pt idx="4110">
                  <c:v>#N/A</c:v>
                </c:pt>
                <c:pt idx="4111">
                  <c:v>#N/A</c:v>
                </c:pt>
                <c:pt idx="4112">
                  <c:v>#N/A</c:v>
                </c:pt>
                <c:pt idx="4113">
                  <c:v>#N/A</c:v>
                </c:pt>
                <c:pt idx="4114">
                  <c:v>#N/A</c:v>
                </c:pt>
                <c:pt idx="4115">
                  <c:v>#N/A</c:v>
                </c:pt>
                <c:pt idx="4116">
                  <c:v>#N/A</c:v>
                </c:pt>
                <c:pt idx="4117">
                  <c:v>#N/A</c:v>
                </c:pt>
                <c:pt idx="4118">
                  <c:v>#N/A</c:v>
                </c:pt>
                <c:pt idx="4119">
                  <c:v>#N/A</c:v>
                </c:pt>
                <c:pt idx="4120">
                  <c:v>#N/A</c:v>
                </c:pt>
                <c:pt idx="4121">
                  <c:v>#N/A</c:v>
                </c:pt>
                <c:pt idx="4122">
                  <c:v>#N/A</c:v>
                </c:pt>
                <c:pt idx="4123">
                  <c:v>#N/A</c:v>
                </c:pt>
                <c:pt idx="4124">
                  <c:v>#N/A</c:v>
                </c:pt>
                <c:pt idx="4125">
                  <c:v>#N/A</c:v>
                </c:pt>
                <c:pt idx="4126">
                  <c:v>#N/A</c:v>
                </c:pt>
                <c:pt idx="4127">
                  <c:v>#N/A</c:v>
                </c:pt>
                <c:pt idx="4128">
                  <c:v>#N/A</c:v>
                </c:pt>
                <c:pt idx="4129">
                  <c:v>#N/A</c:v>
                </c:pt>
                <c:pt idx="4130">
                  <c:v>#N/A</c:v>
                </c:pt>
                <c:pt idx="4131">
                  <c:v>#N/A</c:v>
                </c:pt>
                <c:pt idx="4132">
                  <c:v>#N/A</c:v>
                </c:pt>
                <c:pt idx="4133">
                  <c:v>#N/A</c:v>
                </c:pt>
                <c:pt idx="4134">
                  <c:v>#N/A</c:v>
                </c:pt>
                <c:pt idx="4135">
                  <c:v>#N/A</c:v>
                </c:pt>
                <c:pt idx="4136">
                  <c:v>#N/A</c:v>
                </c:pt>
                <c:pt idx="4137">
                  <c:v>#N/A</c:v>
                </c:pt>
                <c:pt idx="4138">
                  <c:v>#N/A</c:v>
                </c:pt>
                <c:pt idx="4139">
                  <c:v>#N/A</c:v>
                </c:pt>
                <c:pt idx="4140">
                  <c:v>#N/A</c:v>
                </c:pt>
                <c:pt idx="4141">
                  <c:v>#N/A</c:v>
                </c:pt>
                <c:pt idx="4142">
                  <c:v>#N/A</c:v>
                </c:pt>
                <c:pt idx="4143">
                  <c:v>#N/A</c:v>
                </c:pt>
                <c:pt idx="4144">
                  <c:v>#N/A</c:v>
                </c:pt>
                <c:pt idx="4145">
                  <c:v>#N/A</c:v>
                </c:pt>
                <c:pt idx="4146">
                  <c:v>#N/A</c:v>
                </c:pt>
                <c:pt idx="4147">
                  <c:v>#N/A</c:v>
                </c:pt>
                <c:pt idx="4148">
                  <c:v>#N/A</c:v>
                </c:pt>
                <c:pt idx="4149">
                  <c:v>#N/A</c:v>
                </c:pt>
                <c:pt idx="4150">
                  <c:v>#N/A</c:v>
                </c:pt>
                <c:pt idx="4151">
                  <c:v>#N/A</c:v>
                </c:pt>
                <c:pt idx="4152">
                  <c:v>#N/A</c:v>
                </c:pt>
                <c:pt idx="4153">
                  <c:v>#N/A</c:v>
                </c:pt>
                <c:pt idx="4154">
                  <c:v>#N/A</c:v>
                </c:pt>
                <c:pt idx="4155">
                  <c:v>#N/A</c:v>
                </c:pt>
                <c:pt idx="4156">
                  <c:v>#N/A</c:v>
                </c:pt>
                <c:pt idx="4157">
                  <c:v>#N/A</c:v>
                </c:pt>
                <c:pt idx="4158">
                  <c:v>#N/A</c:v>
                </c:pt>
                <c:pt idx="4159">
                  <c:v>#N/A</c:v>
                </c:pt>
                <c:pt idx="4160">
                  <c:v>#N/A</c:v>
                </c:pt>
                <c:pt idx="4161">
                  <c:v>#N/A</c:v>
                </c:pt>
                <c:pt idx="4162">
                  <c:v>#N/A</c:v>
                </c:pt>
                <c:pt idx="4163">
                  <c:v>#N/A</c:v>
                </c:pt>
                <c:pt idx="4164">
                  <c:v>#N/A</c:v>
                </c:pt>
                <c:pt idx="4165">
                  <c:v>#N/A</c:v>
                </c:pt>
                <c:pt idx="4166">
                  <c:v>#N/A</c:v>
                </c:pt>
                <c:pt idx="4167">
                  <c:v>#N/A</c:v>
                </c:pt>
                <c:pt idx="4168">
                  <c:v>#N/A</c:v>
                </c:pt>
                <c:pt idx="4169">
                  <c:v>#N/A</c:v>
                </c:pt>
                <c:pt idx="4170">
                  <c:v>#N/A</c:v>
                </c:pt>
                <c:pt idx="4171">
                  <c:v>#N/A</c:v>
                </c:pt>
                <c:pt idx="4172">
                  <c:v>#N/A</c:v>
                </c:pt>
                <c:pt idx="4173">
                  <c:v>#N/A</c:v>
                </c:pt>
                <c:pt idx="4174">
                  <c:v>#N/A</c:v>
                </c:pt>
                <c:pt idx="4175">
                  <c:v>#N/A</c:v>
                </c:pt>
                <c:pt idx="4176">
                  <c:v>#N/A</c:v>
                </c:pt>
                <c:pt idx="4177">
                  <c:v>#N/A</c:v>
                </c:pt>
                <c:pt idx="4178">
                  <c:v>#N/A</c:v>
                </c:pt>
                <c:pt idx="4179">
                  <c:v>#N/A</c:v>
                </c:pt>
                <c:pt idx="4180">
                  <c:v>#N/A</c:v>
                </c:pt>
                <c:pt idx="4181">
                  <c:v>#N/A</c:v>
                </c:pt>
                <c:pt idx="4182">
                  <c:v>#N/A</c:v>
                </c:pt>
                <c:pt idx="4183">
                  <c:v>#N/A</c:v>
                </c:pt>
                <c:pt idx="4184">
                  <c:v>#N/A</c:v>
                </c:pt>
                <c:pt idx="4185">
                  <c:v>#N/A</c:v>
                </c:pt>
                <c:pt idx="4186">
                  <c:v>#N/A</c:v>
                </c:pt>
                <c:pt idx="4187">
                  <c:v>#N/A</c:v>
                </c:pt>
                <c:pt idx="4188">
                  <c:v>#N/A</c:v>
                </c:pt>
                <c:pt idx="4189">
                  <c:v>#N/A</c:v>
                </c:pt>
                <c:pt idx="4190">
                  <c:v>#N/A</c:v>
                </c:pt>
                <c:pt idx="4191">
                  <c:v>#N/A</c:v>
                </c:pt>
                <c:pt idx="4192">
                  <c:v>#N/A</c:v>
                </c:pt>
                <c:pt idx="4193">
                  <c:v>#N/A</c:v>
                </c:pt>
                <c:pt idx="4194">
                  <c:v>#N/A</c:v>
                </c:pt>
                <c:pt idx="4195">
                  <c:v>#N/A</c:v>
                </c:pt>
                <c:pt idx="4196">
                  <c:v>#N/A</c:v>
                </c:pt>
                <c:pt idx="4197">
                  <c:v>#N/A</c:v>
                </c:pt>
                <c:pt idx="4198">
                  <c:v>#N/A</c:v>
                </c:pt>
                <c:pt idx="4199">
                  <c:v>#N/A</c:v>
                </c:pt>
                <c:pt idx="4200">
                  <c:v>#N/A</c:v>
                </c:pt>
                <c:pt idx="4201">
                  <c:v>#N/A</c:v>
                </c:pt>
                <c:pt idx="4202">
                  <c:v>#N/A</c:v>
                </c:pt>
                <c:pt idx="4203">
                  <c:v>#N/A</c:v>
                </c:pt>
                <c:pt idx="4204">
                  <c:v>#N/A</c:v>
                </c:pt>
                <c:pt idx="4205">
                  <c:v>#N/A</c:v>
                </c:pt>
                <c:pt idx="4206">
                  <c:v>#N/A</c:v>
                </c:pt>
                <c:pt idx="4207">
                  <c:v>#N/A</c:v>
                </c:pt>
                <c:pt idx="4208">
                  <c:v>#N/A</c:v>
                </c:pt>
                <c:pt idx="4209">
                  <c:v>#N/A</c:v>
                </c:pt>
                <c:pt idx="4210">
                  <c:v>#N/A</c:v>
                </c:pt>
                <c:pt idx="4211">
                  <c:v>#N/A</c:v>
                </c:pt>
                <c:pt idx="4212">
                  <c:v>#N/A</c:v>
                </c:pt>
                <c:pt idx="4213">
                  <c:v>#N/A</c:v>
                </c:pt>
                <c:pt idx="4214">
                  <c:v>#N/A</c:v>
                </c:pt>
                <c:pt idx="4215">
                  <c:v>#N/A</c:v>
                </c:pt>
                <c:pt idx="4216">
                  <c:v>#N/A</c:v>
                </c:pt>
                <c:pt idx="4217">
                  <c:v>#N/A</c:v>
                </c:pt>
                <c:pt idx="4218">
                  <c:v>#N/A</c:v>
                </c:pt>
                <c:pt idx="4219">
                  <c:v>#N/A</c:v>
                </c:pt>
                <c:pt idx="4220">
                  <c:v>#N/A</c:v>
                </c:pt>
                <c:pt idx="4221">
                  <c:v>#N/A</c:v>
                </c:pt>
                <c:pt idx="4222">
                  <c:v>#N/A</c:v>
                </c:pt>
                <c:pt idx="4223">
                  <c:v>#N/A</c:v>
                </c:pt>
                <c:pt idx="4224">
                  <c:v>#N/A</c:v>
                </c:pt>
                <c:pt idx="4225">
                  <c:v>#N/A</c:v>
                </c:pt>
                <c:pt idx="4226">
                  <c:v>#N/A</c:v>
                </c:pt>
                <c:pt idx="4227">
                  <c:v>#N/A</c:v>
                </c:pt>
                <c:pt idx="4228">
                  <c:v>#N/A</c:v>
                </c:pt>
                <c:pt idx="4229">
                  <c:v>#N/A</c:v>
                </c:pt>
                <c:pt idx="4230">
                  <c:v>#N/A</c:v>
                </c:pt>
                <c:pt idx="4231">
                  <c:v>#N/A</c:v>
                </c:pt>
                <c:pt idx="4232">
                  <c:v>#N/A</c:v>
                </c:pt>
                <c:pt idx="4233">
                  <c:v>#N/A</c:v>
                </c:pt>
                <c:pt idx="4234">
                  <c:v>#N/A</c:v>
                </c:pt>
                <c:pt idx="4235">
                  <c:v>#N/A</c:v>
                </c:pt>
                <c:pt idx="4236">
                  <c:v>#N/A</c:v>
                </c:pt>
                <c:pt idx="4237">
                  <c:v>#N/A</c:v>
                </c:pt>
                <c:pt idx="4238">
                  <c:v>#N/A</c:v>
                </c:pt>
                <c:pt idx="4239">
                  <c:v>#N/A</c:v>
                </c:pt>
                <c:pt idx="4240">
                  <c:v>#N/A</c:v>
                </c:pt>
                <c:pt idx="4241">
                  <c:v>#N/A</c:v>
                </c:pt>
                <c:pt idx="4242">
                  <c:v>#N/A</c:v>
                </c:pt>
                <c:pt idx="4243">
                  <c:v>#N/A</c:v>
                </c:pt>
                <c:pt idx="4244">
                  <c:v>#N/A</c:v>
                </c:pt>
                <c:pt idx="4245">
                  <c:v>#N/A</c:v>
                </c:pt>
                <c:pt idx="4246">
                  <c:v>#N/A</c:v>
                </c:pt>
                <c:pt idx="4247">
                  <c:v>#N/A</c:v>
                </c:pt>
                <c:pt idx="4248">
                  <c:v>#N/A</c:v>
                </c:pt>
                <c:pt idx="4249">
                  <c:v>#N/A</c:v>
                </c:pt>
                <c:pt idx="4250">
                  <c:v>#N/A</c:v>
                </c:pt>
                <c:pt idx="4251">
                  <c:v>#N/A</c:v>
                </c:pt>
                <c:pt idx="4252">
                  <c:v>#N/A</c:v>
                </c:pt>
                <c:pt idx="4253">
                  <c:v>#N/A</c:v>
                </c:pt>
                <c:pt idx="4254">
                  <c:v>#N/A</c:v>
                </c:pt>
                <c:pt idx="4255">
                  <c:v>#N/A</c:v>
                </c:pt>
                <c:pt idx="4256">
                  <c:v>#N/A</c:v>
                </c:pt>
                <c:pt idx="4257">
                  <c:v>#N/A</c:v>
                </c:pt>
                <c:pt idx="4258">
                  <c:v>#N/A</c:v>
                </c:pt>
                <c:pt idx="4259">
                  <c:v>#N/A</c:v>
                </c:pt>
                <c:pt idx="4260">
                  <c:v>#N/A</c:v>
                </c:pt>
                <c:pt idx="4261">
                  <c:v>#N/A</c:v>
                </c:pt>
                <c:pt idx="4262">
                  <c:v>#N/A</c:v>
                </c:pt>
                <c:pt idx="4263">
                  <c:v>#N/A</c:v>
                </c:pt>
                <c:pt idx="4264">
                  <c:v>#N/A</c:v>
                </c:pt>
                <c:pt idx="4265">
                  <c:v>#N/A</c:v>
                </c:pt>
                <c:pt idx="4266">
                  <c:v>#N/A</c:v>
                </c:pt>
                <c:pt idx="4267">
                  <c:v>#N/A</c:v>
                </c:pt>
                <c:pt idx="4268">
                  <c:v>#N/A</c:v>
                </c:pt>
                <c:pt idx="4269">
                  <c:v>#N/A</c:v>
                </c:pt>
                <c:pt idx="4270">
                  <c:v>#N/A</c:v>
                </c:pt>
                <c:pt idx="4271">
                  <c:v>#N/A</c:v>
                </c:pt>
                <c:pt idx="4272">
                  <c:v>#N/A</c:v>
                </c:pt>
                <c:pt idx="4273">
                  <c:v>#N/A</c:v>
                </c:pt>
                <c:pt idx="4274">
                  <c:v>#N/A</c:v>
                </c:pt>
                <c:pt idx="4275">
                  <c:v>#N/A</c:v>
                </c:pt>
                <c:pt idx="4276">
                  <c:v>#N/A</c:v>
                </c:pt>
                <c:pt idx="4277">
                  <c:v>#N/A</c:v>
                </c:pt>
                <c:pt idx="4278">
                  <c:v>#N/A</c:v>
                </c:pt>
                <c:pt idx="4279">
                  <c:v>#N/A</c:v>
                </c:pt>
                <c:pt idx="4280">
                  <c:v>#N/A</c:v>
                </c:pt>
                <c:pt idx="4281">
                  <c:v>#N/A</c:v>
                </c:pt>
                <c:pt idx="4282">
                  <c:v>#N/A</c:v>
                </c:pt>
                <c:pt idx="4283">
                  <c:v>#N/A</c:v>
                </c:pt>
                <c:pt idx="4284">
                  <c:v>#N/A</c:v>
                </c:pt>
                <c:pt idx="4285">
                  <c:v>#N/A</c:v>
                </c:pt>
                <c:pt idx="4286">
                  <c:v>#N/A</c:v>
                </c:pt>
                <c:pt idx="4287">
                  <c:v>#N/A</c:v>
                </c:pt>
                <c:pt idx="4288">
                  <c:v>#N/A</c:v>
                </c:pt>
                <c:pt idx="4289">
                  <c:v>#N/A</c:v>
                </c:pt>
                <c:pt idx="4290">
                  <c:v>#N/A</c:v>
                </c:pt>
                <c:pt idx="4291">
                  <c:v>#N/A</c:v>
                </c:pt>
                <c:pt idx="4292">
                  <c:v>#N/A</c:v>
                </c:pt>
                <c:pt idx="4293">
                  <c:v>#N/A</c:v>
                </c:pt>
                <c:pt idx="4294">
                  <c:v>#N/A</c:v>
                </c:pt>
                <c:pt idx="4295">
                  <c:v>#N/A</c:v>
                </c:pt>
                <c:pt idx="4296">
                  <c:v>#N/A</c:v>
                </c:pt>
                <c:pt idx="4297">
                  <c:v>#N/A</c:v>
                </c:pt>
                <c:pt idx="4298">
                  <c:v>#N/A</c:v>
                </c:pt>
                <c:pt idx="4299">
                  <c:v>#N/A</c:v>
                </c:pt>
                <c:pt idx="4300">
                  <c:v>#N/A</c:v>
                </c:pt>
                <c:pt idx="4301">
                  <c:v>#N/A</c:v>
                </c:pt>
                <c:pt idx="4302">
                  <c:v>#N/A</c:v>
                </c:pt>
                <c:pt idx="4303">
                  <c:v>#N/A</c:v>
                </c:pt>
                <c:pt idx="4304">
                  <c:v>#N/A</c:v>
                </c:pt>
                <c:pt idx="4305">
                  <c:v>#N/A</c:v>
                </c:pt>
                <c:pt idx="4306">
                  <c:v>#N/A</c:v>
                </c:pt>
                <c:pt idx="4307">
                  <c:v>#N/A</c:v>
                </c:pt>
                <c:pt idx="4308">
                  <c:v>#N/A</c:v>
                </c:pt>
                <c:pt idx="4309">
                  <c:v>#N/A</c:v>
                </c:pt>
                <c:pt idx="4310">
                  <c:v>#N/A</c:v>
                </c:pt>
                <c:pt idx="4311">
                  <c:v>#N/A</c:v>
                </c:pt>
                <c:pt idx="4312">
                  <c:v>#N/A</c:v>
                </c:pt>
                <c:pt idx="4313">
                  <c:v>#N/A</c:v>
                </c:pt>
                <c:pt idx="4314">
                  <c:v>#N/A</c:v>
                </c:pt>
                <c:pt idx="4315">
                  <c:v>#N/A</c:v>
                </c:pt>
                <c:pt idx="4316">
                  <c:v>#N/A</c:v>
                </c:pt>
                <c:pt idx="4317">
                  <c:v>#N/A</c:v>
                </c:pt>
                <c:pt idx="4318">
                  <c:v>#N/A</c:v>
                </c:pt>
                <c:pt idx="4319">
                  <c:v>#N/A</c:v>
                </c:pt>
                <c:pt idx="4320">
                  <c:v>#N/A</c:v>
                </c:pt>
                <c:pt idx="4321">
                  <c:v>#N/A</c:v>
                </c:pt>
                <c:pt idx="4322">
                  <c:v>#N/A</c:v>
                </c:pt>
                <c:pt idx="4323">
                  <c:v>#N/A</c:v>
                </c:pt>
                <c:pt idx="4324">
                  <c:v>#N/A</c:v>
                </c:pt>
                <c:pt idx="4325">
                  <c:v>#N/A</c:v>
                </c:pt>
                <c:pt idx="4326">
                  <c:v>#N/A</c:v>
                </c:pt>
                <c:pt idx="4327">
                  <c:v>#N/A</c:v>
                </c:pt>
                <c:pt idx="4328">
                  <c:v>#N/A</c:v>
                </c:pt>
                <c:pt idx="4329">
                  <c:v>#N/A</c:v>
                </c:pt>
                <c:pt idx="4330">
                  <c:v>#N/A</c:v>
                </c:pt>
                <c:pt idx="4331">
                  <c:v>#N/A</c:v>
                </c:pt>
                <c:pt idx="4332">
                  <c:v>#N/A</c:v>
                </c:pt>
                <c:pt idx="4333">
                  <c:v>#N/A</c:v>
                </c:pt>
                <c:pt idx="4334">
                  <c:v>#N/A</c:v>
                </c:pt>
                <c:pt idx="4335">
                  <c:v>#N/A</c:v>
                </c:pt>
                <c:pt idx="4336">
                  <c:v>#N/A</c:v>
                </c:pt>
                <c:pt idx="4337">
                  <c:v>#N/A</c:v>
                </c:pt>
                <c:pt idx="4338">
                  <c:v>#N/A</c:v>
                </c:pt>
                <c:pt idx="4339">
                  <c:v>#N/A</c:v>
                </c:pt>
                <c:pt idx="4340">
                  <c:v>#N/A</c:v>
                </c:pt>
                <c:pt idx="4341">
                  <c:v>#N/A</c:v>
                </c:pt>
                <c:pt idx="4342">
                  <c:v>#N/A</c:v>
                </c:pt>
                <c:pt idx="4343">
                  <c:v>#N/A</c:v>
                </c:pt>
                <c:pt idx="4344">
                  <c:v>#N/A</c:v>
                </c:pt>
                <c:pt idx="4345">
                  <c:v>#N/A</c:v>
                </c:pt>
                <c:pt idx="4346">
                  <c:v>#N/A</c:v>
                </c:pt>
                <c:pt idx="4347">
                  <c:v>#N/A</c:v>
                </c:pt>
                <c:pt idx="4348">
                  <c:v>#N/A</c:v>
                </c:pt>
                <c:pt idx="4349">
                  <c:v>#N/A</c:v>
                </c:pt>
                <c:pt idx="4350">
                  <c:v>#N/A</c:v>
                </c:pt>
                <c:pt idx="4351">
                  <c:v>#N/A</c:v>
                </c:pt>
                <c:pt idx="4352">
                  <c:v>#N/A</c:v>
                </c:pt>
                <c:pt idx="4353">
                  <c:v>#N/A</c:v>
                </c:pt>
                <c:pt idx="4354">
                  <c:v>#N/A</c:v>
                </c:pt>
                <c:pt idx="4355">
                  <c:v>#N/A</c:v>
                </c:pt>
                <c:pt idx="4356">
                  <c:v>#N/A</c:v>
                </c:pt>
                <c:pt idx="4357">
                  <c:v>#N/A</c:v>
                </c:pt>
                <c:pt idx="4358">
                  <c:v>#N/A</c:v>
                </c:pt>
                <c:pt idx="4359">
                  <c:v>#N/A</c:v>
                </c:pt>
                <c:pt idx="4360">
                  <c:v>#N/A</c:v>
                </c:pt>
                <c:pt idx="4361">
                  <c:v>#N/A</c:v>
                </c:pt>
                <c:pt idx="4362">
                  <c:v>#N/A</c:v>
                </c:pt>
                <c:pt idx="4363">
                  <c:v>#N/A</c:v>
                </c:pt>
                <c:pt idx="4364">
                  <c:v>#N/A</c:v>
                </c:pt>
                <c:pt idx="4365">
                  <c:v>#N/A</c:v>
                </c:pt>
                <c:pt idx="4366">
                  <c:v>#N/A</c:v>
                </c:pt>
                <c:pt idx="4367">
                  <c:v>#N/A</c:v>
                </c:pt>
                <c:pt idx="4368">
                  <c:v>#N/A</c:v>
                </c:pt>
                <c:pt idx="4369">
                  <c:v>#N/A</c:v>
                </c:pt>
                <c:pt idx="4370">
                  <c:v>#N/A</c:v>
                </c:pt>
                <c:pt idx="4371">
                  <c:v>#N/A</c:v>
                </c:pt>
                <c:pt idx="4372">
                  <c:v>#N/A</c:v>
                </c:pt>
                <c:pt idx="4373">
                  <c:v>#N/A</c:v>
                </c:pt>
                <c:pt idx="4374">
                  <c:v>#N/A</c:v>
                </c:pt>
                <c:pt idx="4375">
                  <c:v>#N/A</c:v>
                </c:pt>
                <c:pt idx="4376">
                  <c:v>#N/A</c:v>
                </c:pt>
                <c:pt idx="4377">
                  <c:v>#N/A</c:v>
                </c:pt>
                <c:pt idx="4378">
                  <c:v>#N/A</c:v>
                </c:pt>
                <c:pt idx="4379">
                  <c:v>#N/A</c:v>
                </c:pt>
                <c:pt idx="4380">
                  <c:v>#N/A</c:v>
                </c:pt>
                <c:pt idx="4381">
                  <c:v>#N/A</c:v>
                </c:pt>
                <c:pt idx="4382">
                  <c:v>#N/A</c:v>
                </c:pt>
                <c:pt idx="4383">
                  <c:v>#N/A</c:v>
                </c:pt>
                <c:pt idx="4384">
                  <c:v>#N/A</c:v>
                </c:pt>
                <c:pt idx="4385">
                  <c:v>#N/A</c:v>
                </c:pt>
                <c:pt idx="4386">
                  <c:v>#N/A</c:v>
                </c:pt>
                <c:pt idx="4387">
                  <c:v>#N/A</c:v>
                </c:pt>
                <c:pt idx="4388">
                  <c:v>#N/A</c:v>
                </c:pt>
                <c:pt idx="4389">
                  <c:v>#N/A</c:v>
                </c:pt>
                <c:pt idx="4390">
                  <c:v>#N/A</c:v>
                </c:pt>
                <c:pt idx="4391">
                  <c:v>#N/A</c:v>
                </c:pt>
                <c:pt idx="4392">
                  <c:v>#N/A</c:v>
                </c:pt>
                <c:pt idx="4393">
                  <c:v>#N/A</c:v>
                </c:pt>
                <c:pt idx="4394">
                  <c:v>#N/A</c:v>
                </c:pt>
                <c:pt idx="4395">
                  <c:v>#N/A</c:v>
                </c:pt>
                <c:pt idx="4396">
                  <c:v>#N/A</c:v>
                </c:pt>
                <c:pt idx="4397">
                  <c:v>#N/A</c:v>
                </c:pt>
                <c:pt idx="4398">
                  <c:v>#N/A</c:v>
                </c:pt>
                <c:pt idx="4399">
                  <c:v>#N/A</c:v>
                </c:pt>
                <c:pt idx="4400">
                  <c:v>#N/A</c:v>
                </c:pt>
                <c:pt idx="4401">
                  <c:v>#N/A</c:v>
                </c:pt>
                <c:pt idx="4402">
                  <c:v>#N/A</c:v>
                </c:pt>
                <c:pt idx="4403">
                  <c:v>#N/A</c:v>
                </c:pt>
                <c:pt idx="4404">
                  <c:v>#N/A</c:v>
                </c:pt>
                <c:pt idx="4405">
                  <c:v>#N/A</c:v>
                </c:pt>
                <c:pt idx="4406">
                  <c:v>#N/A</c:v>
                </c:pt>
                <c:pt idx="4407">
                  <c:v>#N/A</c:v>
                </c:pt>
                <c:pt idx="4408">
                  <c:v>#N/A</c:v>
                </c:pt>
                <c:pt idx="4409">
                  <c:v>#N/A</c:v>
                </c:pt>
                <c:pt idx="4410">
                  <c:v>#N/A</c:v>
                </c:pt>
                <c:pt idx="4411">
                  <c:v>#N/A</c:v>
                </c:pt>
                <c:pt idx="4412">
                  <c:v>#N/A</c:v>
                </c:pt>
                <c:pt idx="4413">
                  <c:v>#N/A</c:v>
                </c:pt>
                <c:pt idx="4414">
                  <c:v>#N/A</c:v>
                </c:pt>
                <c:pt idx="4415">
                  <c:v>#N/A</c:v>
                </c:pt>
                <c:pt idx="4416">
                  <c:v>#N/A</c:v>
                </c:pt>
                <c:pt idx="4417">
                  <c:v>#N/A</c:v>
                </c:pt>
                <c:pt idx="4418">
                  <c:v>#N/A</c:v>
                </c:pt>
                <c:pt idx="4419">
                  <c:v>#N/A</c:v>
                </c:pt>
                <c:pt idx="4420">
                  <c:v>#N/A</c:v>
                </c:pt>
                <c:pt idx="4421">
                  <c:v>#N/A</c:v>
                </c:pt>
                <c:pt idx="4422">
                  <c:v>#N/A</c:v>
                </c:pt>
                <c:pt idx="4423">
                  <c:v>#N/A</c:v>
                </c:pt>
                <c:pt idx="4424">
                  <c:v>#N/A</c:v>
                </c:pt>
                <c:pt idx="4425">
                  <c:v>#N/A</c:v>
                </c:pt>
                <c:pt idx="4426">
                  <c:v>#N/A</c:v>
                </c:pt>
                <c:pt idx="4427">
                  <c:v>#N/A</c:v>
                </c:pt>
                <c:pt idx="4428">
                  <c:v>#N/A</c:v>
                </c:pt>
                <c:pt idx="4429">
                  <c:v>#N/A</c:v>
                </c:pt>
                <c:pt idx="4430">
                  <c:v>#N/A</c:v>
                </c:pt>
                <c:pt idx="4431">
                  <c:v>#N/A</c:v>
                </c:pt>
                <c:pt idx="4432">
                  <c:v>#N/A</c:v>
                </c:pt>
                <c:pt idx="4433">
                  <c:v>#N/A</c:v>
                </c:pt>
                <c:pt idx="4434">
                  <c:v>#N/A</c:v>
                </c:pt>
                <c:pt idx="4435">
                  <c:v>#N/A</c:v>
                </c:pt>
                <c:pt idx="4436">
                  <c:v>#N/A</c:v>
                </c:pt>
                <c:pt idx="4437">
                  <c:v>#N/A</c:v>
                </c:pt>
                <c:pt idx="4438">
                  <c:v>#N/A</c:v>
                </c:pt>
                <c:pt idx="4439">
                  <c:v>#N/A</c:v>
                </c:pt>
                <c:pt idx="4440">
                  <c:v>#N/A</c:v>
                </c:pt>
                <c:pt idx="4441">
                  <c:v>#N/A</c:v>
                </c:pt>
                <c:pt idx="4442">
                  <c:v>#N/A</c:v>
                </c:pt>
                <c:pt idx="4443">
                  <c:v>#N/A</c:v>
                </c:pt>
                <c:pt idx="4444">
                  <c:v>#N/A</c:v>
                </c:pt>
                <c:pt idx="4445">
                  <c:v>#N/A</c:v>
                </c:pt>
                <c:pt idx="4446">
                  <c:v>#N/A</c:v>
                </c:pt>
                <c:pt idx="4447">
                  <c:v>#N/A</c:v>
                </c:pt>
                <c:pt idx="4448">
                  <c:v>#N/A</c:v>
                </c:pt>
                <c:pt idx="4449">
                  <c:v>#N/A</c:v>
                </c:pt>
                <c:pt idx="4450">
                  <c:v>#N/A</c:v>
                </c:pt>
                <c:pt idx="4451">
                  <c:v>#N/A</c:v>
                </c:pt>
                <c:pt idx="4452">
                  <c:v>#N/A</c:v>
                </c:pt>
                <c:pt idx="4453">
                  <c:v>#N/A</c:v>
                </c:pt>
                <c:pt idx="4454">
                  <c:v>#N/A</c:v>
                </c:pt>
                <c:pt idx="4455">
                  <c:v>#N/A</c:v>
                </c:pt>
                <c:pt idx="4456">
                  <c:v>#N/A</c:v>
                </c:pt>
                <c:pt idx="4457">
                  <c:v>#N/A</c:v>
                </c:pt>
                <c:pt idx="4458">
                  <c:v>#N/A</c:v>
                </c:pt>
                <c:pt idx="4459">
                  <c:v>#N/A</c:v>
                </c:pt>
                <c:pt idx="4460">
                  <c:v>#N/A</c:v>
                </c:pt>
                <c:pt idx="4461">
                  <c:v>#N/A</c:v>
                </c:pt>
                <c:pt idx="4462">
                  <c:v>#N/A</c:v>
                </c:pt>
                <c:pt idx="4463">
                  <c:v>#N/A</c:v>
                </c:pt>
                <c:pt idx="4464">
                  <c:v>#N/A</c:v>
                </c:pt>
                <c:pt idx="4465">
                  <c:v>#N/A</c:v>
                </c:pt>
                <c:pt idx="4466">
                  <c:v>#N/A</c:v>
                </c:pt>
                <c:pt idx="4467">
                  <c:v>#N/A</c:v>
                </c:pt>
                <c:pt idx="4468">
                  <c:v>#N/A</c:v>
                </c:pt>
                <c:pt idx="4469">
                  <c:v>#N/A</c:v>
                </c:pt>
                <c:pt idx="4470">
                  <c:v>#N/A</c:v>
                </c:pt>
                <c:pt idx="4471">
                  <c:v>#N/A</c:v>
                </c:pt>
                <c:pt idx="4472">
                  <c:v>#N/A</c:v>
                </c:pt>
                <c:pt idx="4473">
                  <c:v>#N/A</c:v>
                </c:pt>
                <c:pt idx="4474">
                  <c:v>#N/A</c:v>
                </c:pt>
                <c:pt idx="4475">
                  <c:v>#N/A</c:v>
                </c:pt>
                <c:pt idx="4476">
                  <c:v>#N/A</c:v>
                </c:pt>
                <c:pt idx="4477">
                  <c:v>#N/A</c:v>
                </c:pt>
                <c:pt idx="4478">
                  <c:v>#N/A</c:v>
                </c:pt>
                <c:pt idx="4479">
                  <c:v>#N/A</c:v>
                </c:pt>
                <c:pt idx="4480">
                  <c:v>#N/A</c:v>
                </c:pt>
                <c:pt idx="4481">
                  <c:v>#N/A</c:v>
                </c:pt>
                <c:pt idx="4482">
                  <c:v>#N/A</c:v>
                </c:pt>
                <c:pt idx="4483">
                  <c:v>#N/A</c:v>
                </c:pt>
                <c:pt idx="4484">
                  <c:v>#N/A</c:v>
                </c:pt>
                <c:pt idx="4485">
                  <c:v>#N/A</c:v>
                </c:pt>
                <c:pt idx="4486">
                  <c:v>#N/A</c:v>
                </c:pt>
                <c:pt idx="4487">
                  <c:v>#N/A</c:v>
                </c:pt>
                <c:pt idx="4488">
                  <c:v>#N/A</c:v>
                </c:pt>
                <c:pt idx="4489">
                  <c:v>#N/A</c:v>
                </c:pt>
                <c:pt idx="4490">
                  <c:v>#N/A</c:v>
                </c:pt>
                <c:pt idx="4491">
                  <c:v>#N/A</c:v>
                </c:pt>
                <c:pt idx="4492">
                  <c:v>#N/A</c:v>
                </c:pt>
                <c:pt idx="4493">
                  <c:v>#N/A</c:v>
                </c:pt>
                <c:pt idx="4494">
                  <c:v>#N/A</c:v>
                </c:pt>
                <c:pt idx="4495">
                  <c:v>#N/A</c:v>
                </c:pt>
                <c:pt idx="4496">
                  <c:v>#N/A</c:v>
                </c:pt>
                <c:pt idx="4497">
                  <c:v>#N/A</c:v>
                </c:pt>
                <c:pt idx="4498">
                  <c:v>#N/A</c:v>
                </c:pt>
                <c:pt idx="4499">
                  <c:v>#N/A</c:v>
                </c:pt>
                <c:pt idx="4500">
                  <c:v>#N/A</c:v>
                </c:pt>
                <c:pt idx="4501">
                  <c:v>#N/A</c:v>
                </c:pt>
                <c:pt idx="4502">
                  <c:v>#N/A</c:v>
                </c:pt>
                <c:pt idx="4503">
                  <c:v>#N/A</c:v>
                </c:pt>
                <c:pt idx="4504">
                  <c:v>#N/A</c:v>
                </c:pt>
                <c:pt idx="4505">
                  <c:v>#N/A</c:v>
                </c:pt>
                <c:pt idx="4506">
                  <c:v>#N/A</c:v>
                </c:pt>
                <c:pt idx="4507">
                  <c:v>#N/A</c:v>
                </c:pt>
                <c:pt idx="4508">
                  <c:v>#N/A</c:v>
                </c:pt>
                <c:pt idx="4509">
                  <c:v>#N/A</c:v>
                </c:pt>
                <c:pt idx="4510">
                  <c:v>#N/A</c:v>
                </c:pt>
                <c:pt idx="4511">
                  <c:v>#N/A</c:v>
                </c:pt>
                <c:pt idx="4512">
                  <c:v>#N/A</c:v>
                </c:pt>
                <c:pt idx="4513">
                  <c:v>#N/A</c:v>
                </c:pt>
                <c:pt idx="4514">
                  <c:v>#N/A</c:v>
                </c:pt>
                <c:pt idx="4515">
                  <c:v>#N/A</c:v>
                </c:pt>
                <c:pt idx="4516">
                  <c:v>#N/A</c:v>
                </c:pt>
                <c:pt idx="4517">
                  <c:v>#N/A</c:v>
                </c:pt>
                <c:pt idx="4518">
                  <c:v>#N/A</c:v>
                </c:pt>
                <c:pt idx="4519">
                  <c:v>#N/A</c:v>
                </c:pt>
                <c:pt idx="4520">
                  <c:v>#N/A</c:v>
                </c:pt>
                <c:pt idx="4521">
                  <c:v>#N/A</c:v>
                </c:pt>
                <c:pt idx="4522">
                  <c:v>#N/A</c:v>
                </c:pt>
                <c:pt idx="4523">
                  <c:v>#N/A</c:v>
                </c:pt>
                <c:pt idx="4524">
                  <c:v>#N/A</c:v>
                </c:pt>
                <c:pt idx="4525">
                  <c:v>#N/A</c:v>
                </c:pt>
                <c:pt idx="4526">
                  <c:v>#N/A</c:v>
                </c:pt>
                <c:pt idx="4527">
                  <c:v>#N/A</c:v>
                </c:pt>
                <c:pt idx="4528">
                  <c:v>#N/A</c:v>
                </c:pt>
                <c:pt idx="4529">
                  <c:v>#N/A</c:v>
                </c:pt>
                <c:pt idx="4530">
                  <c:v>#N/A</c:v>
                </c:pt>
                <c:pt idx="4531">
                  <c:v>#N/A</c:v>
                </c:pt>
                <c:pt idx="4532">
                  <c:v>#N/A</c:v>
                </c:pt>
                <c:pt idx="4533">
                  <c:v>#N/A</c:v>
                </c:pt>
                <c:pt idx="4534">
                  <c:v>#N/A</c:v>
                </c:pt>
                <c:pt idx="4535">
                  <c:v>#N/A</c:v>
                </c:pt>
                <c:pt idx="4536">
                  <c:v>#N/A</c:v>
                </c:pt>
                <c:pt idx="4537">
                  <c:v>#N/A</c:v>
                </c:pt>
                <c:pt idx="4538">
                  <c:v>#N/A</c:v>
                </c:pt>
                <c:pt idx="4539">
                  <c:v>#N/A</c:v>
                </c:pt>
                <c:pt idx="4540">
                  <c:v>#N/A</c:v>
                </c:pt>
                <c:pt idx="4541">
                  <c:v>#N/A</c:v>
                </c:pt>
                <c:pt idx="4542">
                  <c:v>#N/A</c:v>
                </c:pt>
                <c:pt idx="4543">
                  <c:v>#N/A</c:v>
                </c:pt>
                <c:pt idx="4544">
                  <c:v>#N/A</c:v>
                </c:pt>
                <c:pt idx="4545">
                  <c:v>#N/A</c:v>
                </c:pt>
                <c:pt idx="4546">
                  <c:v>#N/A</c:v>
                </c:pt>
                <c:pt idx="4547">
                  <c:v>#N/A</c:v>
                </c:pt>
                <c:pt idx="4548">
                  <c:v>#N/A</c:v>
                </c:pt>
                <c:pt idx="4549">
                  <c:v>#N/A</c:v>
                </c:pt>
                <c:pt idx="4550">
                  <c:v>#N/A</c:v>
                </c:pt>
                <c:pt idx="4551">
                  <c:v>#N/A</c:v>
                </c:pt>
                <c:pt idx="4552">
                  <c:v>#N/A</c:v>
                </c:pt>
                <c:pt idx="4553">
                  <c:v>#N/A</c:v>
                </c:pt>
                <c:pt idx="4554">
                  <c:v>#N/A</c:v>
                </c:pt>
                <c:pt idx="4555">
                  <c:v>#N/A</c:v>
                </c:pt>
                <c:pt idx="4556">
                  <c:v>#N/A</c:v>
                </c:pt>
                <c:pt idx="4557">
                  <c:v>#N/A</c:v>
                </c:pt>
                <c:pt idx="4558">
                  <c:v>#N/A</c:v>
                </c:pt>
                <c:pt idx="4559">
                  <c:v>#N/A</c:v>
                </c:pt>
                <c:pt idx="4560">
                  <c:v>#N/A</c:v>
                </c:pt>
                <c:pt idx="4561">
                  <c:v>#N/A</c:v>
                </c:pt>
                <c:pt idx="4562">
                  <c:v>#N/A</c:v>
                </c:pt>
                <c:pt idx="4563">
                  <c:v>#N/A</c:v>
                </c:pt>
                <c:pt idx="4564">
                  <c:v>#N/A</c:v>
                </c:pt>
                <c:pt idx="4565">
                  <c:v>#N/A</c:v>
                </c:pt>
                <c:pt idx="4566">
                  <c:v>#N/A</c:v>
                </c:pt>
                <c:pt idx="4567">
                  <c:v>#N/A</c:v>
                </c:pt>
                <c:pt idx="4568">
                  <c:v>#N/A</c:v>
                </c:pt>
                <c:pt idx="4569">
                  <c:v>#N/A</c:v>
                </c:pt>
                <c:pt idx="4570">
                  <c:v>#N/A</c:v>
                </c:pt>
                <c:pt idx="4571">
                  <c:v>#N/A</c:v>
                </c:pt>
                <c:pt idx="4572">
                  <c:v>#N/A</c:v>
                </c:pt>
                <c:pt idx="4573">
                  <c:v>#N/A</c:v>
                </c:pt>
                <c:pt idx="4574">
                  <c:v>#N/A</c:v>
                </c:pt>
                <c:pt idx="4575">
                  <c:v>#N/A</c:v>
                </c:pt>
                <c:pt idx="4576">
                  <c:v>#N/A</c:v>
                </c:pt>
                <c:pt idx="4577">
                  <c:v>#N/A</c:v>
                </c:pt>
                <c:pt idx="4578">
                  <c:v>#N/A</c:v>
                </c:pt>
                <c:pt idx="4579">
                  <c:v>#N/A</c:v>
                </c:pt>
                <c:pt idx="4580">
                  <c:v>#N/A</c:v>
                </c:pt>
                <c:pt idx="4581">
                  <c:v>#N/A</c:v>
                </c:pt>
                <c:pt idx="4582">
                  <c:v>#N/A</c:v>
                </c:pt>
                <c:pt idx="4583">
                  <c:v>#N/A</c:v>
                </c:pt>
                <c:pt idx="4584">
                  <c:v>#N/A</c:v>
                </c:pt>
                <c:pt idx="4585">
                  <c:v>#N/A</c:v>
                </c:pt>
                <c:pt idx="4586">
                  <c:v>#N/A</c:v>
                </c:pt>
                <c:pt idx="4587">
                  <c:v>#N/A</c:v>
                </c:pt>
                <c:pt idx="4588">
                  <c:v>#N/A</c:v>
                </c:pt>
                <c:pt idx="4589">
                  <c:v>#N/A</c:v>
                </c:pt>
                <c:pt idx="4590">
                  <c:v>#N/A</c:v>
                </c:pt>
                <c:pt idx="4591">
                  <c:v>#N/A</c:v>
                </c:pt>
                <c:pt idx="4592">
                  <c:v>#N/A</c:v>
                </c:pt>
                <c:pt idx="4593">
                  <c:v>#N/A</c:v>
                </c:pt>
                <c:pt idx="4594">
                  <c:v>#N/A</c:v>
                </c:pt>
                <c:pt idx="4595">
                  <c:v>#N/A</c:v>
                </c:pt>
                <c:pt idx="4596">
                  <c:v>#N/A</c:v>
                </c:pt>
                <c:pt idx="4597">
                  <c:v>#N/A</c:v>
                </c:pt>
                <c:pt idx="4598">
                  <c:v>#N/A</c:v>
                </c:pt>
                <c:pt idx="4599">
                  <c:v>#N/A</c:v>
                </c:pt>
                <c:pt idx="4600">
                  <c:v>#N/A</c:v>
                </c:pt>
                <c:pt idx="4601">
                  <c:v>#N/A</c:v>
                </c:pt>
                <c:pt idx="4602">
                  <c:v>#N/A</c:v>
                </c:pt>
                <c:pt idx="4603">
                  <c:v>#N/A</c:v>
                </c:pt>
                <c:pt idx="4604">
                  <c:v>#N/A</c:v>
                </c:pt>
                <c:pt idx="4605">
                  <c:v>#N/A</c:v>
                </c:pt>
                <c:pt idx="4606">
                  <c:v>#N/A</c:v>
                </c:pt>
                <c:pt idx="4607">
                  <c:v>#N/A</c:v>
                </c:pt>
                <c:pt idx="4608">
                  <c:v>#N/A</c:v>
                </c:pt>
                <c:pt idx="4609">
                  <c:v>#N/A</c:v>
                </c:pt>
                <c:pt idx="4610">
                  <c:v>#N/A</c:v>
                </c:pt>
                <c:pt idx="4611">
                  <c:v>#N/A</c:v>
                </c:pt>
                <c:pt idx="4612">
                  <c:v>#N/A</c:v>
                </c:pt>
                <c:pt idx="4613">
                  <c:v>#N/A</c:v>
                </c:pt>
                <c:pt idx="4614">
                  <c:v>#N/A</c:v>
                </c:pt>
                <c:pt idx="4615">
                  <c:v>#N/A</c:v>
                </c:pt>
                <c:pt idx="4616">
                  <c:v>#N/A</c:v>
                </c:pt>
                <c:pt idx="4617">
                  <c:v>#N/A</c:v>
                </c:pt>
                <c:pt idx="4618">
                  <c:v>#N/A</c:v>
                </c:pt>
                <c:pt idx="4619">
                  <c:v>#N/A</c:v>
                </c:pt>
                <c:pt idx="4620">
                  <c:v>#N/A</c:v>
                </c:pt>
                <c:pt idx="4621">
                  <c:v>#N/A</c:v>
                </c:pt>
                <c:pt idx="4622">
                  <c:v>#N/A</c:v>
                </c:pt>
                <c:pt idx="4623">
                  <c:v>1.821917808219178</c:v>
                </c:pt>
                <c:pt idx="4624">
                  <c:v>#N/A</c:v>
                </c:pt>
                <c:pt idx="4625">
                  <c:v>#N/A</c:v>
                </c:pt>
                <c:pt idx="4626">
                  <c:v>#N/A</c:v>
                </c:pt>
                <c:pt idx="4627">
                  <c:v>#N/A</c:v>
                </c:pt>
                <c:pt idx="4628">
                  <c:v>#N/A</c:v>
                </c:pt>
                <c:pt idx="4629">
                  <c:v>#N/A</c:v>
                </c:pt>
                <c:pt idx="4630">
                  <c:v>#N/A</c:v>
                </c:pt>
                <c:pt idx="4631">
                  <c:v>#N/A</c:v>
                </c:pt>
                <c:pt idx="4632">
                  <c:v>#N/A</c:v>
                </c:pt>
                <c:pt idx="4633">
                  <c:v>#N/A</c:v>
                </c:pt>
                <c:pt idx="4634">
                  <c:v>#N/A</c:v>
                </c:pt>
                <c:pt idx="4635">
                  <c:v>#N/A</c:v>
                </c:pt>
                <c:pt idx="4636">
                  <c:v>#N/A</c:v>
                </c:pt>
                <c:pt idx="4637">
                  <c:v>#N/A</c:v>
                </c:pt>
                <c:pt idx="4638">
                  <c:v>#N/A</c:v>
                </c:pt>
                <c:pt idx="4639">
                  <c:v>#N/A</c:v>
                </c:pt>
                <c:pt idx="4640">
                  <c:v>#N/A</c:v>
                </c:pt>
                <c:pt idx="4641">
                  <c:v>#N/A</c:v>
                </c:pt>
                <c:pt idx="4642">
                  <c:v>#N/A</c:v>
                </c:pt>
                <c:pt idx="4643">
                  <c:v>#N/A</c:v>
                </c:pt>
                <c:pt idx="4644">
                  <c:v>#N/A</c:v>
                </c:pt>
                <c:pt idx="4645">
                  <c:v>#N/A</c:v>
                </c:pt>
                <c:pt idx="4646">
                  <c:v>#N/A</c:v>
                </c:pt>
                <c:pt idx="4647">
                  <c:v>#N/A</c:v>
                </c:pt>
                <c:pt idx="4648">
                  <c:v>#N/A</c:v>
                </c:pt>
                <c:pt idx="4649">
                  <c:v>#N/A</c:v>
                </c:pt>
                <c:pt idx="4650">
                  <c:v>#N/A</c:v>
                </c:pt>
                <c:pt idx="4651">
                  <c:v>#N/A</c:v>
                </c:pt>
                <c:pt idx="4652">
                  <c:v>#N/A</c:v>
                </c:pt>
                <c:pt idx="4653">
                  <c:v>#N/A</c:v>
                </c:pt>
                <c:pt idx="4654">
                  <c:v>#N/A</c:v>
                </c:pt>
                <c:pt idx="4655">
                  <c:v>#N/A</c:v>
                </c:pt>
                <c:pt idx="4656">
                  <c:v>#N/A</c:v>
                </c:pt>
                <c:pt idx="4657">
                  <c:v>#N/A</c:v>
                </c:pt>
                <c:pt idx="4658">
                  <c:v>#N/A</c:v>
                </c:pt>
                <c:pt idx="4659">
                  <c:v>#N/A</c:v>
                </c:pt>
                <c:pt idx="4660">
                  <c:v>#N/A</c:v>
                </c:pt>
                <c:pt idx="4661">
                  <c:v>#N/A</c:v>
                </c:pt>
                <c:pt idx="4662">
                  <c:v>#N/A</c:v>
                </c:pt>
                <c:pt idx="4663">
                  <c:v>#N/A</c:v>
                </c:pt>
                <c:pt idx="4664">
                  <c:v>#N/A</c:v>
                </c:pt>
                <c:pt idx="4665">
                  <c:v>#N/A</c:v>
                </c:pt>
                <c:pt idx="4666">
                  <c:v>#N/A</c:v>
                </c:pt>
                <c:pt idx="4667">
                  <c:v>#N/A</c:v>
                </c:pt>
                <c:pt idx="4668">
                  <c:v>#N/A</c:v>
                </c:pt>
                <c:pt idx="4669">
                  <c:v>#N/A</c:v>
                </c:pt>
                <c:pt idx="4670">
                  <c:v>#N/A</c:v>
                </c:pt>
                <c:pt idx="4671">
                  <c:v>#N/A</c:v>
                </c:pt>
                <c:pt idx="4672">
                  <c:v>#N/A</c:v>
                </c:pt>
                <c:pt idx="4673">
                  <c:v>#N/A</c:v>
                </c:pt>
                <c:pt idx="4674">
                  <c:v>#N/A</c:v>
                </c:pt>
                <c:pt idx="4675">
                  <c:v>#N/A</c:v>
                </c:pt>
                <c:pt idx="4676">
                  <c:v>#N/A</c:v>
                </c:pt>
                <c:pt idx="4677">
                  <c:v>#N/A</c:v>
                </c:pt>
                <c:pt idx="4678">
                  <c:v>#N/A</c:v>
                </c:pt>
                <c:pt idx="4679">
                  <c:v>#N/A</c:v>
                </c:pt>
                <c:pt idx="4680">
                  <c:v>#N/A</c:v>
                </c:pt>
                <c:pt idx="4681">
                  <c:v>#N/A</c:v>
                </c:pt>
                <c:pt idx="4682">
                  <c:v>#N/A</c:v>
                </c:pt>
                <c:pt idx="4683">
                  <c:v>#N/A</c:v>
                </c:pt>
                <c:pt idx="4684">
                  <c:v>#N/A</c:v>
                </c:pt>
                <c:pt idx="4685">
                  <c:v>1.8739726027397261</c:v>
                </c:pt>
                <c:pt idx="4686">
                  <c:v>#N/A</c:v>
                </c:pt>
                <c:pt idx="4687">
                  <c:v>#N/A</c:v>
                </c:pt>
                <c:pt idx="4688">
                  <c:v>#N/A</c:v>
                </c:pt>
                <c:pt idx="4689">
                  <c:v>#N/A</c:v>
                </c:pt>
                <c:pt idx="4690">
                  <c:v>#N/A</c:v>
                </c:pt>
                <c:pt idx="4691">
                  <c:v>#N/A</c:v>
                </c:pt>
                <c:pt idx="4692">
                  <c:v>#N/A</c:v>
                </c:pt>
                <c:pt idx="4693">
                  <c:v>#N/A</c:v>
                </c:pt>
                <c:pt idx="4694">
                  <c:v>#N/A</c:v>
                </c:pt>
                <c:pt idx="4695">
                  <c:v>#N/A</c:v>
                </c:pt>
                <c:pt idx="4696">
                  <c:v>#N/A</c:v>
                </c:pt>
                <c:pt idx="4697">
                  <c:v>#N/A</c:v>
                </c:pt>
                <c:pt idx="4698">
                  <c:v>#N/A</c:v>
                </c:pt>
                <c:pt idx="4699">
                  <c:v>#N/A</c:v>
                </c:pt>
                <c:pt idx="4700">
                  <c:v>#N/A</c:v>
                </c:pt>
                <c:pt idx="4701">
                  <c:v>#N/A</c:v>
                </c:pt>
                <c:pt idx="4702">
                  <c:v>#N/A</c:v>
                </c:pt>
                <c:pt idx="4703">
                  <c:v>#N/A</c:v>
                </c:pt>
                <c:pt idx="4704">
                  <c:v>#N/A</c:v>
                </c:pt>
                <c:pt idx="4705">
                  <c:v>#N/A</c:v>
                </c:pt>
                <c:pt idx="4706">
                  <c:v>#N/A</c:v>
                </c:pt>
                <c:pt idx="4707">
                  <c:v>#N/A</c:v>
                </c:pt>
                <c:pt idx="4708">
                  <c:v>#N/A</c:v>
                </c:pt>
                <c:pt idx="4709">
                  <c:v>#N/A</c:v>
                </c:pt>
                <c:pt idx="4710">
                  <c:v>#N/A</c:v>
                </c:pt>
                <c:pt idx="4711">
                  <c:v>#N/A</c:v>
                </c:pt>
                <c:pt idx="4712">
                  <c:v>#N/A</c:v>
                </c:pt>
                <c:pt idx="4713">
                  <c:v>#N/A</c:v>
                </c:pt>
                <c:pt idx="4714">
                  <c:v>#N/A</c:v>
                </c:pt>
                <c:pt idx="4715">
                  <c:v>#N/A</c:v>
                </c:pt>
                <c:pt idx="4716">
                  <c:v>#N/A</c:v>
                </c:pt>
                <c:pt idx="4717">
                  <c:v>#N/A</c:v>
                </c:pt>
                <c:pt idx="4718">
                  <c:v>#N/A</c:v>
                </c:pt>
                <c:pt idx="4719">
                  <c:v>#N/A</c:v>
                </c:pt>
                <c:pt idx="4720">
                  <c:v>#N/A</c:v>
                </c:pt>
                <c:pt idx="4721">
                  <c:v>#N/A</c:v>
                </c:pt>
                <c:pt idx="4722">
                  <c:v>#N/A</c:v>
                </c:pt>
                <c:pt idx="4723">
                  <c:v>#N/A</c:v>
                </c:pt>
                <c:pt idx="4724">
                  <c:v>#N/A</c:v>
                </c:pt>
                <c:pt idx="4725">
                  <c:v>#N/A</c:v>
                </c:pt>
                <c:pt idx="4726">
                  <c:v>#N/A</c:v>
                </c:pt>
                <c:pt idx="4727">
                  <c:v>#N/A</c:v>
                </c:pt>
                <c:pt idx="4728">
                  <c:v>#N/A</c:v>
                </c:pt>
                <c:pt idx="4729">
                  <c:v>#N/A</c:v>
                </c:pt>
                <c:pt idx="4730">
                  <c:v>#N/A</c:v>
                </c:pt>
                <c:pt idx="4731">
                  <c:v>#N/A</c:v>
                </c:pt>
                <c:pt idx="4732">
                  <c:v>#N/A</c:v>
                </c:pt>
                <c:pt idx="4733">
                  <c:v>#N/A</c:v>
                </c:pt>
                <c:pt idx="4734">
                  <c:v>#N/A</c:v>
                </c:pt>
                <c:pt idx="4735">
                  <c:v>#N/A</c:v>
                </c:pt>
                <c:pt idx="4736">
                  <c:v>#N/A</c:v>
                </c:pt>
                <c:pt idx="4737">
                  <c:v>#N/A</c:v>
                </c:pt>
                <c:pt idx="4738">
                  <c:v>#N/A</c:v>
                </c:pt>
                <c:pt idx="4739">
                  <c:v>#N/A</c:v>
                </c:pt>
                <c:pt idx="4740">
                  <c:v>#N/A</c:v>
                </c:pt>
                <c:pt idx="4741">
                  <c:v>#N/A</c:v>
                </c:pt>
                <c:pt idx="4742">
                  <c:v>#N/A</c:v>
                </c:pt>
                <c:pt idx="4743">
                  <c:v>#N/A</c:v>
                </c:pt>
                <c:pt idx="4744">
                  <c:v>#N/A</c:v>
                </c:pt>
                <c:pt idx="4745">
                  <c:v>#N/A</c:v>
                </c:pt>
                <c:pt idx="4746">
                  <c:v>#N/A</c:v>
                </c:pt>
                <c:pt idx="4747">
                  <c:v>#N/A</c:v>
                </c:pt>
                <c:pt idx="4748">
                  <c:v>#N/A</c:v>
                </c:pt>
                <c:pt idx="4749">
                  <c:v>#N/A</c:v>
                </c:pt>
                <c:pt idx="4750">
                  <c:v>#N/A</c:v>
                </c:pt>
                <c:pt idx="4751">
                  <c:v>#N/A</c:v>
                </c:pt>
                <c:pt idx="4752">
                  <c:v>#N/A</c:v>
                </c:pt>
                <c:pt idx="4753">
                  <c:v>#N/A</c:v>
                </c:pt>
                <c:pt idx="4754">
                  <c:v>#N/A</c:v>
                </c:pt>
                <c:pt idx="4755">
                  <c:v>#N/A</c:v>
                </c:pt>
                <c:pt idx="4756">
                  <c:v>#N/A</c:v>
                </c:pt>
                <c:pt idx="4757">
                  <c:v>#N/A</c:v>
                </c:pt>
                <c:pt idx="4758">
                  <c:v>#N/A</c:v>
                </c:pt>
                <c:pt idx="4759">
                  <c:v>#N/A</c:v>
                </c:pt>
                <c:pt idx="4760">
                  <c:v>#N/A</c:v>
                </c:pt>
                <c:pt idx="4761">
                  <c:v>#N/A</c:v>
                </c:pt>
                <c:pt idx="4762">
                  <c:v>#N/A</c:v>
                </c:pt>
                <c:pt idx="4763">
                  <c:v>#N/A</c:v>
                </c:pt>
                <c:pt idx="4764">
                  <c:v>#N/A</c:v>
                </c:pt>
                <c:pt idx="4765">
                  <c:v>#N/A</c:v>
                </c:pt>
                <c:pt idx="4766">
                  <c:v>#N/A</c:v>
                </c:pt>
                <c:pt idx="4767">
                  <c:v>#N/A</c:v>
                </c:pt>
                <c:pt idx="4768">
                  <c:v>#N/A</c:v>
                </c:pt>
                <c:pt idx="4769">
                  <c:v>#N/A</c:v>
                </c:pt>
                <c:pt idx="4770">
                  <c:v>#N/A</c:v>
                </c:pt>
                <c:pt idx="4771">
                  <c:v>#N/A</c:v>
                </c:pt>
                <c:pt idx="4772">
                  <c:v>#N/A</c:v>
                </c:pt>
                <c:pt idx="4773">
                  <c:v>#N/A</c:v>
                </c:pt>
                <c:pt idx="4774">
                  <c:v>#N/A</c:v>
                </c:pt>
                <c:pt idx="4775">
                  <c:v>#N/A</c:v>
                </c:pt>
                <c:pt idx="4776">
                  <c:v>#N/A</c:v>
                </c:pt>
                <c:pt idx="4777">
                  <c:v>#N/A</c:v>
                </c:pt>
                <c:pt idx="4778">
                  <c:v>#N/A</c:v>
                </c:pt>
                <c:pt idx="4779">
                  <c:v>#N/A</c:v>
                </c:pt>
                <c:pt idx="4780">
                  <c:v>#N/A</c:v>
                </c:pt>
                <c:pt idx="4781">
                  <c:v>#N/A</c:v>
                </c:pt>
                <c:pt idx="4782">
                  <c:v>#N/A</c:v>
                </c:pt>
                <c:pt idx="4783">
                  <c:v>#N/A</c:v>
                </c:pt>
                <c:pt idx="4784">
                  <c:v>#N/A</c:v>
                </c:pt>
                <c:pt idx="4785">
                  <c:v>#N/A</c:v>
                </c:pt>
                <c:pt idx="4786">
                  <c:v>#N/A</c:v>
                </c:pt>
                <c:pt idx="4787">
                  <c:v>#N/A</c:v>
                </c:pt>
                <c:pt idx="4788">
                  <c:v>#N/A</c:v>
                </c:pt>
                <c:pt idx="4789">
                  <c:v>#N/A</c:v>
                </c:pt>
                <c:pt idx="4790">
                  <c:v>#N/A</c:v>
                </c:pt>
                <c:pt idx="4791">
                  <c:v>#N/A</c:v>
                </c:pt>
                <c:pt idx="4792">
                  <c:v>#N/A</c:v>
                </c:pt>
                <c:pt idx="4793">
                  <c:v>#N/A</c:v>
                </c:pt>
                <c:pt idx="4794">
                  <c:v>#N/A</c:v>
                </c:pt>
                <c:pt idx="4795">
                  <c:v>#N/A</c:v>
                </c:pt>
                <c:pt idx="4796">
                  <c:v>#N/A</c:v>
                </c:pt>
                <c:pt idx="4797">
                  <c:v>#N/A</c:v>
                </c:pt>
                <c:pt idx="4798">
                  <c:v>#N/A</c:v>
                </c:pt>
                <c:pt idx="4799">
                  <c:v>#N/A</c:v>
                </c:pt>
                <c:pt idx="4800">
                  <c:v>#N/A</c:v>
                </c:pt>
                <c:pt idx="4801">
                  <c:v>#N/A</c:v>
                </c:pt>
                <c:pt idx="4802">
                  <c:v>#N/A</c:v>
                </c:pt>
                <c:pt idx="4803">
                  <c:v>#N/A</c:v>
                </c:pt>
                <c:pt idx="4804">
                  <c:v>#N/A</c:v>
                </c:pt>
                <c:pt idx="4805">
                  <c:v>#N/A</c:v>
                </c:pt>
                <c:pt idx="4806">
                  <c:v>#N/A</c:v>
                </c:pt>
                <c:pt idx="4807">
                  <c:v>#N/A</c:v>
                </c:pt>
                <c:pt idx="4808">
                  <c:v>#N/A</c:v>
                </c:pt>
                <c:pt idx="4809">
                  <c:v>#N/A</c:v>
                </c:pt>
                <c:pt idx="4810">
                  <c:v>#N/A</c:v>
                </c:pt>
                <c:pt idx="4811">
                  <c:v>#N/A</c:v>
                </c:pt>
                <c:pt idx="4812">
                  <c:v>#N/A</c:v>
                </c:pt>
                <c:pt idx="4813">
                  <c:v>#N/A</c:v>
                </c:pt>
                <c:pt idx="4814">
                  <c:v>#N/A</c:v>
                </c:pt>
                <c:pt idx="4815">
                  <c:v>#N/A</c:v>
                </c:pt>
                <c:pt idx="4816">
                  <c:v>#N/A</c:v>
                </c:pt>
                <c:pt idx="4817">
                  <c:v>#N/A</c:v>
                </c:pt>
                <c:pt idx="4818">
                  <c:v>#N/A</c:v>
                </c:pt>
                <c:pt idx="4819">
                  <c:v>#N/A</c:v>
                </c:pt>
                <c:pt idx="4820">
                  <c:v>#N/A</c:v>
                </c:pt>
                <c:pt idx="4821">
                  <c:v>#N/A</c:v>
                </c:pt>
                <c:pt idx="4822">
                  <c:v>#N/A</c:v>
                </c:pt>
                <c:pt idx="4823">
                  <c:v>#N/A</c:v>
                </c:pt>
                <c:pt idx="4824">
                  <c:v>#N/A</c:v>
                </c:pt>
                <c:pt idx="4825">
                  <c:v>#N/A</c:v>
                </c:pt>
                <c:pt idx="4826">
                  <c:v>#N/A</c:v>
                </c:pt>
                <c:pt idx="4827">
                  <c:v>#N/A</c:v>
                </c:pt>
                <c:pt idx="4828">
                  <c:v>#N/A</c:v>
                </c:pt>
                <c:pt idx="4829">
                  <c:v>#N/A</c:v>
                </c:pt>
                <c:pt idx="4830">
                  <c:v>#N/A</c:v>
                </c:pt>
                <c:pt idx="4831">
                  <c:v>#N/A</c:v>
                </c:pt>
                <c:pt idx="4832">
                  <c:v>#N/A</c:v>
                </c:pt>
                <c:pt idx="4833">
                  <c:v>#N/A</c:v>
                </c:pt>
                <c:pt idx="4834">
                  <c:v>#N/A</c:v>
                </c:pt>
                <c:pt idx="4835">
                  <c:v>#N/A</c:v>
                </c:pt>
                <c:pt idx="4836">
                  <c:v>#N/A</c:v>
                </c:pt>
                <c:pt idx="4837">
                  <c:v>#N/A</c:v>
                </c:pt>
                <c:pt idx="4838">
                  <c:v>#N/A</c:v>
                </c:pt>
                <c:pt idx="4839">
                  <c:v>#N/A</c:v>
                </c:pt>
                <c:pt idx="4840">
                  <c:v>#N/A</c:v>
                </c:pt>
                <c:pt idx="4841">
                  <c:v>#N/A</c:v>
                </c:pt>
                <c:pt idx="4842">
                  <c:v>#N/A</c:v>
                </c:pt>
                <c:pt idx="4843">
                  <c:v>#N/A</c:v>
                </c:pt>
                <c:pt idx="4844">
                  <c:v>#N/A</c:v>
                </c:pt>
                <c:pt idx="4845">
                  <c:v>#N/A</c:v>
                </c:pt>
                <c:pt idx="4846">
                  <c:v>#N/A</c:v>
                </c:pt>
                <c:pt idx="4847">
                  <c:v>#N/A</c:v>
                </c:pt>
                <c:pt idx="4848">
                  <c:v>#N/A</c:v>
                </c:pt>
                <c:pt idx="4849">
                  <c:v>#N/A</c:v>
                </c:pt>
                <c:pt idx="4850">
                  <c:v>#N/A</c:v>
                </c:pt>
                <c:pt idx="4851">
                  <c:v>#N/A</c:v>
                </c:pt>
                <c:pt idx="4852">
                  <c:v>#N/A</c:v>
                </c:pt>
                <c:pt idx="4853">
                  <c:v>#N/A</c:v>
                </c:pt>
                <c:pt idx="4854">
                  <c:v>#N/A</c:v>
                </c:pt>
                <c:pt idx="4855">
                  <c:v>#N/A</c:v>
                </c:pt>
                <c:pt idx="4856">
                  <c:v>#N/A</c:v>
                </c:pt>
                <c:pt idx="4857">
                  <c:v>#N/A</c:v>
                </c:pt>
                <c:pt idx="4858">
                  <c:v>#N/A</c:v>
                </c:pt>
                <c:pt idx="4859">
                  <c:v>#N/A</c:v>
                </c:pt>
                <c:pt idx="4860">
                  <c:v>#N/A</c:v>
                </c:pt>
                <c:pt idx="4861">
                  <c:v>#N/A</c:v>
                </c:pt>
                <c:pt idx="4862">
                  <c:v>#N/A</c:v>
                </c:pt>
                <c:pt idx="4863">
                  <c:v>#N/A</c:v>
                </c:pt>
                <c:pt idx="4864">
                  <c:v>#N/A</c:v>
                </c:pt>
                <c:pt idx="4865">
                  <c:v>#N/A</c:v>
                </c:pt>
                <c:pt idx="4866">
                  <c:v>#N/A</c:v>
                </c:pt>
                <c:pt idx="4867">
                  <c:v>#N/A</c:v>
                </c:pt>
                <c:pt idx="4868">
                  <c:v>#N/A</c:v>
                </c:pt>
                <c:pt idx="4869">
                  <c:v>#N/A</c:v>
                </c:pt>
                <c:pt idx="4870">
                  <c:v>#N/A</c:v>
                </c:pt>
                <c:pt idx="4871">
                  <c:v>#N/A</c:v>
                </c:pt>
                <c:pt idx="4872">
                  <c:v>#N/A</c:v>
                </c:pt>
                <c:pt idx="4873">
                  <c:v>#N/A</c:v>
                </c:pt>
                <c:pt idx="4874">
                  <c:v>#N/A</c:v>
                </c:pt>
                <c:pt idx="4875">
                  <c:v>#N/A</c:v>
                </c:pt>
                <c:pt idx="4876">
                  <c:v>#N/A</c:v>
                </c:pt>
                <c:pt idx="4877">
                  <c:v>#N/A</c:v>
                </c:pt>
                <c:pt idx="4878">
                  <c:v>#N/A</c:v>
                </c:pt>
                <c:pt idx="4879">
                  <c:v>#N/A</c:v>
                </c:pt>
                <c:pt idx="4880">
                  <c:v>#N/A</c:v>
                </c:pt>
                <c:pt idx="4881">
                  <c:v>#N/A</c:v>
                </c:pt>
                <c:pt idx="4882">
                  <c:v>#N/A</c:v>
                </c:pt>
                <c:pt idx="4883">
                  <c:v>#N/A</c:v>
                </c:pt>
                <c:pt idx="4884">
                  <c:v>#N/A</c:v>
                </c:pt>
                <c:pt idx="4885">
                  <c:v>#N/A</c:v>
                </c:pt>
                <c:pt idx="4886">
                  <c:v>#N/A</c:v>
                </c:pt>
                <c:pt idx="4887">
                  <c:v>#N/A</c:v>
                </c:pt>
                <c:pt idx="4888">
                  <c:v>#N/A</c:v>
                </c:pt>
                <c:pt idx="4889">
                  <c:v>#N/A</c:v>
                </c:pt>
                <c:pt idx="4890">
                  <c:v>#N/A</c:v>
                </c:pt>
                <c:pt idx="4891">
                  <c:v>#N/A</c:v>
                </c:pt>
                <c:pt idx="4892">
                  <c:v>#N/A</c:v>
                </c:pt>
                <c:pt idx="4893">
                  <c:v>#N/A</c:v>
                </c:pt>
                <c:pt idx="4894">
                  <c:v>#N/A</c:v>
                </c:pt>
                <c:pt idx="4895">
                  <c:v>#N/A</c:v>
                </c:pt>
                <c:pt idx="4896">
                  <c:v>#N/A</c:v>
                </c:pt>
                <c:pt idx="4897">
                  <c:v>#N/A</c:v>
                </c:pt>
                <c:pt idx="4898">
                  <c:v>#N/A</c:v>
                </c:pt>
                <c:pt idx="4899">
                  <c:v>#N/A</c:v>
                </c:pt>
                <c:pt idx="4900">
                  <c:v>#N/A</c:v>
                </c:pt>
                <c:pt idx="4901">
                  <c:v>#N/A</c:v>
                </c:pt>
                <c:pt idx="4902">
                  <c:v>#N/A</c:v>
                </c:pt>
                <c:pt idx="4903">
                  <c:v>#N/A</c:v>
                </c:pt>
                <c:pt idx="4904">
                  <c:v>#N/A</c:v>
                </c:pt>
                <c:pt idx="4905">
                  <c:v>#N/A</c:v>
                </c:pt>
                <c:pt idx="4906">
                  <c:v>#N/A</c:v>
                </c:pt>
                <c:pt idx="4907">
                  <c:v>#N/A</c:v>
                </c:pt>
                <c:pt idx="4908">
                  <c:v>#N/A</c:v>
                </c:pt>
                <c:pt idx="4909">
                  <c:v>#N/A</c:v>
                </c:pt>
                <c:pt idx="4910">
                  <c:v>#N/A</c:v>
                </c:pt>
                <c:pt idx="4911">
                  <c:v>#N/A</c:v>
                </c:pt>
                <c:pt idx="4912">
                  <c:v>#N/A</c:v>
                </c:pt>
                <c:pt idx="4913">
                  <c:v>#N/A</c:v>
                </c:pt>
                <c:pt idx="4914">
                  <c:v>#N/A</c:v>
                </c:pt>
                <c:pt idx="4915">
                  <c:v>#N/A</c:v>
                </c:pt>
                <c:pt idx="4916">
                  <c:v>#N/A</c:v>
                </c:pt>
                <c:pt idx="4917">
                  <c:v>#N/A</c:v>
                </c:pt>
                <c:pt idx="4918">
                  <c:v>#N/A</c:v>
                </c:pt>
                <c:pt idx="4919">
                  <c:v>#N/A</c:v>
                </c:pt>
                <c:pt idx="4920">
                  <c:v>#N/A</c:v>
                </c:pt>
                <c:pt idx="4921">
                  <c:v>#N/A</c:v>
                </c:pt>
                <c:pt idx="4922">
                  <c:v>#N/A</c:v>
                </c:pt>
                <c:pt idx="4923">
                  <c:v>#N/A</c:v>
                </c:pt>
                <c:pt idx="4924">
                  <c:v>#N/A</c:v>
                </c:pt>
                <c:pt idx="4925">
                  <c:v>#N/A</c:v>
                </c:pt>
                <c:pt idx="4926">
                  <c:v>#N/A</c:v>
                </c:pt>
                <c:pt idx="4927">
                  <c:v>#N/A</c:v>
                </c:pt>
                <c:pt idx="4928">
                  <c:v>#N/A</c:v>
                </c:pt>
                <c:pt idx="4929">
                  <c:v>#N/A</c:v>
                </c:pt>
                <c:pt idx="4930">
                  <c:v>#N/A</c:v>
                </c:pt>
                <c:pt idx="4931">
                  <c:v>#N/A</c:v>
                </c:pt>
                <c:pt idx="4932">
                  <c:v>#N/A</c:v>
                </c:pt>
                <c:pt idx="4933">
                  <c:v>#N/A</c:v>
                </c:pt>
                <c:pt idx="4934">
                  <c:v>#N/A</c:v>
                </c:pt>
                <c:pt idx="4935">
                  <c:v>#N/A</c:v>
                </c:pt>
                <c:pt idx="4936">
                  <c:v>#N/A</c:v>
                </c:pt>
                <c:pt idx="4937">
                  <c:v>#N/A</c:v>
                </c:pt>
                <c:pt idx="4938">
                  <c:v>#N/A</c:v>
                </c:pt>
                <c:pt idx="4939">
                  <c:v>#N/A</c:v>
                </c:pt>
                <c:pt idx="4940">
                  <c:v>2.0493150684931507</c:v>
                </c:pt>
                <c:pt idx="4941">
                  <c:v>#N/A</c:v>
                </c:pt>
                <c:pt idx="4942">
                  <c:v>#N/A</c:v>
                </c:pt>
                <c:pt idx="4943">
                  <c:v>#N/A</c:v>
                </c:pt>
                <c:pt idx="4944">
                  <c:v>#N/A</c:v>
                </c:pt>
                <c:pt idx="4945">
                  <c:v>#N/A</c:v>
                </c:pt>
                <c:pt idx="4946">
                  <c:v>#N/A</c:v>
                </c:pt>
                <c:pt idx="4947">
                  <c:v>#N/A</c:v>
                </c:pt>
                <c:pt idx="4948">
                  <c:v>#N/A</c:v>
                </c:pt>
                <c:pt idx="4949">
                  <c:v>#N/A</c:v>
                </c:pt>
                <c:pt idx="4950">
                  <c:v>#N/A</c:v>
                </c:pt>
                <c:pt idx="4951">
                  <c:v>#N/A</c:v>
                </c:pt>
                <c:pt idx="4952">
                  <c:v>#N/A</c:v>
                </c:pt>
                <c:pt idx="4953">
                  <c:v>#N/A</c:v>
                </c:pt>
                <c:pt idx="4954">
                  <c:v>#N/A</c:v>
                </c:pt>
                <c:pt idx="4955">
                  <c:v>#N/A</c:v>
                </c:pt>
                <c:pt idx="4956">
                  <c:v>#N/A</c:v>
                </c:pt>
                <c:pt idx="4957">
                  <c:v>#N/A</c:v>
                </c:pt>
                <c:pt idx="4958">
                  <c:v>#N/A</c:v>
                </c:pt>
                <c:pt idx="4959">
                  <c:v>#N/A</c:v>
                </c:pt>
                <c:pt idx="4960">
                  <c:v>#N/A</c:v>
                </c:pt>
                <c:pt idx="4961">
                  <c:v>#N/A</c:v>
                </c:pt>
                <c:pt idx="4962">
                  <c:v>#N/A</c:v>
                </c:pt>
                <c:pt idx="4963">
                  <c:v>#N/A</c:v>
                </c:pt>
                <c:pt idx="4964">
                  <c:v>#N/A</c:v>
                </c:pt>
                <c:pt idx="4965">
                  <c:v>#N/A</c:v>
                </c:pt>
                <c:pt idx="4966">
                  <c:v>#N/A</c:v>
                </c:pt>
                <c:pt idx="4967">
                  <c:v>#N/A</c:v>
                </c:pt>
                <c:pt idx="4968">
                  <c:v>#N/A</c:v>
                </c:pt>
                <c:pt idx="4969">
                  <c:v>#N/A</c:v>
                </c:pt>
                <c:pt idx="4970">
                  <c:v>#N/A</c:v>
                </c:pt>
                <c:pt idx="4971">
                  <c:v>#N/A</c:v>
                </c:pt>
                <c:pt idx="4972">
                  <c:v>#N/A</c:v>
                </c:pt>
                <c:pt idx="4973">
                  <c:v>#N/A</c:v>
                </c:pt>
                <c:pt idx="4974">
                  <c:v>#N/A</c:v>
                </c:pt>
                <c:pt idx="4975">
                  <c:v>#N/A</c:v>
                </c:pt>
                <c:pt idx="4976">
                  <c:v>#N/A</c:v>
                </c:pt>
                <c:pt idx="4977">
                  <c:v>#N/A</c:v>
                </c:pt>
                <c:pt idx="4978">
                  <c:v>#N/A</c:v>
                </c:pt>
                <c:pt idx="4979">
                  <c:v>#N/A</c:v>
                </c:pt>
                <c:pt idx="4980">
                  <c:v>#N/A</c:v>
                </c:pt>
                <c:pt idx="4981">
                  <c:v>#N/A</c:v>
                </c:pt>
                <c:pt idx="4982">
                  <c:v>#N/A</c:v>
                </c:pt>
                <c:pt idx="4983">
                  <c:v>#N/A</c:v>
                </c:pt>
                <c:pt idx="4984">
                  <c:v>#N/A</c:v>
                </c:pt>
                <c:pt idx="4985">
                  <c:v>#N/A</c:v>
                </c:pt>
                <c:pt idx="4986">
                  <c:v>#N/A</c:v>
                </c:pt>
                <c:pt idx="4987">
                  <c:v>#N/A</c:v>
                </c:pt>
                <c:pt idx="4988">
                  <c:v>#N/A</c:v>
                </c:pt>
                <c:pt idx="4989">
                  <c:v>#N/A</c:v>
                </c:pt>
                <c:pt idx="4990">
                  <c:v>#N/A</c:v>
                </c:pt>
                <c:pt idx="4991">
                  <c:v>#N/A</c:v>
                </c:pt>
                <c:pt idx="4992">
                  <c:v>#N/A</c:v>
                </c:pt>
                <c:pt idx="4993">
                  <c:v>#N/A</c:v>
                </c:pt>
                <c:pt idx="4994">
                  <c:v>#N/A</c:v>
                </c:pt>
                <c:pt idx="4995">
                  <c:v>#N/A</c:v>
                </c:pt>
                <c:pt idx="4996">
                  <c:v>#N/A</c:v>
                </c:pt>
                <c:pt idx="4997">
                  <c:v>#N/A</c:v>
                </c:pt>
                <c:pt idx="4998">
                  <c:v>#N/A</c:v>
                </c:pt>
                <c:pt idx="4999">
                  <c:v>#N/A</c:v>
                </c:pt>
                <c:pt idx="5000">
                  <c:v>#N/A</c:v>
                </c:pt>
                <c:pt idx="5001">
                  <c:v>#N/A</c:v>
                </c:pt>
                <c:pt idx="5002">
                  <c:v>#N/A</c:v>
                </c:pt>
                <c:pt idx="5003">
                  <c:v>#N/A</c:v>
                </c:pt>
                <c:pt idx="5004">
                  <c:v>#N/A</c:v>
                </c:pt>
                <c:pt idx="5005">
                  <c:v>#N/A</c:v>
                </c:pt>
                <c:pt idx="5006">
                  <c:v>#N/A</c:v>
                </c:pt>
                <c:pt idx="5007">
                  <c:v>#N/A</c:v>
                </c:pt>
                <c:pt idx="5008">
                  <c:v>#N/A</c:v>
                </c:pt>
                <c:pt idx="5009">
                  <c:v>#N/A</c:v>
                </c:pt>
                <c:pt idx="5010">
                  <c:v>#N/A</c:v>
                </c:pt>
                <c:pt idx="5011">
                  <c:v>#N/A</c:v>
                </c:pt>
                <c:pt idx="5012">
                  <c:v>#N/A</c:v>
                </c:pt>
                <c:pt idx="5013">
                  <c:v>#N/A</c:v>
                </c:pt>
                <c:pt idx="5014">
                  <c:v>#N/A</c:v>
                </c:pt>
                <c:pt idx="5015">
                  <c:v>#N/A</c:v>
                </c:pt>
                <c:pt idx="5016">
                  <c:v>#N/A</c:v>
                </c:pt>
                <c:pt idx="5017">
                  <c:v>#N/A</c:v>
                </c:pt>
                <c:pt idx="5018">
                  <c:v>#N/A</c:v>
                </c:pt>
                <c:pt idx="5019">
                  <c:v>#N/A</c:v>
                </c:pt>
                <c:pt idx="5020">
                  <c:v>#N/A</c:v>
                </c:pt>
                <c:pt idx="5021">
                  <c:v>#N/A</c:v>
                </c:pt>
                <c:pt idx="5022">
                  <c:v>#N/A</c:v>
                </c:pt>
                <c:pt idx="5023">
                  <c:v>#N/A</c:v>
                </c:pt>
                <c:pt idx="5024">
                  <c:v>#N/A</c:v>
                </c:pt>
                <c:pt idx="5025">
                  <c:v>#N/A</c:v>
                </c:pt>
                <c:pt idx="5026">
                  <c:v>#N/A</c:v>
                </c:pt>
                <c:pt idx="5027">
                  <c:v>#N/A</c:v>
                </c:pt>
                <c:pt idx="5028">
                  <c:v>#N/A</c:v>
                </c:pt>
                <c:pt idx="5029">
                  <c:v>#N/A</c:v>
                </c:pt>
                <c:pt idx="5030">
                  <c:v>#N/A</c:v>
                </c:pt>
                <c:pt idx="5031">
                  <c:v>#N/A</c:v>
                </c:pt>
                <c:pt idx="5032">
                  <c:v>#N/A</c:v>
                </c:pt>
                <c:pt idx="5033">
                  <c:v>#N/A</c:v>
                </c:pt>
                <c:pt idx="5034">
                  <c:v>#N/A</c:v>
                </c:pt>
                <c:pt idx="5035">
                  <c:v>#N/A</c:v>
                </c:pt>
                <c:pt idx="5036">
                  <c:v>#N/A</c:v>
                </c:pt>
                <c:pt idx="5037">
                  <c:v>#N/A</c:v>
                </c:pt>
                <c:pt idx="5038">
                  <c:v>#N/A</c:v>
                </c:pt>
                <c:pt idx="5039">
                  <c:v>#N/A</c:v>
                </c:pt>
                <c:pt idx="5040">
                  <c:v>#N/A</c:v>
                </c:pt>
                <c:pt idx="5041">
                  <c:v>#N/A</c:v>
                </c:pt>
                <c:pt idx="5042">
                  <c:v>#N/A</c:v>
                </c:pt>
                <c:pt idx="5043">
                  <c:v>#N/A</c:v>
                </c:pt>
                <c:pt idx="5044">
                  <c:v>#N/A</c:v>
                </c:pt>
                <c:pt idx="5045">
                  <c:v>#N/A</c:v>
                </c:pt>
                <c:pt idx="5046">
                  <c:v>#N/A</c:v>
                </c:pt>
                <c:pt idx="5047">
                  <c:v>#N/A</c:v>
                </c:pt>
                <c:pt idx="5048">
                  <c:v>#N/A</c:v>
                </c:pt>
                <c:pt idx="5049">
                  <c:v>#N/A</c:v>
                </c:pt>
                <c:pt idx="5050">
                  <c:v>#N/A</c:v>
                </c:pt>
                <c:pt idx="5051">
                  <c:v>#N/A</c:v>
                </c:pt>
                <c:pt idx="5052">
                  <c:v>#N/A</c:v>
                </c:pt>
                <c:pt idx="5053">
                  <c:v>#N/A</c:v>
                </c:pt>
                <c:pt idx="5054">
                  <c:v>#N/A</c:v>
                </c:pt>
                <c:pt idx="5055">
                  <c:v>#N/A</c:v>
                </c:pt>
                <c:pt idx="5056">
                  <c:v>#N/A</c:v>
                </c:pt>
                <c:pt idx="5057">
                  <c:v>#N/A</c:v>
                </c:pt>
                <c:pt idx="5058">
                  <c:v>#N/A</c:v>
                </c:pt>
                <c:pt idx="5059">
                  <c:v>#N/A</c:v>
                </c:pt>
                <c:pt idx="5060">
                  <c:v>#N/A</c:v>
                </c:pt>
                <c:pt idx="5061">
                  <c:v>#N/A</c:v>
                </c:pt>
                <c:pt idx="5062">
                  <c:v>#N/A</c:v>
                </c:pt>
                <c:pt idx="5063">
                  <c:v>#N/A</c:v>
                </c:pt>
                <c:pt idx="5064">
                  <c:v>#N/A</c:v>
                </c:pt>
                <c:pt idx="5065">
                  <c:v>#N/A</c:v>
                </c:pt>
                <c:pt idx="5066">
                  <c:v>#N/A</c:v>
                </c:pt>
                <c:pt idx="5067">
                  <c:v>#N/A</c:v>
                </c:pt>
                <c:pt idx="5068">
                  <c:v>#N/A</c:v>
                </c:pt>
                <c:pt idx="5069">
                  <c:v>#N/A</c:v>
                </c:pt>
                <c:pt idx="5070">
                  <c:v>#N/A</c:v>
                </c:pt>
                <c:pt idx="5071">
                  <c:v>#N/A</c:v>
                </c:pt>
                <c:pt idx="5072">
                  <c:v>#N/A</c:v>
                </c:pt>
                <c:pt idx="5073">
                  <c:v>#N/A</c:v>
                </c:pt>
                <c:pt idx="5074">
                  <c:v>#N/A</c:v>
                </c:pt>
                <c:pt idx="5075">
                  <c:v>#N/A</c:v>
                </c:pt>
                <c:pt idx="5076">
                  <c:v>#N/A</c:v>
                </c:pt>
                <c:pt idx="5077">
                  <c:v>#N/A</c:v>
                </c:pt>
                <c:pt idx="5078">
                  <c:v>#N/A</c:v>
                </c:pt>
                <c:pt idx="5079">
                  <c:v>#N/A</c:v>
                </c:pt>
                <c:pt idx="5080">
                  <c:v>#N/A</c:v>
                </c:pt>
                <c:pt idx="5081">
                  <c:v>#N/A</c:v>
                </c:pt>
                <c:pt idx="5082">
                  <c:v>#N/A</c:v>
                </c:pt>
                <c:pt idx="5083">
                  <c:v>#N/A</c:v>
                </c:pt>
                <c:pt idx="5084">
                  <c:v>#N/A</c:v>
                </c:pt>
                <c:pt idx="5085">
                  <c:v>#N/A</c:v>
                </c:pt>
                <c:pt idx="5086">
                  <c:v>#N/A</c:v>
                </c:pt>
                <c:pt idx="5087">
                  <c:v>#N/A</c:v>
                </c:pt>
                <c:pt idx="5088">
                  <c:v>#N/A</c:v>
                </c:pt>
                <c:pt idx="5089">
                  <c:v>#N/A</c:v>
                </c:pt>
                <c:pt idx="5090">
                  <c:v>#N/A</c:v>
                </c:pt>
                <c:pt idx="5091">
                  <c:v>#N/A</c:v>
                </c:pt>
                <c:pt idx="5092">
                  <c:v>#N/A</c:v>
                </c:pt>
                <c:pt idx="5093">
                  <c:v>#N/A</c:v>
                </c:pt>
                <c:pt idx="5094">
                  <c:v>#N/A</c:v>
                </c:pt>
                <c:pt idx="5095">
                  <c:v>#N/A</c:v>
                </c:pt>
                <c:pt idx="5096">
                  <c:v>#N/A</c:v>
                </c:pt>
                <c:pt idx="5097">
                  <c:v>#N/A</c:v>
                </c:pt>
                <c:pt idx="5098">
                  <c:v>#N/A</c:v>
                </c:pt>
                <c:pt idx="5099">
                  <c:v>#N/A</c:v>
                </c:pt>
                <c:pt idx="5100">
                  <c:v>#N/A</c:v>
                </c:pt>
                <c:pt idx="5101">
                  <c:v>#N/A</c:v>
                </c:pt>
                <c:pt idx="5102">
                  <c:v>#N/A</c:v>
                </c:pt>
                <c:pt idx="5103">
                  <c:v>#N/A</c:v>
                </c:pt>
                <c:pt idx="5104">
                  <c:v>#N/A</c:v>
                </c:pt>
                <c:pt idx="5105">
                  <c:v>#N/A</c:v>
                </c:pt>
                <c:pt idx="5106">
                  <c:v>#N/A</c:v>
                </c:pt>
                <c:pt idx="5107">
                  <c:v>#N/A</c:v>
                </c:pt>
                <c:pt idx="5108">
                  <c:v>#N/A</c:v>
                </c:pt>
                <c:pt idx="5109">
                  <c:v>#N/A</c:v>
                </c:pt>
                <c:pt idx="5110">
                  <c:v>#N/A</c:v>
                </c:pt>
                <c:pt idx="5111">
                  <c:v>#N/A</c:v>
                </c:pt>
                <c:pt idx="5112">
                  <c:v>#N/A</c:v>
                </c:pt>
                <c:pt idx="5113">
                  <c:v>#N/A</c:v>
                </c:pt>
                <c:pt idx="5114">
                  <c:v>#N/A</c:v>
                </c:pt>
                <c:pt idx="5115">
                  <c:v>#N/A</c:v>
                </c:pt>
                <c:pt idx="5116">
                  <c:v>#N/A</c:v>
                </c:pt>
                <c:pt idx="5117">
                  <c:v>#N/A</c:v>
                </c:pt>
                <c:pt idx="5118">
                  <c:v>#N/A</c:v>
                </c:pt>
                <c:pt idx="5119">
                  <c:v>#N/A</c:v>
                </c:pt>
                <c:pt idx="5120">
                  <c:v>#N/A</c:v>
                </c:pt>
                <c:pt idx="5121">
                  <c:v>#N/A</c:v>
                </c:pt>
                <c:pt idx="5122">
                  <c:v>#N/A</c:v>
                </c:pt>
                <c:pt idx="5123">
                  <c:v>#N/A</c:v>
                </c:pt>
                <c:pt idx="5124">
                  <c:v>#N/A</c:v>
                </c:pt>
                <c:pt idx="5125">
                  <c:v>#N/A</c:v>
                </c:pt>
                <c:pt idx="5126">
                  <c:v>#N/A</c:v>
                </c:pt>
                <c:pt idx="5127">
                  <c:v>#N/A</c:v>
                </c:pt>
                <c:pt idx="5128">
                  <c:v>#N/A</c:v>
                </c:pt>
                <c:pt idx="5129">
                  <c:v>#N/A</c:v>
                </c:pt>
                <c:pt idx="5130">
                  <c:v>#N/A</c:v>
                </c:pt>
                <c:pt idx="5131">
                  <c:v>#N/A</c:v>
                </c:pt>
                <c:pt idx="5132">
                  <c:v>#N/A</c:v>
                </c:pt>
                <c:pt idx="5133">
                  <c:v>#N/A</c:v>
                </c:pt>
                <c:pt idx="5134">
                  <c:v>#N/A</c:v>
                </c:pt>
                <c:pt idx="5135">
                  <c:v>#N/A</c:v>
                </c:pt>
                <c:pt idx="5136">
                  <c:v>#N/A</c:v>
                </c:pt>
                <c:pt idx="5137">
                  <c:v>#N/A</c:v>
                </c:pt>
                <c:pt idx="5138">
                  <c:v>#N/A</c:v>
                </c:pt>
                <c:pt idx="5139">
                  <c:v>#N/A</c:v>
                </c:pt>
                <c:pt idx="5140">
                  <c:v>#N/A</c:v>
                </c:pt>
                <c:pt idx="5141">
                  <c:v>#N/A</c:v>
                </c:pt>
                <c:pt idx="5142">
                  <c:v>#N/A</c:v>
                </c:pt>
                <c:pt idx="5143">
                  <c:v>#N/A</c:v>
                </c:pt>
                <c:pt idx="5144">
                  <c:v>#N/A</c:v>
                </c:pt>
                <c:pt idx="5145">
                  <c:v>#N/A</c:v>
                </c:pt>
                <c:pt idx="5146">
                  <c:v>#N/A</c:v>
                </c:pt>
                <c:pt idx="5147">
                  <c:v>#N/A</c:v>
                </c:pt>
                <c:pt idx="5148">
                  <c:v>#N/A</c:v>
                </c:pt>
                <c:pt idx="5149">
                  <c:v>#N/A</c:v>
                </c:pt>
                <c:pt idx="5150">
                  <c:v>#N/A</c:v>
                </c:pt>
                <c:pt idx="5151">
                  <c:v>#N/A</c:v>
                </c:pt>
                <c:pt idx="5152">
                  <c:v>#N/A</c:v>
                </c:pt>
                <c:pt idx="5153">
                  <c:v>#N/A</c:v>
                </c:pt>
                <c:pt idx="5154">
                  <c:v>#N/A</c:v>
                </c:pt>
                <c:pt idx="5155">
                  <c:v>#N/A</c:v>
                </c:pt>
                <c:pt idx="5156">
                  <c:v>#N/A</c:v>
                </c:pt>
                <c:pt idx="5157">
                  <c:v>#N/A</c:v>
                </c:pt>
                <c:pt idx="5158">
                  <c:v>#N/A</c:v>
                </c:pt>
                <c:pt idx="5159">
                  <c:v>#N/A</c:v>
                </c:pt>
                <c:pt idx="5160">
                  <c:v>#N/A</c:v>
                </c:pt>
                <c:pt idx="5161">
                  <c:v>#N/A</c:v>
                </c:pt>
                <c:pt idx="5162">
                  <c:v>#N/A</c:v>
                </c:pt>
                <c:pt idx="5163">
                  <c:v>#N/A</c:v>
                </c:pt>
                <c:pt idx="5164">
                  <c:v>#N/A</c:v>
                </c:pt>
                <c:pt idx="5165">
                  <c:v>#N/A</c:v>
                </c:pt>
                <c:pt idx="5166">
                  <c:v>#N/A</c:v>
                </c:pt>
                <c:pt idx="5167">
                  <c:v>#N/A</c:v>
                </c:pt>
                <c:pt idx="5168">
                  <c:v>#N/A</c:v>
                </c:pt>
                <c:pt idx="5169">
                  <c:v>#N/A</c:v>
                </c:pt>
                <c:pt idx="5170">
                  <c:v>#N/A</c:v>
                </c:pt>
                <c:pt idx="5171">
                  <c:v>#N/A</c:v>
                </c:pt>
                <c:pt idx="5172">
                  <c:v>#N/A</c:v>
                </c:pt>
                <c:pt idx="5173">
                  <c:v>#N/A</c:v>
                </c:pt>
                <c:pt idx="5174">
                  <c:v>#N/A</c:v>
                </c:pt>
                <c:pt idx="5175">
                  <c:v>#N/A</c:v>
                </c:pt>
                <c:pt idx="5176">
                  <c:v>#N/A</c:v>
                </c:pt>
                <c:pt idx="5177">
                  <c:v>#N/A</c:v>
                </c:pt>
                <c:pt idx="5178">
                  <c:v>#N/A</c:v>
                </c:pt>
                <c:pt idx="5179">
                  <c:v>#N/A</c:v>
                </c:pt>
                <c:pt idx="5180">
                  <c:v>#N/A</c:v>
                </c:pt>
                <c:pt idx="5181">
                  <c:v>#N/A</c:v>
                </c:pt>
                <c:pt idx="5182">
                  <c:v>#N/A</c:v>
                </c:pt>
                <c:pt idx="5183">
                  <c:v>#N/A</c:v>
                </c:pt>
                <c:pt idx="5184">
                  <c:v>#N/A</c:v>
                </c:pt>
                <c:pt idx="5185">
                  <c:v>#N/A</c:v>
                </c:pt>
                <c:pt idx="5186">
                  <c:v>#N/A</c:v>
                </c:pt>
                <c:pt idx="5187">
                  <c:v>#N/A</c:v>
                </c:pt>
                <c:pt idx="5188">
                  <c:v>#N/A</c:v>
                </c:pt>
                <c:pt idx="5189">
                  <c:v>#N/A</c:v>
                </c:pt>
                <c:pt idx="5190">
                  <c:v>#N/A</c:v>
                </c:pt>
                <c:pt idx="5191">
                  <c:v>#N/A</c:v>
                </c:pt>
                <c:pt idx="5192">
                  <c:v>#N/A</c:v>
                </c:pt>
                <c:pt idx="5193">
                  <c:v>#N/A</c:v>
                </c:pt>
                <c:pt idx="5194">
                  <c:v>#N/A</c:v>
                </c:pt>
                <c:pt idx="5195">
                  <c:v>#N/A</c:v>
                </c:pt>
                <c:pt idx="5196">
                  <c:v>#N/A</c:v>
                </c:pt>
                <c:pt idx="5197">
                  <c:v>#N/A</c:v>
                </c:pt>
                <c:pt idx="5198">
                  <c:v>#N/A</c:v>
                </c:pt>
                <c:pt idx="5199">
                  <c:v>#N/A</c:v>
                </c:pt>
                <c:pt idx="5200">
                  <c:v>#N/A</c:v>
                </c:pt>
                <c:pt idx="5201">
                  <c:v>#N/A</c:v>
                </c:pt>
                <c:pt idx="5202">
                  <c:v>#N/A</c:v>
                </c:pt>
                <c:pt idx="5203">
                  <c:v>#N/A</c:v>
                </c:pt>
                <c:pt idx="5204">
                  <c:v>#N/A</c:v>
                </c:pt>
                <c:pt idx="5205">
                  <c:v>#N/A</c:v>
                </c:pt>
                <c:pt idx="5206">
                  <c:v>#N/A</c:v>
                </c:pt>
                <c:pt idx="5207">
                  <c:v>#N/A</c:v>
                </c:pt>
                <c:pt idx="5208">
                  <c:v>#N/A</c:v>
                </c:pt>
                <c:pt idx="5209">
                  <c:v>#N/A</c:v>
                </c:pt>
                <c:pt idx="5210">
                  <c:v>#N/A</c:v>
                </c:pt>
                <c:pt idx="5211">
                  <c:v>#N/A</c:v>
                </c:pt>
                <c:pt idx="5212">
                  <c:v>#N/A</c:v>
                </c:pt>
                <c:pt idx="5213">
                  <c:v>#N/A</c:v>
                </c:pt>
                <c:pt idx="5214">
                  <c:v>#N/A</c:v>
                </c:pt>
                <c:pt idx="5215">
                  <c:v>#N/A</c:v>
                </c:pt>
                <c:pt idx="5216">
                  <c:v>#N/A</c:v>
                </c:pt>
                <c:pt idx="5217">
                  <c:v>#N/A</c:v>
                </c:pt>
                <c:pt idx="5218">
                  <c:v>#N/A</c:v>
                </c:pt>
                <c:pt idx="5219">
                  <c:v>#N/A</c:v>
                </c:pt>
                <c:pt idx="5220">
                  <c:v>#N/A</c:v>
                </c:pt>
                <c:pt idx="5221">
                  <c:v>#N/A</c:v>
                </c:pt>
                <c:pt idx="5222">
                  <c:v>#N/A</c:v>
                </c:pt>
                <c:pt idx="5223">
                  <c:v>#N/A</c:v>
                </c:pt>
                <c:pt idx="5224">
                  <c:v>#N/A</c:v>
                </c:pt>
                <c:pt idx="5225">
                  <c:v>#N/A</c:v>
                </c:pt>
                <c:pt idx="5226">
                  <c:v>#N/A</c:v>
                </c:pt>
                <c:pt idx="5227">
                  <c:v>#N/A</c:v>
                </c:pt>
                <c:pt idx="5228">
                  <c:v>#N/A</c:v>
                </c:pt>
                <c:pt idx="5229">
                  <c:v>#N/A</c:v>
                </c:pt>
                <c:pt idx="5230">
                  <c:v>#N/A</c:v>
                </c:pt>
                <c:pt idx="5231">
                  <c:v>#N/A</c:v>
                </c:pt>
                <c:pt idx="5232">
                  <c:v>#N/A</c:v>
                </c:pt>
                <c:pt idx="5233">
                  <c:v>#N/A</c:v>
                </c:pt>
                <c:pt idx="5234">
                  <c:v>#N/A</c:v>
                </c:pt>
                <c:pt idx="5235">
                  <c:v>#N/A</c:v>
                </c:pt>
                <c:pt idx="5236">
                  <c:v>#N/A</c:v>
                </c:pt>
                <c:pt idx="5237">
                  <c:v>#N/A</c:v>
                </c:pt>
                <c:pt idx="5238">
                  <c:v>#N/A</c:v>
                </c:pt>
                <c:pt idx="5239">
                  <c:v>#N/A</c:v>
                </c:pt>
                <c:pt idx="5240">
                  <c:v>#N/A</c:v>
                </c:pt>
                <c:pt idx="5241">
                  <c:v>#N/A</c:v>
                </c:pt>
                <c:pt idx="5242">
                  <c:v>#N/A</c:v>
                </c:pt>
                <c:pt idx="5243">
                  <c:v>#N/A</c:v>
                </c:pt>
                <c:pt idx="5244">
                  <c:v>#N/A</c:v>
                </c:pt>
                <c:pt idx="5245">
                  <c:v>#N/A</c:v>
                </c:pt>
                <c:pt idx="5246">
                  <c:v>#N/A</c:v>
                </c:pt>
                <c:pt idx="5247">
                  <c:v>#N/A</c:v>
                </c:pt>
                <c:pt idx="5248">
                  <c:v>#N/A</c:v>
                </c:pt>
                <c:pt idx="5249">
                  <c:v>#N/A</c:v>
                </c:pt>
                <c:pt idx="5250">
                  <c:v>#N/A</c:v>
                </c:pt>
                <c:pt idx="5251">
                  <c:v>#N/A</c:v>
                </c:pt>
                <c:pt idx="5252">
                  <c:v>#N/A</c:v>
                </c:pt>
                <c:pt idx="5253">
                  <c:v>#N/A</c:v>
                </c:pt>
                <c:pt idx="5254">
                  <c:v>#N/A</c:v>
                </c:pt>
                <c:pt idx="5255">
                  <c:v>#N/A</c:v>
                </c:pt>
                <c:pt idx="5256">
                  <c:v>#N/A</c:v>
                </c:pt>
                <c:pt idx="5257">
                  <c:v>#N/A</c:v>
                </c:pt>
                <c:pt idx="5258">
                  <c:v>#N/A</c:v>
                </c:pt>
                <c:pt idx="5259">
                  <c:v>#N/A</c:v>
                </c:pt>
                <c:pt idx="5260">
                  <c:v>#N/A</c:v>
                </c:pt>
                <c:pt idx="5261">
                  <c:v>#N/A</c:v>
                </c:pt>
                <c:pt idx="5262">
                  <c:v>#N/A</c:v>
                </c:pt>
                <c:pt idx="5263">
                  <c:v>#N/A</c:v>
                </c:pt>
                <c:pt idx="5264">
                  <c:v>#N/A</c:v>
                </c:pt>
                <c:pt idx="5265">
                  <c:v>#N/A</c:v>
                </c:pt>
                <c:pt idx="5266">
                  <c:v>#N/A</c:v>
                </c:pt>
                <c:pt idx="5267">
                  <c:v>#N/A</c:v>
                </c:pt>
                <c:pt idx="5268">
                  <c:v>#N/A</c:v>
                </c:pt>
                <c:pt idx="5269">
                  <c:v>#N/A</c:v>
                </c:pt>
                <c:pt idx="5270">
                  <c:v>#N/A</c:v>
                </c:pt>
                <c:pt idx="5271">
                  <c:v>#N/A</c:v>
                </c:pt>
                <c:pt idx="5272">
                  <c:v>#N/A</c:v>
                </c:pt>
                <c:pt idx="5273">
                  <c:v>#N/A</c:v>
                </c:pt>
                <c:pt idx="5274">
                  <c:v>#N/A</c:v>
                </c:pt>
                <c:pt idx="5275">
                  <c:v>#N/A</c:v>
                </c:pt>
                <c:pt idx="5276">
                  <c:v>#N/A</c:v>
                </c:pt>
                <c:pt idx="5277">
                  <c:v>#N/A</c:v>
                </c:pt>
                <c:pt idx="5278">
                  <c:v>#N/A</c:v>
                </c:pt>
                <c:pt idx="5279">
                  <c:v>#N/A</c:v>
                </c:pt>
                <c:pt idx="5280">
                  <c:v>#N/A</c:v>
                </c:pt>
                <c:pt idx="5281">
                  <c:v>#N/A</c:v>
                </c:pt>
                <c:pt idx="5282">
                  <c:v>#N/A</c:v>
                </c:pt>
                <c:pt idx="5283">
                  <c:v>#N/A</c:v>
                </c:pt>
                <c:pt idx="5284">
                  <c:v>#N/A</c:v>
                </c:pt>
                <c:pt idx="5285">
                  <c:v>#N/A</c:v>
                </c:pt>
                <c:pt idx="5286">
                  <c:v>#N/A</c:v>
                </c:pt>
                <c:pt idx="5287">
                  <c:v>#N/A</c:v>
                </c:pt>
                <c:pt idx="5288">
                  <c:v>#N/A</c:v>
                </c:pt>
                <c:pt idx="5289">
                  <c:v>#N/A</c:v>
                </c:pt>
                <c:pt idx="5290">
                  <c:v>#N/A</c:v>
                </c:pt>
                <c:pt idx="5291">
                  <c:v>#N/A</c:v>
                </c:pt>
                <c:pt idx="5292">
                  <c:v>#N/A</c:v>
                </c:pt>
                <c:pt idx="5293">
                  <c:v>#N/A</c:v>
                </c:pt>
                <c:pt idx="5294">
                  <c:v>#N/A</c:v>
                </c:pt>
                <c:pt idx="5295">
                  <c:v>#N/A</c:v>
                </c:pt>
                <c:pt idx="5296">
                  <c:v>#N/A</c:v>
                </c:pt>
                <c:pt idx="5297">
                  <c:v>#N/A</c:v>
                </c:pt>
                <c:pt idx="5298">
                  <c:v>#N/A</c:v>
                </c:pt>
                <c:pt idx="5299">
                  <c:v>#N/A</c:v>
                </c:pt>
                <c:pt idx="5300">
                  <c:v>#N/A</c:v>
                </c:pt>
                <c:pt idx="5301">
                  <c:v>#N/A</c:v>
                </c:pt>
                <c:pt idx="5302">
                  <c:v>#N/A</c:v>
                </c:pt>
                <c:pt idx="5303">
                  <c:v>#N/A</c:v>
                </c:pt>
                <c:pt idx="5304">
                  <c:v>#N/A</c:v>
                </c:pt>
                <c:pt idx="5305">
                  <c:v>#N/A</c:v>
                </c:pt>
                <c:pt idx="5306">
                  <c:v>#N/A</c:v>
                </c:pt>
                <c:pt idx="5307">
                  <c:v>#N/A</c:v>
                </c:pt>
                <c:pt idx="5308">
                  <c:v>#N/A</c:v>
                </c:pt>
                <c:pt idx="5309">
                  <c:v>#N/A</c:v>
                </c:pt>
                <c:pt idx="5310">
                  <c:v>#N/A</c:v>
                </c:pt>
                <c:pt idx="5311">
                  <c:v>#N/A</c:v>
                </c:pt>
                <c:pt idx="5312">
                  <c:v>#N/A</c:v>
                </c:pt>
                <c:pt idx="5313">
                  <c:v>#N/A</c:v>
                </c:pt>
                <c:pt idx="5314">
                  <c:v>#N/A</c:v>
                </c:pt>
                <c:pt idx="5315">
                  <c:v>#N/A</c:v>
                </c:pt>
                <c:pt idx="5316">
                  <c:v>#N/A</c:v>
                </c:pt>
                <c:pt idx="5317">
                  <c:v>#N/A</c:v>
                </c:pt>
                <c:pt idx="5318">
                  <c:v>#N/A</c:v>
                </c:pt>
                <c:pt idx="5319">
                  <c:v>#N/A</c:v>
                </c:pt>
                <c:pt idx="5320">
                  <c:v>#N/A</c:v>
                </c:pt>
                <c:pt idx="5321">
                  <c:v>#N/A</c:v>
                </c:pt>
                <c:pt idx="5322">
                  <c:v>#N/A</c:v>
                </c:pt>
                <c:pt idx="5323">
                  <c:v>#N/A</c:v>
                </c:pt>
                <c:pt idx="5324">
                  <c:v>#N/A</c:v>
                </c:pt>
                <c:pt idx="5325">
                  <c:v>#N/A</c:v>
                </c:pt>
                <c:pt idx="5326">
                  <c:v>#N/A</c:v>
                </c:pt>
                <c:pt idx="5327">
                  <c:v>#N/A</c:v>
                </c:pt>
                <c:pt idx="5328">
                  <c:v>#N/A</c:v>
                </c:pt>
                <c:pt idx="5329">
                  <c:v>#N/A</c:v>
                </c:pt>
                <c:pt idx="5330">
                  <c:v>#N/A</c:v>
                </c:pt>
                <c:pt idx="5331">
                  <c:v>#N/A</c:v>
                </c:pt>
                <c:pt idx="5332">
                  <c:v>#N/A</c:v>
                </c:pt>
                <c:pt idx="5333">
                  <c:v>#N/A</c:v>
                </c:pt>
                <c:pt idx="5334">
                  <c:v>#N/A</c:v>
                </c:pt>
                <c:pt idx="5335">
                  <c:v>#N/A</c:v>
                </c:pt>
                <c:pt idx="5336">
                  <c:v>#N/A</c:v>
                </c:pt>
                <c:pt idx="5337">
                  <c:v>#N/A</c:v>
                </c:pt>
                <c:pt idx="5338">
                  <c:v>#N/A</c:v>
                </c:pt>
                <c:pt idx="5339">
                  <c:v>#N/A</c:v>
                </c:pt>
                <c:pt idx="5340">
                  <c:v>#N/A</c:v>
                </c:pt>
                <c:pt idx="5341">
                  <c:v>#N/A</c:v>
                </c:pt>
                <c:pt idx="5342">
                  <c:v>#N/A</c:v>
                </c:pt>
                <c:pt idx="5343">
                  <c:v>#N/A</c:v>
                </c:pt>
                <c:pt idx="5344">
                  <c:v>#N/A</c:v>
                </c:pt>
                <c:pt idx="5345">
                  <c:v>#N/A</c:v>
                </c:pt>
                <c:pt idx="5346">
                  <c:v>#N/A</c:v>
                </c:pt>
                <c:pt idx="5347">
                  <c:v>#N/A</c:v>
                </c:pt>
                <c:pt idx="5348">
                  <c:v>#N/A</c:v>
                </c:pt>
                <c:pt idx="5349">
                  <c:v>#N/A</c:v>
                </c:pt>
                <c:pt idx="5350">
                  <c:v>#N/A</c:v>
                </c:pt>
                <c:pt idx="5351">
                  <c:v>#N/A</c:v>
                </c:pt>
                <c:pt idx="5352">
                  <c:v>#N/A</c:v>
                </c:pt>
                <c:pt idx="5353">
                  <c:v>#N/A</c:v>
                </c:pt>
                <c:pt idx="5354">
                  <c:v>#N/A</c:v>
                </c:pt>
                <c:pt idx="5355">
                  <c:v>#N/A</c:v>
                </c:pt>
                <c:pt idx="5356">
                  <c:v>#N/A</c:v>
                </c:pt>
                <c:pt idx="5357">
                  <c:v>#N/A</c:v>
                </c:pt>
                <c:pt idx="5358">
                  <c:v>#N/A</c:v>
                </c:pt>
                <c:pt idx="5359">
                  <c:v>#N/A</c:v>
                </c:pt>
                <c:pt idx="5360">
                  <c:v>#N/A</c:v>
                </c:pt>
                <c:pt idx="5361">
                  <c:v>#N/A</c:v>
                </c:pt>
                <c:pt idx="5362">
                  <c:v>#N/A</c:v>
                </c:pt>
                <c:pt idx="5363">
                  <c:v>#N/A</c:v>
                </c:pt>
                <c:pt idx="5364">
                  <c:v>#N/A</c:v>
                </c:pt>
                <c:pt idx="5365">
                  <c:v>#N/A</c:v>
                </c:pt>
                <c:pt idx="5366">
                  <c:v>#N/A</c:v>
                </c:pt>
                <c:pt idx="5367">
                  <c:v>#N/A</c:v>
                </c:pt>
                <c:pt idx="5368">
                  <c:v>#N/A</c:v>
                </c:pt>
                <c:pt idx="5369">
                  <c:v>#N/A</c:v>
                </c:pt>
                <c:pt idx="5370">
                  <c:v>#N/A</c:v>
                </c:pt>
                <c:pt idx="5371">
                  <c:v>#N/A</c:v>
                </c:pt>
                <c:pt idx="5372">
                  <c:v>#N/A</c:v>
                </c:pt>
                <c:pt idx="5373">
                  <c:v>#N/A</c:v>
                </c:pt>
                <c:pt idx="5374">
                  <c:v>#N/A</c:v>
                </c:pt>
                <c:pt idx="5375">
                  <c:v>#N/A</c:v>
                </c:pt>
                <c:pt idx="5376">
                  <c:v>#N/A</c:v>
                </c:pt>
                <c:pt idx="5377">
                  <c:v>#N/A</c:v>
                </c:pt>
                <c:pt idx="5378">
                  <c:v>#N/A</c:v>
                </c:pt>
                <c:pt idx="5379">
                  <c:v>#N/A</c:v>
                </c:pt>
                <c:pt idx="5380">
                  <c:v>#N/A</c:v>
                </c:pt>
                <c:pt idx="5381">
                  <c:v>#N/A</c:v>
                </c:pt>
                <c:pt idx="5382">
                  <c:v>#N/A</c:v>
                </c:pt>
                <c:pt idx="5383">
                  <c:v>#N/A</c:v>
                </c:pt>
                <c:pt idx="5384">
                  <c:v>#N/A</c:v>
                </c:pt>
                <c:pt idx="5385">
                  <c:v>#N/A</c:v>
                </c:pt>
                <c:pt idx="5386">
                  <c:v>#N/A</c:v>
                </c:pt>
                <c:pt idx="5387">
                  <c:v>#N/A</c:v>
                </c:pt>
                <c:pt idx="5388">
                  <c:v>#N/A</c:v>
                </c:pt>
                <c:pt idx="5389">
                  <c:v>#N/A</c:v>
                </c:pt>
                <c:pt idx="5390">
                  <c:v>#N/A</c:v>
                </c:pt>
                <c:pt idx="5391">
                  <c:v>#N/A</c:v>
                </c:pt>
                <c:pt idx="5392">
                  <c:v>#N/A</c:v>
                </c:pt>
                <c:pt idx="5393">
                  <c:v>#N/A</c:v>
                </c:pt>
                <c:pt idx="5394">
                  <c:v>#N/A</c:v>
                </c:pt>
                <c:pt idx="5395">
                  <c:v>#N/A</c:v>
                </c:pt>
                <c:pt idx="5396">
                  <c:v>#N/A</c:v>
                </c:pt>
                <c:pt idx="5397">
                  <c:v>#N/A</c:v>
                </c:pt>
                <c:pt idx="5398">
                  <c:v>#N/A</c:v>
                </c:pt>
                <c:pt idx="5399">
                  <c:v>#N/A</c:v>
                </c:pt>
                <c:pt idx="5400">
                  <c:v>#N/A</c:v>
                </c:pt>
                <c:pt idx="5401">
                  <c:v>#N/A</c:v>
                </c:pt>
                <c:pt idx="5402">
                  <c:v>#N/A</c:v>
                </c:pt>
                <c:pt idx="5403">
                  <c:v>#N/A</c:v>
                </c:pt>
                <c:pt idx="5404">
                  <c:v>#N/A</c:v>
                </c:pt>
                <c:pt idx="5405">
                  <c:v>#N/A</c:v>
                </c:pt>
                <c:pt idx="5406">
                  <c:v>#N/A</c:v>
                </c:pt>
                <c:pt idx="5407">
                  <c:v>#N/A</c:v>
                </c:pt>
                <c:pt idx="5408">
                  <c:v>#N/A</c:v>
                </c:pt>
                <c:pt idx="5409">
                  <c:v>#N/A</c:v>
                </c:pt>
                <c:pt idx="5410">
                  <c:v>#N/A</c:v>
                </c:pt>
                <c:pt idx="5411">
                  <c:v>#N/A</c:v>
                </c:pt>
                <c:pt idx="5412">
                  <c:v>#N/A</c:v>
                </c:pt>
                <c:pt idx="5413">
                  <c:v>#N/A</c:v>
                </c:pt>
                <c:pt idx="5414">
                  <c:v>#N/A</c:v>
                </c:pt>
                <c:pt idx="5415">
                  <c:v>#N/A</c:v>
                </c:pt>
                <c:pt idx="5416">
                  <c:v>#N/A</c:v>
                </c:pt>
                <c:pt idx="5417">
                  <c:v>#N/A</c:v>
                </c:pt>
                <c:pt idx="5418">
                  <c:v>#N/A</c:v>
                </c:pt>
                <c:pt idx="5419">
                  <c:v>#N/A</c:v>
                </c:pt>
                <c:pt idx="5420">
                  <c:v>#N/A</c:v>
                </c:pt>
                <c:pt idx="5421">
                  <c:v>#N/A</c:v>
                </c:pt>
                <c:pt idx="5422">
                  <c:v>#N/A</c:v>
                </c:pt>
                <c:pt idx="5423">
                  <c:v>#N/A</c:v>
                </c:pt>
                <c:pt idx="5424">
                  <c:v>#N/A</c:v>
                </c:pt>
                <c:pt idx="5425">
                  <c:v>#N/A</c:v>
                </c:pt>
                <c:pt idx="5426">
                  <c:v>#N/A</c:v>
                </c:pt>
                <c:pt idx="5427">
                  <c:v>#N/A</c:v>
                </c:pt>
                <c:pt idx="5428">
                  <c:v>#N/A</c:v>
                </c:pt>
                <c:pt idx="5429">
                  <c:v>#N/A</c:v>
                </c:pt>
                <c:pt idx="5430">
                  <c:v>#N/A</c:v>
                </c:pt>
                <c:pt idx="5431">
                  <c:v>#N/A</c:v>
                </c:pt>
                <c:pt idx="5432">
                  <c:v>#N/A</c:v>
                </c:pt>
                <c:pt idx="5433">
                  <c:v>#N/A</c:v>
                </c:pt>
                <c:pt idx="5434">
                  <c:v>#N/A</c:v>
                </c:pt>
                <c:pt idx="5435">
                  <c:v>#N/A</c:v>
                </c:pt>
                <c:pt idx="5436">
                  <c:v>#N/A</c:v>
                </c:pt>
                <c:pt idx="5437">
                  <c:v>#N/A</c:v>
                </c:pt>
                <c:pt idx="5438">
                  <c:v>#N/A</c:v>
                </c:pt>
                <c:pt idx="5439">
                  <c:v>#N/A</c:v>
                </c:pt>
                <c:pt idx="5440">
                  <c:v>#N/A</c:v>
                </c:pt>
                <c:pt idx="5441">
                  <c:v>#N/A</c:v>
                </c:pt>
                <c:pt idx="5442">
                  <c:v>#N/A</c:v>
                </c:pt>
                <c:pt idx="5443">
                  <c:v>#N/A</c:v>
                </c:pt>
                <c:pt idx="5444">
                  <c:v>#N/A</c:v>
                </c:pt>
                <c:pt idx="5445">
                  <c:v>#N/A</c:v>
                </c:pt>
                <c:pt idx="5446">
                  <c:v>#N/A</c:v>
                </c:pt>
                <c:pt idx="5447">
                  <c:v>#N/A</c:v>
                </c:pt>
                <c:pt idx="5448">
                  <c:v>#N/A</c:v>
                </c:pt>
                <c:pt idx="5449">
                  <c:v>#N/A</c:v>
                </c:pt>
                <c:pt idx="5450">
                  <c:v>#N/A</c:v>
                </c:pt>
                <c:pt idx="5451">
                  <c:v>#N/A</c:v>
                </c:pt>
                <c:pt idx="5452">
                  <c:v>#N/A</c:v>
                </c:pt>
                <c:pt idx="5453">
                  <c:v>#N/A</c:v>
                </c:pt>
                <c:pt idx="5454">
                  <c:v>#N/A</c:v>
                </c:pt>
                <c:pt idx="5455">
                  <c:v>#N/A</c:v>
                </c:pt>
                <c:pt idx="5456">
                  <c:v>#N/A</c:v>
                </c:pt>
                <c:pt idx="5457">
                  <c:v>#N/A</c:v>
                </c:pt>
                <c:pt idx="5458">
                  <c:v>#N/A</c:v>
                </c:pt>
                <c:pt idx="5459">
                  <c:v>#N/A</c:v>
                </c:pt>
                <c:pt idx="5460">
                  <c:v>#N/A</c:v>
                </c:pt>
                <c:pt idx="5461">
                  <c:v>#N/A</c:v>
                </c:pt>
                <c:pt idx="5462">
                  <c:v>#N/A</c:v>
                </c:pt>
                <c:pt idx="5463">
                  <c:v>#N/A</c:v>
                </c:pt>
                <c:pt idx="5464">
                  <c:v>#N/A</c:v>
                </c:pt>
                <c:pt idx="5465">
                  <c:v>#N/A</c:v>
                </c:pt>
                <c:pt idx="5466">
                  <c:v>#N/A</c:v>
                </c:pt>
                <c:pt idx="5467">
                  <c:v>#N/A</c:v>
                </c:pt>
                <c:pt idx="5468">
                  <c:v>#N/A</c:v>
                </c:pt>
                <c:pt idx="5469">
                  <c:v>#N/A</c:v>
                </c:pt>
                <c:pt idx="5470">
                  <c:v>#N/A</c:v>
                </c:pt>
                <c:pt idx="5471">
                  <c:v>#N/A</c:v>
                </c:pt>
                <c:pt idx="5472">
                  <c:v>#N/A</c:v>
                </c:pt>
                <c:pt idx="5473">
                  <c:v>#N/A</c:v>
                </c:pt>
                <c:pt idx="5474">
                  <c:v>#N/A</c:v>
                </c:pt>
                <c:pt idx="5475">
                  <c:v>#N/A</c:v>
                </c:pt>
                <c:pt idx="5476">
                  <c:v>#N/A</c:v>
                </c:pt>
                <c:pt idx="5477">
                  <c:v>#N/A</c:v>
                </c:pt>
                <c:pt idx="5478">
                  <c:v>#N/A</c:v>
                </c:pt>
                <c:pt idx="5479">
                  <c:v>#N/A</c:v>
                </c:pt>
                <c:pt idx="5480">
                  <c:v>#N/A</c:v>
                </c:pt>
                <c:pt idx="5481">
                  <c:v>#N/A</c:v>
                </c:pt>
                <c:pt idx="5482">
                  <c:v>#N/A</c:v>
                </c:pt>
                <c:pt idx="5483">
                  <c:v>#N/A</c:v>
                </c:pt>
                <c:pt idx="5484">
                  <c:v>#N/A</c:v>
                </c:pt>
                <c:pt idx="5485">
                  <c:v>#N/A</c:v>
                </c:pt>
                <c:pt idx="5486">
                  <c:v>#N/A</c:v>
                </c:pt>
                <c:pt idx="5487">
                  <c:v>#N/A</c:v>
                </c:pt>
                <c:pt idx="5488">
                  <c:v>#N/A</c:v>
                </c:pt>
                <c:pt idx="5489">
                  <c:v>#N/A</c:v>
                </c:pt>
                <c:pt idx="5490">
                  <c:v>#N/A</c:v>
                </c:pt>
                <c:pt idx="5491">
                  <c:v>#N/A</c:v>
                </c:pt>
                <c:pt idx="5492">
                  <c:v>#N/A</c:v>
                </c:pt>
                <c:pt idx="5493">
                  <c:v>#N/A</c:v>
                </c:pt>
                <c:pt idx="5494">
                  <c:v>#N/A</c:v>
                </c:pt>
                <c:pt idx="5495">
                  <c:v>#N/A</c:v>
                </c:pt>
                <c:pt idx="5496">
                  <c:v>#N/A</c:v>
                </c:pt>
                <c:pt idx="5497">
                  <c:v>#N/A</c:v>
                </c:pt>
                <c:pt idx="5498">
                  <c:v>#N/A</c:v>
                </c:pt>
                <c:pt idx="5499">
                  <c:v>#N/A</c:v>
                </c:pt>
                <c:pt idx="5500">
                  <c:v>#N/A</c:v>
                </c:pt>
                <c:pt idx="5501">
                  <c:v>#N/A</c:v>
                </c:pt>
                <c:pt idx="5502">
                  <c:v>#N/A</c:v>
                </c:pt>
                <c:pt idx="5503">
                  <c:v>#N/A</c:v>
                </c:pt>
                <c:pt idx="5504">
                  <c:v>#N/A</c:v>
                </c:pt>
                <c:pt idx="5505">
                  <c:v>#N/A</c:v>
                </c:pt>
                <c:pt idx="5506">
                  <c:v>#N/A</c:v>
                </c:pt>
                <c:pt idx="5507">
                  <c:v>#N/A</c:v>
                </c:pt>
                <c:pt idx="5508">
                  <c:v>#N/A</c:v>
                </c:pt>
                <c:pt idx="5509">
                  <c:v>#N/A</c:v>
                </c:pt>
                <c:pt idx="5510">
                  <c:v>#N/A</c:v>
                </c:pt>
                <c:pt idx="5511">
                  <c:v>#N/A</c:v>
                </c:pt>
                <c:pt idx="5512">
                  <c:v>#N/A</c:v>
                </c:pt>
                <c:pt idx="5513">
                  <c:v>#N/A</c:v>
                </c:pt>
                <c:pt idx="5514">
                  <c:v>#N/A</c:v>
                </c:pt>
                <c:pt idx="5515">
                  <c:v>#N/A</c:v>
                </c:pt>
                <c:pt idx="5516">
                  <c:v>#N/A</c:v>
                </c:pt>
                <c:pt idx="5517">
                  <c:v>#N/A</c:v>
                </c:pt>
                <c:pt idx="5518">
                  <c:v>#N/A</c:v>
                </c:pt>
                <c:pt idx="5519">
                  <c:v>#N/A</c:v>
                </c:pt>
                <c:pt idx="5520">
                  <c:v>#N/A</c:v>
                </c:pt>
                <c:pt idx="5521">
                  <c:v>#N/A</c:v>
                </c:pt>
                <c:pt idx="5522">
                  <c:v>#N/A</c:v>
                </c:pt>
                <c:pt idx="5523">
                  <c:v>#N/A</c:v>
                </c:pt>
                <c:pt idx="5524">
                  <c:v>#N/A</c:v>
                </c:pt>
                <c:pt idx="5525">
                  <c:v>#N/A</c:v>
                </c:pt>
                <c:pt idx="5526">
                  <c:v>#N/A</c:v>
                </c:pt>
                <c:pt idx="5527">
                  <c:v>#N/A</c:v>
                </c:pt>
                <c:pt idx="5528">
                  <c:v>#N/A</c:v>
                </c:pt>
                <c:pt idx="5529">
                  <c:v>#N/A</c:v>
                </c:pt>
                <c:pt idx="5530">
                  <c:v>#N/A</c:v>
                </c:pt>
                <c:pt idx="5531">
                  <c:v>#N/A</c:v>
                </c:pt>
                <c:pt idx="5532">
                  <c:v>#N/A</c:v>
                </c:pt>
                <c:pt idx="5533">
                  <c:v>#N/A</c:v>
                </c:pt>
                <c:pt idx="5534">
                  <c:v>#N/A</c:v>
                </c:pt>
                <c:pt idx="5535">
                  <c:v>#N/A</c:v>
                </c:pt>
                <c:pt idx="5536">
                  <c:v>#N/A</c:v>
                </c:pt>
                <c:pt idx="5537">
                  <c:v>#N/A</c:v>
                </c:pt>
                <c:pt idx="5538">
                  <c:v>#N/A</c:v>
                </c:pt>
                <c:pt idx="5539">
                  <c:v>#N/A</c:v>
                </c:pt>
                <c:pt idx="5540">
                  <c:v>#N/A</c:v>
                </c:pt>
                <c:pt idx="5541">
                  <c:v>#N/A</c:v>
                </c:pt>
                <c:pt idx="5542">
                  <c:v>#N/A</c:v>
                </c:pt>
                <c:pt idx="5543">
                  <c:v>#N/A</c:v>
                </c:pt>
                <c:pt idx="5544">
                  <c:v>#N/A</c:v>
                </c:pt>
                <c:pt idx="5545">
                  <c:v>#N/A</c:v>
                </c:pt>
                <c:pt idx="5546">
                  <c:v>#N/A</c:v>
                </c:pt>
                <c:pt idx="5547">
                  <c:v>#N/A</c:v>
                </c:pt>
                <c:pt idx="5548">
                  <c:v>#N/A</c:v>
                </c:pt>
                <c:pt idx="5549">
                  <c:v>#N/A</c:v>
                </c:pt>
                <c:pt idx="5550">
                  <c:v>#N/A</c:v>
                </c:pt>
                <c:pt idx="5551">
                  <c:v>#N/A</c:v>
                </c:pt>
                <c:pt idx="5552">
                  <c:v>#N/A</c:v>
                </c:pt>
                <c:pt idx="5553">
                  <c:v>#N/A</c:v>
                </c:pt>
                <c:pt idx="5554">
                  <c:v>#N/A</c:v>
                </c:pt>
                <c:pt idx="5555">
                  <c:v>#N/A</c:v>
                </c:pt>
                <c:pt idx="5556">
                  <c:v>#N/A</c:v>
                </c:pt>
                <c:pt idx="5557">
                  <c:v>#N/A</c:v>
                </c:pt>
                <c:pt idx="5558">
                  <c:v>#N/A</c:v>
                </c:pt>
                <c:pt idx="5559">
                  <c:v>#N/A</c:v>
                </c:pt>
                <c:pt idx="5560">
                  <c:v>#N/A</c:v>
                </c:pt>
                <c:pt idx="5561">
                  <c:v>#N/A</c:v>
                </c:pt>
                <c:pt idx="5562">
                  <c:v>#N/A</c:v>
                </c:pt>
                <c:pt idx="5563">
                  <c:v>#N/A</c:v>
                </c:pt>
                <c:pt idx="5564">
                  <c:v>#N/A</c:v>
                </c:pt>
                <c:pt idx="5565">
                  <c:v>#N/A</c:v>
                </c:pt>
                <c:pt idx="5566">
                  <c:v>#N/A</c:v>
                </c:pt>
                <c:pt idx="5567">
                  <c:v>#N/A</c:v>
                </c:pt>
                <c:pt idx="5568">
                  <c:v>#N/A</c:v>
                </c:pt>
                <c:pt idx="5569">
                  <c:v>#N/A</c:v>
                </c:pt>
                <c:pt idx="5570">
                  <c:v>#N/A</c:v>
                </c:pt>
                <c:pt idx="5571">
                  <c:v>#N/A</c:v>
                </c:pt>
                <c:pt idx="5572">
                  <c:v>#N/A</c:v>
                </c:pt>
                <c:pt idx="5573">
                  <c:v>#N/A</c:v>
                </c:pt>
                <c:pt idx="5574">
                  <c:v>#N/A</c:v>
                </c:pt>
                <c:pt idx="5575">
                  <c:v>#N/A</c:v>
                </c:pt>
                <c:pt idx="5576">
                  <c:v>#N/A</c:v>
                </c:pt>
                <c:pt idx="5577">
                  <c:v>#N/A</c:v>
                </c:pt>
                <c:pt idx="5578">
                  <c:v>#N/A</c:v>
                </c:pt>
                <c:pt idx="5579">
                  <c:v>#N/A</c:v>
                </c:pt>
                <c:pt idx="5580">
                  <c:v>#N/A</c:v>
                </c:pt>
                <c:pt idx="5581">
                  <c:v>#N/A</c:v>
                </c:pt>
                <c:pt idx="5582">
                  <c:v>#N/A</c:v>
                </c:pt>
                <c:pt idx="5583">
                  <c:v>#N/A</c:v>
                </c:pt>
                <c:pt idx="5584">
                  <c:v>#N/A</c:v>
                </c:pt>
                <c:pt idx="5585">
                  <c:v>#N/A</c:v>
                </c:pt>
                <c:pt idx="5586">
                  <c:v>#N/A</c:v>
                </c:pt>
                <c:pt idx="5587">
                  <c:v>#N/A</c:v>
                </c:pt>
                <c:pt idx="5588">
                  <c:v>#N/A</c:v>
                </c:pt>
                <c:pt idx="5589">
                  <c:v>#N/A</c:v>
                </c:pt>
                <c:pt idx="5590">
                  <c:v>#N/A</c:v>
                </c:pt>
                <c:pt idx="5591">
                  <c:v>#N/A</c:v>
                </c:pt>
                <c:pt idx="5592">
                  <c:v>#N/A</c:v>
                </c:pt>
                <c:pt idx="5593">
                  <c:v>#N/A</c:v>
                </c:pt>
                <c:pt idx="5594">
                  <c:v>#N/A</c:v>
                </c:pt>
                <c:pt idx="5595">
                  <c:v>#N/A</c:v>
                </c:pt>
                <c:pt idx="5596">
                  <c:v>#N/A</c:v>
                </c:pt>
                <c:pt idx="5597">
                  <c:v>#N/A</c:v>
                </c:pt>
                <c:pt idx="5598">
                  <c:v>#N/A</c:v>
                </c:pt>
                <c:pt idx="5599">
                  <c:v>#N/A</c:v>
                </c:pt>
                <c:pt idx="5600">
                  <c:v>#N/A</c:v>
                </c:pt>
                <c:pt idx="5601">
                  <c:v>#N/A</c:v>
                </c:pt>
                <c:pt idx="5602">
                  <c:v>#N/A</c:v>
                </c:pt>
                <c:pt idx="5603">
                  <c:v>#N/A</c:v>
                </c:pt>
                <c:pt idx="5604">
                  <c:v>#N/A</c:v>
                </c:pt>
                <c:pt idx="5605">
                  <c:v>#N/A</c:v>
                </c:pt>
                <c:pt idx="5606">
                  <c:v>#N/A</c:v>
                </c:pt>
                <c:pt idx="5607">
                  <c:v>#N/A</c:v>
                </c:pt>
                <c:pt idx="5608">
                  <c:v>#N/A</c:v>
                </c:pt>
                <c:pt idx="5609">
                  <c:v>#N/A</c:v>
                </c:pt>
                <c:pt idx="5610">
                  <c:v>#N/A</c:v>
                </c:pt>
                <c:pt idx="5611">
                  <c:v>#N/A</c:v>
                </c:pt>
                <c:pt idx="5612">
                  <c:v>#N/A</c:v>
                </c:pt>
                <c:pt idx="5613">
                  <c:v>#N/A</c:v>
                </c:pt>
                <c:pt idx="5614">
                  <c:v>#N/A</c:v>
                </c:pt>
                <c:pt idx="5615">
                  <c:v>#N/A</c:v>
                </c:pt>
                <c:pt idx="5616">
                  <c:v>#N/A</c:v>
                </c:pt>
                <c:pt idx="5617">
                  <c:v>#N/A</c:v>
                </c:pt>
                <c:pt idx="5618">
                  <c:v>#N/A</c:v>
                </c:pt>
                <c:pt idx="5619">
                  <c:v>#N/A</c:v>
                </c:pt>
                <c:pt idx="5620">
                  <c:v>#N/A</c:v>
                </c:pt>
                <c:pt idx="5621">
                  <c:v>#N/A</c:v>
                </c:pt>
                <c:pt idx="5622">
                  <c:v>#N/A</c:v>
                </c:pt>
                <c:pt idx="5623">
                  <c:v>#N/A</c:v>
                </c:pt>
                <c:pt idx="5624">
                  <c:v>#N/A</c:v>
                </c:pt>
                <c:pt idx="5625">
                  <c:v>#N/A</c:v>
                </c:pt>
                <c:pt idx="5626">
                  <c:v>#N/A</c:v>
                </c:pt>
                <c:pt idx="5627">
                  <c:v>#N/A</c:v>
                </c:pt>
                <c:pt idx="5628">
                  <c:v>#N/A</c:v>
                </c:pt>
                <c:pt idx="5629">
                  <c:v>#N/A</c:v>
                </c:pt>
                <c:pt idx="5630">
                  <c:v>#N/A</c:v>
                </c:pt>
                <c:pt idx="5631">
                  <c:v>#N/A</c:v>
                </c:pt>
                <c:pt idx="5632">
                  <c:v>#N/A</c:v>
                </c:pt>
                <c:pt idx="5633">
                  <c:v>#N/A</c:v>
                </c:pt>
                <c:pt idx="5634">
                  <c:v>#N/A</c:v>
                </c:pt>
                <c:pt idx="5635">
                  <c:v>#N/A</c:v>
                </c:pt>
                <c:pt idx="5636">
                  <c:v>#N/A</c:v>
                </c:pt>
                <c:pt idx="5637">
                  <c:v>#N/A</c:v>
                </c:pt>
                <c:pt idx="5638">
                  <c:v>#N/A</c:v>
                </c:pt>
                <c:pt idx="5639">
                  <c:v>2.0520547945205481</c:v>
                </c:pt>
                <c:pt idx="5640">
                  <c:v>#N/A</c:v>
                </c:pt>
                <c:pt idx="5641">
                  <c:v>#N/A</c:v>
                </c:pt>
                <c:pt idx="5642">
                  <c:v>#N/A</c:v>
                </c:pt>
                <c:pt idx="5643">
                  <c:v>#N/A</c:v>
                </c:pt>
                <c:pt idx="5644">
                  <c:v>#N/A</c:v>
                </c:pt>
                <c:pt idx="5645">
                  <c:v>#N/A</c:v>
                </c:pt>
                <c:pt idx="5646">
                  <c:v>#N/A</c:v>
                </c:pt>
                <c:pt idx="5647">
                  <c:v>#N/A</c:v>
                </c:pt>
                <c:pt idx="5648">
                  <c:v>#N/A</c:v>
                </c:pt>
                <c:pt idx="5649">
                  <c:v>#N/A</c:v>
                </c:pt>
                <c:pt idx="5650">
                  <c:v>#N/A</c:v>
                </c:pt>
                <c:pt idx="5651">
                  <c:v>#N/A</c:v>
                </c:pt>
                <c:pt idx="5652">
                  <c:v>#N/A</c:v>
                </c:pt>
                <c:pt idx="5653">
                  <c:v>#N/A</c:v>
                </c:pt>
                <c:pt idx="5654">
                  <c:v>#N/A</c:v>
                </c:pt>
                <c:pt idx="5655">
                  <c:v>#N/A</c:v>
                </c:pt>
                <c:pt idx="5656">
                  <c:v>#N/A</c:v>
                </c:pt>
                <c:pt idx="5657">
                  <c:v>#N/A</c:v>
                </c:pt>
                <c:pt idx="5658">
                  <c:v>#N/A</c:v>
                </c:pt>
                <c:pt idx="5659">
                  <c:v>#N/A</c:v>
                </c:pt>
                <c:pt idx="5660">
                  <c:v>#N/A</c:v>
                </c:pt>
                <c:pt idx="5661">
                  <c:v>#N/A</c:v>
                </c:pt>
                <c:pt idx="5662">
                  <c:v>#N/A</c:v>
                </c:pt>
                <c:pt idx="5663">
                  <c:v>#N/A</c:v>
                </c:pt>
                <c:pt idx="5664">
                  <c:v>#N/A</c:v>
                </c:pt>
                <c:pt idx="5665">
                  <c:v>#N/A</c:v>
                </c:pt>
                <c:pt idx="5666">
                  <c:v>#N/A</c:v>
                </c:pt>
                <c:pt idx="5667">
                  <c:v>#N/A</c:v>
                </c:pt>
                <c:pt idx="5668">
                  <c:v>#N/A</c:v>
                </c:pt>
                <c:pt idx="5669">
                  <c:v>#N/A</c:v>
                </c:pt>
                <c:pt idx="5670">
                  <c:v>#N/A</c:v>
                </c:pt>
                <c:pt idx="5671">
                  <c:v>#N/A</c:v>
                </c:pt>
                <c:pt idx="5672">
                  <c:v>#N/A</c:v>
                </c:pt>
                <c:pt idx="5673">
                  <c:v>#N/A</c:v>
                </c:pt>
                <c:pt idx="5674">
                  <c:v>#N/A</c:v>
                </c:pt>
                <c:pt idx="5675">
                  <c:v>#N/A</c:v>
                </c:pt>
                <c:pt idx="5676">
                  <c:v>#N/A</c:v>
                </c:pt>
                <c:pt idx="5677">
                  <c:v>#N/A</c:v>
                </c:pt>
                <c:pt idx="5678">
                  <c:v>#N/A</c:v>
                </c:pt>
                <c:pt idx="5679">
                  <c:v>#N/A</c:v>
                </c:pt>
                <c:pt idx="5680">
                  <c:v>#N/A</c:v>
                </c:pt>
                <c:pt idx="5681">
                  <c:v>#N/A</c:v>
                </c:pt>
                <c:pt idx="5682">
                  <c:v>#N/A</c:v>
                </c:pt>
                <c:pt idx="5683">
                  <c:v>#N/A</c:v>
                </c:pt>
                <c:pt idx="5684">
                  <c:v>#N/A</c:v>
                </c:pt>
                <c:pt idx="5685">
                  <c:v>#N/A</c:v>
                </c:pt>
                <c:pt idx="5686">
                  <c:v>#N/A</c:v>
                </c:pt>
                <c:pt idx="5687">
                  <c:v>#N/A</c:v>
                </c:pt>
                <c:pt idx="5688">
                  <c:v>#N/A</c:v>
                </c:pt>
                <c:pt idx="5689">
                  <c:v>#N/A</c:v>
                </c:pt>
                <c:pt idx="5690">
                  <c:v>#N/A</c:v>
                </c:pt>
                <c:pt idx="5691">
                  <c:v>#N/A</c:v>
                </c:pt>
                <c:pt idx="5692">
                  <c:v>#N/A</c:v>
                </c:pt>
                <c:pt idx="5693">
                  <c:v>#N/A</c:v>
                </c:pt>
                <c:pt idx="5694">
                  <c:v>#N/A</c:v>
                </c:pt>
                <c:pt idx="5695">
                  <c:v>#N/A</c:v>
                </c:pt>
                <c:pt idx="5696">
                  <c:v>#N/A</c:v>
                </c:pt>
                <c:pt idx="5697">
                  <c:v>#N/A</c:v>
                </c:pt>
                <c:pt idx="5698">
                  <c:v>#N/A</c:v>
                </c:pt>
                <c:pt idx="5699">
                  <c:v>#N/A</c:v>
                </c:pt>
                <c:pt idx="5700">
                  <c:v>#N/A</c:v>
                </c:pt>
                <c:pt idx="5701">
                  <c:v>#N/A</c:v>
                </c:pt>
                <c:pt idx="5702">
                  <c:v>#N/A</c:v>
                </c:pt>
                <c:pt idx="5703">
                  <c:v>#N/A</c:v>
                </c:pt>
                <c:pt idx="5704">
                  <c:v>#N/A</c:v>
                </c:pt>
                <c:pt idx="5705">
                  <c:v>#N/A</c:v>
                </c:pt>
                <c:pt idx="5706">
                  <c:v>#N/A</c:v>
                </c:pt>
                <c:pt idx="5707">
                  <c:v>#N/A</c:v>
                </c:pt>
                <c:pt idx="5708">
                  <c:v>#N/A</c:v>
                </c:pt>
                <c:pt idx="5709">
                  <c:v>#N/A</c:v>
                </c:pt>
                <c:pt idx="5710">
                  <c:v>#N/A</c:v>
                </c:pt>
                <c:pt idx="5711">
                  <c:v>#N/A</c:v>
                </c:pt>
                <c:pt idx="5712">
                  <c:v>#N/A</c:v>
                </c:pt>
                <c:pt idx="5713">
                  <c:v>#N/A</c:v>
                </c:pt>
                <c:pt idx="5714">
                  <c:v>#N/A</c:v>
                </c:pt>
                <c:pt idx="5715">
                  <c:v>#N/A</c:v>
                </c:pt>
                <c:pt idx="5716">
                  <c:v>#N/A</c:v>
                </c:pt>
                <c:pt idx="5717">
                  <c:v>#N/A</c:v>
                </c:pt>
                <c:pt idx="5718">
                  <c:v>#N/A</c:v>
                </c:pt>
                <c:pt idx="5719">
                  <c:v>#N/A</c:v>
                </c:pt>
                <c:pt idx="5720">
                  <c:v>#N/A</c:v>
                </c:pt>
                <c:pt idx="5721">
                  <c:v>#N/A</c:v>
                </c:pt>
                <c:pt idx="5722">
                  <c:v>#N/A</c:v>
                </c:pt>
                <c:pt idx="5723">
                  <c:v>#N/A</c:v>
                </c:pt>
                <c:pt idx="5724">
                  <c:v>#N/A</c:v>
                </c:pt>
                <c:pt idx="5725">
                  <c:v>#N/A</c:v>
                </c:pt>
                <c:pt idx="5726">
                  <c:v>#N/A</c:v>
                </c:pt>
                <c:pt idx="5727">
                  <c:v>#N/A</c:v>
                </c:pt>
                <c:pt idx="5728">
                  <c:v>#N/A</c:v>
                </c:pt>
                <c:pt idx="5729">
                  <c:v>#N/A</c:v>
                </c:pt>
                <c:pt idx="5730">
                  <c:v>#N/A</c:v>
                </c:pt>
                <c:pt idx="5731">
                  <c:v>#N/A</c:v>
                </c:pt>
                <c:pt idx="5732">
                  <c:v>#N/A</c:v>
                </c:pt>
                <c:pt idx="5733">
                  <c:v>#N/A</c:v>
                </c:pt>
                <c:pt idx="5734">
                  <c:v>#N/A</c:v>
                </c:pt>
                <c:pt idx="5735">
                  <c:v>#N/A</c:v>
                </c:pt>
                <c:pt idx="5736">
                  <c:v>#N/A</c:v>
                </c:pt>
                <c:pt idx="5737">
                  <c:v>#N/A</c:v>
                </c:pt>
                <c:pt idx="5738">
                  <c:v>#N/A</c:v>
                </c:pt>
                <c:pt idx="5739">
                  <c:v>#N/A</c:v>
                </c:pt>
                <c:pt idx="5740">
                  <c:v>#N/A</c:v>
                </c:pt>
                <c:pt idx="5741">
                  <c:v>#N/A</c:v>
                </c:pt>
                <c:pt idx="5742">
                  <c:v>#N/A</c:v>
                </c:pt>
                <c:pt idx="5743">
                  <c:v>#N/A</c:v>
                </c:pt>
                <c:pt idx="5744">
                  <c:v>#N/A</c:v>
                </c:pt>
                <c:pt idx="5745">
                  <c:v>#N/A</c:v>
                </c:pt>
                <c:pt idx="5746">
                  <c:v>#N/A</c:v>
                </c:pt>
                <c:pt idx="5747">
                  <c:v>#N/A</c:v>
                </c:pt>
                <c:pt idx="5748">
                  <c:v>#N/A</c:v>
                </c:pt>
                <c:pt idx="5749">
                  <c:v>#N/A</c:v>
                </c:pt>
                <c:pt idx="5750">
                  <c:v>#N/A</c:v>
                </c:pt>
                <c:pt idx="5751">
                  <c:v>#N/A</c:v>
                </c:pt>
                <c:pt idx="5752">
                  <c:v>#N/A</c:v>
                </c:pt>
                <c:pt idx="5753">
                  <c:v>#N/A</c:v>
                </c:pt>
                <c:pt idx="5754">
                  <c:v>#N/A</c:v>
                </c:pt>
                <c:pt idx="5755">
                  <c:v>#N/A</c:v>
                </c:pt>
                <c:pt idx="5756">
                  <c:v>#N/A</c:v>
                </c:pt>
                <c:pt idx="5757">
                  <c:v>#N/A</c:v>
                </c:pt>
                <c:pt idx="5758">
                  <c:v>#N/A</c:v>
                </c:pt>
                <c:pt idx="5759">
                  <c:v>#N/A</c:v>
                </c:pt>
                <c:pt idx="5760">
                  <c:v>#N/A</c:v>
                </c:pt>
                <c:pt idx="5761">
                  <c:v>#N/A</c:v>
                </c:pt>
                <c:pt idx="5762">
                  <c:v>#N/A</c:v>
                </c:pt>
                <c:pt idx="5763">
                  <c:v>#N/A</c:v>
                </c:pt>
                <c:pt idx="5764">
                  <c:v>#N/A</c:v>
                </c:pt>
                <c:pt idx="5765">
                  <c:v>#N/A</c:v>
                </c:pt>
                <c:pt idx="5766">
                  <c:v>#N/A</c:v>
                </c:pt>
                <c:pt idx="5767">
                  <c:v>#N/A</c:v>
                </c:pt>
                <c:pt idx="5768">
                  <c:v>#N/A</c:v>
                </c:pt>
                <c:pt idx="5769">
                  <c:v>#N/A</c:v>
                </c:pt>
                <c:pt idx="5770">
                  <c:v>#N/A</c:v>
                </c:pt>
                <c:pt idx="5771">
                  <c:v>#N/A</c:v>
                </c:pt>
                <c:pt idx="5772">
                  <c:v>#N/A</c:v>
                </c:pt>
                <c:pt idx="5773">
                  <c:v>#N/A</c:v>
                </c:pt>
                <c:pt idx="5774">
                  <c:v>#N/A</c:v>
                </c:pt>
                <c:pt idx="5775">
                  <c:v>#N/A</c:v>
                </c:pt>
                <c:pt idx="5776">
                  <c:v>#N/A</c:v>
                </c:pt>
                <c:pt idx="5777">
                  <c:v>#N/A</c:v>
                </c:pt>
                <c:pt idx="5778">
                  <c:v>#N/A</c:v>
                </c:pt>
                <c:pt idx="5779">
                  <c:v>#N/A</c:v>
                </c:pt>
                <c:pt idx="5780">
                  <c:v>#N/A</c:v>
                </c:pt>
                <c:pt idx="5781">
                  <c:v>#N/A</c:v>
                </c:pt>
                <c:pt idx="5782">
                  <c:v>#N/A</c:v>
                </c:pt>
                <c:pt idx="5783">
                  <c:v>#N/A</c:v>
                </c:pt>
                <c:pt idx="5784">
                  <c:v>#N/A</c:v>
                </c:pt>
                <c:pt idx="5785">
                  <c:v>#N/A</c:v>
                </c:pt>
                <c:pt idx="5786">
                  <c:v>#N/A</c:v>
                </c:pt>
                <c:pt idx="5787">
                  <c:v>#N/A</c:v>
                </c:pt>
                <c:pt idx="5788">
                  <c:v>#N/A</c:v>
                </c:pt>
                <c:pt idx="5789">
                  <c:v>#N/A</c:v>
                </c:pt>
                <c:pt idx="5790">
                  <c:v>#N/A</c:v>
                </c:pt>
                <c:pt idx="5791">
                  <c:v>#N/A</c:v>
                </c:pt>
                <c:pt idx="5792">
                  <c:v>#N/A</c:v>
                </c:pt>
                <c:pt idx="5793">
                  <c:v>#N/A</c:v>
                </c:pt>
                <c:pt idx="5794">
                  <c:v>#N/A</c:v>
                </c:pt>
                <c:pt idx="5795">
                  <c:v>#N/A</c:v>
                </c:pt>
                <c:pt idx="5796">
                  <c:v>#N/A</c:v>
                </c:pt>
                <c:pt idx="5797">
                  <c:v>#N/A</c:v>
                </c:pt>
                <c:pt idx="5798">
                  <c:v>#N/A</c:v>
                </c:pt>
                <c:pt idx="5799">
                  <c:v>#N/A</c:v>
                </c:pt>
                <c:pt idx="5800">
                  <c:v>#N/A</c:v>
                </c:pt>
                <c:pt idx="5801">
                  <c:v>#N/A</c:v>
                </c:pt>
                <c:pt idx="5802">
                  <c:v>#N/A</c:v>
                </c:pt>
                <c:pt idx="5803">
                  <c:v>#N/A</c:v>
                </c:pt>
                <c:pt idx="5804">
                  <c:v>#N/A</c:v>
                </c:pt>
                <c:pt idx="5805">
                  <c:v>#N/A</c:v>
                </c:pt>
                <c:pt idx="5806">
                  <c:v>#N/A</c:v>
                </c:pt>
                <c:pt idx="5807">
                  <c:v>#N/A</c:v>
                </c:pt>
                <c:pt idx="5808">
                  <c:v>#N/A</c:v>
                </c:pt>
                <c:pt idx="5809">
                  <c:v>#N/A</c:v>
                </c:pt>
                <c:pt idx="5810">
                  <c:v>#N/A</c:v>
                </c:pt>
                <c:pt idx="5811">
                  <c:v>#N/A</c:v>
                </c:pt>
                <c:pt idx="5812">
                  <c:v>#N/A</c:v>
                </c:pt>
                <c:pt idx="5813">
                  <c:v>#N/A</c:v>
                </c:pt>
                <c:pt idx="5814">
                  <c:v>#N/A</c:v>
                </c:pt>
                <c:pt idx="5815">
                  <c:v>#N/A</c:v>
                </c:pt>
                <c:pt idx="5816">
                  <c:v>#N/A</c:v>
                </c:pt>
                <c:pt idx="5817">
                  <c:v>#N/A</c:v>
                </c:pt>
                <c:pt idx="5818">
                  <c:v>#N/A</c:v>
                </c:pt>
                <c:pt idx="5819">
                  <c:v>#N/A</c:v>
                </c:pt>
                <c:pt idx="5820">
                  <c:v>#N/A</c:v>
                </c:pt>
                <c:pt idx="5821">
                  <c:v>#N/A</c:v>
                </c:pt>
                <c:pt idx="5822">
                  <c:v>#N/A</c:v>
                </c:pt>
                <c:pt idx="5823">
                  <c:v>#N/A</c:v>
                </c:pt>
                <c:pt idx="5824">
                  <c:v>#N/A</c:v>
                </c:pt>
                <c:pt idx="5825">
                  <c:v>#N/A</c:v>
                </c:pt>
                <c:pt idx="5826">
                  <c:v>#N/A</c:v>
                </c:pt>
                <c:pt idx="5827">
                  <c:v>#N/A</c:v>
                </c:pt>
                <c:pt idx="5828">
                  <c:v>#N/A</c:v>
                </c:pt>
                <c:pt idx="5829">
                  <c:v>#N/A</c:v>
                </c:pt>
                <c:pt idx="5830">
                  <c:v>#N/A</c:v>
                </c:pt>
                <c:pt idx="5831">
                  <c:v>#N/A</c:v>
                </c:pt>
                <c:pt idx="5832">
                  <c:v>#N/A</c:v>
                </c:pt>
                <c:pt idx="5833">
                  <c:v>#N/A</c:v>
                </c:pt>
                <c:pt idx="5834">
                  <c:v>#N/A</c:v>
                </c:pt>
                <c:pt idx="5835">
                  <c:v>#N/A</c:v>
                </c:pt>
                <c:pt idx="5836">
                  <c:v>#N/A</c:v>
                </c:pt>
                <c:pt idx="5837">
                  <c:v>#N/A</c:v>
                </c:pt>
                <c:pt idx="5838">
                  <c:v>#N/A</c:v>
                </c:pt>
                <c:pt idx="5839">
                  <c:v>#N/A</c:v>
                </c:pt>
                <c:pt idx="5840">
                  <c:v>#N/A</c:v>
                </c:pt>
                <c:pt idx="5841">
                  <c:v>#N/A</c:v>
                </c:pt>
                <c:pt idx="5842">
                  <c:v>#N/A</c:v>
                </c:pt>
                <c:pt idx="5843">
                  <c:v>#N/A</c:v>
                </c:pt>
                <c:pt idx="5844">
                  <c:v>#N/A</c:v>
                </c:pt>
                <c:pt idx="5845">
                  <c:v>#N/A</c:v>
                </c:pt>
                <c:pt idx="5846">
                  <c:v>#N/A</c:v>
                </c:pt>
                <c:pt idx="5847">
                  <c:v>#N/A</c:v>
                </c:pt>
                <c:pt idx="5848">
                  <c:v>#N/A</c:v>
                </c:pt>
                <c:pt idx="5849">
                  <c:v>#N/A</c:v>
                </c:pt>
                <c:pt idx="5850">
                  <c:v>#N/A</c:v>
                </c:pt>
                <c:pt idx="5851">
                  <c:v>#N/A</c:v>
                </c:pt>
                <c:pt idx="5852">
                  <c:v>#N/A</c:v>
                </c:pt>
                <c:pt idx="5853">
                  <c:v>#N/A</c:v>
                </c:pt>
                <c:pt idx="5854">
                  <c:v>#N/A</c:v>
                </c:pt>
                <c:pt idx="5855">
                  <c:v>#N/A</c:v>
                </c:pt>
                <c:pt idx="5856">
                  <c:v>#N/A</c:v>
                </c:pt>
                <c:pt idx="5857">
                  <c:v>#N/A</c:v>
                </c:pt>
                <c:pt idx="5858">
                  <c:v>#N/A</c:v>
                </c:pt>
                <c:pt idx="5859">
                  <c:v>#N/A</c:v>
                </c:pt>
                <c:pt idx="5860">
                  <c:v>#N/A</c:v>
                </c:pt>
                <c:pt idx="5861">
                  <c:v>#N/A</c:v>
                </c:pt>
                <c:pt idx="5862">
                  <c:v>#N/A</c:v>
                </c:pt>
                <c:pt idx="5863">
                  <c:v>#N/A</c:v>
                </c:pt>
                <c:pt idx="5864">
                  <c:v>#N/A</c:v>
                </c:pt>
                <c:pt idx="5865">
                  <c:v>#N/A</c:v>
                </c:pt>
                <c:pt idx="5866">
                  <c:v>#N/A</c:v>
                </c:pt>
                <c:pt idx="5867">
                  <c:v>#N/A</c:v>
                </c:pt>
                <c:pt idx="5868">
                  <c:v>#N/A</c:v>
                </c:pt>
                <c:pt idx="5869">
                  <c:v>#N/A</c:v>
                </c:pt>
                <c:pt idx="5870">
                  <c:v>#N/A</c:v>
                </c:pt>
                <c:pt idx="5871">
                  <c:v>#N/A</c:v>
                </c:pt>
                <c:pt idx="5872">
                  <c:v>#N/A</c:v>
                </c:pt>
                <c:pt idx="5873">
                  <c:v>#N/A</c:v>
                </c:pt>
                <c:pt idx="5874">
                  <c:v>#N/A</c:v>
                </c:pt>
                <c:pt idx="5875">
                  <c:v>#N/A</c:v>
                </c:pt>
                <c:pt idx="5876">
                  <c:v>#N/A</c:v>
                </c:pt>
                <c:pt idx="5877">
                  <c:v>#N/A</c:v>
                </c:pt>
                <c:pt idx="5878">
                  <c:v>#N/A</c:v>
                </c:pt>
                <c:pt idx="5879">
                  <c:v>#N/A</c:v>
                </c:pt>
                <c:pt idx="5880">
                  <c:v>#N/A</c:v>
                </c:pt>
                <c:pt idx="5881">
                  <c:v>#N/A</c:v>
                </c:pt>
                <c:pt idx="5882">
                  <c:v>#N/A</c:v>
                </c:pt>
                <c:pt idx="5883">
                  <c:v>#N/A</c:v>
                </c:pt>
                <c:pt idx="5884">
                  <c:v>#N/A</c:v>
                </c:pt>
                <c:pt idx="5885">
                  <c:v>#N/A</c:v>
                </c:pt>
                <c:pt idx="5886">
                  <c:v>#N/A</c:v>
                </c:pt>
                <c:pt idx="5887">
                  <c:v>#N/A</c:v>
                </c:pt>
                <c:pt idx="5888">
                  <c:v>#N/A</c:v>
                </c:pt>
                <c:pt idx="5889">
                  <c:v>#N/A</c:v>
                </c:pt>
                <c:pt idx="5890">
                  <c:v>#N/A</c:v>
                </c:pt>
                <c:pt idx="5891">
                  <c:v>#N/A</c:v>
                </c:pt>
                <c:pt idx="5892">
                  <c:v>#N/A</c:v>
                </c:pt>
                <c:pt idx="5893">
                  <c:v>#N/A</c:v>
                </c:pt>
                <c:pt idx="5894">
                  <c:v>#N/A</c:v>
                </c:pt>
                <c:pt idx="5895">
                  <c:v>#N/A</c:v>
                </c:pt>
                <c:pt idx="5896">
                  <c:v>#N/A</c:v>
                </c:pt>
                <c:pt idx="5897">
                  <c:v>#N/A</c:v>
                </c:pt>
                <c:pt idx="5898">
                  <c:v>#N/A</c:v>
                </c:pt>
                <c:pt idx="5899">
                  <c:v>#N/A</c:v>
                </c:pt>
                <c:pt idx="5900">
                  <c:v>#N/A</c:v>
                </c:pt>
                <c:pt idx="5901">
                  <c:v>#N/A</c:v>
                </c:pt>
                <c:pt idx="5902">
                  <c:v>#N/A</c:v>
                </c:pt>
                <c:pt idx="5903">
                  <c:v>#N/A</c:v>
                </c:pt>
                <c:pt idx="5904">
                  <c:v>#N/A</c:v>
                </c:pt>
                <c:pt idx="5905">
                  <c:v>#N/A</c:v>
                </c:pt>
                <c:pt idx="5906">
                  <c:v>#N/A</c:v>
                </c:pt>
                <c:pt idx="5907">
                  <c:v>#N/A</c:v>
                </c:pt>
                <c:pt idx="5908">
                  <c:v>#N/A</c:v>
                </c:pt>
                <c:pt idx="5909">
                  <c:v>#N/A</c:v>
                </c:pt>
                <c:pt idx="5910">
                  <c:v>#N/A</c:v>
                </c:pt>
                <c:pt idx="5911">
                  <c:v>#N/A</c:v>
                </c:pt>
                <c:pt idx="5912">
                  <c:v>#N/A</c:v>
                </c:pt>
                <c:pt idx="5913">
                  <c:v>#N/A</c:v>
                </c:pt>
                <c:pt idx="5914">
                  <c:v>#N/A</c:v>
                </c:pt>
                <c:pt idx="5915">
                  <c:v>#N/A</c:v>
                </c:pt>
                <c:pt idx="5916">
                  <c:v>#N/A</c:v>
                </c:pt>
                <c:pt idx="5917">
                  <c:v>#N/A</c:v>
                </c:pt>
                <c:pt idx="5918">
                  <c:v>#N/A</c:v>
                </c:pt>
                <c:pt idx="5919">
                  <c:v>#N/A</c:v>
                </c:pt>
                <c:pt idx="5920">
                  <c:v>#N/A</c:v>
                </c:pt>
                <c:pt idx="5921">
                  <c:v>#N/A</c:v>
                </c:pt>
                <c:pt idx="5922">
                  <c:v>#N/A</c:v>
                </c:pt>
                <c:pt idx="5923">
                  <c:v>#N/A</c:v>
                </c:pt>
                <c:pt idx="5924">
                  <c:v>#N/A</c:v>
                </c:pt>
                <c:pt idx="5925">
                  <c:v>#N/A</c:v>
                </c:pt>
                <c:pt idx="5926">
                  <c:v>#N/A</c:v>
                </c:pt>
                <c:pt idx="5927">
                  <c:v>#N/A</c:v>
                </c:pt>
                <c:pt idx="5928">
                  <c:v>#N/A</c:v>
                </c:pt>
                <c:pt idx="5929">
                  <c:v>#N/A</c:v>
                </c:pt>
                <c:pt idx="5930">
                  <c:v>2.0684931506849313</c:v>
                </c:pt>
                <c:pt idx="5931">
                  <c:v>#N/A</c:v>
                </c:pt>
                <c:pt idx="5932">
                  <c:v>#N/A</c:v>
                </c:pt>
                <c:pt idx="5933">
                  <c:v>#N/A</c:v>
                </c:pt>
                <c:pt idx="5934">
                  <c:v>#N/A</c:v>
                </c:pt>
                <c:pt idx="5935">
                  <c:v>#N/A</c:v>
                </c:pt>
                <c:pt idx="5936">
                  <c:v>#N/A</c:v>
                </c:pt>
                <c:pt idx="5937">
                  <c:v>#N/A</c:v>
                </c:pt>
                <c:pt idx="5938">
                  <c:v>#N/A</c:v>
                </c:pt>
                <c:pt idx="5939">
                  <c:v>#N/A</c:v>
                </c:pt>
                <c:pt idx="5940">
                  <c:v>#N/A</c:v>
                </c:pt>
                <c:pt idx="5941">
                  <c:v>#N/A</c:v>
                </c:pt>
                <c:pt idx="5942">
                  <c:v>#N/A</c:v>
                </c:pt>
                <c:pt idx="5943">
                  <c:v>#N/A</c:v>
                </c:pt>
                <c:pt idx="5944">
                  <c:v>#N/A</c:v>
                </c:pt>
                <c:pt idx="5945">
                  <c:v>#N/A</c:v>
                </c:pt>
                <c:pt idx="5946">
                  <c:v>#N/A</c:v>
                </c:pt>
                <c:pt idx="5947">
                  <c:v>#N/A</c:v>
                </c:pt>
                <c:pt idx="5948">
                  <c:v>#N/A</c:v>
                </c:pt>
                <c:pt idx="5949">
                  <c:v>#N/A</c:v>
                </c:pt>
                <c:pt idx="5950">
                  <c:v>#N/A</c:v>
                </c:pt>
                <c:pt idx="5951">
                  <c:v>#N/A</c:v>
                </c:pt>
                <c:pt idx="5952">
                  <c:v>#N/A</c:v>
                </c:pt>
                <c:pt idx="5953">
                  <c:v>#N/A</c:v>
                </c:pt>
                <c:pt idx="5954">
                  <c:v>#N/A</c:v>
                </c:pt>
                <c:pt idx="5955">
                  <c:v>#N/A</c:v>
                </c:pt>
                <c:pt idx="5956">
                  <c:v>#N/A</c:v>
                </c:pt>
                <c:pt idx="5957">
                  <c:v>#N/A</c:v>
                </c:pt>
                <c:pt idx="5958">
                  <c:v>#N/A</c:v>
                </c:pt>
                <c:pt idx="5959">
                  <c:v>#N/A</c:v>
                </c:pt>
                <c:pt idx="5960">
                  <c:v>#N/A</c:v>
                </c:pt>
                <c:pt idx="5961">
                  <c:v>#N/A</c:v>
                </c:pt>
                <c:pt idx="5962">
                  <c:v>#N/A</c:v>
                </c:pt>
                <c:pt idx="5963">
                  <c:v>#N/A</c:v>
                </c:pt>
                <c:pt idx="5964">
                  <c:v>#N/A</c:v>
                </c:pt>
                <c:pt idx="5965">
                  <c:v>#N/A</c:v>
                </c:pt>
                <c:pt idx="5966">
                  <c:v>#N/A</c:v>
                </c:pt>
                <c:pt idx="5967">
                  <c:v>#N/A</c:v>
                </c:pt>
                <c:pt idx="5968">
                  <c:v>#N/A</c:v>
                </c:pt>
                <c:pt idx="5969">
                  <c:v>#N/A</c:v>
                </c:pt>
                <c:pt idx="5970">
                  <c:v>#N/A</c:v>
                </c:pt>
                <c:pt idx="5971">
                  <c:v>#N/A</c:v>
                </c:pt>
                <c:pt idx="5972">
                  <c:v>#N/A</c:v>
                </c:pt>
                <c:pt idx="5973">
                  <c:v>#N/A</c:v>
                </c:pt>
                <c:pt idx="5974">
                  <c:v>#N/A</c:v>
                </c:pt>
                <c:pt idx="5975">
                  <c:v>#N/A</c:v>
                </c:pt>
                <c:pt idx="5976">
                  <c:v>#N/A</c:v>
                </c:pt>
                <c:pt idx="5977">
                  <c:v>#N/A</c:v>
                </c:pt>
                <c:pt idx="5978">
                  <c:v>#N/A</c:v>
                </c:pt>
                <c:pt idx="5979">
                  <c:v>#N/A</c:v>
                </c:pt>
                <c:pt idx="5980">
                  <c:v>#N/A</c:v>
                </c:pt>
                <c:pt idx="5981">
                  <c:v>#N/A</c:v>
                </c:pt>
                <c:pt idx="5982">
                  <c:v>#N/A</c:v>
                </c:pt>
                <c:pt idx="5983">
                  <c:v>#N/A</c:v>
                </c:pt>
                <c:pt idx="5984">
                  <c:v>#N/A</c:v>
                </c:pt>
                <c:pt idx="5985">
                  <c:v>#N/A</c:v>
                </c:pt>
                <c:pt idx="5986">
                  <c:v>#N/A</c:v>
                </c:pt>
                <c:pt idx="5987">
                  <c:v>#N/A</c:v>
                </c:pt>
                <c:pt idx="5988">
                  <c:v>#N/A</c:v>
                </c:pt>
                <c:pt idx="5989">
                  <c:v>#N/A</c:v>
                </c:pt>
                <c:pt idx="5990">
                  <c:v>#N/A</c:v>
                </c:pt>
                <c:pt idx="5991">
                  <c:v>#N/A</c:v>
                </c:pt>
                <c:pt idx="5992">
                  <c:v>#N/A</c:v>
                </c:pt>
                <c:pt idx="5993">
                  <c:v>#N/A</c:v>
                </c:pt>
                <c:pt idx="5994">
                  <c:v>#N/A</c:v>
                </c:pt>
                <c:pt idx="5995">
                  <c:v>#N/A</c:v>
                </c:pt>
                <c:pt idx="5996">
                  <c:v>#N/A</c:v>
                </c:pt>
                <c:pt idx="5997">
                  <c:v>#N/A</c:v>
                </c:pt>
                <c:pt idx="5998">
                  <c:v>#N/A</c:v>
                </c:pt>
                <c:pt idx="5999">
                  <c:v>#N/A</c:v>
                </c:pt>
                <c:pt idx="6000">
                  <c:v>#N/A</c:v>
                </c:pt>
                <c:pt idx="6001">
                  <c:v>#N/A</c:v>
                </c:pt>
                <c:pt idx="6002">
                  <c:v>#N/A</c:v>
                </c:pt>
                <c:pt idx="6003">
                  <c:v>#N/A</c:v>
                </c:pt>
                <c:pt idx="6004">
                  <c:v>#N/A</c:v>
                </c:pt>
                <c:pt idx="6005">
                  <c:v>#N/A</c:v>
                </c:pt>
                <c:pt idx="6006">
                  <c:v>#N/A</c:v>
                </c:pt>
                <c:pt idx="6007">
                  <c:v>#N/A</c:v>
                </c:pt>
                <c:pt idx="6008">
                  <c:v>#N/A</c:v>
                </c:pt>
                <c:pt idx="6009">
                  <c:v>#N/A</c:v>
                </c:pt>
                <c:pt idx="6010">
                  <c:v>#N/A</c:v>
                </c:pt>
                <c:pt idx="6011">
                  <c:v>#N/A</c:v>
                </c:pt>
                <c:pt idx="6012">
                  <c:v>#N/A</c:v>
                </c:pt>
                <c:pt idx="6013">
                  <c:v>#N/A</c:v>
                </c:pt>
                <c:pt idx="6014">
                  <c:v>#N/A</c:v>
                </c:pt>
                <c:pt idx="6015">
                  <c:v>#N/A</c:v>
                </c:pt>
                <c:pt idx="6016">
                  <c:v>#N/A</c:v>
                </c:pt>
                <c:pt idx="6017">
                  <c:v>#N/A</c:v>
                </c:pt>
                <c:pt idx="6018">
                  <c:v>#N/A</c:v>
                </c:pt>
                <c:pt idx="6019">
                  <c:v>#N/A</c:v>
                </c:pt>
                <c:pt idx="6020">
                  <c:v>#N/A</c:v>
                </c:pt>
                <c:pt idx="6021">
                  <c:v>#N/A</c:v>
                </c:pt>
                <c:pt idx="6022">
                  <c:v>#N/A</c:v>
                </c:pt>
                <c:pt idx="6023">
                  <c:v>#N/A</c:v>
                </c:pt>
                <c:pt idx="6024">
                  <c:v>#N/A</c:v>
                </c:pt>
                <c:pt idx="6025">
                  <c:v>#N/A</c:v>
                </c:pt>
                <c:pt idx="6026">
                  <c:v>#N/A</c:v>
                </c:pt>
                <c:pt idx="6027">
                  <c:v>#N/A</c:v>
                </c:pt>
                <c:pt idx="6028">
                  <c:v>#N/A</c:v>
                </c:pt>
                <c:pt idx="6029">
                  <c:v>#N/A</c:v>
                </c:pt>
                <c:pt idx="6030">
                  <c:v>#N/A</c:v>
                </c:pt>
                <c:pt idx="6031">
                  <c:v>#N/A</c:v>
                </c:pt>
                <c:pt idx="6032">
                  <c:v>#N/A</c:v>
                </c:pt>
                <c:pt idx="6033">
                  <c:v>#N/A</c:v>
                </c:pt>
                <c:pt idx="6034">
                  <c:v>#N/A</c:v>
                </c:pt>
                <c:pt idx="6035">
                  <c:v>#N/A</c:v>
                </c:pt>
                <c:pt idx="6036">
                  <c:v>#N/A</c:v>
                </c:pt>
                <c:pt idx="6037">
                  <c:v>#N/A</c:v>
                </c:pt>
                <c:pt idx="6038">
                  <c:v>#N/A</c:v>
                </c:pt>
                <c:pt idx="6039">
                  <c:v>#N/A</c:v>
                </c:pt>
                <c:pt idx="6040">
                  <c:v>#N/A</c:v>
                </c:pt>
                <c:pt idx="6041">
                  <c:v>#N/A</c:v>
                </c:pt>
                <c:pt idx="6042">
                  <c:v>#N/A</c:v>
                </c:pt>
                <c:pt idx="6043">
                  <c:v>#N/A</c:v>
                </c:pt>
                <c:pt idx="6044">
                  <c:v>#N/A</c:v>
                </c:pt>
                <c:pt idx="6045">
                  <c:v>#N/A</c:v>
                </c:pt>
                <c:pt idx="6046">
                  <c:v>#N/A</c:v>
                </c:pt>
                <c:pt idx="6047">
                  <c:v>#N/A</c:v>
                </c:pt>
                <c:pt idx="6048">
                  <c:v>#N/A</c:v>
                </c:pt>
                <c:pt idx="6049">
                  <c:v>#N/A</c:v>
                </c:pt>
                <c:pt idx="6050">
                  <c:v>#N/A</c:v>
                </c:pt>
                <c:pt idx="6051">
                  <c:v>#N/A</c:v>
                </c:pt>
                <c:pt idx="6052">
                  <c:v>#N/A</c:v>
                </c:pt>
                <c:pt idx="6053">
                  <c:v>#N/A</c:v>
                </c:pt>
                <c:pt idx="6054">
                  <c:v>#N/A</c:v>
                </c:pt>
                <c:pt idx="6055">
                  <c:v>#N/A</c:v>
                </c:pt>
                <c:pt idx="6056">
                  <c:v>#N/A</c:v>
                </c:pt>
                <c:pt idx="6057">
                  <c:v>#N/A</c:v>
                </c:pt>
                <c:pt idx="6058">
                  <c:v>#N/A</c:v>
                </c:pt>
                <c:pt idx="6059">
                  <c:v>#N/A</c:v>
                </c:pt>
                <c:pt idx="6060">
                  <c:v>#N/A</c:v>
                </c:pt>
                <c:pt idx="6061">
                  <c:v>#N/A</c:v>
                </c:pt>
                <c:pt idx="6062">
                  <c:v>#N/A</c:v>
                </c:pt>
                <c:pt idx="6063">
                  <c:v>#N/A</c:v>
                </c:pt>
                <c:pt idx="6064">
                  <c:v>#N/A</c:v>
                </c:pt>
                <c:pt idx="6065">
                  <c:v>#N/A</c:v>
                </c:pt>
                <c:pt idx="6066">
                  <c:v>#N/A</c:v>
                </c:pt>
                <c:pt idx="6067">
                  <c:v>#N/A</c:v>
                </c:pt>
                <c:pt idx="6068">
                  <c:v>#N/A</c:v>
                </c:pt>
                <c:pt idx="6069">
                  <c:v>#N/A</c:v>
                </c:pt>
                <c:pt idx="6070">
                  <c:v>#N/A</c:v>
                </c:pt>
                <c:pt idx="6071">
                  <c:v>#N/A</c:v>
                </c:pt>
                <c:pt idx="6072">
                  <c:v>#N/A</c:v>
                </c:pt>
                <c:pt idx="6073">
                  <c:v>#N/A</c:v>
                </c:pt>
                <c:pt idx="6074">
                  <c:v>#N/A</c:v>
                </c:pt>
                <c:pt idx="6075">
                  <c:v>#N/A</c:v>
                </c:pt>
                <c:pt idx="6076">
                  <c:v>#N/A</c:v>
                </c:pt>
                <c:pt idx="6077">
                  <c:v>#N/A</c:v>
                </c:pt>
                <c:pt idx="6078">
                  <c:v>#N/A</c:v>
                </c:pt>
                <c:pt idx="6079">
                  <c:v>#N/A</c:v>
                </c:pt>
                <c:pt idx="6080">
                  <c:v>#N/A</c:v>
                </c:pt>
                <c:pt idx="6081">
                  <c:v>#N/A</c:v>
                </c:pt>
                <c:pt idx="6082">
                  <c:v>#N/A</c:v>
                </c:pt>
                <c:pt idx="6083">
                  <c:v>#N/A</c:v>
                </c:pt>
                <c:pt idx="6084">
                  <c:v>#N/A</c:v>
                </c:pt>
                <c:pt idx="6085">
                  <c:v>#N/A</c:v>
                </c:pt>
                <c:pt idx="6086">
                  <c:v>#N/A</c:v>
                </c:pt>
                <c:pt idx="6087">
                  <c:v>#N/A</c:v>
                </c:pt>
                <c:pt idx="6088">
                  <c:v>#N/A</c:v>
                </c:pt>
                <c:pt idx="6089">
                  <c:v>#N/A</c:v>
                </c:pt>
                <c:pt idx="6090">
                  <c:v>#N/A</c:v>
                </c:pt>
                <c:pt idx="6091">
                  <c:v>#N/A</c:v>
                </c:pt>
                <c:pt idx="6092">
                  <c:v>#N/A</c:v>
                </c:pt>
                <c:pt idx="6093">
                  <c:v>#N/A</c:v>
                </c:pt>
                <c:pt idx="6094">
                  <c:v>#N/A</c:v>
                </c:pt>
                <c:pt idx="6095">
                  <c:v>#N/A</c:v>
                </c:pt>
                <c:pt idx="6096">
                  <c:v>#N/A</c:v>
                </c:pt>
                <c:pt idx="6097">
                  <c:v>#N/A</c:v>
                </c:pt>
                <c:pt idx="6098">
                  <c:v>#N/A</c:v>
                </c:pt>
                <c:pt idx="6099">
                  <c:v>#N/A</c:v>
                </c:pt>
                <c:pt idx="6100">
                  <c:v>#N/A</c:v>
                </c:pt>
                <c:pt idx="6101">
                  <c:v>#N/A</c:v>
                </c:pt>
                <c:pt idx="6102">
                  <c:v>#N/A</c:v>
                </c:pt>
                <c:pt idx="6103">
                  <c:v>#N/A</c:v>
                </c:pt>
                <c:pt idx="6104">
                  <c:v>#N/A</c:v>
                </c:pt>
                <c:pt idx="6105">
                  <c:v>#N/A</c:v>
                </c:pt>
                <c:pt idx="6106">
                  <c:v>#N/A</c:v>
                </c:pt>
                <c:pt idx="6107">
                  <c:v>#N/A</c:v>
                </c:pt>
                <c:pt idx="6108">
                  <c:v>#N/A</c:v>
                </c:pt>
                <c:pt idx="6109">
                  <c:v>#N/A</c:v>
                </c:pt>
                <c:pt idx="6110">
                  <c:v>#N/A</c:v>
                </c:pt>
                <c:pt idx="6111">
                  <c:v>#N/A</c:v>
                </c:pt>
                <c:pt idx="6112">
                  <c:v>#N/A</c:v>
                </c:pt>
                <c:pt idx="6113">
                  <c:v>#N/A</c:v>
                </c:pt>
                <c:pt idx="6114">
                  <c:v>#N/A</c:v>
                </c:pt>
                <c:pt idx="6115">
                  <c:v>#N/A</c:v>
                </c:pt>
                <c:pt idx="6116">
                  <c:v>#N/A</c:v>
                </c:pt>
                <c:pt idx="6117">
                  <c:v>#N/A</c:v>
                </c:pt>
                <c:pt idx="6118">
                  <c:v>#N/A</c:v>
                </c:pt>
                <c:pt idx="6119">
                  <c:v>#N/A</c:v>
                </c:pt>
                <c:pt idx="6120">
                  <c:v>#N/A</c:v>
                </c:pt>
                <c:pt idx="6121">
                  <c:v>#N/A</c:v>
                </c:pt>
                <c:pt idx="6122">
                  <c:v>#N/A</c:v>
                </c:pt>
                <c:pt idx="6123">
                  <c:v>#N/A</c:v>
                </c:pt>
                <c:pt idx="6124">
                  <c:v>#N/A</c:v>
                </c:pt>
                <c:pt idx="6125">
                  <c:v>#N/A</c:v>
                </c:pt>
                <c:pt idx="6126">
                  <c:v>#N/A</c:v>
                </c:pt>
                <c:pt idx="6127">
                  <c:v>#N/A</c:v>
                </c:pt>
                <c:pt idx="6128">
                  <c:v>#N/A</c:v>
                </c:pt>
                <c:pt idx="6129">
                  <c:v>#N/A</c:v>
                </c:pt>
                <c:pt idx="6130">
                  <c:v>#N/A</c:v>
                </c:pt>
                <c:pt idx="6131">
                  <c:v>#N/A</c:v>
                </c:pt>
                <c:pt idx="6132">
                  <c:v>#N/A</c:v>
                </c:pt>
                <c:pt idx="6133">
                  <c:v>#N/A</c:v>
                </c:pt>
                <c:pt idx="6134">
                  <c:v>#N/A</c:v>
                </c:pt>
                <c:pt idx="6135">
                  <c:v>#N/A</c:v>
                </c:pt>
                <c:pt idx="6136">
                  <c:v>#N/A</c:v>
                </c:pt>
                <c:pt idx="6137">
                  <c:v>#N/A</c:v>
                </c:pt>
                <c:pt idx="6138">
                  <c:v>#N/A</c:v>
                </c:pt>
                <c:pt idx="6139">
                  <c:v>#N/A</c:v>
                </c:pt>
                <c:pt idx="6140">
                  <c:v>#N/A</c:v>
                </c:pt>
                <c:pt idx="6141">
                  <c:v>#N/A</c:v>
                </c:pt>
                <c:pt idx="6142">
                  <c:v>#N/A</c:v>
                </c:pt>
                <c:pt idx="6143">
                  <c:v>#N/A</c:v>
                </c:pt>
                <c:pt idx="6144">
                  <c:v>#N/A</c:v>
                </c:pt>
                <c:pt idx="6145">
                  <c:v>#N/A</c:v>
                </c:pt>
                <c:pt idx="6146">
                  <c:v>#N/A</c:v>
                </c:pt>
                <c:pt idx="6147">
                  <c:v>#N/A</c:v>
                </c:pt>
                <c:pt idx="6148">
                  <c:v>#N/A</c:v>
                </c:pt>
                <c:pt idx="6149">
                  <c:v>#N/A</c:v>
                </c:pt>
                <c:pt idx="6150">
                  <c:v>#N/A</c:v>
                </c:pt>
                <c:pt idx="6151">
                  <c:v>#N/A</c:v>
                </c:pt>
                <c:pt idx="6152">
                  <c:v>#N/A</c:v>
                </c:pt>
                <c:pt idx="6153">
                  <c:v>#N/A</c:v>
                </c:pt>
                <c:pt idx="6154">
                  <c:v>#N/A</c:v>
                </c:pt>
                <c:pt idx="6155">
                  <c:v>#N/A</c:v>
                </c:pt>
                <c:pt idx="6156">
                  <c:v>#N/A</c:v>
                </c:pt>
                <c:pt idx="6157">
                  <c:v>#N/A</c:v>
                </c:pt>
                <c:pt idx="6158">
                  <c:v>#N/A</c:v>
                </c:pt>
                <c:pt idx="6159">
                  <c:v>#N/A</c:v>
                </c:pt>
                <c:pt idx="6160">
                  <c:v>#N/A</c:v>
                </c:pt>
                <c:pt idx="6161">
                  <c:v>#N/A</c:v>
                </c:pt>
                <c:pt idx="6162">
                  <c:v>#N/A</c:v>
                </c:pt>
                <c:pt idx="6163">
                  <c:v>#N/A</c:v>
                </c:pt>
                <c:pt idx="6164">
                  <c:v>#N/A</c:v>
                </c:pt>
                <c:pt idx="6165">
                  <c:v>#N/A</c:v>
                </c:pt>
                <c:pt idx="6166">
                  <c:v>#N/A</c:v>
                </c:pt>
                <c:pt idx="6167">
                  <c:v>#N/A</c:v>
                </c:pt>
                <c:pt idx="6168">
                  <c:v>#N/A</c:v>
                </c:pt>
                <c:pt idx="6169">
                  <c:v>#N/A</c:v>
                </c:pt>
                <c:pt idx="6170">
                  <c:v>#N/A</c:v>
                </c:pt>
                <c:pt idx="6171">
                  <c:v>#N/A</c:v>
                </c:pt>
                <c:pt idx="6172">
                  <c:v>#N/A</c:v>
                </c:pt>
                <c:pt idx="6173">
                  <c:v>#N/A</c:v>
                </c:pt>
                <c:pt idx="6174">
                  <c:v>#N/A</c:v>
                </c:pt>
                <c:pt idx="6175">
                  <c:v>#N/A</c:v>
                </c:pt>
                <c:pt idx="6176">
                  <c:v>#N/A</c:v>
                </c:pt>
                <c:pt idx="6177">
                  <c:v>#N/A</c:v>
                </c:pt>
                <c:pt idx="6178">
                  <c:v>#N/A</c:v>
                </c:pt>
                <c:pt idx="6179">
                  <c:v>#N/A</c:v>
                </c:pt>
                <c:pt idx="6180">
                  <c:v>#N/A</c:v>
                </c:pt>
                <c:pt idx="6181">
                  <c:v>#N/A</c:v>
                </c:pt>
                <c:pt idx="6182">
                  <c:v>#N/A</c:v>
                </c:pt>
                <c:pt idx="6183">
                  <c:v>#N/A</c:v>
                </c:pt>
                <c:pt idx="6184">
                  <c:v>#N/A</c:v>
                </c:pt>
                <c:pt idx="6185">
                  <c:v>#N/A</c:v>
                </c:pt>
                <c:pt idx="6186">
                  <c:v>#N/A</c:v>
                </c:pt>
                <c:pt idx="6187">
                  <c:v>#N/A</c:v>
                </c:pt>
                <c:pt idx="6188">
                  <c:v>#N/A</c:v>
                </c:pt>
                <c:pt idx="6189">
                  <c:v>#N/A</c:v>
                </c:pt>
                <c:pt idx="6190">
                  <c:v>#N/A</c:v>
                </c:pt>
                <c:pt idx="6191">
                  <c:v>#N/A</c:v>
                </c:pt>
                <c:pt idx="6192">
                  <c:v>#N/A</c:v>
                </c:pt>
                <c:pt idx="6193">
                  <c:v>#N/A</c:v>
                </c:pt>
                <c:pt idx="6194">
                  <c:v>#N/A</c:v>
                </c:pt>
                <c:pt idx="6195">
                  <c:v>#N/A</c:v>
                </c:pt>
                <c:pt idx="6196">
                  <c:v>#N/A</c:v>
                </c:pt>
                <c:pt idx="6197">
                  <c:v>#N/A</c:v>
                </c:pt>
                <c:pt idx="6198">
                  <c:v>#N/A</c:v>
                </c:pt>
                <c:pt idx="6199">
                  <c:v>#N/A</c:v>
                </c:pt>
                <c:pt idx="6200">
                  <c:v>#N/A</c:v>
                </c:pt>
                <c:pt idx="6201">
                  <c:v>#N/A</c:v>
                </c:pt>
                <c:pt idx="6202">
                  <c:v>#N/A</c:v>
                </c:pt>
                <c:pt idx="6203">
                  <c:v>#N/A</c:v>
                </c:pt>
                <c:pt idx="6204">
                  <c:v>#N/A</c:v>
                </c:pt>
                <c:pt idx="6205">
                  <c:v>#N/A</c:v>
                </c:pt>
                <c:pt idx="6206">
                  <c:v>#N/A</c:v>
                </c:pt>
                <c:pt idx="6207">
                  <c:v>#N/A</c:v>
                </c:pt>
                <c:pt idx="6208">
                  <c:v>#N/A</c:v>
                </c:pt>
                <c:pt idx="6209">
                  <c:v>#N/A</c:v>
                </c:pt>
                <c:pt idx="6210">
                  <c:v>#N/A</c:v>
                </c:pt>
                <c:pt idx="6211">
                  <c:v>#N/A</c:v>
                </c:pt>
                <c:pt idx="6212">
                  <c:v>#N/A</c:v>
                </c:pt>
                <c:pt idx="6213">
                  <c:v>#N/A</c:v>
                </c:pt>
                <c:pt idx="6214">
                  <c:v>#N/A</c:v>
                </c:pt>
                <c:pt idx="6215">
                  <c:v>#N/A</c:v>
                </c:pt>
                <c:pt idx="6216">
                  <c:v>#N/A</c:v>
                </c:pt>
                <c:pt idx="6217">
                  <c:v>#N/A</c:v>
                </c:pt>
                <c:pt idx="6218">
                  <c:v>#N/A</c:v>
                </c:pt>
                <c:pt idx="6219">
                  <c:v>#N/A</c:v>
                </c:pt>
                <c:pt idx="6220">
                  <c:v>#N/A</c:v>
                </c:pt>
                <c:pt idx="6221">
                  <c:v>#N/A</c:v>
                </c:pt>
                <c:pt idx="6222">
                  <c:v>#N/A</c:v>
                </c:pt>
                <c:pt idx="6223">
                  <c:v>#N/A</c:v>
                </c:pt>
                <c:pt idx="6224">
                  <c:v>#N/A</c:v>
                </c:pt>
                <c:pt idx="6225">
                  <c:v>#N/A</c:v>
                </c:pt>
                <c:pt idx="6226">
                  <c:v>#N/A</c:v>
                </c:pt>
                <c:pt idx="6227">
                  <c:v>#N/A</c:v>
                </c:pt>
                <c:pt idx="6228">
                  <c:v>#N/A</c:v>
                </c:pt>
                <c:pt idx="6229">
                  <c:v>#N/A</c:v>
                </c:pt>
                <c:pt idx="6230">
                  <c:v>#N/A</c:v>
                </c:pt>
                <c:pt idx="6231">
                  <c:v>#N/A</c:v>
                </c:pt>
                <c:pt idx="6232">
                  <c:v>#N/A</c:v>
                </c:pt>
                <c:pt idx="6233">
                  <c:v>#N/A</c:v>
                </c:pt>
                <c:pt idx="6234">
                  <c:v>#N/A</c:v>
                </c:pt>
                <c:pt idx="6235">
                  <c:v>#N/A</c:v>
                </c:pt>
                <c:pt idx="6236">
                  <c:v>#N/A</c:v>
                </c:pt>
                <c:pt idx="6237">
                  <c:v>#N/A</c:v>
                </c:pt>
                <c:pt idx="6238">
                  <c:v>#N/A</c:v>
                </c:pt>
                <c:pt idx="6239">
                  <c:v>#N/A</c:v>
                </c:pt>
                <c:pt idx="6240">
                  <c:v>#N/A</c:v>
                </c:pt>
                <c:pt idx="6241">
                  <c:v>#N/A</c:v>
                </c:pt>
                <c:pt idx="6242">
                  <c:v>#N/A</c:v>
                </c:pt>
                <c:pt idx="6243">
                  <c:v>#N/A</c:v>
                </c:pt>
                <c:pt idx="6244">
                  <c:v>#N/A</c:v>
                </c:pt>
                <c:pt idx="6245">
                  <c:v>#N/A</c:v>
                </c:pt>
                <c:pt idx="6246">
                  <c:v>#N/A</c:v>
                </c:pt>
                <c:pt idx="6247">
                  <c:v>#N/A</c:v>
                </c:pt>
                <c:pt idx="6248">
                  <c:v>#N/A</c:v>
                </c:pt>
                <c:pt idx="6249">
                  <c:v>#N/A</c:v>
                </c:pt>
                <c:pt idx="6250">
                  <c:v>#N/A</c:v>
                </c:pt>
                <c:pt idx="6251">
                  <c:v>#N/A</c:v>
                </c:pt>
                <c:pt idx="6252">
                  <c:v>#N/A</c:v>
                </c:pt>
                <c:pt idx="6253">
                  <c:v>#N/A</c:v>
                </c:pt>
                <c:pt idx="6254">
                  <c:v>#N/A</c:v>
                </c:pt>
                <c:pt idx="6255">
                  <c:v>#N/A</c:v>
                </c:pt>
                <c:pt idx="6256">
                  <c:v>#N/A</c:v>
                </c:pt>
                <c:pt idx="6257">
                  <c:v>#N/A</c:v>
                </c:pt>
                <c:pt idx="6258">
                  <c:v>#N/A</c:v>
                </c:pt>
                <c:pt idx="6259">
                  <c:v>#N/A</c:v>
                </c:pt>
                <c:pt idx="6260">
                  <c:v>#N/A</c:v>
                </c:pt>
                <c:pt idx="6261">
                  <c:v>#N/A</c:v>
                </c:pt>
                <c:pt idx="6262">
                  <c:v>#N/A</c:v>
                </c:pt>
                <c:pt idx="6263">
                  <c:v>#N/A</c:v>
                </c:pt>
                <c:pt idx="6264">
                  <c:v>#N/A</c:v>
                </c:pt>
                <c:pt idx="6265">
                  <c:v>#N/A</c:v>
                </c:pt>
                <c:pt idx="6266">
                  <c:v>#N/A</c:v>
                </c:pt>
                <c:pt idx="6267">
                  <c:v>#N/A</c:v>
                </c:pt>
                <c:pt idx="6268">
                  <c:v>#N/A</c:v>
                </c:pt>
                <c:pt idx="6269">
                  <c:v>#N/A</c:v>
                </c:pt>
                <c:pt idx="6270">
                  <c:v>#N/A</c:v>
                </c:pt>
                <c:pt idx="6271">
                  <c:v>#N/A</c:v>
                </c:pt>
                <c:pt idx="6272">
                  <c:v>#N/A</c:v>
                </c:pt>
                <c:pt idx="6273">
                  <c:v>#N/A</c:v>
                </c:pt>
                <c:pt idx="6274">
                  <c:v>#N/A</c:v>
                </c:pt>
                <c:pt idx="6275">
                  <c:v>#N/A</c:v>
                </c:pt>
                <c:pt idx="6276">
                  <c:v>#N/A</c:v>
                </c:pt>
                <c:pt idx="6277">
                  <c:v>#N/A</c:v>
                </c:pt>
                <c:pt idx="6278">
                  <c:v>#N/A</c:v>
                </c:pt>
                <c:pt idx="6279">
                  <c:v>#N/A</c:v>
                </c:pt>
                <c:pt idx="6280">
                  <c:v>#N/A</c:v>
                </c:pt>
                <c:pt idx="6281">
                  <c:v>#N/A</c:v>
                </c:pt>
                <c:pt idx="6282">
                  <c:v>#N/A</c:v>
                </c:pt>
                <c:pt idx="6283">
                  <c:v>#N/A</c:v>
                </c:pt>
                <c:pt idx="6284">
                  <c:v>#N/A</c:v>
                </c:pt>
                <c:pt idx="6285">
                  <c:v>#N/A</c:v>
                </c:pt>
                <c:pt idx="6286">
                  <c:v>#N/A</c:v>
                </c:pt>
                <c:pt idx="6287">
                  <c:v>#N/A</c:v>
                </c:pt>
                <c:pt idx="6288">
                  <c:v>#N/A</c:v>
                </c:pt>
                <c:pt idx="6289">
                  <c:v>#N/A</c:v>
                </c:pt>
                <c:pt idx="6290">
                  <c:v>#N/A</c:v>
                </c:pt>
                <c:pt idx="6291">
                  <c:v>#N/A</c:v>
                </c:pt>
                <c:pt idx="6292">
                  <c:v>#N/A</c:v>
                </c:pt>
                <c:pt idx="6293">
                  <c:v>#N/A</c:v>
                </c:pt>
                <c:pt idx="6294">
                  <c:v>#N/A</c:v>
                </c:pt>
                <c:pt idx="6295">
                  <c:v>#N/A</c:v>
                </c:pt>
                <c:pt idx="6296">
                  <c:v>#N/A</c:v>
                </c:pt>
                <c:pt idx="6297">
                  <c:v>#N/A</c:v>
                </c:pt>
                <c:pt idx="6298">
                  <c:v>2.2657534246575342</c:v>
                </c:pt>
                <c:pt idx="6299">
                  <c:v>#N/A</c:v>
                </c:pt>
                <c:pt idx="6300">
                  <c:v>#N/A</c:v>
                </c:pt>
                <c:pt idx="6301">
                  <c:v>#N/A</c:v>
                </c:pt>
                <c:pt idx="6302">
                  <c:v>#N/A</c:v>
                </c:pt>
                <c:pt idx="6303">
                  <c:v>#N/A</c:v>
                </c:pt>
                <c:pt idx="6304">
                  <c:v>#N/A</c:v>
                </c:pt>
                <c:pt idx="6305">
                  <c:v>2.2657534246575342</c:v>
                </c:pt>
                <c:pt idx="6306">
                  <c:v>#N/A</c:v>
                </c:pt>
                <c:pt idx="6307">
                  <c:v>#N/A</c:v>
                </c:pt>
                <c:pt idx="6308">
                  <c:v>#N/A</c:v>
                </c:pt>
                <c:pt idx="6309">
                  <c:v>#N/A</c:v>
                </c:pt>
                <c:pt idx="6310">
                  <c:v>#N/A</c:v>
                </c:pt>
                <c:pt idx="6311">
                  <c:v>#N/A</c:v>
                </c:pt>
                <c:pt idx="6312">
                  <c:v>#N/A</c:v>
                </c:pt>
                <c:pt idx="6313">
                  <c:v>#N/A</c:v>
                </c:pt>
                <c:pt idx="6314">
                  <c:v>#N/A</c:v>
                </c:pt>
                <c:pt idx="6315">
                  <c:v>#N/A</c:v>
                </c:pt>
                <c:pt idx="6316">
                  <c:v>#N/A</c:v>
                </c:pt>
                <c:pt idx="6317">
                  <c:v>#N/A</c:v>
                </c:pt>
                <c:pt idx="6318">
                  <c:v>#N/A</c:v>
                </c:pt>
                <c:pt idx="6319">
                  <c:v>#N/A</c:v>
                </c:pt>
                <c:pt idx="6320">
                  <c:v>#N/A</c:v>
                </c:pt>
                <c:pt idx="6321">
                  <c:v>#N/A</c:v>
                </c:pt>
                <c:pt idx="6322">
                  <c:v>#N/A</c:v>
                </c:pt>
                <c:pt idx="6323">
                  <c:v>#N/A</c:v>
                </c:pt>
                <c:pt idx="6324">
                  <c:v>#N/A</c:v>
                </c:pt>
                <c:pt idx="6325">
                  <c:v>#N/A</c:v>
                </c:pt>
                <c:pt idx="6326">
                  <c:v>#N/A</c:v>
                </c:pt>
                <c:pt idx="6327">
                  <c:v>#N/A</c:v>
                </c:pt>
                <c:pt idx="6328">
                  <c:v>#N/A</c:v>
                </c:pt>
                <c:pt idx="6329">
                  <c:v>#N/A</c:v>
                </c:pt>
                <c:pt idx="6330">
                  <c:v>#N/A</c:v>
                </c:pt>
                <c:pt idx="6331">
                  <c:v>#N/A</c:v>
                </c:pt>
                <c:pt idx="6332">
                  <c:v>#N/A</c:v>
                </c:pt>
                <c:pt idx="6333">
                  <c:v>#N/A</c:v>
                </c:pt>
                <c:pt idx="6334">
                  <c:v>#N/A</c:v>
                </c:pt>
                <c:pt idx="6335">
                  <c:v>#N/A</c:v>
                </c:pt>
                <c:pt idx="6336">
                  <c:v>#N/A</c:v>
                </c:pt>
                <c:pt idx="6337">
                  <c:v>#N/A</c:v>
                </c:pt>
                <c:pt idx="6338">
                  <c:v>#N/A</c:v>
                </c:pt>
                <c:pt idx="6339">
                  <c:v>#N/A</c:v>
                </c:pt>
                <c:pt idx="6340">
                  <c:v>#N/A</c:v>
                </c:pt>
                <c:pt idx="6341">
                  <c:v>#N/A</c:v>
                </c:pt>
                <c:pt idx="6342">
                  <c:v>#N/A</c:v>
                </c:pt>
                <c:pt idx="6343">
                  <c:v>#N/A</c:v>
                </c:pt>
                <c:pt idx="6344">
                  <c:v>#N/A</c:v>
                </c:pt>
                <c:pt idx="6345">
                  <c:v>#N/A</c:v>
                </c:pt>
                <c:pt idx="6346">
                  <c:v>#N/A</c:v>
                </c:pt>
                <c:pt idx="6347">
                  <c:v>#N/A</c:v>
                </c:pt>
                <c:pt idx="6348">
                  <c:v>#N/A</c:v>
                </c:pt>
                <c:pt idx="6349">
                  <c:v>#N/A</c:v>
                </c:pt>
                <c:pt idx="6350">
                  <c:v>#N/A</c:v>
                </c:pt>
                <c:pt idx="6351">
                  <c:v>#N/A</c:v>
                </c:pt>
                <c:pt idx="6352">
                  <c:v>#N/A</c:v>
                </c:pt>
                <c:pt idx="6353">
                  <c:v>#N/A</c:v>
                </c:pt>
                <c:pt idx="6354">
                  <c:v>#N/A</c:v>
                </c:pt>
                <c:pt idx="6355">
                  <c:v>#N/A</c:v>
                </c:pt>
                <c:pt idx="6356">
                  <c:v>#N/A</c:v>
                </c:pt>
                <c:pt idx="6357">
                  <c:v>#N/A</c:v>
                </c:pt>
                <c:pt idx="6358">
                  <c:v>#N/A</c:v>
                </c:pt>
                <c:pt idx="6359">
                  <c:v>#N/A</c:v>
                </c:pt>
                <c:pt idx="6360">
                  <c:v>#N/A</c:v>
                </c:pt>
                <c:pt idx="6361">
                  <c:v>#N/A</c:v>
                </c:pt>
                <c:pt idx="6362">
                  <c:v>#N/A</c:v>
                </c:pt>
                <c:pt idx="6363">
                  <c:v>#N/A</c:v>
                </c:pt>
                <c:pt idx="6364">
                  <c:v>#N/A</c:v>
                </c:pt>
                <c:pt idx="6365">
                  <c:v>#N/A</c:v>
                </c:pt>
                <c:pt idx="6366">
                  <c:v>#N/A</c:v>
                </c:pt>
                <c:pt idx="6367">
                  <c:v>#N/A</c:v>
                </c:pt>
                <c:pt idx="6368">
                  <c:v>#N/A</c:v>
                </c:pt>
                <c:pt idx="6369">
                  <c:v>#N/A</c:v>
                </c:pt>
                <c:pt idx="6370">
                  <c:v>#N/A</c:v>
                </c:pt>
                <c:pt idx="6371">
                  <c:v>#N/A</c:v>
                </c:pt>
                <c:pt idx="6372">
                  <c:v>#N/A</c:v>
                </c:pt>
                <c:pt idx="6373">
                  <c:v>#N/A</c:v>
                </c:pt>
                <c:pt idx="6374">
                  <c:v>#N/A</c:v>
                </c:pt>
                <c:pt idx="6375">
                  <c:v>#N/A</c:v>
                </c:pt>
                <c:pt idx="6376">
                  <c:v>#N/A</c:v>
                </c:pt>
                <c:pt idx="6377">
                  <c:v>#N/A</c:v>
                </c:pt>
                <c:pt idx="6378">
                  <c:v>#N/A</c:v>
                </c:pt>
                <c:pt idx="6379">
                  <c:v>#N/A</c:v>
                </c:pt>
                <c:pt idx="6380">
                  <c:v>#N/A</c:v>
                </c:pt>
                <c:pt idx="6381">
                  <c:v>#N/A</c:v>
                </c:pt>
                <c:pt idx="6382">
                  <c:v>#N/A</c:v>
                </c:pt>
                <c:pt idx="6383">
                  <c:v>#N/A</c:v>
                </c:pt>
                <c:pt idx="6384">
                  <c:v>#N/A</c:v>
                </c:pt>
                <c:pt idx="6385">
                  <c:v>#N/A</c:v>
                </c:pt>
                <c:pt idx="6386">
                  <c:v>#N/A</c:v>
                </c:pt>
                <c:pt idx="6387">
                  <c:v>#N/A</c:v>
                </c:pt>
                <c:pt idx="6388">
                  <c:v>#N/A</c:v>
                </c:pt>
                <c:pt idx="6389">
                  <c:v>#N/A</c:v>
                </c:pt>
                <c:pt idx="6390">
                  <c:v>#N/A</c:v>
                </c:pt>
                <c:pt idx="6391">
                  <c:v>#N/A</c:v>
                </c:pt>
                <c:pt idx="6392">
                  <c:v>#N/A</c:v>
                </c:pt>
                <c:pt idx="6393">
                  <c:v>#N/A</c:v>
                </c:pt>
                <c:pt idx="6394">
                  <c:v>#N/A</c:v>
                </c:pt>
                <c:pt idx="6395">
                  <c:v>#N/A</c:v>
                </c:pt>
                <c:pt idx="6396">
                  <c:v>#N/A</c:v>
                </c:pt>
                <c:pt idx="6397">
                  <c:v>#N/A</c:v>
                </c:pt>
                <c:pt idx="6398">
                  <c:v>#N/A</c:v>
                </c:pt>
                <c:pt idx="6399">
                  <c:v>#N/A</c:v>
                </c:pt>
                <c:pt idx="6400">
                  <c:v>#N/A</c:v>
                </c:pt>
                <c:pt idx="6401">
                  <c:v>#N/A</c:v>
                </c:pt>
                <c:pt idx="6402">
                  <c:v>#N/A</c:v>
                </c:pt>
                <c:pt idx="6403">
                  <c:v>#N/A</c:v>
                </c:pt>
                <c:pt idx="6404">
                  <c:v>#N/A</c:v>
                </c:pt>
                <c:pt idx="6405">
                  <c:v>#N/A</c:v>
                </c:pt>
                <c:pt idx="6406">
                  <c:v>#N/A</c:v>
                </c:pt>
                <c:pt idx="6407">
                  <c:v>#N/A</c:v>
                </c:pt>
                <c:pt idx="6408">
                  <c:v>#N/A</c:v>
                </c:pt>
                <c:pt idx="6409">
                  <c:v>#N/A</c:v>
                </c:pt>
                <c:pt idx="6410">
                  <c:v>#N/A</c:v>
                </c:pt>
                <c:pt idx="6411">
                  <c:v>#N/A</c:v>
                </c:pt>
                <c:pt idx="6412">
                  <c:v>#N/A</c:v>
                </c:pt>
                <c:pt idx="6413">
                  <c:v>#N/A</c:v>
                </c:pt>
                <c:pt idx="6414">
                  <c:v>#N/A</c:v>
                </c:pt>
                <c:pt idx="6415">
                  <c:v>#N/A</c:v>
                </c:pt>
                <c:pt idx="6416">
                  <c:v>#N/A</c:v>
                </c:pt>
                <c:pt idx="6417">
                  <c:v>#N/A</c:v>
                </c:pt>
                <c:pt idx="6418">
                  <c:v>#N/A</c:v>
                </c:pt>
                <c:pt idx="6419">
                  <c:v>#N/A</c:v>
                </c:pt>
                <c:pt idx="6420">
                  <c:v>#N/A</c:v>
                </c:pt>
                <c:pt idx="6421">
                  <c:v>#N/A</c:v>
                </c:pt>
                <c:pt idx="6422">
                  <c:v>#N/A</c:v>
                </c:pt>
                <c:pt idx="6423">
                  <c:v>#N/A</c:v>
                </c:pt>
                <c:pt idx="6424">
                  <c:v>#N/A</c:v>
                </c:pt>
                <c:pt idx="6425">
                  <c:v>#N/A</c:v>
                </c:pt>
                <c:pt idx="6426">
                  <c:v>#N/A</c:v>
                </c:pt>
                <c:pt idx="6427">
                  <c:v>#N/A</c:v>
                </c:pt>
                <c:pt idx="6428">
                  <c:v>#N/A</c:v>
                </c:pt>
                <c:pt idx="6429">
                  <c:v>#N/A</c:v>
                </c:pt>
                <c:pt idx="6430">
                  <c:v>#N/A</c:v>
                </c:pt>
                <c:pt idx="6431">
                  <c:v>#N/A</c:v>
                </c:pt>
                <c:pt idx="6432">
                  <c:v>#N/A</c:v>
                </c:pt>
                <c:pt idx="6433">
                  <c:v>#N/A</c:v>
                </c:pt>
                <c:pt idx="6434">
                  <c:v>#N/A</c:v>
                </c:pt>
                <c:pt idx="6435">
                  <c:v>#N/A</c:v>
                </c:pt>
                <c:pt idx="6436">
                  <c:v>#N/A</c:v>
                </c:pt>
                <c:pt idx="6437">
                  <c:v>#N/A</c:v>
                </c:pt>
                <c:pt idx="6438">
                  <c:v>#N/A</c:v>
                </c:pt>
                <c:pt idx="6439">
                  <c:v>#N/A</c:v>
                </c:pt>
                <c:pt idx="6440">
                  <c:v>#N/A</c:v>
                </c:pt>
                <c:pt idx="6441">
                  <c:v>#N/A</c:v>
                </c:pt>
                <c:pt idx="6442">
                  <c:v>#N/A</c:v>
                </c:pt>
                <c:pt idx="6443">
                  <c:v>#N/A</c:v>
                </c:pt>
                <c:pt idx="6444">
                  <c:v>#N/A</c:v>
                </c:pt>
                <c:pt idx="6445">
                  <c:v>#N/A</c:v>
                </c:pt>
                <c:pt idx="6446">
                  <c:v>#N/A</c:v>
                </c:pt>
                <c:pt idx="6447">
                  <c:v>#N/A</c:v>
                </c:pt>
                <c:pt idx="6448">
                  <c:v>#N/A</c:v>
                </c:pt>
                <c:pt idx="6449">
                  <c:v>#N/A</c:v>
                </c:pt>
                <c:pt idx="6450">
                  <c:v>#N/A</c:v>
                </c:pt>
                <c:pt idx="6451">
                  <c:v>#N/A</c:v>
                </c:pt>
                <c:pt idx="6452">
                  <c:v>#N/A</c:v>
                </c:pt>
                <c:pt idx="6453">
                  <c:v>#N/A</c:v>
                </c:pt>
                <c:pt idx="6454">
                  <c:v>#N/A</c:v>
                </c:pt>
                <c:pt idx="6455">
                  <c:v>#N/A</c:v>
                </c:pt>
                <c:pt idx="6456">
                  <c:v>#N/A</c:v>
                </c:pt>
                <c:pt idx="6457">
                  <c:v>#N/A</c:v>
                </c:pt>
                <c:pt idx="6458">
                  <c:v>#N/A</c:v>
                </c:pt>
                <c:pt idx="6459">
                  <c:v>#N/A</c:v>
                </c:pt>
                <c:pt idx="6460">
                  <c:v>#N/A</c:v>
                </c:pt>
                <c:pt idx="6461">
                  <c:v>#N/A</c:v>
                </c:pt>
                <c:pt idx="6462">
                  <c:v>#N/A</c:v>
                </c:pt>
                <c:pt idx="6463">
                  <c:v>#N/A</c:v>
                </c:pt>
                <c:pt idx="6464">
                  <c:v>#N/A</c:v>
                </c:pt>
                <c:pt idx="6465">
                  <c:v>#N/A</c:v>
                </c:pt>
                <c:pt idx="6466">
                  <c:v>#N/A</c:v>
                </c:pt>
                <c:pt idx="6467">
                  <c:v>#N/A</c:v>
                </c:pt>
                <c:pt idx="6468">
                  <c:v>#N/A</c:v>
                </c:pt>
                <c:pt idx="6469">
                  <c:v>#N/A</c:v>
                </c:pt>
                <c:pt idx="6470">
                  <c:v>#N/A</c:v>
                </c:pt>
                <c:pt idx="6471">
                  <c:v>#N/A</c:v>
                </c:pt>
                <c:pt idx="6472">
                  <c:v>#N/A</c:v>
                </c:pt>
                <c:pt idx="6473">
                  <c:v>#N/A</c:v>
                </c:pt>
                <c:pt idx="6474">
                  <c:v>#N/A</c:v>
                </c:pt>
                <c:pt idx="6475">
                  <c:v>#N/A</c:v>
                </c:pt>
                <c:pt idx="6476">
                  <c:v>#N/A</c:v>
                </c:pt>
                <c:pt idx="6477">
                  <c:v>#N/A</c:v>
                </c:pt>
                <c:pt idx="6478">
                  <c:v>#N/A</c:v>
                </c:pt>
                <c:pt idx="6479">
                  <c:v>#N/A</c:v>
                </c:pt>
                <c:pt idx="6480">
                  <c:v>#N/A</c:v>
                </c:pt>
                <c:pt idx="6481">
                  <c:v>#N/A</c:v>
                </c:pt>
                <c:pt idx="6482">
                  <c:v>#N/A</c:v>
                </c:pt>
                <c:pt idx="6483">
                  <c:v>#N/A</c:v>
                </c:pt>
                <c:pt idx="6484">
                  <c:v>#N/A</c:v>
                </c:pt>
                <c:pt idx="6485">
                  <c:v>#N/A</c:v>
                </c:pt>
                <c:pt idx="6486">
                  <c:v>#N/A</c:v>
                </c:pt>
                <c:pt idx="6487">
                  <c:v>#N/A</c:v>
                </c:pt>
                <c:pt idx="6488">
                  <c:v>#N/A</c:v>
                </c:pt>
                <c:pt idx="6489">
                  <c:v>#N/A</c:v>
                </c:pt>
                <c:pt idx="6490">
                  <c:v>#N/A</c:v>
                </c:pt>
                <c:pt idx="6491">
                  <c:v>#N/A</c:v>
                </c:pt>
                <c:pt idx="6492">
                  <c:v>#N/A</c:v>
                </c:pt>
                <c:pt idx="6493">
                  <c:v>#N/A</c:v>
                </c:pt>
                <c:pt idx="6494">
                  <c:v>#N/A</c:v>
                </c:pt>
                <c:pt idx="6495">
                  <c:v>#N/A</c:v>
                </c:pt>
                <c:pt idx="6496">
                  <c:v>#N/A</c:v>
                </c:pt>
                <c:pt idx="6497">
                  <c:v>#N/A</c:v>
                </c:pt>
                <c:pt idx="6498">
                  <c:v>#N/A</c:v>
                </c:pt>
                <c:pt idx="6499">
                  <c:v>#N/A</c:v>
                </c:pt>
                <c:pt idx="6500">
                  <c:v>#N/A</c:v>
                </c:pt>
                <c:pt idx="6501">
                  <c:v>#N/A</c:v>
                </c:pt>
                <c:pt idx="6502">
                  <c:v>#N/A</c:v>
                </c:pt>
                <c:pt idx="6503">
                  <c:v>#N/A</c:v>
                </c:pt>
                <c:pt idx="6504">
                  <c:v>#N/A</c:v>
                </c:pt>
                <c:pt idx="6505">
                  <c:v>#N/A</c:v>
                </c:pt>
                <c:pt idx="6506">
                  <c:v>#N/A</c:v>
                </c:pt>
                <c:pt idx="6507">
                  <c:v>#N/A</c:v>
                </c:pt>
                <c:pt idx="6508">
                  <c:v>#N/A</c:v>
                </c:pt>
                <c:pt idx="6509">
                  <c:v>#N/A</c:v>
                </c:pt>
                <c:pt idx="6510">
                  <c:v>#N/A</c:v>
                </c:pt>
                <c:pt idx="6511">
                  <c:v>#N/A</c:v>
                </c:pt>
                <c:pt idx="6512">
                  <c:v>#N/A</c:v>
                </c:pt>
                <c:pt idx="6513">
                  <c:v>#N/A</c:v>
                </c:pt>
                <c:pt idx="6514">
                  <c:v>#N/A</c:v>
                </c:pt>
                <c:pt idx="6515">
                  <c:v>#N/A</c:v>
                </c:pt>
                <c:pt idx="6516">
                  <c:v>#N/A</c:v>
                </c:pt>
                <c:pt idx="6517">
                  <c:v>#N/A</c:v>
                </c:pt>
                <c:pt idx="6518">
                  <c:v>#N/A</c:v>
                </c:pt>
                <c:pt idx="6519">
                  <c:v>#N/A</c:v>
                </c:pt>
                <c:pt idx="6520">
                  <c:v>#N/A</c:v>
                </c:pt>
                <c:pt idx="6521">
                  <c:v>#N/A</c:v>
                </c:pt>
                <c:pt idx="6522">
                  <c:v>#N/A</c:v>
                </c:pt>
                <c:pt idx="6523">
                  <c:v>#N/A</c:v>
                </c:pt>
                <c:pt idx="6524">
                  <c:v>#N/A</c:v>
                </c:pt>
                <c:pt idx="6525">
                  <c:v>#N/A</c:v>
                </c:pt>
                <c:pt idx="6526">
                  <c:v>#N/A</c:v>
                </c:pt>
                <c:pt idx="6527">
                  <c:v>#N/A</c:v>
                </c:pt>
                <c:pt idx="6528">
                  <c:v>#N/A</c:v>
                </c:pt>
                <c:pt idx="6529">
                  <c:v>#N/A</c:v>
                </c:pt>
                <c:pt idx="6530">
                  <c:v>#N/A</c:v>
                </c:pt>
                <c:pt idx="6531">
                  <c:v>#N/A</c:v>
                </c:pt>
                <c:pt idx="6532">
                  <c:v>#N/A</c:v>
                </c:pt>
                <c:pt idx="6533">
                  <c:v>#N/A</c:v>
                </c:pt>
                <c:pt idx="6534">
                  <c:v>#N/A</c:v>
                </c:pt>
                <c:pt idx="6535">
                  <c:v>#N/A</c:v>
                </c:pt>
                <c:pt idx="6536">
                  <c:v>#N/A</c:v>
                </c:pt>
                <c:pt idx="6537">
                  <c:v>#N/A</c:v>
                </c:pt>
                <c:pt idx="6538">
                  <c:v>#N/A</c:v>
                </c:pt>
                <c:pt idx="6539">
                  <c:v>#N/A</c:v>
                </c:pt>
                <c:pt idx="6540">
                  <c:v>#N/A</c:v>
                </c:pt>
                <c:pt idx="6541">
                  <c:v>#N/A</c:v>
                </c:pt>
                <c:pt idx="6542">
                  <c:v>#N/A</c:v>
                </c:pt>
                <c:pt idx="6543">
                  <c:v>#N/A</c:v>
                </c:pt>
                <c:pt idx="6544">
                  <c:v>#N/A</c:v>
                </c:pt>
                <c:pt idx="6545">
                  <c:v>#N/A</c:v>
                </c:pt>
                <c:pt idx="6546">
                  <c:v>#N/A</c:v>
                </c:pt>
                <c:pt idx="6547">
                  <c:v>#N/A</c:v>
                </c:pt>
                <c:pt idx="6548">
                  <c:v>#N/A</c:v>
                </c:pt>
                <c:pt idx="6549">
                  <c:v>#N/A</c:v>
                </c:pt>
                <c:pt idx="6550">
                  <c:v>#N/A</c:v>
                </c:pt>
                <c:pt idx="6551">
                  <c:v>#N/A</c:v>
                </c:pt>
                <c:pt idx="6552">
                  <c:v>#N/A</c:v>
                </c:pt>
                <c:pt idx="6553">
                  <c:v>#N/A</c:v>
                </c:pt>
                <c:pt idx="6554">
                  <c:v>#N/A</c:v>
                </c:pt>
                <c:pt idx="6555">
                  <c:v>#N/A</c:v>
                </c:pt>
                <c:pt idx="6556">
                  <c:v>#N/A</c:v>
                </c:pt>
                <c:pt idx="6557">
                  <c:v>#N/A</c:v>
                </c:pt>
                <c:pt idx="6558">
                  <c:v>#N/A</c:v>
                </c:pt>
                <c:pt idx="6559">
                  <c:v>#N/A</c:v>
                </c:pt>
                <c:pt idx="6560">
                  <c:v>#N/A</c:v>
                </c:pt>
                <c:pt idx="6561">
                  <c:v>#N/A</c:v>
                </c:pt>
                <c:pt idx="6562">
                  <c:v>#N/A</c:v>
                </c:pt>
                <c:pt idx="6563">
                  <c:v>#N/A</c:v>
                </c:pt>
                <c:pt idx="6564">
                  <c:v>#N/A</c:v>
                </c:pt>
                <c:pt idx="6565">
                  <c:v>#N/A</c:v>
                </c:pt>
                <c:pt idx="6566">
                  <c:v>#N/A</c:v>
                </c:pt>
                <c:pt idx="6567">
                  <c:v>#N/A</c:v>
                </c:pt>
                <c:pt idx="6568">
                  <c:v>#N/A</c:v>
                </c:pt>
                <c:pt idx="6569">
                  <c:v>#N/A</c:v>
                </c:pt>
                <c:pt idx="6570">
                  <c:v>#N/A</c:v>
                </c:pt>
                <c:pt idx="6571">
                  <c:v>#N/A</c:v>
                </c:pt>
                <c:pt idx="6572">
                  <c:v>#N/A</c:v>
                </c:pt>
                <c:pt idx="6573">
                  <c:v>#N/A</c:v>
                </c:pt>
                <c:pt idx="6574">
                  <c:v>#N/A</c:v>
                </c:pt>
                <c:pt idx="6575">
                  <c:v>#N/A</c:v>
                </c:pt>
                <c:pt idx="6576">
                  <c:v>#N/A</c:v>
                </c:pt>
                <c:pt idx="6577">
                  <c:v>#N/A</c:v>
                </c:pt>
                <c:pt idx="6578">
                  <c:v>#N/A</c:v>
                </c:pt>
                <c:pt idx="6579">
                  <c:v>#N/A</c:v>
                </c:pt>
                <c:pt idx="6580">
                  <c:v>#N/A</c:v>
                </c:pt>
                <c:pt idx="6581">
                  <c:v>#N/A</c:v>
                </c:pt>
                <c:pt idx="6582">
                  <c:v>#N/A</c:v>
                </c:pt>
                <c:pt idx="6583">
                  <c:v>#N/A</c:v>
                </c:pt>
                <c:pt idx="6584">
                  <c:v>#N/A</c:v>
                </c:pt>
                <c:pt idx="6585">
                  <c:v>#N/A</c:v>
                </c:pt>
                <c:pt idx="6586">
                  <c:v>#N/A</c:v>
                </c:pt>
                <c:pt idx="6587">
                  <c:v>#N/A</c:v>
                </c:pt>
                <c:pt idx="6588">
                  <c:v>#N/A</c:v>
                </c:pt>
                <c:pt idx="6589">
                  <c:v>#N/A</c:v>
                </c:pt>
                <c:pt idx="6590">
                  <c:v>#N/A</c:v>
                </c:pt>
                <c:pt idx="6591">
                  <c:v>#N/A</c:v>
                </c:pt>
                <c:pt idx="6592">
                  <c:v>#N/A</c:v>
                </c:pt>
                <c:pt idx="6593">
                  <c:v>#N/A</c:v>
                </c:pt>
                <c:pt idx="6594">
                  <c:v>#N/A</c:v>
                </c:pt>
                <c:pt idx="6595">
                  <c:v>#N/A</c:v>
                </c:pt>
                <c:pt idx="6596">
                  <c:v>#N/A</c:v>
                </c:pt>
                <c:pt idx="6597">
                  <c:v>#N/A</c:v>
                </c:pt>
                <c:pt idx="6598">
                  <c:v>#N/A</c:v>
                </c:pt>
                <c:pt idx="6599">
                  <c:v>#N/A</c:v>
                </c:pt>
                <c:pt idx="6600">
                  <c:v>#N/A</c:v>
                </c:pt>
                <c:pt idx="6601">
                  <c:v>#N/A</c:v>
                </c:pt>
                <c:pt idx="6602">
                  <c:v>#N/A</c:v>
                </c:pt>
                <c:pt idx="6603">
                  <c:v>#N/A</c:v>
                </c:pt>
                <c:pt idx="6604">
                  <c:v>#N/A</c:v>
                </c:pt>
                <c:pt idx="6605">
                  <c:v>#N/A</c:v>
                </c:pt>
                <c:pt idx="6606">
                  <c:v>#N/A</c:v>
                </c:pt>
                <c:pt idx="6607">
                  <c:v>#N/A</c:v>
                </c:pt>
                <c:pt idx="6608">
                  <c:v>#N/A</c:v>
                </c:pt>
                <c:pt idx="6609">
                  <c:v>#N/A</c:v>
                </c:pt>
                <c:pt idx="6610">
                  <c:v>#N/A</c:v>
                </c:pt>
                <c:pt idx="6611">
                  <c:v>#N/A</c:v>
                </c:pt>
                <c:pt idx="6612">
                  <c:v>#N/A</c:v>
                </c:pt>
                <c:pt idx="6613">
                  <c:v>#N/A</c:v>
                </c:pt>
                <c:pt idx="6614">
                  <c:v>#N/A</c:v>
                </c:pt>
                <c:pt idx="6615">
                  <c:v>#N/A</c:v>
                </c:pt>
                <c:pt idx="6616">
                  <c:v>#N/A</c:v>
                </c:pt>
                <c:pt idx="6617">
                  <c:v>#N/A</c:v>
                </c:pt>
                <c:pt idx="6618">
                  <c:v>#N/A</c:v>
                </c:pt>
                <c:pt idx="6619">
                  <c:v>#N/A</c:v>
                </c:pt>
                <c:pt idx="6620">
                  <c:v>#N/A</c:v>
                </c:pt>
                <c:pt idx="6621">
                  <c:v>#N/A</c:v>
                </c:pt>
                <c:pt idx="6622">
                  <c:v>#N/A</c:v>
                </c:pt>
                <c:pt idx="6623">
                  <c:v>#N/A</c:v>
                </c:pt>
                <c:pt idx="6624">
                  <c:v>#N/A</c:v>
                </c:pt>
                <c:pt idx="6625">
                  <c:v>#N/A</c:v>
                </c:pt>
                <c:pt idx="6626">
                  <c:v>#N/A</c:v>
                </c:pt>
                <c:pt idx="6627">
                  <c:v>#N/A</c:v>
                </c:pt>
                <c:pt idx="6628">
                  <c:v>#N/A</c:v>
                </c:pt>
                <c:pt idx="6629">
                  <c:v>#N/A</c:v>
                </c:pt>
                <c:pt idx="6630">
                  <c:v>#N/A</c:v>
                </c:pt>
                <c:pt idx="6631">
                  <c:v>#N/A</c:v>
                </c:pt>
                <c:pt idx="6632">
                  <c:v>#N/A</c:v>
                </c:pt>
                <c:pt idx="6633">
                  <c:v>#N/A</c:v>
                </c:pt>
                <c:pt idx="6634">
                  <c:v>#N/A</c:v>
                </c:pt>
                <c:pt idx="6635">
                  <c:v>#N/A</c:v>
                </c:pt>
                <c:pt idx="6636">
                  <c:v>#N/A</c:v>
                </c:pt>
                <c:pt idx="6637">
                  <c:v>#N/A</c:v>
                </c:pt>
                <c:pt idx="6638">
                  <c:v>#N/A</c:v>
                </c:pt>
                <c:pt idx="6639">
                  <c:v>#N/A</c:v>
                </c:pt>
                <c:pt idx="6640">
                  <c:v>#N/A</c:v>
                </c:pt>
                <c:pt idx="6641">
                  <c:v>#N/A</c:v>
                </c:pt>
                <c:pt idx="6642">
                  <c:v>#N/A</c:v>
                </c:pt>
                <c:pt idx="6643">
                  <c:v>#N/A</c:v>
                </c:pt>
                <c:pt idx="6644">
                  <c:v>#N/A</c:v>
                </c:pt>
                <c:pt idx="6645">
                  <c:v>#N/A</c:v>
                </c:pt>
                <c:pt idx="6646">
                  <c:v>#N/A</c:v>
                </c:pt>
                <c:pt idx="6647">
                  <c:v>#N/A</c:v>
                </c:pt>
                <c:pt idx="6648">
                  <c:v>#N/A</c:v>
                </c:pt>
                <c:pt idx="6649">
                  <c:v>#N/A</c:v>
                </c:pt>
                <c:pt idx="6650">
                  <c:v>#N/A</c:v>
                </c:pt>
                <c:pt idx="6651">
                  <c:v>#N/A</c:v>
                </c:pt>
                <c:pt idx="6652">
                  <c:v>#N/A</c:v>
                </c:pt>
                <c:pt idx="6653">
                  <c:v>#N/A</c:v>
                </c:pt>
                <c:pt idx="6654">
                  <c:v>#N/A</c:v>
                </c:pt>
                <c:pt idx="6655">
                  <c:v>#N/A</c:v>
                </c:pt>
                <c:pt idx="6656">
                  <c:v>#N/A</c:v>
                </c:pt>
                <c:pt idx="6657">
                  <c:v>#N/A</c:v>
                </c:pt>
                <c:pt idx="6658">
                  <c:v>#N/A</c:v>
                </c:pt>
                <c:pt idx="6659">
                  <c:v>#N/A</c:v>
                </c:pt>
                <c:pt idx="6660">
                  <c:v>#N/A</c:v>
                </c:pt>
                <c:pt idx="6661">
                  <c:v>#N/A</c:v>
                </c:pt>
                <c:pt idx="6662">
                  <c:v>#N/A</c:v>
                </c:pt>
                <c:pt idx="6663">
                  <c:v>#N/A</c:v>
                </c:pt>
                <c:pt idx="6664">
                  <c:v>#N/A</c:v>
                </c:pt>
                <c:pt idx="6665">
                  <c:v>#N/A</c:v>
                </c:pt>
                <c:pt idx="6666">
                  <c:v>#N/A</c:v>
                </c:pt>
                <c:pt idx="6667">
                  <c:v>#N/A</c:v>
                </c:pt>
                <c:pt idx="6668">
                  <c:v>#N/A</c:v>
                </c:pt>
                <c:pt idx="6669">
                  <c:v>#N/A</c:v>
                </c:pt>
                <c:pt idx="6670">
                  <c:v>#N/A</c:v>
                </c:pt>
                <c:pt idx="6671">
                  <c:v>#N/A</c:v>
                </c:pt>
                <c:pt idx="6672">
                  <c:v>#N/A</c:v>
                </c:pt>
                <c:pt idx="6673">
                  <c:v>#N/A</c:v>
                </c:pt>
                <c:pt idx="6674">
                  <c:v>#N/A</c:v>
                </c:pt>
                <c:pt idx="6675">
                  <c:v>#N/A</c:v>
                </c:pt>
                <c:pt idx="6676">
                  <c:v>#N/A</c:v>
                </c:pt>
                <c:pt idx="6677">
                  <c:v>#N/A</c:v>
                </c:pt>
                <c:pt idx="6678">
                  <c:v>#N/A</c:v>
                </c:pt>
                <c:pt idx="6679">
                  <c:v>#N/A</c:v>
                </c:pt>
                <c:pt idx="6680">
                  <c:v>#N/A</c:v>
                </c:pt>
                <c:pt idx="6681">
                  <c:v>#N/A</c:v>
                </c:pt>
                <c:pt idx="6682">
                  <c:v>#N/A</c:v>
                </c:pt>
                <c:pt idx="6683">
                  <c:v>#N/A</c:v>
                </c:pt>
                <c:pt idx="6684">
                  <c:v>#N/A</c:v>
                </c:pt>
                <c:pt idx="6685">
                  <c:v>#N/A</c:v>
                </c:pt>
                <c:pt idx="6686">
                  <c:v>#N/A</c:v>
                </c:pt>
                <c:pt idx="6687">
                  <c:v>#N/A</c:v>
                </c:pt>
                <c:pt idx="6688">
                  <c:v>#N/A</c:v>
                </c:pt>
                <c:pt idx="6689">
                  <c:v>#N/A</c:v>
                </c:pt>
                <c:pt idx="6690">
                  <c:v>#N/A</c:v>
                </c:pt>
                <c:pt idx="6691">
                  <c:v>#N/A</c:v>
                </c:pt>
                <c:pt idx="6692">
                  <c:v>#N/A</c:v>
                </c:pt>
                <c:pt idx="6693">
                  <c:v>#N/A</c:v>
                </c:pt>
                <c:pt idx="6694">
                  <c:v>#N/A</c:v>
                </c:pt>
                <c:pt idx="6695">
                  <c:v>#N/A</c:v>
                </c:pt>
                <c:pt idx="6696">
                  <c:v>#N/A</c:v>
                </c:pt>
                <c:pt idx="6697">
                  <c:v>#N/A</c:v>
                </c:pt>
                <c:pt idx="6698">
                  <c:v>#N/A</c:v>
                </c:pt>
                <c:pt idx="6699">
                  <c:v>#N/A</c:v>
                </c:pt>
                <c:pt idx="6700">
                  <c:v>#N/A</c:v>
                </c:pt>
                <c:pt idx="6701">
                  <c:v>#N/A</c:v>
                </c:pt>
                <c:pt idx="6702">
                  <c:v>#N/A</c:v>
                </c:pt>
                <c:pt idx="6703">
                  <c:v>#N/A</c:v>
                </c:pt>
                <c:pt idx="6704">
                  <c:v>#N/A</c:v>
                </c:pt>
                <c:pt idx="6705">
                  <c:v>#N/A</c:v>
                </c:pt>
                <c:pt idx="6706">
                  <c:v>#N/A</c:v>
                </c:pt>
                <c:pt idx="6707">
                  <c:v>#N/A</c:v>
                </c:pt>
                <c:pt idx="6708">
                  <c:v>#N/A</c:v>
                </c:pt>
                <c:pt idx="6709">
                  <c:v>#N/A</c:v>
                </c:pt>
                <c:pt idx="6710">
                  <c:v>#N/A</c:v>
                </c:pt>
                <c:pt idx="6711">
                  <c:v>#N/A</c:v>
                </c:pt>
                <c:pt idx="6712">
                  <c:v>#N/A</c:v>
                </c:pt>
                <c:pt idx="6713">
                  <c:v>#N/A</c:v>
                </c:pt>
                <c:pt idx="6714">
                  <c:v>#N/A</c:v>
                </c:pt>
                <c:pt idx="6715">
                  <c:v>#N/A</c:v>
                </c:pt>
                <c:pt idx="6716">
                  <c:v>#N/A</c:v>
                </c:pt>
                <c:pt idx="6717">
                  <c:v>#N/A</c:v>
                </c:pt>
                <c:pt idx="6718">
                  <c:v>#N/A</c:v>
                </c:pt>
                <c:pt idx="6719">
                  <c:v>#N/A</c:v>
                </c:pt>
                <c:pt idx="6720">
                  <c:v>#N/A</c:v>
                </c:pt>
                <c:pt idx="6721">
                  <c:v>#N/A</c:v>
                </c:pt>
                <c:pt idx="6722">
                  <c:v>#N/A</c:v>
                </c:pt>
                <c:pt idx="6723">
                  <c:v>#N/A</c:v>
                </c:pt>
                <c:pt idx="6724">
                  <c:v>#N/A</c:v>
                </c:pt>
                <c:pt idx="6725">
                  <c:v>#N/A</c:v>
                </c:pt>
                <c:pt idx="6726">
                  <c:v>#N/A</c:v>
                </c:pt>
                <c:pt idx="6727">
                  <c:v>#N/A</c:v>
                </c:pt>
                <c:pt idx="6728">
                  <c:v>#N/A</c:v>
                </c:pt>
                <c:pt idx="6729">
                  <c:v>#N/A</c:v>
                </c:pt>
                <c:pt idx="6730">
                  <c:v>#N/A</c:v>
                </c:pt>
                <c:pt idx="6731">
                  <c:v>#N/A</c:v>
                </c:pt>
                <c:pt idx="6732">
                  <c:v>#N/A</c:v>
                </c:pt>
                <c:pt idx="6733">
                  <c:v>#N/A</c:v>
                </c:pt>
                <c:pt idx="6734">
                  <c:v>#N/A</c:v>
                </c:pt>
                <c:pt idx="6735">
                  <c:v>#N/A</c:v>
                </c:pt>
                <c:pt idx="6736">
                  <c:v>#N/A</c:v>
                </c:pt>
                <c:pt idx="6737">
                  <c:v>#N/A</c:v>
                </c:pt>
                <c:pt idx="6738">
                  <c:v>#N/A</c:v>
                </c:pt>
                <c:pt idx="6739">
                  <c:v>#N/A</c:v>
                </c:pt>
                <c:pt idx="6740">
                  <c:v>#N/A</c:v>
                </c:pt>
                <c:pt idx="6741">
                  <c:v>#N/A</c:v>
                </c:pt>
                <c:pt idx="6742">
                  <c:v>#N/A</c:v>
                </c:pt>
                <c:pt idx="6743">
                  <c:v>#N/A</c:v>
                </c:pt>
                <c:pt idx="6744">
                  <c:v>#N/A</c:v>
                </c:pt>
                <c:pt idx="6745">
                  <c:v>#N/A</c:v>
                </c:pt>
                <c:pt idx="6746">
                  <c:v>#N/A</c:v>
                </c:pt>
                <c:pt idx="6747">
                  <c:v>#N/A</c:v>
                </c:pt>
                <c:pt idx="6748">
                  <c:v>#N/A</c:v>
                </c:pt>
                <c:pt idx="6749">
                  <c:v>#N/A</c:v>
                </c:pt>
                <c:pt idx="6750">
                  <c:v>#N/A</c:v>
                </c:pt>
                <c:pt idx="6751">
                  <c:v>#N/A</c:v>
                </c:pt>
                <c:pt idx="6752">
                  <c:v>#N/A</c:v>
                </c:pt>
                <c:pt idx="6753">
                  <c:v>#N/A</c:v>
                </c:pt>
                <c:pt idx="6754">
                  <c:v>#N/A</c:v>
                </c:pt>
                <c:pt idx="6755">
                  <c:v>#N/A</c:v>
                </c:pt>
                <c:pt idx="6756">
                  <c:v>#N/A</c:v>
                </c:pt>
                <c:pt idx="6757">
                  <c:v>#N/A</c:v>
                </c:pt>
                <c:pt idx="6758">
                  <c:v>#N/A</c:v>
                </c:pt>
                <c:pt idx="6759">
                  <c:v>#N/A</c:v>
                </c:pt>
                <c:pt idx="6760">
                  <c:v>#N/A</c:v>
                </c:pt>
                <c:pt idx="6761">
                  <c:v>#N/A</c:v>
                </c:pt>
                <c:pt idx="6762">
                  <c:v>#N/A</c:v>
                </c:pt>
                <c:pt idx="6763">
                  <c:v>#N/A</c:v>
                </c:pt>
                <c:pt idx="6764">
                  <c:v>#N/A</c:v>
                </c:pt>
                <c:pt idx="6765">
                  <c:v>#N/A</c:v>
                </c:pt>
                <c:pt idx="6766">
                  <c:v>#N/A</c:v>
                </c:pt>
                <c:pt idx="6767">
                  <c:v>#N/A</c:v>
                </c:pt>
                <c:pt idx="6768">
                  <c:v>#N/A</c:v>
                </c:pt>
                <c:pt idx="6769">
                  <c:v>#N/A</c:v>
                </c:pt>
                <c:pt idx="6770">
                  <c:v>#N/A</c:v>
                </c:pt>
                <c:pt idx="6771">
                  <c:v>#N/A</c:v>
                </c:pt>
                <c:pt idx="6772">
                  <c:v>#N/A</c:v>
                </c:pt>
                <c:pt idx="6773">
                  <c:v>#N/A</c:v>
                </c:pt>
                <c:pt idx="6774">
                  <c:v>#N/A</c:v>
                </c:pt>
                <c:pt idx="6775">
                  <c:v>#N/A</c:v>
                </c:pt>
                <c:pt idx="6776">
                  <c:v>#N/A</c:v>
                </c:pt>
                <c:pt idx="6777">
                  <c:v>#N/A</c:v>
                </c:pt>
                <c:pt idx="6778">
                  <c:v>#N/A</c:v>
                </c:pt>
                <c:pt idx="6779">
                  <c:v>#N/A</c:v>
                </c:pt>
                <c:pt idx="6780">
                  <c:v>#N/A</c:v>
                </c:pt>
                <c:pt idx="6781">
                  <c:v>#N/A</c:v>
                </c:pt>
                <c:pt idx="6782">
                  <c:v>#N/A</c:v>
                </c:pt>
                <c:pt idx="6783">
                  <c:v>#N/A</c:v>
                </c:pt>
                <c:pt idx="6784">
                  <c:v>#N/A</c:v>
                </c:pt>
                <c:pt idx="6785">
                  <c:v>#N/A</c:v>
                </c:pt>
                <c:pt idx="6786">
                  <c:v>#N/A</c:v>
                </c:pt>
                <c:pt idx="6787">
                  <c:v>#N/A</c:v>
                </c:pt>
                <c:pt idx="6788">
                  <c:v>#N/A</c:v>
                </c:pt>
                <c:pt idx="6789">
                  <c:v>#N/A</c:v>
                </c:pt>
                <c:pt idx="6790">
                  <c:v>#N/A</c:v>
                </c:pt>
                <c:pt idx="6791">
                  <c:v>#N/A</c:v>
                </c:pt>
                <c:pt idx="6792">
                  <c:v>#N/A</c:v>
                </c:pt>
                <c:pt idx="6793">
                  <c:v>#N/A</c:v>
                </c:pt>
                <c:pt idx="6794">
                  <c:v>#N/A</c:v>
                </c:pt>
                <c:pt idx="6795">
                  <c:v>#N/A</c:v>
                </c:pt>
                <c:pt idx="6796">
                  <c:v>#N/A</c:v>
                </c:pt>
                <c:pt idx="6797">
                  <c:v>#N/A</c:v>
                </c:pt>
                <c:pt idx="6798">
                  <c:v>#N/A</c:v>
                </c:pt>
                <c:pt idx="6799">
                  <c:v>#N/A</c:v>
                </c:pt>
                <c:pt idx="6800">
                  <c:v>#N/A</c:v>
                </c:pt>
                <c:pt idx="6801">
                  <c:v>#N/A</c:v>
                </c:pt>
                <c:pt idx="6802">
                  <c:v>#N/A</c:v>
                </c:pt>
                <c:pt idx="6803">
                  <c:v>#N/A</c:v>
                </c:pt>
                <c:pt idx="6804">
                  <c:v>#N/A</c:v>
                </c:pt>
                <c:pt idx="6805">
                  <c:v>#N/A</c:v>
                </c:pt>
                <c:pt idx="6806">
                  <c:v>#N/A</c:v>
                </c:pt>
                <c:pt idx="6807">
                  <c:v>#N/A</c:v>
                </c:pt>
                <c:pt idx="6808">
                  <c:v>#N/A</c:v>
                </c:pt>
                <c:pt idx="6809">
                  <c:v>#N/A</c:v>
                </c:pt>
                <c:pt idx="6810">
                  <c:v>#N/A</c:v>
                </c:pt>
                <c:pt idx="6811">
                  <c:v>#N/A</c:v>
                </c:pt>
                <c:pt idx="6812">
                  <c:v>#N/A</c:v>
                </c:pt>
                <c:pt idx="6813">
                  <c:v>#N/A</c:v>
                </c:pt>
                <c:pt idx="6814">
                  <c:v>#N/A</c:v>
                </c:pt>
                <c:pt idx="6815">
                  <c:v>#N/A</c:v>
                </c:pt>
                <c:pt idx="6816">
                  <c:v>#N/A</c:v>
                </c:pt>
                <c:pt idx="6817">
                  <c:v>#N/A</c:v>
                </c:pt>
                <c:pt idx="6818">
                  <c:v>#N/A</c:v>
                </c:pt>
                <c:pt idx="6819">
                  <c:v>#N/A</c:v>
                </c:pt>
                <c:pt idx="6820">
                  <c:v>#N/A</c:v>
                </c:pt>
                <c:pt idx="6821">
                  <c:v>#N/A</c:v>
                </c:pt>
                <c:pt idx="6822">
                  <c:v>#N/A</c:v>
                </c:pt>
                <c:pt idx="6823">
                  <c:v>#N/A</c:v>
                </c:pt>
                <c:pt idx="6824">
                  <c:v>#N/A</c:v>
                </c:pt>
                <c:pt idx="6825">
                  <c:v>#N/A</c:v>
                </c:pt>
                <c:pt idx="6826">
                  <c:v>#N/A</c:v>
                </c:pt>
                <c:pt idx="6827">
                  <c:v>#N/A</c:v>
                </c:pt>
                <c:pt idx="6828">
                  <c:v>#N/A</c:v>
                </c:pt>
                <c:pt idx="6829">
                  <c:v>#N/A</c:v>
                </c:pt>
                <c:pt idx="6830">
                  <c:v>#N/A</c:v>
                </c:pt>
                <c:pt idx="6831">
                  <c:v>#N/A</c:v>
                </c:pt>
                <c:pt idx="6832">
                  <c:v>#N/A</c:v>
                </c:pt>
                <c:pt idx="6833">
                  <c:v>#N/A</c:v>
                </c:pt>
                <c:pt idx="6834">
                  <c:v>#N/A</c:v>
                </c:pt>
                <c:pt idx="6835">
                  <c:v>#N/A</c:v>
                </c:pt>
                <c:pt idx="6836">
                  <c:v>#N/A</c:v>
                </c:pt>
                <c:pt idx="6837">
                  <c:v>#N/A</c:v>
                </c:pt>
                <c:pt idx="6838">
                  <c:v>#N/A</c:v>
                </c:pt>
                <c:pt idx="6839">
                  <c:v>#N/A</c:v>
                </c:pt>
                <c:pt idx="6840">
                  <c:v>#N/A</c:v>
                </c:pt>
                <c:pt idx="6841">
                  <c:v>#N/A</c:v>
                </c:pt>
                <c:pt idx="6842">
                  <c:v>#N/A</c:v>
                </c:pt>
                <c:pt idx="6843">
                  <c:v>#N/A</c:v>
                </c:pt>
                <c:pt idx="6844">
                  <c:v>#N/A</c:v>
                </c:pt>
                <c:pt idx="6845">
                  <c:v>#N/A</c:v>
                </c:pt>
                <c:pt idx="6846">
                  <c:v>#N/A</c:v>
                </c:pt>
                <c:pt idx="6847">
                  <c:v>#N/A</c:v>
                </c:pt>
                <c:pt idx="6848">
                  <c:v>#N/A</c:v>
                </c:pt>
                <c:pt idx="6849">
                  <c:v>#N/A</c:v>
                </c:pt>
                <c:pt idx="6850">
                  <c:v>#N/A</c:v>
                </c:pt>
                <c:pt idx="6851">
                  <c:v>#N/A</c:v>
                </c:pt>
                <c:pt idx="6852">
                  <c:v>#N/A</c:v>
                </c:pt>
                <c:pt idx="6853">
                  <c:v>#N/A</c:v>
                </c:pt>
                <c:pt idx="6854">
                  <c:v>#N/A</c:v>
                </c:pt>
                <c:pt idx="6855">
                  <c:v>#N/A</c:v>
                </c:pt>
                <c:pt idx="6856">
                  <c:v>#N/A</c:v>
                </c:pt>
                <c:pt idx="6857">
                  <c:v>#N/A</c:v>
                </c:pt>
                <c:pt idx="6858">
                  <c:v>#N/A</c:v>
                </c:pt>
                <c:pt idx="6859">
                  <c:v>#N/A</c:v>
                </c:pt>
                <c:pt idx="6860">
                  <c:v>#N/A</c:v>
                </c:pt>
                <c:pt idx="6861">
                  <c:v>#N/A</c:v>
                </c:pt>
                <c:pt idx="6862">
                  <c:v>#N/A</c:v>
                </c:pt>
                <c:pt idx="6863">
                  <c:v>#N/A</c:v>
                </c:pt>
                <c:pt idx="6864">
                  <c:v>#N/A</c:v>
                </c:pt>
                <c:pt idx="6865">
                  <c:v>#N/A</c:v>
                </c:pt>
                <c:pt idx="6866">
                  <c:v>#N/A</c:v>
                </c:pt>
                <c:pt idx="6867">
                  <c:v>#N/A</c:v>
                </c:pt>
                <c:pt idx="6868">
                  <c:v>#N/A</c:v>
                </c:pt>
                <c:pt idx="6869">
                  <c:v>#N/A</c:v>
                </c:pt>
                <c:pt idx="6870">
                  <c:v>#N/A</c:v>
                </c:pt>
                <c:pt idx="6871">
                  <c:v>#N/A</c:v>
                </c:pt>
                <c:pt idx="6872">
                  <c:v>#N/A</c:v>
                </c:pt>
                <c:pt idx="6873">
                  <c:v>#N/A</c:v>
                </c:pt>
                <c:pt idx="6874">
                  <c:v>#N/A</c:v>
                </c:pt>
                <c:pt idx="6875">
                  <c:v>#N/A</c:v>
                </c:pt>
                <c:pt idx="6876">
                  <c:v>#N/A</c:v>
                </c:pt>
                <c:pt idx="6877">
                  <c:v>#N/A</c:v>
                </c:pt>
                <c:pt idx="6878">
                  <c:v>#N/A</c:v>
                </c:pt>
                <c:pt idx="6879">
                  <c:v>#N/A</c:v>
                </c:pt>
                <c:pt idx="6880">
                  <c:v>#N/A</c:v>
                </c:pt>
                <c:pt idx="6881">
                  <c:v>#N/A</c:v>
                </c:pt>
                <c:pt idx="6882">
                  <c:v>#N/A</c:v>
                </c:pt>
                <c:pt idx="6883">
                  <c:v>#N/A</c:v>
                </c:pt>
                <c:pt idx="6884">
                  <c:v>#N/A</c:v>
                </c:pt>
                <c:pt idx="6885">
                  <c:v>#N/A</c:v>
                </c:pt>
                <c:pt idx="6886">
                  <c:v>#N/A</c:v>
                </c:pt>
                <c:pt idx="6887">
                  <c:v>#N/A</c:v>
                </c:pt>
                <c:pt idx="6888">
                  <c:v>#N/A</c:v>
                </c:pt>
                <c:pt idx="6889">
                  <c:v>#N/A</c:v>
                </c:pt>
                <c:pt idx="6890">
                  <c:v>#N/A</c:v>
                </c:pt>
                <c:pt idx="6891">
                  <c:v>#N/A</c:v>
                </c:pt>
                <c:pt idx="6892">
                  <c:v>#N/A</c:v>
                </c:pt>
                <c:pt idx="6893">
                  <c:v>#N/A</c:v>
                </c:pt>
                <c:pt idx="6894">
                  <c:v>#N/A</c:v>
                </c:pt>
                <c:pt idx="6895">
                  <c:v>#N/A</c:v>
                </c:pt>
                <c:pt idx="6896">
                  <c:v>#N/A</c:v>
                </c:pt>
                <c:pt idx="6897">
                  <c:v>#N/A</c:v>
                </c:pt>
                <c:pt idx="6898">
                  <c:v>#N/A</c:v>
                </c:pt>
                <c:pt idx="6899">
                  <c:v>#N/A</c:v>
                </c:pt>
                <c:pt idx="6900">
                  <c:v>#N/A</c:v>
                </c:pt>
                <c:pt idx="6901">
                  <c:v>#N/A</c:v>
                </c:pt>
                <c:pt idx="6902">
                  <c:v>#N/A</c:v>
                </c:pt>
                <c:pt idx="6903">
                  <c:v>#N/A</c:v>
                </c:pt>
                <c:pt idx="6904">
                  <c:v>#N/A</c:v>
                </c:pt>
                <c:pt idx="6905">
                  <c:v>#N/A</c:v>
                </c:pt>
                <c:pt idx="6906">
                  <c:v>#N/A</c:v>
                </c:pt>
                <c:pt idx="6907">
                  <c:v>#N/A</c:v>
                </c:pt>
                <c:pt idx="6908">
                  <c:v>#N/A</c:v>
                </c:pt>
                <c:pt idx="6909">
                  <c:v>#N/A</c:v>
                </c:pt>
                <c:pt idx="6910">
                  <c:v>#N/A</c:v>
                </c:pt>
                <c:pt idx="6911">
                  <c:v>#N/A</c:v>
                </c:pt>
                <c:pt idx="6912">
                  <c:v>#N/A</c:v>
                </c:pt>
                <c:pt idx="6913">
                  <c:v>#N/A</c:v>
                </c:pt>
                <c:pt idx="6914">
                  <c:v>#N/A</c:v>
                </c:pt>
                <c:pt idx="6915">
                  <c:v>#N/A</c:v>
                </c:pt>
                <c:pt idx="6916">
                  <c:v>#N/A</c:v>
                </c:pt>
                <c:pt idx="6917">
                  <c:v>#N/A</c:v>
                </c:pt>
                <c:pt idx="6918">
                  <c:v>#N/A</c:v>
                </c:pt>
                <c:pt idx="6919">
                  <c:v>#N/A</c:v>
                </c:pt>
                <c:pt idx="6920">
                  <c:v>#N/A</c:v>
                </c:pt>
                <c:pt idx="6921">
                  <c:v>#N/A</c:v>
                </c:pt>
                <c:pt idx="6922">
                  <c:v>#N/A</c:v>
                </c:pt>
                <c:pt idx="6923">
                  <c:v>#N/A</c:v>
                </c:pt>
                <c:pt idx="6924">
                  <c:v>#N/A</c:v>
                </c:pt>
                <c:pt idx="6925">
                  <c:v>#N/A</c:v>
                </c:pt>
                <c:pt idx="6926">
                  <c:v>#N/A</c:v>
                </c:pt>
                <c:pt idx="6927">
                  <c:v>#N/A</c:v>
                </c:pt>
                <c:pt idx="6928">
                  <c:v>#N/A</c:v>
                </c:pt>
                <c:pt idx="6929">
                  <c:v>#N/A</c:v>
                </c:pt>
                <c:pt idx="6930">
                  <c:v>#N/A</c:v>
                </c:pt>
                <c:pt idx="6931">
                  <c:v>#N/A</c:v>
                </c:pt>
                <c:pt idx="6932">
                  <c:v>#N/A</c:v>
                </c:pt>
                <c:pt idx="6933">
                  <c:v>#N/A</c:v>
                </c:pt>
                <c:pt idx="6934">
                  <c:v>#N/A</c:v>
                </c:pt>
                <c:pt idx="6935">
                  <c:v>#N/A</c:v>
                </c:pt>
                <c:pt idx="6936">
                  <c:v>#N/A</c:v>
                </c:pt>
                <c:pt idx="6937">
                  <c:v>#N/A</c:v>
                </c:pt>
                <c:pt idx="6938">
                  <c:v>#N/A</c:v>
                </c:pt>
                <c:pt idx="6939">
                  <c:v>#N/A</c:v>
                </c:pt>
                <c:pt idx="6940">
                  <c:v>#N/A</c:v>
                </c:pt>
                <c:pt idx="6941">
                  <c:v>#N/A</c:v>
                </c:pt>
                <c:pt idx="6942">
                  <c:v>#N/A</c:v>
                </c:pt>
                <c:pt idx="6943">
                  <c:v>#N/A</c:v>
                </c:pt>
                <c:pt idx="6944">
                  <c:v>#N/A</c:v>
                </c:pt>
                <c:pt idx="6945">
                  <c:v>#N/A</c:v>
                </c:pt>
                <c:pt idx="6946">
                  <c:v>#N/A</c:v>
                </c:pt>
                <c:pt idx="6947">
                  <c:v>#N/A</c:v>
                </c:pt>
                <c:pt idx="6948">
                  <c:v>#N/A</c:v>
                </c:pt>
                <c:pt idx="6949">
                  <c:v>#N/A</c:v>
                </c:pt>
                <c:pt idx="6950">
                  <c:v>#N/A</c:v>
                </c:pt>
                <c:pt idx="6951">
                  <c:v>#N/A</c:v>
                </c:pt>
                <c:pt idx="6952">
                  <c:v>#N/A</c:v>
                </c:pt>
                <c:pt idx="6953">
                  <c:v>#N/A</c:v>
                </c:pt>
                <c:pt idx="6954">
                  <c:v>#N/A</c:v>
                </c:pt>
                <c:pt idx="6955">
                  <c:v>#N/A</c:v>
                </c:pt>
                <c:pt idx="6956">
                  <c:v>#N/A</c:v>
                </c:pt>
                <c:pt idx="6957">
                  <c:v>#N/A</c:v>
                </c:pt>
                <c:pt idx="6958">
                  <c:v>#N/A</c:v>
                </c:pt>
                <c:pt idx="6959">
                  <c:v>#N/A</c:v>
                </c:pt>
                <c:pt idx="6960">
                  <c:v>#N/A</c:v>
                </c:pt>
                <c:pt idx="6961">
                  <c:v>#N/A</c:v>
                </c:pt>
                <c:pt idx="6962">
                  <c:v>#N/A</c:v>
                </c:pt>
                <c:pt idx="6963">
                  <c:v>#N/A</c:v>
                </c:pt>
                <c:pt idx="6964">
                  <c:v>#N/A</c:v>
                </c:pt>
                <c:pt idx="6965">
                  <c:v>#N/A</c:v>
                </c:pt>
                <c:pt idx="6966">
                  <c:v>#N/A</c:v>
                </c:pt>
                <c:pt idx="6967">
                  <c:v>#N/A</c:v>
                </c:pt>
                <c:pt idx="6968">
                  <c:v>#N/A</c:v>
                </c:pt>
                <c:pt idx="6969">
                  <c:v>#N/A</c:v>
                </c:pt>
                <c:pt idx="6970">
                  <c:v>#N/A</c:v>
                </c:pt>
                <c:pt idx="6971">
                  <c:v>#N/A</c:v>
                </c:pt>
                <c:pt idx="6972">
                  <c:v>#N/A</c:v>
                </c:pt>
                <c:pt idx="6973">
                  <c:v>#N/A</c:v>
                </c:pt>
                <c:pt idx="6974">
                  <c:v>#N/A</c:v>
                </c:pt>
                <c:pt idx="6975">
                  <c:v>#N/A</c:v>
                </c:pt>
                <c:pt idx="6976">
                  <c:v>#N/A</c:v>
                </c:pt>
                <c:pt idx="6977">
                  <c:v>#N/A</c:v>
                </c:pt>
                <c:pt idx="6978">
                  <c:v>#N/A</c:v>
                </c:pt>
                <c:pt idx="6979">
                  <c:v>#N/A</c:v>
                </c:pt>
                <c:pt idx="6980">
                  <c:v>#N/A</c:v>
                </c:pt>
                <c:pt idx="6981">
                  <c:v>#N/A</c:v>
                </c:pt>
                <c:pt idx="6982">
                  <c:v>#N/A</c:v>
                </c:pt>
                <c:pt idx="6983">
                  <c:v>#N/A</c:v>
                </c:pt>
                <c:pt idx="6984">
                  <c:v>#N/A</c:v>
                </c:pt>
                <c:pt idx="6985">
                  <c:v>#N/A</c:v>
                </c:pt>
                <c:pt idx="6986">
                  <c:v>#N/A</c:v>
                </c:pt>
                <c:pt idx="6987">
                  <c:v>#N/A</c:v>
                </c:pt>
                <c:pt idx="6988">
                  <c:v>#N/A</c:v>
                </c:pt>
                <c:pt idx="6989">
                  <c:v>#N/A</c:v>
                </c:pt>
                <c:pt idx="6990">
                  <c:v>#N/A</c:v>
                </c:pt>
                <c:pt idx="6991">
                  <c:v>#N/A</c:v>
                </c:pt>
                <c:pt idx="6992">
                  <c:v>#N/A</c:v>
                </c:pt>
                <c:pt idx="6993">
                  <c:v>#N/A</c:v>
                </c:pt>
                <c:pt idx="6994">
                  <c:v>#N/A</c:v>
                </c:pt>
                <c:pt idx="6995">
                  <c:v>#N/A</c:v>
                </c:pt>
                <c:pt idx="6996">
                  <c:v>#N/A</c:v>
                </c:pt>
                <c:pt idx="6997">
                  <c:v>#N/A</c:v>
                </c:pt>
                <c:pt idx="6998">
                  <c:v>#N/A</c:v>
                </c:pt>
                <c:pt idx="6999">
                  <c:v>#N/A</c:v>
                </c:pt>
                <c:pt idx="7000">
                  <c:v>#N/A</c:v>
                </c:pt>
                <c:pt idx="7001">
                  <c:v>#N/A</c:v>
                </c:pt>
                <c:pt idx="7002">
                  <c:v>#N/A</c:v>
                </c:pt>
                <c:pt idx="7003">
                  <c:v>#N/A</c:v>
                </c:pt>
                <c:pt idx="7004">
                  <c:v>#N/A</c:v>
                </c:pt>
                <c:pt idx="7005">
                  <c:v>#N/A</c:v>
                </c:pt>
                <c:pt idx="7006">
                  <c:v>#N/A</c:v>
                </c:pt>
                <c:pt idx="7007">
                  <c:v>#N/A</c:v>
                </c:pt>
                <c:pt idx="7008">
                  <c:v>#N/A</c:v>
                </c:pt>
                <c:pt idx="7009">
                  <c:v>#N/A</c:v>
                </c:pt>
                <c:pt idx="7010">
                  <c:v>#N/A</c:v>
                </c:pt>
                <c:pt idx="7011">
                  <c:v>#N/A</c:v>
                </c:pt>
                <c:pt idx="7012">
                  <c:v>#N/A</c:v>
                </c:pt>
                <c:pt idx="7013">
                  <c:v>#N/A</c:v>
                </c:pt>
                <c:pt idx="7014">
                  <c:v>#N/A</c:v>
                </c:pt>
                <c:pt idx="7015">
                  <c:v>#N/A</c:v>
                </c:pt>
                <c:pt idx="7016">
                  <c:v>#N/A</c:v>
                </c:pt>
                <c:pt idx="7017">
                  <c:v>#N/A</c:v>
                </c:pt>
                <c:pt idx="7018">
                  <c:v>#N/A</c:v>
                </c:pt>
                <c:pt idx="7019">
                  <c:v>#N/A</c:v>
                </c:pt>
                <c:pt idx="7020">
                  <c:v>#N/A</c:v>
                </c:pt>
                <c:pt idx="7021">
                  <c:v>#N/A</c:v>
                </c:pt>
                <c:pt idx="7022">
                  <c:v>#N/A</c:v>
                </c:pt>
                <c:pt idx="7023">
                  <c:v>#N/A</c:v>
                </c:pt>
                <c:pt idx="7024">
                  <c:v>#N/A</c:v>
                </c:pt>
                <c:pt idx="7025">
                  <c:v>#N/A</c:v>
                </c:pt>
                <c:pt idx="7026">
                  <c:v>#N/A</c:v>
                </c:pt>
                <c:pt idx="7027">
                  <c:v>#N/A</c:v>
                </c:pt>
                <c:pt idx="7028">
                  <c:v>#N/A</c:v>
                </c:pt>
                <c:pt idx="7029">
                  <c:v>#N/A</c:v>
                </c:pt>
                <c:pt idx="7030">
                  <c:v>#N/A</c:v>
                </c:pt>
                <c:pt idx="7031">
                  <c:v>#N/A</c:v>
                </c:pt>
                <c:pt idx="7032">
                  <c:v>#N/A</c:v>
                </c:pt>
                <c:pt idx="7033">
                  <c:v>#N/A</c:v>
                </c:pt>
                <c:pt idx="7034">
                  <c:v>#N/A</c:v>
                </c:pt>
                <c:pt idx="7035">
                  <c:v>#N/A</c:v>
                </c:pt>
                <c:pt idx="7036">
                  <c:v>#N/A</c:v>
                </c:pt>
                <c:pt idx="7037">
                  <c:v>#N/A</c:v>
                </c:pt>
                <c:pt idx="7038">
                  <c:v>#N/A</c:v>
                </c:pt>
                <c:pt idx="7039">
                  <c:v>#N/A</c:v>
                </c:pt>
                <c:pt idx="7040">
                  <c:v>#N/A</c:v>
                </c:pt>
                <c:pt idx="7041">
                  <c:v>#N/A</c:v>
                </c:pt>
                <c:pt idx="7042">
                  <c:v>#N/A</c:v>
                </c:pt>
                <c:pt idx="7043">
                  <c:v>#N/A</c:v>
                </c:pt>
                <c:pt idx="7044">
                  <c:v>#N/A</c:v>
                </c:pt>
                <c:pt idx="7045">
                  <c:v>#N/A</c:v>
                </c:pt>
                <c:pt idx="7046">
                  <c:v>#N/A</c:v>
                </c:pt>
                <c:pt idx="7047">
                  <c:v>#N/A</c:v>
                </c:pt>
                <c:pt idx="7048">
                  <c:v>#N/A</c:v>
                </c:pt>
                <c:pt idx="7049">
                  <c:v>#N/A</c:v>
                </c:pt>
                <c:pt idx="7050">
                  <c:v>#N/A</c:v>
                </c:pt>
                <c:pt idx="7051">
                  <c:v>#N/A</c:v>
                </c:pt>
                <c:pt idx="7052">
                  <c:v>#N/A</c:v>
                </c:pt>
                <c:pt idx="7053">
                  <c:v>#N/A</c:v>
                </c:pt>
                <c:pt idx="7054">
                  <c:v>#N/A</c:v>
                </c:pt>
                <c:pt idx="7055">
                  <c:v>#N/A</c:v>
                </c:pt>
                <c:pt idx="7056">
                  <c:v>#N/A</c:v>
                </c:pt>
                <c:pt idx="7057">
                  <c:v>#N/A</c:v>
                </c:pt>
                <c:pt idx="7058">
                  <c:v>#N/A</c:v>
                </c:pt>
                <c:pt idx="7059">
                  <c:v>#N/A</c:v>
                </c:pt>
                <c:pt idx="7060">
                  <c:v>#N/A</c:v>
                </c:pt>
                <c:pt idx="7061">
                  <c:v>#N/A</c:v>
                </c:pt>
                <c:pt idx="7062">
                  <c:v>#N/A</c:v>
                </c:pt>
                <c:pt idx="7063">
                  <c:v>#N/A</c:v>
                </c:pt>
                <c:pt idx="7064">
                  <c:v>#N/A</c:v>
                </c:pt>
                <c:pt idx="7065">
                  <c:v>#N/A</c:v>
                </c:pt>
                <c:pt idx="7066">
                  <c:v>#N/A</c:v>
                </c:pt>
                <c:pt idx="7067">
                  <c:v>#N/A</c:v>
                </c:pt>
                <c:pt idx="7068">
                  <c:v>#N/A</c:v>
                </c:pt>
                <c:pt idx="7069">
                  <c:v>#N/A</c:v>
                </c:pt>
                <c:pt idx="7070">
                  <c:v>#N/A</c:v>
                </c:pt>
                <c:pt idx="7071">
                  <c:v>#N/A</c:v>
                </c:pt>
                <c:pt idx="7072">
                  <c:v>#N/A</c:v>
                </c:pt>
                <c:pt idx="7073">
                  <c:v>#N/A</c:v>
                </c:pt>
                <c:pt idx="7074">
                  <c:v>#N/A</c:v>
                </c:pt>
                <c:pt idx="7075">
                  <c:v>#N/A</c:v>
                </c:pt>
                <c:pt idx="7076">
                  <c:v>#N/A</c:v>
                </c:pt>
                <c:pt idx="7077">
                  <c:v>#N/A</c:v>
                </c:pt>
                <c:pt idx="7078">
                  <c:v>#N/A</c:v>
                </c:pt>
                <c:pt idx="7079">
                  <c:v>#N/A</c:v>
                </c:pt>
                <c:pt idx="7080">
                  <c:v>#N/A</c:v>
                </c:pt>
                <c:pt idx="7081">
                  <c:v>#N/A</c:v>
                </c:pt>
                <c:pt idx="7082">
                  <c:v>#N/A</c:v>
                </c:pt>
                <c:pt idx="7083">
                  <c:v>#N/A</c:v>
                </c:pt>
                <c:pt idx="7084">
                  <c:v>#N/A</c:v>
                </c:pt>
                <c:pt idx="7085">
                  <c:v>#N/A</c:v>
                </c:pt>
                <c:pt idx="7086">
                  <c:v>#N/A</c:v>
                </c:pt>
                <c:pt idx="7087">
                  <c:v>#N/A</c:v>
                </c:pt>
                <c:pt idx="7088">
                  <c:v>#N/A</c:v>
                </c:pt>
                <c:pt idx="7089">
                  <c:v>#N/A</c:v>
                </c:pt>
                <c:pt idx="7090">
                  <c:v>#N/A</c:v>
                </c:pt>
                <c:pt idx="7091">
                  <c:v>#N/A</c:v>
                </c:pt>
                <c:pt idx="7092">
                  <c:v>#N/A</c:v>
                </c:pt>
                <c:pt idx="7093">
                  <c:v>#N/A</c:v>
                </c:pt>
                <c:pt idx="7094">
                  <c:v>#N/A</c:v>
                </c:pt>
                <c:pt idx="7095">
                  <c:v>#N/A</c:v>
                </c:pt>
                <c:pt idx="7096">
                  <c:v>#N/A</c:v>
                </c:pt>
                <c:pt idx="7097">
                  <c:v>#N/A</c:v>
                </c:pt>
                <c:pt idx="7098">
                  <c:v>#N/A</c:v>
                </c:pt>
                <c:pt idx="7099">
                  <c:v>#N/A</c:v>
                </c:pt>
                <c:pt idx="7100">
                  <c:v>#N/A</c:v>
                </c:pt>
                <c:pt idx="7101">
                  <c:v>#N/A</c:v>
                </c:pt>
                <c:pt idx="7102">
                  <c:v>#N/A</c:v>
                </c:pt>
                <c:pt idx="7103">
                  <c:v>#N/A</c:v>
                </c:pt>
                <c:pt idx="7104">
                  <c:v>#N/A</c:v>
                </c:pt>
                <c:pt idx="7105">
                  <c:v>#N/A</c:v>
                </c:pt>
                <c:pt idx="7106">
                  <c:v>#N/A</c:v>
                </c:pt>
                <c:pt idx="7107">
                  <c:v>#N/A</c:v>
                </c:pt>
                <c:pt idx="7108">
                  <c:v>#N/A</c:v>
                </c:pt>
                <c:pt idx="7109">
                  <c:v>#N/A</c:v>
                </c:pt>
                <c:pt idx="7110">
                  <c:v>#N/A</c:v>
                </c:pt>
                <c:pt idx="7111">
                  <c:v>#N/A</c:v>
                </c:pt>
                <c:pt idx="7112">
                  <c:v>#N/A</c:v>
                </c:pt>
                <c:pt idx="7113">
                  <c:v>#N/A</c:v>
                </c:pt>
                <c:pt idx="7114">
                  <c:v>#N/A</c:v>
                </c:pt>
                <c:pt idx="7115">
                  <c:v>#N/A</c:v>
                </c:pt>
                <c:pt idx="7116">
                  <c:v>#N/A</c:v>
                </c:pt>
                <c:pt idx="7117">
                  <c:v>#N/A</c:v>
                </c:pt>
                <c:pt idx="7118">
                  <c:v>#N/A</c:v>
                </c:pt>
                <c:pt idx="7119">
                  <c:v>#N/A</c:v>
                </c:pt>
                <c:pt idx="7120">
                  <c:v>#N/A</c:v>
                </c:pt>
                <c:pt idx="7121">
                  <c:v>#N/A</c:v>
                </c:pt>
                <c:pt idx="7122">
                  <c:v>#N/A</c:v>
                </c:pt>
                <c:pt idx="7123">
                  <c:v>#N/A</c:v>
                </c:pt>
                <c:pt idx="7124">
                  <c:v>#N/A</c:v>
                </c:pt>
                <c:pt idx="7125">
                  <c:v>#N/A</c:v>
                </c:pt>
                <c:pt idx="7126">
                  <c:v>#N/A</c:v>
                </c:pt>
                <c:pt idx="7127">
                  <c:v>#N/A</c:v>
                </c:pt>
                <c:pt idx="7128">
                  <c:v>#N/A</c:v>
                </c:pt>
                <c:pt idx="7129">
                  <c:v>#N/A</c:v>
                </c:pt>
                <c:pt idx="7130">
                  <c:v>#N/A</c:v>
                </c:pt>
                <c:pt idx="7131">
                  <c:v>#N/A</c:v>
                </c:pt>
                <c:pt idx="7132">
                  <c:v>#N/A</c:v>
                </c:pt>
                <c:pt idx="7133">
                  <c:v>#N/A</c:v>
                </c:pt>
                <c:pt idx="7134">
                  <c:v>#N/A</c:v>
                </c:pt>
                <c:pt idx="7135">
                  <c:v>#N/A</c:v>
                </c:pt>
                <c:pt idx="7136">
                  <c:v>#N/A</c:v>
                </c:pt>
                <c:pt idx="7137">
                  <c:v>#N/A</c:v>
                </c:pt>
                <c:pt idx="7138">
                  <c:v>#N/A</c:v>
                </c:pt>
                <c:pt idx="7139">
                  <c:v>#N/A</c:v>
                </c:pt>
                <c:pt idx="7140">
                  <c:v>#N/A</c:v>
                </c:pt>
                <c:pt idx="7141">
                  <c:v>#N/A</c:v>
                </c:pt>
                <c:pt idx="7142">
                  <c:v>#N/A</c:v>
                </c:pt>
                <c:pt idx="7143">
                  <c:v>#N/A</c:v>
                </c:pt>
                <c:pt idx="7144">
                  <c:v>#N/A</c:v>
                </c:pt>
                <c:pt idx="7145">
                  <c:v>#N/A</c:v>
                </c:pt>
                <c:pt idx="7146">
                  <c:v>#N/A</c:v>
                </c:pt>
                <c:pt idx="7147">
                  <c:v>#N/A</c:v>
                </c:pt>
                <c:pt idx="7148">
                  <c:v>#N/A</c:v>
                </c:pt>
                <c:pt idx="7149">
                  <c:v>#N/A</c:v>
                </c:pt>
                <c:pt idx="7150">
                  <c:v>#N/A</c:v>
                </c:pt>
                <c:pt idx="7151">
                  <c:v>#N/A</c:v>
                </c:pt>
                <c:pt idx="7152">
                  <c:v>#N/A</c:v>
                </c:pt>
                <c:pt idx="7153">
                  <c:v>#N/A</c:v>
                </c:pt>
                <c:pt idx="7154">
                  <c:v>#N/A</c:v>
                </c:pt>
                <c:pt idx="7155">
                  <c:v>#N/A</c:v>
                </c:pt>
                <c:pt idx="7156">
                  <c:v>#N/A</c:v>
                </c:pt>
                <c:pt idx="7157">
                  <c:v>#N/A</c:v>
                </c:pt>
                <c:pt idx="7158">
                  <c:v>#N/A</c:v>
                </c:pt>
                <c:pt idx="7159">
                  <c:v>#N/A</c:v>
                </c:pt>
                <c:pt idx="7160">
                  <c:v>#N/A</c:v>
                </c:pt>
                <c:pt idx="7161">
                  <c:v>#N/A</c:v>
                </c:pt>
                <c:pt idx="7162">
                  <c:v>#N/A</c:v>
                </c:pt>
                <c:pt idx="7163">
                  <c:v>#N/A</c:v>
                </c:pt>
                <c:pt idx="7164">
                  <c:v>#N/A</c:v>
                </c:pt>
                <c:pt idx="7165">
                  <c:v>#N/A</c:v>
                </c:pt>
                <c:pt idx="7166">
                  <c:v>#N/A</c:v>
                </c:pt>
                <c:pt idx="7167">
                  <c:v>#N/A</c:v>
                </c:pt>
                <c:pt idx="7168">
                  <c:v>#N/A</c:v>
                </c:pt>
                <c:pt idx="7169">
                  <c:v>#N/A</c:v>
                </c:pt>
                <c:pt idx="7170">
                  <c:v>#N/A</c:v>
                </c:pt>
                <c:pt idx="7171">
                  <c:v>#N/A</c:v>
                </c:pt>
                <c:pt idx="7172">
                  <c:v>#N/A</c:v>
                </c:pt>
                <c:pt idx="7173">
                  <c:v>#N/A</c:v>
                </c:pt>
                <c:pt idx="7174">
                  <c:v>#N/A</c:v>
                </c:pt>
                <c:pt idx="7175">
                  <c:v>#N/A</c:v>
                </c:pt>
                <c:pt idx="7176">
                  <c:v>#N/A</c:v>
                </c:pt>
                <c:pt idx="7177">
                  <c:v>#N/A</c:v>
                </c:pt>
                <c:pt idx="7178">
                  <c:v>#N/A</c:v>
                </c:pt>
                <c:pt idx="7179">
                  <c:v>#N/A</c:v>
                </c:pt>
                <c:pt idx="7180">
                  <c:v>#N/A</c:v>
                </c:pt>
                <c:pt idx="7181">
                  <c:v>#N/A</c:v>
                </c:pt>
                <c:pt idx="7182">
                  <c:v>#N/A</c:v>
                </c:pt>
                <c:pt idx="7183">
                  <c:v>#N/A</c:v>
                </c:pt>
                <c:pt idx="7184">
                  <c:v>#N/A</c:v>
                </c:pt>
                <c:pt idx="7185">
                  <c:v>#N/A</c:v>
                </c:pt>
                <c:pt idx="7186">
                  <c:v>#N/A</c:v>
                </c:pt>
                <c:pt idx="7187">
                  <c:v>#N/A</c:v>
                </c:pt>
                <c:pt idx="7188">
                  <c:v>#N/A</c:v>
                </c:pt>
                <c:pt idx="7189">
                  <c:v>#N/A</c:v>
                </c:pt>
                <c:pt idx="7190">
                  <c:v>#N/A</c:v>
                </c:pt>
                <c:pt idx="7191">
                  <c:v>#N/A</c:v>
                </c:pt>
                <c:pt idx="7192">
                  <c:v>#N/A</c:v>
                </c:pt>
                <c:pt idx="7193">
                  <c:v>#N/A</c:v>
                </c:pt>
                <c:pt idx="7194">
                  <c:v>#N/A</c:v>
                </c:pt>
                <c:pt idx="7195">
                  <c:v>#N/A</c:v>
                </c:pt>
                <c:pt idx="7196">
                  <c:v>#N/A</c:v>
                </c:pt>
                <c:pt idx="7197">
                  <c:v>#N/A</c:v>
                </c:pt>
                <c:pt idx="7198">
                  <c:v>#N/A</c:v>
                </c:pt>
                <c:pt idx="7199">
                  <c:v>#N/A</c:v>
                </c:pt>
                <c:pt idx="7200">
                  <c:v>#N/A</c:v>
                </c:pt>
                <c:pt idx="7201">
                  <c:v>#N/A</c:v>
                </c:pt>
                <c:pt idx="7202">
                  <c:v>#N/A</c:v>
                </c:pt>
                <c:pt idx="7203">
                  <c:v>#N/A</c:v>
                </c:pt>
                <c:pt idx="7204">
                  <c:v>#N/A</c:v>
                </c:pt>
                <c:pt idx="7205">
                  <c:v>#N/A</c:v>
                </c:pt>
                <c:pt idx="7206">
                  <c:v>#N/A</c:v>
                </c:pt>
                <c:pt idx="7207">
                  <c:v>#N/A</c:v>
                </c:pt>
                <c:pt idx="7208">
                  <c:v>#N/A</c:v>
                </c:pt>
                <c:pt idx="7209">
                  <c:v>#N/A</c:v>
                </c:pt>
                <c:pt idx="7210">
                  <c:v>#N/A</c:v>
                </c:pt>
                <c:pt idx="7211">
                  <c:v>#N/A</c:v>
                </c:pt>
                <c:pt idx="7212">
                  <c:v>#N/A</c:v>
                </c:pt>
                <c:pt idx="7213">
                  <c:v>#N/A</c:v>
                </c:pt>
                <c:pt idx="7214">
                  <c:v>#N/A</c:v>
                </c:pt>
                <c:pt idx="7215">
                  <c:v>#N/A</c:v>
                </c:pt>
                <c:pt idx="7216">
                  <c:v>#N/A</c:v>
                </c:pt>
                <c:pt idx="7217">
                  <c:v>#N/A</c:v>
                </c:pt>
                <c:pt idx="7218">
                  <c:v>#N/A</c:v>
                </c:pt>
                <c:pt idx="7219">
                  <c:v>#N/A</c:v>
                </c:pt>
                <c:pt idx="7220">
                  <c:v>#N/A</c:v>
                </c:pt>
                <c:pt idx="7221">
                  <c:v>#N/A</c:v>
                </c:pt>
                <c:pt idx="7222">
                  <c:v>#N/A</c:v>
                </c:pt>
                <c:pt idx="7223">
                  <c:v>#N/A</c:v>
                </c:pt>
                <c:pt idx="7224">
                  <c:v>#N/A</c:v>
                </c:pt>
                <c:pt idx="7225">
                  <c:v>#N/A</c:v>
                </c:pt>
                <c:pt idx="7226">
                  <c:v>#N/A</c:v>
                </c:pt>
                <c:pt idx="7227">
                  <c:v>#N/A</c:v>
                </c:pt>
                <c:pt idx="7228">
                  <c:v>#N/A</c:v>
                </c:pt>
                <c:pt idx="7229">
                  <c:v>#N/A</c:v>
                </c:pt>
                <c:pt idx="7230">
                  <c:v>#N/A</c:v>
                </c:pt>
                <c:pt idx="7231">
                  <c:v>#N/A</c:v>
                </c:pt>
                <c:pt idx="7232">
                  <c:v>#N/A</c:v>
                </c:pt>
                <c:pt idx="7233">
                  <c:v>#N/A</c:v>
                </c:pt>
                <c:pt idx="7234">
                  <c:v>#N/A</c:v>
                </c:pt>
                <c:pt idx="7235">
                  <c:v>#N/A</c:v>
                </c:pt>
                <c:pt idx="7236">
                  <c:v>#N/A</c:v>
                </c:pt>
                <c:pt idx="7237">
                  <c:v>#N/A</c:v>
                </c:pt>
                <c:pt idx="7238">
                  <c:v>#N/A</c:v>
                </c:pt>
                <c:pt idx="7239">
                  <c:v>#N/A</c:v>
                </c:pt>
                <c:pt idx="7240">
                  <c:v>#N/A</c:v>
                </c:pt>
                <c:pt idx="7241">
                  <c:v>#N/A</c:v>
                </c:pt>
                <c:pt idx="7242">
                  <c:v>#N/A</c:v>
                </c:pt>
                <c:pt idx="7243">
                  <c:v>#N/A</c:v>
                </c:pt>
                <c:pt idx="7244">
                  <c:v>#N/A</c:v>
                </c:pt>
                <c:pt idx="7245">
                  <c:v>#N/A</c:v>
                </c:pt>
                <c:pt idx="7246">
                  <c:v>#N/A</c:v>
                </c:pt>
                <c:pt idx="7247">
                  <c:v>#N/A</c:v>
                </c:pt>
                <c:pt idx="7248">
                  <c:v>#N/A</c:v>
                </c:pt>
                <c:pt idx="7249">
                  <c:v>#N/A</c:v>
                </c:pt>
                <c:pt idx="7250">
                  <c:v>#N/A</c:v>
                </c:pt>
                <c:pt idx="7251">
                  <c:v>#N/A</c:v>
                </c:pt>
                <c:pt idx="7252">
                  <c:v>#N/A</c:v>
                </c:pt>
                <c:pt idx="7253">
                  <c:v>#N/A</c:v>
                </c:pt>
                <c:pt idx="7254">
                  <c:v>#N/A</c:v>
                </c:pt>
                <c:pt idx="7255">
                  <c:v>#N/A</c:v>
                </c:pt>
                <c:pt idx="7256">
                  <c:v>#N/A</c:v>
                </c:pt>
                <c:pt idx="7257">
                  <c:v>#N/A</c:v>
                </c:pt>
                <c:pt idx="7258">
                  <c:v>#N/A</c:v>
                </c:pt>
                <c:pt idx="7259">
                  <c:v>#N/A</c:v>
                </c:pt>
                <c:pt idx="7260">
                  <c:v>#N/A</c:v>
                </c:pt>
                <c:pt idx="7261">
                  <c:v>#N/A</c:v>
                </c:pt>
                <c:pt idx="7262">
                  <c:v>#N/A</c:v>
                </c:pt>
                <c:pt idx="7263">
                  <c:v>2.6219178082191781</c:v>
                </c:pt>
                <c:pt idx="7264">
                  <c:v>#N/A</c:v>
                </c:pt>
                <c:pt idx="7265">
                  <c:v>#N/A</c:v>
                </c:pt>
                <c:pt idx="7266">
                  <c:v>#N/A</c:v>
                </c:pt>
                <c:pt idx="7267">
                  <c:v>#N/A</c:v>
                </c:pt>
                <c:pt idx="7268">
                  <c:v>#N/A</c:v>
                </c:pt>
                <c:pt idx="7269">
                  <c:v>#N/A</c:v>
                </c:pt>
                <c:pt idx="7270">
                  <c:v>#N/A</c:v>
                </c:pt>
                <c:pt idx="7271">
                  <c:v>#N/A</c:v>
                </c:pt>
                <c:pt idx="7272">
                  <c:v>#N/A</c:v>
                </c:pt>
                <c:pt idx="7273">
                  <c:v>#N/A</c:v>
                </c:pt>
                <c:pt idx="7274">
                  <c:v>#N/A</c:v>
                </c:pt>
                <c:pt idx="7275">
                  <c:v>#N/A</c:v>
                </c:pt>
                <c:pt idx="7276">
                  <c:v>#N/A</c:v>
                </c:pt>
                <c:pt idx="7277">
                  <c:v>#N/A</c:v>
                </c:pt>
                <c:pt idx="7278">
                  <c:v>#N/A</c:v>
                </c:pt>
                <c:pt idx="7279">
                  <c:v>#N/A</c:v>
                </c:pt>
                <c:pt idx="7280">
                  <c:v>#N/A</c:v>
                </c:pt>
                <c:pt idx="7281">
                  <c:v>#N/A</c:v>
                </c:pt>
                <c:pt idx="7282">
                  <c:v>#N/A</c:v>
                </c:pt>
                <c:pt idx="7283">
                  <c:v>#N/A</c:v>
                </c:pt>
                <c:pt idx="7284">
                  <c:v>#N/A</c:v>
                </c:pt>
                <c:pt idx="7285">
                  <c:v>#N/A</c:v>
                </c:pt>
                <c:pt idx="7286">
                  <c:v>#N/A</c:v>
                </c:pt>
                <c:pt idx="7287">
                  <c:v>#N/A</c:v>
                </c:pt>
                <c:pt idx="7288">
                  <c:v>#N/A</c:v>
                </c:pt>
                <c:pt idx="7289">
                  <c:v>#N/A</c:v>
                </c:pt>
                <c:pt idx="7290">
                  <c:v>#N/A</c:v>
                </c:pt>
                <c:pt idx="7291">
                  <c:v>#N/A</c:v>
                </c:pt>
                <c:pt idx="7292">
                  <c:v>#N/A</c:v>
                </c:pt>
                <c:pt idx="7293">
                  <c:v>#N/A</c:v>
                </c:pt>
                <c:pt idx="7294">
                  <c:v>#N/A</c:v>
                </c:pt>
                <c:pt idx="7295">
                  <c:v>#N/A</c:v>
                </c:pt>
                <c:pt idx="7296">
                  <c:v>#N/A</c:v>
                </c:pt>
                <c:pt idx="7297">
                  <c:v>#N/A</c:v>
                </c:pt>
                <c:pt idx="7298">
                  <c:v>#N/A</c:v>
                </c:pt>
                <c:pt idx="7299">
                  <c:v>#N/A</c:v>
                </c:pt>
                <c:pt idx="7300">
                  <c:v>#N/A</c:v>
                </c:pt>
                <c:pt idx="7301">
                  <c:v>#N/A</c:v>
                </c:pt>
                <c:pt idx="7302">
                  <c:v>#N/A</c:v>
                </c:pt>
                <c:pt idx="7303">
                  <c:v>#N/A</c:v>
                </c:pt>
                <c:pt idx="7304">
                  <c:v>#N/A</c:v>
                </c:pt>
                <c:pt idx="7305">
                  <c:v>#N/A</c:v>
                </c:pt>
                <c:pt idx="7306">
                  <c:v>#N/A</c:v>
                </c:pt>
                <c:pt idx="7307">
                  <c:v>#N/A</c:v>
                </c:pt>
                <c:pt idx="7308">
                  <c:v>#N/A</c:v>
                </c:pt>
                <c:pt idx="7309">
                  <c:v>#N/A</c:v>
                </c:pt>
                <c:pt idx="7310">
                  <c:v>#N/A</c:v>
                </c:pt>
                <c:pt idx="7311">
                  <c:v>#N/A</c:v>
                </c:pt>
                <c:pt idx="7312">
                  <c:v>#N/A</c:v>
                </c:pt>
                <c:pt idx="7313">
                  <c:v>#N/A</c:v>
                </c:pt>
                <c:pt idx="7314">
                  <c:v>#N/A</c:v>
                </c:pt>
                <c:pt idx="7315">
                  <c:v>#N/A</c:v>
                </c:pt>
                <c:pt idx="7316">
                  <c:v>#N/A</c:v>
                </c:pt>
                <c:pt idx="7317">
                  <c:v>#N/A</c:v>
                </c:pt>
                <c:pt idx="7318">
                  <c:v>#N/A</c:v>
                </c:pt>
                <c:pt idx="7319">
                  <c:v>#N/A</c:v>
                </c:pt>
                <c:pt idx="7320">
                  <c:v>#N/A</c:v>
                </c:pt>
                <c:pt idx="7321">
                  <c:v>#N/A</c:v>
                </c:pt>
                <c:pt idx="7322">
                  <c:v>#N/A</c:v>
                </c:pt>
                <c:pt idx="7323">
                  <c:v>#N/A</c:v>
                </c:pt>
                <c:pt idx="7324">
                  <c:v>#N/A</c:v>
                </c:pt>
                <c:pt idx="7325">
                  <c:v>#N/A</c:v>
                </c:pt>
                <c:pt idx="7326">
                  <c:v>#N/A</c:v>
                </c:pt>
                <c:pt idx="7327">
                  <c:v>#N/A</c:v>
                </c:pt>
                <c:pt idx="7328">
                  <c:v>#N/A</c:v>
                </c:pt>
                <c:pt idx="7329">
                  <c:v>#N/A</c:v>
                </c:pt>
                <c:pt idx="7330">
                  <c:v>#N/A</c:v>
                </c:pt>
                <c:pt idx="7331">
                  <c:v>#N/A</c:v>
                </c:pt>
                <c:pt idx="7332">
                  <c:v>#N/A</c:v>
                </c:pt>
                <c:pt idx="7333">
                  <c:v>#N/A</c:v>
                </c:pt>
                <c:pt idx="7334">
                  <c:v>#N/A</c:v>
                </c:pt>
                <c:pt idx="7335">
                  <c:v>#N/A</c:v>
                </c:pt>
                <c:pt idx="7336">
                  <c:v>#N/A</c:v>
                </c:pt>
                <c:pt idx="7337">
                  <c:v>#N/A</c:v>
                </c:pt>
                <c:pt idx="7338">
                  <c:v>#N/A</c:v>
                </c:pt>
                <c:pt idx="7339">
                  <c:v>#N/A</c:v>
                </c:pt>
                <c:pt idx="7340">
                  <c:v>#N/A</c:v>
                </c:pt>
                <c:pt idx="7341">
                  <c:v>#N/A</c:v>
                </c:pt>
                <c:pt idx="7342">
                  <c:v>#N/A</c:v>
                </c:pt>
                <c:pt idx="7343">
                  <c:v>#N/A</c:v>
                </c:pt>
                <c:pt idx="7344">
                  <c:v>#N/A</c:v>
                </c:pt>
                <c:pt idx="7345">
                  <c:v>#N/A</c:v>
                </c:pt>
                <c:pt idx="7346">
                  <c:v>#N/A</c:v>
                </c:pt>
                <c:pt idx="7347">
                  <c:v>#N/A</c:v>
                </c:pt>
                <c:pt idx="7348">
                  <c:v>#N/A</c:v>
                </c:pt>
                <c:pt idx="7349">
                  <c:v>#N/A</c:v>
                </c:pt>
                <c:pt idx="7350">
                  <c:v>#N/A</c:v>
                </c:pt>
                <c:pt idx="7351">
                  <c:v>#N/A</c:v>
                </c:pt>
                <c:pt idx="7352">
                  <c:v>#N/A</c:v>
                </c:pt>
                <c:pt idx="7353">
                  <c:v>#N/A</c:v>
                </c:pt>
                <c:pt idx="7354">
                  <c:v>#N/A</c:v>
                </c:pt>
                <c:pt idx="7355">
                  <c:v>#N/A</c:v>
                </c:pt>
                <c:pt idx="7356">
                  <c:v>#N/A</c:v>
                </c:pt>
                <c:pt idx="7357">
                  <c:v>#N/A</c:v>
                </c:pt>
                <c:pt idx="7358">
                  <c:v>#N/A</c:v>
                </c:pt>
                <c:pt idx="7359">
                  <c:v>#N/A</c:v>
                </c:pt>
                <c:pt idx="7360">
                  <c:v>#N/A</c:v>
                </c:pt>
                <c:pt idx="7361">
                  <c:v>#N/A</c:v>
                </c:pt>
                <c:pt idx="7362">
                  <c:v>#N/A</c:v>
                </c:pt>
                <c:pt idx="7363">
                  <c:v>#N/A</c:v>
                </c:pt>
                <c:pt idx="7364">
                  <c:v>#N/A</c:v>
                </c:pt>
                <c:pt idx="7365">
                  <c:v>#N/A</c:v>
                </c:pt>
                <c:pt idx="7366">
                  <c:v>#N/A</c:v>
                </c:pt>
                <c:pt idx="7367">
                  <c:v>#N/A</c:v>
                </c:pt>
                <c:pt idx="7368">
                  <c:v>#N/A</c:v>
                </c:pt>
                <c:pt idx="7369">
                  <c:v>#N/A</c:v>
                </c:pt>
                <c:pt idx="7370">
                  <c:v>#N/A</c:v>
                </c:pt>
                <c:pt idx="7371">
                  <c:v>#N/A</c:v>
                </c:pt>
                <c:pt idx="7372">
                  <c:v>#N/A</c:v>
                </c:pt>
                <c:pt idx="7373">
                  <c:v>#N/A</c:v>
                </c:pt>
                <c:pt idx="7374">
                  <c:v>#N/A</c:v>
                </c:pt>
                <c:pt idx="7375">
                  <c:v>#N/A</c:v>
                </c:pt>
                <c:pt idx="7376">
                  <c:v>#N/A</c:v>
                </c:pt>
                <c:pt idx="7377">
                  <c:v>#N/A</c:v>
                </c:pt>
                <c:pt idx="7378">
                  <c:v>#N/A</c:v>
                </c:pt>
                <c:pt idx="7379">
                  <c:v>#N/A</c:v>
                </c:pt>
                <c:pt idx="7380">
                  <c:v>#N/A</c:v>
                </c:pt>
                <c:pt idx="7381">
                  <c:v>#N/A</c:v>
                </c:pt>
                <c:pt idx="7382">
                  <c:v>#N/A</c:v>
                </c:pt>
                <c:pt idx="7383">
                  <c:v>#N/A</c:v>
                </c:pt>
                <c:pt idx="7384">
                  <c:v>#N/A</c:v>
                </c:pt>
                <c:pt idx="7385">
                  <c:v>#N/A</c:v>
                </c:pt>
                <c:pt idx="7386">
                  <c:v>#N/A</c:v>
                </c:pt>
                <c:pt idx="7387">
                  <c:v>#N/A</c:v>
                </c:pt>
                <c:pt idx="7388">
                  <c:v>#N/A</c:v>
                </c:pt>
                <c:pt idx="7389">
                  <c:v>#N/A</c:v>
                </c:pt>
                <c:pt idx="7390">
                  <c:v>#N/A</c:v>
                </c:pt>
                <c:pt idx="7391">
                  <c:v>#N/A</c:v>
                </c:pt>
                <c:pt idx="7392">
                  <c:v>#N/A</c:v>
                </c:pt>
                <c:pt idx="7393">
                  <c:v>#N/A</c:v>
                </c:pt>
                <c:pt idx="7394">
                  <c:v>#N/A</c:v>
                </c:pt>
                <c:pt idx="7395">
                  <c:v>#N/A</c:v>
                </c:pt>
                <c:pt idx="7396">
                  <c:v>#N/A</c:v>
                </c:pt>
                <c:pt idx="7397">
                  <c:v>#N/A</c:v>
                </c:pt>
                <c:pt idx="7398">
                  <c:v>#N/A</c:v>
                </c:pt>
                <c:pt idx="7399">
                  <c:v>#N/A</c:v>
                </c:pt>
                <c:pt idx="7400">
                  <c:v>#N/A</c:v>
                </c:pt>
                <c:pt idx="7401">
                  <c:v>#N/A</c:v>
                </c:pt>
                <c:pt idx="7402">
                  <c:v>#N/A</c:v>
                </c:pt>
                <c:pt idx="7403">
                  <c:v>#N/A</c:v>
                </c:pt>
                <c:pt idx="7404">
                  <c:v>#N/A</c:v>
                </c:pt>
                <c:pt idx="7405">
                  <c:v>#N/A</c:v>
                </c:pt>
                <c:pt idx="7406">
                  <c:v>#N/A</c:v>
                </c:pt>
                <c:pt idx="7407">
                  <c:v>#N/A</c:v>
                </c:pt>
                <c:pt idx="7408">
                  <c:v>#N/A</c:v>
                </c:pt>
                <c:pt idx="7409">
                  <c:v>#N/A</c:v>
                </c:pt>
                <c:pt idx="7410">
                  <c:v>#N/A</c:v>
                </c:pt>
                <c:pt idx="7411">
                  <c:v>#N/A</c:v>
                </c:pt>
                <c:pt idx="7412">
                  <c:v>#N/A</c:v>
                </c:pt>
                <c:pt idx="7413">
                  <c:v>#N/A</c:v>
                </c:pt>
                <c:pt idx="7414">
                  <c:v>#N/A</c:v>
                </c:pt>
                <c:pt idx="7415">
                  <c:v>#N/A</c:v>
                </c:pt>
                <c:pt idx="7416">
                  <c:v>#N/A</c:v>
                </c:pt>
                <c:pt idx="7417">
                  <c:v>#N/A</c:v>
                </c:pt>
                <c:pt idx="7418">
                  <c:v>#N/A</c:v>
                </c:pt>
                <c:pt idx="7419">
                  <c:v>#N/A</c:v>
                </c:pt>
                <c:pt idx="7420">
                  <c:v>#N/A</c:v>
                </c:pt>
                <c:pt idx="7421">
                  <c:v>#N/A</c:v>
                </c:pt>
                <c:pt idx="7422">
                  <c:v>#N/A</c:v>
                </c:pt>
                <c:pt idx="7423">
                  <c:v>#N/A</c:v>
                </c:pt>
                <c:pt idx="7424">
                  <c:v>#N/A</c:v>
                </c:pt>
                <c:pt idx="7425">
                  <c:v>#N/A</c:v>
                </c:pt>
                <c:pt idx="7426">
                  <c:v>#N/A</c:v>
                </c:pt>
                <c:pt idx="7427">
                  <c:v>#N/A</c:v>
                </c:pt>
                <c:pt idx="7428">
                  <c:v>#N/A</c:v>
                </c:pt>
                <c:pt idx="7429">
                  <c:v>#N/A</c:v>
                </c:pt>
                <c:pt idx="7430">
                  <c:v>#N/A</c:v>
                </c:pt>
                <c:pt idx="7431">
                  <c:v>#N/A</c:v>
                </c:pt>
                <c:pt idx="7432">
                  <c:v>#N/A</c:v>
                </c:pt>
                <c:pt idx="7433">
                  <c:v>#N/A</c:v>
                </c:pt>
                <c:pt idx="7434">
                  <c:v>#N/A</c:v>
                </c:pt>
                <c:pt idx="7435">
                  <c:v>#N/A</c:v>
                </c:pt>
                <c:pt idx="7436">
                  <c:v>#N/A</c:v>
                </c:pt>
                <c:pt idx="7437">
                  <c:v>#N/A</c:v>
                </c:pt>
                <c:pt idx="7438">
                  <c:v>#N/A</c:v>
                </c:pt>
                <c:pt idx="7439">
                  <c:v>#N/A</c:v>
                </c:pt>
                <c:pt idx="7440">
                  <c:v>#N/A</c:v>
                </c:pt>
                <c:pt idx="7441">
                  <c:v>#N/A</c:v>
                </c:pt>
                <c:pt idx="7442">
                  <c:v>#N/A</c:v>
                </c:pt>
                <c:pt idx="7443">
                  <c:v>#N/A</c:v>
                </c:pt>
                <c:pt idx="7444">
                  <c:v>#N/A</c:v>
                </c:pt>
                <c:pt idx="7445">
                  <c:v>#N/A</c:v>
                </c:pt>
                <c:pt idx="7446">
                  <c:v>#N/A</c:v>
                </c:pt>
                <c:pt idx="7447">
                  <c:v>#N/A</c:v>
                </c:pt>
                <c:pt idx="7448">
                  <c:v>#N/A</c:v>
                </c:pt>
                <c:pt idx="7449">
                  <c:v>#N/A</c:v>
                </c:pt>
                <c:pt idx="7450">
                  <c:v>#N/A</c:v>
                </c:pt>
                <c:pt idx="7451">
                  <c:v>#N/A</c:v>
                </c:pt>
                <c:pt idx="7452">
                  <c:v>#N/A</c:v>
                </c:pt>
                <c:pt idx="7453">
                  <c:v>#N/A</c:v>
                </c:pt>
                <c:pt idx="7454">
                  <c:v>#N/A</c:v>
                </c:pt>
                <c:pt idx="7455">
                  <c:v>#N/A</c:v>
                </c:pt>
                <c:pt idx="7456">
                  <c:v>#N/A</c:v>
                </c:pt>
                <c:pt idx="7457">
                  <c:v>#N/A</c:v>
                </c:pt>
                <c:pt idx="7458">
                  <c:v>#N/A</c:v>
                </c:pt>
                <c:pt idx="7459">
                  <c:v>#N/A</c:v>
                </c:pt>
                <c:pt idx="7460">
                  <c:v>#N/A</c:v>
                </c:pt>
                <c:pt idx="7461">
                  <c:v>#N/A</c:v>
                </c:pt>
                <c:pt idx="7462">
                  <c:v>#N/A</c:v>
                </c:pt>
                <c:pt idx="7463">
                  <c:v>#N/A</c:v>
                </c:pt>
                <c:pt idx="7464">
                  <c:v>#N/A</c:v>
                </c:pt>
                <c:pt idx="7465">
                  <c:v>#N/A</c:v>
                </c:pt>
                <c:pt idx="7466">
                  <c:v>#N/A</c:v>
                </c:pt>
                <c:pt idx="7467">
                  <c:v>#N/A</c:v>
                </c:pt>
                <c:pt idx="7468">
                  <c:v>#N/A</c:v>
                </c:pt>
                <c:pt idx="7469">
                  <c:v>#N/A</c:v>
                </c:pt>
                <c:pt idx="7470">
                  <c:v>#N/A</c:v>
                </c:pt>
                <c:pt idx="7471">
                  <c:v>#N/A</c:v>
                </c:pt>
                <c:pt idx="7472">
                  <c:v>#N/A</c:v>
                </c:pt>
                <c:pt idx="7473">
                  <c:v>#N/A</c:v>
                </c:pt>
                <c:pt idx="7474">
                  <c:v>#N/A</c:v>
                </c:pt>
                <c:pt idx="7475">
                  <c:v>#N/A</c:v>
                </c:pt>
                <c:pt idx="7476">
                  <c:v>#N/A</c:v>
                </c:pt>
                <c:pt idx="7477">
                  <c:v>#N/A</c:v>
                </c:pt>
                <c:pt idx="7478">
                  <c:v>#N/A</c:v>
                </c:pt>
                <c:pt idx="7479">
                  <c:v>#N/A</c:v>
                </c:pt>
                <c:pt idx="7480">
                  <c:v>#N/A</c:v>
                </c:pt>
                <c:pt idx="7481">
                  <c:v>#N/A</c:v>
                </c:pt>
                <c:pt idx="7482">
                  <c:v>#N/A</c:v>
                </c:pt>
                <c:pt idx="7483">
                  <c:v>#N/A</c:v>
                </c:pt>
                <c:pt idx="7484">
                  <c:v>#N/A</c:v>
                </c:pt>
                <c:pt idx="7485">
                  <c:v>#N/A</c:v>
                </c:pt>
                <c:pt idx="7486">
                  <c:v>#N/A</c:v>
                </c:pt>
                <c:pt idx="7487">
                  <c:v>#N/A</c:v>
                </c:pt>
                <c:pt idx="7488">
                  <c:v>#N/A</c:v>
                </c:pt>
                <c:pt idx="7489">
                  <c:v>#N/A</c:v>
                </c:pt>
                <c:pt idx="7490">
                  <c:v>#N/A</c:v>
                </c:pt>
                <c:pt idx="7491">
                  <c:v>#N/A</c:v>
                </c:pt>
                <c:pt idx="7492">
                  <c:v>#N/A</c:v>
                </c:pt>
                <c:pt idx="7493">
                  <c:v>#N/A</c:v>
                </c:pt>
                <c:pt idx="7494">
                  <c:v>#N/A</c:v>
                </c:pt>
                <c:pt idx="7495">
                  <c:v>#N/A</c:v>
                </c:pt>
                <c:pt idx="7496">
                  <c:v>#N/A</c:v>
                </c:pt>
                <c:pt idx="7497">
                  <c:v>#N/A</c:v>
                </c:pt>
                <c:pt idx="7498">
                  <c:v>#N/A</c:v>
                </c:pt>
                <c:pt idx="7499">
                  <c:v>#N/A</c:v>
                </c:pt>
                <c:pt idx="7500">
                  <c:v>#N/A</c:v>
                </c:pt>
                <c:pt idx="7501">
                  <c:v>#N/A</c:v>
                </c:pt>
                <c:pt idx="7502">
                  <c:v>#N/A</c:v>
                </c:pt>
                <c:pt idx="7503">
                  <c:v>#N/A</c:v>
                </c:pt>
                <c:pt idx="7504">
                  <c:v>#N/A</c:v>
                </c:pt>
                <c:pt idx="7505">
                  <c:v>#N/A</c:v>
                </c:pt>
                <c:pt idx="7506">
                  <c:v>#N/A</c:v>
                </c:pt>
                <c:pt idx="7507">
                  <c:v>#N/A</c:v>
                </c:pt>
                <c:pt idx="7508">
                  <c:v>#N/A</c:v>
                </c:pt>
                <c:pt idx="7509">
                  <c:v>#N/A</c:v>
                </c:pt>
                <c:pt idx="7510">
                  <c:v>#N/A</c:v>
                </c:pt>
                <c:pt idx="7511">
                  <c:v>#N/A</c:v>
                </c:pt>
                <c:pt idx="7512">
                  <c:v>#N/A</c:v>
                </c:pt>
                <c:pt idx="7513">
                  <c:v>#N/A</c:v>
                </c:pt>
                <c:pt idx="7514">
                  <c:v>#N/A</c:v>
                </c:pt>
                <c:pt idx="7515">
                  <c:v>#N/A</c:v>
                </c:pt>
                <c:pt idx="7516">
                  <c:v>#N/A</c:v>
                </c:pt>
                <c:pt idx="7517">
                  <c:v>#N/A</c:v>
                </c:pt>
                <c:pt idx="7518">
                  <c:v>#N/A</c:v>
                </c:pt>
                <c:pt idx="7519">
                  <c:v>#N/A</c:v>
                </c:pt>
                <c:pt idx="7520">
                  <c:v>#N/A</c:v>
                </c:pt>
                <c:pt idx="7521">
                  <c:v>#N/A</c:v>
                </c:pt>
                <c:pt idx="7522">
                  <c:v>#N/A</c:v>
                </c:pt>
                <c:pt idx="7523">
                  <c:v>#N/A</c:v>
                </c:pt>
                <c:pt idx="7524">
                  <c:v>#N/A</c:v>
                </c:pt>
                <c:pt idx="7525">
                  <c:v>#N/A</c:v>
                </c:pt>
                <c:pt idx="7526">
                  <c:v>#N/A</c:v>
                </c:pt>
                <c:pt idx="7527">
                  <c:v>#N/A</c:v>
                </c:pt>
                <c:pt idx="7528">
                  <c:v>#N/A</c:v>
                </c:pt>
                <c:pt idx="7529">
                  <c:v>#N/A</c:v>
                </c:pt>
                <c:pt idx="7530">
                  <c:v>#N/A</c:v>
                </c:pt>
                <c:pt idx="7531">
                  <c:v>#N/A</c:v>
                </c:pt>
                <c:pt idx="7532">
                  <c:v>#N/A</c:v>
                </c:pt>
                <c:pt idx="7533">
                  <c:v>#N/A</c:v>
                </c:pt>
                <c:pt idx="7534">
                  <c:v>#N/A</c:v>
                </c:pt>
                <c:pt idx="7535">
                  <c:v>#N/A</c:v>
                </c:pt>
                <c:pt idx="7536">
                  <c:v>#N/A</c:v>
                </c:pt>
                <c:pt idx="7537">
                  <c:v>#N/A</c:v>
                </c:pt>
                <c:pt idx="7538">
                  <c:v>#N/A</c:v>
                </c:pt>
                <c:pt idx="7539">
                  <c:v>#N/A</c:v>
                </c:pt>
                <c:pt idx="7540">
                  <c:v>#N/A</c:v>
                </c:pt>
                <c:pt idx="7541">
                  <c:v>#N/A</c:v>
                </c:pt>
                <c:pt idx="7542">
                  <c:v>#N/A</c:v>
                </c:pt>
                <c:pt idx="7543">
                  <c:v>#N/A</c:v>
                </c:pt>
                <c:pt idx="7544">
                  <c:v>#N/A</c:v>
                </c:pt>
                <c:pt idx="7545">
                  <c:v>#N/A</c:v>
                </c:pt>
                <c:pt idx="7546">
                  <c:v>#N/A</c:v>
                </c:pt>
                <c:pt idx="7547">
                  <c:v>#N/A</c:v>
                </c:pt>
                <c:pt idx="7548">
                  <c:v>#N/A</c:v>
                </c:pt>
                <c:pt idx="7549">
                  <c:v>#N/A</c:v>
                </c:pt>
                <c:pt idx="7550">
                  <c:v>#N/A</c:v>
                </c:pt>
                <c:pt idx="7551">
                  <c:v>#N/A</c:v>
                </c:pt>
                <c:pt idx="7552">
                  <c:v>#N/A</c:v>
                </c:pt>
                <c:pt idx="7553">
                  <c:v>#N/A</c:v>
                </c:pt>
                <c:pt idx="7554">
                  <c:v>#N/A</c:v>
                </c:pt>
                <c:pt idx="7555">
                  <c:v>#N/A</c:v>
                </c:pt>
                <c:pt idx="7556">
                  <c:v>#N/A</c:v>
                </c:pt>
                <c:pt idx="7557">
                  <c:v>#N/A</c:v>
                </c:pt>
                <c:pt idx="7558">
                  <c:v>#N/A</c:v>
                </c:pt>
                <c:pt idx="7559">
                  <c:v>#N/A</c:v>
                </c:pt>
                <c:pt idx="7560">
                  <c:v>#N/A</c:v>
                </c:pt>
                <c:pt idx="7561">
                  <c:v>#N/A</c:v>
                </c:pt>
                <c:pt idx="7562">
                  <c:v>#N/A</c:v>
                </c:pt>
                <c:pt idx="7563">
                  <c:v>#N/A</c:v>
                </c:pt>
                <c:pt idx="7564">
                  <c:v>#N/A</c:v>
                </c:pt>
                <c:pt idx="7565">
                  <c:v>#N/A</c:v>
                </c:pt>
                <c:pt idx="7566">
                  <c:v>#N/A</c:v>
                </c:pt>
                <c:pt idx="7567">
                  <c:v>#N/A</c:v>
                </c:pt>
                <c:pt idx="7568">
                  <c:v>#N/A</c:v>
                </c:pt>
                <c:pt idx="7569">
                  <c:v>#N/A</c:v>
                </c:pt>
                <c:pt idx="7570">
                  <c:v>#N/A</c:v>
                </c:pt>
                <c:pt idx="7571">
                  <c:v>#N/A</c:v>
                </c:pt>
                <c:pt idx="7572">
                  <c:v>#N/A</c:v>
                </c:pt>
                <c:pt idx="7573">
                  <c:v>#N/A</c:v>
                </c:pt>
                <c:pt idx="7574">
                  <c:v>#N/A</c:v>
                </c:pt>
                <c:pt idx="7575">
                  <c:v>#N/A</c:v>
                </c:pt>
                <c:pt idx="7576">
                  <c:v>#N/A</c:v>
                </c:pt>
                <c:pt idx="7577">
                  <c:v>#N/A</c:v>
                </c:pt>
                <c:pt idx="7578">
                  <c:v>#N/A</c:v>
                </c:pt>
                <c:pt idx="7579">
                  <c:v>#N/A</c:v>
                </c:pt>
                <c:pt idx="7580">
                  <c:v>#N/A</c:v>
                </c:pt>
                <c:pt idx="7581">
                  <c:v>#N/A</c:v>
                </c:pt>
                <c:pt idx="7582">
                  <c:v>#N/A</c:v>
                </c:pt>
                <c:pt idx="7583">
                  <c:v>#N/A</c:v>
                </c:pt>
                <c:pt idx="7584">
                  <c:v>#N/A</c:v>
                </c:pt>
                <c:pt idx="7585">
                  <c:v>#N/A</c:v>
                </c:pt>
                <c:pt idx="7586">
                  <c:v>#N/A</c:v>
                </c:pt>
                <c:pt idx="7587">
                  <c:v>#N/A</c:v>
                </c:pt>
                <c:pt idx="7588">
                  <c:v>#N/A</c:v>
                </c:pt>
                <c:pt idx="7589">
                  <c:v>#N/A</c:v>
                </c:pt>
                <c:pt idx="7590">
                  <c:v>#N/A</c:v>
                </c:pt>
                <c:pt idx="7591">
                  <c:v>#N/A</c:v>
                </c:pt>
                <c:pt idx="7592">
                  <c:v>#N/A</c:v>
                </c:pt>
                <c:pt idx="7593">
                  <c:v>#N/A</c:v>
                </c:pt>
                <c:pt idx="7594">
                  <c:v>#N/A</c:v>
                </c:pt>
                <c:pt idx="7595">
                  <c:v>#N/A</c:v>
                </c:pt>
                <c:pt idx="7596">
                  <c:v>#N/A</c:v>
                </c:pt>
                <c:pt idx="7597">
                  <c:v>#N/A</c:v>
                </c:pt>
                <c:pt idx="7598">
                  <c:v>#N/A</c:v>
                </c:pt>
                <c:pt idx="7599">
                  <c:v>#N/A</c:v>
                </c:pt>
                <c:pt idx="7600">
                  <c:v>#N/A</c:v>
                </c:pt>
                <c:pt idx="7601">
                  <c:v>#N/A</c:v>
                </c:pt>
                <c:pt idx="7602">
                  <c:v>#N/A</c:v>
                </c:pt>
                <c:pt idx="7603">
                  <c:v>#N/A</c:v>
                </c:pt>
                <c:pt idx="7604">
                  <c:v>#N/A</c:v>
                </c:pt>
                <c:pt idx="7605">
                  <c:v>#N/A</c:v>
                </c:pt>
                <c:pt idx="7606">
                  <c:v>#N/A</c:v>
                </c:pt>
                <c:pt idx="7607">
                  <c:v>#N/A</c:v>
                </c:pt>
                <c:pt idx="7608">
                  <c:v>#N/A</c:v>
                </c:pt>
                <c:pt idx="7609">
                  <c:v>#N/A</c:v>
                </c:pt>
                <c:pt idx="7610">
                  <c:v>#N/A</c:v>
                </c:pt>
                <c:pt idx="7611">
                  <c:v>#N/A</c:v>
                </c:pt>
                <c:pt idx="7612">
                  <c:v>#N/A</c:v>
                </c:pt>
                <c:pt idx="7613">
                  <c:v>#N/A</c:v>
                </c:pt>
                <c:pt idx="7614">
                  <c:v>#N/A</c:v>
                </c:pt>
                <c:pt idx="7615">
                  <c:v>#N/A</c:v>
                </c:pt>
                <c:pt idx="7616">
                  <c:v>#N/A</c:v>
                </c:pt>
                <c:pt idx="7617">
                  <c:v>#N/A</c:v>
                </c:pt>
                <c:pt idx="7618">
                  <c:v>#N/A</c:v>
                </c:pt>
                <c:pt idx="7619">
                  <c:v>#N/A</c:v>
                </c:pt>
                <c:pt idx="7620">
                  <c:v>#N/A</c:v>
                </c:pt>
                <c:pt idx="7621">
                  <c:v>#N/A</c:v>
                </c:pt>
                <c:pt idx="7622">
                  <c:v>#N/A</c:v>
                </c:pt>
                <c:pt idx="7623">
                  <c:v>#N/A</c:v>
                </c:pt>
                <c:pt idx="7624">
                  <c:v>#N/A</c:v>
                </c:pt>
                <c:pt idx="7625">
                  <c:v>#N/A</c:v>
                </c:pt>
                <c:pt idx="7626">
                  <c:v>#N/A</c:v>
                </c:pt>
                <c:pt idx="7627">
                  <c:v>#N/A</c:v>
                </c:pt>
                <c:pt idx="7628">
                  <c:v>#N/A</c:v>
                </c:pt>
                <c:pt idx="7629">
                  <c:v>#N/A</c:v>
                </c:pt>
                <c:pt idx="7630">
                  <c:v>#N/A</c:v>
                </c:pt>
                <c:pt idx="7631">
                  <c:v>#N/A</c:v>
                </c:pt>
                <c:pt idx="7632">
                  <c:v>#N/A</c:v>
                </c:pt>
                <c:pt idx="7633">
                  <c:v>#N/A</c:v>
                </c:pt>
                <c:pt idx="7634">
                  <c:v>#N/A</c:v>
                </c:pt>
                <c:pt idx="7635">
                  <c:v>#N/A</c:v>
                </c:pt>
                <c:pt idx="7636">
                  <c:v>#N/A</c:v>
                </c:pt>
                <c:pt idx="7637">
                  <c:v>#N/A</c:v>
                </c:pt>
                <c:pt idx="7638">
                  <c:v>#N/A</c:v>
                </c:pt>
                <c:pt idx="7639">
                  <c:v>#N/A</c:v>
                </c:pt>
                <c:pt idx="7640">
                  <c:v>#N/A</c:v>
                </c:pt>
                <c:pt idx="7641">
                  <c:v>#N/A</c:v>
                </c:pt>
                <c:pt idx="7642">
                  <c:v>#N/A</c:v>
                </c:pt>
                <c:pt idx="7643">
                  <c:v>#N/A</c:v>
                </c:pt>
                <c:pt idx="7644">
                  <c:v>#N/A</c:v>
                </c:pt>
                <c:pt idx="7645">
                  <c:v>#N/A</c:v>
                </c:pt>
                <c:pt idx="7646">
                  <c:v>#N/A</c:v>
                </c:pt>
                <c:pt idx="7647">
                  <c:v>#N/A</c:v>
                </c:pt>
                <c:pt idx="7648">
                  <c:v>#N/A</c:v>
                </c:pt>
                <c:pt idx="7649">
                  <c:v>#N/A</c:v>
                </c:pt>
                <c:pt idx="7650">
                  <c:v>#N/A</c:v>
                </c:pt>
                <c:pt idx="7651">
                  <c:v>#N/A</c:v>
                </c:pt>
                <c:pt idx="7652">
                  <c:v>#N/A</c:v>
                </c:pt>
                <c:pt idx="7653">
                  <c:v>#N/A</c:v>
                </c:pt>
                <c:pt idx="7654">
                  <c:v>#N/A</c:v>
                </c:pt>
                <c:pt idx="7655">
                  <c:v>#N/A</c:v>
                </c:pt>
                <c:pt idx="7656">
                  <c:v>#N/A</c:v>
                </c:pt>
                <c:pt idx="7657">
                  <c:v>#N/A</c:v>
                </c:pt>
                <c:pt idx="7658">
                  <c:v>#N/A</c:v>
                </c:pt>
                <c:pt idx="7659">
                  <c:v>#N/A</c:v>
                </c:pt>
                <c:pt idx="7660">
                  <c:v>#N/A</c:v>
                </c:pt>
                <c:pt idx="7661">
                  <c:v>#N/A</c:v>
                </c:pt>
                <c:pt idx="7662">
                  <c:v>#N/A</c:v>
                </c:pt>
                <c:pt idx="7663">
                  <c:v>#N/A</c:v>
                </c:pt>
                <c:pt idx="7664">
                  <c:v>#N/A</c:v>
                </c:pt>
                <c:pt idx="7665">
                  <c:v>#N/A</c:v>
                </c:pt>
                <c:pt idx="7666">
                  <c:v>#N/A</c:v>
                </c:pt>
                <c:pt idx="7667">
                  <c:v>#N/A</c:v>
                </c:pt>
                <c:pt idx="7668">
                  <c:v>#N/A</c:v>
                </c:pt>
                <c:pt idx="7669">
                  <c:v>#N/A</c:v>
                </c:pt>
                <c:pt idx="7670">
                  <c:v>#N/A</c:v>
                </c:pt>
                <c:pt idx="7671">
                  <c:v>#N/A</c:v>
                </c:pt>
                <c:pt idx="7672">
                  <c:v>#N/A</c:v>
                </c:pt>
                <c:pt idx="7673">
                  <c:v>#N/A</c:v>
                </c:pt>
                <c:pt idx="7674">
                  <c:v>#N/A</c:v>
                </c:pt>
                <c:pt idx="7675">
                  <c:v>#N/A</c:v>
                </c:pt>
                <c:pt idx="7676">
                  <c:v>#N/A</c:v>
                </c:pt>
                <c:pt idx="7677">
                  <c:v>#N/A</c:v>
                </c:pt>
                <c:pt idx="7678">
                  <c:v>#N/A</c:v>
                </c:pt>
                <c:pt idx="7679">
                  <c:v>#N/A</c:v>
                </c:pt>
                <c:pt idx="7680">
                  <c:v>#N/A</c:v>
                </c:pt>
                <c:pt idx="7681">
                  <c:v>#N/A</c:v>
                </c:pt>
                <c:pt idx="7682">
                  <c:v>#N/A</c:v>
                </c:pt>
                <c:pt idx="7683">
                  <c:v>#N/A</c:v>
                </c:pt>
                <c:pt idx="7684">
                  <c:v>#N/A</c:v>
                </c:pt>
                <c:pt idx="7685">
                  <c:v>#N/A</c:v>
                </c:pt>
                <c:pt idx="7686">
                  <c:v>#N/A</c:v>
                </c:pt>
                <c:pt idx="7687">
                  <c:v>#N/A</c:v>
                </c:pt>
                <c:pt idx="7688">
                  <c:v>#N/A</c:v>
                </c:pt>
                <c:pt idx="7689">
                  <c:v>#N/A</c:v>
                </c:pt>
                <c:pt idx="7690">
                  <c:v>#N/A</c:v>
                </c:pt>
                <c:pt idx="7691">
                  <c:v>#N/A</c:v>
                </c:pt>
                <c:pt idx="7692">
                  <c:v>#N/A</c:v>
                </c:pt>
                <c:pt idx="7693">
                  <c:v>#N/A</c:v>
                </c:pt>
                <c:pt idx="7694">
                  <c:v>#N/A</c:v>
                </c:pt>
                <c:pt idx="7695">
                  <c:v>#N/A</c:v>
                </c:pt>
                <c:pt idx="7696">
                  <c:v>#N/A</c:v>
                </c:pt>
                <c:pt idx="7697">
                  <c:v>#N/A</c:v>
                </c:pt>
                <c:pt idx="7698">
                  <c:v>#N/A</c:v>
                </c:pt>
                <c:pt idx="7699">
                  <c:v>#N/A</c:v>
                </c:pt>
                <c:pt idx="7700">
                  <c:v>#N/A</c:v>
                </c:pt>
                <c:pt idx="7701">
                  <c:v>#N/A</c:v>
                </c:pt>
                <c:pt idx="7702">
                  <c:v>#N/A</c:v>
                </c:pt>
                <c:pt idx="7703">
                  <c:v>#N/A</c:v>
                </c:pt>
                <c:pt idx="7704">
                  <c:v>#N/A</c:v>
                </c:pt>
                <c:pt idx="7705">
                  <c:v>#N/A</c:v>
                </c:pt>
                <c:pt idx="7706">
                  <c:v>#N/A</c:v>
                </c:pt>
                <c:pt idx="7707">
                  <c:v>#N/A</c:v>
                </c:pt>
                <c:pt idx="7708">
                  <c:v>#N/A</c:v>
                </c:pt>
                <c:pt idx="7709">
                  <c:v>#N/A</c:v>
                </c:pt>
                <c:pt idx="7710">
                  <c:v>#N/A</c:v>
                </c:pt>
                <c:pt idx="7711">
                  <c:v>#N/A</c:v>
                </c:pt>
                <c:pt idx="7712">
                  <c:v>#N/A</c:v>
                </c:pt>
                <c:pt idx="7713">
                  <c:v>#N/A</c:v>
                </c:pt>
                <c:pt idx="7714">
                  <c:v>#N/A</c:v>
                </c:pt>
                <c:pt idx="7715">
                  <c:v>#N/A</c:v>
                </c:pt>
                <c:pt idx="7716">
                  <c:v>#N/A</c:v>
                </c:pt>
                <c:pt idx="7717">
                  <c:v>#N/A</c:v>
                </c:pt>
                <c:pt idx="7718">
                  <c:v>#N/A</c:v>
                </c:pt>
                <c:pt idx="7719">
                  <c:v>#N/A</c:v>
                </c:pt>
                <c:pt idx="7720">
                  <c:v>#N/A</c:v>
                </c:pt>
                <c:pt idx="7721">
                  <c:v>#N/A</c:v>
                </c:pt>
                <c:pt idx="7722">
                  <c:v>#N/A</c:v>
                </c:pt>
                <c:pt idx="7723">
                  <c:v>#N/A</c:v>
                </c:pt>
                <c:pt idx="7724">
                  <c:v>#N/A</c:v>
                </c:pt>
                <c:pt idx="7725">
                  <c:v>#N/A</c:v>
                </c:pt>
                <c:pt idx="7726">
                  <c:v>#N/A</c:v>
                </c:pt>
                <c:pt idx="7727">
                  <c:v>#N/A</c:v>
                </c:pt>
                <c:pt idx="7728">
                  <c:v>#N/A</c:v>
                </c:pt>
                <c:pt idx="7729">
                  <c:v>#N/A</c:v>
                </c:pt>
                <c:pt idx="7730">
                  <c:v>#N/A</c:v>
                </c:pt>
                <c:pt idx="7731">
                  <c:v>#N/A</c:v>
                </c:pt>
                <c:pt idx="7732">
                  <c:v>#N/A</c:v>
                </c:pt>
                <c:pt idx="7733">
                  <c:v>#N/A</c:v>
                </c:pt>
                <c:pt idx="7734">
                  <c:v>#N/A</c:v>
                </c:pt>
                <c:pt idx="7735">
                  <c:v>#N/A</c:v>
                </c:pt>
                <c:pt idx="7736">
                  <c:v>#N/A</c:v>
                </c:pt>
                <c:pt idx="7737">
                  <c:v>#N/A</c:v>
                </c:pt>
                <c:pt idx="7738">
                  <c:v>#N/A</c:v>
                </c:pt>
                <c:pt idx="7739">
                  <c:v>#N/A</c:v>
                </c:pt>
                <c:pt idx="7740">
                  <c:v>#N/A</c:v>
                </c:pt>
                <c:pt idx="7741">
                  <c:v>#N/A</c:v>
                </c:pt>
                <c:pt idx="7742">
                  <c:v>#N/A</c:v>
                </c:pt>
                <c:pt idx="7743">
                  <c:v>#N/A</c:v>
                </c:pt>
                <c:pt idx="7744">
                  <c:v>#N/A</c:v>
                </c:pt>
                <c:pt idx="7745">
                  <c:v>#N/A</c:v>
                </c:pt>
                <c:pt idx="7746">
                  <c:v>#N/A</c:v>
                </c:pt>
                <c:pt idx="7747">
                  <c:v>#N/A</c:v>
                </c:pt>
                <c:pt idx="7748">
                  <c:v>#N/A</c:v>
                </c:pt>
                <c:pt idx="7749">
                  <c:v>#N/A</c:v>
                </c:pt>
                <c:pt idx="7750">
                  <c:v>#N/A</c:v>
                </c:pt>
                <c:pt idx="7751">
                  <c:v>#N/A</c:v>
                </c:pt>
                <c:pt idx="7752">
                  <c:v>#N/A</c:v>
                </c:pt>
                <c:pt idx="7753">
                  <c:v>#N/A</c:v>
                </c:pt>
                <c:pt idx="7754">
                  <c:v>#N/A</c:v>
                </c:pt>
                <c:pt idx="7755">
                  <c:v>#N/A</c:v>
                </c:pt>
                <c:pt idx="7756">
                  <c:v>#N/A</c:v>
                </c:pt>
                <c:pt idx="7757">
                  <c:v>#N/A</c:v>
                </c:pt>
                <c:pt idx="7758">
                  <c:v>#N/A</c:v>
                </c:pt>
                <c:pt idx="7759">
                  <c:v>#N/A</c:v>
                </c:pt>
                <c:pt idx="7760">
                  <c:v>#N/A</c:v>
                </c:pt>
                <c:pt idx="7761">
                  <c:v>#N/A</c:v>
                </c:pt>
                <c:pt idx="7762">
                  <c:v>#N/A</c:v>
                </c:pt>
                <c:pt idx="7763">
                  <c:v>#N/A</c:v>
                </c:pt>
                <c:pt idx="7764">
                  <c:v>#N/A</c:v>
                </c:pt>
                <c:pt idx="7765">
                  <c:v>#N/A</c:v>
                </c:pt>
                <c:pt idx="7766">
                  <c:v>#N/A</c:v>
                </c:pt>
                <c:pt idx="7767">
                  <c:v>#N/A</c:v>
                </c:pt>
                <c:pt idx="7768">
                  <c:v>#N/A</c:v>
                </c:pt>
                <c:pt idx="7769">
                  <c:v>#N/A</c:v>
                </c:pt>
                <c:pt idx="7770">
                  <c:v>#N/A</c:v>
                </c:pt>
                <c:pt idx="7771">
                  <c:v>#N/A</c:v>
                </c:pt>
                <c:pt idx="7772">
                  <c:v>#N/A</c:v>
                </c:pt>
                <c:pt idx="7773">
                  <c:v>#N/A</c:v>
                </c:pt>
                <c:pt idx="7774">
                  <c:v>#N/A</c:v>
                </c:pt>
                <c:pt idx="7775">
                  <c:v>#N/A</c:v>
                </c:pt>
                <c:pt idx="7776">
                  <c:v>#N/A</c:v>
                </c:pt>
                <c:pt idx="7777">
                  <c:v>#N/A</c:v>
                </c:pt>
                <c:pt idx="7778">
                  <c:v>#N/A</c:v>
                </c:pt>
                <c:pt idx="7779">
                  <c:v>#N/A</c:v>
                </c:pt>
                <c:pt idx="7780">
                  <c:v>#N/A</c:v>
                </c:pt>
                <c:pt idx="7781">
                  <c:v>#N/A</c:v>
                </c:pt>
                <c:pt idx="7782">
                  <c:v>#N/A</c:v>
                </c:pt>
                <c:pt idx="7783">
                  <c:v>#N/A</c:v>
                </c:pt>
                <c:pt idx="7784">
                  <c:v>#N/A</c:v>
                </c:pt>
                <c:pt idx="7785">
                  <c:v>#N/A</c:v>
                </c:pt>
                <c:pt idx="7786">
                  <c:v>#N/A</c:v>
                </c:pt>
                <c:pt idx="7787">
                  <c:v>#N/A</c:v>
                </c:pt>
                <c:pt idx="7788">
                  <c:v>#N/A</c:v>
                </c:pt>
                <c:pt idx="7789">
                  <c:v>#N/A</c:v>
                </c:pt>
                <c:pt idx="7790">
                  <c:v>#N/A</c:v>
                </c:pt>
                <c:pt idx="7791">
                  <c:v>#N/A</c:v>
                </c:pt>
                <c:pt idx="7792">
                  <c:v>#N/A</c:v>
                </c:pt>
                <c:pt idx="7793">
                  <c:v>#N/A</c:v>
                </c:pt>
                <c:pt idx="7794">
                  <c:v>#N/A</c:v>
                </c:pt>
                <c:pt idx="7795">
                  <c:v>#N/A</c:v>
                </c:pt>
                <c:pt idx="7796">
                  <c:v>#N/A</c:v>
                </c:pt>
                <c:pt idx="7797">
                  <c:v>#N/A</c:v>
                </c:pt>
                <c:pt idx="7798">
                  <c:v>#N/A</c:v>
                </c:pt>
                <c:pt idx="7799">
                  <c:v>#N/A</c:v>
                </c:pt>
                <c:pt idx="7800">
                  <c:v>#N/A</c:v>
                </c:pt>
                <c:pt idx="7801">
                  <c:v>#N/A</c:v>
                </c:pt>
                <c:pt idx="7802">
                  <c:v>#N/A</c:v>
                </c:pt>
                <c:pt idx="7803">
                  <c:v>#N/A</c:v>
                </c:pt>
                <c:pt idx="7804">
                  <c:v>#N/A</c:v>
                </c:pt>
                <c:pt idx="7805">
                  <c:v>#N/A</c:v>
                </c:pt>
                <c:pt idx="7806">
                  <c:v>#N/A</c:v>
                </c:pt>
                <c:pt idx="7807">
                  <c:v>#N/A</c:v>
                </c:pt>
                <c:pt idx="7808">
                  <c:v>#N/A</c:v>
                </c:pt>
                <c:pt idx="7809">
                  <c:v>#N/A</c:v>
                </c:pt>
                <c:pt idx="7810">
                  <c:v>#N/A</c:v>
                </c:pt>
                <c:pt idx="7811">
                  <c:v>#N/A</c:v>
                </c:pt>
                <c:pt idx="7812">
                  <c:v>#N/A</c:v>
                </c:pt>
                <c:pt idx="7813">
                  <c:v>#N/A</c:v>
                </c:pt>
                <c:pt idx="7814">
                  <c:v>#N/A</c:v>
                </c:pt>
                <c:pt idx="7815">
                  <c:v>#N/A</c:v>
                </c:pt>
                <c:pt idx="7816">
                  <c:v>#N/A</c:v>
                </c:pt>
                <c:pt idx="7817">
                  <c:v>#N/A</c:v>
                </c:pt>
                <c:pt idx="7818">
                  <c:v>#N/A</c:v>
                </c:pt>
                <c:pt idx="7819">
                  <c:v>#N/A</c:v>
                </c:pt>
                <c:pt idx="7820">
                  <c:v>#N/A</c:v>
                </c:pt>
                <c:pt idx="7821">
                  <c:v>#N/A</c:v>
                </c:pt>
                <c:pt idx="7822">
                  <c:v>#N/A</c:v>
                </c:pt>
                <c:pt idx="7823">
                  <c:v>#N/A</c:v>
                </c:pt>
                <c:pt idx="7824">
                  <c:v>#N/A</c:v>
                </c:pt>
                <c:pt idx="7825">
                  <c:v>#N/A</c:v>
                </c:pt>
                <c:pt idx="7826">
                  <c:v>#N/A</c:v>
                </c:pt>
                <c:pt idx="7827">
                  <c:v>#N/A</c:v>
                </c:pt>
                <c:pt idx="7828">
                  <c:v>#N/A</c:v>
                </c:pt>
                <c:pt idx="7829">
                  <c:v>#N/A</c:v>
                </c:pt>
                <c:pt idx="7830">
                  <c:v>#N/A</c:v>
                </c:pt>
                <c:pt idx="7831">
                  <c:v>#N/A</c:v>
                </c:pt>
                <c:pt idx="7832">
                  <c:v>#N/A</c:v>
                </c:pt>
                <c:pt idx="7833">
                  <c:v>#N/A</c:v>
                </c:pt>
                <c:pt idx="7834">
                  <c:v>#N/A</c:v>
                </c:pt>
                <c:pt idx="7835">
                  <c:v>#N/A</c:v>
                </c:pt>
                <c:pt idx="7836">
                  <c:v>#N/A</c:v>
                </c:pt>
                <c:pt idx="7837">
                  <c:v>#N/A</c:v>
                </c:pt>
                <c:pt idx="7838">
                  <c:v>#N/A</c:v>
                </c:pt>
                <c:pt idx="7839">
                  <c:v>#N/A</c:v>
                </c:pt>
                <c:pt idx="7840">
                  <c:v>#N/A</c:v>
                </c:pt>
                <c:pt idx="7841">
                  <c:v>#N/A</c:v>
                </c:pt>
                <c:pt idx="7842">
                  <c:v>#N/A</c:v>
                </c:pt>
                <c:pt idx="7843">
                  <c:v>#N/A</c:v>
                </c:pt>
                <c:pt idx="7844">
                  <c:v>#N/A</c:v>
                </c:pt>
                <c:pt idx="7845">
                  <c:v>#N/A</c:v>
                </c:pt>
                <c:pt idx="7846">
                  <c:v>#N/A</c:v>
                </c:pt>
                <c:pt idx="7847">
                  <c:v>#N/A</c:v>
                </c:pt>
                <c:pt idx="7848">
                  <c:v>#N/A</c:v>
                </c:pt>
                <c:pt idx="7849">
                  <c:v>#N/A</c:v>
                </c:pt>
                <c:pt idx="7850">
                  <c:v>#N/A</c:v>
                </c:pt>
                <c:pt idx="7851">
                  <c:v>#N/A</c:v>
                </c:pt>
                <c:pt idx="7852">
                  <c:v>#N/A</c:v>
                </c:pt>
                <c:pt idx="7853">
                  <c:v>#N/A</c:v>
                </c:pt>
                <c:pt idx="7854">
                  <c:v>#N/A</c:v>
                </c:pt>
                <c:pt idx="7855">
                  <c:v>#N/A</c:v>
                </c:pt>
                <c:pt idx="7856">
                  <c:v>#N/A</c:v>
                </c:pt>
                <c:pt idx="7857">
                  <c:v>#N/A</c:v>
                </c:pt>
                <c:pt idx="7858">
                  <c:v>#N/A</c:v>
                </c:pt>
                <c:pt idx="7859">
                  <c:v>#N/A</c:v>
                </c:pt>
                <c:pt idx="7860">
                  <c:v>#N/A</c:v>
                </c:pt>
                <c:pt idx="7861">
                  <c:v>#N/A</c:v>
                </c:pt>
                <c:pt idx="7862">
                  <c:v>#N/A</c:v>
                </c:pt>
                <c:pt idx="7863">
                  <c:v>#N/A</c:v>
                </c:pt>
                <c:pt idx="7864">
                  <c:v>#N/A</c:v>
                </c:pt>
                <c:pt idx="7865">
                  <c:v>#N/A</c:v>
                </c:pt>
                <c:pt idx="7866">
                  <c:v>#N/A</c:v>
                </c:pt>
                <c:pt idx="7867">
                  <c:v>#N/A</c:v>
                </c:pt>
                <c:pt idx="7868">
                  <c:v>#N/A</c:v>
                </c:pt>
                <c:pt idx="7869">
                  <c:v>#N/A</c:v>
                </c:pt>
                <c:pt idx="7870">
                  <c:v>#N/A</c:v>
                </c:pt>
                <c:pt idx="7871">
                  <c:v>#N/A</c:v>
                </c:pt>
                <c:pt idx="7872">
                  <c:v>#N/A</c:v>
                </c:pt>
                <c:pt idx="7873">
                  <c:v>#N/A</c:v>
                </c:pt>
                <c:pt idx="7874">
                  <c:v>#N/A</c:v>
                </c:pt>
                <c:pt idx="7875">
                  <c:v>#N/A</c:v>
                </c:pt>
                <c:pt idx="7876">
                  <c:v>#N/A</c:v>
                </c:pt>
                <c:pt idx="7877">
                  <c:v>#N/A</c:v>
                </c:pt>
                <c:pt idx="7878">
                  <c:v>#N/A</c:v>
                </c:pt>
                <c:pt idx="7879">
                  <c:v>#N/A</c:v>
                </c:pt>
                <c:pt idx="7880">
                  <c:v>#N/A</c:v>
                </c:pt>
                <c:pt idx="7881">
                  <c:v>#N/A</c:v>
                </c:pt>
                <c:pt idx="7882">
                  <c:v>#N/A</c:v>
                </c:pt>
                <c:pt idx="7883">
                  <c:v>#N/A</c:v>
                </c:pt>
                <c:pt idx="7884">
                  <c:v>#N/A</c:v>
                </c:pt>
                <c:pt idx="7885">
                  <c:v>#N/A</c:v>
                </c:pt>
                <c:pt idx="7886">
                  <c:v>#N/A</c:v>
                </c:pt>
                <c:pt idx="7887">
                  <c:v>#N/A</c:v>
                </c:pt>
                <c:pt idx="7888">
                  <c:v>#N/A</c:v>
                </c:pt>
                <c:pt idx="7889">
                  <c:v>#N/A</c:v>
                </c:pt>
                <c:pt idx="7890">
                  <c:v>#N/A</c:v>
                </c:pt>
                <c:pt idx="7891">
                  <c:v>#N/A</c:v>
                </c:pt>
                <c:pt idx="7892">
                  <c:v>#N/A</c:v>
                </c:pt>
                <c:pt idx="7893">
                  <c:v>#N/A</c:v>
                </c:pt>
                <c:pt idx="7894">
                  <c:v>#N/A</c:v>
                </c:pt>
                <c:pt idx="7895">
                  <c:v>#N/A</c:v>
                </c:pt>
                <c:pt idx="7896">
                  <c:v>#N/A</c:v>
                </c:pt>
                <c:pt idx="7897">
                  <c:v>#N/A</c:v>
                </c:pt>
                <c:pt idx="7898">
                  <c:v>#N/A</c:v>
                </c:pt>
                <c:pt idx="7899">
                  <c:v>#N/A</c:v>
                </c:pt>
                <c:pt idx="7900">
                  <c:v>#N/A</c:v>
                </c:pt>
                <c:pt idx="7901">
                  <c:v>#N/A</c:v>
                </c:pt>
                <c:pt idx="7902">
                  <c:v>#N/A</c:v>
                </c:pt>
                <c:pt idx="7903">
                  <c:v>#N/A</c:v>
                </c:pt>
                <c:pt idx="7904">
                  <c:v>#N/A</c:v>
                </c:pt>
                <c:pt idx="7905">
                  <c:v>#N/A</c:v>
                </c:pt>
                <c:pt idx="7906">
                  <c:v>#N/A</c:v>
                </c:pt>
                <c:pt idx="7907">
                  <c:v>#N/A</c:v>
                </c:pt>
                <c:pt idx="7908">
                  <c:v>#N/A</c:v>
                </c:pt>
                <c:pt idx="7909">
                  <c:v>#N/A</c:v>
                </c:pt>
                <c:pt idx="7910">
                  <c:v>#N/A</c:v>
                </c:pt>
                <c:pt idx="7911">
                  <c:v>#N/A</c:v>
                </c:pt>
                <c:pt idx="7912">
                  <c:v>#N/A</c:v>
                </c:pt>
                <c:pt idx="7913">
                  <c:v>#N/A</c:v>
                </c:pt>
                <c:pt idx="7914">
                  <c:v>#N/A</c:v>
                </c:pt>
                <c:pt idx="7915">
                  <c:v>#N/A</c:v>
                </c:pt>
                <c:pt idx="7916">
                  <c:v>#N/A</c:v>
                </c:pt>
                <c:pt idx="7917">
                  <c:v>#N/A</c:v>
                </c:pt>
                <c:pt idx="7918">
                  <c:v>#N/A</c:v>
                </c:pt>
                <c:pt idx="7919">
                  <c:v>#N/A</c:v>
                </c:pt>
                <c:pt idx="7920">
                  <c:v>#N/A</c:v>
                </c:pt>
                <c:pt idx="7921">
                  <c:v>#N/A</c:v>
                </c:pt>
                <c:pt idx="7922">
                  <c:v>#N/A</c:v>
                </c:pt>
                <c:pt idx="7923">
                  <c:v>#N/A</c:v>
                </c:pt>
                <c:pt idx="7924">
                  <c:v>#N/A</c:v>
                </c:pt>
                <c:pt idx="7925">
                  <c:v>#N/A</c:v>
                </c:pt>
                <c:pt idx="7926">
                  <c:v>#N/A</c:v>
                </c:pt>
                <c:pt idx="7927">
                  <c:v>#N/A</c:v>
                </c:pt>
                <c:pt idx="7928">
                  <c:v>#N/A</c:v>
                </c:pt>
                <c:pt idx="7929">
                  <c:v>#N/A</c:v>
                </c:pt>
                <c:pt idx="7930">
                  <c:v>#N/A</c:v>
                </c:pt>
                <c:pt idx="7931">
                  <c:v>#N/A</c:v>
                </c:pt>
                <c:pt idx="7932">
                  <c:v>#N/A</c:v>
                </c:pt>
                <c:pt idx="7933">
                  <c:v>#N/A</c:v>
                </c:pt>
                <c:pt idx="7934">
                  <c:v>#N/A</c:v>
                </c:pt>
                <c:pt idx="7935">
                  <c:v>#N/A</c:v>
                </c:pt>
                <c:pt idx="7936">
                  <c:v>#N/A</c:v>
                </c:pt>
                <c:pt idx="7937">
                  <c:v>#N/A</c:v>
                </c:pt>
                <c:pt idx="7938">
                  <c:v>#N/A</c:v>
                </c:pt>
                <c:pt idx="7939">
                  <c:v>#N/A</c:v>
                </c:pt>
                <c:pt idx="7940">
                  <c:v>#N/A</c:v>
                </c:pt>
                <c:pt idx="7941">
                  <c:v>#N/A</c:v>
                </c:pt>
                <c:pt idx="7942">
                  <c:v>#N/A</c:v>
                </c:pt>
                <c:pt idx="7943">
                  <c:v>#N/A</c:v>
                </c:pt>
                <c:pt idx="7944">
                  <c:v>#N/A</c:v>
                </c:pt>
                <c:pt idx="7945">
                  <c:v>#N/A</c:v>
                </c:pt>
                <c:pt idx="7946">
                  <c:v>#N/A</c:v>
                </c:pt>
                <c:pt idx="7947">
                  <c:v>#N/A</c:v>
                </c:pt>
                <c:pt idx="7948">
                  <c:v>#N/A</c:v>
                </c:pt>
                <c:pt idx="7949">
                  <c:v>#N/A</c:v>
                </c:pt>
                <c:pt idx="7950">
                  <c:v>#N/A</c:v>
                </c:pt>
                <c:pt idx="7951">
                  <c:v>#N/A</c:v>
                </c:pt>
                <c:pt idx="7952">
                  <c:v>#N/A</c:v>
                </c:pt>
                <c:pt idx="7953">
                  <c:v>#N/A</c:v>
                </c:pt>
                <c:pt idx="7954">
                  <c:v>#N/A</c:v>
                </c:pt>
                <c:pt idx="7955">
                  <c:v>#N/A</c:v>
                </c:pt>
                <c:pt idx="7956">
                  <c:v>#N/A</c:v>
                </c:pt>
                <c:pt idx="7957">
                  <c:v>#N/A</c:v>
                </c:pt>
                <c:pt idx="7958">
                  <c:v>#N/A</c:v>
                </c:pt>
                <c:pt idx="7959">
                  <c:v>#N/A</c:v>
                </c:pt>
                <c:pt idx="7960">
                  <c:v>#N/A</c:v>
                </c:pt>
                <c:pt idx="7961">
                  <c:v>#N/A</c:v>
                </c:pt>
                <c:pt idx="7962">
                  <c:v>#N/A</c:v>
                </c:pt>
                <c:pt idx="7963">
                  <c:v>#N/A</c:v>
                </c:pt>
                <c:pt idx="7964">
                  <c:v>#N/A</c:v>
                </c:pt>
                <c:pt idx="7965">
                  <c:v>#N/A</c:v>
                </c:pt>
                <c:pt idx="7966">
                  <c:v>#N/A</c:v>
                </c:pt>
                <c:pt idx="7967">
                  <c:v>#N/A</c:v>
                </c:pt>
                <c:pt idx="7968">
                  <c:v>#N/A</c:v>
                </c:pt>
                <c:pt idx="7969">
                  <c:v>#N/A</c:v>
                </c:pt>
                <c:pt idx="7970">
                  <c:v>#N/A</c:v>
                </c:pt>
                <c:pt idx="7971">
                  <c:v>#N/A</c:v>
                </c:pt>
                <c:pt idx="7972">
                  <c:v>#N/A</c:v>
                </c:pt>
                <c:pt idx="7973">
                  <c:v>#N/A</c:v>
                </c:pt>
                <c:pt idx="7974">
                  <c:v>#N/A</c:v>
                </c:pt>
                <c:pt idx="7975">
                  <c:v>#N/A</c:v>
                </c:pt>
                <c:pt idx="7976">
                  <c:v>#N/A</c:v>
                </c:pt>
                <c:pt idx="7977">
                  <c:v>#N/A</c:v>
                </c:pt>
                <c:pt idx="7978">
                  <c:v>#N/A</c:v>
                </c:pt>
                <c:pt idx="7979">
                  <c:v>#N/A</c:v>
                </c:pt>
                <c:pt idx="7980">
                  <c:v>#N/A</c:v>
                </c:pt>
                <c:pt idx="7981">
                  <c:v>#N/A</c:v>
                </c:pt>
                <c:pt idx="7982">
                  <c:v>#N/A</c:v>
                </c:pt>
                <c:pt idx="7983">
                  <c:v>#N/A</c:v>
                </c:pt>
                <c:pt idx="7984">
                  <c:v>#N/A</c:v>
                </c:pt>
                <c:pt idx="7985">
                  <c:v>#N/A</c:v>
                </c:pt>
                <c:pt idx="7986">
                  <c:v>#N/A</c:v>
                </c:pt>
                <c:pt idx="7987">
                  <c:v>#N/A</c:v>
                </c:pt>
                <c:pt idx="7988">
                  <c:v>#N/A</c:v>
                </c:pt>
                <c:pt idx="7989">
                  <c:v>#N/A</c:v>
                </c:pt>
                <c:pt idx="7990">
                  <c:v>#N/A</c:v>
                </c:pt>
                <c:pt idx="7991">
                  <c:v>#N/A</c:v>
                </c:pt>
                <c:pt idx="7992">
                  <c:v>#N/A</c:v>
                </c:pt>
                <c:pt idx="7993">
                  <c:v>#N/A</c:v>
                </c:pt>
                <c:pt idx="7994">
                  <c:v>#N/A</c:v>
                </c:pt>
                <c:pt idx="7995">
                  <c:v>#N/A</c:v>
                </c:pt>
                <c:pt idx="7996">
                  <c:v>#N/A</c:v>
                </c:pt>
                <c:pt idx="7997">
                  <c:v>#N/A</c:v>
                </c:pt>
                <c:pt idx="7998">
                  <c:v>#N/A</c:v>
                </c:pt>
                <c:pt idx="7999">
                  <c:v>#N/A</c:v>
                </c:pt>
                <c:pt idx="8000">
                  <c:v>#N/A</c:v>
                </c:pt>
                <c:pt idx="8001">
                  <c:v>#N/A</c:v>
                </c:pt>
                <c:pt idx="8002">
                  <c:v>#N/A</c:v>
                </c:pt>
                <c:pt idx="8003">
                  <c:v>#N/A</c:v>
                </c:pt>
                <c:pt idx="8004">
                  <c:v>#N/A</c:v>
                </c:pt>
                <c:pt idx="8005">
                  <c:v>#N/A</c:v>
                </c:pt>
                <c:pt idx="8006">
                  <c:v>#N/A</c:v>
                </c:pt>
                <c:pt idx="8007">
                  <c:v>#N/A</c:v>
                </c:pt>
                <c:pt idx="8008">
                  <c:v>#N/A</c:v>
                </c:pt>
                <c:pt idx="8009">
                  <c:v>#N/A</c:v>
                </c:pt>
                <c:pt idx="8010">
                  <c:v>#N/A</c:v>
                </c:pt>
                <c:pt idx="8011">
                  <c:v>#N/A</c:v>
                </c:pt>
                <c:pt idx="8012">
                  <c:v>#N/A</c:v>
                </c:pt>
                <c:pt idx="8013">
                  <c:v>#N/A</c:v>
                </c:pt>
                <c:pt idx="8014">
                  <c:v>#N/A</c:v>
                </c:pt>
                <c:pt idx="8015">
                  <c:v>#N/A</c:v>
                </c:pt>
                <c:pt idx="8016">
                  <c:v>#N/A</c:v>
                </c:pt>
                <c:pt idx="8017">
                  <c:v>#N/A</c:v>
                </c:pt>
                <c:pt idx="8018">
                  <c:v>#N/A</c:v>
                </c:pt>
                <c:pt idx="8019">
                  <c:v>#N/A</c:v>
                </c:pt>
                <c:pt idx="8020">
                  <c:v>#N/A</c:v>
                </c:pt>
                <c:pt idx="8021">
                  <c:v>#N/A</c:v>
                </c:pt>
                <c:pt idx="8022">
                  <c:v>#N/A</c:v>
                </c:pt>
                <c:pt idx="8023">
                  <c:v>#N/A</c:v>
                </c:pt>
                <c:pt idx="8024">
                  <c:v>#N/A</c:v>
                </c:pt>
                <c:pt idx="8025">
                  <c:v>#N/A</c:v>
                </c:pt>
                <c:pt idx="8026">
                  <c:v>#N/A</c:v>
                </c:pt>
                <c:pt idx="8027">
                  <c:v>#N/A</c:v>
                </c:pt>
                <c:pt idx="8028">
                  <c:v>#N/A</c:v>
                </c:pt>
                <c:pt idx="8029">
                  <c:v>#N/A</c:v>
                </c:pt>
                <c:pt idx="8030">
                  <c:v>#N/A</c:v>
                </c:pt>
                <c:pt idx="8031">
                  <c:v>#N/A</c:v>
                </c:pt>
                <c:pt idx="8032">
                  <c:v>#N/A</c:v>
                </c:pt>
                <c:pt idx="8033">
                  <c:v>#N/A</c:v>
                </c:pt>
                <c:pt idx="8034">
                  <c:v>#N/A</c:v>
                </c:pt>
                <c:pt idx="8035">
                  <c:v>#N/A</c:v>
                </c:pt>
                <c:pt idx="8036">
                  <c:v>#N/A</c:v>
                </c:pt>
                <c:pt idx="8037">
                  <c:v>#N/A</c:v>
                </c:pt>
                <c:pt idx="8038">
                  <c:v>#N/A</c:v>
                </c:pt>
                <c:pt idx="8039">
                  <c:v>#N/A</c:v>
                </c:pt>
                <c:pt idx="8040">
                  <c:v>#N/A</c:v>
                </c:pt>
                <c:pt idx="8041">
                  <c:v>#N/A</c:v>
                </c:pt>
                <c:pt idx="8042">
                  <c:v>#N/A</c:v>
                </c:pt>
                <c:pt idx="8043">
                  <c:v>#N/A</c:v>
                </c:pt>
                <c:pt idx="8044">
                  <c:v>#N/A</c:v>
                </c:pt>
                <c:pt idx="8045">
                  <c:v>#N/A</c:v>
                </c:pt>
                <c:pt idx="8046">
                  <c:v>#N/A</c:v>
                </c:pt>
                <c:pt idx="8047">
                  <c:v>#N/A</c:v>
                </c:pt>
                <c:pt idx="8048">
                  <c:v>#N/A</c:v>
                </c:pt>
                <c:pt idx="8049">
                  <c:v>#N/A</c:v>
                </c:pt>
                <c:pt idx="8050">
                  <c:v>#N/A</c:v>
                </c:pt>
                <c:pt idx="8051">
                  <c:v>#N/A</c:v>
                </c:pt>
                <c:pt idx="8052">
                  <c:v>#N/A</c:v>
                </c:pt>
                <c:pt idx="8053">
                  <c:v>#N/A</c:v>
                </c:pt>
                <c:pt idx="8054">
                  <c:v>#N/A</c:v>
                </c:pt>
                <c:pt idx="8055">
                  <c:v>#N/A</c:v>
                </c:pt>
                <c:pt idx="8056">
                  <c:v>#N/A</c:v>
                </c:pt>
                <c:pt idx="8057">
                  <c:v>#N/A</c:v>
                </c:pt>
                <c:pt idx="8058">
                  <c:v>#N/A</c:v>
                </c:pt>
                <c:pt idx="8059">
                  <c:v>#N/A</c:v>
                </c:pt>
                <c:pt idx="8060">
                  <c:v>#N/A</c:v>
                </c:pt>
                <c:pt idx="8061">
                  <c:v>#N/A</c:v>
                </c:pt>
                <c:pt idx="8062">
                  <c:v>#N/A</c:v>
                </c:pt>
                <c:pt idx="8063">
                  <c:v>#N/A</c:v>
                </c:pt>
                <c:pt idx="8064">
                  <c:v>#N/A</c:v>
                </c:pt>
                <c:pt idx="8065">
                  <c:v>#N/A</c:v>
                </c:pt>
                <c:pt idx="8066">
                  <c:v>#N/A</c:v>
                </c:pt>
                <c:pt idx="8067">
                  <c:v>#N/A</c:v>
                </c:pt>
                <c:pt idx="8068">
                  <c:v>#N/A</c:v>
                </c:pt>
                <c:pt idx="8069">
                  <c:v>#N/A</c:v>
                </c:pt>
                <c:pt idx="8070">
                  <c:v>#N/A</c:v>
                </c:pt>
                <c:pt idx="8071">
                  <c:v>#N/A</c:v>
                </c:pt>
                <c:pt idx="8072">
                  <c:v>#N/A</c:v>
                </c:pt>
                <c:pt idx="8073">
                  <c:v>#N/A</c:v>
                </c:pt>
                <c:pt idx="8074">
                  <c:v>#N/A</c:v>
                </c:pt>
                <c:pt idx="8075">
                  <c:v>#N/A</c:v>
                </c:pt>
                <c:pt idx="8076">
                  <c:v>#N/A</c:v>
                </c:pt>
                <c:pt idx="8077">
                  <c:v>#N/A</c:v>
                </c:pt>
                <c:pt idx="8078">
                  <c:v>#N/A</c:v>
                </c:pt>
                <c:pt idx="8079">
                  <c:v>#N/A</c:v>
                </c:pt>
                <c:pt idx="8080">
                  <c:v>#N/A</c:v>
                </c:pt>
                <c:pt idx="8081">
                  <c:v>#N/A</c:v>
                </c:pt>
                <c:pt idx="8082">
                  <c:v>#N/A</c:v>
                </c:pt>
                <c:pt idx="8083">
                  <c:v>#N/A</c:v>
                </c:pt>
                <c:pt idx="8084">
                  <c:v>#N/A</c:v>
                </c:pt>
                <c:pt idx="8085">
                  <c:v>#N/A</c:v>
                </c:pt>
                <c:pt idx="8086">
                  <c:v>#N/A</c:v>
                </c:pt>
                <c:pt idx="8087">
                  <c:v>#N/A</c:v>
                </c:pt>
                <c:pt idx="8088">
                  <c:v>#N/A</c:v>
                </c:pt>
                <c:pt idx="8089">
                  <c:v>#N/A</c:v>
                </c:pt>
                <c:pt idx="8090">
                  <c:v>#N/A</c:v>
                </c:pt>
                <c:pt idx="8091">
                  <c:v>#N/A</c:v>
                </c:pt>
                <c:pt idx="8092">
                  <c:v>#N/A</c:v>
                </c:pt>
                <c:pt idx="8093">
                  <c:v>#N/A</c:v>
                </c:pt>
                <c:pt idx="8094">
                  <c:v>#N/A</c:v>
                </c:pt>
                <c:pt idx="8095">
                  <c:v>#N/A</c:v>
                </c:pt>
                <c:pt idx="8096">
                  <c:v>#N/A</c:v>
                </c:pt>
                <c:pt idx="8097">
                  <c:v>#N/A</c:v>
                </c:pt>
                <c:pt idx="8098">
                  <c:v>#N/A</c:v>
                </c:pt>
                <c:pt idx="8099">
                  <c:v>#N/A</c:v>
                </c:pt>
                <c:pt idx="8100">
                  <c:v>#N/A</c:v>
                </c:pt>
                <c:pt idx="8101">
                  <c:v>#N/A</c:v>
                </c:pt>
                <c:pt idx="8102">
                  <c:v>#N/A</c:v>
                </c:pt>
                <c:pt idx="8103">
                  <c:v>#N/A</c:v>
                </c:pt>
                <c:pt idx="8104">
                  <c:v>#N/A</c:v>
                </c:pt>
                <c:pt idx="8105">
                  <c:v>#N/A</c:v>
                </c:pt>
                <c:pt idx="8106">
                  <c:v>#N/A</c:v>
                </c:pt>
                <c:pt idx="8107">
                  <c:v>#N/A</c:v>
                </c:pt>
                <c:pt idx="8108">
                  <c:v>#N/A</c:v>
                </c:pt>
                <c:pt idx="8109">
                  <c:v>#N/A</c:v>
                </c:pt>
                <c:pt idx="8110">
                  <c:v>#N/A</c:v>
                </c:pt>
                <c:pt idx="8111">
                  <c:v>#N/A</c:v>
                </c:pt>
                <c:pt idx="8112">
                  <c:v>#N/A</c:v>
                </c:pt>
                <c:pt idx="8113">
                  <c:v>#N/A</c:v>
                </c:pt>
                <c:pt idx="8114">
                  <c:v>#N/A</c:v>
                </c:pt>
                <c:pt idx="8115">
                  <c:v>#N/A</c:v>
                </c:pt>
                <c:pt idx="8116">
                  <c:v>#N/A</c:v>
                </c:pt>
                <c:pt idx="8117">
                  <c:v>#N/A</c:v>
                </c:pt>
                <c:pt idx="8118">
                  <c:v>#N/A</c:v>
                </c:pt>
                <c:pt idx="8119">
                  <c:v>#N/A</c:v>
                </c:pt>
                <c:pt idx="8120">
                  <c:v>#N/A</c:v>
                </c:pt>
                <c:pt idx="8121">
                  <c:v>#N/A</c:v>
                </c:pt>
                <c:pt idx="8122">
                  <c:v>#N/A</c:v>
                </c:pt>
                <c:pt idx="8123">
                  <c:v>#N/A</c:v>
                </c:pt>
                <c:pt idx="8124">
                  <c:v>#N/A</c:v>
                </c:pt>
                <c:pt idx="8125">
                  <c:v>#N/A</c:v>
                </c:pt>
                <c:pt idx="8126">
                  <c:v>#N/A</c:v>
                </c:pt>
                <c:pt idx="8127">
                  <c:v>#N/A</c:v>
                </c:pt>
                <c:pt idx="8128">
                  <c:v>#N/A</c:v>
                </c:pt>
                <c:pt idx="8129">
                  <c:v>#N/A</c:v>
                </c:pt>
                <c:pt idx="8130">
                  <c:v>#N/A</c:v>
                </c:pt>
                <c:pt idx="8131">
                  <c:v>#N/A</c:v>
                </c:pt>
                <c:pt idx="8132">
                  <c:v>#N/A</c:v>
                </c:pt>
                <c:pt idx="8133">
                  <c:v>#N/A</c:v>
                </c:pt>
                <c:pt idx="8134">
                  <c:v>#N/A</c:v>
                </c:pt>
                <c:pt idx="8135">
                  <c:v>#N/A</c:v>
                </c:pt>
                <c:pt idx="8136">
                  <c:v>#N/A</c:v>
                </c:pt>
                <c:pt idx="8137">
                  <c:v>#N/A</c:v>
                </c:pt>
                <c:pt idx="8138">
                  <c:v>#N/A</c:v>
                </c:pt>
                <c:pt idx="8139">
                  <c:v>#N/A</c:v>
                </c:pt>
                <c:pt idx="8140">
                  <c:v>#N/A</c:v>
                </c:pt>
                <c:pt idx="8141">
                  <c:v>#N/A</c:v>
                </c:pt>
                <c:pt idx="8142">
                  <c:v>#N/A</c:v>
                </c:pt>
                <c:pt idx="8143">
                  <c:v>#N/A</c:v>
                </c:pt>
                <c:pt idx="8144">
                  <c:v>#N/A</c:v>
                </c:pt>
                <c:pt idx="8145">
                  <c:v>#N/A</c:v>
                </c:pt>
                <c:pt idx="8146">
                  <c:v>#N/A</c:v>
                </c:pt>
                <c:pt idx="8147">
                  <c:v>#N/A</c:v>
                </c:pt>
                <c:pt idx="8148">
                  <c:v>#N/A</c:v>
                </c:pt>
                <c:pt idx="8149">
                  <c:v>#N/A</c:v>
                </c:pt>
                <c:pt idx="8150">
                  <c:v>#N/A</c:v>
                </c:pt>
                <c:pt idx="8151">
                  <c:v>#N/A</c:v>
                </c:pt>
                <c:pt idx="8152">
                  <c:v>#N/A</c:v>
                </c:pt>
                <c:pt idx="8153">
                  <c:v>#N/A</c:v>
                </c:pt>
                <c:pt idx="8154">
                  <c:v>#N/A</c:v>
                </c:pt>
                <c:pt idx="8155">
                  <c:v>#N/A</c:v>
                </c:pt>
                <c:pt idx="8156">
                  <c:v>#N/A</c:v>
                </c:pt>
                <c:pt idx="8157">
                  <c:v>#N/A</c:v>
                </c:pt>
                <c:pt idx="8158">
                  <c:v>#N/A</c:v>
                </c:pt>
                <c:pt idx="8159">
                  <c:v>#N/A</c:v>
                </c:pt>
                <c:pt idx="8160">
                  <c:v>#N/A</c:v>
                </c:pt>
                <c:pt idx="8161">
                  <c:v>#N/A</c:v>
                </c:pt>
                <c:pt idx="8162">
                  <c:v>#N/A</c:v>
                </c:pt>
                <c:pt idx="8163">
                  <c:v>#N/A</c:v>
                </c:pt>
                <c:pt idx="8164">
                  <c:v>#N/A</c:v>
                </c:pt>
                <c:pt idx="8165">
                  <c:v>#N/A</c:v>
                </c:pt>
                <c:pt idx="8166">
                  <c:v>#N/A</c:v>
                </c:pt>
                <c:pt idx="8167">
                  <c:v>#N/A</c:v>
                </c:pt>
                <c:pt idx="8168">
                  <c:v>#N/A</c:v>
                </c:pt>
                <c:pt idx="8169">
                  <c:v>#N/A</c:v>
                </c:pt>
                <c:pt idx="8170">
                  <c:v>#N/A</c:v>
                </c:pt>
                <c:pt idx="8171">
                  <c:v>#N/A</c:v>
                </c:pt>
                <c:pt idx="8172">
                  <c:v>#N/A</c:v>
                </c:pt>
                <c:pt idx="8173">
                  <c:v>#N/A</c:v>
                </c:pt>
                <c:pt idx="8174">
                  <c:v>#N/A</c:v>
                </c:pt>
                <c:pt idx="8175">
                  <c:v>#N/A</c:v>
                </c:pt>
                <c:pt idx="8176">
                  <c:v>#N/A</c:v>
                </c:pt>
                <c:pt idx="8177">
                  <c:v>#N/A</c:v>
                </c:pt>
                <c:pt idx="8178">
                  <c:v>#N/A</c:v>
                </c:pt>
                <c:pt idx="8179">
                  <c:v>#N/A</c:v>
                </c:pt>
                <c:pt idx="8180">
                  <c:v>#N/A</c:v>
                </c:pt>
                <c:pt idx="8181">
                  <c:v>#N/A</c:v>
                </c:pt>
                <c:pt idx="8182">
                  <c:v>#N/A</c:v>
                </c:pt>
                <c:pt idx="8183">
                  <c:v>#N/A</c:v>
                </c:pt>
                <c:pt idx="8184">
                  <c:v>#N/A</c:v>
                </c:pt>
                <c:pt idx="8185">
                  <c:v>#N/A</c:v>
                </c:pt>
                <c:pt idx="8186">
                  <c:v>#N/A</c:v>
                </c:pt>
                <c:pt idx="8187">
                  <c:v>#N/A</c:v>
                </c:pt>
                <c:pt idx="8188">
                  <c:v>#N/A</c:v>
                </c:pt>
                <c:pt idx="8189">
                  <c:v>#N/A</c:v>
                </c:pt>
                <c:pt idx="8190">
                  <c:v>#N/A</c:v>
                </c:pt>
                <c:pt idx="8191">
                  <c:v>#N/A</c:v>
                </c:pt>
                <c:pt idx="8192">
                  <c:v>#N/A</c:v>
                </c:pt>
                <c:pt idx="8193">
                  <c:v>#N/A</c:v>
                </c:pt>
                <c:pt idx="8194">
                  <c:v>#N/A</c:v>
                </c:pt>
                <c:pt idx="8195">
                  <c:v>#N/A</c:v>
                </c:pt>
                <c:pt idx="8196">
                  <c:v>#N/A</c:v>
                </c:pt>
                <c:pt idx="8197">
                  <c:v>#N/A</c:v>
                </c:pt>
                <c:pt idx="8198">
                  <c:v>#N/A</c:v>
                </c:pt>
                <c:pt idx="8199">
                  <c:v>#N/A</c:v>
                </c:pt>
                <c:pt idx="8200">
                  <c:v>#N/A</c:v>
                </c:pt>
                <c:pt idx="8201">
                  <c:v>#N/A</c:v>
                </c:pt>
                <c:pt idx="8202">
                  <c:v>#N/A</c:v>
                </c:pt>
                <c:pt idx="8203">
                  <c:v>#N/A</c:v>
                </c:pt>
                <c:pt idx="8204">
                  <c:v>#N/A</c:v>
                </c:pt>
                <c:pt idx="8205">
                  <c:v>#N/A</c:v>
                </c:pt>
                <c:pt idx="8206">
                  <c:v>#N/A</c:v>
                </c:pt>
                <c:pt idx="8207">
                  <c:v>#N/A</c:v>
                </c:pt>
                <c:pt idx="8208">
                  <c:v>#N/A</c:v>
                </c:pt>
                <c:pt idx="8209">
                  <c:v>#N/A</c:v>
                </c:pt>
                <c:pt idx="8210">
                  <c:v>#N/A</c:v>
                </c:pt>
                <c:pt idx="8211">
                  <c:v>#N/A</c:v>
                </c:pt>
                <c:pt idx="8212">
                  <c:v>#N/A</c:v>
                </c:pt>
                <c:pt idx="8213">
                  <c:v>#N/A</c:v>
                </c:pt>
                <c:pt idx="8214">
                  <c:v>#N/A</c:v>
                </c:pt>
                <c:pt idx="8215">
                  <c:v>#N/A</c:v>
                </c:pt>
                <c:pt idx="8216">
                  <c:v>#N/A</c:v>
                </c:pt>
                <c:pt idx="8217">
                  <c:v>#N/A</c:v>
                </c:pt>
                <c:pt idx="8218">
                  <c:v>#N/A</c:v>
                </c:pt>
                <c:pt idx="8219">
                  <c:v>#N/A</c:v>
                </c:pt>
                <c:pt idx="8220">
                  <c:v>#N/A</c:v>
                </c:pt>
                <c:pt idx="8221">
                  <c:v>#N/A</c:v>
                </c:pt>
                <c:pt idx="8222">
                  <c:v>#N/A</c:v>
                </c:pt>
                <c:pt idx="8223">
                  <c:v>#N/A</c:v>
                </c:pt>
                <c:pt idx="8224">
                  <c:v>#N/A</c:v>
                </c:pt>
                <c:pt idx="8225">
                  <c:v>#N/A</c:v>
                </c:pt>
                <c:pt idx="8226">
                  <c:v>#N/A</c:v>
                </c:pt>
                <c:pt idx="8227">
                  <c:v>#N/A</c:v>
                </c:pt>
                <c:pt idx="8228">
                  <c:v>#N/A</c:v>
                </c:pt>
                <c:pt idx="8229">
                  <c:v>#N/A</c:v>
                </c:pt>
                <c:pt idx="8230">
                  <c:v>#N/A</c:v>
                </c:pt>
                <c:pt idx="8231">
                  <c:v>#N/A</c:v>
                </c:pt>
                <c:pt idx="8232">
                  <c:v>#N/A</c:v>
                </c:pt>
                <c:pt idx="8233">
                  <c:v>#N/A</c:v>
                </c:pt>
                <c:pt idx="8234">
                  <c:v>#N/A</c:v>
                </c:pt>
                <c:pt idx="8235">
                  <c:v>#N/A</c:v>
                </c:pt>
                <c:pt idx="8236">
                  <c:v>#N/A</c:v>
                </c:pt>
                <c:pt idx="8237">
                  <c:v>#N/A</c:v>
                </c:pt>
                <c:pt idx="8238">
                  <c:v>#N/A</c:v>
                </c:pt>
                <c:pt idx="8239">
                  <c:v>#N/A</c:v>
                </c:pt>
                <c:pt idx="8240">
                  <c:v>#N/A</c:v>
                </c:pt>
                <c:pt idx="8241">
                  <c:v>#N/A</c:v>
                </c:pt>
                <c:pt idx="8242">
                  <c:v>#N/A</c:v>
                </c:pt>
                <c:pt idx="8243">
                  <c:v>#N/A</c:v>
                </c:pt>
                <c:pt idx="8244">
                  <c:v>#N/A</c:v>
                </c:pt>
                <c:pt idx="8245">
                  <c:v>#N/A</c:v>
                </c:pt>
                <c:pt idx="8246">
                  <c:v>#N/A</c:v>
                </c:pt>
                <c:pt idx="8247">
                  <c:v>#N/A</c:v>
                </c:pt>
                <c:pt idx="8248">
                  <c:v>#N/A</c:v>
                </c:pt>
                <c:pt idx="8249">
                  <c:v>#N/A</c:v>
                </c:pt>
                <c:pt idx="8250">
                  <c:v>#N/A</c:v>
                </c:pt>
                <c:pt idx="8251">
                  <c:v>#N/A</c:v>
                </c:pt>
                <c:pt idx="8252">
                  <c:v>#N/A</c:v>
                </c:pt>
                <c:pt idx="8253">
                  <c:v>#N/A</c:v>
                </c:pt>
                <c:pt idx="8254">
                  <c:v>#N/A</c:v>
                </c:pt>
                <c:pt idx="8255">
                  <c:v>#N/A</c:v>
                </c:pt>
                <c:pt idx="8256">
                  <c:v>#N/A</c:v>
                </c:pt>
                <c:pt idx="8257">
                  <c:v>#N/A</c:v>
                </c:pt>
                <c:pt idx="8258">
                  <c:v>#N/A</c:v>
                </c:pt>
                <c:pt idx="8259">
                  <c:v>#N/A</c:v>
                </c:pt>
                <c:pt idx="8260">
                  <c:v>#N/A</c:v>
                </c:pt>
                <c:pt idx="8261">
                  <c:v>#N/A</c:v>
                </c:pt>
                <c:pt idx="8262">
                  <c:v>#N/A</c:v>
                </c:pt>
                <c:pt idx="8263">
                  <c:v>#N/A</c:v>
                </c:pt>
                <c:pt idx="8264">
                  <c:v>#N/A</c:v>
                </c:pt>
                <c:pt idx="8265">
                  <c:v>#N/A</c:v>
                </c:pt>
                <c:pt idx="8266">
                  <c:v>#N/A</c:v>
                </c:pt>
                <c:pt idx="8267">
                  <c:v>#N/A</c:v>
                </c:pt>
                <c:pt idx="8268">
                  <c:v>#N/A</c:v>
                </c:pt>
                <c:pt idx="8269">
                  <c:v>#N/A</c:v>
                </c:pt>
                <c:pt idx="8270">
                  <c:v>#N/A</c:v>
                </c:pt>
                <c:pt idx="8271">
                  <c:v>#N/A</c:v>
                </c:pt>
                <c:pt idx="8272">
                  <c:v>#N/A</c:v>
                </c:pt>
                <c:pt idx="8273">
                  <c:v>#N/A</c:v>
                </c:pt>
                <c:pt idx="8274">
                  <c:v>#N/A</c:v>
                </c:pt>
                <c:pt idx="8275">
                  <c:v>#N/A</c:v>
                </c:pt>
                <c:pt idx="8276">
                  <c:v>#N/A</c:v>
                </c:pt>
                <c:pt idx="8277">
                  <c:v>#N/A</c:v>
                </c:pt>
                <c:pt idx="8278">
                  <c:v>#N/A</c:v>
                </c:pt>
                <c:pt idx="8279">
                  <c:v>#N/A</c:v>
                </c:pt>
                <c:pt idx="8280">
                  <c:v>#N/A</c:v>
                </c:pt>
                <c:pt idx="8281">
                  <c:v>#N/A</c:v>
                </c:pt>
                <c:pt idx="8282">
                  <c:v>#N/A</c:v>
                </c:pt>
                <c:pt idx="8283">
                  <c:v>#N/A</c:v>
                </c:pt>
                <c:pt idx="8284">
                  <c:v>#N/A</c:v>
                </c:pt>
                <c:pt idx="8285">
                  <c:v>#N/A</c:v>
                </c:pt>
                <c:pt idx="8286">
                  <c:v>#N/A</c:v>
                </c:pt>
                <c:pt idx="8287">
                  <c:v>#N/A</c:v>
                </c:pt>
                <c:pt idx="8288">
                  <c:v>#N/A</c:v>
                </c:pt>
                <c:pt idx="8289">
                  <c:v>#N/A</c:v>
                </c:pt>
                <c:pt idx="8290">
                  <c:v>#N/A</c:v>
                </c:pt>
                <c:pt idx="8291">
                  <c:v>#N/A</c:v>
                </c:pt>
                <c:pt idx="8292">
                  <c:v>#N/A</c:v>
                </c:pt>
                <c:pt idx="8293">
                  <c:v>#N/A</c:v>
                </c:pt>
                <c:pt idx="8294">
                  <c:v>#N/A</c:v>
                </c:pt>
                <c:pt idx="8295">
                  <c:v>#N/A</c:v>
                </c:pt>
                <c:pt idx="8296">
                  <c:v>#N/A</c:v>
                </c:pt>
                <c:pt idx="8297">
                  <c:v>#N/A</c:v>
                </c:pt>
                <c:pt idx="8298">
                  <c:v>#N/A</c:v>
                </c:pt>
                <c:pt idx="8299">
                  <c:v>#N/A</c:v>
                </c:pt>
                <c:pt idx="8300">
                  <c:v>#N/A</c:v>
                </c:pt>
                <c:pt idx="8301">
                  <c:v>#N/A</c:v>
                </c:pt>
                <c:pt idx="8302">
                  <c:v>#N/A</c:v>
                </c:pt>
                <c:pt idx="8303">
                  <c:v>#N/A</c:v>
                </c:pt>
                <c:pt idx="8304">
                  <c:v>#N/A</c:v>
                </c:pt>
                <c:pt idx="8305">
                  <c:v>#N/A</c:v>
                </c:pt>
                <c:pt idx="8306">
                  <c:v>#N/A</c:v>
                </c:pt>
                <c:pt idx="8307">
                  <c:v>#N/A</c:v>
                </c:pt>
                <c:pt idx="8308">
                  <c:v>#N/A</c:v>
                </c:pt>
                <c:pt idx="8309">
                  <c:v>#N/A</c:v>
                </c:pt>
                <c:pt idx="8310">
                  <c:v>#N/A</c:v>
                </c:pt>
                <c:pt idx="8311">
                  <c:v>#N/A</c:v>
                </c:pt>
                <c:pt idx="8312">
                  <c:v>#N/A</c:v>
                </c:pt>
                <c:pt idx="8313">
                  <c:v>#N/A</c:v>
                </c:pt>
                <c:pt idx="8314">
                  <c:v>#N/A</c:v>
                </c:pt>
                <c:pt idx="8315">
                  <c:v>#N/A</c:v>
                </c:pt>
                <c:pt idx="8316">
                  <c:v>#N/A</c:v>
                </c:pt>
                <c:pt idx="8317">
                  <c:v>#N/A</c:v>
                </c:pt>
                <c:pt idx="8318">
                  <c:v>#N/A</c:v>
                </c:pt>
                <c:pt idx="8319">
                  <c:v>#N/A</c:v>
                </c:pt>
                <c:pt idx="8320">
                  <c:v>#N/A</c:v>
                </c:pt>
                <c:pt idx="8321">
                  <c:v>#N/A</c:v>
                </c:pt>
                <c:pt idx="8322">
                  <c:v>#N/A</c:v>
                </c:pt>
                <c:pt idx="8323">
                  <c:v>#N/A</c:v>
                </c:pt>
                <c:pt idx="8324">
                  <c:v>#N/A</c:v>
                </c:pt>
                <c:pt idx="8325">
                  <c:v>#N/A</c:v>
                </c:pt>
                <c:pt idx="8326">
                  <c:v>#N/A</c:v>
                </c:pt>
                <c:pt idx="8327">
                  <c:v>#N/A</c:v>
                </c:pt>
                <c:pt idx="8328">
                  <c:v>#N/A</c:v>
                </c:pt>
                <c:pt idx="8329">
                  <c:v>#N/A</c:v>
                </c:pt>
                <c:pt idx="8330">
                  <c:v>#N/A</c:v>
                </c:pt>
                <c:pt idx="8331">
                  <c:v>#N/A</c:v>
                </c:pt>
                <c:pt idx="8332">
                  <c:v>#N/A</c:v>
                </c:pt>
                <c:pt idx="8333">
                  <c:v>#N/A</c:v>
                </c:pt>
                <c:pt idx="8334">
                  <c:v>#N/A</c:v>
                </c:pt>
                <c:pt idx="8335">
                  <c:v>#N/A</c:v>
                </c:pt>
                <c:pt idx="8336">
                  <c:v>#N/A</c:v>
                </c:pt>
                <c:pt idx="8337">
                  <c:v>#N/A</c:v>
                </c:pt>
                <c:pt idx="8338">
                  <c:v>#N/A</c:v>
                </c:pt>
                <c:pt idx="8339">
                  <c:v>#N/A</c:v>
                </c:pt>
                <c:pt idx="8340">
                  <c:v>#N/A</c:v>
                </c:pt>
                <c:pt idx="8341">
                  <c:v>#N/A</c:v>
                </c:pt>
                <c:pt idx="8342">
                  <c:v>#N/A</c:v>
                </c:pt>
                <c:pt idx="8343">
                  <c:v>#N/A</c:v>
                </c:pt>
                <c:pt idx="8344">
                  <c:v>#N/A</c:v>
                </c:pt>
                <c:pt idx="8345">
                  <c:v>#N/A</c:v>
                </c:pt>
                <c:pt idx="8346">
                  <c:v>#N/A</c:v>
                </c:pt>
                <c:pt idx="8347">
                  <c:v>#N/A</c:v>
                </c:pt>
                <c:pt idx="8348">
                  <c:v>#N/A</c:v>
                </c:pt>
                <c:pt idx="8349">
                  <c:v>#N/A</c:v>
                </c:pt>
                <c:pt idx="8350">
                  <c:v>#N/A</c:v>
                </c:pt>
                <c:pt idx="8351">
                  <c:v>#N/A</c:v>
                </c:pt>
                <c:pt idx="8352">
                  <c:v>#N/A</c:v>
                </c:pt>
                <c:pt idx="8353">
                  <c:v>#N/A</c:v>
                </c:pt>
                <c:pt idx="8354">
                  <c:v>#N/A</c:v>
                </c:pt>
                <c:pt idx="8355">
                  <c:v>#N/A</c:v>
                </c:pt>
                <c:pt idx="8356">
                  <c:v>#N/A</c:v>
                </c:pt>
                <c:pt idx="8357">
                  <c:v>#N/A</c:v>
                </c:pt>
                <c:pt idx="8358">
                  <c:v>#N/A</c:v>
                </c:pt>
                <c:pt idx="8359">
                  <c:v>#N/A</c:v>
                </c:pt>
                <c:pt idx="8360">
                  <c:v>#N/A</c:v>
                </c:pt>
                <c:pt idx="8361">
                  <c:v>#N/A</c:v>
                </c:pt>
                <c:pt idx="8362">
                  <c:v>#N/A</c:v>
                </c:pt>
                <c:pt idx="8363">
                  <c:v>#N/A</c:v>
                </c:pt>
                <c:pt idx="8364">
                  <c:v>#N/A</c:v>
                </c:pt>
                <c:pt idx="8365">
                  <c:v>#N/A</c:v>
                </c:pt>
                <c:pt idx="8366">
                  <c:v>#N/A</c:v>
                </c:pt>
                <c:pt idx="8367">
                  <c:v>#N/A</c:v>
                </c:pt>
                <c:pt idx="8368">
                  <c:v>#N/A</c:v>
                </c:pt>
                <c:pt idx="8369">
                  <c:v>#N/A</c:v>
                </c:pt>
                <c:pt idx="8370">
                  <c:v>#N/A</c:v>
                </c:pt>
                <c:pt idx="8371">
                  <c:v>#N/A</c:v>
                </c:pt>
                <c:pt idx="8372">
                  <c:v>#N/A</c:v>
                </c:pt>
                <c:pt idx="8373">
                  <c:v>#N/A</c:v>
                </c:pt>
                <c:pt idx="8374">
                  <c:v>#N/A</c:v>
                </c:pt>
                <c:pt idx="8375">
                  <c:v>#N/A</c:v>
                </c:pt>
                <c:pt idx="8376">
                  <c:v>#N/A</c:v>
                </c:pt>
                <c:pt idx="8377">
                  <c:v>#N/A</c:v>
                </c:pt>
                <c:pt idx="8378">
                  <c:v>#N/A</c:v>
                </c:pt>
                <c:pt idx="8379">
                  <c:v>#N/A</c:v>
                </c:pt>
                <c:pt idx="8380">
                  <c:v>#N/A</c:v>
                </c:pt>
                <c:pt idx="8381">
                  <c:v>#N/A</c:v>
                </c:pt>
                <c:pt idx="8382">
                  <c:v>#N/A</c:v>
                </c:pt>
                <c:pt idx="8383">
                  <c:v>#N/A</c:v>
                </c:pt>
                <c:pt idx="8384">
                  <c:v>#N/A</c:v>
                </c:pt>
                <c:pt idx="8385">
                  <c:v>#N/A</c:v>
                </c:pt>
                <c:pt idx="8386">
                  <c:v>#N/A</c:v>
                </c:pt>
                <c:pt idx="8387">
                  <c:v>#N/A</c:v>
                </c:pt>
                <c:pt idx="8388">
                  <c:v>#N/A</c:v>
                </c:pt>
                <c:pt idx="8389">
                  <c:v>#N/A</c:v>
                </c:pt>
                <c:pt idx="8390">
                  <c:v>#N/A</c:v>
                </c:pt>
                <c:pt idx="8391">
                  <c:v>#N/A</c:v>
                </c:pt>
                <c:pt idx="8392">
                  <c:v>#N/A</c:v>
                </c:pt>
                <c:pt idx="8393">
                  <c:v>#N/A</c:v>
                </c:pt>
                <c:pt idx="8394">
                  <c:v>#N/A</c:v>
                </c:pt>
                <c:pt idx="8395">
                  <c:v>#N/A</c:v>
                </c:pt>
                <c:pt idx="8396">
                  <c:v>#N/A</c:v>
                </c:pt>
                <c:pt idx="8397">
                  <c:v>#N/A</c:v>
                </c:pt>
                <c:pt idx="8398">
                  <c:v>#N/A</c:v>
                </c:pt>
                <c:pt idx="8399">
                  <c:v>#N/A</c:v>
                </c:pt>
                <c:pt idx="8400">
                  <c:v>#N/A</c:v>
                </c:pt>
                <c:pt idx="8401">
                  <c:v>#N/A</c:v>
                </c:pt>
                <c:pt idx="8402">
                  <c:v>#N/A</c:v>
                </c:pt>
                <c:pt idx="8403">
                  <c:v>#N/A</c:v>
                </c:pt>
                <c:pt idx="8404">
                  <c:v>#N/A</c:v>
                </c:pt>
                <c:pt idx="8405">
                  <c:v>#N/A</c:v>
                </c:pt>
                <c:pt idx="8406">
                  <c:v>#N/A</c:v>
                </c:pt>
                <c:pt idx="8407">
                  <c:v>#N/A</c:v>
                </c:pt>
                <c:pt idx="8408">
                  <c:v>#N/A</c:v>
                </c:pt>
                <c:pt idx="8409">
                  <c:v>#N/A</c:v>
                </c:pt>
                <c:pt idx="8410">
                  <c:v>#N/A</c:v>
                </c:pt>
                <c:pt idx="8411">
                  <c:v>#N/A</c:v>
                </c:pt>
                <c:pt idx="8412">
                  <c:v>#N/A</c:v>
                </c:pt>
                <c:pt idx="8413">
                  <c:v>#N/A</c:v>
                </c:pt>
                <c:pt idx="8414">
                  <c:v>#N/A</c:v>
                </c:pt>
                <c:pt idx="8415">
                  <c:v>#N/A</c:v>
                </c:pt>
                <c:pt idx="8416">
                  <c:v>#N/A</c:v>
                </c:pt>
                <c:pt idx="8417">
                  <c:v>#N/A</c:v>
                </c:pt>
                <c:pt idx="8418">
                  <c:v>#N/A</c:v>
                </c:pt>
                <c:pt idx="8419">
                  <c:v>#N/A</c:v>
                </c:pt>
                <c:pt idx="8420">
                  <c:v>#N/A</c:v>
                </c:pt>
                <c:pt idx="8421">
                  <c:v>#N/A</c:v>
                </c:pt>
                <c:pt idx="8422">
                  <c:v>#N/A</c:v>
                </c:pt>
                <c:pt idx="8423">
                  <c:v>#N/A</c:v>
                </c:pt>
                <c:pt idx="8424">
                  <c:v>#N/A</c:v>
                </c:pt>
                <c:pt idx="8425">
                  <c:v>#N/A</c:v>
                </c:pt>
                <c:pt idx="8426">
                  <c:v>#N/A</c:v>
                </c:pt>
                <c:pt idx="8427">
                  <c:v>#N/A</c:v>
                </c:pt>
                <c:pt idx="8428">
                  <c:v>#N/A</c:v>
                </c:pt>
                <c:pt idx="8429">
                  <c:v>#N/A</c:v>
                </c:pt>
                <c:pt idx="8430">
                  <c:v>#N/A</c:v>
                </c:pt>
                <c:pt idx="8431">
                  <c:v>#N/A</c:v>
                </c:pt>
                <c:pt idx="8432">
                  <c:v>#N/A</c:v>
                </c:pt>
                <c:pt idx="8433">
                  <c:v>#N/A</c:v>
                </c:pt>
                <c:pt idx="8434">
                  <c:v>#N/A</c:v>
                </c:pt>
                <c:pt idx="8435">
                  <c:v>#N/A</c:v>
                </c:pt>
                <c:pt idx="8436">
                  <c:v>#N/A</c:v>
                </c:pt>
                <c:pt idx="8437">
                  <c:v>#N/A</c:v>
                </c:pt>
                <c:pt idx="8438">
                  <c:v>#N/A</c:v>
                </c:pt>
                <c:pt idx="8439">
                  <c:v>#N/A</c:v>
                </c:pt>
                <c:pt idx="8440">
                  <c:v>#N/A</c:v>
                </c:pt>
                <c:pt idx="8441">
                  <c:v>#N/A</c:v>
                </c:pt>
                <c:pt idx="8442">
                  <c:v>#N/A</c:v>
                </c:pt>
                <c:pt idx="8443">
                  <c:v>#N/A</c:v>
                </c:pt>
                <c:pt idx="8444">
                  <c:v>#N/A</c:v>
                </c:pt>
                <c:pt idx="8445">
                  <c:v>#N/A</c:v>
                </c:pt>
                <c:pt idx="8446">
                  <c:v>#N/A</c:v>
                </c:pt>
                <c:pt idx="8447">
                  <c:v>#N/A</c:v>
                </c:pt>
                <c:pt idx="8448">
                  <c:v>#N/A</c:v>
                </c:pt>
                <c:pt idx="8449">
                  <c:v>#N/A</c:v>
                </c:pt>
                <c:pt idx="8450">
                  <c:v>#N/A</c:v>
                </c:pt>
                <c:pt idx="8451">
                  <c:v>#N/A</c:v>
                </c:pt>
                <c:pt idx="8452">
                  <c:v>#N/A</c:v>
                </c:pt>
                <c:pt idx="8453">
                  <c:v>#N/A</c:v>
                </c:pt>
                <c:pt idx="8454">
                  <c:v>#N/A</c:v>
                </c:pt>
                <c:pt idx="8455">
                  <c:v>#N/A</c:v>
                </c:pt>
                <c:pt idx="8456">
                  <c:v>#N/A</c:v>
                </c:pt>
                <c:pt idx="8457">
                  <c:v>#N/A</c:v>
                </c:pt>
                <c:pt idx="8458">
                  <c:v>#N/A</c:v>
                </c:pt>
                <c:pt idx="8459">
                  <c:v>#N/A</c:v>
                </c:pt>
                <c:pt idx="8460">
                  <c:v>#N/A</c:v>
                </c:pt>
                <c:pt idx="8461">
                  <c:v>#N/A</c:v>
                </c:pt>
                <c:pt idx="8462">
                  <c:v>#N/A</c:v>
                </c:pt>
                <c:pt idx="8463">
                  <c:v>#N/A</c:v>
                </c:pt>
                <c:pt idx="8464">
                  <c:v>#N/A</c:v>
                </c:pt>
                <c:pt idx="8465">
                  <c:v>#N/A</c:v>
                </c:pt>
                <c:pt idx="8466">
                  <c:v>#N/A</c:v>
                </c:pt>
                <c:pt idx="8467">
                  <c:v>#N/A</c:v>
                </c:pt>
                <c:pt idx="8468">
                  <c:v>#N/A</c:v>
                </c:pt>
                <c:pt idx="8469">
                  <c:v>#N/A</c:v>
                </c:pt>
                <c:pt idx="8470">
                  <c:v>#N/A</c:v>
                </c:pt>
                <c:pt idx="8471">
                  <c:v>#N/A</c:v>
                </c:pt>
                <c:pt idx="8472">
                  <c:v>#N/A</c:v>
                </c:pt>
                <c:pt idx="8473">
                  <c:v>#N/A</c:v>
                </c:pt>
                <c:pt idx="8474">
                  <c:v>#N/A</c:v>
                </c:pt>
                <c:pt idx="8475">
                  <c:v>#N/A</c:v>
                </c:pt>
                <c:pt idx="8476">
                  <c:v>#N/A</c:v>
                </c:pt>
                <c:pt idx="8477">
                  <c:v>#N/A</c:v>
                </c:pt>
                <c:pt idx="8478">
                  <c:v>#N/A</c:v>
                </c:pt>
                <c:pt idx="8479">
                  <c:v>#N/A</c:v>
                </c:pt>
                <c:pt idx="8480">
                  <c:v>#N/A</c:v>
                </c:pt>
                <c:pt idx="8481">
                  <c:v>#N/A</c:v>
                </c:pt>
                <c:pt idx="8482">
                  <c:v>#N/A</c:v>
                </c:pt>
                <c:pt idx="8483">
                  <c:v>#N/A</c:v>
                </c:pt>
                <c:pt idx="8484">
                  <c:v>#N/A</c:v>
                </c:pt>
                <c:pt idx="8485">
                  <c:v>#N/A</c:v>
                </c:pt>
                <c:pt idx="8486">
                  <c:v>#N/A</c:v>
                </c:pt>
                <c:pt idx="8487">
                  <c:v>#N/A</c:v>
                </c:pt>
                <c:pt idx="8488">
                  <c:v>#N/A</c:v>
                </c:pt>
                <c:pt idx="8489">
                  <c:v>#N/A</c:v>
                </c:pt>
                <c:pt idx="8490">
                  <c:v>#N/A</c:v>
                </c:pt>
                <c:pt idx="8491">
                  <c:v>#N/A</c:v>
                </c:pt>
                <c:pt idx="8492">
                  <c:v>#N/A</c:v>
                </c:pt>
                <c:pt idx="8493">
                  <c:v>#N/A</c:v>
                </c:pt>
                <c:pt idx="8494">
                  <c:v>#N/A</c:v>
                </c:pt>
                <c:pt idx="8495">
                  <c:v>#N/A</c:v>
                </c:pt>
                <c:pt idx="8496">
                  <c:v>#N/A</c:v>
                </c:pt>
                <c:pt idx="8497">
                  <c:v>#N/A</c:v>
                </c:pt>
                <c:pt idx="8498">
                  <c:v>#N/A</c:v>
                </c:pt>
                <c:pt idx="8499">
                  <c:v>#N/A</c:v>
                </c:pt>
                <c:pt idx="8500">
                  <c:v>#N/A</c:v>
                </c:pt>
                <c:pt idx="8501">
                  <c:v>#N/A</c:v>
                </c:pt>
                <c:pt idx="8502">
                  <c:v>#N/A</c:v>
                </c:pt>
                <c:pt idx="8503">
                  <c:v>#N/A</c:v>
                </c:pt>
                <c:pt idx="8504">
                  <c:v>#N/A</c:v>
                </c:pt>
                <c:pt idx="8505">
                  <c:v>#N/A</c:v>
                </c:pt>
                <c:pt idx="8506">
                  <c:v>#N/A</c:v>
                </c:pt>
                <c:pt idx="8507">
                  <c:v>#N/A</c:v>
                </c:pt>
                <c:pt idx="8508">
                  <c:v>#N/A</c:v>
                </c:pt>
                <c:pt idx="8509">
                  <c:v>#N/A</c:v>
                </c:pt>
                <c:pt idx="8510">
                  <c:v>#N/A</c:v>
                </c:pt>
                <c:pt idx="8511">
                  <c:v>#N/A</c:v>
                </c:pt>
                <c:pt idx="8512">
                  <c:v>#N/A</c:v>
                </c:pt>
                <c:pt idx="8513">
                  <c:v>#N/A</c:v>
                </c:pt>
                <c:pt idx="8514">
                  <c:v>#N/A</c:v>
                </c:pt>
                <c:pt idx="8515">
                  <c:v>#N/A</c:v>
                </c:pt>
                <c:pt idx="8516">
                  <c:v>#N/A</c:v>
                </c:pt>
                <c:pt idx="8517">
                  <c:v>#N/A</c:v>
                </c:pt>
                <c:pt idx="8518">
                  <c:v>#N/A</c:v>
                </c:pt>
                <c:pt idx="8519">
                  <c:v>#N/A</c:v>
                </c:pt>
                <c:pt idx="8520">
                  <c:v>#N/A</c:v>
                </c:pt>
                <c:pt idx="8521">
                  <c:v>#N/A</c:v>
                </c:pt>
                <c:pt idx="8522">
                  <c:v>#N/A</c:v>
                </c:pt>
                <c:pt idx="8523">
                  <c:v>#N/A</c:v>
                </c:pt>
                <c:pt idx="8524">
                  <c:v>#N/A</c:v>
                </c:pt>
                <c:pt idx="8525">
                  <c:v>#N/A</c:v>
                </c:pt>
                <c:pt idx="8526">
                  <c:v>#N/A</c:v>
                </c:pt>
                <c:pt idx="8527">
                  <c:v>#N/A</c:v>
                </c:pt>
                <c:pt idx="8528">
                  <c:v>#N/A</c:v>
                </c:pt>
                <c:pt idx="8529">
                  <c:v>#N/A</c:v>
                </c:pt>
                <c:pt idx="8530">
                  <c:v>#N/A</c:v>
                </c:pt>
                <c:pt idx="8531">
                  <c:v>#N/A</c:v>
                </c:pt>
                <c:pt idx="8532">
                  <c:v>#N/A</c:v>
                </c:pt>
                <c:pt idx="8533">
                  <c:v>#N/A</c:v>
                </c:pt>
                <c:pt idx="8534">
                  <c:v>#N/A</c:v>
                </c:pt>
                <c:pt idx="8535">
                  <c:v>#N/A</c:v>
                </c:pt>
                <c:pt idx="8536">
                  <c:v>#N/A</c:v>
                </c:pt>
                <c:pt idx="8537">
                  <c:v>#N/A</c:v>
                </c:pt>
                <c:pt idx="8538">
                  <c:v>#N/A</c:v>
                </c:pt>
                <c:pt idx="8539">
                  <c:v>#N/A</c:v>
                </c:pt>
                <c:pt idx="8540">
                  <c:v>#N/A</c:v>
                </c:pt>
                <c:pt idx="8541">
                  <c:v>#N/A</c:v>
                </c:pt>
                <c:pt idx="8542">
                  <c:v>#N/A</c:v>
                </c:pt>
                <c:pt idx="8543">
                  <c:v>#N/A</c:v>
                </c:pt>
                <c:pt idx="8544">
                  <c:v>#N/A</c:v>
                </c:pt>
                <c:pt idx="8545">
                  <c:v>#N/A</c:v>
                </c:pt>
                <c:pt idx="8546">
                  <c:v>#N/A</c:v>
                </c:pt>
                <c:pt idx="8547">
                  <c:v>#N/A</c:v>
                </c:pt>
                <c:pt idx="8548">
                  <c:v>#N/A</c:v>
                </c:pt>
                <c:pt idx="8549">
                  <c:v>#N/A</c:v>
                </c:pt>
                <c:pt idx="8550">
                  <c:v>#N/A</c:v>
                </c:pt>
                <c:pt idx="8551">
                  <c:v>#N/A</c:v>
                </c:pt>
                <c:pt idx="8552">
                  <c:v>#N/A</c:v>
                </c:pt>
                <c:pt idx="8553">
                  <c:v>#N/A</c:v>
                </c:pt>
                <c:pt idx="8554">
                  <c:v>#N/A</c:v>
                </c:pt>
                <c:pt idx="8555">
                  <c:v>#N/A</c:v>
                </c:pt>
                <c:pt idx="8556">
                  <c:v>#N/A</c:v>
                </c:pt>
                <c:pt idx="8557">
                  <c:v>#N/A</c:v>
                </c:pt>
                <c:pt idx="8558">
                  <c:v>#N/A</c:v>
                </c:pt>
                <c:pt idx="8559">
                  <c:v>#N/A</c:v>
                </c:pt>
                <c:pt idx="8560">
                  <c:v>#N/A</c:v>
                </c:pt>
                <c:pt idx="8561">
                  <c:v>#N/A</c:v>
                </c:pt>
                <c:pt idx="8562">
                  <c:v>#N/A</c:v>
                </c:pt>
                <c:pt idx="8563">
                  <c:v>#N/A</c:v>
                </c:pt>
                <c:pt idx="8564">
                  <c:v>#N/A</c:v>
                </c:pt>
                <c:pt idx="8565">
                  <c:v>#N/A</c:v>
                </c:pt>
                <c:pt idx="8566">
                  <c:v>#N/A</c:v>
                </c:pt>
                <c:pt idx="8567">
                  <c:v>#N/A</c:v>
                </c:pt>
                <c:pt idx="8568">
                  <c:v>#N/A</c:v>
                </c:pt>
                <c:pt idx="8569">
                  <c:v>#N/A</c:v>
                </c:pt>
                <c:pt idx="8570">
                  <c:v>#N/A</c:v>
                </c:pt>
                <c:pt idx="8571">
                  <c:v>#N/A</c:v>
                </c:pt>
                <c:pt idx="8572">
                  <c:v>#N/A</c:v>
                </c:pt>
                <c:pt idx="8573">
                  <c:v>#N/A</c:v>
                </c:pt>
                <c:pt idx="8574">
                  <c:v>#N/A</c:v>
                </c:pt>
                <c:pt idx="8575">
                  <c:v>#N/A</c:v>
                </c:pt>
                <c:pt idx="8576">
                  <c:v>#N/A</c:v>
                </c:pt>
                <c:pt idx="8577">
                  <c:v>#N/A</c:v>
                </c:pt>
                <c:pt idx="8578">
                  <c:v>#N/A</c:v>
                </c:pt>
                <c:pt idx="8579">
                  <c:v>#N/A</c:v>
                </c:pt>
                <c:pt idx="8580">
                  <c:v>#N/A</c:v>
                </c:pt>
                <c:pt idx="8581">
                  <c:v>#N/A</c:v>
                </c:pt>
                <c:pt idx="8582">
                  <c:v>#N/A</c:v>
                </c:pt>
                <c:pt idx="8583">
                  <c:v>#N/A</c:v>
                </c:pt>
                <c:pt idx="8584">
                  <c:v>#N/A</c:v>
                </c:pt>
                <c:pt idx="8585">
                  <c:v>#N/A</c:v>
                </c:pt>
                <c:pt idx="8586">
                  <c:v>#N/A</c:v>
                </c:pt>
                <c:pt idx="8587">
                  <c:v>#N/A</c:v>
                </c:pt>
                <c:pt idx="8588">
                  <c:v>#N/A</c:v>
                </c:pt>
                <c:pt idx="8589">
                  <c:v>#N/A</c:v>
                </c:pt>
                <c:pt idx="8590">
                  <c:v>#N/A</c:v>
                </c:pt>
                <c:pt idx="8591">
                  <c:v>#N/A</c:v>
                </c:pt>
                <c:pt idx="8592">
                  <c:v>#N/A</c:v>
                </c:pt>
                <c:pt idx="8593">
                  <c:v>#N/A</c:v>
                </c:pt>
                <c:pt idx="8594">
                  <c:v>#N/A</c:v>
                </c:pt>
                <c:pt idx="8595">
                  <c:v>#N/A</c:v>
                </c:pt>
                <c:pt idx="8596">
                  <c:v>#N/A</c:v>
                </c:pt>
                <c:pt idx="8597">
                  <c:v>#N/A</c:v>
                </c:pt>
                <c:pt idx="8598">
                  <c:v>#N/A</c:v>
                </c:pt>
                <c:pt idx="8599">
                  <c:v>#N/A</c:v>
                </c:pt>
                <c:pt idx="8600">
                  <c:v>#N/A</c:v>
                </c:pt>
                <c:pt idx="8601">
                  <c:v>#N/A</c:v>
                </c:pt>
                <c:pt idx="8602">
                  <c:v>#N/A</c:v>
                </c:pt>
                <c:pt idx="8603">
                  <c:v>#N/A</c:v>
                </c:pt>
                <c:pt idx="8604">
                  <c:v>#N/A</c:v>
                </c:pt>
                <c:pt idx="8605">
                  <c:v>#N/A</c:v>
                </c:pt>
                <c:pt idx="8606">
                  <c:v>#N/A</c:v>
                </c:pt>
                <c:pt idx="8607">
                  <c:v>#N/A</c:v>
                </c:pt>
                <c:pt idx="8608">
                  <c:v>#N/A</c:v>
                </c:pt>
                <c:pt idx="8609">
                  <c:v>#N/A</c:v>
                </c:pt>
                <c:pt idx="8610">
                  <c:v>#N/A</c:v>
                </c:pt>
                <c:pt idx="8611">
                  <c:v>#N/A</c:v>
                </c:pt>
                <c:pt idx="8612">
                  <c:v>#N/A</c:v>
                </c:pt>
                <c:pt idx="8613">
                  <c:v>#N/A</c:v>
                </c:pt>
                <c:pt idx="8614">
                  <c:v>#N/A</c:v>
                </c:pt>
                <c:pt idx="8615">
                  <c:v>#N/A</c:v>
                </c:pt>
                <c:pt idx="8616">
                  <c:v>#N/A</c:v>
                </c:pt>
                <c:pt idx="8617">
                  <c:v>#N/A</c:v>
                </c:pt>
                <c:pt idx="8618">
                  <c:v>#N/A</c:v>
                </c:pt>
                <c:pt idx="8619">
                  <c:v>#N/A</c:v>
                </c:pt>
                <c:pt idx="8620">
                  <c:v>#N/A</c:v>
                </c:pt>
                <c:pt idx="8621">
                  <c:v>#N/A</c:v>
                </c:pt>
                <c:pt idx="8622">
                  <c:v>#N/A</c:v>
                </c:pt>
                <c:pt idx="8623">
                  <c:v>#N/A</c:v>
                </c:pt>
                <c:pt idx="8624">
                  <c:v>#N/A</c:v>
                </c:pt>
                <c:pt idx="8625">
                  <c:v>#N/A</c:v>
                </c:pt>
                <c:pt idx="8626">
                  <c:v>#N/A</c:v>
                </c:pt>
                <c:pt idx="8627">
                  <c:v>#N/A</c:v>
                </c:pt>
                <c:pt idx="8628">
                  <c:v>#N/A</c:v>
                </c:pt>
                <c:pt idx="8629">
                  <c:v>#N/A</c:v>
                </c:pt>
                <c:pt idx="8630">
                  <c:v>#N/A</c:v>
                </c:pt>
                <c:pt idx="8631">
                  <c:v>#N/A</c:v>
                </c:pt>
                <c:pt idx="8632">
                  <c:v>#N/A</c:v>
                </c:pt>
                <c:pt idx="8633">
                  <c:v>#N/A</c:v>
                </c:pt>
                <c:pt idx="8634">
                  <c:v>#N/A</c:v>
                </c:pt>
                <c:pt idx="8635">
                  <c:v>#N/A</c:v>
                </c:pt>
                <c:pt idx="8636">
                  <c:v>#N/A</c:v>
                </c:pt>
                <c:pt idx="8637">
                  <c:v>#N/A</c:v>
                </c:pt>
                <c:pt idx="8638">
                  <c:v>#N/A</c:v>
                </c:pt>
                <c:pt idx="8639">
                  <c:v>#N/A</c:v>
                </c:pt>
                <c:pt idx="8640">
                  <c:v>#N/A</c:v>
                </c:pt>
                <c:pt idx="8641">
                  <c:v>#N/A</c:v>
                </c:pt>
                <c:pt idx="8642">
                  <c:v>#N/A</c:v>
                </c:pt>
                <c:pt idx="8643">
                  <c:v>#N/A</c:v>
                </c:pt>
                <c:pt idx="8644">
                  <c:v>#N/A</c:v>
                </c:pt>
                <c:pt idx="8645">
                  <c:v>#N/A</c:v>
                </c:pt>
                <c:pt idx="8646">
                  <c:v>#N/A</c:v>
                </c:pt>
                <c:pt idx="8647">
                  <c:v>#N/A</c:v>
                </c:pt>
                <c:pt idx="8648">
                  <c:v>#N/A</c:v>
                </c:pt>
                <c:pt idx="8649">
                  <c:v>#N/A</c:v>
                </c:pt>
                <c:pt idx="8650">
                  <c:v>#N/A</c:v>
                </c:pt>
                <c:pt idx="8651">
                  <c:v>#N/A</c:v>
                </c:pt>
                <c:pt idx="8652">
                  <c:v>#N/A</c:v>
                </c:pt>
                <c:pt idx="8653">
                  <c:v>#N/A</c:v>
                </c:pt>
                <c:pt idx="8654">
                  <c:v>#N/A</c:v>
                </c:pt>
                <c:pt idx="8655">
                  <c:v>#N/A</c:v>
                </c:pt>
                <c:pt idx="8656">
                  <c:v>#N/A</c:v>
                </c:pt>
                <c:pt idx="8657">
                  <c:v>#N/A</c:v>
                </c:pt>
                <c:pt idx="8658">
                  <c:v>#N/A</c:v>
                </c:pt>
                <c:pt idx="8659">
                  <c:v>#N/A</c:v>
                </c:pt>
                <c:pt idx="8660">
                  <c:v>#N/A</c:v>
                </c:pt>
                <c:pt idx="8661">
                  <c:v>#N/A</c:v>
                </c:pt>
                <c:pt idx="8662">
                  <c:v>#N/A</c:v>
                </c:pt>
                <c:pt idx="8663">
                  <c:v>#N/A</c:v>
                </c:pt>
                <c:pt idx="8664">
                  <c:v>#N/A</c:v>
                </c:pt>
                <c:pt idx="8665">
                  <c:v>#N/A</c:v>
                </c:pt>
                <c:pt idx="8666">
                  <c:v>#N/A</c:v>
                </c:pt>
                <c:pt idx="8667">
                  <c:v>#N/A</c:v>
                </c:pt>
                <c:pt idx="8668">
                  <c:v>#N/A</c:v>
                </c:pt>
                <c:pt idx="8669">
                  <c:v>#N/A</c:v>
                </c:pt>
                <c:pt idx="8670">
                  <c:v>#N/A</c:v>
                </c:pt>
                <c:pt idx="8671">
                  <c:v>#N/A</c:v>
                </c:pt>
                <c:pt idx="8672">
                  <c:v>#N/A</c:v>
                </c:pt>
                <c:pt idx="8673">
                  <c:v>#N/A</c:v>
                </c:pt>
                <c:pt idx="8674">
                  <c:v>#N/A</c:v>
                </c:pt>
                <c:pt idx="8675">
                  <c:v>#N/A</c:v>
                </c:pt>
                <c:pt idx="8676">
                  <c:v>#N/A</c:v>
                </c:pt>
                <c:pt idx="8677">
                  <c:v>#N/A</c:v>
                </c:pt>
                <c:pt idx="8678">
                  <c:v>#N/A</c:v>
                </c:pt>
                <c:pt idx="8679">
                  <c:v>#N/A</c:v>
                </c:pt>
                <c:pt idx="8680">
                  <c:v>#N/A</c:v>
                </c:pt>
                <c:pt idx="8681">
                  <c:v>#N/A</c:v>
                </c:pt>
                <c:pt idx="8682">
                  <c:v>#N/A</c:v>
                </c:pt>
                <c:pt idx="8683">
                  <c:v>#N/A</c:v>
                </c:pt>
                <c:pt idx="8684">
                  <c:v>#N/A</c:v>
                </c:pt>
                <c:pt idx="8685">
                  <c:v>#N/A</c:v>
                </c:pt>
                <c:pt idx="8686">
                  <c:v>#N/A</c:v>
                </c:pt>
                <c:pt idx="8687">
                  <c:v>#N/A</c:v>
                </c:pt>
                <c:pt idx="8688">
                  <c:v>#N/A</c:v>
                </c:pt>
                <c:pt idx="8689">
                  <c:v>#N/A</c:v>
                </c:pt>
                <c:pt idx="8690">
                  <c:v>#N/A</c:v>
                </c:pt>
                <c:pt idx="8691">
                  <c:v>#N/A</c:v>
                </c:pt>
                <c:pt idx="8692">
                  <c:v>#N/A</c:v>
                </c:pt>
                <c:pt idx="8693">
                  <c:v>#N/A</c:v>
                </c:pt>
                <c:pt idx="8694">
                  <c:v>#N/A</c:v>
                </c:pt>
                <c:pt idx="8695">
                  <c:v>#N/A</c:v>
                </c:pt>
                <c:pt idx="8696">
                  <c:v>#N/A</c:v>
                </c:pt>
                <c:pt idx="8697">
                  <c:v>#N/A</c:v>
                </c:pt>
                <c:pt idx="8698">
                  <c:v>#N/A</c:v>
                </c:pt>
                <c:pt idx="8699">
                  <c:v>#N/A</c:v>
                </c:pt>
                <c:pt idx="8700">
                  <c:v>#N/A</c:v>
                </c:pt>
                <c:pt idx="8701">
                  <c:v>#N/A</c:v>
                </c:pt>
                <c:pt idx="8702">
                  <c:v>#N/A</c:v>
                </c:pt>
                <c:pt idx="8703">
                  <c:v>#N/A</c:v>
                </c:pt>
                <c:pt idx="8704">
                  <c:v>#N/A</c:v>
                </c:pt>
                <c:pt idx="8705">
                  <c:v>#N/A</c:v>
                </c:pt>
                <c:pt idx="8706">
                  <c:v>#N/A</c:v>
                </c:pt>
                <c:pt idx="8707">
                  <c:v>#N/A</c:v>
                </c:pt>
                <c:pt idx="8708">
                  <c:v>#N/A</c:v>
                </c:pt>
                <c:pt idx="8709">
                  <c:v>#N/A</c:v>
                </c:pt>
                <c:pt idx="8710">
                  <c:v>#N/A</c:v>
                </c:pt>
                <c:pt idx="8711">
                  <c:v>#N/A</c:v>
                </c:pt>
                <c:pt idx="8712">
                  <c:v>#N/A</c:v>
                </c:pt>
                <c:pt idx="8713">
                  <c:v>#N/A</c:v>
                </c:pt>
                <c:pt idx="8714">
                  <c:v>#N/A</c:v>
                </c:pt>
                <c:pt idx="8715">
                  <c:v>#N/A</c:v>
                </c:pt>
                <c:pt idx="8716">
                  <c:v>#N/A</c:v>
                </c:pt>
                <c:pt idx="8717">
                  <c:v>#N/A</c:v>
                </c:pt>
                <c:pt idx="8718">
                  <c:v>#N/A</c:v>
                </c:pt>
                <c:pt idx="8719">
                  <c:v>#N/A</c:v>
                </c:pt>
                <c:pt idx="8720">
                  <c:v>#N/A</c:v>
                </c:pt>
                <c:pt idx="8721">
                  <c:v>#N/A</c:v>
                </c:pt>
                <c:pt idx="8722">
                  <c:v>#N/A</c:v>
                </c:pt>
                <c:pt idx="8723">
                  <c:v>#N/A</c:v>
                </c:pt>
                <c:pt idx="8724">
                  <c:v>#N/A</c:v>
                </c:pt>
                <c:pt idx="8725">
                  <c:v>#N/A</c:v>
                </c:pt>
                <c:pt idx="8726">
                  <c:v>#N/A</c:v>
                </c:pt>
                <c:pt idx="8727">
                  <c:v>#N/A</c:v>
                </c:pt>
                <c:pt idx="8728">
                  <c:v>#N/A</c:v>
                </c:pt>
                <c:pt idx="8729">
                  <c:v>#N/A</c:v>
                </c:pt>
                <c:pt idx="8730">
                  <c:v>#N/A</c:v>
                </c:pt>
                <c:pt idx="8731">
                  <c:v>#N/A</c:v>
                </c:pt>
                <c:pt idx="8732">
                  <c:v>#N/A</c:v>
                </c:pt>
                <c:pt idx="8733">
                  <c:v>#N/A</c:v>
                </c:pt>
                <c:pt idx="8734">
                  <c:v>#N/A</c:v>
                </c:pt>
                <c:pt idx="8735">
                  <c:v>#N/A</c:v>
                </c:pt>
                <c:pt idx="8736">
                  <c:v>#N/A</c:v>
                </c:pt>
                <c:pt idx="8737">
                  <c:v>#N/A</c:v>
                </c:pt>
                <c:pt idx="8738">
                  <c:v>#N/A</c:v>
                </c:pt>
                <c:pt idx="8739">
                  <c:v>#N/A</c:v>
                </c:pt>
                <c:pt idx="8740">
                  <c:v>#N/A</c:v>
                </c:pt>
                <c:pt idx="8741">
                  <c:v>#N/A</c:v>
                </c:pt>
                <c:pt idx="8742">
                  <c:v>#N/A</c:v>
                </c:pt>
                <c:pt idx="8743">
                  <c:v>#N/A</c:v>
                </c:pt>
                <c:pt idx="8744">
                  <c:v>#N/A</c:v>
                </c:pt>
                <c:pt idx="8745">
                  <c:v>#N/A</c:v>
                </c:pt>
                <c:pt idx="8746">
                  <c:v>#N/A</c:v>
                </c:pt>
                <c:pt idx="8747">
                  <c:v>#N/A</c:v>
                </c:pt>
                <c:pt idx="8748">
                  <c:v>#N/A</c:v>
                </c:pt>
                <c:pt idx="8749">
                  <c:v>#N/A</c:v>
                </c:pt>
                <c:pt idx="8750">
                  <c:v>#N/A</c:v>
                </c:pt>
                <c:pt idx="8751">
                  <c:v>#N/A</c:v>
                </c:pt>
                <c:pt idx="8752">
                  <c:v>#N/A</c:v>
                </c:pt>
                <c:pt idx="8753">
                  <c:v>#N/A</c:v>
                </c:pt>
                <c:pt idx="8754">
                  <c:v>#N/A</c:v>
                </c:pt>
                <c:pt idx="8755">
                  <c:v>#N/A</c:v>
                </c:pt>
                <c:pt idx="8756">
                  <c:v>#N/A</c:v>
                </c:pt>
                <c:pt idx="8757">
                  <c:v>#N/A</c:v>
                </c:pt>
                <c:pt idx="8758">
                  <c:v>#N/A</c:v>
                </c:pt>
                <c:pt idx="8759">
                  <c:v>#N/A</c:v>
                </c:pt>
                <c:pt idx="8760">
                  <c:v>#N/A</c:v>
                </c:pt>
                <c:pt idx="8761">
                  <c:v>#N/A</c:v>
                </c:pt>
                <c:pt idx="8762">
                  <c:v>#N/A</c:v>
                </c:pt>
                <c:pt idx="8763">
                  <c:v>#N/A</c:v>
                </c:pt>
                <c:pt idx="8764">
                  <c:v>#N/A</c:v>
                </c:pt>
                <c:pt idx="8765">
                  <c:v>#N/A</c:v>
                </c:pt>
                <c:pt idx="8766">
                  <c:v>#N/A</c:v>
                </c:pt>
                <c:pt idx="8767">
                  <c:v>#N/A</c:v>
                </c:pt>
                <c:pt idx="8768">
                  <c:v>#N/A</c:v>
                </c:pt>
                <c:pt idx="8769">
                  <c:v>#N/A</c:v>
                </c:pt>
                <c:pt idx="8770">
                  <c:v>#N/A</c:v>
                </c:pt>
                <c:pt idx="8771">
                  <c:v>#N/A</c:v>
                </c:pt>
                <c:pt idx="8772">
                  <c:v>#N/A</c:v>
                </c:pt>
                <c:pt idx="8773">
                  <c:v>#N/A</c:v>
                </c:pt>
                <c:pt idx="8774">
                  <c:v>#N/A</c:v>
                </c:pt>
                <c:pt idx="8775">
                  <c:v>#N/A</c:v>
                </c:pt>
                <c:pt idx="8776">
                  <c:v>#N/A</c:v>
                </c:pt>
                <c:pt idx="8777">
                  <c:v>#N/A</c:v>
                </c:pt>
                <c:pt idx="8778">
                  <c:v>#N/A</c:v>
                </c:pt>
                <c:pt idx="8779">
                  <c:v>#N/A</c:v>
                </c:pt>
                <c:pt idx="8780">
                  <c:v>#N/A</c:v>
                </c:pt>
                <c:pt idx="8781">
                  <c:v>#N/A</c:v>
                </c:pt>
                <c:pt idx="8782">
                  <c:v>#N/A</c:v>
                </c:pt>
                <c:pt idx="8783">
                  <c:v>#N/A</c:v>
                </c:pt>
                <c:pt idx="8784">
                  <c:v>#N/A</c:v>
                </c:pt>
                <c:pt idx="8785">
                  <c:v>#N/A</c:v>
                </c:pt>
                <c:pt idx="8786">
                  <c:v>#N/A</c:v>
                </c:pt>
                <c:pt idx="8787">
                  <c:v>#N/A</c:v>
                </c:pt>
                <c:pt idx="8788">
                  <c:v>#N/A</c:v>
                </c:pt>
                <c:pt idx="8789">
                  <c:v>#N/A</c:v>
                </c:pt>
                <c:pt idx="8790">
                  <c:v>#N/A</c:v>
                </c:pt>
                <c:pt idx="8791">
                  <c:v>#N/A</c:v>
                </c:pt>
                <c:pt idx="8792">
                  <c:v>#N/A</c:v>
                </c:pt>
                <c:pt idx="8793">
                  <c:v>#N/A</c:v>
                </c:pt>
                <c:pt idx="8794">
                  <c:v>#N/A</c:v>
                </c:pt>
                <c:pt idx="8795">
                  <c:v>#N/A</c:v>
                </c:pt>
                <c:pt idx="8796">
                  <c:v>#N/A</c:v>
                </c:pt>
                <c:pt idx="8797">
                  <c:v>#N/A</c:v>
                </c:pt>
                <c:pt idx="8798">
                  <c:v>#N/A</c:v>
                </c:pt>
                <c:pt idx="8799">
                  <c:v>#N/A</c:v>
                </c:pt>
                <c:pt idx="8800">
                  <c:v>#N/A</c:v>
                </c:pt>
                <c:pt idx="8801">
                  <c:v>#N/A</c:v>
                </c:pt>
                <c:pt idx="8802">
                  <c:v>#N/A</c:v>
                </c:pt>
                <c:pt idx="8803">
                  <c:v>#N/A</c:v>
                </c:pt>
                <c:pt idx="8804">
                  <c:v>#N/A</c:v>
                </c:pt>
                <c:pt idx="8805">
                  <c:v>#N/A</c:v>
                </c:pt>
                <c:pt idx="8806">
                  <c:v>#N/A</c:v>
                </c:pt>
                <c:pt idx="8807">
                  <c:v>#N/A</c:v>
                </c:pt>
                <c:pt idx="8808">
                  <c:v>#N/A</c:v>
                </c:pt>
                <c:pt idx="8809">
                  <c:v>#N/A</c:v>
                </c:pt>
                <c:pt idx="8810">
                  <c:v>#N/A</c:v>
                </c:pt>
                <c:pt idx="8811">
                  <c:v>#N/A</c:v>
                </c:pt>
                <c:pt idx="8812">
                  <c:v>#N/A</c:v>
                </c:pt>
                <c:pt idx="8813">
                  <c:v>#N/A</c:v>
                </c:pt>
                <c:pt idx="8814">
                  <c:v>#N/A</c:v>
                </c:pt>
                <c:pt idx="8815">
                  <c:v>#N/A</c:v>
                </c:pt>
                <c:pt idx="8816">
                  <c:v>#N/A</c:v>
                </c:pt>
                <c:pt idx="8817">
                  <c:v>#N/A</c:v>
                </c:pt>
                <c:pt idx="8818">
                  <c:v>#N/A</c:v>
                </c:pt>
                <c:pt idx="8819">
                  <c:v>#N/A</c:v>
                </c:pt>
                <c:pt idx="8820">
                  <c:v>#N/A</c:v>
                </c:pt>
                <c:pt idx="8821">
                  <c:v>#N/A</c:v>
                </c:pt>
                <c:pt idx="8822">
                  <c:v>#N/A</c:v>
                </c:pt>
                <c:pt idx="8823">
                  <c:v>#N/A</c:v>
                </c:pt>
                <c:pt idx="8824">
                  <c:v>#N/A</c:v>
                </c:pt>
                <c:pt idx="8825">
                  <c:v>#N/A</c:v>
                </c:pt>
                <c:pt idx="8826">
                  <c:v>#N/A</c:v>
                </c:pt>
                <c:pt idx="8827">
                  <c:v>#N/A</c:v>
                </c:pt>
                <c:pt idx="8828">
                  <c:v>#N/A</c:v>
                </c:pt>
                <c:pt idx="8829">
                  <c:v>#N/A</c:v>
                </c:pt>
                <c:pt idx="8830">
                  <c:v>#N/A</c:v>
                </c:pt>
                <c:pt idx="8831">
                  <c:v>#N/A</c:v>
                </c:pt>
                <c:pt idx="8832">
                  <c:v>#N/A</c:v>
                </c:pt>
                <c:pt idx="8833">
                  <c:v>#N/A</c:v>
                </c:pt>
                <c:pt idx="8834">
                  <c:v>#N/A</c:v>
                </c:pt>
                <c:pt idx="8835">
                  <c:v>#N/A</c:v>
                </c:pt>
                <c:pt idx="8836">
                  <c:v>#N/A</c:v>
                </c:pt>
                <c:pt idx="8837">
                  <c:v>#N/A</c:v>
                </c:pt>
                <c:pt idx="8838">
                  <c:v>#N/A</c:v>
                </c:pt>
                <c:pt idx="8839">
                  <c:v>#N/A</c:v>
                </c:pt>
                <c:pt idx="8840">
                  <c:v>#N/A</c:v>
                </c:pt>
                <c:pt idx="8841">
                  <c:v>#N/A</c:v>
                </c:pt>
                <c:pt idx="8842">
                  <c:v>#N/A</c:v>
                </c:pt>
                <c:pt idx="8843">
                  <c:v>#N/A</c:v>
                </c:pt>
                <c:pt idx="8844">
                  <c:v>#N/A</c:v>
                </c:pt>
                <c:pt idx="8845">
                  <c:v>#N/A</c:v>
                </c:pt>
                <c:pt idx="8846">
                  <c:v>#N/A</c:v>
                </c:pt>
                <c:pt idx="8847">
                  <c:v>#N/A</c:v>
                </c:pt>
                <c:pt idx="8848">
                  <c:v>#N/A</c:v>
                </c:pt>
                <c:pt idx="8849">
                  <c:v>#N/A</c:v>
                </c:pt>
                <c:pt idx="8850">
                  <c:v>#N/A</c:v>
                </c:pt>
                <c:pt idx="8851">
                  <c:v>#N/A</c:v>
                </c:pt>
                <c:pt idx="8852">
                  <c:v>#N/A</c:v>
                </c:pt>
                <c:pt idx="8853">
                  <c:v>#N/A</c:v>
                </c:pt>
                <c:pt idx="8854">
                  <c:v>#N/A</c:v>
                </c:pt>
                <c:pt idx="8855">
                  <c:v>#N/A</c:v>
                </c:pt>
                <c:pt idx="8856">
                  <c:v>#N/A</c:v>
                </c:pt>
                <c:pt idx="8857">
                  <c:v>#N/A</c:v>
                </c:pt>
                <c:pt idx="8858">
                  <c:v>#N/A</c:v>
                </c:pt>
                <c:pt idx="8859">
                  <c:v>#N/A</c:v>
                </c:pt>
                <c:pt idx="8860">
                  <c:v>#N/A</c:v>
                </c:pt>
                <c:pt idx="8861">
                  <c:v>#N/A</c:v>
                </c:pt>
                <c:pt idx="8862">
                  <c:v>#N/A</c:v>
                </c:pt>
                <c:pt idx="8863">
                  <c:v>#N/A</c:v>
                </c:pt>
                <c:pt idx="8864">
                  <c:v>#N/A</c:v>
                </c:pt>
                <c:pt idx="8865">
                  <c:v>#N/A</c:v>
                </c:pt>
                <c:pt idx="8866">
                  <c:v>#N/A</c:v>
                </c:pt>
                <c:pt idx="8867">
                  <c:v>#N/A</c:v>
                </c:pt>
                <c:pt idx="8868">
                  <c:v>#N/A</c:v>
                </c:pt>
                <c:pt idx="8869">
                  <c:v>#N/A</c:v>
                </c:pt>
                <c:pt idx="8870">
                  <c:v>#N/A</c:v>
                </c:pt>
                <c:pt idx="8871">
                  <c:v>#N/A</c:v>
                </c:pt>
                <c:pt idx="8872">
                  <c:v>#N/A</c:v>
                </c:pt>
                <c:pt idx="8873">
                  <c:v>#N/A</c:v>
                </c:pt>
                <c:pt idx="8874">
                  <c:v>#N/A</c:v>
                </c:pt>
                <c:pt idx="8875">
                  <c:v>#N/A</c:v>
                </c:pt>
                <c:pt idx="8876">
                  <c:v>#N/A</c:v>
                </c:pt>
                <c:pt idx="8877">
                  <c:v>#N/A</c:v>
                </c:pt>
                <c:pt idx="8878">
                  <c:v>#N/A</c:v>
                </c:pt>
                <c:pt idx="8879">
                  <c:v>#N/A</c:v>
                </c:pt>
                <c:pt idx="8880">
                  <c:v>#N/A</c:v>
                </c:pt>
                <c:pt idx="8881">
                  <c:v>#N/A</c:v>
                </c:pt>
                <c:pt idx="8882">
                  <c:v>#N/A</c:v>
                </c:pt>
                <c:pt idx="8883">
                  <c:v>#N/A</c:v>
                </c:pt>
                <c:pt idx="8884">
                  <c:v>#N/A</c:v>
                </c:pt>
                <c:pt idx="8885">
                  <c:v>#N/A</c:v>
                </c:pt>
                <c:pt idx="8886">
                  <c:v>#N/A</c:v>
                </c:pt>
                <c:pt idx="8887">
                  <c:v>#N/A</c:v>
                </c:pt>
                <c:pt idx="8888">
                  <c:v>#N/A</c:v>
                </c:pt>
                <c:pt idx="8889">
                  <c:v>#N/A</c:v>
                </c:pt>
                <c:pt idx="8890">
                  <c:v>#N/A</c:v>
                </c:pt>
                <c:pt idx="8891">
                  <c:v>#N/A</c:v>
                </c:pt>
                <c:pt idx="8892">
                  <c:v>#N/A</c:v>
                </c:pt>
                <c:pt idx="8893">
                  <c:v>#N/A</c:v>
                </c:pt>
                <c:pt idx="8894">
                  <c:v>#N/A</c:v>
                </c:pt>
                <c:pt idx="8895">
                  <c:v>#N/A</c:v>
                </c:pt>
                <c:pt idx="8896">
                  <c:v>#N/A</c:v>
                </c:pt>
                <c:pt idx="8897">
                  <c:v>#N/A</c:v>
                </c:pt>
                <c:pt idx="8898">
                  <c:v>#N/A</c:v>
                </c:pt>
                <c:pt idx="8899">
                  <c:v>#N/A</c:v>
                </c:pt>
                <c:pt idx="8900">
                  <c:v>#N/A</c:v>
                </c:pt>
                <c:pt idx="8901">
                  <c:v>#N/A</c:v>
                </c:pt>
                <c:pt idx="8902">
                  <c:v>#N/A</c:v>
                </c:pt>
                <c:pt idx="8903">
                  <c:v>#N/A</c:v>
                </c:pt>
                <c:pt idx="8904">
                  <c:v>#N/A</c:v>
                </c:pt>
                <c:pt idx="8905">
                  <c:v>#N/A</c:v>
                </c:pt>
                <c:pt idx="8906">
                  <c:v>#N/A</c:v>
                </c:pt>
                <c:pt idx="8907">
                  <c:v>#N/A</c:v>
                </c:pt>
                <c:pt idx="8908">
                  <c:v>#N/A</c:v>
                </c:pt>
                <c:pt idx="8909">
                  <c:v>#N/A</c:v>
                </c:pt>
                <c:pt idx="8910">
                  <c:v>#N/A</c:v>
                </c:pt>
                <c:pt idx="8911">
                  <c:v>#N/A</c:v>
                </c:pt>
                <c:pt idx="8912">
                  <c:v>#N/A</c:v>
                </c:pt>
                <c:pt idx="8913">
                  <c:v>#N/A</c:v>
                </c:pt>
                <c:pt idx="8914">
                  <c:v>#N/A</c:v>
                </c:pt>
                <c:pt idx="8915">
                  <c:v>#N/A</c:v>
                </c:pt>
                <c:pt idx="8916">
                  <c:v>#N/A</c:v>
                </c:pt>
                <c:pt idx="8917">
                  <c:v>#N/A</c:v>
                </c:pt>
                <c:pt idx="8918">
                  <c:v>3.43013698630137</c:v>
                </c:pt>
                <c:pt idx="8919">
                  <c:v>#N/A</c:v>
                </c:pt>
                <c:pt idx="8920">
                  <c:v>#N/A</c:v>
                </c:pt>
                <c:pt idx="8921">
                  <c:v>#N/A</c:v>
                </c:pt>
                <c:pt idx="8922">
                  <c:v>#N/A</c:v>
                </c:pt>
                <c:pt idx="8923">
                  <c:v>#N/A</c:v>
                </c:pt>
                <c:pt idx="8924">
                  <c:v>#N/A</c:v>
                </c:pt>
                <c:pt idx="8925">
                  <c:v>#N/A</c:v>
                </c:pt>
                <c:pt idx="8926">
                  <c:v>#N/A</c:v>
                </c:pt>
                <c:pt idx="8927">
                  <c:v>#N/A</c:v>
                </c:pt>
                <c:pt idx="8928">
                  <c:v>#N/A</c:v>
                </c:pt>
                <c:pt idx="8929">
                  <c:v>#N/A</c:v>
                </c:pt>
                <c:pt idx="8930">
                  <c:v>#N/A</c:v>
                </c:pt>
                <c:pt idx="8931">
                  <c:v>#N/A</c:v>
                </c:pt>
                <c:pt idx="8932">
                  <c:v>#N/A</c:v>
                </c:pt>
                <c:pt idx="8933">
                  <c:v>#N/A</c:v>
                </c:pt>
                <c:pt idx="8934">
                  <c:v>#N/A</c:v>
                </c:pt>
                <c:pt idx="8935">
                  <c:v>#N/A</c:v>
                </c:pt>
                <c:pt idx="8936">
                  <c:v>#N/A</c:v>
                </c:pt>
                <c:pt idx="8937">
                  <c:v>#N/A</c:v>
                </c:pt>
                <c:pt idx="8938">
                  <c:v>#N/A</c:v>
                </c:pt>
                <c:pt idx="8939">
                  <c:v>#N/A</c:v>
                </c:pt>
                <c:pt idx="8940">
                  <c:v>#N/A</c:v>
                </c:pt>
                <c:pt idx="8941">
                  <c:v>#N/A</c:v>
                </c:pt>
                <c:pt idx="8942">
                  <c:v>#N/A</c:v>
                </c:pt>
                <c:pt idx="8943">
                  <c:v>#N/A</c:v>
                </c:pt>
                <c:pt idx="8944">
                  <c:v>#N/A</c:v>
                </c:pt>
                <c:pt idx="8945">
                  <c:v>#N/A</c:v>
                </c:pt>
                <c:pt idx="8946">
                  <c:v>#N/A</c:v>
                </c:pt>
                <c:pt idx="8947">
                  <c:v>#N/A</c:v>
                </c:pt>
                <c:pt idx="8948">
                  <c:v>#N/A</c:v>
                </c:pt>
                <c:pt idx="8949">
                  <c:v>#N/A</c:v>
                </c:pt>
                <c:pt idx="8950">
                  <c:v>#N/A</c:v>
                </c:pt>
                <c:pt idx="8951">
                  <c:v>#N/A</c:v>
                </c:pt>
                <c:pt idx="8952">
                  <c:v>#N/A</c:v>
                </c:pt>
                <c:pt idx="8953">
                  <c:v>#N/A</c:v>
                </c:pt>
                <c:pt idx="8954">
                  <c:v>#N/A</c:v>
                </c:pt>
                <c:pt idx="8955">
                  <c:v>#N/A</c:v>
                </c:pt>
                <c:pt idx="8956">
                  <c:v>#N/A</c:v>
                </c:pt>
                <c:pt idx="8957">
                  <c:v>#N/A</c:v>
                </c:pt>
                <c:pt idx="8958">
                  <c:v>#N/A</c:v>
                </c:pt>
                <c:pt idx="8959">
                  <c:v>#N/A</c:v>
                </c:pt>
                <c:pt idx="8960">
                  <c:v>#N/A</c:v>
                </c:pt>
                <c:pt idx="8961">
                  <c:v>#N/A</c:v>
                </c:pt>
                <c:pt idx="8962">
                  <c:v>#N/A</c:v>
                </c:pt>
                <c:pt idx="8963">
                  <c:v>#N/A</c:v>
                </c:pt>
                <c:pt idx="8964">
                  <c:v>#N/A</c:v>
                </c:pt>
                <c:pt idx="8965">
                  <c:v>#N/A</c:v>
                </c:pt>
                <c:pt idx="8966">
                  <c:v>#N/A</c:v>
                </c:pt>
                <c:pt idx="8967">
                  <c:v>#N/A</c:v>
                </c:pt>
                <c:pt idx="8968">
                  <c:v>#N/A</c:v>
                </c:pt>
                <c:pt idx="8969">
                  <c:v>#N/A</c:v>
                </c:pt>
                <c:pt idx="8970">
                  <c:v>#N/A</c:v>
                </c:pt>
                <c:pt idx="8971">
                  <c:v>#N/A</c:v>
                </c:pt>
                <c:pt idx="8972">
                  <c:v>#N/A</c:v>
                </c:pt>
                <c:pt idx="8973">
                  <c:v>#N/A</c:v>
                </c:pt>
                <c:pt idx="8974">
                  <c:v>#N/A</c:v>
                </c:pt>
                <c:pt idx="8975">
                  <c:v>#N/A</c:v>
                </c:pt>
                <c:pt idx="8976">
                  <c:v>#N/A</c:v>
                </c:pt>
                <c:pt idx="8977">
                  <c:v>#N/A</c:v>
                </c:pt>
                <c:pt idx="8978">
                  <c:v>#N/A</c:v>
                </c:pt>
                <c:pt idx="8979">
                  <c:v>#N/A</c:v>
                </c:pt>
                <c:pt idx="8980">
                  <c:v>#N/A</c:v>
                </c:pt>
                <c:pt idx="8981">
                  <c:v>#N/A</c:v>
                </c:pt>
                <c:pt idx="8982">
                  <c:v>#N/A</c:v>
                </c:pt>
                <c:pt idx="8983">
                  <c:v>#N/A</c:v>
                </c:pt>
                <c:pt idx="8984">
                  <c:v>#N/A</c:v>
                </c:pt>
                <c:pt idx="8985">
                  <c:v>#N/A</c:v>
                </c:pt>
                <c:pt idx="8986">
                  <c:v>#N/A</c:v>
                </c:pt>
                <c:pt idx="8987">
                  <c:v>#N/A</c:v>
                </c:pt>
                <c:pt idx="8988">
                  <c:v>#N/A</c:v>
                </c:pt>
                <c:pt idx="8989">
                  <c:v>#N/A</c:v>
                </c:pt>
                <c:pt idx="8990">
                  <c:v>#N/A</c:v>
                </c:pt>
                <c:pt idx="8991">
                  <c:v>#N/A</c:v>
                </c:pt>
                <c:pt idx="8992">
                  <c:v>#N/A</c:v>
                </c:pt>
                <c:pt idx="8993">
                  <c:v>#N/A</c:v>
                </c:pt>
                <c:pt idx="8994">
                  <c:v>#N/A</c:v>
                </c:pt>
                <c:pt idx="8995">
                  <c:v>#N/A</c:v>
                </c:pt>
                <c:pt idx="8996">
                  <c:v>#N/A</c:v>
                </c:pt>
                <c:pt idx="8997">
                  <c:v>#N/A</c:v>
                </c:pt>
                <c:pt idx="8998">
                  <c:v>#N/A</c:v>
                </c:pt>
                <c:pt idx="8999">
                  <c:v>#N/A</c:v>
                </c:pt>
                <c:pt idx="9000">
                  <c:v>#N/A</c:v>
                </c:pt>
                <c:pt idx="9001">
                  <c:v>#N/A</c:v>
                </c:pt>
                <c:pt idx="9002">
                  <c:v>#N/A</c:v>
                </c:pt>
                <c:pt idx="9003">
                  <c:v>#N/A</c:v>
                </c:pt>
                <c:pt idx="9004">
                  <c:v>#N/A</c:v>
                </c:pt>
                <c:pt idx="9005">
                  <c:v>#N/A</c:v>
                </c:pt>
                <c:pt idx="9006">
                  <c:v>#N/A</c:v>
                </c:pt>
                <c:pt idx="9007">
                  <c:v>#N/A</c:v>
                </c:pt>
                <c:pt idx="9008">
                  <c:v>#N/A</c:v>
                </c:pt>
                <c:pt idx="9009">
                  <c:v>#N/A</c:v>
                </c:pt>
                <c:pt idx="9010">
                  <c:v>#N/A</c:v>
                </c:pt>
                <c:pt idx="9011">
                  <c:v>#N/A</c:v>
                </c:pt>
                <c:pt idx="9012">
                  <c:v>#N/A</c:v>
                </c:pt>
                <c:pt idx="9013">
                  <c:v>#N/A</c:v>
                </c:pt>
                <c:pt idx="9014">
                  <c:v>#N/A</c:v>
                </c:pt>
                <c:pt idx="9015">
                  <c:v>#N/A</c:v>
                </c:pt>
                <c:pt idx="9016">
                  <c:v>#N/A</c:v>
                </c:pt>
                <c:pt idx="9017">
                  <c:v>#N/A</c:v>
                </c:pt>
                <c:pt idx="9018">
                  <c:v>#N/A</c:v>
                </c:pt>
                <c:pt idx="9019">
                  <c:v>#N/A</c:v>
                </c:pt>
                <c:pt idx="9020">
                  <c:v>#N/A</c:v>
                </c:pt>
                <c:pt idx="9021">
                  <c:v>#N/A</c:v>
                </c:pt>
                <c:pt idx="9022">
                  <c:v>#N/A</c:v>
                </c:pt>
                <c:pt idx="9023">
                  <c:v>#N/A</c:v>
                </c:pt>
                <c:pt idx="9024">
                  <c:v>#N/A</c:v>
                </c:pt>
                <c:pt idx="9025">
                  <c:v>#N/A</c:v>
                </c:pt>
                <c:pt idx="9026">
                  <c:v>#N/A</c:v>
                </c:pt>
                <c:pt idx="9027">
                  <c:v>#N/A</c:v>
                </c:pt>
                <c:pt idx="9028">
                  <c:v>#N/A</c:v>
                </c:pt>
                <c:pt idx="9029">
                  <c:v>#N/A</c:v>
                </c:pt>
                <c:pt idx="9030">
                  <c:v>#N/A</c:v>
                </c:pt>
                <c:pt idx="9031">
                  <c:v>#N/A</c:v>
                </c:pt>
                <c:pt idx="9032">
                  <c:v>#N/A</c:v>
                </c:pt>
                <c:pt idx="9033">
                  <c:v>#N/A</c:v>
                </c:pt>
                <c:pt idx="9034">
                  <c:v>#N/A</c:v>
                </c:pt>
                <c:pt idx="9035">
                  <c:v>#N/A</c:v>
                </c:pt>
                <c:pt idx="9036">
                  <c:v>#N/A</c:v>
                </c:pt>
                <c:pt idx="9037">
                  <c:v>#N/A</c:v>
                </c:pt>
                <c:pt idx="9038">
                  <c:v>#N/A</c:v>
                </c:pt>
                <c:pt idx="9039">
                  <c:v>#N/A</c:v>
                </c:pt>
                <c:pt idx="9040">
                  <c:v>#N/A</c:v>
                </c:pt>
                <c:pt idx="9041">
                  <c:v>#N/A</c:v>
                </c:pt>
                <c:pt idx="9042">
                  <c:v>#N/A</c:v>
                </c:pt>
                <c:pt idx="9043">
                  <c:v>#N/A</c:v>
                </c:pt>
                <c:pt idx="9044">
                  <c:v>#N/A</c:v>
                </c:pt>
                <c:pt idx="9045">
                  <c:v>#N/A</c:v>
                </c:pt>
                <c:pt idx="9046">
                  <c:v>#N/A</c:v>
                </c:pt>
                <c:pt idx="9047">
                  <c:v>#N/A</c:v>
                </c:pt>
                <c:pt idx="9048">
                  <c:v>#N/A</c:v>
                </c:pt>
                <c:pt idx="9049">
                  <c:v>#N/A</c:v>
                </c:pt>
                <c:pt idx="9050">
                  <c:v>#N/A</c:v>
                </c:pt>
                <c:pt idx="9051">
                  <c:v>#N/A</c:v>
                </c:pt>
                <c:pt idx="9052">
                  <c:v>#N/A</c:v>
                </c:pt>
                <c:pt idx="9053">
                  <c:v>#N/A</c:v>
                </c:pt>
                <c:pt idx="9054">
                  <c:v>#N/A</c:v>
                </c:pt>
                <c:pt idx="9055">
                  <c:v>#N/A</c:v>
                </c:pt>
                <c:pt idx="9056">
                  <c:v>#N/A</c:v>
                </c:pt>
                <c:pt idx="9057">
                  <c:v>#N/A</c:v>
                </c:pt>
                <c:pt idx="9058">
                  <c:v>#N/A</c:v>
                </c:pt>
                <c:pt idx="9059">
                  <c:v>#N/A</c:v>
                </c:pt>
                <c:pt idx="9060">
                  <c:v>#N/A</c:v>
                </c:pt>
                <c:pt idx="9061">
                  <c:v>#N/A</c:v>
                </c:pt>
                <c:pt idx="9062">
                  <c:v>#N/A</c:v>
                </c:pt>
                <c:pt idx="9063">
                  <c:v>#N/A</c:v>
                </c:pt>
                <c:pt idx="9064">
                  <c:v>#N/A</c:v>
                </c:pt>
                <c:pt idx="9065">
                  <c:v>#N/A</c:v>
                </c:pt>
                <c:pt idx="9066">
                  <c:v>#N/A</c:v>
                </c:pt>
                <c:pt idx="9067">
                  <c:v>#N/A</c:v>
                </c:pt>
                <c:pt idx="9068">
                  <c:v>#N/A</c:v>
                </c:pt>
                <c:pt idx="9069">
                  <c:v>#N/A</c:v>
                </c:pt>
                <c:pt idx="9070">
                  <c:v>#N/A</c:v>
                </c:pt>
                <c:pt idx="9071">
                  <c:v>#N/A</c:v>
                </c:pt>
                <c:pt idx="9072">
                  <c:v>#N/A</c:v>
                </c:pt>
                <c:pt idx="9073">
                  <c:v>#N/A</c:v>
                </c:pt>
                <c:pt idx="9074">
                  <c:v>#N/A</c:v>
                </c:pt>
                <c:pt idx="9075">
                  <c:v>#N/A</c:v>
                </c:pt>
                <c:pt idx="9076">
                  <c:v>#N/A</c:v>
                </c:pt>
                <c:pt idx="9077">
                  <c:v>#N/A</c:v>
                </c:pt>
                <c:pt idx="9078">
                  <c:v>#N/A</c:v>
                </c:pt>
                <c:pt idx="9079">
                  <c:v>#N/A</c:v>
                </c:pt>
                <c:pt idx="9080">
                  <c:v>#N/A</c:v>
                </c:pt>
                <c:pt idx="9081">
                  <c:v>#N/A</c:v>
                </c:pt>
                <c:pt idx="9082">
                  <c:v>#N/A</c:v>
                </c:pt>
                <c:pt idx="9083">
                  <c:v>#N/A</c:v>
                </c:pt>
                <c:pt idx="9084">
                  <c:v>#N/A</c:v>
                </c:pt>
                <c:pt idx="9085">
                  <c:v>#N/A</c:v>
                </c:pt>
                <c:pt idx="9086">
                  <c:v>#N/A</c:v>
                </c:pt>
                <c:pt idx="9087">
                  <c:v>#N/A</c:v>
                </c:pt>
                <c:pt idx="9088">
                  <c:v>#N/A</c:v>
                </c:pt>
                <c:pt idx="9089">
                  <c:v>#N/A</c:v>
                </c:pt>
                <c:pt idx="9090">
                  <c:v>#N/A</c:v>
                </c:pt>
                <c:pt idx="9091">
                  <c:v>#N/A</c:v>
                </c:pt>
                <c:pt idx="9092">
                  <c:v>#N/A</c:v>
                </c:pt>
                <c:pt idx="9093">
                  <c:v>#N/A</c:v>
                </c:pt>
                <c:pt idx="9094">
                  <c:v>#N/A</c:v>
                </c:pt>
                <c:pt idx="9095">
                  <c:v>#N/A</c:v>
                </c:pt>
                <c:pt idx="9096">
                  <c:v>#N/A</c:v>
                </c:pt>
                <c:pt idx="9097">
                  <c:v>#N/A</c:v>
                </c:pt>
                <c:pt idx="9098">
                  <c:v>#N/A</c:v>
                </c:pt>
                <c:pt idx="9099">
                  <c:v>#N/A</c:v>
                </c:pt>
                <c:pt idx="9100">
                  <c:v>#N/A</c:v>
                </c:pt>
                <c:pt idx="9101">
                  <c:v>#N/A</c:v>
                </c:pt>
                <c:pt idx="9102">
                  <c:v>#N/A</c:v>
                </c:pt>
                <c:pt idx="9103">
                  <c:v>#N/A</c:v>
                </c:pt>
                <c:pt idx="9104">
                  <c:v>#N/A</c:v>
                </c:pt>
                <c:pt idx="9105">
                  <c:v>#N/A</c:v>
                </c:pt>
                <c:pt idx="9106">
                  <c:v>#N/A</c:v>
                </c:pt>
                <c:pt idx="9107">
                  <c:v>#N/A</c:v>
                </c:pt>
                <c:pt idx="9108">
                  <c:v>#N/A</c:v>
                </c:pt>
                <c:pt idx="9109">
                  <c:v>#N/A</c:v>
                </c:pt>
                <c:pt idx="9110">
                  <c:v>#N/A</c:v>
                </c:pt>
                <c:pt idx="9111">
                  <c:v>#N/A</c:v>
                </c:pt>
                <c:pt idx="9112">
                  <c:v>#N/A</c:v>
                </c:pt>
                <c:pt idx="9113">
                  <c:v>#N/A</c:v>
                </c:pt>
                <c:pt idx="9114">
                  <c:v>#N/A</c:v>
                </c:pt>
                <c:pt idx="9115">
                  <c:v>#N/A</c:v>
                </c:pt>
                <c:pt idx="9116">
                  <c:v>#N/A</c:v>
                </c:pt>
                <c:pt idx="9117">
                  <c:v>#N/A</c:v>
                </c:pt>
                <c:pt idx="9118">
                  <c:v>#N/A</c:v>
                </c:pt>
                <c:pt idx="9119">
                  <c:v>#N/A</c:v>
                </c:pt>
                <c:pt idx="9120">
                  <c:v>#N/A</c:v>
                </c:pt>
                <c:pt idx="9121">
                  <c:v>#N/A</c:v>
                </c:pt>
                <c:pt idx="9122">
                  <c:v>#N/A</c:v>
                </c:pt>
                <c:pt idx="9123">
                  <c:v>#N/A</c:v>
                </c:pt>
                <c:pt idx="9124">
                  <c:v>#N/A</c:v>
                </c:pt>
                <c:pt idx="9125">
                  <c:v>#N/A</c:v>
                </c:pt>
                <c:pt idx="9126">
                  <c:v>#N/A</c:v>
                </c:pt>
                <c:pt idx="9127">
                  <c:v>#N/A</c:v>
                </c:pt>
                <c:pt idx="9128">
                  <c:v>#N/A</c:v>
                </c:pt>
                <c:pt idx="9129">
                  <c:v>#N/A</c:v>
                </c:pt>
                <c:pt idx="9130">
                  <c:v>#N/A</c:v>
                </c:pt>
                <c:pt idx="9131">
                  <c:v>#N/A</c:v>
                </c:pt>
                <c:pt idx="9132">
                  <c:v>#N/A</c:v>
                </c:pt>
                <c:pt idx="9133">
                  <c:v>#N/A</c:v>
                </c:pt>
                <c:pt idx="9134">
                  <c:v>#N/A</c:v>
                </c:pt>
                <c:pt idx="9135">
                  <c:v>#N/A</c:v>
                </c:pt>
                <c:pt idx="9136">
                  <c:v>#N/A</c:v>
                </c:pt>
                <c:pt idx="9137">
                  <c:v>#N/A</c:v>
                </c:pt>
                <c:pt idx="9138">
                  <c:v>#N/A</c:v>
                </c:pt>
                <c:pt idx="9139">
                  <c:v>#N/A</c:v>
                </c:pt>
                <c:pt idx="9140">
                  <c:v>#N/A</c:v>
                </c:pt>
                <c:pt idx="9141">
                  <c:v>#N/A</c:v>
                </c:pt>
                <c:pt idx="9142">
                  <c:v>#N/A</c:v>
                </c:pt>
                <c:pt idx="9143">
                  <c:v>#N/A</c:v>
                </c:pt>
                <c:pt idx="9144">
                  <c:v>#N/A</c:v>
                </c:pt>
                <c:pt idx="9145">
                  <c:v>#N/A</c:v>
                </c:pt>
                <c:pt idx="9146">
                  <c:v>#N/A</c:v>
                </c:pt>
                <c:pt idx="9147">
                  <c:v>#N/A</c:v>
                </c:pt>
                <c:pt idx="9148">
                  <c:v>#N/A</c:v>
                </c:pt>
                <c:pt idx="9149">
                  <c:v>#N/A</c:v>
                </c:pt>
                <c:pt idx="9150">
                  <c:v>#N/A</c:v>
                </c:pt>
                <c:pt idx="9151">
                  <c:v>#N/A</c:v>
                </c:pt>
                <c:pt idx="9152">
                  <c:v>#N/A</c:v>
                </c:pt>
                <c:pt idx="9153">
                  <c:v>#N/A</c:v>
                </c:pt>
                <c:pt idx="9154">
                  <c:v>#N/A</c:v>
                </c:pt>
                <c:pt idx="9155">
                  <c:v>#N/A</c:v>
                </c:pt>
                <c:pt idx="9156">
                  <c:v>#N/A</c:v>
                </c:pt>
                <c:pt idx="9157">
                  <c:v>#N/A</c:v>
                </c:pt>
                <c:pt idx="9158">
                  <c:v>#N/A</c:v>
                </c:pt>
                <c:pt idx="9159">
                  <c:v>#N/A</c:v>
                </c:pt>
                <c:pt idx="9160">
                  <c:v>#N/A</c:v>
                </c:pt>
                <c:pt idx="9161">
                  <c:v>#N/A</c:v>
                </c:pt>
                <c:pt idx="9162">
                  <c:v>#N/A</c:v>
                </c:pt>
                <c:pt idx="9163">
                  <c:v>#N/A</c:v>
                </c:pt>
                <c:pt idx="9164">
                  <c:v>#N/A</c:v>
                </c:pt>
                <c:pt idx="9165">
                  <c:v>#N/A</c:v>
                </c:pt>
                <c:pt idx="9166">
                  <c:v>#N/A</c:v>
                </c:pt>
                <c:pt idx="9167">
                  <c:v>#N/A</c:v>
                </c:pt>
                <c:pt idx="9168">
                  <c:v>#N/A</c:v>
                </c:pt>
                <c:pt idx="9169">
                  <c:v>#N/A</c:v>
                </c:pt>
                <c:pt idx="9170">
                  <c:v>#N/A</c:v>
                </c:pt>
                <c:pt idx="9171">
                  <c:v>#N/A</c:v>
                </c:pt>
                <c:pt idx="9172">
                  <c:v>#N/A</c:v>
                </c:pt>
                <c:pt idx="9173">
                  <c:v>#N/A</c:v>
                </c:pt>
                <c:pt idx="9174">
                  <c:v>#N/A</c:v>
                </c:pt>
                <c:pt idx="9175">
                  <c:v>#N/A</c:v>
                </c:pt>
                <c:pt idx="9176">
                  <c:v>#N/A</c:v>
                </c:pt>
                <c:pt idx="9177">
                  <c:v>#N/A</c:v>
                </c:pt>
                <c:pt idx="9178">
                  <c:v>#N/A</c:v>
                </c:pt>
                <c:pt idx="9179">
                  <c:v>#N/A</c:v>
                </c:pt>
                <c:pt idx="9180">
                  <c:v>#N/A</c:v>
                </c:pt>
                <c:pt idx="9181">
                  <c:v>#N/A</c:v>
                </c:pt>
                <c:pt idx="9182">
                  <c:v>#N/A</c:v>
                </c:pt>
                <c:pt idx="9183">
                  <c:v>#N/A</c:v>
                </c:pt>
                <c:pt idx="9184">
                  <c:v>#N/A</c:v>
                </c:pt>
                <c:pt idx="9185">
                  <c:v>#N/A</c:v>
                </c:pt>
                <c:pt idx="9186">
                  <c:v>#N/A</c:v>
                </c:pt>
                <c:pt idx="9187">
                  <c:v>#N/A</c:v>
                </c:pt>
                <c:pt idx="9188">
                  <c:v>#N/A</c:v>
                </c:pt>
                <c:pt idx="9189">
                  <c:v>#N/A</c:v>
                </c:pt>
                <c:pt idx="9190">
                  <c:v>#N/A</c:v>
                </c:pt>
                <c:pt idx="9191">
                  <c:v>#N/A</c:v>
                </c:pt>
                <c:pt idx="9192">
                  <c:v>#N/A</c:v>
                </c:pt>
                <c:pt idx="9193">
                  <c:v>#N/A</c:v>
                </c:pt>
                <c:pt idx="9194">
                  <c:v>#N/A</c:v>
                </c:pt>
                <c:pt idx="9195">
                  <c:v>#N/A</c:v>
                </c:pt>
                <c:pt idx="9196">
                  <c:v>#N/A</c:v>
                </c:pt>
                <c:pt idx="9197">
                  <c:v>#N/A</c:v>
                </c:pt>
                <c:pt idx="9198">
                  <c:v>#N/A</c:v>
                </c:pt>
                <c:pt idx="9199">
                  <c:v>#N/A</c:v>
                </c:pt>
                <c:pt idx="9200">
                  <c:v>#N/A</c:v>
                </c:pt>
                <c:pt idx="9201">
                  <c:v>#N/A</c:v>
                </c:pt>
                <c:pt idx="9202">
                  <c:v>#N/A</c:v>
                </c:pt>
                <c:pt idx="9203">
                  <c:v>#N/A</c:v>
                </c:pt>
                <c:pt idx="9204">
                  <c:v>#N/A</c:v>
                </c:pt>
                <c:pt idx="9205">
                  <c:v>#N/A</c:v>
                </c:pt>
                <c:pt idx="9206">
                  <c:v>#N/A</c:v>
                </c:pt>
                <c:pt idx="9207">
                  <c:v>#N/A</c:v>
                </c:pt>
                <c:pt idx="9208">
                  <c:v>#N/A</c:v>
                </c:pt>
                <c:pt idx="9209">
                  <c:v>#N/A</c:v>
                </c:pt>
                <c:pt idx="9210">
                  <c:v>#N/A</c:v>
                </c:pt>
                <c:pt idx="9211">
                  <c:v>#N/A</c:v>
                </c:pt>
                <c:pt idx="9212">
                  <c:v>#N/A</c:v>
                </c:pt>
                <c:pt idx="9213">
                  <c:v>#N/A</c:v>
                </c:pt>
                <c:pt idx="9214">
                  <c:v>#N/A</c:v>
                </c:pt>
                <c:pt idx="9215">
                  <c:v>#N/A</c:v>
                </c:pt>
                <c:pt idx="9216">
                  <c:v>#N/A</c:v>
                </c:pt>
                <c:pt idx="9217">
                  <c:v>#N/A</c:v>
                </c:pt>
                <c:pt idx="9218">
                  <c:v>#N/A</c:v>
                </c:pt>
                <c:pt idx="9219">
                  <c:v>#N/A</c:v>
                </c:pt>
                <c:pt idx="9220">
                  <c:v>#N/A</c:v>
                </c:pt>
                <c:pt idx="9221">
                  <c:v>#N/A</c:v>
                </c:pt>
                <c:pt idx="9222">
                  <c:v>#N/A</c:v>
                </c:pt>
                <c:pt idx="9223">
                  <c:v>#N/A</c:v>
                </c:pt>
                <c:pt idx="9224">
                  <c:v>#N/A</c:v>
                </c:pt>
                <c:pt idx="9225">
                  <c:v>#N/A</c:v>
                </c:pt>
                <c:pt idx="9226">
                  <c:v>#N/A</c:v>
                </c:pt>
                <c:pt idx="9227">
                  <c:v>#N/A</c:v>
                </c:pt>
                <c:pt idx="9228">
                  <c:v>#N/A</c:v>
                </c:pt>
                <c:pt idx="9229">
                  <c:v>#N/A</c:v>
                </c:pt>
                <c:pt idx="9230">
                  <c:v>#N/A</c:v>
                </c:pt>
                <c:pt idx="9231">
                  <c:v>#N/A</c:v>
                </c:pt>
                <c:pt idx="9232">
                  <c:v>#N/A</c:v>
                </c:pt>
                <c:pt idx="9233">
                  <c:v>#N/A</c:v>
                </c:pt>
                <c:pt idx="9234">
                  <c:v>#N/A</c:v>
                </c:pt>
                <c:pt idx="9235">
                  <c:v>#N/A</c:v>
                </c:pt>
                <c:pt idx="9236">
                  <c:v>#N/A</c:v>
                </c:pt>
                <c:pt idx="9237">
                  <c:v>#N/A</c:v>
                </c:pt>
                <c:pt idx="9238">
                  <c:v>#N/A</c:v>
                </c:pt>
                <c:pt idx="9239">
                  <c:v>#N/A</c:v>
                </c:pt>
                <c:pt idx="9240">
                  <c:v>#N/A</c:v>
                </c:pt>
                <c:pt idx="9241">
                  <c:v>#N/A</c:v>
                </c:pt>
                <c:pt idx="9242">
                  <c:v>#N/A</c:v>
                </c:pt>
                <c:pt idx="9243">
                  <c:v>#N/A</c:v>
                </c:pt>
                <c:pt idx="9244">
                  <c:v>#N/A</c:v>
                </c:pt>
                <c:pt idx="9245">
                  <c:v>#N/A</c:v>
                </c:pt>
                <c:pt idx="9246">
                  <c:v>#N/A</c:v>
                </c:pt>
                <c:pt idx="9247">
                  <c:v>#N/A</c:v>
                </c:pt>
                <c:pt idx="9248">
                  <c:v>#N/A</c:v>
                </c:pt>
                <c:pt idx="9249">
                  <c:v>#N/A</c:v>
                </c:pt>
                <c:pt idx="9250">
                  <c:v>#N/A</c:v>
                </c:pt>
                <c:pt idx="9251">
                  <c:v>#N/A</c:v>
                </c:pt>
                <c:pt idx="9252">
                  <c:v>#N/A</c:v>
                </c:pt>
                <c:pt idx="9253">
                  <c:v>#N/A</c:v>
                </c:pt>
                <c:pt idx="9254">
                  <c:v>#N/A</c:v>
                </c:pt>
                <c:pt idx="9255">
                  <c:v>#N/A</c:v>
                </c:pt>
                <c:pt idx="9256">
                  <c:v>#N/A</c:v>
                </c:pt>
                <c:pt idx="9257">
                  <c:v>#N/A</c:v>
                </c:pt>
                <c:pt idx="9258">
                  <c:v>#N/A</c:v>
                </c:pt>
                <c:pt idx="9259">
                  <c:v>#N/A</c:v>
                </c:pt>
                <c:pt idx="9260">
                  <c:v>#N/A</c:v>
                </c:pt>
                <c:pt idx="9261">
                  <c:v>#N/A</c:v>
                </c:pt>
                <c:pt idx="9262">
                  <c:v>#N/A</c:v>
                </c:pt>
                <c:pt idx="9263">
                  <c:v>#N/A</c:v>
                </c:pt>
                <c:pt idx="9264">
                  <c:v>#N/A</c:v>
                </c:pt>
                <c:pt idx="9265">
                  <c:v>#N/A</c:v>
                </c:pt>
                <c:pt idx="9266">
                  <c:v>#N/A</c:v>
                </c:pt>
                <c:pt idx="9267">
                  <c:v>#N/A</c:v>
                </c:pt>
                <c:pt idx="9268">
                  <c:v>#N/A</c:v>
                </c:pt>
                <c:pt idx="9269">
                  <c:v>#N/A</c:v>
                </c:pt>
                <c:pt idx="9270">
                  <c:v>#N/A</c:v>
                </c:pt>
                <c:pt idx="9271">
                  <c:v>#N/A</c:v>
                </c:pt>
                <c:pt idx="9272">
                  <c:v>#N/A</c:v>
                </c:pt>
                <c:pt idx="9273">
                  <c:v>#N/A</c:v>
                </c:pt>
                <c:pt idx="9274">
                  <c:v>#N/A</c:v>
                </c:pt>
                <c:pt idx="9275">
                  <c:v>#N/A</c:v>
                </c:pt>
                <c:pt idx="9276">
                  <c:v>#N/A</c:v>
                </c:pt>
                <c:pt idx="9277">
                  <c:v>#N/A</c:v>
                </c:pt>
                <c:pt idx="9278">
                  <c:v>#N/A</c:v>
                </c:pt>
                <c:pt idx="9279">
                  <c:v>#N/A</c:v>
                </c:pt>
                <c:pt idx="9280">
                  <c:v>#N/A</c:v>
                </c:pt>
                <c:pt idx="9281">
                  <c:v>#N/A</c:v>
                </c:pt>
                <c:pt idx="9282">
                  <c:v>#N/A</c:v>
                </c:pt>
                <c:pt idx="9283">
                  <c:v>#N/A</c:v>
                </c:pt>
                <c:pt idx="9284">
                  <c:v>#N/A</c:v>
                </c:pt>
                <c:pt idx="9285">
                  <c:v>#N/A</c:v>
                </c:pt>
                <c:pt idx="9286">
                  <c:v>#N/A</c:v>
                </c:pt>
                <c:pt idx="9287">
                  <c:v>#N/A</c:v>
                </c:pt>
                <c:pt idx="9288">
                  <c:v>#N/A</c:v>
                </c:pt>
                <c:pt idx="9289">
                  <c:v>#N/A</c:v>
                </c:pt>
                <c:pt idx="9290">
                  <c:v>3.5095890410958903</c:v>
                </c:pt>
                <c:pt idx="9291">
                  <c:v>#N/A</c:v>
                </c:pt>
                <c:pt idx="9292">
                  <c:v>#N/A</c:v>
                </c:pt>
                <c:pt idx="9293">
                  <c:v>#N/A</c:v>
                </c:pt>
                <c:pt idx="9294">
                  <c:v>#N/A</c:v>
                </c:pt>
                <c:pt idx="9295">
                  <c:v>#N/A</c:v>
                </c:pt>
                <c:pt idx="9296">
                  <c:v>#N/A</c:v>
                </c:pt>
                <c:pt idx="9297">
                  <c:v>#N/A</c:v>
                </c:pt>
                <c:pt idx="9298">
                  <c:v>#N/A</c:v>
                </c:pt>
                <c:pt idx="9299">
                  <c:v>#N/A</c:v>
                </c:pt>
                <c:pt idx="9300">
                  <c:v>#N/A</c:v>
                </c:pt>
                <c:pt idx="9301">
                  <c:v>#N/A</c:v>
                </c:pt>
                <c:pt idx="9302">
                  <c:v>#N/A</c:v>
                </c:pt>
                <c:pt idx="9303">
                  <c:v>#N/A</c:v>
                </c:pt>
                <c:pt idx="9304">
                  <c:v>#N/A</c:v>
                </c:pt>
                <c:pt idx="9305">
                  <c:v>#N/A</c:v>
                </c:pt>
                <c:pt idx="9306">
                  <c:v>#N/A</c:v>
                </c:pt>
                <c:pt idx="9307">
                  <c:v>#N/A</c:v>
                </c:pt>
                <c:pt idx="9308">
                  <c:v>#N/A</c:v>
                </c:pt>
                <c:pt idx="9309">
                  <c:v>#N/A</c:v>
                </c:pt>
                <c:pt idx="9310">
                  <c:v>#N/A</c:v>
                </c:pt>
                <c:pt idx="9311">
                  <c:v>#N/A</c:v>
                </c:pt>
                <c:pt idx="9312">
                  <c:v>#N/A</c:v>
                </c:pt>
                <c:pt idx="9313">
                  <c:v>#N/A</c:v>
                </c:pt>
                <c:pt idx="9314">
                  <c:v>#N/A</c:v>
                </c:pt>
                <c:pt idx="9315">
                  <c:v>#N/A</c:v>
                </c:pt>
                <c:pt idx="9316">
                  <c:v>#N/A</c:v>
                </c:pt>
                <c:pt idx="9317">
                  <c:v>#N/A</c:v>
                </c:pt>
                <c:pt idx="9318">
                  <c:v>#N/A</c:v>
                </c:pt>
                <c:pt idx="9319">
                  <c:v>#N/A</c:v>
                </c:pt>
                <c:pt idx="9320">
                  <c:v>#N/A</c:v>
                </c:pt>
                <c:pt idx="9321">
                  <c:v>#N/A</c:v>
                </c:pt>
                <c:pt idx="9322">
                  <c:v>#N/A</c:v>
                </c:pt>
                <c:pt idx="9323">
                  <c:v>#N/A</c:v>
                </c:pt>
                <c:pt idx="9324">
                  <c:v>#N/A</c:v>
                </c:pt>
                <c:pt idx="9325">
                  <c:v>#N/A</c:v>
                </c:pt>
                <c:pt idx="9326">
                  <c:v>#N/A</c:v>
                </c:pt>
                <c:pt idx="9327">
                  <c:v>#N/A</c:v>
                </c:pt>
                <c:pt idx="9328">
                  <c:v>#N/A</c:v>
                </c:pt>
                <c:pt idx="9329">
                  <c:v>#N/A</c:v>
                </c:pt>
                <c:pt idx="9330">
                  <c:v>#N/A</c:v>
                </c:pt>
                <c:pt idx="9331">
                  <c:v>#N/A</c:v>
                </c:pt>
                <c:pt idx="9332">
                  <c:v>#N/A</c:v>
                </c:pt>
                <c:pt idx="9333">
                  <c:v>#N/A</c:v>
                </c:pt>
                <c:pt idx="9334">
                  <c:v>#N/A</c:v>
                </c:pt>
                <c:pt idx="9335">
                  <c:v>#N/A</c:v>
                </c:pt>
                <c:pt idx="9336">
                  <c:v>#N/A</c:v>
                </c:pt>
                <c:pt idx="9337">
                  <c:v>#N/A</c:v>
                </c:pt>
                <c:pt idx="9338">
                  <c:v>#N/A</c:v>
                </c:pt>
                <c:pt idx="9339">
                  <c:v>#N/A</c:v>
                </c:pt>
                <c:pt idx="9340">
                  <c:v>#N/A</c:v>
                </c:pt>
                <c:pt idx="9341">
                  <c:v>#N/A</c:v>
                </c:pt>
                <c:pt idx="9342">
                  <c:v>#N/A</c:v>
                </c:pt>
                <c:pt idx="9343">
                  <c:v>#N/A</c:v>
                </c:pt>
                <c:pt idx="9344">
                  <c:v>#N/A</c:v>
                </c:pt>
                <c:pt idx="9345">
                  <c:v>#N/A</c:v>
                </c:pt>
                <c:pt idx="9346">
                  <c:v>#N/A</c:v>
                </c:pt>
                <c:pt idx="9347">
                  <c:v>#N/A</c:v>
                </c:pt>
                <c:pt idx="9348">
                  <c:v>#N/A</c:v>
                </c:pt>
                <c:pt idx="9349">
                  <c:v>#N/A</c:v>
                </c:pt>
                <c:pt idx="9350">
                  <c:v>#N/A</c:v>
                </c:pt>
                <c:pt idx="9351">
                  <c:v>#N/A</c:v>
                </c:pt>
                <c:pt idx="9352">
                  <c:v>#N/A</c:v>
                </c:pt>
                <c:pt idx="9353">
                  <c:v>#N/A</c:v>
                </c:pt>
                <c:pt idx="9354">
                  <c:v>#N/A</c:v>
                </c:pt>
                <c:pt idx="9355">
                  <c:v>#N/A</c:v>
                </c:pt>
                <c:pt idx="9356">
                  <c:v>#N/A</c:v>
                </c:pt>
                <c:pt idx="9357">
                  <c:v>#N/A</c:v>
                </c:pt>
                <c:pt idx="9358">
                  <c:v>#N/A</c:v>
                </c:pt>
                <c:pt idx="9359">
                  <c:v>#N/A</c:v>
                </c:pt>
                <c:pt idx="9360">
                  <c:v>#N/A</c:v>
                </c:pt>
                <c:pt idx="9361">
                  <c:v>#N/A</c:v>
                </c:pt>
                <c:pt idx="9362">
                  <c:v>#N/A</c:v>
                </c:pt>
                <c:pt idx="9363">
                  <c:v>#N/A</c:v>
                </c:pt>
                <c:pt idx="9364">
                  <c:v>#N/A</c:v>
                </c:pt>
                <c:pt idx="9365">
                  <c:v>#N/A</c:v>
                </c:pt>
                <c:pt idx="9366">
                  <c:v>#N/A</c:v>
                </c:pt>
                <c:pt idx="9367">
                  <c:v>#N/A</c:v>
                </c:pt>
                <c:pt idx="9368">
                  <c:v>#N/A</c:v>
                </c:pt>
                <c:pt idx="9369">
                  <c:v>#N/A</c:v>
                </c:pt>
                <c:pt idx="9370">
                  <c:v>#N/A</c:v>
                </c:pt>
                <c:pt idx="9371">
                  <c:v>#N/A</c:v>
                </c:pt>
                <c:pt idx="9372">
                  <c:v>#N/A</c:v>
                </c:pt>
                <c:pt idx="9373">
                  <c:v>#N/A</c:v>
                </c:pt>
                <c:pt idx="9374">
                  <c:v>#N/A</c:v>
                </c:pt>
                <c:pt idx="9375">
                  <c:v>#N/A</c:v>
                </c:pt>
                <c:pt idx="9376">
                  <c:v>#N/A</c:v>
                </c:pt>
                <c:pt idx="9377">
                  <c:v>#N/A</c:v>
                </c:pt>
                <c:pt idx="9378">
                  <c:v>#N/A</c:v>
                </c:pt>
                <c:pt idx="9379">
                  <c:v>#N/A</c:v>
                </c:pt>
                <c:pt idx="9380">
                  <c:v>#N/A</c:v>
                </c:pt>
                <c:pt idx="9381">
                  <c:v>#N/A</c:v>
                </c:pt>
                <c:pt idx="9382">
                  <c:v>#N/A</c:v>
                </c:pt>
                <c:pt idx="9383">
                  <c:v>#N/A</c:v>
                </c:pt>
                <c:pt idx="9384">
                  <c:v>#N/A</c:v>
                </c:pt>
                <c:pt idx="9385">
                  <c:v>#N/A</c:v>
                </c:pt>
                <c:pt idx="9386">
                  <c:v>#N/A</c:v>
                </c:pt>
                <c:pt idx="9387">
                  <c:v>#N/A</c:v>
                </c:pt>
                <c:pt idx="9388">
                  <c:v>#N/A</c:v>
                </c:pt>
                <c:pt idx="9389">
                  <c:v>#N/A</c:v>
                </c:pt>
                <c:pt idx="9390">
                  <c:v>#N/A</c:v>
                </c:pt>
                <c:pt idx="9391">
                  <c:v>#N/A</c:v>
                </c:pt>
                <c:pt idx="9392">
                  <c:v>#N/A</c:v>
                </c:pt>
                <c:pt idx="9393">
                  <c:v>#N/A</c:v>
                </c:pt>
                <c:pt idx="9394">
                  <c:v>#N/A</c:v>
                </c:pt>
                <c:pt idx="9395">
                  <c:v>#N/A</c:v>
                </c:pt>
                <c:pt idx="9396">
                  <c:v>#N/A</c:v>
                </c:pt>
                <c:pt idx="9397">
                  <c:v>#N/A</c:v>
                </c:pt>
                <c:pt idx="9398">
                  <c:v>#N/A</c:v>
                </c:pt>
                <c:pt idx="9399">
                  <c:v>#N/A</c:v>
                </c:pt>
                <c:pt idx="9400">
                  <c:v>#N/A</c:v>
                </c:pt>
                <c:pt idx="9401">
                  <c:v>#N/A</c:v>
                </c:pt>
                <c:pt idx="9402">
                  <c:v>#N/A</c:v>
                </c:pt>
                <c:pt idx="9403">
                  <c:v>#N/A</c:v>
                </c:pt>
                <c:pt idx="9404">
                  <c:v>#N/A</c:v>
                </c:pt>
                <c:pt idx="9405">
                  <c:v>#N/A</c:v>
                </c:pt>
                <c:pt idx="9406">
                  <c:v>#N/A</c:v>
                </c:pt>
                <c:pt idx="9407">
                  <c:v>#N/A</c:v>
                </c:pt>
                <c:pt idx="9408">
                  <c:v>#N/A</c:v>
                </c:pt>
                <c:pt idx="9409">
                  <c:v>#N/A</c:v>
                </c:pt>
                <c:pt idx="9410">
                  <c:v>#N/A</c:v>
                </c:pt>
                <c:pt idx="9411">
                  <c:v>#N/A</c:v>
                </c:pt>
                <c:pt idx="9412">
                  <c:v>#N/A</c:v>
                </c:pt>
                <c:pt idx="9413">
                  <c:v>#N/A</c:v>
                </c:pt>
                <c:pt idx="9414">
                  <c:v>#N/A</c:v>
                </c:pt>
                <c:pt idx="9415">
                  <c:v>#N/A</c:v>
                </c:pt>
                <c:pt idx="9416">
                  <c:v>#N/A</c:v>
                </c:pt>
                <c:pt idx="9417">
                  <c:v>#N/A</c:v>
                </c:pt>
                <c:pt idx="9418">
                  <c:v>#N/A</c:v>
                </c:pt>
                <c:pt idx="9419">
                  <c:v>#N/A</c:v>
                </c:pt>
                <c:pt idx="9420">
                  <c:v>#N/A</c:v>
                </c:pt>
                <c:pt idx="9421">
                  <c:v>#N/A</c:v>
                </c:pt>
                <c:pt idx="9422">
                  <c:v>#N/A</c:v>
                </c:pt>
                <c:pt idx="9423">
                  <c:v>#N/A</c:v>
                </c:pt>
                <c:pt idx="9424">
                  <c:v>#N/A</c:v>
                </c:pt>
                <c:pt idx="9425">
                  <c:v>#N/A</c:v>
                </c:pt>
                <c:pt idx="9426">
                  <c:v>#N/A</c:v>
                </c:pt>
                <c:pt idx="9427">
                  <c:v>#N/A</c:v>
                </c:pt>
                <c:pt idx="9428">
                  <c:v>#N/A</c:v>
                </c:pt>
                <c:pt idx="9429">
                  <c:v>#N/A</c:v>
                </c:pt>
                <c:pt idx="9430">
                  <c:v>#N/A</c:v>
                </c:pt>
                <c:pt idx="9431">
                  <c:v>#N/A</c:v>
                </c:pt>
                <c:pt idx="9432">
                  <c:v>#N/A</c:v>
                </c:pt>
                <c:pt idx="9433">
                  <c:v>#N/A</c:v>
                </c:pt>
                <c:pt idx="9434">
                  <c:v>#N/A</c:v>
                </c:pt>
                <c:pt idx="9435">
                  <c:v>#N/A</c:v>
                </c:pt>
                <c:pt idx="9436">
                  <c:v>#N/A</c:v>
                </c:pt>
                <c:pt idx="9437">
                  <c:v>#N/A</c:v>
                </c:pt>
                <c:pt idx="9438">
                  <c:v>#N/A</c:v>
                </c:pt>
                <c:pt idx="9439">
                  <c:v>#N/A</c:v>
                </c:pt>
                <c:pt idx="9440">
                  <c:v>#N/A</c:v>
                </c:pt>
                <c:pt idx="9441">
                  <c:v>#N/A</c:v>
                </c:pt>
                <c:pt idx="9442">
                  <c:v>#N/A</c:v>
                </c:pt>
                <c:pt idx="9443">
                  <c:v>#N/A</c:v>
                </c:pt>
                <c:pt idx="9444">
                  <c:v>#N/A</c:v>
                </c:pt>
                <c:pt idx="9445">
                  <c:v>#N/A</c:v>
                </c:pt>
                <c:pt idx="9446">
                  <c:v>#N/A</c:v>
                </c:pt>
                <c:pt idx="9447">
                  <c:v>#N/A</c:v>
                </c:pt>
                <c:pt idx="9448">
                  <c:v>#N/A</c:v>
                </c:pt>
                <c:pt idx="9449">
                  <c:v>#N/A</c:v>
                </c:pt>
                <c:pt idx="9450">
                  <c:v>#N/A</c:v>
                </c:pt>
                <c:pt idx="9451">
                  <c:v>#N/A</c:v>
                </c:pt>
                <c:pt idx="9452">
                  <c:v>#N/A</c:v>
                </c:pt>
                <c:pt idx="9453">
                  <c:v>#N/A</c:v>
                </c:pt>
                <c:pt idx="9454">
                  <c:v>#N/A</c:v>
                </c:pt>
                <c:pt idx="9455">
                  <c:v>#N/A</c:v>
                </c:pt>
                <c:pt idx="9456">
                  <c:v>#N/A</c:v>
                </c:pt>
                <c:pt idx="9457">
                  <c:v>#N/A</c:v>
                </c:pt>
                <c:pt idx="9458">
                  <c:v>#N/A</c:v>
                </c:pt>
                <c:pt idx="9459">
                  <c:v>#N/A</c:v>
                </c:pt>
                <c:pt idx="9460">
                  <c:v>#N/A</c:v>
                </c:pt>
                <c:pt idx="9461">
                  <c:v>#N/A</c:v>
                </c:pt>
                <c:pt idx="9462">
                  <c:v>#N/A</c:v>
                </c:pt>
                <c:pt idx="9463">
                  <c:v>#N/A</c:v>
                </c:pt>
                <c:pt idx="9464">
                  <c:v>#N/A</c:v>
                </c:pt>
                <c:pt idx="9465">
                  <c:v>#N/A</c:v>
                </c:pt>
                <c:pt idx="9466">
                  <c:v>#N/A</c:v>
                </c:pt>
                <c:pt idx="9467">
                  <c:v>#N/A</c:v>
                </c:pt>
                <c:pt idx="9468">
                  <c:v>#N/A</c:v>
                </c:pt>
                <c:pt idx="9469">
                  <c:v>#N/A</c:v>
                </c:pt>
                <c:pt idx="9470">
                  <c:v>#N/A</c:v>
                </c:pt>
                <c:pt idx="9471">
                  <c:v>#N/A</c:v>
                </c:pt>
                <c:pt idx="9472">
                  <c:v>#N/A</c:v>
                </c:pt>
                <c:pt idx="9473">
                  <c:v>#N/A</c:v>
                </c:pt>
                <c:pt idx="9474">
                  <c:v>#N/A</c:v>
                </c:pt>
                <c:pt idx="9475">
                  <c:v>#N/A</c:v>
                </c:pt>
                <c:pt idx="9476">
                  <c:v>#N/A</c:v>
                </c:pt>
                <c:pt idx="9477">
                  <c:v>#N/A</c:v>
                </c:pt>
                <c:pt idx="9478">
                  <c:v>#N/A</c:v>
                </c:pt>
                <c:pt idx="9479">
                  <c:v>#N/A</c:v>
                </c:pt>
                <c:pt idx="9480">
                  <c:v>#N/A</c:v>
                </c:pt>
                <c:pt idx="9481">
                  <c:v>#N/A</c:v>
                </c:pt>
                <c:pt idx="9482">
                  <c:v>#N/A</c:v>
                </c:pt>
                <c:pt idx="9483">
                  <c:v>#N/A</c:v>
                </c:pt>
                <c:pt idx="9484">
                  <c:v>#N/A</c:v>
                </c:pt>
                <c:pt idx="9485">
                  <c:v>#N/A</c:v>
                </c:pt>
                <c:pt idx="9486">
                  <c:v>#N/A</c:v>
                </c:pt>
                <c:pt idx="9487">
                  <c:v>#N/A</c:v>
                </c:pt>
                <c:pt idx="9488">
                  <c:v>#N/A</c:v>
                </c:pt>
                <c:pt idx="9489">
                  <c:v>#N/A</c:v>
                </c:pt>
                <c:pt idx="9490">
                  <c:v>#N/A</c:v>
                </c:pt>
                <c:pt idx="9491">
                  <c:v>#N/A</c:v>
                </c:pt>
                <c:pt idx="9492">
                  <c:v>#N/A</c:v>
                </c:pt>
                <c:pt idx="9493">
                  <c:v>#N/A</c:v>
                </c:pt>
                <c:pt idx="9494">
                  <c:v>#N/A</c:v>
                </c:pt>
                <c:pt idx="9495">
                  <c:v>#N/A</c:v>
                </c:pt>
                <c:pt idx="9496">
                  <c:v>#N/A</c:v>
                </c:pt>
                <c:pt idx="9497">
                  <c:v>#N/A</c:v>
                </c:pt>
                <c:pt idx="9498">
                  <c:v>#N/A</c:v>
                </c:pt>
                <c:pt idx="9499">
                  <c:v>#N/A</c:v>
                </c:pt>
                <c:pt idx="9500">
                  <c:v>#N/A</c:v>
                </c:pt>
                <c:pt idx="9501">
                  <c:v>#N/A</c:v>
                </c:pt>
                <c:pt idx="9502">
                  <c:v>#N/A</c:v>
                </c:pt>
                <c:pt idx="9503">
                  <c:v>#N/A</c:v>
                </c:pt>
                <c:pt idx="9504">
                  <c:v>#N/A</c:v>
                </c:pt>
                <c:pt idx="9505">
                  <c:v>#N/A</c:v>
                </c:pt>
                <c:pt idx="9506">
                  <c:v>#N/A</c:v>
                </c:pt>
                <c:pt idx="9507">
                  <c:v>#N/A</c:v>
                </c:pt>
                <c:pt idx="9508">
                  <c:v>#N/A</c:v>
                </c:pt>
                <c:pt idx="9509">
                  <c:v>#N/A</c:v>
                </c:pt>
                <c:pt idx="9510">
                  <c:v>#N/A</c:v>
                </c:pt>
                <c:pt idx="9511">
                  <c:v>#N/A</c:v>
                </c:pt>
                <c:pt idx="9512">
                  <c:v>#N/A</c:v>
                </c:pt>
                <c:pt idx="9513">
                  <c:v>#N/A</c:v>
                </c:pt>
                <c:pt idx="9514">
                  <c:v>#N/A</c:v>
                </c:pt>
                <c:pt idx="9515">
                  <c:v>#N/A</c:v>
                </c:pt>
                <c:pt idx="9516">
                  <c:v>#N/A</c:v>
                </c:pt>
                <c:pt idx="9517">
                  <c:v>#N/A</c:v>
                </c:pt>
                <c:pt idx="9518">
                  <c:v>#N/A</c:v>
                </c:pt>
                <c:pt idx="9519">
                  <c:v>#N/A</c:v>
                </c:pt>
                <c:pt idx="9520">
                  <c:v>#N/A</c:v>
                </c:pt>
                <c:pt idx="9521">
                  <c:v>#N/A</c:v>
                </c:pt>
                <c:pt idx="9522">
                  <c:v>#N/A</c:v>
                </c:pt>
                <c:pt idx="9523">
                  <c:v>#N/A</c:v>
                </c:pt>
                <c:pt idx="9524">
                  <c:v>#N/A</c:v>
                </c:pt>
                <c:pt idx="9525">
                  <c:v>#N/A</c:v>
                </c:pt>
                <c:pt idx="9526">
                  <c:v>#N/A</c:v>
                </c:pt>
                <c:pt idx="9527">
                  <c:v>#N/A</c:v>
                </c:pt>
                <c:pt idx="9528">
                  <c:v>#N/A</c:v>
                </c:pt>
                <c:pt idx="9529">
                  <c:v>#N/A</c:v>
                </c:pt>
                <c:pt idx="9530">
                  <c:v>#N/A</c:v>
                </c:pt>
                <c:pt idx="9531">
                  <c:v>#N/A</c:v>
                </c:pt>
                <c:pt idx="9532">
                  <c:v>#N/A</c:v>
                </c:pt>
                <c:pt idx="9533">
                  <c:v>#N/A</c:v>
                </c:pt>
                <c:pt idx="9534">
                  <c:v>#N/A</c:v>
                </c:pt>
                <c:pt idx="9535">
                  <c:v>#N/A</c:v>
                </c:pt>
                <c:pt idx="9536">
                  <c:v>#N/A</c:v>
                </c:pt>
                <c:pt idx="9537">
                  <c:v>#N/A</c:v>
                </c:pt>
                <c:pt idx="9538">
                  <c:v>#N/A</c:v>
                </c:pt>
                <c:pt idx="9539">
                  <c:v>#N/A</c:v>
                </c:pt>
                <c:pt idx="9540">
                  <c:v>#N/A</c:v>
                </c:pt>
                <c:pt idx="9541">
                  <c:v>#N/A</c:v>
                </c:pt>
                <c:pt idx="9542">
                  <c:v>#N/A</c:v>
                </c:pt>
                <c:pt idx="9543">
                  <c:v>#N/A</c:v>
                </c:pt>
                <c:pt idx="9544">
                  <c:v>#N/A</c:v>
                </c:pt>
                <c:pt idx="9545">
                  <c:v>#N/A</c:v>
                </c:pt>
                <c:pt idx="9546">
                  <c:v>#N/A</c:v>
                </c:pt>
                <c:pt idx="9547">
                  <c:v>#N/A</c:v>
                </c:pt>
                <c:pt idx="9548">
                  <c:v>#N/A</c:v>
                </c:pt>
                <c:pt idx="9549">
                  <c:v>#N/A</c:v>
                </c:pt>
                <c:pt idx="9550">
                  <c:v>#N/A</c:v>
                </c:pt>
                <c:pt idx="9551">
                  <c:v>#N/A</c:v>
                </c:pt>
                <c:pt idx="9552">
                  <c:v>#N/A</c:v>
                </c:pt>
                <c:pt idx="9553">
                  <c:v>#N/A</c:v>
                </c:pt>
                <c:pt idx="9554">
                  <c:v>#N/A</c:v>
                </c:pt>
                <c:pt idx="9555">
                  <c:v>#N/A</c:v>
                </c:pt>
                <c:pt idx="9556">
                  <c:v>#N/A</c:v>
                </c:pt>
                <c:pt idx="9557">
                  <c:v>#N/A</c:v>
                </c:pt>
                <c:pt idx="9558">
                  <c:v>#N/A</c:v>
                </c:pt>
                <c:pt idx="9559">
                  <c:v>#N/A</c:v>
                </c:pt>
                <c:pt idx="9560">
                  <c:v>#N/A</c:v>
                </c:pt>
                <c:pt idx="9561">
                  <c:v>#N/A</c:v>
                </c:pt>
                <c:pt idx="9562">
                  <c:v>#N/A</c:v>
                </c:pt>
                <c:pt idx="9563">
                  <c:v>#N/A</c:v>
                </c:pt>
                <c:pt idx="9564">
                  <c:v>#N/A</c:v>
                </c:pt>
                <c:pt idx="9565">
                  <c:v>#N/A</c:v>
                </c:pt>
                <c:pt idx="9566">
                  <c:v>#N/A</c:v>
                </c:pt>
                <c:pt idx="9567">
                  <c:v>#N/A</c:v>
                </c:pt>
                <c:pt idx="9568">
                  <c:v>#N/A</c:v>
                </c:pt>
                <c:pt idx="9569">
                  <c:v>#N/A</c:v>
                </c:pt>
                <c:pt idx="9570">
                  <c:v>#N/A</c:v>
                </c:pt>
                <c:pt idx="9571">
                  <c:v>#N/A</c:v>
                </c:pt>
                <c:pt idx="9572">
                  <c:v>#N/A</c:v>
                </c:pt>
                <c:pt idx="9573">
                  <c:v>#N/A</c:v>
                </c:pt>
                <c:pt idx="9574">
                  <c:v>#N/A</c:v>
                </c:pt>
                <c:pt idx="9575">
                  <c:v>#N/A</c:v>
                </c:pt>
                <c:pt idx="9576">
                  <c:v>#N/A</c:v>
                </c:pt>
                <c:pt idx="9577">
                  <c:v>#N/A</c:v>
                </c:pt>
                <c:pt idx="9578">
                  <c:v>#N/A</c:v>
                </c:pt>
                <c:pt idx="9579">
                  <c:v>#N/A</c:v>
                </c:pt>
                <c:pt idx="9580">
                  <c:v>#N/A</c:v>
                </c:pt>
                <c:pt idx="9581">
                  <c:v>#N/A</c:v>
                </c:pt>
                <c:pt idx="9582">
                  <c:v>#N/A</c:v>
                </c:pt>
                <c:pt idx="9583">
                  <c:v>#N/A</c:v>
                </c:pt>
                <c:pt idx="9584">
                  <c:v>#N/A</c:v>
                </c:pt>
                <c:pt idx="9585">
                  <c:v>#N/A</c:v>
                </c:pt>
                <c:pt idx="9586">
                  <c:v>#N/A</c:v>
                </c:pt>
                <c:pt idx="9587">
                  <c:v>#N/A</c:v>
                </c:pt>
                <c:pt idx="9588">
                  <c:v>#N/A</c:v>
                </c:pt>
                <c:pt idx="9589">
                  <c:v>#N/A</c:v>
                </c:pt>
                <c:pt idx="9590">
                  <c:v>#N/A</c:v>
                </c:pt>
                <c:pt idx="9591">
                  <c:v>#N/A</c:v>
                </c:pt>
                <c:pt idx="9592">
                  <c:v>#N/A</c:v>
                </c:pt>
                <c:pt idx="9593">
                  <c:v>#N/A</c:v>
                </c:pt>
                <c:pt idx="9594">
                  <c:v>#N/A</c:v>
                </c:pt>
                <c:pt idx="9595">
                  <c:v>#N/A</c:v>
                </c:pt>
                <c:pt idx="9596">
                  <c:v>#N/A</c:v>
                </c:pt>
                <c:pt idx="9597">
                  <c:v>#N/A</c:v>
                </c:pt>
                <c:pt idx="9598">
                  <c:v>#N/A</c:v>
                </c:pt>
                <c:pt idx="9599">
                  <c:v>#N/A</c:v>
                </c:pt>
                <c:pt idx="9600">
                  <c:v>#N/A</c:v>
                </c:pt>
                <c:pt idx="9601">
                  <c:v>#N/A</c:v>
                </c:pt>
                <c:pt idx="9602">
                  <c:v>#N/A</c:v>
                </c:pt>
                <c:pt idx="9603">
                  <c:v>#N/A</c:v>
                </c:pt>
                <c:pt idx="9604">
                  <c:v>#N/A</c:v>
                </c:pt>
                <c:pt idx="9605">
                  <c:v>#N/A</c:v>
                </c:pt>
                <c:pt idx="9606">
                  <c:v>#N/A</c:v>
                </c:pt>
                <c:pt idx="9607">
                  <c:v>#N/A</c:v>
                </c:pt>
                <c:pt idx="9608">
                  <c:v>#N/A</c:v>
                </c:pt>
                <c:pt idx="9609">
                  <c:v>#N/A</c:v>
                </c:pt>
                <c:pt idx="9610">
                  <c:v>#N/A</c:v>
                </c:pt>
                <c:pt idx="9611">
                  <c:v>#N/A</c:v>
                </c:pt>
                <c:pt idx="9612">
                  <c:v>#N/A</c:v>
                </c:pt>
                <c:pt idx="9613">
                  <c:v>#N/A</c:v>
                </c:pt>
                <c:pt idx="9614">
                  <c:v>#N/A</c:v>
                </c:pt>
                <c:pt idx="9615">
                  <c:v>#N/A</c:v>
                </c:pt>
                <c:pt idx="9616">
                  <c:v>#N/A</c:v>
                </c:pt>
                <c:pt idx="9617">
                  <c:v>#N/A</c:v>
                </c:pt>
                <c:pt idx="9618">
                  <c:v>#N/A</c:v>
                </c:pt>
                <c:pt idx="9619">
                  <c:v>#N/A</c:v>
                </c:pt>
                <c:pt idx="9620">
                  <c:v>#N/A</c:v>
                </c:pt>
                <c:pt idx="9621">
                  <c:v>#N/A</c:v>
                </c:pt>
                <c:pt idx="9622">
                  <c:v>#N/A</c:v>
                </c:pt>
                <c:pt idx="9623">
                  <c:v>#N/A</c:v>
                </c:pt>
                <c:pt idx="9624">
                  <c:v>#N/A</c:v>
                </c:pt>
                <c:pt idx="9625">
                  <c:v>#N/A</c:v>
                </c:pt>
                <c:pt idx="9626">
                  <c:v>#N/A</c:v>
                </c:pt>
                <c:pt idx="9627">
                  <c:v>#N/A</c:v>
                </c:pt>
                <c:pt idx="9628">
                  <c:v>#N/A</c:v>
                </c:pt>
                <c:pt idx="9629">
                  <c:v>#N/A</c:v>
                </c:pt>
                <c:pt idx="9630">
                  <c:v>#N/A</c:v>
                </c:pt>
                <c:pt idx="9631">
                  <c:v>#N/A</c:v>
                </c:pt>
                <c:pt idx="9632">
                  <c:v>#N/A</c:v>
                </c:pt>
                <c:pt idx="9633">
                  <c:v>#N/A</c:v>
                </c:pt>
                <c:pt idx="9634">
                  <c:v>#N/A</c:v>
                </c:pt>
                <c:pt idx="9635">
                  <c:v>#N/A</c:v>
                </c:pt>
                <c:pt idx="9636">
                  <c:v>#N/A</c:v>
                </c:pt>
                <c:pt idx="9637">
                  <c:v>#N/A</c:v>
                </c:pt>
                <c:pt idx="9638">
                  <c:v>#N/A</c:v>
                </c:pt>
                <c:pt idx="9639">
                  <c:v>#N/A</c:v>
                </c:pt>
                <c:pt idx="9640">
                  <c:v>#N/A</c:v>
                </c:pt>
                <c:pt idx="9641">
                  <c:v>#N/A</c:v>
                </c:pt>
                <c:pt idx="9642">
                  <c:v>#N/A</c:v>
                </c:pt>
                <c:pt idx="9643">
                  <c:v>#N/A</c:v>
                </c:pt>
                <c:pt idx="9644">
                  <c:v>#N/A</c:v>
                </c:pt>
                <c:pt idx="9645">
                  <c:v>#N/A</c:v>
                </c:pt>
                <c:pt idx="9646">
                  <c:v>#N/A</c:v>
                </c:pt>
                <c:pt idx="9647">
                  <c:v>#N/A</c:v>
                </c:pt>
                <c:pt idx="9648">
                  <c:v>#N/A</c:v>
                </c:pt>
                <c:pt idx="9649">
                  <c:v>#N/A</c:v>
                </c:pt>
                <c:pt idx="9650">
                  <c:v>#N/A</c:v>
                </c:pt>
                <c:pt idx="9651">
                  <c:v>#N/A</c:v>
                </c:pt>
                <c:pt idx="9652">
                  <c:v>#N/A</c:v>
                </c:pt>
                <c:pt idx="9653">
                  <c:v>#N/A</c:v>
                </c:pt>
                <c:pt idx="9654">
                  <c:v>#N/A</c:v>
                </c:pt>
                <c:pt idx="9655">
                  <c:v>#N/A</c:v>
                </c:pt>
                <c:pt idx="9656">
                  <c:v>#N/A</c:v>
                </c:pt>
                <c:pt idx="9657">
                  <c:v>#N/A</c:v>
                </c:pt>
                <c:pt idx="9658">
                  <c:v>#N/A</c:v>
                </c:pt>
                <c:pt idx="9659">
                  <c:v>#N/A</c:v>
                </c:pt>
                <c:pt idx="9660">
                  <c:v>#N/A</c:v>
                </c:pt>
                <c:pt idx="9661">
                  <c:v>#N/A</c:v>
                </c:pt>
                <c:pt idx="9662">
                  <c:v>#N/A</c:v>
                </c:pt>
                <c:pt idx="9663">
                  <c:v>#N/A</c:v>
                </c:pt>
                <c:pt idx="9664">
                  <c:v>#N/A</c:v>
                </c:pt>
                <c:pt idx="9665">
                  <c:v>#N/A</c:v>
                </c:pt>
                <c:pt idx="9666">
                  <c:v>#N/A</c:v>
                </c:pt>
                <c:pt idx="9667">
                  <c:v>#N/A</c:v>
                </c:pt>
                <c:pt idx="9668">
                  <c:v>#N/A</c:v>
                </c:pt>
                <c:pt idx="9669">
                  <c:v>#N/A</c:v>
                </c:pt>
                <c:pt idx="9670">
                  <c:v>#N/A</c:v>
                </c:pt>
                <c:pt idx="9671">
                  <c:v>#N/A</c:v>
                </c:pt>
                <c:pt idx="9672">
                  <c:v>#N/A</c:v>
                </c:pt>
                <c:pt idx="9673">
                  <c:v>#N/A</c:v>
                </c:pt>
                <c:pt idx="9674">
                  <c:v>#N/A</c:v>
                </c:pt>
                <c:pt idx="9675">
                  <c:v>#N/A</c:v>
                </c:pt>
                <c:pt idx="9676">
                  <c:v>#N/A</c:v>
                </c:pt>
                <c:pt idx="9677">
                  <c:v>#N/A</c:v>
                </c:pt>
                <c:pt idx="9678">
                  <c:v>#N/A</c:v>
                </c:pt>
                <c:pt idx="9679">
                  <c:v>#N/A</c:v>
                </c:pt>
                <c:pt idx="9680">
                  <c:v>#N/A</c:v>
                </c:pt>
                <c:pt idx="9681">
                  <c:v>#N/A</c:v>
                </c:pt>
                <c:pt idx="9682">
                  <c:v>#N/A</c:v>
                </c:pt>
                <c:pt idx="9683">
                  <c:v>#N/A</c:v>
                </c:pt>
                <c:pt idx="9684">
                  <c:v>#N/A</c:v>
                </c:pt>
                <c:pt idx="9685">
                  <c:v>#N/A</c:v>
                </c:pt>
                <c:pt idx="9686">
                  <c:v>#N/A</c:v>
                </c:pt>
                <c:pt idx="9687">
                  <c:v>#N/A</c:v>
                </c:pt>
                <c:pt idx="9688">
                  <c:v>#N/A</c:v>
                </c:pt>
                <c:pt idx="9689">
                  <c:v>#N/A</c:v>
                </c:pt>
                <c:pt idx="9690">
                  <c:v>#N/A</c:v>
                </c:pt>
                <c:pt idx="9691">
                  <c:v>#N/A</c:v>
                </c:pt>
                <c:pt idx="9692">
                  <c:v>#N/A</c:v>
                </c:pt>
                <c:pt idx="9693">
                  <c:v>#N/A</c:v>
                </c:pt>
                <c:pt idx="9694">
                  <c:v>#N/A</c:v>
                </c:pt>
                <c:pt idx="9695">
                  <c:v>#N/A</c:v>
                </c:pt>
                <c:pt idx="9696">
                  <c:v>#N/A</c:v>
                </c:pt>
                <c:pt idx="9697">
                  <c:v>#N/A</c:v>
                </c:pt>
                <c:pt idx="9698">
                  <c:v>#N/A</c:v>
                </c:pt>
                <c:pt idx="9699">
                  <c:v>#N/A</c:v>
                </c:pt>
                <c:pt idx="9700">
                  <c:v>#N/A</c:v>
                </c:pt>
                <c:pt idx="9701">
                  <c:v>#N/A</c:v>
                </c:pt>
                <c:pt idx="9702">
                  <c:v>#N/A</c:v>
                </c:pt>
                <c:pt idx="9703">
                  <c:v>#N/A</c:v>
                </c:pt>
                <c:pt idx="9704">
                  <c:v>#N/A</c:v>
                </c:pt>
                <c:pt idx="9705">
                  <c:v>#N/A</c:v>
                </c:pt>
                <c:pt idx="9706">
                  <c:v>#N/A</c:v>
                </c:pt>
                <c:pt idx="9707">
                  <c:v>#N/A</c:v>
                </c:pt>
                <c:pt idx="9708">
                  <c:v>#N/A</c:v>
                </c:pt>
                <c:pt idx="9709">
                  <c:v>#N/A</c:v>
                </c:pt>
                <c:pt idx="9710">
                  <c:v>#N/A</c:v>
                </c:pt>
                <c:pt idx="9711">
                  <c:v>#N/A</c:v>
                </c:pt>
                <c:pt idx="9712">
                  <c:v>#N/A</c:v>
                </c:pt>
                <c:pt idx="9713">
                  <c:v>#N/A</c:v>
                </c:pt>
                <c:pt idx="9714">
                  <c:v>#N/A</c:v>
                </c:pt>
                <c:pt idx="9715">
                  <c:v>#N/A</c:v>
                </c:pt>
                <c:pt idx="9716">
                  <c:v>3.5534246575342467</c:v>
                </c:pt>
                <c:pt idx="9717">
                  <c:v>#N/A</c:v>
                </c:pt>
                <c:pt idx="9718">
                  <c:v>#N/A</c:v>
                </c:pt>
                <c:pt idx="9719">
                  <c:v>3.5534246575342467</c:v>
                </c:pt>
                <c:pt idx="9720">
                  <c:v>#N/A</c:v>
                </c:pt>
                <c:pt idx="9721">
                  <c:v>3.5534246575342467</c:v>
                </c:pt>
                <c:pt idx="9722">
                  <c:v>#N/A</c:v>
                </c:pt>
                <c:pt idx="9723">
                  <c:v>#N/A</c:v>
                </c:pt>
                <c:pt idx="9724">
                  <c:v>#N/A</c:v>
                </c:pt>
                <c:pt idx="9725">
                  <c:v>#N/A</c:v>
                </c:pt>
                <c:pt idx="9726">
                  <c:v>#N/A</c:v>
                </c:pt>
                <c:pt idx="9727">
                  <c:v>#N/A</c:v>
                </c:pt>
                <c:pt idx="9728">
                  <c:v>#N/A</c:v>
                </c:pt>
                <c:pt idx="9729">
                  <c:v>#N/A</c:v>
                </c:pt>
                <c:pt idx="9730">
                  <c:v>#N/A</c:v>
                </c:pt>
                <c:pt idx="9731">
                  <c:v>#N/A</c:v>
                </c:pt>
                <c:pt idx="9732">
                  <c:v>#N/A</c:v>
                </c:pt>
                <c:pt idx="9733">
                  <c:v>#N/A</c:v>
                </c:pt>
                <c:pt idx="9734">
                  <c:v>#N/A</c:v>
                </c:pt>
                <c:pt idx="9735">
                  <c:v>#N/A</c:v>
                </c:pt>
                <c:pt idx="9736">
                  <c:v>#N/A</c:v>
                </c:pt>
                <c:pt idx="9737">
                  <c:v>#N/A</c:v>
                </c:pt>
                <c:pt idx="9738">
                  <c:v>#N/A</c:v>
                </c:pt>
                <c:pt idx="9739">
                  <c:v>#N/A</c:v>
                </c:pt>
                <c:pt idx="9740">
                  <c:v>#N/A</c:v>
                </c:pt>
                <c:pt idx="9741">
                  <c:v>#N/A</c:v>
                </c:pt>
                <c:pt idx="9742">
                  <c:v>#N/A</c:v>
                </c:pt>
                <c:pt idx="9743">
                  <c:v>#N/A</c:v>
                </c:pt>
                <c:pt idx="9744">
                  <c:v>#N/A</c:v>
                </c:pt>
                <c:pt idx="9745">
                  <c:v>#N/A</c:v>
                </c:pt>
                <c:pt idx="9746">
                  <c:v>#N/A</c:v>
                </c:pt>
                <c:pt idx="9747">
                  <c:v>#N/A</c:v>
                </c:pt>
                <c:pt idx="9748">
                  <c:v>#N/A</c:v>
                </c:pt>
                <c:pt idx="9749">
                  <c:v>#N/A</c:v>
                </c:pt>
                <c:pt idx="9750">
                  <c:v>#N/A</c:v>
                </c:pt>
                <c:pt idx="9751">
                  <c:v>#N/A</c:v>
                </c:pt>
                <c:pt idx="9752">
                  <c:v>#N/A</c:v>
                </c:pt>
                <c:pt idx="9753">
                  <c:v>#N/A</c:v>
                </c:pt>
                <c:pt idx="9754">
                  <c:v>#N/A</c:v>
                </c:pt>
                <c:pt idx="9755">
                  <c:v>#N/A</c:v>
                </c:pt>
                <c:pt idx="9756">
                  <c:v>#N/A</c:v>
                </c:pt>
                <c:pt idx="9757">
                  <c:v>#N/A</c:v>
                </c:pt>
                <c:pt idx="9758">
                  <c:v>#N/A</c:v>
                </c:pt>
                <c:pt idx="9759">
                  <c:v>#N/A</c:v>
                </c:pt>
                <c:pt idx="9760">
                  <c:v>#N/A</c:v>
                </c:pt>
                <c:pt idx="9761">
                  <c:v>#N/A</c:v>
                </c:pt>
                <c:pt idx="9762">
                  <c:v>#N/A</c:v>
                </c:pt>
                <c:pt idx="9763">
                  <c:v>#N/A</c:v>
                </c:pt>
                <c:pt idx="9764">
                  <c:v>#N/A</c:v>
                </c:pt>
                <c:pt idx="9765">
                  <c:v>#N/A</c:v>
                </c:pt>
                <c:pt idx="9766">
                  <c:v>#N/A</c:v>
                </c:pt>
                <c:pt idx="9767">
                  <c:v>#N/A</c:v>
                </c:pt>
                <c:pt idx="9768">
                  <c:v>#N/A</c:v>
                </c:pt>
                <c:pt idx="9769">
                  <c:v>#N/A</c:v>
                </c:pt>
                <c:pt idx="9770">
                  <c:v>#N/A</c:v>
                </c:pt>
                <c:pt idx="9771">
                  <c:v>#N/A</c:v>
                </c:pt>
                <c:pt idx="9772">
                  <c:v>#N/A</c:v>
                </c:pt>
                <c:pt idx="9773">
                  <c:v>#N/A</c:v>
                </c:pt>
                <c:pt idx="9774">
                  <c:v>#N/A</c:v>
                </c:pt>
                <c:pt idx="9775">
                  <c:v>#N/A</c:v>
                </c:pt>
                <c:pt idx="9776">
                  <c:v>#N/A</c:v>
                </c:pt>
                <c:pt idx="9777">
                  <c:v>#N/A</c:v>
                </c:pt>
                <c:pt idx="9778">
                  <c:v>#N/A</c:v>
                </c:pt>
                <c:pt idx="9779">
                  <c:v>3.6</c:v>
                </c:pt>
                <c:pt idx="9780">
                  <c:v>#N/A</c:v>
                </c:pt>
                <c:pt idx="9781">
                  <c:v>#N/A</c:v>
                </c:pt>
                <c:pt idx="9782">
                  <c:v>#N/A</c:v>
                </c:pt>
                <c:pt idx="9783">
                  <c:v>#N/A</c:v>
                </c:pt>
                <c:pt idx="9784">
                  <c:v>#N/A</c:v>
                </c:pt>
                <c:pt idx="9785">
                  <c:v>#N/A</c:v>
                </c:pt>
                <c:pt idx="9786">
                  <c:v>#N/A</c:v>
                </c:pt>
                <c:pt idx="9787">
                  <c:v>#N/A</c:v>
                </c:pt>
                <c:pt idx="9788">
                  <c:v>#N/A</c:v>
                </c:pt>
                <c:pt idx="9789">
                  <c:v>#N/A</c:v>
                </c:pt>
                <c:pt idx="9790">
                  <c:v>#N/A</c:v>
                </c:pt>
                <c:pt idx="9791">
                  <c:v>#N/A</c:v>
                </c:pt>
                <c:pt idx="9792">
                  <c:v>#N/A</c:v>
                </c:pt>
                <c:pt idx="9793">
                  <c:v>#N/A</c:v>
                </c:pt>
                <c:pt idx="9794">
                  <c:v>#N/A</c:v>
                </c:pt>
                <c:pt idx="9795">
                  <c:v>#N/A</c:v>
                </c:pt>
                <c:pt idx="9796">
                  <c:v>#N/A</c:v>
                </c:pt>
                <c:pt idx="9797">
                  <c:v>#N/A</c:v>
                </c:pt>
                <c:pt idx="9798">
                  <c:v>#N/A</c:v>
                </c:pt>
                <c:pt idx="9799">
                  <c:v>#N/A</c:v>
                </c:pt>
                <c:pt idx="9800">
                  <c:v>#N/A</c:v>
                </c:pt>
                <c:pt idx="9801">
                  <c:v>#N/A</c:v>
                </c:pt>
                <c:pt idx="9802">
                  <c:v>#N/A</c:v>
                </c:pt>
                <c:pt idx="9803">
                  <c:v>#N/A</c:v>
                </c:pt>
                <c:pt idx="9804">
                  <c:v>#N/A</c:v>
                </c:pt>
                <c:pt idx="9805">
                  <c:v>#N/A</c:v>
                </c:pt>
                <c:pt idx="9806">
                  <c:v>#N/A</c:v>
                </c:pt>
                <c:pt idx="9807">
                  <c:v>#N/A</c:v>
                </c:pt>
                <c:pt idx="9808">
                  <c:v>#N/A</c:v>
                </c:pt>
                <c:pt idx="9809">
                  <c:v>#N/A</c:v>
                </c:pt>
                <c:pt idx="9810">
                  <c:v>#N/A</c:v>
                </c:pt>
                <c:pt idx="9811">
                  <c:v>#N/A</c:v>
                </c:pt>
                <c:pt idx="9812">
                  <c:v>#N/A</c:v>
                </c:pt>
                <c:pt idx="9813">
                  <c:v>3.6082191780821917</c:v>
                </c:pt>
                <c:pt idx="9814">
                  <c:v>#N/A</c:v>
                </c:pt>
                <c:pt idx="9815">
                  <c:v>#N/A</c:v>
                </c:pt>
                <c:pt idx="9816">
                  <c:v>#N/A</c:v>
                </c:pt>
                <c:pt idx="9817">
                  <c:v>#N/A</c:v>
                </c:pt>
                <c:pt idx="9818">
                  <c:v>#N/A</c:v>
                </c:pt>
                <c:pt idx="9819">
                  <c:v>#N/A</c:v>
                </c:pt>
                <c:pt idx="9820">
                  <c:v>#N/A</c:v>
                </c:pt>
                <c:pt idx="9821">
                  <c:v>#N/A</c:v>
                </c:pt>
                <c:pt idx="9822">
                  <c:v>#N/A</c:v>
                </c:pt>
                <c:pt idx="9823">
                  <c:v>#N/A</c:v>
                </c:pt>
                <c:pt idx="9824">
                  <c:v>#N/A</c:v>
                </c:pt>
                <c:pt idx="9825">
                  <c:v>#N/A</c:v>
                </c:pt>
                <c:pt idx="9826">
                  <c:v>#N/A</c:v>
                </c:pt>
                <c:pt idx="9827">
                  <c:v>#N/A</c:v>
                </c:pt>
                <c:pt idx="9828">
                  <c:v>#N/A</c:v>
                </c:pt>
                <c:pt idx="9829">
                  <c:v>#N/A</c:v>
                </c:pt>
                <c:pt idx="9830">
                  <c:v>#N/A</c:v>
                </c:pt>
                <c:pt idx="9831">
                  <c:v>#N/A</c:v>
                </c:pt>
                <c:pt idx="9832">
                  <c:v>#N/A</c:v>
                </c:pt>
                <c:pt idx="9833">
                  <c:v>#N/A</c:v>
                </c:pt>
                <c:pt idx="9834">
                  <c:v>#N/A</c:v>
                </c:pt>
                <c:pt idx="9835">
                  <c:v>#N/A</c:v>
                </c:pt>
                <c:pt idx="9836">
                  <c:v>#N/A</c:v>
                </c:pt>
                <c:pt idx="9837">
                  <c:v>#N/A</c:v>
                </c:pt>
                <c:pt idx="9838">
                  <c:v>#N/A</c:v>
                </c:pt>
                <c:pt idx="9839">
                  <c:v>#N/A</c:v>
                </c:pt>
                <c:pt idx="9840">
                  <c:v>#N/A</c:v>
                </c:pt>
                <c:pt idx="9841">
                  <c:v>#N/A</c:v>
                </c:pt>
                <c:pt idx="9842">
                  <c:v>#N/A</c:v>
                </c:pt>
                <c:pt idx="9843">
                  <c:v>#N/A</c:v>
                </c:pt>
                <c:pt idx="9844">
                  <c:v>#N/A</c:v>
                </c:pt>
                <c:pt idx="9845">
                  <c:v>#N/A</c:v>
                </c:pt>
                <c:pt idx="9846">
                  <c:v>#N/A</c:v>
                </c:pt>
                <c:pt idx="9847">
                  <c:v>#N/A</c:v>
                </c:pt>
                <c:pt idx="9848">
                  <c:v>#N/A</c:v>
                </c:pt>
                <c:pt idx="9849">
                  <c:v>#N/A</c:v>
                </c:pt>
                <c:pt idx="9850">
                  <c:v>#N/A</c:v>
                </c:pt>
                <c:pt idx="9851">
                  <c:v>#N/A</c:v>
                </c:pt>
                <c:pt idx="9852">
                  <c:v>#N/A</c:v>
                </c:pt>
                <c:pt idx="9853">
                  <c:v>#N/A</c:v>
                </c:pt>
                <c:pt idx="9854">
                  <c:v>#N/A</c:v>
                </c:pt>
                <c:pt idx="9855">
                  <c:v>#N/A</c:v>
                </c:pt>
                <c:pt idx="9856">
                  <c:v>#N/A</c:v>
                </c:pt>
                <c:pt idx="9857">
                  <c:v>#N/A</c:v>
                </c:pt>
                <c:pt idx="9858">
                  <c:v>#N/A</c:v>
                </c:pt>
                <c:pt idx="9859">
                  <c:v>#N/A</c:v>
                </c:pt>
                <c:pt idx="9860">
                  <c:v>#N/A</c:v>
                </c:pt>
                <c:pt idx="9861">
                  <c:v>#N/A</c:v>
                </c:pt>
                <c:pt idx="9862">
                  <c:v>#N/A</c:v>
                </c:pt>
                <c:pt idx="9863">
                  <c:v>#N/A</c:v>
                </c:pt>
                <c:pt idx="9864">
                  <c:v>#N/A</c:v>
                </c:pt>
                <c:pt idx="9865">
                  <c:v>#N/A</c:v>
                </c:pt>
                <c:pt idx="9866">
                  <c:v>#N/A</c:v>
                </c:pt>
                <c:pt idx="9867">
                  <c:v>#N/A</c:v>
                </c:pt>
                <c:pt idx="9868">
                  <c:v>#N/A</c:v>
                </c:pt>
                <c:pt idx="9869">
                  <c:v>#N/A</c:v>
                </c:pt>
                <c:pt idx="9870">
                  <c:v>#N/A</c:v>
                </c:pt>
                <c:pt idx="9871">
                  <c:v>#N/A</c:v>
                </c:pt>
                <c:pt idx="9872">
                  <c:v>#N/A</c:v>
                </c:pt>
                <c:pt idx="9873">
                  <c:v>#N/A</c:v>
                </c:pt>
                <c:pt idx="9874">
                  <c:v>#N/A</c:v>
                </c:pt>
                <c:pt idx="9875">
                  <c:v>#N/A</c:v>
                </c:pt>
                <c:pt idx="9876">
                  <c:v>#N/A</c:v>
                </c:pt>
                <c:pt idx="9877">
                  <c:v>#N/A</c:v>
                </c:pt>
                <c:pt idx="9878">
                  <c:v>#N/A</c:v>
                </c:pt>
                <c:pt idx="9879">
                  <c:v>#N/A</c:v>
                </c:pt>
                <c:pt idx="9880">
                  <c:v>#N/A</c:v>
                </c:pt>
                <c:pt idx="9881">
                  <c:v>#N/A</c:v>
                </c:pt>
                <c:pt idx="9882">
                  <c:v>#N/A</c:v>
                </c:pt>
                <c:pt idx="9883">
                  <c:v>#N/A</c:v>
                </c:pt>
                <c:pt idx="9884">
                  <c:v>#N/A</c:v>
                </c:pt>
                <c:pt idx="9885">
                  <c:v>#N/A</c:v>
                </c:pt>
                <c:pt idx="9886">
                  <c:v>#N/A</c:v>
                </c:pt>
                <c:pt idx="9887">
                  <c:v>#N/A</c:v>
                </c:pt>
                <c:pt idx="9888">
                  <c:v>#N/A</c:v>
                </c:pt>
                <c:pt idx="9889">
                  <c:v>#N/A</c:v>
                </c:pt>
                <c:pt idx="9890">
                  <c:v>#N/A</c:v>
                </c:pt>
                <c:pt idx="9891">
                  <c:v>#N/A</c:v>
                </c:pt>
                <c:pt idx="9892">
                  <c:v>#N/A</c:v>
                </c:pt>
                <c:pt idx="9893">
                  <c:v>#N/A</c:v>
                </c:pt>
                <c:pt idx="9894">
                  <c:v>#N/A</c:v>
                </c:pt>
                <c:pt idx="9895">
                  <c:v>#N/A</c:v>
                </c:pt>
                <c:pt idx="9896">
                  <c:v>#N/A</c:v>
                </c:pt>
                <c:pt idx="9897">
                  <c:v>#N/A</c:v>
                </c:pt>
                <c:pt idx="9898">
                  <c:v>#N/A</c:v>
                </c:pt>
                <c:pt idx="9899">
                  <c:v>#N/A</c:v>
                </c:pt>
                <c:pt idx="9900">
                  <c:v>#N/A</c:v>
                </c:pt>
                <c:pt idx="9901">
                  <c:v>#N/A</c:v>
                </c:pt>
                <c:pt idx="9902">
                  <c:v>#N/A</c:v>
                </c:pt>
                <c:pt idx="9903">
                  <c:v>#N/A</c:v>
                </c:pt>
                <c:pt idx="9904">
                  <c:v>#N/A</c:v>
                </c:pt>
                <c:pt idx="9905">
                  <c:v>#N/A</c:v>
                </c:pt>
                <c:pt idx="9906">
                  <c:v>#N/A</c:v>
                </c:pt>
                <c:pt idx="9907">
                  <c:v>#N/A</c:v>
                </c:pt>
                <c:pt idx="9908">
                  <c:v>#N/A</c:v>
                </c:pt>
                <c:pt idx="9909">
                  <c:v>#N/A</c:v>
                </c:pt>
                <c:pt idx="9910">
                  <c:v>#N/A</c:v>
                </c:pt>
                <c:pt idx="9911">
                  <c:v>#N/A</c:v>
                </c:pt>
                <c:pt idx="9912">
                  <c:v>#N/A</c:v>
                </c:pt>
                <c:pt idx="9913">
                  <c:v>#N/A</c:v>
                </c:pt>
                <c:pt idx="9914">
                  <c:v>#N/A</c:v>
                </c:pt>
                <c:pt idx="9915">
                  <c:v>#N/A</c:v>
                </c:pt>
                <c:pt idx="9916">
                  <c:v>#N/A</c:v>
                </c:pt>
                <c:pt idx="9917">
                  <c:v>#N/A</c:v>
                </c:pt>
                <c:pt idx="9918">
                  <c:v>#N/A</c:v>
                </c:pt>
                <c:pt idx="9919">
                  <c:v>#N/A</c:v>
                </c:pt>
                <c:pt idx="9920">
                  <c:v>#N/A</c:v>
                </c:pt>
                <c:pt idx="9921">
                  <c:v>#N/A</c:v>
                </c:pt>
                <c:pt idx="9922">
                  <c:v>#N/A</c:v>
                </c:pt>
                <c:pt idx="9923">
                  <c:v>#N/A</c:v>
                </c:pt>
                <c:pt idx="9924">
                  <c:v>#N/A</c:v>
                </c:pt>
                <c:pt idx="9925">
                  <c:v>#N/A</c:v>
                </c:pt>
                <c:pt idx="9926">
                  <c:v>#N/A</c:v>
                </c:pt>
                <c:pt idx="9927">
                  <c:v>#N/A</c:v>
                </c:pt>
                <c:pt idx="9928">
                  <c:v>#N/A</c:v>
                </c:pt>
                <c:pt idx="9929">
                  <c:v>#N/A</c:v>
                </c:pt>
                <c:pt idx="9930">
                  <c:v>#N/A</c:v>
                </c:pt>
                <c:pt idx="9931">
                  <c:v>#N/A</c:v>
                </c:pt>
                <c:pt idx="9932">
                  <c:v>#N/A</c:v>
                </c:pt>
                <c:pt idx="9933">
                  <c:v>3.6958904109589041</c:v>
                </c:pt>
                <c:pt idx="9934">
                  <c:v>#N/A</c:v>
                </c:pt>
                <c:pt idx="9935">
                  <c:v>#N/A</c:v>
                </c:pt>
                <c:pt idx="9936">
                  <c:v>#N/A</c:v>
                </c:pt>
                <c:pt idx="9937">
                  <c:v>#N/A</c:v>
                </c:pt>
                <c:pt idx="9938">
                  <c:v>#N/A</c:v>
                </c:pt>
                <c:pt idx="9939">
                  <c:v>#N/A</c:v>
                </c:pt>
                <c:pt idx="9940">
                  <c:v>#N/A</c:v>
                </c:pt>
                <c:pt idx="9941">
                  <c:v>#N/A</c:v>
                </c:pt>
                <c:pt idx="9942">
                  <c:v>#N/A</c:v>
                </c:pt>
                <c:pt idx="9943">
                  <c:v>#N/A</c:v>
                </c:pt>
                <c:pt idx="9944">
                  <c:v>#N/A</c:v>
                </c:pt>
                <c:pt idx="9945">
                  <c:v>#N/A</c:v>
                </c:pt>
                <c:pt idx="9946">
                  <c:v>#N/A</c:v>
                </c:pt>
                <c:pt idx="9947">
                  <c:v>#N/A</c:v>
                </c:pt>
                <c:pt idx="9948">
                  <c:v>#N/A</c:v>
                </c:pt>
                <c:pt idx="9949">
                  <c:v>#N/A</c:v>
                </c:pt>
                <c:pt idx="9950">
                  <c:v>#N/A</c:v>
                </c:pt>
                <c:pt idx="9951">
                  <c:v>#N/A</c:v>
                </c:pt>
                <c:pt idx="9952">
                  <c:v>#N/A</c:v>
                </c:pt>
                <c:pt idx="9953">
                  <c:v>#N/A</c:v>
                </c:pt>
                <c:pt idx="9954">
                  <c:v>#N/A</c:v>
                </c:pt>
                <c:pt idx="9955">
                  <c:v>#N/A</c:v>
                </c:pt>
                <c:pt idx="9956">
                  <c:v>#N/A</c:v>
                </c:pt>
                <c:pt idx="9957">
                  <c:v>#N/A</c:v>
                </c:pt>
                <c:pt idx="9958">
                  <c:v>#N/A</c:v>
                </c:pt>
                <c:pt idx="9959">
                  <c:v>#N/A</c:v>
                </c:pt>
                <c:pt idx="9960">
                  <c:v>#N/A</c:v>
                </c:pt>
                <c:pt idx="9961">
                  <c:v>#N/A</c:v>
                </c:pt>
                <c:pt idx="9962">
                  <c:v>#N/A</c:v>
                </c:pt>
                <c:pt idx="9963">
                  <c:v>#N/A</c:v>
                </c:pt>
                <c:pt idx="9964">
                  <c:v>#N/A</c:v>
                </c:pt>
                <c:pt idx="9965">
                  <c:v>#N/A</c:v>
                </c:pt>
                <c:pt idx="9966">
                  <c:v>#N/A</c:v>
                </c:pt>
                <c:pt idx="9967">
                  <c:v>#N/A</c:v>
                </c:pt>
                <c:pt idx="9968">
                  <c:v>#N/A</c:v>
                </c:pt>
                <c:pt idx="9969">
                  <c:v>#N/A</c:v>
                </c:pt>
                <c:pt idx="9970">
                  <c:v>#N/A</c:v>
                </c:pt>
                <c:pt idx="9971">
                  <c:v>#N/A</c:v>
                </c:pt>
                <c:pt idx="9972">
                  <c:v>#N/A</c:v>
                </c:pt>
                <c:pt idx="9973">
                  <c:v>#N/A</c:v>
                </c:pt>
                <c:pt idx="9974">
                  <c:v>#N/A</c:v>
                </c:pt>
                <c:pt idx="9975">
                  <c:v>#N/A</c:v>
                </c:pt>
                <c:pt idx="9976">
                  <c:v>#N/A</c:v>
                </c:pt>
                <c:pt idx="9977">
                  <c:v>#N/A</c:v>
                </c:pt>
                <c:pt idx="9978">
                  <c:v>#N/A</c:v>
                </c:pt>
                <c:pt idx="9979">
                  <c:v>#N/A</c:v>
                </c:pt>
                <c:pt idx="9980">
                  <c:v>#N/A</c:v>
                </c:pt>
                <c:pt idx="9981">
                  <c:v>#N/A</c:v>
                </c:pt>
                <c:pt idx="9982">
                  <c:v>#N/A</c:v>
                </c:pt>
                <c:pt idx="9983">
                  <c:v>#N/A</c:v>
                </c:pt>
                <c:pt idx="9984">
                  <c:v>#N/A</c:v>
                </c:pt>
                <c:pt idx="9985">
                  <c:v>#N/A</c:v>
                </c:pt>
                <c:pt idx="9986">
                  <c:v>#N/A</c:v>
                </c:pt>
                <c:pt idx="9987">
                  <c:v>#N/A</c:v>
                </c:pt>
                <c:pt idx="9988">
                  <c:v>#N/A</c:v>
                </c:pt>
                <c:pt idx="9989">
                  <c:v>#N/A</c:v>
                </c:pt>
                <c:pt idx="9990">
                  <c:v>#N/A</c:v>
                </c:pt>
                <c:pt idx="9991">
                  <c:v>#N/A</c:v>
                </c:pt>
                <c:pt idx="9992">
                  <c:v>#N/A</c:v>
                </c:pt>
                <c:pt idx="9993">
                  <c:v>#N/A</c:v>
                </c:pt>
                <c:pt idx="9994">
                  <c:v>#N/A</c:v>
                </c:pt>
                <c:pt idx="9995">
                  <c:v>3.7972602739726029</c:v>
                </c:pt>
                <c:pt idx="9996">
                  <c:v>#N/A</c:v>
                </c:pt>
                <c:pt idx="9997">
                  <c:v>#N/A</c:v>
                </c:pt>
                <c:pt idx="9998">
                  <c:v>#N/A</c:v>
                </c:pt>
                <c:pt idx="9999">
                  <c:v>#N/A</c:v>
                </c:pt>
                <c:pt idx="10000">
                  <c:v>#N/A</c:v>
                </c:pt>
                <c:pt idx="10001">
                  <c:v>#N/A</c:v>
                </c:pt>
                <c:pt idx="10002">
                  <c:v>#N/A</c:v>
                </c:pt>
                <c:pt idx="10003">
                  <c:v>#N/A</c:v>
                </c:pt>
                <c:pt idx="10004">
                  <c:v>#N/A</c:v>
                </c:pt>
                <c:pt idx="10005">
                  <c:v>#N/A</c:v>
                </c:pt>
                <c:pt idx="10006">
                  <c:v>#N/A</c:v>
                </c:pt>
                <c:pt idx="10007">
                  <c:v>#N/A</c:v>
                </c:pt>
                <c:pt idx="10008">
                  <c:v>#N/A</c:v>
                </c:pt>
                <c:pt idx="10009">
                  <c:v>#N/A</c:v>
                </c:pt>
                <c:pt idx="10010">
                  <c:v>#N/A</c:v>
                </c:pt>
                <c:pt idx="10011">
                  <c:v>#N/A</c:v>
                </c:pt>
                <c:pt idx="10012">
                  <c:v>#N/A</c:v>
                </c:pt>
                <c:pt idx="10013">
                  <c:v>#N/A</c:v>
                </c:pt>
                <c:pt idx="10014">
                  <c:v>#N/A</c:v>
                </c:pt>
                <c:pt idx="10015">
                  <c:v>#N/A</c:v>
                </c:pt>
                <c:pt idx="10016">
                  <c:v>#N/A</c:v>
                </c:pt>
                <c:pt idx="10017">
                  <c:v>#N/A</c:v>
                </c:pt>
                <c:pt idx="10018">
                  <c:v>#N/A</c:v>
                </c:pt>
                <c:pt idx="10019">
                  <c:v>#N/A</c:v>
                </c:pt>
                <c:pt idx="10020">
                  <c:v>#N/A</c:v>
                </c:pt>
                <c:pt idx="10021">
                  <c:v>#N/A</c:v>
                </c:pt>
                <c:pt idx="10022">
                  <c:v>#N/A</c:v>
                </c:pt>
                <c:pt idx="10023">
                  <c:v>#N/A</c:v>
                </c:pt>
                <c:pt idx="10024">
                  <c:v>#N/A</c:v>
                </c:pt>
                <c:pt idx="10025">
                  <c:v>#N/A</c:v>
                </c:pt>
                <c:pt idx="10026">
                  <c:v>#N/A</c:v>
                </c:pt>
                <c:pt idx="10027">
                  <c:v>#N/A</c:v>
                </c:pt>
                <c:pt idx="10028">
                  <c:v>#N/A</c:v>
                </c:pt>
                <c:pt idx="10029">
                  <c:v>#N/A</c:v>
                </c:pt>
                <c:pt idx="10030">
                  <c:v>#N/A</c:v>
                </c:pt>
                <c:pt idx="10031">
                  <c:v>#N/A</c:v>
                </c:pt>
                <c:pt idx="10032">
                  <c:v>#N/A</c:v>
                </c:pt>
                <c:pt idx="10033">
                  <c:v>#N/A</c:v>
                </c:pt>
                <c:pt idx="10034">
                  <c:v>#N/A</c:v>
                </c:pt>
                <c:pt idx="10035">
                  <c:v>#N/A</c:v>
                </c:pt>
                <c:pt idx="10036">
                  <c:v>#N/A</c:v>
                </c:pt>
                <c:pt idx="10037">
                  <c:v>#N/A</c:v>
                </c:pt>
                <c:pt idx="10038">
                  <c:v>#N/A</c:v>
                </c:pt>
                <c:pt idx="10039">
                  <c:v>#N/A</c:v>
                </c:pt>
                <c:pt idx="10040">
                  <c:v>#N/A</c:v>
                </c:pt>
                <c:pt idx="10041">
                  <c:v>#N/A</c:v>
                </c:pt>
                <c:pt idx="10042">
                  <c:v>#N/A</c:v>
                </c:pt>
                <c:pt idx="10043">
                  <c:v>#N/A</c:v>
                </c:pt>
                <c:pt idx="10044">
                  <c:v>#N/A</c:v>
                </c:pt>
                <c:pt idx="10045">
                  <c:v>#N/A</c:v>
                </c:pt>
                <c:pt idx="10046">
                  <c:v>#N/A</c:v>
                </c:pt>
                <c:pt idx="10047">
                  <c:v>#N/A</c:v>
                </c:pt>
                <c:pt idx="10048">
                  <c:v>#N/A</c:v>
                </c:pt>
                <c:pt idx="10049">
                  <c:v>#N/A</c:v>
                </c:pt>
                <c:pt idx="10050">
                  <c:v>#N/A</c:v>
                </c:pt>
                <c:pt idx="10051">
                  <c:v>#N/A</c:v>
                </c:pt>
                <c:pt idx="10052">
                  <c:v>#N/A</c:v>
                </c:pt>
                <c:pt idx="10053">
                  <c:v>#N/A</c:v>
                </c:pt>
                <c:pt idx="10054">
                  <c:v>#N/A</c:v>
                </c:pt>
                <c:pt idx="10055">
                  <c:v>#N/A</c:v>
                </c:pt>
                <c:pt idx="10056">
                  <c:v>#N/A</c:v>
                </c:pt>
                <c:pt idx="10057">
                  <c:v>#N/A</c:v>
                </c:pt>
                <c:pt idx="10058">
                  <c:v>#N/A</c:v>
                </c:pt>
                <c:pt idx="10059">
                  <c:v>#N/A</c:v>
                </c:pt>
                <c:pt idx="10060">
                  <c:v>#N/A</c:v>
                </c:pt>
                <c:pt idx="10061">
                  <c:v>#N/A</c:v>
                </c:pt>
                <c:pt idx="10062">
                  <c:v>#N/A</c:v>
                </c:pt>
                <c:pt idx="10063">
                  <c:v>#N/A</c:v>
                </c:pt>
                <c:pt idx="10064">
                  <c:v>#N/A</c:v>
                </c:pt>
                <c:pt idx="10065">
                  <c:v>#N/A</c:v>
                </c:pt>
                <c:pt idx="10066">
                  <c:v>#N/A</c:v>
                </c:pt>
                <c:pt idx="10067">
                  <c:v>#N/A</c:v>
                </c:pt>
                <c:pt idx="10068">
                  <c:v>#N/A</c:v>
                </c:pt>
                <c:pt idx="10069">
                  <c:v>#N/A</c:v>
                </c:pt>
                <c:pt idx="10070">
                  <c:v>#N/A</c:v>
                </c:pt>
                <c:pt idx="10071">
                  <c:v>#N/A</c:v>
                </c:pt>
                <c:pt idx="10072">
                  <c:v>#N/A</c:v>
                </c:pt>
                <c:pt idx="10073">
                  <c:v>#N/A</c:v>
                </c:pt>
                <c:pt idx="10074">
                  <c:v>#N/A</c:v>
                </c:pt>
                <c:pt idx="10075">
                  <c:v>#N/A</c:v>
                </c:pt>
                <c:pt idx="10076">
                  <c:v>#N/A</c:v>
                </c:pt>
                <c:pt idx="10077">
                  <c:v>#N/A</c:v>
                </c:pt>
                <c:pt idx="10078">
                  <c:v>#N/A</c:v>
                </c:pt>
                <c:pt idx="10079">
                  <c:v>#N/A</c:v>
                </c:pt>
                <c:pt idx="10080">
                  <c:v>#N/A</c:v>
                </c:pt>
                <c:pt idx="10081">
                  <c:v>#N/A</c:v>
                </c:pt>
                <c:pt idx="10082">
                  <c:v>#N/A</c:v>
                </c:pt>
                <c:pt idx="10083">
                  <c:v>#N/A</c:v>
                </c:pt>
                <c:pt idx="10084">
                  <c:v>#N/A</c:v>
                </c:pt>
                <c:pt idx="10085">
                  <c:v>#N/A</c:v>
                </c:pt>
                <c:pt idx="10086">
                  <c:v>#N/A</c:v>
                </c:pt>
                <c:pt idx="10087">
                  <c:v>#N/A</c:v>
                </c:pt>
                <c:pt idx="10088">
                  <c:v>#N/A</c:v>
                </c:pt>
                <c:pt idx="10089">
                  <c:v>#N/A</c:v>
                </c:pt>
                <c:pt idx="10090">
                  <c:v>#N/A</c:v>
                </c:pt>
                <c:pt idx="10091">
                  <c:v>#N/A</c:v>
                </c:pt>
                <c:pt idx="10092">
                  <c:v>#N/A</c:v>
                </c:pt>
                <c:pt idx="10093">
                  <c:v>#N/A</c:v>
                </c:pt>
                <c:pt idx="10094">
                  <c:v>#N/A</c:v>
                </c:pt>
                <c:pt idx="10095">
                  <c:v>#N/A</c:v>
                </c:pt>
                <c:pt idx="10096">
                  <c:v>#N/A</c:v>
                </c:pt>
                <c:pt idx="10097">
                  <c:v>#N/A</c:v>
                </c:pt>
                <c:pt idx="10098">
                  <c:v>#N/A</c:v>
                </c:pt>
                <c:pt idx="10099">
                  <c:v>#N/A</c:v>
                </c:pt>
                <c:pt idx="10100">
                  <c:v>#N/A</c:v>
                </c:pt>
                <c:pt idx="10101">
                  <c:v>#N/A</c:v>
                </c:pt>
                <c:pt idx="10102">
                  <c:v>#N/A</c:v>
                </c:pt>
                <c:pt idx="10103">
                  <c:v>#N/A</c:v>
                </c:pt>
                <c:pt idx="10104">
                  <c:v>#N/A</c:v>
                </c:pt>
                <c:pt idx="10105">
                  <c:v>#N/A</c:v>
                </c:pt>
                <c:pt idx="10106">
                  <c:v>#N/A</c:v>
                </c:pt>
                <c:pt idx="10107">
                  <c:v>#N/A</c:v>
                </c:pt>
                <c:pt idx="10108">
                  <c:v>#N/A</c:v>
                </c:pt>
                <c:pt idx="10109">
                  <c:v>#N/A</c:v>
                </c:pt>
                <c:pt idx="10110">
                  <c:v>#N/A</c:v>
                </c:pt>
                <c:pt idx="10111">
                  <c:v>#N/A</c:v>
                </c:pt>
                <c:pt idx="10112">
                  <c:v>#N/A</c:v>
                </c:pt>
                <c:pt idx="10113">
                  <c:v>#N/A</c:v>
                </c:pt>
                <c:pt idx="10114">
                  <c:v>#N/A</c:v>
                </c:pt>
                <c:pt idx="10115">
                  <c:v>#N/A</c:v>
                </c:pt>
                <c:pt idx="10116">
                  <c:v>#N/A</c:v>
                </c:pt>
                <c:pt idx="10117">
                  <c:v>#N/A</c:v>
                </c:pt>
                <c:pt idx="10118">
                  <c:v>#N/A</c:v>
                </c:pt>
                <c:pt idx="10119">
                  <c:v>#N/A</c:v>
                </c:pt>
                <c:pt idx="10120">
                  <c:v>#N/A</c:v>
                </c:pt>
                <c:pt idx="10121">
                  <c:v>#N/A</c:v>
                </c:pt>
                <c:pt idx="10122">
                  <c:v>#N/A</c:v>
                </c:pt>
                <c:pt idx="10123">
                  <c:v>#N/A</c:v>
                </c:pt>
                <c:pt idx="10124">
                  <c:v>#N/A</c:v>
                </c:pt>
                <c:pt idx="10125">
                  <c:v>#N/A</c:v>
                </c:pt>
                <c:pt idx="10126">
                  <c:v>#N/A</c:v>
                </c:pt>
                <c:pt idx="10127">
                  <c:v>#N/A</c:v>
                </c:pt>
                <c:pt idx="10128">
                  <c:v>#N/A</c:v>
                </c:pt>
                <c:pt idx="10129">
                  <c:v>#N/A</c:v>
                </c:pt>
                <c:pt idx="10130">
                  <c:v>#N/A</c:v>
                </c:pt>
                <c:pt idx="10131">
                  <c:v>#N/A</c:v>
                </c:pt>
                <c:pt idx="10132">
                  <c:v>#N/A</c:v>
                </c:pt>
                <c:pt idx="10133">
                  <c:v>#N/A</c:v>
                </c:pt>
                <c:pt idx="10134">
                  <c:v>#N/A</c:v>
                </c:pt>
                <c:pt idx="10135">
                  <c:v>#N/A</c:v>
                </c:pt>
                <c:pt idx="10136">
                  <c:v>#N/A</c:v>
                </c:pt>
                <c:pt idx="10137">
                  <c:v>#N/A</c:v>
                </c:pt>
                <c:pt idx="10138">
                  <c:v>#N/A</c:v>
                </c:pt>
                <c:pt idx="10139">
                  <c:v>#N/A</c:v>
                </c:pt>
                <c:pt idx="10140">
                  <c:v>#N/A</c:v>
                </c:pt>
                <c:pt idx="10141">
                  <c:v>#N/A</c:v>
                </c:pt>
                <c:pt idx="10142">
                  <c:v>#N/A</c:v>
                </c:pt>
                <c:pt idx="10143">
                  <c:v>#N/A</c:v>
                </c:pt>
                <c:pt idx="10144">
                  <c:v>#N/A</c:v>
                </c:pt>
                <c:pt idx="10145">
                  <c:v>#N/A</c:v>
                </c:pt>
                <c:pt idx="10146">
                  <c:v>#N/A</c:v>
                </c:pt>
                <c:pt idx="10147">
                  <c:v>#N/A</c:v>
                </c:pt>
                <c:pt idx="10148">
                  <c:v>#N/A</c:v>
                </c:pt>
                <c:pt idx="10149">
                  <c:v>#N/A</c:v>
                </c:pt>
                <c:pt idx="10150">
                  <c:v>#N/A</c:v>
                </c:pt>
                <c:pt idx="10151">
                  <c:v>#N/A</c:v>
                </c:pt>
                <c:pt idx="10152">
                  <c:v>#N/A</c:v>
                </c:pt>
                <c:pt idx="10153">
                  <c:v>#N/A</c:v>
                </c:pt>
                <c:pt idx="10154">
                  <c:v>#N/A</c:v>
                </c:pt>
                <c:pt idx="10155">
                  <c:v>#N/A</c:v>
                </c:pt>
                <c:pt idx="10156">
                  <c:v>#N/A</c:v>
                </c:pt>
                <c:pt idx="10157">
                  <c:v>#N/A</c:v>
                </c:pt>
                <c:pt idx="10158">
                  <c:v>#N/A</c:v>
                </c:pt>
                <c:pt idx="10159">
                  <c:v>#N/A</c:v>
                </c:pt>
                <c:pt idx="10160">
                  <c:v>#N/A</c:v>
                </c:pt>
                <c:pt idx="10161">
                  <c:v>#N/A</c:v>
                </c:pt>
                <c:pt idx="10162">
                  <c:v>#N/A</c:v>
                </c:pt>
                <c:pt idx="10163">
                  <c:v>#N/A</c:v>
                </c:pt>
                <c:pt idx="10164">
                  <c:v>#N/A</c:v>
                </c:pt>
                <c:pt idx="10165">
                  <c:v>#N/A</c:v>
                </c:pt>
                <c:pt idx="10166">
                  <c:v>#N/A</c:v>
                </c:pt>
                <c:pt idx="10167">
                  <c:v>#N/A</c:v>
                </c:pt>
                <c:pt idx="10168">
                  <c:v>#N/A</c:v>
                </c:pt>
                <c:pt idx="10169">
                  <c:v>#N/A</c:v>
                </c:pt>
                <c:pt idx="10170">
                  <c:v>#N/A</c:v>
                </c:pt>
                <c:pt idx="10171">
                  <c:v>#N/A</c:v>
                </c:pt>
                <c:pt idx="10172">
                  <c:v>#N/A</c:v>
                </c:pt>
                <c:pt idx="10173">
                  <c:v>#N/A</c:v>
                </c:pt>
                <c:pt idx="10174">
                  <c:v>#N/A</c:v>
                </c:pt>
                <c:pt idx="10175">
                  <c:v>#N/A</c:v>
                </c:pt>
                <c:pt idx="10176">
                  <c:v>#N/A</c:v>
                </c:pt>
                <c:pt idx="10177">
                  <c:v>#N/A</c:v>
                </c:pt>
                <c:pt idx="10178">
                  <c:v>#N/A</c:v>
                </c:pt>
                <c:pt idx="10179">
                  <c:v>#N/A</c:v>
                </c:pt>
                <c:pt idx="10180">
                  <c:v>#N/A</c:v>
                </c:pt>
                <c:pt idx="10181">
                  <c:v>#N/A</c:v>
                </c:pt>
                <c:pt idx="10182">
                  <c:v>#N/A</c:v>
                </c:pt>
                <c:pt idx="10183">
                  <c:v>#N/A</c:v>
                </c:pt>
                <c:pt idx="10184">
                  <c:v>#N/A</c:v>
                </c:pt>
                <c:pt idx="10185">
                  <c:v>#N/A</c:v>
                </c:pt>
                <c:pt idx="10186">
                  <c:v>#N/A</c:v>
                </c:pt>
                <c:pt idx="10187">
                  <c:v>#N/A</c:v>
                </c:pt>
                <c:pt idx="10188">
                  <c:v>#N/A</c:v>
                </c:pt>
                <c:pt idx="10189">
                  <c:v>#N/A</c:v>
                </c:pt>
                <c:pt idx="10190">
                  <c:v>#N/A</c:v>
                </c:pt>
                <c:pt idx="10191">
                  <c:v>#N/A</c:v>
                </c:pt>
                <c:pt idx="10192">
                  <c:v>#N/A</c:v>
                </c:pt>
                <c:pt idx="10193">
                  <c:v>#N/A</c:v>
                </c:pt>
                <c:pt idx="10194">
                  <c:v>#N/A</c:v>
                </c:pt>
                <c:pt idx="10195">
                  <c:v>#N/A</c:v>
                </c:pt>
                <c:pt idx="10196">
                  <c:v>#N/A</c:v>
                </c:pt>
                <c:pt idx="10197">
                  <c:v>#N/A</c:v>
                </c:pt>
                <c:pt idx="10198">
                  <c:v>#N/A</c:v>
                </c:pt>
                <c:pt idx="10199">
                  <c:v>#N/A</c:v>
                </c:pt>
                <c:pt idx="10200">
                  <c:v>#N/A</c:v>
                </c:pt>
                <c:pt idx="10201">
                  <c:v>#N/A</c:v>
                </c:pt>
                <c:pt idx="10202">
                  <c:v>#N/A</c:v>
                </c:pt>
                <c:pt idx="10203">
                  <c:v>#N/A</c:v>
                </c:pt>
                <c:pt idx="10204">
                  <c:v>#N/A</c:v>
                </c:pt>
                <c:pt idx="10205">
                  <c:v>#N/A</c:v>
                </c:pt>
                <c:pt idx="10206">
                  <c:v>#N/A</c:v>
                </c:pt>
                <c:pt idx="10207">
                  <c:v>#N/A</c:v>
                </c:pt>
                <c:pt idx="10208">
                  <c:v>#N/A</c:v>
                </c:pt>
                <c:pt idx="10209">
                  <c:v>#N/A</c:v>
                </c:pt>
                <c:pt idx="10210">
                  <c:v>#N/A</c:v>
                </c:pt>
                <c:pt idx="10211">
                  <c:v>#N/A</c:v>
                </c:pt>
                <c:pt idx="10212">
                  <c:v>#N/A</c:v>
                </c:pt>
                <c:pt idx="10213">
                  <c:v>#N/A</c:v>
                </c:pt>
                <c:pt idx="10214">
                  <c:v>#N/A</c:v>
                </c:pt>
                <c:pt idx="10215">
                  <c:v>#N/A</c:v>
                </c:pt>
                <c:pt idx="10216">
                  <c:v>#N/A</c:v>
                </c:pt>
                <c:pt idx="10217">
                  <c:v>#N/A</c:v>
                </c:pt>
                <c:pt idx="10218">
                  <c:v>#N/A</c:v>
                </c:pt>
                <c:pt idx="10219">
                  <c:v>#N/A</c:v>
                </c:pt>
                <c:pt idx="10220">
                  <c:v>#N/A</c:v>
                </c:pt>
                <c:pt idx="10221">
                  <c:v>#N/A</c:v>
                </c:pt>
                <c:pt idx="10222">
                  <c:v>#N/A</c:v>
                </c:pt>
                <c:pt idx="10223">
                  <c:v>#N/A</c:v>
                </c:pt>
                <c:pt idx="10224">
                  <c:v>#N/A</c:v>
                </c:pt>
                <c:pt idx="10225">
                  <c:v>#N/A</c:v>
                </c:pt>
                <c:pt idx="10226">
                  <c:v>#N/A</c:v>
                </c:pt>
                <c:pt idx="10227">
                  <c:v>#N/A</c:v>
                </c:pt>
                <c:pt idx="10228">
                  <c:v>#N/A</c:v>
                </c:pt>
                <c:pt idx="10229">
                  <c:v>#N/A</c:v>
                </c:pt>
                <c:pt idx="10230">
                  <c:v>#N/A</c:v>
                </c:pt>
                <c:pt idx="10231">
                  <c:v>#N/A</c:v>
                </c:pt>
                <c:pt idx="10232">
                  <c:v>#N/A</c:v>
                </c:pt>
                <c:pt idx="10233">
                  <c:v>#N/A</c:v>
                </c:pt>
                <c:pt idx="10234">
                  <c:v>#N/A</c:v>
                </c:pt>
                <c:pt idx="10235">
                  <c:v>#N/A</c:v>
                </c:pt>
                <c:pt idx="10236">
                  <c:v>#N/A</c:v>
                </c:pt>
                <c:pt idx="10237">
                  <c:v>#N/A</c:v>
                </c:pt>
                <c:pt idx="10238">
                  <c:v>#N/A</c:v>
                </c:pt>
                <c:pt idx="10239">
                  <c:v>#N/A</c:v>
                </c:pt>
                <c:pt idx="10240">
                  <c:v>#N/A</c:v>
                </c:pt>
                <c:pt idx="10241">
                  <c:v>#N/A</c:v>
                </c:pt>
                <c:pt idx="10242">
                  <c:v>#N/A</c:v>
                </c:pt>
                <c:pt idx="10243">
                  <c:v>#N/A</c:v>
                </c:pt>
                <c:pt idx="10244">
                  <c:v>#N/A</c:v>
                </c:pt>
                <c:pt idx="10245">
                  <c:v>#N/A</c:v>
                </c:pt>
                <c:pt idx="10246">
                  <c:v>#N/A</c:v>
                </c:pt>
                <c:pt idx="10247">
                  <c:v>#N/A</c:v>
                </c:pt>
                <c:pt idx="10248">
                  <c:v>#N/A</c:v>
                </c:pt>
                <c:pt idx="10249">
                  <c:v>#N/A</c:v>
                </c:pt>
                <c:pt idx="10250">
                  <c:v>#N/A</c:v>
                </c:pt>
                <c:pt idx="10251">
                  <c:v>#N/A</c:v>
                </c:pt>
                <c:pt idx="10252">
                  <c:v>#N/A</c:v>
                </c:pt>
                <c:pt idx="10253">
                  <c:v>#N/A</c:v>
                </c:pt>
                <c:pt idx="10254">
                  <c:v>#N/A</c:v>
                </c:pt>
                <c:pt idx="10255">
                  <c:v>#N/A</c:v>
                </c:pt>
                <c:pt idx="10256">
                  <c:v>#N/A</c:v>
                </c:pt>
                <c:pt idx="10257">
                  <c:v>#N/A</c:v>
                </c:pt>
                <c:pt idx="10258">
                  <c:v>#N/A</c:v>
                </c:pt>
                <c:pt idx="10259">
                  <c:v>#N/A</c:v>
                </c:pt>
                <c:pt idx="10260">
                  <c:v>#N/A</c:v>
                </c:pt>
                <c:pt idx="10261">
                  <c:v>#N/A</c:v>
                </c:pt>
                <c:pt idx="10262">
                  <c:v>#N/A</c:v>
                </c:pt>
                <c:pt idx="10263">
                  <c:v>#N/A</c:v>
                </c:pt>
                <c:pt idx="10264">
                  <c:v>#N/A</c:v>
                </c:pt>
                <c:pt idx="10265">
                  <c:v>#N/A</c:v>
                </c:pt>
                <c:pt idx="10266">
                  <c:v>#N/A</c:v>
                </c:pt>
                <c:pt idx="10267">
                  <c:v>#N/A</c:v>
                </c:pt>
                <c:pt idx="10268">
                  <c:v>#N/A</c:v>
                </c:pt>
                <c:pt idx="10269">
                  <c:v>#N/A</c:v>
                </c:pt>
                <c:pt idx="10270">
                  <c:v>#N/A</c:v>
                </c:pt>
                <c:pt idx="10271">
                  <c:v>#N/A</c:v>
                </c:pt>
                <c:pt idx="10272">
                  <c:v>#N/A</c:v>
                </c:pt>
                <c:pt idx="10273">
                  <c:v>#N/A</c:v>
                </c:pt>
                <c:pt idx="10274">
                  <c:v>#N/A</c:v>
                </c:pt>
                <c:pt idx="10275">
                  <c:v>#N/A</c:v>
                </c:pt>
                <c:pt idx="10276">
                  <c:v>#N/A</c:v>
                </c:pt>
                <c:pt idx="10277">
                  <c:v>#N/A</c:v>
                </c:pt>
                <c:pt idx="10278">
                  <c:v>#N/A</c:v>
                </c:pt>
                <c:pt idx="10279">
                  <c:v>#N/A</c:v>
                </c:pt>
                <c:pt idx="10280">
                  <c:v>#N/A</c:v>
                </c:pt>
                <c:pt idx="10281">
                  <c:v>#N/A</c:v>
                </c:pt>
                <c:pt idx="10282">
                  <c:v>#N/A</c:v>
                </c:pt>
                <c:pt idx="10283">
                  <c:v>#N/A</c:v>
                </c:pt>
                <c:pt idx="10284">
                  <c:v>#N/A</c:v>
                </c:pt>
                <c:pt idx="10285">
                  <c:v>#N/A</c:v>
                </c:pt>
                <c:pt idx="10286">
                  <c:v>#N/A</c:v>
                </c:pt>
                <c:pt idx="10287">
                  <c:v>#N/A</c:v>
                </c:pt>
                <c:pt idx="10288">
                  <c:v>#N/A</c:v>
                </c:pt>
                <c:pt idx="10289">
                  <c:v>#N/A</c:v>
                </c:pt>
                <c:pt idx="10290">
                  <c:v>#N/A</c:v>
                </c:pt>
                <c:pt idx="10291">
                  <c:v>#N/A</c:v>
                </c:pt>
                <c:pt idx="10292">
                  <c:v>#N/A</c:v>
                </c:pt>
                <c:pt idx="10293">
                  <c:v>#N/A</c:v>
                </c:pt>
                <c:pt idx="10294">
                  <c:v>#N/A</c:v>
                </c:pt>
                <c:pt idx="10295">
                  <c:v>#N/A</c:v>
                </c:pt>
                <c:pt idx="10296">
                  <c:v>#N/A</c:v>
                </c:pt>
                <c:pt idx="10297">
                  <c:v>#N/A</c:v>
                </c:pt>
                <c:pt idx="10298">
                  <c:v>#N/A</c:v>
                </c:pt>
                <c:pt idx="10299">
                  <c:v>#N/A</c:v>
                </c:pt>
                <c:pt idx="10300">
                  <c:v>#N/A</c:v>
                </c:pt>
                <c:pt idx="10301">
                  <c:v>#N/A</c:v>
                </c:pt>
                <c:pt idx="10302">
                  <c:v>#N/A</c:v>
                </c:pt>
                <c:pt idx="10303">
                  <c:v>#N/A</c:v>
                </c:pt>
                <c:pt idx="10304">
                  <c:v>#N/A</c:v>
                </c:pt>
                <c:pt idx="10305">
                  <c:v>#N/A</c:v>
                </c:pt>
                <c:pt idx="10306">
                  <c:v>#N/A</c:v>
                </c:pt>
                <c:pt idx="10307">
                  <c:v>#N/A</c:v>
                </c:pt>
                <c:pt idx="10308">
                  <c:v>#N/A</c:v>
                </c:pt>
                <c:pt idx="10309">
                  <c:v>#N/A</c:v>
                </c:pt>
                <c:pt idx="10310">
                  <c:v>#N/A</c:v>
                </c:pt>
                <c:pt idx="10311">
                  <c:v>#N/A</c:v>
                </c:pt>
                <c:pt idx="10312">
                  <c:v>#N/A</c:v>
                </c:pt>
                <c:pt idx="10313">
                  <c:v>#N/A</c:v>
                </c:pt>
                <c:pt idx="10314">
                  <c:v>#N/A</c:v>
                </c:pt>
                <c:pt idx="10315">
                  <c:v>4.0136986301369859</c:v>
                </c:pt>
                <c:pt idx="10316">
                  <c:v>4.0136986301369859</c:v>
                </c:pt>
                <c:pt idx="10317">
                  <c:v>#N/A</c:v>
                </c:pt>
                <c:pt idx="10318">
                  <c:v>4.0136986301369859</c:v>
                </c:pt>
                <c:pt idx="10319">
                  <c:v>#N/A</c:v>
                </c:pt>
                <c:pt idx="10320">
                  <c:v>#N/A</c:v>
                </c:pt>
                <c:pt idx="10321">
                  <c:v>#N/A</c:v>
                </c:pt>
                <c:pt idx="10322">
                  <c:v>#N/A</c:v>
                </c:pt>
                <c:pt idx="10323">
                  <c:v>#N/A</c:v>
                </c:pt>
                <c:pt idx="10324">
                  <c:v>#N/A</c:v>
                </c:pt>
                <c:pt idx="10325">
                  <c:v>#N/A</c:v>
                </c:pt>
                <c:pt idx="10326">
                  <c:v>#N/A</c:v>
                </c:pt>
                <c:pt idx="10327">
                  <c:v>#N/A</c:v>
                </c:pt>
                <c:pt idx="10328">
                  <c:v>#N/A</c:v>
                </c:pt>
                <c:pt idx="10329">
                  <c:v>#N/A</c:v>
                </c:pt>
                <c:pt idx="10330">
                  <c:v>#N/A</c:v>
                </c:pt>
                <c:pt idx="10331">
                  <c:v>#N/A</c:v>
                </c:pt>
                <c:pt idx="10332">
                  <c:v>#N/A</c:v>
                </c:pt>
                <c:pt idx="10333">
                  <c:v>#N/A</c:v>
                </c:pt>
                <c:pt idx="10334">
                  <c:v>#N/A</c:v>
                </c:pt>
                <c:pt idx="10335">
                  <c:v>#N/A</c:v>
                </c:pt>
                <c:pt idx="10336">
                  <c:v>#N/A</c:v>
                </c:pt>
                <c:pt idx="10337">
                  <c:v>#N/A</c:v>
                </c:pt>
                <c:pt idx="10338">
                  <c:v>#N/A</c:v>
                </c:pt>
                <c:pt idx="10339">
                  <c:v>#N/A</c:v>
                </c:pt>
                <c:pt idx="10340">
                  <c:v>#N/A</c:v>
                </c:pt>
                <c:pt idx="10341">
                  <c:v>#N/A</c:v>
                </c:pt>
                <c:pt idx="10342">
                  <c:v>#N/A</c:v>
                </c:pt>
                <c:pt idx="10343">
                  <c:v>#N/A</c:v>
                </c:pt>
                <c:pt idx="10344">
                  <c:v>#N/A</c:v>
                </c:pt>
                <c:pt idx="10345">
                  <c:v>#N/A</c:v>
                </c:pt>
                <c:pt idx="10346">
                  <c:v>#N/A</c:v>
                </c:pt>
                <c:pt idx="10347">
                  <c:v>#N/A</c:v>
                </c:pt>
                <c:pt idx="10348">
                  <c:v>#N/A</c:v>
                </c:pt>
                <c:pt idx="10349">
                  <c:v>#N/A</c:v>
                </c:pt>
                <c:pt idx="10350">
                  <c:v>#N/A</c:v>
                </c:pt>
                <c:pt idx="10351">
                  <c:v>#N/A</c:v>
                </c:pt>
                <c:pt idx="10352">
                  <c:v>#N/A</c:v>
                </c:pt>
                <c:pt idx="10353">
                  <c:v>#N/A</c:v>
                </c:pt>
                <c:pt idx="10354">
                  <c:v>#N/A</c:v>
                </c:pt>
                <c:pt idx="10355">
                  <c:v>#N/A</c:v>
                </c:pt>
                <c:pt idx="10356">
                  <c:v>#N/A</c:v>
                </c:pt>
                <c:pt idx="10357">
                  <c:v>#N/A</c:v>
                </c:pt>
                <c:pt idx="10358">
                  <c:v>#N/A</c:v>
                </c:pt>
                <c:pt idx="10359">
                  <c:v>#N/A</c:v>
                </c:pt>
                <c:pt idx="10360">
                  <c:v>#N/A</c:v>
                </c:pt>
                <c:pt idx="10361">
                  <c:v>#N/A</c:v>
                </c:pt>
                <c:pt idx="10362">
                  <c:v>#N/A</c:v>
                </c:pt>
                <c:pt idx="10363">
                  <c:v>#N/A</c:v>
                </c:pt>
                <c:pt idx="10364">
                  <c:v>#N/A</c:v>
                </c:pt>
                <c:pt idx="10365">
                  <c:v>#N/A</c:v>
                </c:pt>
                <c:pt idx="10366">
                  <c:v>#N/A</c:v>
                </c:pt>
                <c:pt idx="10367">
                  <c:v>#N/A</c:v>
                </c:pt>
                <c:pt idx="10368">
                  <c:v>#N/A</c:v>
                </c:pt>
                <c:pt idx="10369">
                  <c:v>#N/A</c:v>
                </c:pt>
                <c:pt idx="10370">
                  <c:v>#N/A</c:v>
                </c:pt>
                <c:pt idx="10371">
                  <c:v>#N/A</c:v>
                </c:pt>
                <c:pt idx="10372">
                  <c:v>#N/A</c:v>
                </c:pt>
                <c:pt idx="10373">
                  <c:v>#N/A</c:v>
                </c:pt>
                <c:pt idx="10374">
                  <c:v>#N/A</c:v>
                </c:pt>
                <c:pt idx="10375">
                  <c:v>#N/A</c:v>
                </c:pt>
                <c:pt idx="10376">
                  <c:v>#N/A</c:v>
                </c:pt>
                <c:pt idx="10377">
                  <c:v>#N/A</c:v>
                </c:pt>
                <c:pt idx="10378">
                  <c:v>#N/A</c:v>
                </c:pt>
                <c:pt idx="10379">
                  <c:v>#N/A</c:v>
                </c:pt>
                <c:pt idx="10380">
                  <c:v>#N/A</c:v>
                </c:pt>
                <c:pt idx="10381">
                  <c:v>#N/A</c:v>
                </c:pt>
                <c:pt idx="10382">
                  <c:v>#N/A</c:v>
                </c:pt>
                <c:pt idx="10383">
                  <c:v>#N/A</c:v>
                </c:pt>
                <c:pt idx="10384">
                  <c:v>#N/A</c:v>
                </c:pt>
                <c:pt idx="10385">
                  <c:v>#N/A</c:v>
                </c:pt>
                <c:pt idx="10386">
                  <c:v>#N/A</c:v>
                </c:pt>
                <c:pt idx="10387">
                  <c:v>#N/A</c:v>
                </c:pt>
                <c:pt idx="10388">
                  <c:v>#N/A</c:v>
                </c:pt>
                <c:pt idx="10389">
                  <c:v>#N/A</c:v>
                </c:pt>
                <c:pt idx="10390">
                  <c:v>#N/A</c:v>
                </c:pt>
                <c:pt idx="10391">
                  <c:v>#N/A</c:v>
                </c:pt>
                <c:pt idx="10392">
                  <c:v>#N/A</c:v>
                </c:pt>
                <c:pt idx="10393">
                  <c:v>#N/A</c:v>
                </c:pt>
                <c:pt idx="10394">
                  <c:v>#N/A</c:v>
                </c:pt>
                <c:pt idx="10395">
                  <c:v>#N/A</c:v>
                </c:pt>
                <c:pt idx="10396">
                  <c:v>#N/A</c:v>
                </c:pt>
                <c:pt idx="10397">
                  <c:v>#N/A</c:v>
                </c:pt>
                <c:pt idx="10398">
                  <c:v>#N/A</c:v>
                </c:pt>
                <c:pt idx="10399">
                  <c:v>#N/A</c:v>
                </c:pt>
                <c:pt idx="10400">
                  <c:v>#N/A</c:v>
                </c:pt>
                <c:pt idx="10401">
                  <c:v>#N/A</c:v>
                </c:pt>
                <c:pt idx="10402">
                  <c:v>#N/A</c:v>
                </c:pt>
                <c:pt idx="10403">
                  <c:v>#N/A</c:v>
                </c:pt>
                <c:pt idx="10404">
                  <c:v>#N/A</c:v>
                </c:pt>
                <c:pt idx="10405">
                  <c:v>#N/A</c:v>
                </c:pt>
                <c:pt idx="10406">
                  <c:v>#N/A</c:v>
                </c:pt>
                <c:pt idx="10407">
                  <c:v>#N/A</c:v>
                </c:pt>
                <c:pt idx="10408">
                  <c:v>#N/A</c:v>
                </c:pt>
                <c:pt idx="10409">
                  <c:v>#N/A</c:v>
                </c:pt>
                <c:pt idx="10410">
                  <c:v>#N/A</c:v>
                </c:pt>
                <c:pt idx="10411">
                  <c:v>#N/A</c:v>
                </c:pt>
                <c:pt idx="10412">
                  <c:v>#N/A</c:v>
                </c:pt>
                <c:pt idx="10413">
                  <c:v>#N/A</c:v>
                </c:pt>
                <c:pt idx="10414">
                  <c:v>#N/A</c:v>
                </c:pt>
                <c:pt idx="10415">
                  <c:v>#N/A</c:v>
                </c:pt>
                <c:pt idx="10416">
                  <c:v>#N/A</c:v>
                </c:pt>
                <c:pt idx="10417">
                  <c:v>#N/A</c:v>
                </c:pt>
                <c:pt idx="10418">
                  <c:v>#N/A</c:v>
                </c:pt>
                <c:pt idx="10419">
                  <c:v>#N/A</c:v>
                </c:pt>
                <c:pt idx="10420">
                  <c:v>#N/A</c:v>
                </c:pt>
                <c:pt idx="10421">
                  <c:v>#N/A</c:v>
                </c:pt>
                <c:pt idx="10422">
                  <c:v>#N/A</c:v>
                </c:pt>
                <c:pt idx="10423">
                  <c:v>#N/A</c:v>
                </c:pt>
                <c:pt idx="10424">
                  <c:v>#N/A</c:v>
                </c:pt>
                <c:pt idx="10425">
                  <c:v>#N/A</c:v>
                </c:pt>
                <c:pt idx="10426">
                  <c:v>#N/A</c:v>
                </c:pt>
                <c:pt idx="10427">
                  <c:v>#N/A</c:v>
                </c:pt>
                <c:pt idx="10428">
                  <c:v>#N/A</c:v>
                </c:pt>
                <c:pt idx="10429">
                  <c:v>#N/A</c:v>
                </c:pt>
                <c:pt idx="10430">
                  <c:v>#N/A</c:v>
                </c:pt>
                <c:pt idx="10431">
                  <c:v>#N/A</c:v>
                </c:pt>
                <c:pt idx="10432">
                  <c:v>#N/A</c:v>
                </c:pt>
                <c:pt idx="10433">
                  <c:v>#N/A</c:v>
                </c:pt>
                <c:pt idx="10434">
                  <c:v>#N/A</c:v>
                </c:pt>
                <c:pt idx="10435">
                  <c:v>#N/A</c:v>
                </c:pt>
                <c:pt idx="10436">
                  <c:v>#N/A</c:v>
                </c:pt>
                <c:pt idx="10437">
                  <c:v>#N/A</c:v>
                </c:pt>
                <c:pt idx="10438">
                  <c:v>#N/A</c:v>
                </c:pt>
                <c:pt idx="10439">
                  <c:v>#N/A</c:v>
                </c:pt>
                <c:pt idx="10440">
                  <c:v>#N/A</c:v>
                </c:pt>
                <c:pt idx="10441">
                  <c:v>#N/A</c:v>
                </c:pt>
                <c:pt idx="10442">
                  <c:v>#N/A</c:v>
                </c:pt>
                <c:pt idx="10443">
                  <c:v>#N/A</c:v>
                </c:pt>
                <c:pt idx="10444">
                  <c:v>#N/A</c:v>
                </c:pt>
                <c:pt idx="10445">
                  <c:v>#N/A</c:v>
                </c:pt>
                <c:pt idx="10446">
                  <c:v>#N/A</c:v>
                </c:pt>
                <c:pt idx="10447">
                  <c:v>#N/A</c:v>
                </c:pt>
                <c:pt idx="10448">
                  <c:v>#N/A</c:v>
                </c:pt>
                <c:pt idx="10449">
                  <c:v>#N/A</c:v>
                </c:pt>
                <c:pt idx="10450">
                  <c:v>#N/A</c:v>
                </c:pt>
                <c:pt idx="10451">
                  <c:v>#N/A</c:v>
                </c:pt>
                <c:pt idx="10452">
                  <c:v>#N/A</c:v>
                </c:pt>
                <c:pt idx="10453">
                  <c:v>#N/A</c:v>
                </c:pt>
                <c:pt idx="10454">
                  <c:v>#N/A</c:v>
                </c:pt>
                <c:pt idx="10455">
                  <c:v>#N/A</c:v>
                </c:pt>
                <c:pt idx="10456">
                  <c:v>#N/A</c:v>
                </c:pt>
                <c:pt idx="10457">
                  <c:v>#N/A</c:v>
                </c:pt>
                <c:pt idx="10458">
                  <c:v>#N/A</c:v>
                </c:pt>
                <c:pt idx="10459">
                  <c:v>#N/A</c:v>
                </c:pt>
                <c:pt idx="10460">
                  <c:v>#N/A</c:v>
                </c:pt>
                <c:pt idx="10461">
                  <c:v>#N/A</c:v>
                </c:pt>
                <c:pt idx="10462">
                  <c:v>#N/A</c:v>
                </c:pt>
                <c:pt idx="10463">
                  <c:v>#N/A</c:v>
                </c:pt>
                <c:pt idx="10464">
                  <c:v>#N/A</c:v>
                </c:pt>
                <c:pt idx="10465">
                  <c:v>#N/A</c:v>
                </c:pt>
                <c:pt idx="10466">
                  <c:v>#N/A</c:v>
                </c:pt>
                <c:pt idx="10467">
                  <c:v>#N/A</c:v>
                </c:pt>
                <c:pt idx="10468">
                  <c:v>#N/A</c:v>
                </c:pt>
                <c:pt idx="10469">
                  <c:v>#N/A</c:v>
                </c:pt>
                <c:pt idx="10470">
                  <c:v>#N/A</c:v>
                </c:pt>
                <c:pt idx="10471">
                  <c:v>#N/A</c:v>
                </c:pt>
                <c:pt idx="10472">
                  <c:v>#N/A</c:v>
                </c:pt>
                <c:pt idx="10473">
                  <c:v>#N/A</c:v>
                </c:pt>
                <c:pt idx="10474">
                  <c:v>#N/A</c:v>
                </c:pt>
                <c:pt idx="10475">
                  <c:v>#N/A</c:v>
                </c:pt>
                <c:pt idx="10476">
                  <c:v>#N/A</c:v>
                </c:pt>
                <c:pt idx="10477">
                  <c:v>#N/A</c:v>
                </c:pt>
                <c:pt idx="10478">
                  <c:v>#N/A</c:v>
                </c:pt>
                <c:pt idx="10479">
                  <c:v>#N/A</c:v>
                </c:pt>
                <c:pt idx="10480">
                  <c:v>#N/A</c:v>
                </c:pt>
                <c:pt idx="10481">
                  <c:v>#N/A</c:v>
                </c:pt>
                <c:pt idx="10482">
                  <c:v>#N/A</c:v>
                </c:pt>
                <c:pt idx="10483">
                  <c:v>#N/A</c:v>
                </c:pt>
                <c:pt idx="10484">
                  <c:v>#N/A</c:v>
                </c:pt>
                <c:pt idx="10485">
                  <c:v>#N/A</c:v>
                </c:pt>
                <c:pt idx="10486">
                  <c:v>#N/A</c:v>
                </c:pt>
                <c:pt idx="10487">
                  <c:v>#N/A</c:v>
                </c:pt>
                <c:pt idx="10488">
                  <c:v>#N/A</c:v>
                </c:pt>
                <c:pt idx="10489">
                  <c:v>#N/A</c:v>
                </c:pt>
                <c:pt idx="10490">
                  <c:v>#N/A</c:v>
                </c:pt>
                <c:pt idx="10491">
                  <c:v>#N/A</c:v>
                </c:pt>
                <c:pt idx="10492">
                  <c:v>#N/A</c:v>
                </c:pt>
                <c:pt idx="10493">
                  <c:v>#N/A</c:v>
                </c:pt>
                <c:pt idx="10494">
                  <c:v>#N/A</c:v>
                </c:pt>
                <c:pt idx="10495">
                  <c:v>#N/A</c:v>
                </c:pt>
                <c:pt idx="10496">
                  <c:v>#N/A</c:v>
                </c:pt>
                <c:pt idx="10497">
                  <c:v>#N/A</c:v>
                </c:pt>
                <c:pt idx="10498">
                  <c:v>#N/A</c:v>
                </c:pt>
                <c:pt idx="10499">
                  <c:v>#N/A</c:v>
                </c:pt>
                <c:pt idx="10500">
                  <c:v>#N/A</c:v>
                </c:pt>
                <c:pt idx="10501">
                  <c:v>#N/A</c:v>
                </c:pt>
                <c:pt idx="10502">
                  <c:v>#N/A</c:v>
                </c:pt>
                <c:pt idx="10503">
                  <c:v>#N/A</c:v>
                </c:pt>
                <c:pt idx="10504">
                  <c:v>#N/A</c:v>
                </c:pt>
                <c:pt idx="10505">
                  <c:v>#N/A</c:v>
                </c:pt>
                <c:pt idx="10506">
                  <c:v>#N/A</c:v>
                </c:pt>
                <c:pt idx="10507">
                  <c:v>#N/A</c:v>
                </c:pt>
                <c:pt idx="10508">
                  <c:v>#N/A</c:v>
                </c:pt>
                <c:pt idx="10509">
                  <c:v>#N/A</c:v>
                </c:pt>
                <c:pt idx="10510">
                  <c:v>#N/A</c:v>
                </c:pt>
                <c:pt idx="10511">
                  <c:v>#N/A</c:v>
                </c:pt>
                <c:pt idx="10512">
                  <c:v>#N/A</c:v>
                </c:pt>
                <c:pt idx="10513">
                  <c:v>#N/A</c:v>
                </c:pt>
                <c:pt idx="10514">
                  <c:v>#N/A</c:v>
                </c:pt>
                <c:pt idx="10515">
                  <c:v>#N/A</c:v>
                </c:pt>
                <c:pt idx="10516">
                  <c:v>#N/A</c:v>
                </c:pt>
                <c:pt idx="10517">
                  <c:v>#N/A</c:v>
                </c:pt>
                <c:pt idx="10518">
                  <c:v>#N/A</c:v>
                </c:pt>
                <c:pt idx="10519">
                  <c:v>#N/A</c:v>
                </c:pt>
                <c:pt idx="10520">
                  <c:v>#N/A</c:v>
                </c:pt>
                <c:pt idx="10521">
                  <c:v>#N/A</c:v>
                </c:pt>
                <c:pt idx="10522">
                  <c:v>#N/A</c:v>
                </c:pt>
                <c:pt idx="10523">
                  <c:v>#N/A</c:v>
                </c:pt>
                <c:pt idx="10524">
                  <c:v>#N/A</c:v>
                </c:pt>
                <c:pt idx="10525">
                  <c:v>#N/A</c:v>
                </c:pt>
                <c:pt idx="10526">
                  <c:v>#N/A</c:v>
                </c:pt>
                <c:pt idx="10527">
                  <c:v>#N/A</c:v>
                </c:pt>
                <c:pt idx="10528">
                  <c:v>#N/A</c:v>
                </c:pt>
                <c:pt idx="10529">
                  <c:v>#N/A</c:v>
                </c:pt>
                <c:pt idx="10530">
                  <c:v>#N/A</c:v>
                </c:pt>
                <c:pt idx="10531">
                  <c:v>#N/A</c:v>
                </c:pt>
                <c:pt idx="10532">
                  <c:v>#N/A</c:v>
                </c:pt>
                <c:pt idx="10533">
                  <c:v>#N/A</c:v>
                </c:pt>
                <c:pt idx="10534">
                  <c:v>#N/A</c:v>
                </c:pt>
                <c:pt idx="10535">
                  <c:v>#N/A</c:v>
                </c:pt>
                <c:pt idx="10536">
                  <c:v>#N/A</c:v>
                </c:pt>
                <c:pt idx="10537">
                  <c:v>#N/A</c:v>
                </c:pt>
                <c:pt idx="10538">
                  <c:v>#N/A</c:v>
                </c:pt>
                <c:pt idx="10539">
                  <c:v>#N/A</c:v>
                </c:pt>
                <c:pt idx="10540">
                  <c:v>#N/A</c:v>
                </c:pt>
                <c:pt idx="10541">
                  <c:v>#N/A</c:v>
                </c:pt>
                <c:pt idx="10542">
                  <c:v>#N/A</c:v>
                </c:pt>
                <c:pt idx="10543">
                  <c:v>#N/A</c:v>
                </c:pt>
                <c:pt idx="10544">
                  <c:v>#N/A</c:v>
                </c:pt>
                <c:pt idx="10545">
                  <c:v>#N/A</c:v>
                </c:pt>
                <c:pt idx="10546">
                  <c:v>#N/A</c:v>
                </c:pt>
                <c:pt idx="10547">
                  <c:v>#N/A</c:v>
                </c:pt>
                <c:pt idx="10548">
                  <c:v>#N/A</c:v>
                </c:pt>
                <c:pt idx="10549">
                  <c:v>#N/A</c:v>
                </c:pt>
                <c:pt idx="10550">
                  <c:v>#N/A</c:v>
                </c:pt>
                <c:pt idx="10551">
                  <c:v>#N/A</c:v>
                </c:pt>
                <c:pt idx="10552">
                  <c:v>#N/A</c:v>
                </c:pt>
                <c:pt idx="10553">
                  <c:v>#N/A</c:v>
                </c:pt>
                <c:pt idx="10554">
                  <c:v>#N/A</c:v>
                </c:pt>
                <c:pt idx="10555">
                  <c:v>#N/A</c:v>
                </c:pt>
                <c:pt idx="10556">
                  <c:v>#N/A</c:v>
                </c:pt>
                <c:pt idx="10557">
                  <c:v>#N/A</c:v>
                </c:pt>
                <c:pt idx="10558">
                  <c:v>#N/A</c:v>
                </c:pt>
                <c:pt idx="10559">
                  <c:v>#N/A</c:v>
                </c:pt>
                <c:pt idx="10560">
                  <c:v>#N/A</c:v>
                </c:pt>
                <c:pt idx="10561">
                  <c:v>#N/A</c:v>
                </c:pt>
                <c:pt idx="10562">
                  <c:v>#N/A</c:v>
                </c:pt>
                <c:pt idx="10563">
                  <c:v>#N/A</c:v>
                </c:pt>
                <c:pt idx="10564">
                  <c:v>#N/A</c:v>
                </c:pt>
                <c:pt idx="10565">
                  <c:v>#N/A</c:v>
                </c:pt>
                <c:pt idx="10566">
                  <c:v>#N/A</c:v>
                </c:pt>
                <c:pt idx="10567">
                  <c:v>#N/A</c:v>
                </c:pt>
                <c:pt idx="10568">
                  <c:v>#N/A</c:v>
                </c:pt>
                <c:pt idx="10569">
                  <c:v>#N/A</c:v>
                </c:pt>
                <c:pt idx="10570">
                  <c:v>#N/A</c:v>
                </c:pt>
                <c:pt idx="10571">
                  <c:v>#N/A</c:v>
                </c:pt>
                <c:pt idx="10572">
                  <c:v>#N/A</c:v>
                </c:pt>
                <c:pt idx="10573">
                  <c:v>#N/A</c:v>
                </c:pt>
                <c:pt idx="10574">
                  <c:v>#N/A</c:v>
                </c:pt>
                <c:pt idx="10575">
                  <c:v>#N/A</c:v>
                </c:pt>
                <c:pt idx="10576">
                  <c:v>#N/A</c:v>
                </c:pt>
                <c:pt idx="10577">
                  <c:v>#N/A</c:v>
                </c:pt>
                <c:pt idx="10578">
                  <c:v>#N/A</c:v>
                </c:pt>
                <c:pt idx="10579">
                  <c:v>#N/A</c:v>
                </c:pt>
                <c:pt idx="10580">
                  <c:v>#N/A</c:v>
                </c:pt>
                <c:pt idx="10581">
                  <c:v>#N/A</c:v>
                </c:pt>
                <c:pt idx="10582">
                  <c:v>#N/A</c:v>
                </c:pt>
                <c:pt idx="10583">
                  <c:v>#N/A</c:v>
                </c:pt>
                <c:pt idx="10584">
                  <c:v>#N/A</c:v>
                </c:pt>
                <c:pt idx="10585">
                  <c:v>#N/A</c:v>
                </c:pt>
                <c:pt idx="10586">
                  <c:v>#N/A</c:v>
                </c:pt>
                <c:pt idx="10587">
                  <c:v>#N/A</c:v>
                </c:pt>
                <c:pt idx="10588">
                  <c:v>#N/A</c:v>
                </c:pt>
                <c:pt idx="10589">
                  <c:v>#N/A</c:v>
                </c:pt>
                <c:pt idx="10590">
                  <c:v>#N/A</c:v>
                </c:pt>
                <c:pt idx="10591">
                  <c:v>#N/A</c:v>
                </c:pt>
                <c:pt idx="10592">
                  <c:v>#N/A</c:v>
                </c:pt>
                <c:pt idx="10593">
                  <c:v>#N/A</c:v>
                </c:pt>
                <c:pt idx="10594">
                  <c:v>#N/A</c:v>
                </c:pt>
                <c:pt idx="10595">
                  <c:v>#N/A</c:v>
                </c:pt>
                <c:pt idx="10596">
                  <c:v>#N/A</c:v>
                </c:pt>
                <c:pt idx="10597">
                  <c:v>#N/A</c:v>
                </c:pt>
                <c:pt idx="10598">
                  <c:v>#N/A</c:v>
                </c:pt>
                <c:pt idx="10599">
                  <c:v>#N/A</c:v>
                </c:pt>
                <c:pt idx="10600">
                  <c:v>#N/A</c:v>
                </c:pt>
                <c:pt idx="10601">
                  <c:v>#N/A</c:v>
                </c:pt>
                <c:pt idx="10602">
                  <c:v>#N/A</c:v>
                </c:pt>
                <c:pt idx="10603">
                  <c:v>#N/A</c:v>
                </c:pt>
                <c:pt idx="10604">
                  <c:v>#N/A</c:v>
                </c:pt>
                <c:pt idx="10605">
                  <c:v>#N/A</c:v>
                </c:pt>
                <c:pt idx="10606">
                  <c:v>#N/A</c:v>
                </c:pt>
                <c:pt idx="10607">
                  <c:v>#N/A</c:v>
                </c:pt>
                <c:pt idx="10608">
                  <c:v>#N/A</c:v>
                </c:pt>
                <c:pt idx="10609">
                  <c:v>#N/A</c:v>
                </c:pt>
                <c:pt idx="10610">
                  <c:v>#N/A</c:v>
                </c:pt>
                <c:pt idx="10611">
                  <c:v>#N/A</c:v>
                </c:pt>
                <c:pt idx="10612">
                  <c:v>#N/A</c:v>
                </c:pt>
                <c:pt idx="10613">
                  <c:v>#N/A</c:v>
                </c:pt>
                <c:pt idx="10614">
                  <c:v>#N/A</c:v>
                </c:pt>
                <c:pt idx="10615">
                  <c:v>#N/A</c:v>
                </c:pt>
                <c:pt idx="10616">
                  <c:v>#N/A</c:v>
                </c:pt>
                <c:pt idx="10617">
                  <c:v>#N/A</c:v>
                </c:pt>
                <c:pt idx="10618">
                  <c:v>#N/A</c:v>
                </c:pt>
                <c:pt idx="10619">
                  <c:v>#N/A</c:v>
                </c:pt>
                <c:pt idx="10620">
                  <c:v>#N/A</c:v>
                </c:pt>
                <c:pt idx="10621">
                  <c:v>#N/A</c:v>
                </c:pt>
                <c:pt idx="10622">
                  <c:v>#N/A</c:v>
                </c:pt>
                <c:pt idx="10623">
                  <c:v>#N/A</c:v>
                </c:pt>
                <c:pt idx="10624">
                  <c:v>#N/A</c:v>
                </c:pt>
                <c:pt idx="10625">
                  <c:v>#N/A</c:v>
                </c:pt>
                <c:pt idx="10626">
                  <c:v>#N/A</c:v>
                </c:pt>
                <c:pt idx="10627">
                  <c:v>#N/A</c:v>
                </c:pt>
                <c:pt idx="10628">
                  <c:v>#N/A</c:v>
                </c:pt>
                <c:pt idx="10629">
                  <c:v>#N/A</c:v>
                </c:pt>
                <c:pt idx="10630">
                  <c:v>#N/A</c:v>
                </c:pt>
                <c:pt idx="10631">
                  <c:v>#N/A</c:v>
                </c:pt>
                <c:pt idx="10632">
                  <c:v>#N/A</c:v>
                </c:pt>
                <c:pt idx="10633">
                  <c:v>#N/A</c:v>
                </c:pt>
                <c:pt idx="10634">
                  <c:v>#N/A</c:v>
                </c:pt>
                <c:pt idx="10635">
                  <c:v>#N/A</c:v>
                </c:pt>
                <c:pt idx="10636">
                  <c:v>#N/A</c:v>
                </c:pt>
                <c:pt idx="10637">
                  <c:v>#N/A</c:v>
                </c:pt>
                <c:pt idx="10638">
                  <c:v>#N/A</c:v>
                </c:pt>
                <c:pt idx="10639">
                  <c:v>#N/A</c:v>
                </c:pt>
                <c:pt idx="10640">
                  <c:v>#N/A</c:v>
                </c:pt>
                <c:pt idx="10641">
                  <c:v>#N/A</c:v>
                </c:pt>
                <c:pt idx="10642">
                  <c:v>#N/A</c:v>
                </c:pt>
                <c:pt idx="10643">
                  <c:v>#N/A</c:v>
                </c:pt>
                <c:pt idx="10644">
                  <c:v>#N/A</c:v>
                </c:pt>
                <c:pt idx="10645">
                  <c:v>#N/A</c:v>
                </c:pt>
                <c:pt idx="10646">
                  <c:v>#N/A</c:v>
                </c:pt>
                <c:pt idx="10647">
                  <c:v>#N/A</c:v>
                </c:pt>
                <c:pt idx="10648">
                  <c:v>#N/A</c:v>
                </c:pt>
                <c:pt idx="10649">
                  <c:v>#N/A</c:v>
                </c:pt>
                <c:pt idx="10650">
                  <c:v>#N/A</c:v>
                </c:pt>
                <c:pt idx="10651">
                  <c:v>#N/A</c:v>
                </c:pt>
                <c:pt idx="10652">
                  <c:v>#N/A</c:v>
                </c:pt>
                <c:pt idx="10653">
                  <c:v>#N/A</c:v>
                </c:pt>
                <c:pt idx="10654">
                  <c:v>#N/A</c:v>
                </c:pt>
                <c:pt idx="10655">
                  <c:v>#N/A</c:v>
                </c:pt>
                <c:pt idx="10656">
                  <c:v>#N/A</c:v>
                </c:pt>
                <c:pt idx="10657">
                  <c:v>#N/A</c:v>
                </c:pt>
                <c:pt idx="10658">
                  <c:v>#N/A</c:v>
                </c:pt>
                <c:pt idx="10659">
                  <c:v>#N/A</c:v>
                </c:pt>
                <c:pt idx="10660">
                  <c:v>#N/A</c:v>
                </c:pt>
                <c:pt idx="10661">
                  <c:v>#N/A</c:v>
                </c:pt>
                <c:pt idx="10662">
                  <c:v>#N/A</c:v>
                </c:pt>
                <c:pt idx="10663">
                  <c:v>#N/A</c:v>
                </c:pt>
                <c:pt idx="10664">
                  <c:v>#N/A</c:v>
                </c:pt>
                <c:pt idx="10665">
                  <c:v>#N/A</c:v>
                </c:pt>
                <c:pt idx="10666">
                  <c:v>#N/A</c:v>
                </c:pt>
                <c:pt idx="10667">
                  <c:v>#N/A</c:v>
                </c:pt>
                <c:pt idx="10668">
                  <c:v>#N/A</c:v>
                </c:pt>
                <c:pt idx="10669">
                  <c:v>#N/A</c:v>
                </c:pt>
                <c:pt idx="10670">
                  <c:v>#N/A</c:v>
                </c:pt>
                <c:pt idx="10671">
                  <c:v>#N/A</c:v>
                </c:pt>
                <c:pt idx="10672">
                  <c:v>#N/A</c:v>
                </c:pt>
                <c:pt idx="10673">
                  <c:v>#N/A</c:v>
                </c:pt>
                <c:pt idx="10674">
                  <c:v>#N/A</c:v>
                </c:pt>
                <c:pt idx="10675">
                  <c:v>#N/A</c:v>
                </c:pt>
                <c:pt idx="10676">
                  <c:v>#N/A</c:v>
                </c:pt>
                <c:pt idx="10677">
                  <c:v>#N/A</c:v>
                </c:pt>
                <c:pt idx="10678">
                  <c:v>#N/A</c:v>
                </c:pt>
                <c:pt idx="10679">
                  <c:v>#N/A</c:v>
                </c:pt>
                <c:pt idx="10680">
                  <c:v>#N/A</c:v>
                </c:pt>
                <c:pt idx="10681">
                  <c:v>#N/A</c:v>
                </c:pt>
                <c:pt idx="10682">
                  <c:v>#N/A</c:v>
                </c:pt>
                <c:pt idx="10683">
                  <c:v>#N/A</c:v>
                </c:pt>
                <c:pt idx="10684">
                  <c:v>#N/A</c:v>
                </c:pt>
                <c:pt idx="10685">
                  <c:v>#N/A</c:v>
                </c:pt>
                <c:pt idx="10686">
                  <c:v>#N/A</c:v>
                </c:pt>
                <c:pt idx="10687">
                  <c:v>#N/A</c:v>
                </c:pt>
                <c:pt idx="10688">
                  <c:v>#N/A</c:v>
                </c:pt>
                <c:pt idx="10689">
                  <c:v>#N/A</c:v>
                </c:pt>
                <c:pt idx="10690">
                  <c:v>#N/A</c:v>
                </c:pt>
                <c:pt idx="10691">
                  <c:v>#N/A</c:v>
                </c:pt>
                <c:pt idx="10692">
                  <c:v>#N/A</c:v>
                </c:pt>
                <c:pt idx="10693">
                  <c:v>#N/A</c:v>
                </c:pt>
                <c:pt idx="10694">
                  <c:v>#N/A</c:v>
                </c:pt>
                <c:pt idx="10695">
                  <c:v>#N/A</c:v>
                </c:pt>
                <c:pt idx="10696">
                  <c:v>#N/A</c:v>
                </c:pt>
                <c:pt idx="10697">
                  <c:v>#N/A</c:v>
                </c:pt>
                <c:pt idx="10698">
                  <c:v>#N/A</c:v>
                </c:pt>
                <c:pt idx="10699">
                  <c:v>#N/A</c:v>
                </c:pt>
                <c:pt idx="10700">
                  <c:v>#N/A</c:v>
                </c:pt>
                <c:pt idx="10701">
                  <c:v>#N/A</c:v>
                </c:pt>
                <c:pt idx="10702">
                  <c:v>#N/A</c:v>
                </c:pt>
                <c:pt idx="10703">
                  <c:v>#N/A</c:v>
                </c:pt>
                <c:pt idx="10704">
                  <c:v>#N/A</c:v>
                </c:pt>
                <c:pt idx="10705">
                  <c:v>#N/A</c:v>
                </c:pt>
                <c:pt idx="10706">
                  <c:v>#N/A</c:v>
                </c:pt>
                <c:pt idx="10707">
                  <c:v>#N/A</c:v>
                </c:pt>
                <c:pt idx="10708">
                  <c:v>#N/A</c:v>
                </c:pt>
                <c:pt idx="10709">
                  <c:v>#N/A</c:v>
                </c:pt>
                <c:pt idx="10710">
                  <c:v>#N/A</c:v>
                </c:pt>
                <c:pt idx="10711">
                  <c:v>#N/A</c:v>
                </c:pt>
                <c:pt idx="10712">
                  <c:v>#N/A</c:v>
                </c:pt>
                <c:pt idx="10713">
                  <c:v>#N/A</c:v>
                </c:pt>
                <c:pt idx="10714">
                  <c:v>#N/A</c:v>
                </c:pt>
                <c:pt idx="10715">
                  <c:v>#N/A</c:v>
                </c:pt>
                <c:pt idx="10716">
                  <c:v>#N/A</c:v>
                </c:pt>
                <c:pt idx="10717">
                  <c:v>#N/A</c:v>
                </c:pt>
                <c:pt idx="10718">
                  <c:v>#N/A</c:v>
                </c:pt>
                <c:pt idx="10719">
                  <c:v>#N/A</c:v>
                </c:pt>
                <c:pt idx="10720">
                  <c:v>#N/A</c:v>
                </c:pt>
                <c:pt idx="10721">
                  <c:v>#N/A</c:v>
                </c:pt>
                <c:pt idx="10722">
                  <c:v>#N/A</c:v>
                </c:pt>
                <c:pt idx="10723">
                  <c:v>#N/A</c:v>
                </c:pt>
                <c:pt idx="10724">
                  <c:v>#N/A</c:v>
                </c:pt>
                <c:pt idx="10725">
                  <c:v>#N/A</c:v>
                </c:pt>
                <c:pt idx="10726">
                  <c:v>#N/A</c:v>
                </c:pt>
                <c:pt idx="10727">
                  <c:v>#N/A</c:v>
                </c:pt>
                <c:pt idx="10728">
                  <c:v>#N/A</c:v>
                </c:pt>
                <c:pt idx="10729">
                  <c:v>#N/A</c:v>
                </c:pt>
                <c:pt idx="10730">
                  <c:v>#N/A</c:v>
                </c:pt>
                <c:pt idx="10731">
                  <c:v>#N/A</c:v>
                </c:pt>
                <c:pt idx="10732">
                  <c:v>#N/A</c:v>
                </c:pt>
                <c:pt idx="10733">
                  <c:v>#N/A</c:v>
                </c:pt>
                <c:pt idx="10734">
                  <c:v>#N/A</c:v>
                </c:pt>
                <c:pt idx="10735">
                  <c:v>#N/A</c:v>
                </c:pt>
                <c:pt idx="10736">
                  <c:v>#N/A</c:v>
                </c:pt>
                <c:pt idx="10737">
                  <c:v>#N/A</c:v>
                </c:pt>
                <c:pt idx="10738">
                  <c:v>#N/A</c:v>
                </c:pt>
                <c:pt idx="10739">
                  <c:v>#N/A</c:v>
                </c:pt>
                <c:pt idx="10740">
                  <c:v>#N/A</c:v>
                </c:pt>
                <c:pt idx="10741">
                  <c:v>#N/A</c:v>
                </c:pt>
                <c:pt idx="10742">
                  <c:v>#N/A</c:v>
                </c:pt>
                <c:pt idx="10743">
                  <c:v>#N/A</c:v>
                </c:pt>
                <c:pt idx="10744">
                  <c:v>#N/A</c:v>
                </c:pt>
                <c:pt idx="10745">
                  <c:v>#N/A</c:v>
                </c:pt>
                <c:pt idx="10746">
                  <c:v>#N/A</c:v>
                </c:pt>
                <c:pt idx="10747">
                  <c:v>#N/A</c:v>
                </c:pt>
                <c:pt idx="10748">
                  <c:v>#N/A</c:v>
                </c:pt>
                <c:pt idx="10749">
                  <c:v>#N/A</c:v>
                </c:pt>
                <c:pt idx="10750">
                  <c:v>#N/A</c:v>
                </c:pt>
                <c:pt idx="10751">
                  <c:v>#N/A</c:v>
                </c:pt>
                <c:pt idx="10752">
                  <c:v>#N/A</c:v>
                </c:pt>
                <c:pt idx="10753">
                  <c:v>#N/A</c:v>
                </c:pt>
                <c:pt idx="10754">
                  <c:v>#N/A</c:v>
                </c:pt>
                <c:pt idx="10755">
                  <c:v>#N/A</c:v>
                </c:pt>
                <c:pt idx="10756">
                  <c:v>#N/A</c:v>
                </c:pt>
                <c:pt idx="10757">
                  <c:v>#N/A</c:v>
                </c:pt>
                <c:pt idx="10758">
                  <c:v>#N/A</c:v>
                </c:pt>
                <c:pt idx="10759">
                  <c:v>#N/A</c:v>
                </c:pt>
                <c:pt idx="10760">
                  <c:v>#N/A</c:v>
                </c:pt>
                <c:pt idx="10761">
                  <c:v>#N/A</c:v>
                </c:pt>
                <c:pt idx="10762">
                  <c:v>#N/A</c:v>
                </c:pt>
                <c:pt idx="10763">
                  <c:v>#N/A</c:v>
                </c:pt>
                <c:pt idx="10764">
                  <c:v>#N/A</c:v>
                </c:pt>
                <c:pt idx="10765">
                  <c:v>#N/A</c:v>
                </c:pt>
                <c:pt idx="10766">
                  <c:v>#N/A</c:v>
                </c:pt>
                <c:pt idx="10767">
                  <c:v>#N/A</c:v>
                </c:pt>
                <c:pt idx="10768">
                  <c:v>#N/A</c:v>
                </c:pt>
                <c:pt idx="10769">
                  <c:v>#N/A</c:v>
                </c:pt>
                <c:pt idx="10770">
                  <c:v>#N/A</c:v>
                </c:pt>
                <c:pt idx="10771">
                  <c:v>#N/A</c:v>
                </c:pt>
                <c:pt idx="10772">
                  <c:v>#N/A</c:v>
                </c:pt>
                <c:pt idx="10773">
                  <c:v>#N/A</c:v>
                </c:pt>
                <c:pt idx="10774">
                  <c:v>#N/A</c:v>
                </c:pt>
                <c:pt idx="10775">
                  <c:v>#N/A</c:v>
                </c:pt>
                <c:pt idx="10776">
                  <c:v>#N/A</c:v>
                </c:pt>
                <c:pt idx="10777">
                  <c:v>#N/A</c:v>
                </c:pt>
                <c:pt idx="10778">
                  <c:v>#N/A</c:v>
                </c:pt>
                <c:pt idx="10779">
                  <c:v>#N/A</c:v>
                </c:pt>
                <c:pt idx="10780">
                  <c:v>#N/A</c:v>
                </c:pt>
                <c:pt idx="10781">
                  <c:v>#N/A</c:v>
                </c:pt>
                <c:pt idx="10782">
                  <c:v>#N/A</c:v>
                </c:pt>
                <c:pt idx="10783">
                  <c:v>#N/A</c:v>
                </c:pt>
                <c:pt idx="10784">
                  <c:v>#N/A</c:v>
                </c:pt>
                <c:pt idx="10785">
                  <c:v>#N/A</c:v>
                </c:pt>
                <c:pt idx="10786">
                  <c:v>#N/A</c:v>
                </c:pt>
                <c:pt idx="10787">
                  <c:v>#N/A</c:v>
                </c:pt>
                <c:pt idx="10788">
                  <c:v>#N/A</c:v>
                </c:pt>
                <c:pt idx="10789">
                  <c:v>#N/A</c:v>
                </c:pt>
                <c:pt idx="10790">
                  <c:v>#N/A</c:v>
                </c:pt>
                <c:pt idx="10791">
                  <c:v>#N/A</c:v>
                </c:pt>
                <c:pt idx="10792">
                  <c:v>#N/A</c:v>
                </c:pt>
                <c:pt idx="10793">
                  <c:v>#N/A</c:v>
                </c:pt>
                <c:pt idx="10794">
                  <c:v>#N/A</c:v>
                </c:pt>
                <c:pt idx="10795">
                  <c:v>#N/A</c:v>
                </c:pt>
                <c:pt idx="10796">
                  <c:v>#N/A</c:v>
                </c:pt>
                <c:pt idx="10797">
                  <c:v>#N/A</c:v>
                </c:pt>
                <c:pt idx="10798">
                  <c:v>#N/A</c:v>
                </c:pt>
                <c:pt idx="10799">
                  <c:v>#N/A</c:v>
                </c:pt>
                <c:pt idx="10800">
                  <c:v>#N/A</c:v>
                </c:pt>
                <c:pt idx="10801">
                  <c:v>#N/A</c:v>
                </c:pt>
                <c:pt idx="10802">
                  <c:v>#N/A</c:v>
                </c:pt>
                <c:pt idx="10803">
                  <c:v>#N/A</c:v>
                </c:pt>
                <c:pt idx="10804">
                  <c:v>#N/A</c:v>
                </c:pt>
                <c:pt idx="10805">
                  <c:v>#N/A</c:v>
                </c:pt>
                <c:pt idx="10806">
                  <c:v>#N/A</c:v>
                </c:pt>
                <c:pt idx="10807">
                  <c:v>#N/A</c:v>
                </c:pt>
                <c:pt idx="10808">
                  <c:v>#N/A</c:v>
                </c:pt>
                <c:pt idx="10809">
                  <c:v>#N/A</c:v>
                </c:pt>
                <c:pt idx="10810">
                  <c:v>#N/A</c:v>
                </c:pt>
                <c:pt idx="10811">
                  <c:v>#N/A</c:v>
                </c:pt>
                <c:pt idx="10812">
                  <c:v>#N/A</c:v>
                </c:pt>
                <c:pt idx="10813">
                  <c:v>#N/A</c:v>
                </c:pt>
                <c:pt idx="10814">
                  <c:v>#N/A</c:v>
                </c:pt>
                <c:pt idx="10815">
                  <c:v>#N/A</c:v>
                </c:pt>
                <c:pt idx="10816">
                  <c:v>#N/A</c:v>
                </c:pt>
                <c:pt idx="10817">
                  <c:v>#N/A</c:v>
                </c:pt>
                <c:pt idx="10818">
                  <c:v>#N/A</c:v>
                </c:pt>
                <c:pt idx="10819">
                  <c:v>#N/A</c:v>
                </c:pt>
                <c:pt idx="10820">
                  <c:v>#N/A</c:v>
                </c:pt>
                <c:pt idx="10821">
                  <c:v>#N/A</c:v>
                </c:pt>
                <c:pt idx="10822">
                  <c:v>#N/A</c:v>
                </c:pt>
                <c:pt idx="10823">
                  <c:v>#N/A</c:v>
                </c:pt>
                <c:pt idx="10824">
                  <c:v>#N/A</c:v>
                </c:pt>
                <c:pt idx="10825">
                  <c:v>#N/A</c:v>
                </c:pt>
                <c:pt idx="10826">
                  <c:v>#N/A</c:v>
                </c:pt>
                <c:pt idx="10827">
                  <c:v>#N/A</c:v>
                </c:pt>
                <c:pt idx="10828">
                  <c:v>#N/A</c:v>
                </c:pt>
                <c:pt idx="10829">
                  <c:v>#N/A</c:v>
                </c:pt>
                <c:pt idx="10830">
                  <c:v>#N/A</c:v>
                </c:pt>
                <c:pt idx="10831">
                  <c:v>#N/A</c:v>
                </c:pt>
                <c:pt idx="10832">
                  <c:v>#N/A</c:v>
                </c:pt>
                <c:pt idx="10833">
                  <c:v>#N/A</c:v>
                </c:pt>
                <c:pt idx="10834">
                  <c:v>#N/A</c:v>
                </c:pt>
                <c:pt idx="10835">
                  <c:v>#N/A</c:v>
                </c:pt>
                <c:pt idx="10836">
                  <c:v>#N/A</c:v>
                </c:pt>
                <c:pt idx="10837">
                  <c:v>#N/A</c:v>
                </c:pt>
                <c:pt idx="10838">
                  <c:v>#N/A</c:v>
                </c:pt>
                <c:pt idx="10839">
                  <c:v>#N/A</c:v>
                </c:pt>
                <c:pt idx="10840">
                  <c:v>#N/A</c:v>
                </c:pt>
                <c:pt idx="10841">
                  <c:v>#N/A</c:v>
                </c:pt>
                <c:pt idx="10842">
                  <c:v>#N/A</c:v>
                </c:pt>
                <c:pt idx="10843">
                  <c:v>#N/A</c:v>
                </c:pt>
                <c:pt idx="10844">
                  <c:v>#N/A</c:v>
                </c:pt>
                <c:pt idx="10845">
                  <c:v>#N/A</c:v>
                </c:pt>
                <c:pt idx="10846">
                  <c:v>#N/A</c:v>
                </c:pt>
                <c:pt idx="10847">
                  <c:v>#N/A</c:v>
                </c:pt>
                <c:pt idx="10848">
                  <c:v>#N/A</c:v>
                </c:pt>
                <c:pt idx="10849">
                  <c:v>#N/A</c:v>
                </c:pt>
                <c:pt idx="10850">
                  <c:v>#N/A</c:v>
                </c:pt>
                <c:pt idx="10851">
                  <c:v>#N/A</c:v>
                </c:pt>
                <c:pt idx="10852">
                  <c:v>#N/A</c:v>
                </c:pt>
                <c:pt idx="10853">
                  <c:v>#N/A</c:v>
                </c:pt>
                <c:pt idx="10854">
                  <c:v>#N/A</c:v>
                </c:pt>
                <c:pt idx="10855">
                  <c:v>#N/A</c:v>
                </c:pt>
                <c:pt idx="10856">
                  <c:v>#N/A</c:v>
                </c:pt>
                <c:pt idx="10857">
                  <c:v>#N/A</c:v>
                </c:pt>
                <c:pt idx="10858">
                  <c:v>#N/A</c:v>
                </c:pt>
                <c:pt idx="10859">
                  <c:v>#N/A</c:v>
                </c:pt>
                <c:pt idx="10860">
                  <c:v>#N/A</c:v>
                </c:pt>
                <c:pt idx="10861">
                  <c:v>#N/A</c:v>
                </c:pt>
                <c:pt idx="10862">
                  <c:v>#N/A</c:v>
                </c:pt>
                <c:pt idx="10863">
                  <c:v>#N/A</c:v>
                </c:pt>
                <c:pt idx="10864">
                  <c:v>#N/A</c:v>
                </c:pt>
                <c:pt idx="10865">
                  <c:v>#N/A</c:v>
                </c:pt>
                <c:pt idx="10866">
                  <c:v>#N/A</c:v>
                </c:pt>
                <c:pt idx="10867">
                  <c:v>#N/A</c:v>
                </c:pt>
                <c:pt idx="10868">
                  <c:v>#N/A</c:v>
                </c:pt>
                <c:pt idx="10869">
                  <c:v>#N/A</c:v>
                </c:pt>
                <c:pt idx="10870">
                  <c:v>#N/A</c:v>
                </c:pt>
                <c:pt idx="10871">
                  <c:v>#N/A</c:v>
                </c:pt>
                <c:pt idx="10872">
                  <c:v>#N/A</c:v>
                </c:pt>
                <c:pt idx="10873">
                  <c:v>#N/A</c:v>
                </c:pt>
                <c:pt idx="10874">
                  <c:v>#N/A</c:v>
                </c:pt>
                <c:pt idx="10875">
                  <c:v>#N/A</c:v>
                </c:pt>
                <c:pt idx="10876">
                  <c:v>#N/A</c:v>
                </c:pt>
                <c:pt idx="10877">
                  <c:v>#N/A</c:v>
                </c:pt>
                <c:pt idx="10878">
                  <c:v>#N/A</c:v>
                </c:pt>
                <c:pt idx="10879">
                  <c:v>#N/A</c:v>
                </c:pt>
                <c:pt idx="10880">
                  <c:v>#N/A</c:v>
                </c:pt>
                <c:pt idx="10881">
                  <c:v>#N/A</c:v>
                </c:pt>
                <c:pt idx="10882">
                  <c:v>#N/A</c:v>
                </c:pt>
                <c:pt idx="10883">
                  <c:v>#N/A</c:v>
                </c:pt>
                <c:pt idx="10884">
                  <c:v>#N/A</c:v>
                </c:pt>
                <c:pt idx="10885">
                  <c:v>#N/A</c:v>
                </c:pt>
                <c:pt idx="10886">
                  <c:v>#N/A</c:v>
                </c:pt>
                <c:pt idx="10887">
                  <c:v>#N/A</c:v>
                </c:pt>
                <c:pt idx="10888">
                  <c:v>#N/A</c:v>
                </c:pt>
                <c:pt idx="10889">
                  <c:v>#N/A</c:v>
                </c:pt>
                <c:pt idx="10890">
                  <c:v>#N/A</c:v>
                </c:pt>
                <c:pt idx="10891">
                  <c:v>#N/A</c:v>
                </c:pt>
                <c:pt idx="10892">
                  <c:v>#N/A</c:v>
                </c:pt>
                <c:pt idx="10893">
                  <c:v>#N/A</c:v>
                </c:pt>
                <c:pt idx="10894">
                  <c:v>#N/A</c:v>
                </c:pt>
                <c:pt idx="10895">
                  <c:v>#N/A</c:v>
                </c:pt>
                <c:pt idx="10896">
                  <c:v>#N/A</c:v>
                </c:pt>
                <c:pt idx="10897">
                  <c:v>#N/A</c:v>
                </c:pt>
                <c:pt idx="10898">
                  <c:v>#N/A</c:v>
                </c:pt>
                <c:pt idx="10899">
                  <c:v>#N/A</c:v>
                </c:pt>
                <c:pt idx="10900">
                  <c:v>#N/A</c:v>
                </c:pt>
                <c:pt idx="10901">
                  <c:v>#N/A</c:v>
                </c:pt>
                <c:pt idx="10902">
                  <c:v>#N/A</c:v>
                </c:pt>
                <c:pt idx="10903">
                  <c:v>#N/A</c:v>
                </c:pt>
                <c:pt idx="10904">
                  <c:v>#N/A</c:v>
                </c:pt>
                <c:pt idx="10905">
                  <c:v>#N/A</c:v>
                </c:pt>
                <c:pt idx="10906">
                  <c:v>#N/A</c:v>
                </c:pt>
                <c:pt idx="10907">
                  <c:v>#N/A</c:v>
                </c:pt>
                <c:pt idx="10908">
                  <c:v>#N/A</c:v>
                </c:pt>
                <c:pt idx="10909">
                  <c:v>#N/A</c:v>
                </c:pt>
                <c:pt idx="10910">
                  <c:v>#N/A</c:v>
                </c:pt>
                <c:pt idx="10911">
                  <c:v>#N/A</c:v>
                </c:pt>
                <c:pt idx="10912">
                  <c:v>#N/A</c:v>
                </c:pt>
                <c:pt idx="10913">
                  <c:v>#N/A</c:v>
                </c:pt>
                <c:pt idx="10914">
                  <c:v>#N/A</c:v>
                </c:pt>
                <c:pt idx="10915">
                  <c:v>#N/A</c:v>
                </c:pt>
                <c:pt idx="10916">
                  <c:v>#N/A</c:v>
                </c:pt>
                <c:pt idx="10917">
                  <c:v>#N/A</c:v>
                </c:pt>
                <c:pt idx="10918">
                  <c:v>#N/A</c:v>
                </c:pt>
                <c:pt idx="10919">
                  <c:v>#N/A</c:v>
                </c:pt>
                <c:pt idx="10920">
                  <c:v>#N/A</c:v>
                </c:pt>
                <c:pt idx="10921">
                  <c:v>#N/A</c:v>
                </c:pt>
                <c:pt idx="10922">
                  <c:v>#N/A</c:v>
                </c:pt>
                <c:pt idx="10923">
                  <c:v>#N/A</c:v>
                </c:pt>
                <c:pt idx="10924">
                  <c:v>#N/A</c:v>
                </c:pt>
                <c:pt idx="10925">
                  <c:v>#N/A</c:v>
                </c:pt>
                <c:pt idx="10926">
                  <c:v>#N/A</c:v>
                </c:pt>
                <c:pt idx="10927">
                  <c:v>#N/A</c:v>
                </c:pt>
                <c:pt idx="10928">
                  <c:v>#N/A</c:v>
                </c:pt>
                <c:pt idx="10929">
                  <c:v>#N/A</c:v>
                </c:pt>
                <c:pt idx="10930">
                  <c:v>#N/A</c:v>
                </c:pt>
                <c:pt idx="10931">
                  <c:v>#N/A</c:v>
                </c:pt>
                <c:pt idx="10932">
                  <c:v>#N/A</c:v>
                </c:pt>
                <c:pt idx="10933">
                  <c:v>#N/A</c:v>
                </c:pt>
                <c:pt idx="10934">
                  <c:v>#N/A</c:v>
                </c:pt>
                <c:pt idx="10935">
                  <c:v>#N/A</c:v>
                </c:pt>
                <c:pt idx="10936">
                  <c:v>#N/A</c:v>
                </c:pt>
                <c:pt idx="10937">
                  <c:v>#N/A</c:v>
                </c:pt>
                <c:pt idx="10938">
                  <c:v>#N/A</c:v>
                </c:pt>
                <c:pt idx="10939">
                  <c:v>#N/A</c:v>
                </c:pt>
                <c:pt idx="10940">
                  <c:v>#N/A</c:v>
                </c:pt>
                <c:pt idx="10941">
                  <c:v>#N/A</c:v>
                </c:pt>
                <c:pt idx="10942">
                  <c:v>#N/A</c:v>
                </c:pt>
                <c:pt idx="10943">
                  <c:v>#N/A</c:v>
                </c:pt>
                <c:pt idx="10944">
                  <c:v>#N/A</c:v>
                </c:pt>
                <c:pt idx="10945">
                  <c:v>#N/A</c:v>
                </c:pt>
                <c:pt idx="10946">
                  <c:v>#N/A</c:v>
                </c:pt>
                <c:pt idx="10947">
                  <c:v>#N/A</c:v>
                </c:pt>
                <c:pt idx="10948">
                  <c:v>#N/A</c:v>
                </c:pt>
                <c:pt idx="10949">
                  <c:v>#N/A</c:v>
                </c:pt>
                <c:pt idx="10950">
                  <c:v>#N/A</c:v>
                </c:pt>
                <c:pt idx="10951">
                  <c:v>#N/A</c:v>
                </c:pt>
                <c:pt idx="10952">
                  <c:v>#N/A</c:v>
                </c:pt>
                <c:pt idx="10953">
                  <c:v>#N/A</c:v>
                </c:pt>
                <c:pt idx="10954">
                  <c:v>#N/A</c:v>
                </c:pt>
                <c:pt idx="10955">
                  <c:v>#N/A</c:v>
                </c:pt>
                <c:pt idx="10956">
                  <c:v>#N/A</c:v>
                </c:pt>
                <c:pt idx="10957">
                  <c:v>#N/A</c:v>
                </c:pt>
                <c:pt idx="10958">
                  <c:v>#N/A</c:v>
                </c:pt>
                <c:pt idx="10959">
                  <c:v>#N/A</c:v>
                </c:pt>
                <c:pt idx="10960">
                  <c:v>#N/A</c:v>
                </c:pt>
                <c:pt idx="10961">
                  <c:v>#N/A</c:v>
                </c:pt>
                <c:pt idx="10962">
                  <c:v>#N/A</c:v>
                </c:pt>
                <c:pt idx="10963">
                  <c:v>#N/A</c:v>
                </c:pt>
                <c:pt idx="10964">
                  <c:v>#N/A</c:v>
                </c:pt>
                <c:pt idx="10965">
                  <c:v>4.5095890410958903</c:v>
                </c:pt>
                <c:pt idx="10966">
                  <c:v>4.5095890410958903</c:v>
                </c:pt>
                <c:pt idx="10967">
                  <c:v>4.5095890410958903</c:v>
                </c:pt>
                <c:pt idx="10968">
                  <c:v>4.5095890410958903</c:v>
                </c:pt>
                <c:pt idx="10969">
                  <c:v>4.5095890410958903</c:v>
                </c:pt>
                <c:pt idx="10970">
                  <c:v>#N/A</c:v>
                </c:pt>
                <c:pt idx="10971">
                  <c:v>#N/A</c:v>
                </c:pt>
                <c:pt idx="10972">
                  <c:v>#N/A</c:v>
                </c:pt>
                <c:pt idx="10973">
                  <c:v>#N/A</c:v>
                </c:pt>
                <c:pt idx="10974">
                  <c:v>#N/A</c:v>
                </c:pt>
                <c:pt idx="10975">
                  <c:v>#N/A</c:v>
                </c:pt>
                <c:pt idx="10976">
                  <c:v>#N/A</c:v>
                </c:pt>
                <c:pt idx="10977">
                  <c:v>#N/A</c:v>
                </c:pt>
                <c:pt idx="10978">
                  <c:v>#N/A</c:v>
                </c:pt>
                <c:pt idx="10979">
                  <c:v>#N/A</c:v>
                </c:pt>
                <c:pt idx="10980">
                  <c:v>#N/A</c:v>
                </c:pt>
                <c:pt idx="10981">
                  <c:v>#N/A</c:v>
                </c:pt>
                <c:pt idx="10982">
                  <c:v>#N/A</c:v>
                </c:pt>
                <c:pt idx="10983">
                  <c:v>#N/A</c:v>
                </c:pt>
                <c:pt idx="10984">
                  <c:v>#N/A</c:v>
                </c:pt>
                <c:pt idx="10985">
                  <c:v>#N/A</c:v>
                </c:pt>
                <c:pt idx="10986">
                  <c:v>#N/A</c:v>
                </c:pt>
                <c:pt idx="10987">
                  <c:v>#N/A</c:v>
                </c:pt>
                <c:pt idx="10988">
                  <c:v>#N/A</c:v>
                </c:pt>
                <c:pt idx="10989">
                  <c:v>#N/A</c:v>
                </c:pt>
                <c:pt idx="10990">
                  <c:v>#N/A</c:v>
                </c:pt>
                <c:pt idx="10991">
                  <c:v>#N/A</c:v>
                </c:pt>
                <c:pt idx="10992">
                  <c:v>#N/A</c:v>
                </c:pt>
                <c:pt idx="10993">
                  <c:v>#N/A</c:v>
                </c:pt>
                <c:pt idx="10994">
                  <c:v>#N/A</c:v>
                </c:pt>
                <c:pt idx="10995">
                  <c:v>#N/A</c:v>
                </c:pt>
                <c:pt idx="10996">
                  <c:v>#N/A</c:v>
                </c:pt>
                <c:pt idx="10997">
                  <c:v>#N/A</c:v>
                </c:pt>
                <c:pt idx="10998">
                  <c:v>#N/A</c:v>
                </c:pt>
                <c:pt idx="10999">
                  <c:v>#N/A</c:v>
                </c:pt>
                <c:pt idx="11000">
                  <c:v>#N/A</c:v>
                </c:pt>
                <c:pt idx="11001">
                  <c:v>#N/A</c:v>
                </c:pt>
                <c:pt idx="11002">
                  <c:v>#N/A</c:v>
                </c:pt>
                <c:pt idx="11003">
                  <c:v>#N/A</c:v>
                </c:pt>
                <c:pt idx="11004">
                  <c:v>#N/A</c:v>
                </c:pt>
                <c:pt idx="11005">
                  <c:v>#N/A</c:v>
                </c:pt>
                <c:pt idx="11006">
                  <c:v>#N/A</c:v>
                </c:pt>
                <c:pt idx="11007">
                  <c:v>#N/A</c:v>
                </c:pt>
                <c:pt idx="11008">
                  <c:v>#N/A</c:v>
                </c:pt>
                <c:pt idx="11009">
                  <c:v>#N/A</c:v>
                </c:pt>
                <c:pt idx="11010">
                  <c:v>#N/A</c:v>
                </c:pt>
                <c:pt idx="11011">
                  <c:v>#N/A</c:v>
                </c:pt>
                <c:pt idx="11012">
                  <c:v>#N/A</c:v>
                </c:pt>
                <c:pt idx="11013">
                  <c:v>#N/A</c:v>
                </c:pt>
                <c:pt idx="11014">
                  <c:v>#N/A</c:v>
                </c:pt>
                <c:pt idx="11015">
                  <c:v>#N/A</c:v>
                </c:pt>
                <c:pt idx="11016">
                  <c:v>#N/A</c:v>
                </c:pt>
                <c:pt idx="11017">
                  <c:v>#N/A</c:v>
                </c:pt>
                <c:pt idx="11018">
                  <c:v>#N/A</c:v>
                </c:pt>
                <c:pt idx="11019">
                  <c:v>#N/A</c:v>
                </c:pt>
                <c:pt idx="11020">
                  <c:v>#N/A</c:v>
                </c:pt>
                <c:pt idx="11021">
                  <c:v>#N/A</c:v>
                </c:pt>
                <c:pt idx="11022">
                  <c:v>#N/A</c:v>
                </c:pt>
                <c:pt idx="11023">
                  <c:v>#N/A</c:v>
                </c:pt>
                <c:pt idx="11024">
                  <c:v>#N/A</c:v>
                </c:pt>
                <c:pt idx="11025">
                  <c:v>#N/A</c:v>
                </c:pt>
                <c:pt idx="11026">
                  <c:v>#N/A</c:v>
                </c:pt>
                <c:pt idx="11027">
                  <c:v>#N/A</c:v>
                </c:pt>
                <c:pt idx="11028">
                  <c:v>#N/A</c:v>
                </c:pt>
                <c:pt idx="11029">
                  <c:v>#N/A</c:v>
                </c:pt>
                <c:pt idx="11030">
                  <c:v>#N/A</c:v>
                </c:pt>
                <c:pt idx="11031">
                  <c:v>#N/A</c:v>
                </c:pt>
                <c:pt idx="11032">
                  <c:v>#N/A</c:v>
                </c:pt>
                <c:pt idx="11033">
                  <c:v>#N/A</c:v>
                </c:pt>
                <c:pt idx="11034">
                  <c:v>#N/A</c:v>
                </c:pt>
                <c:pt idx="11035">
                  <c:v>#N/A</c:v>
                </c:pt>
                <c:pt idx="11036">
                  <c:v>#N/A</c:v>
                </c:pt>
                <c:pt idx="11037">
                  <c:v>#N/A</c:v>
                </c:pt>
                <c:pt idx="11038">
                  <c:v>#N/A</c:v>
                </c:pt>
                <c:pt idx="11039">
                  <c:v>#N/A</c:v>
                </c:pt>
                <c:pt idx="11040">
                  <c:v>#N/A</c:v>
                </c:pt>
                <c:pt idx="11041">
                  <c:v>#N/A</c:v>
                </c:pt>
                <c:pt idx="11042">
                  <c:v>#N/A</c:v>
                </c:pt>
                <c:pt idx="11043">
                  <c:v>#N/A</c:v>
                </c:pt>
                <c:pt idx="11044">
                  <c:v>#N/A</c:v>
                </c:pt>
                <c:pt idx="11045">
                  <c:v>#N/A</c:v>
                </c:pt>
                <c:pt idx="11046">
                  <c:v>#N/A</c:v>
                </c:pt>
                <c:pt idx="11047">
                  <c:v>#N/A</c:v>
                </c:pt>
                <c:pt idx="11048">
                  <c:v>#N/A</c:v>
                </c:pt>
                <c:pt idx="11049">
                  <c:v>#N/A</c:v>
                </c:pt>
                <c:pt idx="11050">
                  <c:v>#N/A</c:v>
                </c:pt>
                <c:pt idx="11051">
                  <c:v>#N/A</c:v>
                </c:pt>
                <c:pt idx="11052">
                  <c:v>#N/A</c:v>
                </c:pt>
                <c:pt idx="11053">
                  <c:v>#N/A</c:v>
                </c:pt>
                <c:pt idx="11054">
                  <c:v>#N/A</c:v>
                </c:pt>
                <c:pt idx="11055">
                  <c:v>#N/A</c:v>
                </c:pt>
                <c:pt idx="11056">
                  <c:v>#N/A</c:v>
                </c:pt>
                <c:pt idx="11057">
                  <c:v>#N/A</c:v>
                </c:pt>
                <c:pt idx="11058">
                  <c:v>#N/A</c:v>
                </c:pt>
                <c:pt idx="11059">
                  <c:v>#N/A</c:v>
                </c:pt>
                <c:pt idx="11060">
                  <c:v>#N/A</c:v>
                </c:pt>
                <c:pt idx="11061">
                  <c:v>#N/A</c:v>
                </c:pt>
                <c:pt idx="11062">
                  <c:v>#N/A</c:v>
                </c:pt>
                <c:pt idx="11063">
                  <c:v>#N/A</c:v>
                </c:pt>
                <c:pt idx="11064">
                  <c:v>#N/A</c:v>
                </c:pt>
                <c:pt idx="11065">
                  <c:v>#N/A</c:v>
                </c:pt>
                <c:pt idx="11066">
                  <c:v>#N/A</c:v>
                </c:pt>
                <c:pt idx="11067">
                  <c:v>#N/A</c:v>
                </c:pt>
                <c:pt idx="11068">
                  <c:v>#N/A</c:v>
                </c:pt>
                <c:pt idx="11069">
                  <c:v>#N/A</c:v>
                </c:pt>
                <c:pt idx="11070">
                  <c:v>#N/A</c:v>
                </c:pt>
                <c:pt idx="11071">
                  <c:v>#N/A</c:v>
                </c:pt>
                <c:pt idx="11072">
                  <c:v>#N/A</c:v>
                </c:pt>
                <c:pt idx="11073">
                  <c:v>#N/A</c:v>
                </c:pt>
                <c:pt idx="11074">
                  <c:v>#N/A</c:v>
                </c:pt>
                <c:pt idx="11075">
                  <c:v>#N/A</c:v>
                </c:pt>
                <c:pt idx="11076">
                  <c:v>#N/A</c:v>
                </c:pt>
                <c:pt idx="11077">
                  <c:v>#N/A</c:v>
                </c:pt>
                <c:pt idx="11078">
                  <c:v>#N/A</c:v>
                </c:pt>
                <c:pt idx="11079">
                  <c:v>#N/A</c:v>
                </c:pt>
                <c:pt idx="11080">
                  <c:v>#N/A</c:v>
                </c:pt>
                <c:pt idx="11081">
                  <c:v>#N/A</c:v>
                </c:pt>
                <c:pt idx="11082">
                  <c:v>#N/A</c:v>
                </c:pt>
                <c:pt idx="11083">
                  <c:v>#N/A</c:v>
                </c:pt>
                <c:pt idx="11084">
                  <c:v>#N/A</c:v>
                </c:pt>
                <c:pt idx="11085">
                  <c:v>#N/A</c:v>
                </c:pt>
                <c:pt idx="11086">
                  <c:v>#N/A</c:v>
                </c:pt>
                <c:pt idx="11087">
                  <c:v>#N/A</c:v>
                </c:pt>
                <c:pt idx="11088">
                  <c:v>#N/A</c:v>
                </c:pt>
                <c:pt idx="11089">
                  <c:v>#N/A</c:v>
                </c:pt>
                <c:pt idx="11090">
                  <c:v>#N/A</c:v>
                </c:pt>
                <c:pt idx="11091">
                  <c:v>#N/A</c:v>
                </c:pt>
                <c:pt idx="11092">
                  <c:v>#N/A</c:v>
                </c:pt>
                <c:pt idx="11093">
                  <c:v>#N/A</c:v>
                </c:pt>
                <c:pt idx="11094">
                  <c:v>#N/A</c:v>
                </c:pt>
                <c:pt idx="11095">
                  <c:v>#N/A</c:v>
                </c:pt>
                <c:pt idx="11096">
                  <c:v>#N/A</c:v>
                </c:pt>
                <c:pt idx="11097">
                  <c:v>#N/A</c:v>
                </c:pt>
                <c:pt idx="11098">
                  <c:v>#N/A</c:v>
                </c:pt>
                <c:pt idx="11099">
                  <c:v>#N/A</c:v>
                </c:pt>
                <c:pt idx="11100">
                  <c:v>#N/A</c:v>
                </c:pt>
                <c:pt idx="11101">
                  <c:v>#N/A</c:v>
                </c:pt>
                <c:pt idx="11102">
                  <c:v>#N/A</c:v>
                </c:pt>
                <c:pt idx="11103">
                  <c:v>#N/A</c:v>
                </c:pt>
                <c:pt idx="11104">
                  <c:v>#N/A</c:v>
                </c:pt>
                <c:pt idx="11105">
                  <c:v>#N/A</c:v>
                </c:pt>
                <c:pt idx="11106">
                  <c:v>#N/A</c:v>
                </c:pt>
                <c:pt idx="11107">
                  <c:v>#N/A</c:v>
                </c:pt>
                <c:pt idx="11108">
                  <c:v>#N/A</c:v>
                </c:pt>
                <c:pt idx="11109">
                  <c:v>#N/A</c:v>
                </c:pt>
                <c:pt idx="11110">
                  <c:v>#N/A</c:v>
                </c:pt>
                <c:pt idx="11111">
                  <c:v>#N/A</c:v>
                </c:pt>
                <c:pt idx="11112">
                  <c:v>#N/A</c:v>
                </c:pt>
                <c:pt idx="11113">
                  <c:v>#N/A</c:v>
                </c:pt>
                <c:pt idx="11114">
                  <c:v>#N/A</c:v>
                </c:pt>
                <c:pt idx="11115">
                  <c:v>#N/A</c:v>
                </c:pt>
                <c:pt idx="11116">
                  <c:v>#N/A</c:v>
                </c:pt>
                <c:pt idx="11117">
                  <c:v>#N/A</c:v>
                </c:pt>
                <c:pt idx="11118">
                  <c:v>#N/A</c:v>
                </c:pt>
                <c:pt idx="11119">
                  <c:v>#N/A</c:v>
                </c:pt>
                <c:pt idx="11120">
                  <c:v>#N/A</c:v>
                </c:pt>
                <c:pt idx="11121">
                  <c:v>#N/A</c:v>
                </c:pt>
                <c:pt idx="11122">
                  <c:v>#N/A</c:v>
                </c:pt>
                <c:pt idx="11123">
                  <c:v>#N/A</c:v>
                </c:pt>
                <c:pt idx="11124">
                  <c:v>#N/A</c:v>
                </c:pt>
                <c:pt idx="11125">
                  <c:v>#N/A</c:v>
                </c:pt>
                <c:pt idx="11126">
                  <c:v>#N/A</c:v>
                </c:pt>
                <c:pt idx="11127">
                  <c:v>#N/A</c:v>
                </c:pt>
                <c:pt idx="11128">
                  <c:v>#N/A</c:v>
                </c:pt>
                <c:pt idx="11129">
                  <c:v>#N/A</c:v>
                </c:pt>
                <c:pt idx="11130">
                  <c:v>#N/A</c:v>
                </c:pt>
                <c:pt idx="11131">
                  <c:v>#N/A</c:v>
                </c:pt>
                <c:pt idx="11132">
                  <c:v>#N/A</c:v>
                </c:pt>
                <c:pt idx="11133">
                  <c:v>#N/A</c:v>
                </c:pt>
                <c:pt idx="11134">
                  <c:v>#N/A</c:v>
                </c:pt>
                <c:pt idx="11135">
                  <c:v>#N/A</c:v>
                </c:pt>
                <c:pt idx="11136">
                  <c:v>#N/A</c:v>
                </c:pt>
                <c:pt idx="11137">
                  <c:v>#N/A</c:v>
                </c:pt>
                <c:pt idx="11138">
                  <c:v>#N/A</c:v>
                </c:pt>
                <c:pt idx="11139">
                  <c:v>#N/A</c:v>
                </c:pt>
                <c:pt idx="11140">
                  <c:v>#N/A</c:v>
                </c:pt>
                <c:pt idx="11141">
                  <c:v>#N/A</c:v>
                </c:pt>
                <c:pt idx="11142">
                  <c:v>#N/A</c:v>
                </c:pt>
                <c:pt idx="11143">
                  <c:v>#N/A</c:v>
                </c:pt>
                <c:pt idx="11144">
                  <c:v>#N/A</c:v>
                </c:pt>
                <c:pt idx="11145">
                  <c:v>#N/A</c:v>
                </c:pt>
                <c:pt idx="11146">
                  <c:v>#N/A</c:v>
                </c:pt>
                <c:pt idx="11147">
                  <c:v>#N/A</c:v>
                </c:pt>
                <c:pt idx="11148">
                  <c:v>#N/A</c:v>
                </c:pt>
                <c:pt idx="11149">
                  <c:v>#N/A</c:v>
                </c:pt>
                <c:pt idx="11150">
                  <c:v>#N/A</c:v>
                </c:pt>
                <c:pt idx="11151">
                  <c:v>#N/A</c:v>
                </c:pt>
                <c:pt idx="11152">
                  <c:v>#N/A</c:v>
                </c:pt>
                <c:pt idx="11153">
                  <c:v>#N/A</c:v>
                </c:pt>
                <c:pt idx="11154">
                  <c:v>#N/A</c:v>
                </c:pt>
                <c:pt idx="11155">
                  <c:v>#N/A</c:v>
                </c:pt>
                <c:pt idx="11156">
                  <c:v>#N/A</c:v>
                </c:pt>
                <c:pt idx="11157">
                  <c:v>#N/A</c:v>
                </c:pt>
                <c:pt idx="11158">
                  <c:v>#N/A</c:v>
                </c:pt>
                <c:pt idx="11159">
                  <c:v>#N/A</c:v>
                </c:pt>
                <c:pt idx="11160">
                  <c:v>#N/A</c:v>
                </c:pt>
                <c:pt idx="11161">
                  <c:v>#N/A</c:v>
                </c:pt>
                <c:pt idx="11162">
                  <c:v>#N/A</c:v>
                </c:pt>
                <c:pt idx="11163">
                  <c:v>#N/A</c:v>
                </c:pt>
                <c:pt idx="11164">
                  <c:v>#N/A</c:v>
                </c:pt>
                <c:pt idx="11165">
                  <c:v>#N/A</c:v>
                </c:pt>
                <c:pt idx="11166">
                  <c:v>#N/A</c:v>
                </c:pt>
                <c:pt idx="11167">
                  <c:v>#N/A</c:v>
                </c:pt>
                <c:pt idx="11168">
                  <c:v>#N/A</c:v>
                </c:pt>
                <c:pt idx="11169">
                  <c:v>#N/A</c:v>
                </c:pt>
                <c:pt idx="11170">
                  <c:v>#N/A</c:v>
                </c:pt>
                <c:pt idx="11171">
                  <c:v>#N/A</c:v>
                </c:pt>
                <c:pt idx="11172">
                  <c:v>#N/A</c:v>
                </c:pt>
                <c:pt idx="11173">
                  <c:v>#N/A</c:v>
                </c:pt>
                <c:pt idx="11174">
                  <c:v>#N/A</c:v>
                </c:pt>
                <c:pt idx="11175">
                  <c:v>#N/A</c:v>
                </c:pt>
                <c:pt idx="11176">
                  <c:v>#N/A</c:v>
                </c:pt>
                <c:pt idx="11177">
                  <c:v>#N/A</c:v>
                </c:pt>
                <c:pt idx="11178">
                  <c:v>#N/A</c:v>
                </c:pt>
                <c:pt idx="11179">
                  <c:v>#N/A</c:v>
                </c:pt>
                <c:pt idx="11180">
                  <c:v>#N/A</c:v>
                </c:pt>
                <c:pt idx="11181">
                  <c:v>#N/A</c:v>
                </c:pt>
                <c:pt idx="11182">
                  <c:v>#N/A</c:v>
                </c:pt>
                <c:pt idx="11183">
                  <c:v>#N/A</c:v>
                </c:pt>
                <c:pt idx="11184">
                  <c:v>#N/A</c:v>
                </c:pt>
                <c:pt idx="11185">
                  <c:v>#N/A</c:v>
                </c:pt>
                <c:pt idx="11186">
                  <c:v>#N/A</c:v>
                </c:pt>
                <c:pt idx="11187">
                  <c:v>#N/A</c:v>
                </c:pt>
                <c:pt idx="11188">
                  <c:v>4.6657534246575345</c:v>
                </c:pt>
                <c:pt idx="11189">
                  <c:v>#N/A</c:v>
                </c:pt>
                <c:pt idx="11190">
                  <c:v>#N/A</c:v>
                </c:pt>
                <c:pt idx="11191">
                  <c:v>#N/A</c:v>
                </c:pt>
                <c:pt idx="11192">
                  <c:v>#N/A</c:v>
                </c:pt>
                <c:pt idx="11193">
                  <c:v>#N/A</c:v>
                </c:pt>
                <c:pt idx="11194">
                  <c:v>#N/A</c:v>
                </c:pt>
                <c:pt idx="11195">
                  <c:v>#N/A</c:v>
                </c:pt>
                <c:pt idx="11196">
                  <c:v>#N/A</c:v>
                </c:pt>
                <c:pt idx="11197">
                  <c:v>#N/A</c:v>
                </c:pt>
                <c:pt idx="11198">
                  <c:v>#N/A</c:v>
                </c:pt>
                <c:pt idx="11199">
                  <c:v>#N/A</c:v>
                </c:pt>
                <c:pt idx="11200">
                  <c:v>#N/A</c:v>
                </c:pt>
                <c:pt idx="11201">
                  <c:v>#N/A</c:v>
                </c:pt>
                <c:pt idx="11202">
                  <c:v>#N/A</c:v>
                </c:pt>
                <c:pt idx="11203">
                  <c:v>#N/A</c:v>
                </c:pt>
                <c:pt idx="11204">
                  <c:v>#N/A</c:v>
                </c:pt>
                <c:pt idx="11205">
                  <c:v>#N/A</c:v>
                </c:pt>
                <c:pt idx="11206">
                  <c:v>#N/A</c:v>
                </c:pt>
                <c:pt idx="11207">
                  <c:v>#N/A</c:v>
                </c:pt>
                <c:pt idx="11208">
                  <c:v>#N/A</c:v>
                </c:pt>
                <c:pt idx="11209">
                  <c:v>#N/A</c:v>
                </c:pt>
                <c:pt idx="11210">
                  <c:v>#N/A</c:v>
                </c:pt>
                <c:pt idx="11211">
                  <c:v>#N/A</c:v>
                </c:pt>
                <c:pt idx="11212">
                  <c:v>#N/A</c:v>
                </c:pt>
                <c:pt idx="11213">
                  <c:v>#N/A</c:v>
                </c:pt>
                <c:pt idx="11214">
                  <c:v>#N/A</c:v>
                </c:pt>
                <c:pt idx="11215">
                  <c:v>#N/A</c:v>
                </c:pt>
                <c:pt idx="11216">
                  <c:v>#N/A</c:v>
                </c:pt>
                <c:pt idx="11217">
                  <c:v>#N/A</c:v>
                </c:pt>
                <c:pt idx="11218">
                  <c:v>#N/A</c:v>
                </c:pt>
                <c:pt idx="11219">
                  <c:v>#N/A</c:v>
                </c:pt>
                <c:pt idx="11220">
                  <c:v>#N/A</c:v>
                </c:pt>
                <c:pt idx="11221">
                  <c:v>#N/A</c:v>
                </c:pt>
                <c:pt idx="11222">
                  <c:v>#N/A</c:v>
                </c:pt>
                <c:pt idx="11223">
                  <c:v>#N/A</c:v>
                </c:pt>
                <c:pt idx="11224">
                  <c:v>#N/A</c:v>
                </c:pt>
                <c:pt idx="11225">
                  <c:v>#N/A</c:v>
                </c:pt>
                <c:pt idx="11226">
                  <c:v>#N/A</c:v>
                </c:pt>
                <c:pt idx="11227">
                  <c:v>#N/A</c:v>
                </c:pt>
                <c:pt idx="11228">
                  <c:v>#N/A</c:v>
                </c:pt>
                <c:pt idx="11229">
                  <c:v>#N/A</c:v>
                </c:pt>
                <c:pt idx="11230">
                  <c:v>#N/A</c:v>
                </c:pt>
                <c:pt idx="11231">
                  <c:v>#N/A</c:v>
                </c:pt>
                <c:pt idx="11232">
                  <c:v>#N/A</c:v>
                </c:pt>
                <c:pt idx="11233">
                  <c:v>#N/A</c:v>
                </c:pt>
                <c:pt idx="11234">
                  <c:v>#N/A</c:v>
                </c:pt>
                <c:pt idx="11235">
                  <c:v>#N/A</c:v>
                </c:pt>
                <c:pt idx="11236">
                  <c:v>#N/A</c:v>
                </c:pt>
                <c:pt idx="11237">
                  <c:v>#N/A</c:v>
                </c:pt>
                <c:pt idx="11238">
                  <c:v>#N/A</c:v>
                </c:pt>
                <c:pt idx="11239">
                  <c:v>#N/A</c:v>
                </c:pt>
                <c:pt idx="11240">
                  <c:v>#N/A</c:v>
                </c:pt>
                <c:pt idx="11241">
                  <c:v>#N/A</c:v>
                </c:pt>
                <c:pt idx="11242">
                  <c:v>#N/A</c:v>
                </c:pt>
                <c:pt idx="11243">
                  <c:v>#N/A</c:v>
                </c:pt>
                <c:pt idx="11244">
                  <c:v>#N/A</c:v>
                </c:pt>
                <c:pt idx="11245">
                  <c:v>#N/A</c:v>
                </c:pt>
                <c:pt idx="11246">
                  <c:v>#N/A</c:v>
                </c:pt>
                <c:pt idx="11247">
                  <c:v>#N/A</c:v>
                </c:pt>
                <c:pt idx="11248">
                  <c:v>#N/A</c:v>
                </c:pt>
                <c:pt idx="11249">
                  <c:v>#N/A</c:v>
                </c:pt>
                <c:pt idx="11250">
                  <c:v>#N/A</c:v>
                </c:pt>
                <c:pt idx="11251">
                  <c:v>#N/A</c:v>
                </c:pt>
                <c:pt idx="11252">
                  <c:v>#N/A</c:v>
                </c:pt>
                <c:pt idx="11253">
                  <c:v>#N/A</c:v>
                </c:pt>
                <c:pt idx="11254">
                  <c:v>#N/A</c:v>
                </c:pt>
                <c:pt idx="11255">
                  <c:v>#N/A</c:v>
                </c:pt>
                <c:pt idx="11256">
                  <c:v>#N/A</c:v>
                </c:pt>
                <c:pt idx="11257">
                  <c:v>#N/A</c:v>
                </c:pt>
                <c:pt idx="11258">
                  <c:v>#N/A</c:v>
                </c:pt>
                <c:pt idx="11259">
                  <c:v>#N/A</c:v>
                </c:pt>
                <c:pt idx="11260">
                  <c:v>#N/A</c:v>
                </c:pt>
                <c:pt idx="11261">
                  <c:v>#N/A</c:v>
                </c:pt>
                <c:pt idx="11262">
                  <c:v>#N/A</c:v>
                </c:pt>
                <c:pt idx="11263">
                  <c:v>#N/A</c:v>
                </c:pt>
                <c:pt idx="11264">
                  <c:v>#N/A</c:v>
                </c:pt>
                <c:pt idx="11265">
                  <c:v>#N/A</c:v>
                </c:pt>
                <c:pt idx="11266">
                  <c:v>#N/A</c:v>
                </c:pt>
                <c:pt idx="11267">
                  <c:v>#N/A</c:v>
                </c:pt>
                <c:pt idx="11268">
                  <c:v>#N/A</c:v>
                </c:pt>
                <c:pt idx="11269">
                  <c:v>#N/A</c:v>
                </c:pt>
                <c:pt idx="11270">
                  <c:v>#N/A</c:v>
                </c:pt>
                <c:pt idx="11271">
                  <c:v>#N/A</c:v>
                </c:pt>
                <c:pt idx="11272">
                  <c:v>#N/A</c:v>
                </c:pt>
                <c:pt idx="11273">
                  <c:v>#N/A</c:v>
                </c:pt>
                <c:pt idx="11274">
                  <c:v>#N/A</c:v>
                </c:pt>
                <c:pt idx="11275">
                  <c:v>#N/A</c:v>
                </c:pt>
                <c:pt idx="11276">
                  <c:v>#N/A</c:v>
                </c:pt>
                <c:pt idx="11277">
                  <c:v>#N/A</c:v>
                </c:pt>
                <c:pt idx="11278">
                  <c:v>#N/A</c:v>
                </c:pt>
                <c:pt idx="11279">
                  <c:v>#N/A</c:v>
                </c:pt>
                <c:pt idx="11280">
                  <c:v>#N/A</c:v>
                </c:pt>
                <c:pt idx="11281">
                  <c:v>#N/A</c:v>
                </c:pt>
                <c:pt idx="11282">
                  <c:v>#N/A</c:v>
                </c:pt>
                <c:pt idx="11283">
                  <c:v>#N/A</c:v>
                </c:pt>
                <c:pt idx="11284">
                  <c:v>#N/A</c:v>
                </c:pt>
                <c:pt idx="11285">
                  <c:v>#N/A</c:v>
                </c:pt>
                <c:pt idx="11286">
                  <c:v>#N/A</c:v>
                </c:pt>
                <c:pt idx="11287">
                  <c:v>#N/A</c:v>
                </c:pt>
                <c:pt idx="11288">
                  <c:v>#N/A</c:v>
                </c:pt>
                <c:pt idx="11289">
                  <c:v>#N/A</c:v>
                </c:pt>
                <c:pt idx="11290">
                  <c:v>#N/A</c:v>
                </c:pt>
                <c:pt idx="11291">
                  <c:v>#N/A</c:v>
                </c:pt>
                <c:pt idx="11292">
                  <c:v>#N/A</c:v>
                </c:pt>
                <c:pt idx="11293">
                  <c:v>#N/A</c:v>
                </c:pt>
                <c:pt idx="11294">
                  <c:v>#N/A</c:v>
                </c:pt>
                <c:pt idx="11295">
                  <c:v>#N/A</c:v>
                </c:pt>
                <c:pt idx="11296">
                  <c:v>#N/A</c:v>
                </c:pt>
                <c:pt idx="11297">
                  <c:v>#N/A</c:v>
                </c:pt>
                <c:pt idx="11298">
                  <c:v>#N/A</c:v>
                </c:pt>
                <c:pt idx="11299">
                  <c:v>#N/A</c:v>
                </c:pt>
                <c:pt idx="11300">
                  <c:v>#N/A</c:v>
                </c:pt>
                <c:pt idx="11301">
                  <c:v>#N/A</c:v>
                </c:pt>
                <c:pt idx="11302">
                  <c:v>#N/A</c:v>
                </c:pt>
                <c:pt idx="11303">
                  <c:v>#N/A</c:v>
                </c:pt>
                <c:pt idx="11304">
                  <c:v>#N/A</c:v>
                </c:pt>
                <c:pt idx="11305">
                  <c:v>#N/A</c:v>
                </c:pt>
                <c:pt idx="11306">
                  <c:v>#N/A</c:v>
                </c:pt>
                <c:pt idx="11307">
                  <c:v>#N/A</c:v>
                </c:pt>
                <c:pt idx="11308">
                  <c:v>#N/A</c:v>
                </c:pt>
                <c:pt idx="11309">
                  <c:v>#N/A</c:v>
                </c:pt>
                <c:pt idx="11310">
                  <c:v>#N/A</c:v>
                </c:pt>
                <c:pt idx="11311">
                  <c:v>#N/A</c:v>
                </c:pt>
                <c:pt idx="11312">
                  <c:v>#N/A</c:v>
                </c:pt>
                <c:pt idx="11313">
                  <c:v>#N/A</c:v>
                </c:pt>
                <c:pt idx="11314">
                  <c:v>#N/A</c:v>
                </c:pt>
                <c:pt idx="11315">
                  <c:v>#N/A</c:v>
                </c:pt>
                <c:pt idx="11316">
                  <c:v>#N/A</c:v>
                </c:pt>
                <c:pt idx="11317">
                  <c:v>#N/A</c:v>
                </c:pt>
                <c:pt idx="11318">
                  <c:v>#N/A</c:v>
                </c:pt>
                <c:pt idx="11319">
                  <c:v>#N/A</c:v>
                </c:pt>
                <c:pt idx="11320">
                  <c:v>#N/A</c:v>
                </c:pt>
                <c:pt idx="11321">
                  <c:v>#N/A</c:v>
                </c:pt>
                <c:pt idx="11322">
                  <c:v>#N/A</c:v>
                </c:pt>
                <c:pt idx="11323">
                  <c:v>#N/A</c:v>
                </c:pt>
                <c:pt idx="11324">
                  <c:v>#N/A</c:v>
                </c:pt>
                <c:pt idx="11325">
                  <c:v>#N/A</c:v>
                </c:pt>
                <c:pt idx="11326">
                  <c:v>#N/A</c:v>
                </c:pt>
                <c:pt idx="11327">
                  <c:v>#N/A</c:v>
                </c:pt>
                <c:pt idx="11328">
                  <c:v>#N/A</c:v>
                </c:pt>
                <c:pt idx="11329">
                  <c:v>#N/A</c:v>
                </c:pt>
                <c:pt idx="11330">
                  <c:v>#N/A</c:v>
                </c:pt>
                <c:pt idx="11331">
                  <c:v>#N/A</c:v>
                </c:pt>
                <c:pt idx="11332">
                  <c:v>#N/A</c:v>
                </c:pt>
                <c:pt idx="11333">
                  <c:v>#N/A</c:v>
                </c:pt>
                <c:pt idx="11334">
                  <c:v>#N/A</c:v>
                </c:pt>
                <c:pt idx="11335">
                  <c:v>#N/A</c:v>
                </c:pt>
                <c:pt idx="11336">
                  <c:v>#N/A</c:v>
                </c:pt>
                <c:pt idx="11337">
                  <c:v>4.9479452054794519</c:v>
                </c:pt>
                <c:pt idx="11338">
                  <c:v>#N/A</c:v>
                </c:pt>
                <c:pt idx="11339">
                  <c:v>#N/A</c:v>
                </c:pt>
                <c:pt idx="11340">
                  <c:v>#N/A</c:v>
                </c:pt>
                <c:pt idx="11341">
                  <c:v>#N/A</c:v>
                </c:pt>
                <c:pt idx="11342">
                  <c:v>#N/A</c:v>
                </c:pt>
                <c:pt idx="11343">
                  <c:v>#N/A</c:v>
                </c:pt>
                <c:pt idx="11344">
                  <c:v>#N/A</c:v>
                </c:pt>
                <c:pt idx="11345">
                  <c:v>#N/A</c:v>
                </c:pt>
                <c:pt idx="11346">
                  <c:v>#N/A</c:v>
                </c:pt>
                <c:pt idx="11347">
                  <c:v>#N/A</c:v>
                </c:pt>
                <c:pt idx="11348">
                  <c:v>#N/A</c:v>
                </c:pt>
                <c:pt idx="11349">
                  <c:v>#N/A</c:v>
                </c:pt>
                <c:pt idx="11350">
                  <c:v>#N/A</c:v>
                </c:pt>
                <c:pt idx="11351">
                  <c:v>#N/A</c:v>
                </c:pt>
                <c:pt idx="11352">
                  <c:v>#N/A</c:v>
                </c:pt>
                <c:pt idx="11353">
                  <c:v>#N/A</c:v>
                </c:pt>
                <c:pt idx="11354">
                  <c:v>#N/A</c:v>
                </c:pt>
                <c:pt idx="11355">
                  <c:v>#N/A</c:v>
                </c:pt>
                <c:pt idx="11356">
                  <c:v>#N/A</c:v>
                </c:pt>
                <c:pt idx="11357">
                  <c:v>#N/A</c:v>
                </c:pt>
                <c:pt idx="11358">
                  <c:v>#N/A</c:v>
                </c:pt>
                <c:pt idx="11359">
                  <c:v>#N/A</c:v>
                </c:pt>
                <c:pt idx="11360">
                  <c:v>#N/A</c:v>
                </c:pt>
                <c:pt idx="11361">
                  <c:v>#N/A</c:v>
                </c:pt>
                <c:pt idx="11362">
                  <c:v>#N/A</c:v>
                </c:pt>
                <c:pt idx="11363">
                  <c:v>#N/A</c:v>
                </c:pt>
                <c:pt idx="11364">
                  <c:v>#N/A</c:v>
                </c:pt>
                <c:pt idx="11365">
                  <c:v>#N/A</c:v>
                </c:pt>
                <c:pt idx="11366">
                  <c:v>#N/A</c:v>
                </c:pt>
                <c:pt idx="11367">
                  <c:v>#N/A</c:v>
                </c:pt>
                <c:pt idx="11368">
                  <c:v>#N/A</c:v>
                </c:pt>
                <c:pt idx="11369">
                  <c:v>#N/A</c:v>
                </c:pt>
                <c:pt idx="11370">
                  <c:v>#N/A</c:v>
                </c:pt>
                <c:pt idx="11371">
                  <c:v>#N/A</c:v>
                </c:pt>
                <c:pt idx="11372">
                  <c:v>#N/A</c:v>
                </c:pt>
                <c:pt idx="11373">
                  <c:v>#N/A</c:v>
                </c:pt>
                <c:pt idx="11374">
                  <c:v>#N/A</c:v>
                </c:pt>
                <c:pt idx="11375">
                  <c:v>#N/A</c:v>
                </c:pt>
                <c:pt idx="11376">
                  <c:v>#N/A</c:v>
                </c:pt>
                <c:pt idx="11377">
                  <c:v>#N/A</c:v>
                </c:pt>
                <c:pt idx="11378">
                  <c:v>#N/A</c:v>
                </c:pt>
                <c:pt idx="11379">
                  <c:v>#N/A</c:v>
                </c:pt>
                <c:pt idx="11380">
                  <c:v>#N/A</c:v>
                </c:pt>
                <c:pt idx="11381">
                  <c:v>#N/A</c:v>
                </c:pt>
                <c:pt idx="11382">
                  <c:v>#N/A</c:v>
                </c:pt>
                <c:pt idx="11383">
                  <c:v>#N/A</c:v>
                </c:pt>
                <c:pt idx="11384">
                  <c:v>#N/A</c:v>
                </c:pt>
                <c:pt idx="11385">
                  <c:v>#N/A</c:v>
                </c:pt>
                <c:pt idx="11386">
                  <c:v>#N/A</c:v>
                </c:pt>
                <c:pt idx="11387">
                  <c:v>#N/A</c:v>
                </c:pt>
                <c:pt idx="11388">
                  <c:v>#N/A</c:v>
                </c:pt>
                <c:pt idx="11389">
                  <c:v>#N/A</c:v>
                </c:pt>
                <c:pt idx="11390">
                  <c:v>#N/A</c:v>
                </c:pt>
                <c:pt idx="11391">
                  <c:v>#N/A</c:v>
                </c:pt>
                <c:pt idx="11392">
                  <c:v>#N/A</c:v>
                </c:pt>
                <c:pt idx="11393">
                  <c:v>#N/A</c:v>
                </c:pt>
                <c:pt idx="11394">
                  <c:v>#N/A</c:v>
                </c:pt>
                <c:pt idx="11395">
                  <c:v>#N/A</c:v>
                </c:pt>
                <c:pt idx="11396">
                  <c:v>#N/A</c:v>
                </c:pt>
                <c:pt idx="11397">
                  <c:v>#N/A</c:v>
                </c:pt>
                <c:pt idx="11398">
                  <c:v>#N/A</c:v>
                </c:pt>
                <c:pt idx="11399">
                  <c:v>#N/A</c:v>
                </c:pt>
                <c:pt idx="11400">
                  <c:v>#N/A</c:v>
                </c:pt>
                <c:pt idx="11401">
                  <c:v>#N/A</c:v>
                </c:pt>
                <c:pt idx="11402">
                  <c:v>#N/A</c:v>
                </c:pt>
                <c:pt idx="11403">
                  <c:v>#N/A</c:v>
                </c:pt>
                <c:pt idx="11404">
                  <c:v>#N/A</c:v>
                </c:pt>
                <c:pt idx="11405">
                  <c:v>#N/A</c:v>
                </c:pt>
                <c:pt idx="11406">
                  <c:v>#N/A</c:v>
                </c:pt>
                <c:pt idx="11407">
                  <c:v>#N/A</c:v>
                </c:pt>
                <c:pt idx="11408">
                  <c:v>#N/A</c:v>
                </c:pt>
                <c:pt idx="11409">
                  <c:v>#N/A</c:v>
                </c:pt>
                <c:pt idx="11410">
                  <c:v>#N/A</c:v>
                </c:pt>
                <c:pt idx="11411">
                  <c:v>#N/A</c:v>
                </c:pt>
                <c:pt idx="11412">
                  <c:v>#N/A</c:v>
                </c:pt>
                <c:pt idx="11413">
                  <c:v>#N/A</c:v>
                </c:pt>
                <c:pt idx="11414">
                  <c:v>#N/A</c:v>
                </c:pt>
                <c:pt idx="11415">
                  <c:v>#N/A</c:v>
                </c:pt>
                <c:pt idx="11416">
                  <c:v>#N/A</c:v>
                </c:pt>
                <c:pt idx="11417">
                  <c:v>#N/A</c:v>
                </c:pt>
                <c:pt idx="11418">
                  <c:v>#N/A</c:v>
                </c:pt>
                <c:pt idx="11419">
                  <c:v>#N/A</c:v>
                </c:pt>
                <c:pt idx="11420">
                  <c:v>#N/A</c:v>
                </c:pt>
                <c:pt idx="11421">
                  <c:v>#N/A</c:v>
                </c:pt>
                <c:pt idx="11422">
                  <c:v>#N/A</c:v>
                </c:pt>
                <c:pt idx="11423">
                  <c:v>#N/A</c:v>
                </c:pt>
                <c:pt idx="11424">
                  <c:v>#N/A</c:v>
                </c:pt>
                <c:pt idx="11425">
                  <c:v>#N/A</c:v>
                </c:pt>
                <c:pt idx="11426">
                  <c:v>#N/A</c:v>
                </c:pt>
                <c:pt idx="11427">
                  <c:v>#N/A</c:v>
                </c:pt>
                <c:pt idx="11428">
                  <c:v>#N/A</c:v>
                </c:pt>
                <c:pt idx="11429">
                  <c:v>#N/A</c:v>
                </c:pt>
                <c:pt idx="11430">
                  <c:v>#N/A</c:v>
                </c:pt>
                <c:pt idx="11431">
                  <c:v>#N/A</c:v>
                </c:pt>
                <c:pt idx="11432">
                  <c:v>#N/A</c:v>
                </c:pt>
                <c:pt idx="11433">
                  <c:v>#N/A</c:v>
                </c:pt>
                <c:pt idx="11434">
                  <c:v>#N/A</c:v>
                </c:pt>
                <c:pt idx="11435">
                  <c:v>#N/A</c:v>
                </c:pt>
                <c:pt idx="11436">
                  <c:v>#N/A</c:v>
                </c:pt>
                <c:pt idx="11437">
                  <c:v>#N/A</c:v>
                </c:pt>
                <c:pt idx="11438">
                  <c:v>#N/A</c:v>
                </c:pt>
                <c:pt idx="11439">
                  <c:v>#N/A</c:v>
                </c:pt>
                <c:pt idx="11440">
                  <c:v>#N/A</c:v>
                </c:pt>
                <c:pt idx="11441">
                  <c:v>#N/A</c:v>
                </c:pt>
                <c:pt idx="11442">
                  <c:v>#N/A</c:v>
                </c:pt>
                <c:pt idx="11443">
                  <c:v>#N/A</c:v>
                </c:pt>
                <c:pt idx="11444">
                  <c:v>#N/A</c:v>
                </c:pt>
                <c:pt idx="11445">
                  <c:v>#N/A</c:v>
                </c:pt>
                <c:pt idx="11446">
                  <c:v>#N/A</c:v>
                </c:pt>
                <c:pt idx="11447">
                  <c:v>#N/A</c:v>
                </c:pt>
                <c:pt idx="11448">
                  <c:v>#N/A</c:v>
                </c:pt>
                <c:pt idx="11449">
                  <c:v>#N/A</c:v>
                </c:pt>
                <c:pt idx="11450">
                  <c:v>#N/A</c:v>
                </c:pt>
                <c:pt idx="11451">
                  <c:v>#N/A</c:v>
                </c:pt>
                <c:pt idx="11452">
                  <c:v>#N/A</c:v>
                </c:pt>
                <c:pt idx="11453">
                  <c:v>#N/A</c:v>
                </c:pt>
                <c:pt idx="11454">
                  <c:v>#N/A</c:v>
                </c:pt>
                <c:pt idx="11455">
                  <c:v>#N/A</c:v>
                </c:pt>
                <c:pt idx="11456">
                  <c:v>#N/A</c:v>
                </c:pt>
                <c:pt idx="11457">
                  <c:v>#N/A</c:v>
                </c:pt>
                <c:pt idx="11458">
                  <c:v>#N/A</c:v>
                </c:pt>
                <c:pt idx="11459">
                  <c:v>#N/A</c:v>
                </c:pt>
                <c:pt idx="11460">
                  <c:v>#N/A</c:v>
                </c:pt>
                <c:pt idx="11461">
                  <c:v>#N/A</c:v>
                </c:pt>
                <c:pt idx="11462">
                  <c:v>#N/A</c:v>
                </c:pt>
                <c:pt idx="11463">
                  <c:v>#N/A</c:v>
                </c:pt>
                <c:pt idx="11464">
                  <c:v>#N/A</c:v>
                </c:pt>
                <c:pt idx="11465">
                  <c:v>#N/A</c:v>
                </c:pt>
                <c:pt idx="11466">
                  <c:v>#N/A</c:v>
                </c:pt>
                <c:pt idx="11467">
                  <c:v>#N/A</c:v>
                </c:pt>
                <c:pt idx="11468">
                  <c:v>#N/A</c:v>
                </c:pt>
                <c:pt idx="11469">
                  <c:v>#N/A</c:v>
                </c:pt>
                <c:pt idx="11470">
                  <c:v>#N/A</c:v>
                </c:pt>
                <c:pt idx="11471">
                  <c:v>#N/A</c:v>
                </c:pt>
                <c:pt idx="11472">
                  <c:v>#N/A</c:v>
                </c:pt>
                <c:pt idx="11473">
                  <c:v>#N/A</c:v>
                </c:pt>
                <c:pt idx="11474">
                  <c:v>#N/A</c:v>
                </c:pt>
                <c:pt idx="11475">
                  <c:v>#N/A</c:v>
                </c:pt>
                <c:pt idx="11476">
                  <c:v>#N/A</c:v>
                </c:pt>
                <c:pt idx="11477">
                  <c:v>#N/A</c:v>
                </c:pt>
                <c:pt idx="11478">
                  <c:v>#N/A</c:v>
                </c:pt>
                <c:pt idx="11479">
                  <c:v>#N/A</c:v>
                </c:pt>
                <c:pt idx="11480">
                  <c:v>#N/A</c:v>
                </c:pt>
                <c:pt idx="11481">
                  <c:v>#N/A</c:v>
                </c:pt>
                <c:pt idx="11482">
                  <c:v>#N/A</c:v>
                </c:pt>
                <c:pt idx="11483">
                  <c:v>#N/A</c:v>
                </c:pt>
                <c:pt idx="11484">
                  <c:v>#N/A</c:v>
                </c:pt>
                <c:pt idx="11485">
                  <c:v>#N/A</c:v>
                </c:pt>
                <c:pt idx="11486">
                  <c:v>#N/A</c:v>
                </c:pt>
                <c:pt idx="11487">
                  <c:v>#N/A</c:v>
                </c:pt>
                <c:pt idx="11488">
                  <c:v>#N/A</c:v>
                </c:pt>
                <c:pt idx="11489">
                  <c:v>#N/A</c:v>
                </c:pt>
                <c:pt idx="11490">
                  <c:v>#N/A</c:v>
                </c:pt>
                <c:pt idx="11491">
                  <c:v>#N/A</c:v>
                </c:pt>
                <c:pt idx="11492">
                  <c:v>#N/A</c:v>
                </c:pt>
                <c:pt idx="11493">
                  <c:v>#N/A</c:v>
                </c:pt>
                <c:pt idx="11494">
                  <c:v>#N/A</c:v>
                </c:pt>
                <c:pt idx="11495">
                  <c:v>#N/A</c:v>
                </c:pt>
                <c:pt idx="11496">
                  <c:v>#N/A</c:v>
                </c:pt>
                <c:pt idx="11497">
                  <c:v>#N/A</c:v>
                </c:pt>
                <c:pt idx="11498">
                  <c:v>#N/A</c:v>
                </c:pt>
                <c:pt idx="11499">
                  <c:v>#N/A</c:v>
                </c:pt>
                <c:pt idx="11500">
                  <c:v>#N/A</c:v>
                </c:pt>
                <c:pt idx="11501">
                  <c:v>#N/A</c:v>
                </c:pt>
                <c:pt idx="11502">
                  <c:v>#N/A</c:v>
                </c:pt>
                <c:pt idx="11503">
                  <c:v>#N/A</c:v>
                </c:pt>
                <c:pt idx="11504">
                  <c:v>#N/A</c:v>
                </c:pt>
                <c:pt idx="11505">
                  <c:v>#N/A</c:v>
                </c:pt>
                <c:pt idx="11506">
                  <c:v>#N/A</c:v>
                </c:pt>
                <c:pt idx="11507">
                  <c:v>#N/A</c:v>
                </c:pt>
                <c:pt idx="11508">
                  <c:v>#N/A</c:v>
                </c:pt>
                <c:pt idx="11509">
                  <c:v>#N/A</c:v>
                </c:pt>
                <c:pt idx="11510">
                  <c:v>#N/A</c:v>
                </c:pt>
                <c:pt idx="11511">
                  <c:v>#N/A</c:v>
                </c:pt>
                <c:pt idx="11512">
                  <c:v>#N/A</c:v>
                </c:pt>
                <c:pt idx="11513">
                  <c:v>#N/A</c:v>
                </c:pt>
                <c:pt idx="11514">
                  <c:v>#N/A</c:v>
                </c:pt>
                <c:pt idx="11515">
                  <c:v>#N/A</c:v>
                </c:pt>
                <c:pt idx="11516">
                  <c:v>#N/A</c:v>
                </c:pt>
                <c:pt idx="11517">
                  <c:v>#N/A</c:v>
                </c:pt>
                <c:pt idx="11518">
                  <c:v>#N/A</c:v>
                </c:pt>
                <c:pt idx="11519">
                  <c:v>#N/A</c:v>
                </c:pt>
                <c:pt idx="11520">
                  <c:v>#N/A</c:v>
                </c:pt>
                <c:pt idx="11521">
                  <c:v>#N/A</c:v>
                </c:pt>
                <c:pt idx="11522">
                  <c:v>#N/A</c:v>
                </c:pt>
                <c:pt idx="11523">
                  <c:v>#N/A</c:v>
                </c:pt>
                <c:pt idx="11524">
                  <c:v>#N/A</c:v>
                </c:pt>
                <c:pt idx="11525">
                  <c:v>#N/A</c:v>
                </c:pt>
                <c:pt idx="11526">
                  <c:v>#N/A</c:v>
                </c:pt>
                <c:pt idx="11527">
                  <c:v>#N/A</c:v>
                </c:pt>
                <c:pt idx="11528">
                  <c:v>#N/A</c:v>
                </c:pt>
                <c:pt idx="11529">
                  <c:v>#N/A</c:v>
                </c:pt>
                <c:pt idx="11530">
                  <c:v>#N/A</c:v>
                </c:pt>
                <c:pt idx="11531">
                  <c:v>#N/A</c:v>
                </c:pt>
                <c:pt idx="11532">
                  <c:v>#N/A</c:v>
                </c:pt>
                <c:pt idx="11533">
                  <c:v>#N/A</c:v>
                </c:pt>
                <c:pt idx="11534">
                  <c:v>#N/A</c:v>
                </c:pt>
                <c:pt idx="11535">
                  <c:v>#N/A</c:v>
                </c:pt>
                <c:pt idx="11536">
                  <c:v>#N/A</c:v>
                </c:pt>
                <c:pt idx="11537">
                  <c:v>#N/A</c:v>
                </c:pt>
                <c:pt idx="11538">
                  <c:v>#N/A</c:v>
                </c:pt>
                <c:pt idx="11539">
                  <c:v>#N/A</c:v>
                </c:pt>
                <c:pt idx="11540">
                  <c:v>#N/A</c:v>
                </c:pt>
                <c:pt idx="11541">
                  <c:v>#N/A</c:v>
                </c:pt>
                <c:pt idx="11542">
                  <c:v>#N/A</c:v>
                </c:pt>
                <c:pt idx="11543">
                  <c:v>#N/A</c:v>
                </c:pt>
                <c:pt idx="11544">
                  <c:v>#N/A</c:v>
                </c:pt>
                <c:pt idx="11545">
                  <c:v>#N/A</c:v>
                </c:pt>
                <c:pt idx="11546">
                  <c:v>#N/A</c:v>
                </c:pt>
                <c:pt idx="11547">
                  <c:v>#N/A</c:v>
                </c:pt>
                <c:pt idx="11548">
                  <c:v>#N/A</c:v>
                </c:pt>
                <c:pt idx="11549">
                  <c:v>#N/A</c:v>
                </c:pt>
                <c:pt idx="11550">
                  <c:v>#N/A</c:v>
                </c:pt>
                <c:pt idx="11551">
                  <c:v>#N/A</c:v>
                </c:pt>
                <c:pt idx="11552">
                  <c:v>#N/A</c:v>
                </c:pt>
                <c:pt idx="11553">
                  <c:v>#N/A</c:v>
                </c:pt>
                <c:pt idx="11554">
                  <c:v>#N/A</c:v>
                </c:pt>
                <c:pt idx="11555">
                  <c:v>#N/A</c:v>
                </c:pt>
                <c:pt idx="11556">
                  <c:v>#N/A</c:v>
                </c:pt>
                <c:pt idx="11557">
                  <c:v>#N/A</c:v>
                </c:pt>
                <c:pt idx="11558">
                  <c:v>#N/A</c:v>
                </c:pt>
                <c:pt idx="11559">
                  <c:v>#N/A</c:v>
                </c:pt>
                <c:pt idx="11560">
                  <c:v>#N/A</c:v>
                </c:pt>
                <c:pt idx="11561">
                  <c:v>#N/A</c:v>
                </c:pt>
                <c:pt idx="11562">
                  <c:v>#N/A</c:v>
                </c:pt>
                <c:pt idx="11563">
                  <c:v>#N/A</c:v>
                </c:pt>
                <c:pt idx="11564">
                  <c:v>#N/A</c:v>
                </c:pt>
                <c:pt idx="11565">
                  <c:v>#N/A</c:v>
                </c:pt>
                <c:pt idx="11566">
                  <c:v>#N/A</c:v>
                </c:pt>
                <c:pt idx="11567">
                  <c:v>#N/A</c:v>
                </c:pt>
                <c:pt idx="11568">
                  <c:v>#N/A</c:v>
                </c:pt>
                <c:pt idx="11569">
                  <c:v>#N/A</c:v>
                </c:pt>
                <c:pt idx="11570">
                  <c:v>#N/A</c:v>
                </c:pt>
                <c:pt idx="11571">
                  <c:v>#N/A</c:v>
                </c:pt>
                <c:pt idx="11572">
                  <c:v>#N/A</c:v>
                </c:pt>
                <c:pt idx="11573">
                  <c:v>#N/A</c:v>
                </c:pt>
                <c:pt idx="11574">
                  <c:v>#N/A</c:v>
                </c:pt>
                <c:pt idx="11575">
                  <c:v>#N/A</c:v>
                </c:pt>
                <c:pt idx="11576">
                  <c:v>#N/A</c:v>
                </c:pt>
                <c:pt idx="11577">
                  <c:v>#N/A</c:v>
                </c:pt>
                <c:pt idx="11578">
                  <c:v>#N/A</c:v>
                </c:pt>
                <c:pt idx="11579">
                  <c:v>#N/A</c:v>
                </c:pt>
                <c:pt idx="11580">
                  <c:v>#N/A</c:v>
                </c:pt>
                <c:pt idx="11581">
                  <c:v>#N/A</c:v>
                </c:pt>
                <c:pt idx="11582">
                  <c:v>#N/A</c:v>
                </c:pt>
                <c:pt idx="11583">
                  <c:v>#N/A</c:v>
                </c:pt>
                <c:pt idx="11584">
                  <c:v>#N/A</c:v>
                </c:pt>
                <c:pt idx="11585">
                  <c:v>#N/A</c:v>
                </c:pt>
                <c:pt idx="11586">
                  <c:v>#N/A</c:v>
                </c:pt>
                <c:pt idx="11587">
                  <c:v>#N/A</c:v>
                </c:pt>
                <c:pt idx="11588">
                  <c:v>#N/A</c:v>
                </c:pt>
                <c:pt idx="11589">
                  <c:v>#N/A</c:v>
                </c:pt>
                <c:pt idx="11590">
                  <c:v>#N/A</c:v>
                </c:pt>
                <c:pt idx="11591">
                  <c:v>#N/A</c:v>
                </c:pt>
                <c:pt idx="11592">
                  <c:v>#N/A</c:v>
                </c:pt>
                <c:pt idx="11593">
                  <c:v>#N/A</c:v>
                </c:pt>
                <c:pt idx="11594">
                  <c:v>#N/A</c:v>
                </c:pt>
                <c:pt idx="11595">
                  <c:v>#N/A</c:v>
                </c:pt>
                <c:pt idx="11596">
                  <c:v>#N/A</c:v>
                </c:pt>
                <c:pt idx="11597">
                  <c:v>#N/A</c:v>
                </c:pt>
                <c:pt idx="11598">
                  <c:v>#N/A</c:v>
                </c:pt>
                <c:pt idx="11599">
                  <c:v>#N/A</c:v>
                </c:pt>
                <c:pt idx="11600">
                  <c:v>#N/A</c:v>
                </c:pt>
                <c:pt idx="11601">
                  <c:v>#N/A</c:v>
                </c:pt>
                <c:pt idx="11602">
                  <c:v>#N/A</c:v>
                </c:pt>
                <c:pt idx="11603">
                  <c:v>#N/A</c:v>
                </c:pt>
                <c:pt idx="11604">
                  <c:v>#N/A</c:v>
                </c:pt>
                <c:pt idx="11605">
                  <c:v>#N/A</c:v>
                </c:pt>
                <c:pt idx="11606">
                  <c:v>#N/A</c:v>
                </c:pt>
                <c:pt idx="11607">
                  <c:v>#N/A</c:v>
                </c:pt>
                <c:pt idx="11608">
                  <c:v>#N/A</c:v>
                </c:pt>
                <c:pt idx="11609">
                  <c:v>#N/A</c:v>
                </c:pt>
                <c:pt idx="11610">
                  <c:v>#N/A</c:v>
                </c:pt>
                <c:pt idx="11611">
                  <c:v>#N/A</c:v>
                </c:pt>
                <c:pt idx="11612">
                  <c:v>#N/A</c:v>
                </c:pt>
                <c:pt idx="11613">
                  <c:v>#N/A</c:v>
                </c:pt>
                <c:pt idx="11614">
                  <c:v>#N/A</c:v>
                </c:pt>
                <c:pt idx="11615">
                  <c:v>#N/A</c:v>
                </c:pt>
                <c:pt idx="11616">
                  <c:v>#N/A</c:v>
                </c:pt>
                <c:pt idx="11617">
                  <c:v>#N/A</c:v>
                </c:pt>
                <c:pt idx="11618">
                  <c:v>#N/A</c:v>
                </c:pt>
                <c:pt idx="11619">
                  <c:v>#N/A</c:v>
                </c:pt>
                <c:pt idx="11620">
                  <c:v>#N/A</c:v>
                </c:pt>
                <c:pt idx="11621">
                  <c:v>#N/A</c:v>
                </c:pt>
                <c:pt idx="11622">
                  <c:v>#N/A</c:v>
                </c:pt>
                <c:pt idx="11623">
                  <c:v>#N/A</c:v>
                </c:pt>
                <c:pt idx="11624">
                  <c:v>#N/A</c:v>
                </c:pt>
                <c:pt idx="11625">
                  <c:v>#N/A</c:v>
                </c:pt>
                <c:pt idx="11626">
                  <c:v>#N/A</c:v>
                </c:pt>
                <c:pt idx="11627">
                  <c:v>#N/A</c:v>
                </c:pt>
                <c:pt idx="11628">
                  <c:v>#N/A</c:v>
                </c:pt>
                <c:pt idx="11629">
                  <c:v>#N/A</c:v>
                </c:pt>
                <c:pt idx="11630">
                  <c:v>#N/A</c:v>
                </c:pt>
                <c:pt idx="11631">
                  <c:v>#N/A</c:v>
                </c:pt>
                <c:pt idx="11632">
                  <c:v>#N/A</c:v>
                </c:pt>
                <c:pt idx="11633">
                  <c:v>#N/A</c:v>
                </c:pt>
                <c:pt idx="11634">
                  <c:v>#N/A</c:v>
                </c:pt>
                <c:pt idx="11635">
                  <c:v>#N/A</c:v>
                </c:pt>
                <c:pt idx="11636">
                  <c:v>#N/A</c:v>
                </c:pt>
                <c:pt idx="11637">
                  <c:v>#N/A</c:v>
                </c:pt>
                <c:pt idx="11638">
                  <c:v>#N/A</c:v>
                </c:pt>
                <c:pt idx="11639">
                  <c:v>#N/A</c:v>
                </c:pt>
                <c:pt idx="11640">
                  <c:v>#N/A</c:v>
                </c:pt>
                <c:pt idx="11641">
                  <c:v>#N/A</c:v>
                </c:pt>
                <c:pt idx="11642">
                  <c:v>#N/A</c:v>
                </c:pt>
                <c:pt idx="11643">
                  <c:v>#N/A</c:v>
                </c:pt>
                <c:pt idx="11644">
                  <c:v>#N/A</c:v>
                </c:pt>
                <c:pt idx="11645">
                  <c:v>#N/A</c:v>
                </c:pt>
                <c:pt idx="11646">
                  <c:v>#N/A</c:v>
                </c:pt>
                <c:pt idx="11647">
                  <c:v>#N/A</c:v>
                </c:pt>
                <c:pt idx="11648">
                  <c:v>#N/A</c:v>
                </c:pt>
                <c:pt idx="11649">
                  <c:v>#N/A</c:v>
                </c:pt>
                <c:pt idx="11650">
                  <c:v>#N/A</c:v>
                </c:pt>
                <c:pt idx="11651">
                  <c:v>#N/A</c:v>
                </c:pt>
                <c:pt idx="11652">
                  <c:v>#N/A</c:v>
                </c:pt>
                <c:pt idx="11653">
                  <c:v>#N/A</c:v>
                </c:pt>
                <c:pt idx="11654">
                  <c:v>#N/A</c:v>
                </c:pt>
                <c:pt idx="11655">
                  <c:v>#N/A</c:v>
                </c:pt>
                <c:pt idx="11656">
                  <c:v>#N/A</c:v>
                </c:pt>
                <c:pt idx="11657">
                  <c:v>#N/A</c:v>
                </c:pt>
                <c:pt idx="11658">
                  <c:v>#N/A</c:v>
                </c:pt>
                <c:pt idx="11659">
                  <c:v>#N/A</c:v>
                </c:pt>
                <c:pt idx="11660">
                  <c:v>#N/A</c:v>
                </c:pt>
                <c:pt idx="11661">
                  <c:v>#N/A</c:v>
                </c:pt>
                <c:pt idx="11662">
                  <c:v>#N/A</c:v>
                </c:pt>
                <c:pt idx="11663">
                  <c:v>#N/A</c:v>
                </c:pt>
                <c:pt idx="11664">
                  <c:v>#N/A</c:v>
                </c:pt>
                <c:pt idx="11665">
                  <c:v>#N/A</c:v>
                </c:pt>
                <c:pt idx="11666">
                  <c:v>#N/A</c:v>
                </c:pt>
                <c:pt idx="11667">
                  <c:v>#N/A</c:v>
                </c:pt>
                <c:pt idx="11668">
                  <c:v>#N/A</c:v>
                </c:pt>
                <c:pt idx="11669">
                  <c:v>#N/A</c:v>
                </c:pt>
                <c:pt idx="11670">
                  <c:v>#N/A</c:v>
                </c:pt>
                <c:pt idx="11671">
                  <c:v>#N/A</c:v>
                </c:pt>
                <c:pt idx="11672">
                  <c:v>#N/A</c:v>
                </c:pt>
                <c:pt idx="11673">
                  <c:v>#N/A</c:v>
                </c:pt>
                <c:pt idx="11674">
                  <c:v>#N/A</c:v>
                </c:pt>
                <c:pt idx="11675">
                  <c:v>#N/A</c:v>
                </c:pt>
                <c:pt idx="11676">
                  <c:v>#N/A</c:v>
                </c:pt>
                <c:pt idx="11677">
                  <c:v>#N/A</c:v>
                </c:pt>
                <c:pt idx="11678">
                  <c:v>#N/A</c:v>
                </c:pt>
                <c:pt idx="11679">
                  <c:v>#N/A</c:v>
                </c:pt>
                <c:pt idx="11680">
                  <c:v>#N/A</c:v>
                </c:pt>
                <c:pt idx="11681">
                  <c:v>#N/A</c:v>
                </c:pt>
                <c:pt idx="11682">
                  <c:v>#N/A</c:v>
                </c:pt>
                <c:pt idx="11683">
                  <c:v>#N/A</c:v>
                </c:pt>
                <c:pt idx="11684">
                  <c:v>#N/A</c:v>
                </c:pt>
                <c:pt idx="11685">
                  <c:v>#N/A</c:v>
                </c:pt>
                <c:pt idx="11686">
                  <c:v>#N/A</c:v>
                </c:pt>
                <c:pt idx="11687">
                  <c:v>#N/A</c:v>
                </c:pt>
                <c:pt idx="11688">
                  <c:v>#N/A</c:v>
                </c:pt>
                <c:pt idx="11689">
                  <c:v>#N/A</c:v>
                </c:pt>
                <c:pt idx="11690">
                  <c:v>#N/A</c:v>
                </c:pt>
                <c:pt idx="11691">
                  <c:v>#N/A</c:v>
                </c:pt>
                <c:pt idx="11692">
                  <c:v>#N/A</c:v>
                </c:pt>
                <c:pt idx="11693">
                  <c:v>#N/A</c:v>
                </c:pt>
                <c:pt idx="11694">
                  <c:v>#N/A</c:v>
                </c:pt>
                <c:pt idx="11695">
                  <c:v>#N/A</c:v>
                </c:pt>
                <c:pt idx="11696">
                  <c:v>#N/A</c:v>
                </c:pt>
                <c:pt idx="11697">
                  <c:v>#N/A</c:v>
                </c:pt>
                <c:pt idx="11698">
                  <c:v>#N/A</c:v>
                </c:pt>
                <c:pt idx="11699">
                  <c:v>#N/A</c:v>
                </c:pt>
                <c:pt idx="11700">
                  <c:v>#N/A</c:v>
                </c:pt>
                <c:pt idx="11701">
                  <c:v>#N/A</c:v>
                </c:pt>
                <c:pt idx="11702">
                  <c:v>#N/A</c:v>
                </c:pt>
                <c:pt idx="11703">
                  <c:v>#N/A</c:v>
                </c:pt>
                <c:pt idx="11704">
                  <c:v>#N/A</c:v>
                </c:pt>
                <c:pt idx="11705">
                  <c:v>#N/A</c:v>
                </c:pt>
                <c:pt idx="11706">
                  <c:v>#N/A</c:v>
                </c:pt>
                <c:pt idx="11707">
                  <c:v>#N/A</c:v>
                </c:pt>
                <c:pt idx="11708">
                  <c:v>#N/A</c:v>
                </c:pt>
                <c:pt idx="11709">
                  <c:v>#N/A</c:v>
                </c:pt>
                <c:pt idx="11710">
                  <c:v>#N/A</c:v>
                </c:pt>
                <c:pt idx="11711">
                  <c:v>#N/A</c:v>
                </c:pt>
                <c:pt idx="11712">
                  <c:v>#N/A</c:v>
                </c:pt>
                <c:pt idx="11713">
                  <c:v>#N/A</c:v>
                </c:pt>
                <c:pt idx="11714">
                  <c:v>#N/A</c:v>
                </c:pt>
                <c:pt idx="11715">
                  <c:v>#N/A</c:v>
                </c:pt>
                <c:pt idx="11716">
                  <c:v>#N/A</c:v>
                </c:pt>
                <c:pt idx="11717">
                  <c:v>#N/A</c:v>
                </c:pt>
                <c:pt idx="11718">
                  <c:v>#N/A</c:v>
                </c:pt>
                <c:pt idx="11719">
                  <c:v>#N/A</c:v>
                </c:pt>
                <c:pt idx="11720">
                  <c:v>#N/A</c:v>
                </c:pt>
                <c:pt idx="11721">
                  <c:v>#N/A</c:v>
                </c:pt>
                <c:pt idx="11722">
                  <c:v>#N/A</c:v>
                </c:pt>
                <c:pt idx="11723">
                  <c:v>#N/A</c:v>
                </c:pt>
                <c:pt idx="11724">
                  <c:v>#N/A</c:v>
                </c:pt>
                <c:pt idx="11725">
                  <c:v>#N/A</c:v>
                </c:pt>
                <c:pt idx="11726">
                  <c:v>#N/A</c:v>
                </c:pt>
                <c:pt idx="11727">
                  <c:v>#N/A</c:v>
                </c:pt>
                <c:pt idx="11728">
                  <c:v>#N/A</c:v>
                </c:pt>
                <c:pt idx="11729">
                  <c:v>#N/A</c:v>
                </c:pt>
                <c:pt idx="11730">
                  <c:v>#N/A</c:v>
                </c:pt>
                <c:pt idx="11731">
                  <c:v>#N/A</c:v>
                </c:pt>
                <c:pt idx="11732">
                  <c:v>#N/A</c:v>
                </c:pt>
                <c:pt idx="11733">
                  <c:v>#N/A</c:v>
                </c:pt>
                <c:pt idx="11734">
                  <c:v>#N/A</c:v>
                </c:pt>
                <c:pt idx="11735">
                  <c:v>#N/A</c:v>
                </c:pt>
                <c:pt idx="11736">
                  <c:v>#N/A</c:v>
                </c:pt>
                <c:pt idx="11737">
                  <c:v>#N/A</c:v>
                </c:pt>
                <c:pt idx="11738">
                  <c:v>#N/A</c:v>
                </c:pt>
                <c:pt idx="11739">
                  <c:v>#N/A</c:v>
                </c:pt>
                <c:pt idx="11740">
                  <c:v>#N/A</c:v>
                </c:pt>
                <c:pt idx="11741">
                  <c:v>#N/A</c:v>
                </c:pt>
                <c:pt idx="11742">
                  <c:v>#N/A</c:v>
                </c:pt>
                <c:pt idx="11743">
                  <c:v>#N/A</c:v>
                </c:pt>
                <c:pt idx="11744">
                  <c:v>#N/A</c:v>
                </c:pt>
                <c:pt idx="11745">
                  <c:v>#N/A</c:v>
                </c:pt>
                <c:pt idx="11746">
                  <c:v>#N/A</c:v>
                </c:pt>
                <c:pt idx="11747">
                  <c:v>#N/A</c:v>
                </c:pt>
                <c:pt idx="11748">
                  <c:v>#N/A</c:v>
                </c:pt>
                <c:pt idx="11749">
                  <c:v>#N/A</c:v>
                </c:pt>
                <c:pt idx="11750">
                  <c:v>#N/A</c:v>
                </c:pt>
                <c:pt idx="11751">
                  <c:v>#N/A</c:v>
                </c:pt>
                <c:pt idx="11752">
                  <c:v>#N/A</c:v>
                </c:pt>
                <c:pt idx="11753">
                  <c:v>#N/A</c:v>
                </c:pt>
                <c:pt idx="11754">
                  <c:v>#N/A</c:v>
                </c:pt>
                <c:pt idx="11755">
                  <c:v>#N/A</c:v>
                </c:pt>
                <c:pt idx="11756">
                  <c:v>#N/A</c:v>
                </c:pt>
                <c:pt idx="11757">
                  <c:v>#N/A</c:v>
                </c:pt>
                <c:pt idx="11758">
                  <c:v>#N/A</c:v>
                </c:pt>
                <c:pt idx="11759">
                  <c:v>#N/A</c:v>
                </c:pt>
                <c:pt idx="11760">
                  <c:v>#N/A</c:v>
                </c:pt>
                <c:pt idx="11761">
                  <c:v>#N/A</c:v>
                </c:pt>
                <c:pt idx="11762">
                  <c:v>#N/A</c:v>
                </c:pt>
                <c:pt idx="11763">
                  <c:v>#N/A</c:v>
                </c:pt>
                <c:pt idx="11764">
                  <c:v>#N/A</c:v>
                </c:pt>
                <c:pt idx="11765">
                  <c:v>#N/A</c:v>
                </c:pt>
                <c:pt idx="11766">
                  <c:v>#N/A</c:v>
                </c:pt>
                <c:pt idx="11767">
                  <c:v>#N/A</c:v>
                </c:pt>
                <c:pt idx="11768">
                  <c:v>#N/A</c:v>
                </c:pt>
                <c:pt idx="11769">
                  <c:v>#N/A</c:v>
                </c:pt>
                <c:pt idx="11770">
                  <c:v>#N/A</c:v>
                </c:pt>
                <c:pt idx="11771">
                  <c:v>5.4383561643835616</c:v>
                </c:pt>
                <c:pt idx="11772">
                  <c:v>#N/A</c:v>
                </c:pt>
                <c:pt idx="11773">
                  <c:v>#N/A</c:v>
                </c:pt>
                <c:pt idx="11774">
                  <c:v>#N/A</c:v>
                </c:pt>
                <c:pt idx="11775">
                  <c:v>#N/A</c:v>
                </c:pt>
                <c:pt idx="11776">
                  <c:v>#N/A</c:v>
                </c:pt>
                <c:pt idx="11777">
                  <c:v>#N/A</c:v>
                </c:pt>
                <c:pt idx="11778">
                  <c:v>#N/A</c:v>
                </c:pt>
                <c:pt idx="11779">
                  <c:v>#N/A</c:v>
                </c:pt>
                <c:pt idx="11780">
                  <c:v>#N/A</c:v>
                </c:pt>
                <c:pt idx="11781">
                  <c:v>#N/A</c:v>
                </c:pt>
                <c:pt idx="11782">
                  <c:v>#N/A</c:v>
                </c:pt>
                <c:pt idx="11783">
                  <c:v>#N/A</c:v>
                </c:pt>
                <c:pt idx="11784">
                  <c:v>#N/A</c:v>
                </c:pt>
                <c:pt idx="11785">
                  <c:v>#N/A</c:v>
                </c:pt>
                <c:pt idx="11786">
                  <c:v>#N/A</c:v>
                </c:pt>
                <c:pt idx="11787">
                  <c:v>#N/A</c:v>
                </c:pt>
                <c:pt idx="11788">
                  <c:v>#N/A</c:v>
                </c:pt>
                <c:pt idx="11789">
                  <c:v>#N/A</c:v>
                </c:pt>
                <c:pt idx="11790">
                  <c:v>#N/A</c:v>
                </c:pt>
                <c:pt idx="11791">
                  <c:v>#N/A</c:v>
                </c:pt>
                <c:pt idx="11792">
                  <c:v>#N/A</c:v>
                </c:pt>
                <c:pt idx="11793">
                  <c:v>#N/A</c:v>
                </c:pt>
                <c:pt idx="11794">
                  <c:v>#N/A</c:v>
                </c:pt>
                <c:pt idx="11795">
                  <c:v>#N/A</c:v>
                </c:pt>
                <c:pt idx="11796">
                  <c:v>#N/A</c:v>
                </c:pt>
                <c:pt idx="11797">
                  <c:v>#N/A</c:v>
                </c:pt>
                <c:pt idx="11798">
                  <c:v>#N/A</c:v>
                </c:pt>
                <c:pt idx="11799">
                  <c:v>#N/A</c:v>
                </c:pt>
                <c:pt idx="11800">
                  <c:v>#N/A</c:v>
                </c:pt>
                <c:pt idx="11801">
                  <c:v>#N/A</c:v>
                </c:pt>
                <c:pt idx="11802">
                  <c:v>#N/A</c:v>
                </c:pt>
                <c:pt idx="11803">
                  <c:v>#N/A</c:v>
                </c:pt>
                <c:pt idx="11804">
                  <c:v>#N/A</c:v>
                </c:pt>
                <c:pt idx="11805">
                  <c:v>#N/A</c:v>
                </c:pt>
                <c:pt idx="11806">
                  <c:v>#N/A</c:v>
                </c:pt>
                <c:pt idx="11807">
                  <c:v>#N/A</c:v>
                </c:pt>
                <c:pt idx="11808">
                  <c:v>#N/A</c:v>
                </c:pt>
                <c:pt idx="11809">
                  <c:v>#N/A</c:v>
                </c:pt>
                <c:pt idx="11810">
                  <c:v>#N/A</c:v>
                </c:pt>
                <c:pt idx="11811">
                  <c:v>#N/A</c:v>
                </c:pt>
                <c:pt idx="11812">
                  <c:v>#N/A</c:v>
                </c:pt>
                <c:pt idx="11813">
                  <c:v>#N/A</c:v>
                </c:pt>
                <c:pt idx="11814">
                  <c:v>#N/A</c:v>
                </c:pt>
                <c:pt idx="11815">
                  <c:v>#N/A</c:v>
                </c:pt>
                <c:pt idx="11816">
                  <c:v>#N/A</c:v>
                </c:pt>
                <c:pt idx="11817">
                  <c:v>#N/A</c:v>
                </c:pt>
                <c:pt idx="11818">
                  <c:v>#N/A</c:v>
                </c:pt>
                <c:pt idx="11819">
                  <c:v>#N/A</c:v>
                </c:pt>
                <c:pt idx="11820">
                  <c:v>#N/A</c:v>
                </c:pt>
                <c:pt idx="11821">
                  <c:v>#N/A</c:v>
                </c:pt>
                <c:pt idx="11822">
                  <c:v>#N/A</c:v>
                </c:pt>
                <c:pt idx="11823">
                  <c:v>#N/A</c:v>
                </c:pt>
                <c:pt idx="11824">
                  <c:v>#N/A</c:v>
                </c:pt>
                <c:pt idx="11825">
                  <c:v>#N/A</c:v>
                </c:pt>
                <c:pt idx="11826">
                  <c:v>#N/A</c:v>
                </c:pt>
                <c:pt idx="11827">
                  <c:v>#N/A</c:v>
                </c:pt>
                <c:pt idx="11828">
                  <c:v>#N/A</c:v>
                </c:pt>
                <c:pt idx="11829">
                  <c:v>#N/A</c:v>
                </c:pt>
                <c:pt idx="11830">
                  <c:v>#N/A</c:v>
                </c:pt>
                <c:pt idx="11831">
                  <c:v>#N/A</c:v>
                </c:pt>
                <c:pt idx="11832">
                  <c:v>#N/A</c:v>
                </c:pt>
                <c:pt idx="11833">
                  <c:v>#N/A</c:v>
                </c:pt>
                <c:pt idx="11834">
                  <c:v>#N/A</c:v>
                </c:pt>
                <c:pt idx="11835">
                  <c:v>#N/A</c:v>
                </c:pt>
                <c:pt idx="11836">
                  <c:v>#N/A</c:v>
                </c:pt>
                <c:pt idx="11837">
                  <c:v>#N/A</c:v>
                </c:pt>
                <c:pt idx="11838">
                  <c:v>#N/A</c:v>
                </c:pt>
                <c:pt idx="11839">
                  <c:v>#N/A</c:v>
                </c:pt>
                <c:pt idx="11840">
                  <c:v>#N/A</c:v>
                </c:pt>
                <c:pt idx="11841">
                  <c:v>#N/A</c:v>
                </c:pt>
                <c:pt idx="11842">
                  <c:v>#N/A</c:v>
                </c:pt>
                <c:pt idx="11843">
                  <c:v>#N/A</c:v>
                </c:pt>
                <c:pt idx="11844">
                  <c:v>#N/A</c:v>
                </c:pt>
                <c:pt idx="11845">
                  <c:v>#N/A</c:v>
                </c:pt>
                <c:pt idx="11846">
                  <c:v>#N/A</c:v>
                </c:pt>
                <c:pt idx="11847">
                  <c:v>#N/A</c:v>
                </c:pt>
                <c:pt idx="11848">
                  <c:v>#N/A</c:v>
                </c:pt>
                <c:pt idx="11849">
                  <c:v>#N/A</c:v>
                </c:pt>
                <c:pt idx="11850">
                  <c:v>#N/A</c:v>
                </c:pt>
                <c:pt idx="11851">
                  <c:v>#N/A</c:v>
                </c:pt>
                <c:pt idx="11852">
                  <c:v>#N/A</c:v>
                </c:pt>
                <c:pt idx="11853">
                  <c:v>#N/A</c:v>
                </c:pt>
                <c:pt idx="11854">
                  <c:v>#N/A</c:v>
                </c:pt>
                <c:pt idx="11855">
                  <c:v>#N/A</c:v>
                </c:pt>
                <c:pt idx="11856">
                  <c:v>#N/A</c:v>
                </c:pt>
                <c:pt idx="11857">
                  <c:v>#N/A</c:v>
                </c:pt>
                <c:pt idx="11858">
                  <c:v>#N/A</c:v>
                </c:pt>
                <c:pt idx="11859">
                  <c:v>#N/A</c:v>
                </c:pt>
                <c:pt idx="11860">
                  <c:v>#N/A</c:v>
                </c:pt>
                <c:pt idx="11861">
                  <c:v>#N/A</c:v>
                </c:pt>
                <c:pt idx="11862">
                  <c:v>#N/A</c:v>
                </c:pt>
                <c:pt idx="11863">
                  <c:v>#N/A</c:v>
                </c:pt>
                <c:pt idx="11864">
                  <c:v>#N/A</c:v>
                </c:pt>
                <c:pt idx="11865">
                  <c:v>#N/A</c:v>
                </c:pt>
                <c:pt idx="11866">
                  <c:v>#N/A</c:v>
                </c:pt>
                <c:pt idx="11867">
                  <c:v>#N/A</c:v>
                </c:pt>
                <c:pt idx="11868">
                  <c:v>#N/A</c:v>
                </c:pt>
                <c:pt idx="11869">
                  <c:v>#N/A</c:v>
                </c:pt>
                <c:pt idx="11870">
                  <c:v>#N/A</c:v>
                </c:pt>
                <c:pt idx="11871">
                  <c:v>#N/A</c:v>
                </c:pt>
                <c:pt idx="11872">
                  <c:v>#N/A</c:v>
                </c:pt>
                <c:pt idx="11873">
                  <c:v>#N/A</c:v>
                </c:pt>
                <c:pt idx="11874">
                  <c:v>#N/A</c:v>
                </c:pt>
                <c:pt idx="11875">
                  <c:v>#N/A</c:v>
                </c:pt>
                <c:pt idx="11876">
                  <c:v>#N/A</c:v>
                </c:pt>
                <c:pt idx="11877">
                  <c:v>#N/A</c:v>
                </c:pt>
                <c:pt idx="11878">
                  <c:v>#N/A</c:v>
                </c:pt>
                <c:pt idx="11879">
                  <c:v>#N/A</c:v>
                </c:pt>
                <c:pt idx="11880">
                  <c:v>#N/A</c:v>
                </c:pt>
                <c:pt idx="11881">
                  <c:v>#N/A</c:v>
                </c:pt>
                <c:pt idx="11882">
                  <c:v>#N/A</c:v>
                </c:pt>
                <c:pt idx="11883">
                  <c:v>#N/A</c:v>
                </c:pt>
                <c:pt idx="11884">
                  <c:v>#N/A</c:v>
                </c:pt>
                <c:pt idx="11885">
                  <c:v>#N/A</c:v>
                </c:pt>
                <c:pt idx="11886">
                  <c:v>#N/A</c:v>
                </c:pt>
                <c:pt idx="11887">
                  <c:v>#N/A</c:v>
                </c:pt>
                <c:pt idx="11888">
                  <c:v>#N/A</c:v>
                </c:pt>
                <c:pt idx="11889">
                  <c:v>#N/A</c:v>
                </c:pt>
                <c:pt idx="11890">
                  <c:v>#N/A</c:v>
                </c:pt>
                <c:pt idx="11891">
                  <c:v>#N/A</c:v>
                </c:pt>
                <c:pt idx="11892">
                  <c:v>#N/A</c:v>
                </c:pt>
                <c:pt idx="11893">
                  <c:v>#N/A</c:v>
                </c:pt>
                <c:pt idx="11894">
                  <c:v>#N/A</c:v>
                </c:pt>
                <c:pt idx="11895">
                  <c:v>#N/A</c:v>
                </c:pt>
                <c:pt idx="11896">
                  <c:v>#N/A</c:v>
                </c:pt>
                <c:pt idx="11897">
                  <c:v>#N/A</c:v>
                </c:pt>
                <c:pt idx="11898">
                  <c:v>#N/A</c:v>
                </c:pt>
                <c:pt idx="11899">
                  <c:v>#N/A</c:v>
                </c:pt>
                <c:pt idx="11900">
                  <c:v>#N/A</c:v>
                </c:pt>
                <c:pt idx="11901">
                  <c:v>#N/A</c:v>
                </c:pt>
                <c:pt idx="11902">
                  <c:v>#N/A</c:v>
                </c:pt>
                <c:pt idx="11903">
                  <c:v>#N/A</c:v>
                </c:pt>
                <c:pt idx="11904">
                  <c:v>#N/A</c:v>
                </c:pt>
                <c:pt idx="11905">
                  <c:v>#N/A</c:v>
                </c:pt>
                <c:pt idx="11906">
                  <c:v>#N/A</c:v>
                </c:pt>
                <c:pt idx="11907">
                  <c:v>#N/A</c:v>
                </c:pt>
                <c:pt idx="11908">
                  <c:v>#N/A</c:v>
                </c:pt>
                <c:pt idx="11909">
                  <c:v>#N/A</c:v>
                </c:pt>
                <c:pt idx="11910">
                  <c:v>#N/A</c:v>
                </c:pt>
                <c:pt idx="11911">
                  <c:v>#N/A</c:v>
                </c:pt>
                <c:pt idx="11912">
                  <c:v>#N/A</c:v>
                </c:pt>
                <c:pt idx="11913">
                  <c:v>#N/A</c:v>
                </c:pt>
                <c:pt idx="11914">
                  <c:v>#N/A</c:v>
                </c:pt>
                <c:pt idx="11915">
                  <c:v>#N/A</c:v>
                </c:pt>
                <c:pt idx="11916">
                  <c:v>#N/A</c:v>
                </c:pt>
                <c:pt idx="11917">
                  <c:v>#N/A</c:v>
                </c:pt>
                <c:pt idx="11918">
                  <c:v>#N/A</c:v>
                </c:pt>
                <c:pt idx="11919">
                  <c:v>#N/A</c:v>
                </c:pt>
                <c:pt idx="11920">
                  <c:v>#N/A</c:v>
                </c:pt>
                <c:pt idx="11921">
                  <c:v>#N/A</c:v>
                </c:pt>
                <c:pt idx="11922">
                  <c:v>#N/A</c:v>
                </c:pt>
                <c:pt idx="11923">
                  <c:v>#N/A</c:v>
                </c:pt>
                <c:pt idx="11924">
                  <c:v>#N/A</c:v>
                </c:pt>
                <c:pt idx="11925">
                  <c:v>#N/A</c:v>
                </c:pt>
                <c:pt idx="11926">
                  <c:v>#N/A</c:v>
                </c:pt>
                <c:pt idx="11927">
                  <c:v>#N/A</c:v>
                </c:pt>
                <c:pt idx="11928">
                  <c:v>#N/A</c:v>
                </c:pt>
                <c:pt idx="11929">
                  <c:v>#N/A</c:v>
                </c:pt>
                <c:pt idx="11930">
                  <c:v>#N/A</c:v>
                </c:pt>
                <c:pt idx="11931">
                  <c:v>#N/A</c:v>
                </c:pt>
                <c:pt idx="11932">
                  <c:v>#N/A</c:v>
                </c:pt>
                <c:pt idx="11933">
                  <c:v>#N/A</c:v>
                </c:pt>
                <c:pt idx="11934">
                  <c:v>#N/A</c:v>
                </c:pt>
                <c:pt idx="11935">
                  <c:v>#N/A</c:v>
                </c:pt>
                <c:pt idx="11936">
                  <c:v>#N/A</c:v>
                </c:pt>
                <c:pt idx="11937">
                  <c:v>#N/A</c:v>
                </c:pt>
                <c:pt idx="11938">
                  <c:v>#N/A</c:v>
                </c:pt>
                <c:pt idx="11939">
                  <c:v>#N/A</c:v>
                </c:pt>
                <c:pt idx="11940">
                  <c:v>#N/A</c:v>
                </c:pt>
                <c:pt idx="11941">
                  <c:v>#N/A</c:v>
                </c:pt>
                <c:pt idx="11942">
                  <c:v>#N/A</c:v>
                </c:pt>
                <c:pt idx="11943">
                  <c:v>#N/A</c:v>
                </c:pt>
                <c:pt idx="11944">
                  <c:v>#N/A</c:v>
                </c:pt>
                <c:pt idx="11945">
                  <c:v>#N/A</c:v>
                </c:pt>
                <c:pt idx="11946">
                  <c:v>#N/A</c:v>
                </c:pt>
                <c:pt idx="11947">
                  <c:v>#N/A</c:v>
                </c:pt>
                <c:pt idx="11948">
                  <c:v>#N/A</c:v>
                </c:pt>
                <c:pt idx="11949">
                  <c:v>#N/A</c:v>
                </c:pt>
                <c:pt idx="11950">
                  <c:v>#N/A</c:v>
                </c:pt>
                <c:pt idx="11951">
                  <c:v>#N/A</c:v>
                </c:pt>
                <c:pt idx="11952">
                  <c:v>#N/A</c:v>
                </c:pt>
                <c:pt idx="11953">
                  <c:v>#N/A</c:v>
                </c:pt>
                <c:pt idx="11954">
                  <c:v>#N/A</c:v>
                </c:pt>
                <c:pt idx="11955">
                  <c:v>#N/A</c:v>
                </c:pt>
                <c:pt idx="11956">
                  <c:v>#N/A</c:v>
                </c:pt>
                <c:pt idx="11957">
                  <c:v>#N/A</c:v>
                </c:pt>
                <c:pt idx="11958">
                  <c:v>#N/A</c:v>
                </c:pt>
                <c:pt idx="11959">
                  <c:v>#N/A</c:v>
                </c:pt>
                <c:pt idx="11960">
                  <c:v>#N/A</c:v>
                </c:pt>
                <c:pt idx="11961">
                  <c:v>#N/A</c:v>
                </c:pt>
                <c:pt idx="11962">
                  <c:v>#N/A</c:v>
                </c:pt>
                <c:pt idx="11963">
                  <c:v>#N/A</c:v>
                </c:pt>
                <c:pt idx="11964">
                  <c:v>#N/A</c:v>
                </c:pt>
                <c:pt idx="11965">
                  <c:v>#N/A</c:v>
                </c:pt>
                <c:pt idx="11966">
                  <c:v>#N/A</c:v>
                </c:pt>
                <c:pt idx="11967">
                  <c:v>#N/A</c:v>
                </c:pt>
                <c:pt idx="11968">
                  <c:v>#N/A</c:v>
                </c:pt>
                <c:pt idx="11969">
                  <c:v>#N/A</c:v>
                </c:pt>
                <c:pt idx="11970">
                  <c:v>#N/A</c:v>
                </c:pt>
                <c:pt idx="11971">
                  <c:v>#N/A</c:v>
                </c:pt>
                <c:pt idx="11972">
                  <c:v>#N/A</c:v>
                </c:pt>
                <c:pt idx="11973">
                  <c:v>#N/A</c:v>
                </c:pt>
                <c:pt idx="11974">
                  <c:v>#N/A</c:v>
                </c:pt>
                <c:pt idx="11975">
                  <c:v>#N/A</c:v>
                </c:pt>
                <c:pt idx="11976">
                  <c:v>#N/A</c:v>
                </c:pt>
                <c:pt idx="11977">
                  <c:v>5.5561643835616437</c:v>
                </c:pt>
                <c:pt idx="11978">
                  <c:v>#N/A</c:v>
                </c:pt>
                <c:pt idx="11979">
                  <c:v>#N/A</c:v>
                </c:pt>
                <c:pt idx="11980">
                  <c:v>#N/A</c:v>
                </c:pt>
                <c:pt idx="11981">
                  <c:v>#N/A</c:v>
                </c:pt>
                <c:pt idx="11982">
                  <c:v>#N/A</c:v>
                </c:pt>
                <c:pt idx="11983">
                  <c:v>#N/A</c:v>
                </c:pt>
                <c:pt idx="11984">
                  <c:v>#N/A</c:v>
                </c:pt>
                <c:pt idx="11985">
                  <c:v>#N/A</c:v>
                </c:pt>
                <c:pt idx="11986">
                  <c:v>#N/A</c:v>
                </c:pt>
                <c:pt idx="11987">
                  <c:v>#N/A</c:v>
                </c:pt>
                <c:pt idx="11988">
                  <c:v>#N/A</c:v>
                </c:pt>
                <c:pt idx="11989">
                  <c:v>#N/A</c:v>
                </c:pt>
                <c:pt idx="11990">
                  <c:v>#N/A</c:v>
                </c:pt>
                <c:pt idx="11991">
                  <c:v>#N/A</c:v>
                </c:pt>
                <c:pt idx="11992">
                  <c:v>#N/A</c:v>
                </c:pt>
                <c:pt idx="11993">
                  <c:v>#N/A</c:v>
                </c:pt>
                <c:pt idx="11994">
                  <c:v>#N/A</c:v>
                </c:pt>
                <c:pt idx="11995">
                  <c:v>#N/A</c:v>
                </c:pt>
                <c:pt idx="11996">
                  <c:v>#N/A</c:v>
                </c:pt>
                <c:pt idx="11997">
                  <c:v>#N/A</c:v>
                </c:pt>
                <c:pt idx="11998">
                  <c:v>#N/A</c:v>
                </c:pt>
                <c:pt idx="11999">
                  <c:v>#N/A</c:v>
                </c:pt>
                <c:pt idx="12000">
                  <c:v>#N/A</c:v>
                </c:pt>
                <c:pt idx="12001">
                  <c:v>#N/A</c:v>
                </c:pt>
                <c:pt idx="12002">
                  <c:v>#N/A</c:v>
                </c:pt>
                <c:pt idx="12003">
                  <c:v>5.6136986301369864</c:v>
                </c:pt>
                <c:pt idx="12004">
                  <c:v>#N/A</c:v>
                </c:pt>
                <c:pt idx="12005">
                  <c:v>#N/A</c:v>
                </c:pt>
                <c:pt idx="12006">
                  <c:v>#N/A</c:v>
                </c:pt>
                <c:pt idx="12007">
                  <c:v>#N/A</c:v>
                </c:pt>
                <c:pt idx="12008">
                  <c:v>#N/A</c:v>
                </c:pt>
                <c:pt idx="12009">
                  <c:v>#N/A</c:v>
                </c:pt>
                <c:pt idx="12010">
                  <c:v>#N/A</c:v>
                </c:pt>
                <c:pt idx="12011">
                  <c:v>#N/A</c:v>
                </c:pt>
                <c:pt idx="12012">
                  <c:v>#N/A</c:v>
                </c:pt>
                <c:pt idx="12013">
                  <c:v>#N/A</c:v>
                </c:pt>
                <c:pt idx="12014">
                  <c:v>#N/A</c:v>
                </c:pt>
                <c:pt idx="12015">
                  <c:v>#N/A</c:v>
                </c:pt>
                <c:pt idx="12016">
                  <c:v>#N/A</c:v>
                </c:pt>
                <c:pt idx="12017">
                  <c:v>#N/A</c:v>
                </c:pt>
                <c:pt idx="12018">
                  <c:v>#N/A</c:v>
                </c:pt>
                <c:pt idx="12019">
                  <c:v>#N/A</c:v>
                </c:pt>
                <c:pt idx="12020">
                  <c:v>#N/A</c:v>
                </c:pt>
                <c:pt idx="12021">
                  <c:v>#N/A</c:v>
                </c:pt>
                <c:pt idx="12022">
                  <c:v>#N/A</c:v>
                </c:pt>
                <c:pt idx="12023">
                  <c:v>#N/A</c:v>
                </c:pt>
                <c:pt idx="12024">
                  <c:v>#N/A</c:v>
                </c:pt>
                <c:pt idx="12025">
                  <c:v>#N/A</c:v>
                </c:pt>
                <c:pt idx="12026">
                  <c:v>#N/A</c:v>
                </c:pt>
                <c:pt idx="12027">
                  <c:v>#N/A</c:v>
                </c:pt>
                <c:pt idx="12028">
                  <c:v>#N/A</c:v>
                </c:pt>
                <c:pt idx="12029">
                  <c:v>#N/A</c:v>
                </c:pt>
                <c:pt idx="12030">
                  <c:v>#N/A</c:v>
                </c:pt>
                <c:pt idx="12031">
                  <c:v>#N/A</c:v>
                </c:pt>
                <c:pt idx="12032">
                  <c:v>#N/A</c:v>
                </c:pt>
                <c:pt idx="12033">
                  <c:v>#N/A</c:v>
                </c:pt>
                <c:pt idx="12034">
                  <c:v>#N/A</c:v>
                </c:pt>
                <c:pt idx="12035">
                  <c:v>#N/A</c:v>
                </c:pt>
                <c:pt idx="12036">
                  <c:v>#N/A</c:v>
                </c:pt>
                <c:pt idx="12037">
                  <c:v>#N/A</c:v>
                </c:pt>
                <c:pt idx="12038">
                  <c:v>#N/A</c:v>
                </c:pt>
                <c:pt idx="12039">
                  <c:v>#N/A</c:v>
                </c:pt>
                <c:pt idx="12040">
                  <c:v>#N/A</c:v>
                </c:pt>
                <c:pt idx="12041">
                  <c:v>#N/A</c:v>
                </c:pt>
                <c:pt idx="12042">
                  <c:v>#N/A</c:v>
                </c:pt>
                <c:pt idx="12043">
                  <c:v>#N/A</c:v>
                </c:pt>
                <c:pt idx="12044">
                  <c:v>#N/A</c:v>
                </c:pt>
                <c:pt idx="12045">
                  <c:v>#N/A</c:v>
                </c:pt>
                <c:pt idx="12046">
                  <c:v>#N/A</c:v>
                </c:pt>
                <c:pt idx="12047">
                  <c:v>#N/A</c:v>
                </c:pt>
                <c:pt idx="12048">
                  <c:v>#N/A</c:v>
                </c:pt>
                <c:pt idx="12049">
                  <c:v>#N/A</c:v>
                </c:pt>
                <c:pt idx="12050">
                  <c:v>#N/A</c:v>
                </c:pt>
                <c:pt idx="12051">
                  <c:v>#N/A</c:v>
                </c:pt>
                <c:pt idx="12052">
                  <c:v>#N/A</c:v>
                </c:pt>
                <c:pt idx="12053">
                  <c:v>#N/A</c:v>
                </c:pt>
                <c:pt idx="12054">
                  <c:v>#N/A</c:v>
                </c:pt>
                <c:pt idx="12055">
                  <c:v>#N/A</c:v>
                </c:pt>
                <c:pt idx="12056">
                  <c:v>#N/A</c:v>
                </c:pt>
                <c:pt idx="12057">
                  <c:v>#N/A</c:v>
                </c:pt>
                <c:pt idx="12058">
                  <c:v>#N/A</c:v>
                </c:pt>
                <c:pt idx="12059">
                  <c:v>#N/A</c:v>
                </c:pt>
                <c:pt idx="12060">
                  <c:v>#N/A</c:v>
                </c:pt>
                <c:pt idx="12061">
                  <c:v>#N/A</c:v>
                </c:pt>
                <c:pt idx="12062">
                  <c:v>#N/A</c:v>
                </c:pt>
                <c:pt idx="12063">
                  <c:v>#N/A</c:v>
                </c:pt>
                <c:pt idx="12064">
                  <c:v>#N/A</c:v>
                </c:pt>
                <c:pt idx="12065">
                  <c:v>#N/A</c:v>
                </c:pt>
                <c:pt idx="12066">
                  <c:v>#N/A</c:v>
                </c:pt>
                <c:pt idx="12067">
                  <c:v>#N/A</c:v>
                </c:pt>
                <c:pt idx="12068">
                  <c:v>#N/A</c:v>
                </c:pt>
                <c:pt idx="12069">
                  <c:v>#N/A</c:v>
                </c:pt>
                <c:pt idx="12070">
                  <c:v>#N/A</c:v>
                </c:pt>
                <c:pt idx="12071">
                  <c:v>#N/A</c:v>
                </c:pt>
                <c:pt idx="12072">
                  <c:v>#N/A</c:v>
                </c:pt>
                <c:pt idx="12073">
                  <c:v>#N/A</c:v>
                </c:pt>
                <c:pt idx="12074">
                  <c:v>#N/A</c:v>
                </c:pt>
                <c:pt idx="12075">
                  <c:v>#N/A</c:v>
                </c:pt>
                <c:pt idx="12076">
                  <c:v>#N/A</c:v>
                </c:pt>
                <c:pt idx="12077">
                  <c:v>#N/A</c:v>
                </c:pt>
                <c:pt idx="12078">
                  <c:v>#N/A</c:v>
                </c:pt>
                <c:pt idx="12079">
                  <c:v>#N/A</c:v>
                </c:pt>
                <c:pt idx="12080">
                  <c:v>#N/A</c:v>
                </c:pt>
                <c:pt idx="12081">
                  <c:v>#N/A</c:v>
                </c:pt>
                <c:pt idx="12082">
                  <c:v>#N/A</c:v>
                </c:pt>
                <c:pt idx="12083">
                  <c:v>#N/A</c:v>
                </c:pt>
                <c:pt idx="12084">
                  <c:v>#N/A</c:v>
                </c:pt>
                <c:pt idx="12085">
                  <c:v>#N/A</c:v>
                </c:pt>
                <c:pt idx="12086">
                  <c:v>#N/A</c:v>
                </c:pt>
                <c:pt idx="12087">
                  <c:v>#N/A</c:v>
                </c:pt>
                <c:pt idx="12088">
                  <c:v>#N/A</c:v>
                </c:pt>
                <c:pt idx="12089">
                  <c:v>#N/A</c:v>
                </c:pt>
                <c:pt idx="12090">
                  <c:v>#N/A</c:v>
                </c:pt>
                <c:pt idx="12091">
                  <c:v>#N/A</c:v>
                </c:pt>
                <c:pt idx="12092">
                  <c:v>#N/A</c:v>
                </c:pt>
                <c:pt idx="12093">
                  <c:v>#N/A</c:v>
                </c:pt>
                <c:pt idx="12094">
                  <c:v>#N/A</c:v>
                </c:pt>
                <c:pt idx="12095">
                  <c:v>#N/A</c:v>
                </c:pt>
                <c:pt idx="12096">
                  <c:v>#N/A</c:v>
                </c:pt>
                <c:pt idx="12097">
                  <c:v>#N/A</c:v>
                </c:pt>
                <c:pt idx="12098">
                  <c:v>#N/A</c:v>
                </c:pt>
                <c:pt idx="12099">
                  <c:v>#N/A</c:v>
                </c:pt>
                <c:pt idx="12100">
                  <c:v>#N/A</c:v>
                </c:pt>
                <c:pt idx="12101">
                  <c:v>#N/A</c:v>
                </c:pt>
                <c:pt idx="12102">
                  <c:v>#N/A</c:v>
                </c:pt>
                <c:pt idx="12103">
                  <c:v>#N/A</c:v>
                </c:pt>
                <c:pt idx="12104">
                  <c:v>#N/A</c:v>
                </c:pt>
                <c:pt idx="12105">
                  <c:v>#N/A</c:v>
                </c:pt>
                <c:pt idx="12106">
                  <c:v>#N/A</c:v>
                </c:pt>
                <c:pt idx="12107">
                  <c:v>#N/A</c:v>
                </c:pt>
                <c:pt idx="12108">
                  <c:v>#N/A</c:v>
                </c:pt>
                <c:pt idx="12109">
                  <c:v>#N/A</c:v>
                </c:pt>
                <c:pt idx="12110">
                  <c:v>#N/A</c:v>
                </c:pt>
                <c:pt idx="12111">
                  <c:v>#N/A</c:v>
                </c:pt>
                <c:pt idx="12112">
                  <c:v>#N/A</c:v>
                </c:pt>
                <c:pt idx="12113">
                  <c:v>#N/A</c:v>
                </c:pt>
                <c:pt idx="12114">
                  <c:v>#N/A</c:v>
                </c:pt>
                <c:pt idx="12115">
                  <c:v>#N/A</c:v>
                </c:pt>
                <c:pt idx="12116">
                  <c:v>#N/A</c:v>
                </c:pt>
                <c:pt idx="12117">
                  <c:v>#N/A</c:v>
                </c:pt>
                <c:pt idx="12118">
                  <c:v>#N/A</c:v>
                </c:pt>
                <c:pt idx="12119">
                  <c:v>#N/A</c:v>
                </c:pt>
                <c:pt idx="12120">
                  <c:v>#N/A</c:v>
                </c:pt>
                <c:pt idx="12121">
                  <c:v>#N/A</c:v>
                </c:pt>
                <c:pt idx="12122">
                  <c:v>#N/A</c:v>
                </c:pt>
                <c:pt idx="12123">
                  <c:v>#N/A</c:v>
                </c:pt>
                <c:pt idx="12124">
                  <c:v>#N/A</c:v>
                </c:pt>
                <c:pt idx="12125">
                  <c:v>#N/A</c:v>
                </c:pt>
                <c:pt idx="12126">
                  <c:v>#N/A</c:v>
                </c:pt>
                <c:pt idx="12127">
                  <c:v>#N/A</c:v>
                </c:pt>
                <c:pt idx="12128">
                  <c:v>#N/A</c:v>
                </c:pt>
                <c:pt idx="12129">
                  <c:v>#N/A</c:v>
                </c:pt>
                <c:pt idx="12130">
                  <c:v>#N/A</c:v>
                </c:pt>
                <c:pt idx="12131">
                  <c:v>#N/A</c:v>
                </c:pt>
                <c:pt idx="12132">
                  <c:v>#N/A</c:v>
                </c:pt>
                <c:pt idx="12133">
                  <c:v>#N/A</c:v>
                </c:pt>
                <c:pt idx="12134">
                  <c:v>#N/A</c:v>
                </c:pt>
                <c:pt idx="12135">
                  <c:v>#N/A</c:v>
                </c:pt>
                <c:pt idx="12136">
                  <c:v>#N/A</c:v>
                </c:pt>
                <c:pt idx="12137">
                  <c:v>#N/A</c:v>
                </c:pt>
                <c:pt idx="12138">
                  <c:v>#N/A</c:v>
                </c:pt>
                <c:pt idx="12139">
                  <c:v>#N/A</c:v>
                </c:pt>
                <c:pt idx="12140">
                  <c:v>#N/A</c:v>
                </c:pt>
                <c:pt idx="12141">
                  <c:v>#N/A</c:v>
                </c:pt>
                <c:pt idx="12142">
                  <c:v>#N/A</c:v>
                </c:pt>
                <c:pt idx="12143">
                  <c:v>#N/A</c:v>
                </c:pt>
                <c:pt idx="12144">
                  <c:v>#N/A</c:v>
                </c:pt>
                <c:pt idx="12145">
                  <c:v>#N/A</c:v>
                </c:pt>
                <c:pt idx="12146">
                  <c:v>#N/A</c:v>
                </c:pt>
                <c:pt idx="12147">
                  <c:v>#N/A</c:v>
                </c:pt>
                <c:pt idx="12148">
                  <c:v>#N/A</c:v>
                </c:pt>
                <c:pt idx="12149">
                  <c:v>#N/A</c:v>
                </c:pt>
                <c:pt idx="12150">
                  <c:v>#N/A</c:v>
                </c:pt>
                <c:pt idx="12151">
                  <c:v>#N/A</c:v>
                </c:pt>
                <c:pt idx="12152">
                  <c:v>#N/A</c:v>
                </c:pt>
                <c:pt idx="12153">
                  <c:v>#N/A</c:v>
                </c:pt>
                <c:pt idx="12154">
                  <c:v>#N/A</c:v>
                </c:pt>
                <c:pt idx="12155">
                  <c:v>#N/A</c:v>
                </c:pt>
                <c:pt idx="12156">
                  <c:v>#N/A</c:v>
                </c:pt>
                <c:pt idx="12157">
                  <c:v>#N/A</c:v>
                </c:pt>
                <c:pt idx="12158">
                  <c:v>#N/A</c:v>
                </c:pt>
                <c:pt idx="12159">
                  <c:v>#N/A</c:v>
                </c:pt>
                <c:pt idx="12160">
                  <c:v>#N/A</c:v>
                </c:pt>
                <c:pt idx="12161">
                  <c:v>#N/A</c:v>
                </c:pt>
                <c:pt idx="12162">
                  <c:v>#N/A</c:v>
                </c:pt>
                <c:pt idx="12163">
                  <c:v>#N/A</c:v>
                </c:pt>
                <c:pt idx="12164">
                  <c:v>#N/A</c:v>
                </c:pt>
                <c:pt idx="12165">
                  <c:v>#N/A</c:v>
                </c:pt>
                <c:pt idx="12166">
                  <c:v>#N/A</c:v>
                </c:pt>
                <c:pt idx="12167">
                  <c:v>#N/A</c:v>
                </c:pt>
                <c:pt idx="12168">
                  <c:v>#N/A</c:v>
                </c:pt>
                <c:pt idx="12169">
                  <c:v>#N/A</c:v>
                </c:pt>
                <c:pt idx="12170">
                  <c:v>#N/A</c:v>
                </c:pt>
                <c:pt idx="12171">
                  <c:v>#N/A</c:v>
                </c:pt>
                <c:pt idx="12172">
                  <c:v>#N/A</c:v>
                </c:pt>
                <c:pt idx="12173">
                  <c:v>#N/A</c:v>
                </c:pt>
                <c:pt idx="12174">
                  <c:v>#N/A</c:v>
                </c:pt>
                <c:pt idx="12175">
                  <c:v>#N/A</c:v>
                </c:pt>
                <c:pt idx="12176">
                  <c:v>#N/A</c:v>
                </c:pt>
                <c:pt idx="12177">
                  <c:v>#N/A</c:v>
                </c:pt>
                <c:pt idx="12178">
                  <c:v>#N/A</c:v>
                </c:pt>
                <c:pt idx="12179">
                  <c:v>#N/A</c:v>
                </c:pt>
                <c:pt idx="12180">
                  <c:v>#N/A</c:v>
                </c:pt>
                <c:pt idx="12181">
                  <c:v>#N/A</c:v>
                </c:pt>
                <c:pt idx="12182">
                  <c:v>#N/A</c:v>
                </c:pt>
                <c:pt idx="12183">
                  <c:v>#N/A</c:v>
                </c:pt>
                <c:pt idx="12184">
                  <c:v>#N/A</c:v>
                </c:pt>
                <c:pt idx="12185">
                  <c:v>#N/A</c:v>
                </c:pt>
                <c:pt idx="12186">
                  <c:v>#N/A</c:v>
                </c:pt>
                <c:pt idx="12187">
                  <c:v>#N/A</c:v>
                </c:pt>
                <c:pt idx="12188">
                  <c:v>#N/A</c:v>
                </c:pt>
                <c:pt idx="12189">
                  <c:v>#N/A</c:v>
                </c:pt>
                <c:pt idx="12190">
                  <c:v>#N/A</c:v>
                </c:pt>
                <c:pt idx="12191">
                  <c:v>#N/A</c:v>
                </c:pt>
                <c:pt idx="12192">
                  <c:v>#N/A</c:v>
                </c:pt>
                <c:pt idx="12193">
                  <c:v>#N/A</c:v>
                </c:pt>
                <c:pt idx="12194">
                  <c:v>#N/A</c:v>
                </c:pt>
                <c:pt idx="12195">
                  <c:v>#N/A</c:v>
                </c:pt>
                <c:pt idx="12196">
                  <c:v>#N/A</c:v>
                </c:pt>
                <c:pt idx="12197">
                  <c:v>#N/A</c:v>
                </c:pt>
                <c:pt idx="12198">
                  <c:v>#N/A</c:v>
                </c:pt>
                <c:pt idx="12199">
                  <c:v>#N/A</c:v>
                </c:pt>
                <c:pt idx="12200">
                  <c:v>#N/A</c:v>
                </c:pt>
                <c:pt idx="12201">
                  <c:v>#N/A</c:v>
                </c:pt>
                <c:pt idx="12202">
                  <c:v>#N/A</c:v>
                </c:pt>
                <c:pt idx="12203">
                  <c:v>#N/A</c:v>
                </c:pt>
                <c:pt idx="12204">
                  <c:v>#N/A</c:v>
                </c:pt>
                <c:pt idx="12205">
                  <c:v>#N/A</c:v>
                </c:pt>
                <c:pt idx="12206">
                  <c:v>#N/A</c:v>
                </c:pt>
                <c:pt idx="12207">
                  <c:v>#N/A</c:v>
                </c:pt>
                <c:pt idx="12208">
                  <c:v>#N/A</c:v>
                </c:pt>
                <c:pt idx="12209">
                  <c:v>#N/A</c:v>
                </c:pt>
                <c:pt idx="12210">
                  <c:v>#N/A</c:v>
                </c:pt>
                <c:pt idx="12211">
                  <c:v>#N/A</c:v>
                </c:pt>
                <c:pt idx="12212">
                  <c:v>#N/A</c:v>
                </c:pt>
                <c:pt idx="12213">
                  <c:v>#N/A</c:v>
                </c:pt>
                <c:pt idx="12214">
                  <c:v>#N/A</c:v>
                </c:pt>
                <c:pt idx="12215">
                  <c:v>#N/A</c:v>
                </c:pt>
                <c:pt idx="12216">
                  <c:v>#N/A</c:v>
                </c:pt>
                <c:pt idx="12217">
                  <c:v>#N/A</c:v>
                </c:pt>
                <c:pt idx="12218">
                  <c:v>#N/A</c:v>
                </c:pt>
                <c:pt idx="12219">
                  <c:v>#N/A</c:v>
                </c:pt>
                <c:pt idx="12220">
                  <c:v>#N/A</c:v>
                </c:pt>
                <c:pt idx="12221">
                  <c:v>#N/A</c:v>
                </c:pt>
                <c:pt idx="12222">
                  <c:v>#N/A</c:v>
                </c:pt>
                <c:pt idx="12223">
                  <c:v>#N/A</c:v>
                </c:pt>
                <c:pt idx="12224">
                  <c:v>#N/A</c:v>
                </c:pt>
                <c:pt idx="12225">
                  <c:v>#N/A</c:v>
                </c:pt>
                <c:pt idx="12226">
                  <c:v>#N/A</c:v>
                </c:pt>
                <c:pt idx="12227">
                  <c:v>#N/A</c:v>
                </c:pt>
                <c:pt idx="12228">
                  <c:v>#N/A</c:v>
                </c:pt>
                <c:pt idx="12229">
                  <c:v>#N/A</c:v>
                </c:pt>
                <c:pt idx="12230">
                  <c:v>#N/A</c:v>
                </c:pt>
                <c:pt idx="12231">
                  <c:v>#N/A</c:v>
                </c:pt>
                <c:pt idx="12232">
                  <c:v>#N/A</c:v>
                </c:pt>
                <c:pt idx="12233">
                  <c:v>#N/A</c:v>
                </c:pt>
                <c:pt idx="12234">
                  <c:v>#N/A</c:v>
                </c:pt>
                <c:pt idx="12235">
                  <c:v>#N/A</c:v>
                </c:pt>
                <c:pt idx="12236">
                  <c:v>#N/A</c:v>
                </c:pt>
                <c:pt idx="12237">
                  <c:v>#N/A</c:v>
                </c:pt>
                <c:pt idx="12238">
                  <c:v>#N/A</c:v>
                </c:pt>
                <c:pt idx="12239">
                  <c:v>#N/A</c:v>
                </c:pt>
                <c:pt idx="12240">
                  <c:v>#N/A</c:v>
                </c:pt>
                <c:pt idx="12241">
                  <c:v>#N/A</c:v>
                </c:pt>
                <c:pt idx="12242">
                  <c:v>#N/A</c:v>
                </c:pt>
                <c:pt idx="12243">
                  <c:v>#N/A</c:v>
                </c:pt>
                <c:pt idx="12244">
                  <c:v>#N/A</c:v>
                </c:pt>
                <c:pt idx="12245">
                  <c:v>#N/A</c:v>
                </c:pt>
                <c:pt idx="12246">
                  <c:v>#N/A</c:v>
                </c:pt>
                <c:pt idx="12247">
                  <c:v>#N/A</c:v>
                </c:pt>
                <c:pt idx="12248">
                  <c:v>#N/A</c:v>
                </c:pt>
                <c:pt idx="12249">
                  <c:v>#N/A</c:v>
                </c:pt>
                <c:pt idx="12250">
                  <c:v>#N/A</c:v>
                </c:pt>
                <c:pt idx="12251">
                  <c:v>#N/A</c:v>
                </c:pt>
                <c:pt idx="12252">
                  <c:v>#N/A</c:v>
                </c:pt>
                <c:pt idx="12253">
                  <c:v>#N/A</c:v>
                </c:pt>
                <c:pt idx="12254">
                  <c:v>#N/A</c:v>
                </c:pt>
                <c:pt idx="12255">
                  <c:v>#N/A</c:v>
                </c:pt>
                <c:pt idx="12256">
                  <c:v>#N/A</c:v>
                </c:pt>
                <c:pt idx="12257">
                  <c:v>#N/A</c:v>
                </c:pt>
                <c:pt idx="12258">
                  <c:v>#N/A</c:v>
                </c:pt>
                <c:pt idx="12259">
                  <c:v>#N/A</c:v>
                </c:pt>
                <c:pt idx="12260">
                  <c:v>#N/A</c:v>
                </c:pt>
                <c:pt idx="12261">
                  <c:v>#N/A</c:v>
                </c:pt>
                <c:pt idx="12262">
                  <c:v>6.3232876712328769</c:v>
                </c:pt>
                <c:pt idx="12263">
                  <c:v>#N/A</c:v>
                </c:pt>
                <c:pt idx="12264">
                  <c:v>#N/A</c:v>
                </c:pt>
                <c:pt idx="12265">
                  <c:v>#N/A</c:v>
                </c:pt>
                <c:pt idx="12266">
                  <c:v>#N/A</c:v>
                </c:pt>
                <c:pt idx="12267">
                  <c:v>#N/A</c:v>
                </c:pt>
                <c:pt idx="12268">
                  <c:v>#N/A</c:v>
                </c:pt>
                <c:pt idx="12269">
                  <c:v>#N/A</c:v>
                </c:pt>
                <c:pt idx="12270">
                  <c:v>#N/A</c:v>
                </c:pt>
                <c:pt idx="12271">
                  <c:v>#N/A</c:v>
                </c:pt>
                <c:pt idx="12272">
                  <c:v>#N/A</c:v>
                </c:pt>
                <c:pt idx="12273">
                  <c:v>#N/A</c:v>
                </c:pt>
                <c:pt idx="12274">
                  <c:v>#N/A</c:v>
                </c:pt>
                <c:pt idx="12275">
                  <c:v>#N/A</c:v>
                </c:pt>
                <c:pt idx="12276">
                  <c:v>#N/A</c:v>
                </c:pt>
                <c:pt idx="12277">
                  <c:v>#N/A</c:v>
                </c:pt>
                <c:pt idx="12278">
                  <c:v>#N/A</c:v>
                </c:pt>
                <c:pt idx="12279">
                  <c:v>#N/A</c:v>
                </c:pt>
                <c:pt idx="12280">
                  <c:v>#N/A</c:v>
                </c:pt>
                <c:pt idx="12281">
                  <c:v>#N/A</c:v>
                </c:pt>
                <c:pt idx="12282">
                  <c:v>#N/A</c:v>
                </c:pt>
                <c:pt idx="12283">
                  <c:v>#N/A</c:v>
                </c:pt>
                <c:pt idx="12284">
                  <c:v>#N/A</c:v>
                </c:pt>
                <c:pt idx="12285">
                  <c:v>#N/A</c:v>
                </c:pt>
                <c:pt idx="12286">
                  <c:v>#N/A</c:v>
                </c:pt>
                <c:pt idx="12287">
                  <c:v>#N/A</c:v>
                </c:pt>
                <c:pt idx="12288">
                  <c:v>#N/A</c:v>
                </c:pt>
                <c:pt idx="12289">
                  <c:v>#N/A</c:v>
                </c:pt>
                <c:pt idx="12290">
                  <c:v>#N/A</c:v>
                </c:pt>
                <c:pt idx="12291">
                  <c:v>#N/A</c:v>
                </c:pt>
                <c:pt idx="12292">
                  <c:v>#N/A</c:v>
                </c:pt>
                <c:pt idx="12293">
                  <c:v>#N/A</c:v>
                </c:pt>
                <c:pt idx="12294">
                  <c:v>#N/A</c:v>
                </c:pt>
                <c:pt idx="12295">
                  <c:v>#N/A</c:v>
                </c:pt>
                <c:pt idx="12296">
                  <c:v>#N/A</c:v>
                </c:pt>
                <c:pt idx="12297">
                  <c:v>#N/A</c:v>
                </c:pt>
                <c:pt idx="12298">
                  <c:v>#N/A</c:v>
                </c:pt>
                <c:pt idx="12299">
                  <c:v>#N/A</c:v>
                </c:pt>
                <c:pt idx="12300">
                  <c:v>#N/A</c:v>
                </c:pt>
                <c:pt idx="12301">
                  <c:v>#N/A</c:v>
                </c:pt>
                <c:pt idx="12302">
                  <c:v>#N/A</c:v>
                </c:pt>
                <c:pt idx="12303">
                  <c:v>#N/A</c:v>
                </c:pt>
                <c:pt idx="12304">
                  <c:v>#N/A</c:v>
                </c:pt>
                <c:pt idx="12305">
                  <c:v>#N/A</c:v>
                </c:pt>
                <c:pt idx="12306">
                  <c:v>#N/A</c:v>
                </c:pt>
                <c:pt idx="12307">
                  <c:v>#N/A</c:v>
                </c:pt>
                <c:pt idx="12308">
                  <c:v>#N/A</c:v>
                </c:pt>
                <c:pt idx="12309">
                  <c:v>#N/A</c:v>
                </c:pt>
                <c:pt idx="12310">
                  <c:v>#N/A</c:v>
                </c:pt>
                <c:pt idx="12311">
                  <c:v>#N/A</c:v>
                </c:pt>
                <c:pt idx="12312">
                  <c:v>#N/A</c:v>
                </c:pt>
                <c:pt idx="12313">
                  <c:v>#N/A</c:v>
                </c:pt>
                <c:pt idx="12314">
                  <c:v>#N/A</c:v>
                </c:pt>
                <c:pt idx="12315">
                  <c:v>#N/A</c:v>
                </c:pt>
                <c:pt idx="12316">
                  <c:v>#N/A</c:v>
                </c:pt>
                <c:pt idx="12317">
                  <c:v>#N/A</c:v>
                </c:pt>
                <c:pt idx="12318">
                  <c:v>#N/A</c:v>
                </c:pt>
                <c:pt idx="12319">
                  <c:v>#N/A</c:v>
                </c:pt>
                <c:pt idx="12320">
                  <c:v>#N/A</c:v>
                </c:pt>
                <c:pt idx="12321">
                  <c:v>#N/A</c:v>
                </c:pt>
                <c:pt idx="12322">
                  <c:v>#N/A</c:v>
                </c:pt>
                <c:pt idx="12323">
                  <c:v>#N/A</c:v>
                </c:pt>
                <c:pt idx="12324">
                  <c:v>#N/A</c:v>
                </c:pt>
                <c:pt idx="12325">
                  <c:v>#N/A</c:v>
                </c:pt>
                <c:pt idx="12326">
                  <c:v>#N/A</c:v>
                </c:pt>
                <c:pt idx="12327">
                  <c:v>#N/A</c:v>
                </c:pt>
                <c:pt idx="12328">
                  <c:v>#N/A</c:v>
                </c:pt>
                <c:pt idx="12329">
                  <c:v>#N/A</c:v>
                </c:pt>
                <c:pt idx="12330">
                  <c:v>#N/A</c:v>
                </c:pt>
                <c:pt idx="12331">
                  <c:v>#N/A</c:v>
                </c:pt>
                <c:pt idx="12332">
                  <c:v>#N/A</c:v>
                </c:pt>
                <c:pt idx="12333">
                  <c:v>#N/A</c:v>
                </c:pt>
                <c:pt idx="12334">
                  <c:v>#N/A</c:v>
                </c:pt>
                <c:pt idx="12335">
                  <c:v>#N/A</c:v>
                </c:pt>
                <c:pt idx="12336">
                  <c:v>#N/A</c:v>
                </c:pt>
                <c:pt idx="12337">
                  <c:v>#N/A</c:v>
                </c:pt>
                <c:pt idx="12338">
                  <c:v>#N/A</c:v>
                </c:pt>
                <c:pt idx="12339">
                  <c:v>#N/A</c:v>
                </c:pt>
                <c:pt idx="12340">
                  <c:v>#N/A</c:v>
                </c:pt>
                <c:pt idx="12341">
                  <c:v>#N/A</c:v>
                </c:pt>
                <c:pt idx="12342">
                  <c:v>#N/A</c:v>
                </c:pt>
                <c:pt idx="12343">
                  <c:v>#N/A</c:v>
                </c:pt>
                <c:pt idx="12344">
                  <c:v>#N/A</c:v>
                </c:pt>
                <c:pt idx="12345">
                  <c:v>#N/A</c:v>
                </c:pt>
                <c:pt idx="12346">
                  <c:v>#N/A</c:v>
                </c:pt>
                <c:pt idx="12347">
                  <c:v>#N/A</c:v>
                </c:pt>
                <c:pt idx="12348">
                  <c:v>#N/A</c:v>
                </c:pt>
                <c:pt idx="12349">
                  <c:v>#N/A</c:v>
                </c:pt>
                <c:pt idx="12350">
                  <c:v>#N/A</c:v>
                </c:pt>
                <c:pt idx="12351">
                  <c:v>#N/A</c:v>
                </c:pt>
                <c:pt idx="12352">
                  <c:v>#N/A</c:v>
                </c:pt>
                <c:pt idx="12353">
                  <c:v>#N/A</c:v>
                </c:pt>
                <c:pt idx="12354">
                  <c:v>#N/A</c:v>
                </c:pt>
                <c:pt idx="12355">
                  <c:v>#N/A</c:v>
                </c:pt>
                <c:pt idx="12356">
                  <c:v>#N/A</c:v>
                </c:pt>
                <c:pt idx="12357">
                  <c:v>#N/A</c:v>
                </c:pt>
                <c:pt idx="12358">
                  <c:v>#N/A</c:v>
                </c:pt>
                <c:pt idx="12359">
                  <c:v>#N/A</c:v>
                </c:pt>
                <c:pt idx="12360">
                  <c:v>#N/A</c:v>
                </c:pt>
                <c:pt idx="12361">
                  <c:v>#N/A</c:v>
                </c:pt>
                <c:pt idx="12362">
                  <c:v>#N/A</c:v>
                </c:pt>
                <c:pt idx="12363">
                  <c:v>#N/A</c:v>
                </c:pt>
                <c:pt idx="12364">
                  <c:v>#N/A</c:v>
                </c:pt>
                <c:pt idx="12365">
                  <c:v>#N/A</c:v>
                </c:pt>
                <c:pt idx="12366">
                  <c:v>#N/A</c:v>
                </c:pt>
                <c:pt idx="12367">
                  <c:v>#N/A</c:v>
                </c:pt>
                <c:pt idx="12368">
                  <c:v>#N/A</c:v>
                </c:pt>
                <c:pt idx="12369">
                  <c:v>#N/A</c:v>
                </c:pt>
                <c:pt idx="12370">
                  <c:v>#N/A</c:v>
                </c:pt>
                <c:pt idx="12371">
                  <c:v>#N/A</c:v>
                </c:pt>
                <c:pt idx="12372">
                  <c:v>#N/A</c:v>
                </c:pt>
                <c:pt idx="12373">
                  <c:v>#N/A</c:v>
                </c:pt>
                <c:pt idx="12374">
                  <c:v>#N/A</c:v>
                </c:pt>
                <c:pt idx="12375">
                  <c:v>#N/A</c:v>
                </c:pt>
                <c:pt idx="12376">
                  <c:v>#N/A</c:v>
                </c:pt>
                <c:pt idx="12377">
                  <c:v>#N/A</c:v>
                </c:pt>
                <c:pt idx="12378">
                  <c:v>#N/A</c:v>
                </c:pt>
                <c:pt idx="12379">
                  <c:v>#N/A</c:v>
                </c:pt>
                <c:pt idx="12380">
                  <c:v>#N/A</c:v>
                </c:pt>
                <c:pt idx="12381">
                  <c:v>#N/A</c:v>
                </c:pt>
                <c:pt idx="12382">
                  <c:v>#N/A</c:v>
                </c:pt>
                <c:pt idx="12383">
                  <c:v>#N/A</c:v>
                </c:pt>
                <c:pt idx="12384">
                  <c:v>#N/A</c:v>
                </c:pt>
                <c:pt idx="12385">
                  <c:v>#N/A</c:v>
                </c:pt>
                <c:pt idx="12386">
                  <c:v>#N/A</c:v>
                </c:pt>
                <c:pt idx="12387">
                  <c:v>#N/A</c:v>
                </c:pt>
                <c:pt idx="12388">
                  <c:v>#N/A</c:v>
                </c:pt>
                <c:pt idx="12389">
                  <c:v>#N/A</c:v>
                </c:pt>
                <c:pt idx="12390">
                  <c:v>#N/A</c:v>
                </c:pt>
                <c:pt idx="12391">
                  <c:v>#N/A</c:v>
                </c:pt>
                <c:pt idx="12392">
                  <c:v>#N/A</c:v>
                </c:pt>
                <c:pt idx="12393">
                  <c:v>#N/A</c:v>
                </c:pt>
                <c:pt idx="12394">
                  <c:v>#N/A</c:v>
                </c:pt>
                <c:pt idx="12395">
                  <c:v>#N/A</c:v>
                </c:pt>
                <c:pt idx="12396">
                  <c:v>#N/A</c:v>
                </c:pt>
                <c:pt idx="12397">
                  <c:v>#N/A</c:v>
                </c:pt>
                <c:pt idx="12398">
                  <c:v>#N/A</c:v>
                </c:pt>
                <c:pt idx="12399">
                  <c:v>#N/A</c:v>
                </c:pt>
                <c:pt idx="12400">
                  <c:v>#N/A</c:v>
                </c:pt>
                <c:pt idx="12401">
                  <c:v>#N/A</c:v>
                </c:pt>
                <c:pt idx="12402">
                  <c:v>#N/A</c:v>
                </c:pt>
                <c:pt idx="12403">
                  <c:v>#N/A</c:v>
                </c:pt>
                <c:pt idx="12404">
                  <c:v>#N/A</c:v>
                </c:pt>
                <c:pt idx="12405">
                  <c:v>#N/A</c:v>
                </c:pt>
                <c:pt idx="12406">
                  <c:v>#N/A</c:v>
                </c:pt>
                <c:pt idx="12407">
                  <c:v>#N/A</c:v>
                </c:pt>
                <c:pt idx="12408">
                  <c:v>#N/A</c:v>
                </c:pt>
                <c:pt idx="12409">
                  <c:v>#N/A</c:v>
                </c:pt>
                <c:pt idx="12410">
                  <c:v>#N/A</c:v>
                </c:pt>
                <c:pt idx="12411">
                  <c:v>#N/A</c:v>
                </c:pt>
                <c:pt idx="12412">
                  <c:v>#N/A</c:v>
                </c:pt>
                <c:pt idx="12413">
                  <c:v>#N/A</c:v>
                </c:pt>
                <c:pt idx="12414">
                  <c:v>#N/A</c:v>
                </c:pt>
                <c:pt idx="12415">
                  <c:v>#N/A</c:v>
                </c:pt>
                <c:pt idx="12416">
                  <c:v>#N/A</c:v>
                </c:pt>
                <c:pt idx="12417">
                  <c:v>#N/A</c:v>
                </c:pt>
                <c:pt idx="12418">
                  <c:v>#N/A</c:v>
                </c:pt>
                <c:pt idx="12419">
                  <c:v>#N/A</c:v>
                </c:pt>
                <c:pt idx="12420">
                  <c:v>#N/A</c:v>
                </c:pt>
                <c:pt idx="12421">
                  <c:v>#N/A</c:v>
                </c:pt>
                <c:pt idx="12422">
                  <c:v>#N/A</c:v>
                </c:pt>
                <c:pt idx="12423">
                  <c:v>#N/A</c:v>
                </c:pt>
                <c:pt idx="12424">
                  <c:v>#N/A</c:v>
                </c:pt>
                <c:pt idx="12425">
                  <c:v>#N/A</c:v>
                </c:pt>
                <c:pt idx="12426">
                  <c:v>#N/A</c:v>
                </c:pt>
                <c:pt idx="12427">
                  <c:v>#N/A</c:v>
                </c:pt>
                <c:pt idx="12428">
                  <c:v>#N/A</c:v>
                </c:pt>
                <c:pt idx="12429">
                  <c:v>#N/A</c:v>
                </c:pt>
                <c:pt idx="12430">
                  <c:v>#N/A</c:v>
                </c:pt>
                <c:pt idx="12431">
                  <c:v>#N/A</c:v>
                </c:pt>
                <c:pt idx="12432">
                  <c:v>#N/A</c:v>
                </c:pt>
                <c:pt idx="12433">
                  <c:v>#N/A</c:v>
                </c:pt>
                <c:pt idx="12434">
                  <c:v>#N/A</c:v>
                </c:pt>
                <c:pt idx="12435">
                  <c:v>#N/A</c:v>
                </c:pt>
                <c:pt idx="12436">
                  <c:v>#N/A</c:v>
                </c:pt>
                <c:pt idx="12437">
                  <c:v>#N/A</c:v>
                </c:pt>
                <c:pt idx="12438">
                  <c:v>#N/A</c:v>
                </c:pt>
                <c:pt idx="12439">
                  <c:v>#N/A</c:v>
                </c:pt>
                <c:pt idx="12440">
                  <c:v>#N/A</c:v>
                </c:pt>
                <c:pt idx="12441">
                  <c:v>#N/A</c:v>
                </c:pt>
                <c:pt idx="12442">
                  <c:v>#N/A</c:v>
                </c:pt>
                <c:pt idx="12443">
                  <c:v>#N/A</c:v>
                </c:pt>
                <c:pt idx="12444">
                  <c:v>#N/A</c:v>
                </c:pt>
                <c:pt idx="12445">
                  <c:v>#N/A</c:v>
                </c:pt>
                <c:pt idx="12446">
                  <c:v>#N/A</c:v>
                </c:pt>
                <c:pt idx="12447">
                  <c:v>#N/A</c:v>
                </c:pt>
                <c:pt idx="12448">
                  <c:v>#N/A</c:v>
                </c:pt>
                <c:pt idx="12449">
                  <c:v>#N/A</c:v>
                </c:pt>
                <c:pt idx="12450">
                  <c:v>#N/A</c:v>
                </c:pt>
                <c:pt idx="12451">
                  <c:v>#N/A</c:v>
                </c:pt>
                <c:pt idx="12452">
                  <c:v>#N/A</c:v>
                </c:pt>
                <c:pt idx="12453">
                  <c:v>#N/A</c:v>
                </c:pt>
                <c:pt idx="12454">
                  <c:v>#N/A</c:v>
                </c:pt>
                <c:pt idx="12455">
                  <c:v>#N/A</c:v>
                </c:pt>
                <c:pt idx="12456">
                  <c:v>#N/A</c:v>
                </c:pt>
                <c:pt idx="12457">
                  <c:v>#N/A</c:v>
                </c:pt>
                <c:pt idx="12458">
                  <c:v>#N/A</c:v>
                </c:pt>
                <c:pt idx="12459">
                  <c:v>#N/A</c:v>
                </c:pt>
                <c:pt idx="12460">
                  <c:v>#N/A</c:v>
                </c:pt>
                <c:pt idx="12461">
                  <c:v>#N/A</c:v>
                </c:pt>
                <c:pt idx="12462">
                  <c:v>#N/A</c:v>
                </c:pt>
                <c:pt idx="12463">
                  <c:v>#N/A</c:v>
                </c:pt>
                <c:pt idx="12464">
                  <c:v>#N/A</c:v>
                </c:pt>
                <c:pt idx="12465">
                  <c:v>#N/A</c:v>
                </c:pt>
                <c:pt idx="12466">
                  <c:v>#N/A</c:v>
                </c:pt>
                <c:pt idx="12467">
                  <c:v>#N/A</c:v>
                </c:pt>
                <c:pt idx="12468">
                  <c:v>#N/A</c:v>
                </c:pt>
                <c:pt idx="12469">
                  <c:v>#N/A</c:v>
                </c:pt>
                <c:pt idx="12470">
                  <c:v>#N/A</c:v>
                </c:pt>
                <c:pt idx="12471">
                  <c:v>#N/A</c:v>
                </c:pt>
                <c:pt idx="12472">
                  <c:v>#N/A</c:v>
                </c:pt>
                <c:pt idx="12473">
                  <c:v>#N/A</c:v>
                </c:pt>
                <c:pt idx="12474">
                  <c:v>#N/A</c:v>
                </c:pt>
                <c:pt idx="12475">
                  <c:v>#N/A</c:v>
                </c:pt>
                <c:pt idx="12476">
                  <c:v>#N/A</c:v>
                </c:pt>
                <c:pt idx="12477">
                  <c:v>#N/A</c:v>
                </c:pt>
                <c:pt idx="12478">
                  <c:v>#N/A</c:v>
                </c:pt>
                <c:pt idx="12479">
                  <c:v>#N/A</c:v>
                </c:pt>
                <c:pt idx="12480">
                  <c:v>#N/A</c:v>
                </c:pt>
                <c:pt idx="12481">
                  <c:v>#N/A</c:v>
                </c:pt>
                <c:pt idx="12482">
                  <c:v>#N/A</c:v>
                </c:pt>
                <c:pt idx="12483">
                  <c:v>#N/A</c:v>
                </c:pt>
                <c:pt idx="12484">
                  <c:v>#N/A</c:v>
                </c:pt>
                <c:pt idx="12485">
                  <c:v>#N/A</c:v>
                </c:pt>
                <c:pt idx="12486">
                  <c:v>#N/A</c:v>
                </c:pt>
                <c:pt idx="12487">
                  <c:v>#N/A</c:v>
                </c:pt>
                <c:pt idx="12488">
                  <c:v>#N/A</c:v>
                </c:pt>
                <c:pt idx="12489">
                  <c:v>#N/A</c:v>
                </c:pt>
                <c:pt idx="12490">
                  <c:v>#N/A</c:v>
                </c:pt>
                <c:pt idx="12491">
                  <c:v>#N/A</c:v>
                </c:pt>
                <c:pt idx="12492">
                  <c:v>#N/A</c:v>
                </c:pt>
                <c:pt idx="12493">
                  <c:v>#N/A</c:v>
                </c:pt>
                <c:pt idx="12494">
                  <c:v>#N/A</c:v>
                </c:pt>
                <c:pt idx="12495">
                  <c:v>#N/A</c:v>
                </c:pt>
                <c:pt idx="12496">
                  <c:v>#N/A</c:v>
                </c:pt>
                <c:pt idx="12497">
                  <c:v>#N/A</c:v>
                </c:pt>
                <c:pt idx="12498">
                  <c:v>#N/A</c:v>
                </c:pt>
                <c:pt idx="12499">
                  <c:v>#N/A</c:v>
                </c:pt>
                <c:pt idx="12500">
                  <c:v>#N/A</c:v>
                </c:pt>
                <c:pt idx="12501">
                  <c:v>#N/A</c:v>
                </c:pt>
                <c:pt idx="12502">
                  <c:v>#N/A</c:v>
                </c:pt>
                <c:pt idx="12503">
                  <c:v>#N/A</c:v>
                </c:pt>
                <c:pt idx="12504">
                  <c:v>#N/A</c:v>
                </c:pt>
                <c:pt idx="12505">
                  <c:v>#N/A</c:v>
                </c:pt>
                <c:pt idx="12506">
                  <c:v>#N/A</c:v>
                </c:pt>
                <c:pt idx="12507">
                  <c:v>#N/A</c:v>
                </c:pt>
                <c:pt idx="12508">
                  <c:v>#N/A</c:v>
                </c:pt>
                <c:pt idx="12509">
                  <c:v>#N/A</c:v>
                </c:pt>
                <c:pt idx="12510">
                  <c:v>#N/A</c:v>
                </c:pt>
                <c:pt idx="12511">
                  <c:v>#N/A</c:v>
                </c:pt>
                <c:pt idx="12512">
                  <c:v>#N/A</c:v>
                </c:pt>
                <c:pt idx="12513">
                  <c:v>#N/A</c:v>
                </c:pt>
                <c:pt idx="12514">
                  <c:v>6.8876712328767127</c:v>
                </c:pt>
                <c:pt idx="12515">
                  <c:v>#N/A</c:v>
                </c:pt>
                <c:pt idx="12516">
                  <c:v>#N/A</c:v>
                </c:pt>
                <c:pt idx="12517">
                  <c:v>#N/A</c:v>
                </c:pt>
                <c:pt idx="12518">
                  <c:v>#N/A</c:v>
                </c:pt>
                <c:pt idx="12519">
                  <c:v>#N/A</c:v>
                </c:pt>
                <c:pt idx="12520">
                  <c:v>#N/A</c:v>
                </c:pt>
                <c:pt idx="12521">
                  <c:v>#N/A</c:v>
                </c:pt>
                <c:pt idx="12522">
                  <c:v>#N/A</c:v>
                </c:pt>
                <c:pt idx="12523">
                  <c:v>#N/A</c:v>
                </c:pt>
                <c:pt idx="12524">
                  <c:v>#N/A</c:v>
                </c:pt>
                <c:pt idx="12525">
                  <c:v>#N/A</c:v>
                </c:pt>
                <c:pt idx="12526">
                  <c:v>#N/A</c:v>
                </c:pt>
                <c:pt idx="12527">
                  <c:v>#N/A</c:v>
                </c:pt>
                <c:pt idx="12528">
                  <c:v>#N/A</c:v>
                </c:pt>
                <c:pt idx="12529">
                  <c:v>#N/A</c:v>
                </c:pt>
                <c:pt idx="12530">
                  <c:v>#N/A</c:v>
                </c:pt>
                <c:pt idx="12531">
                  <c:v>#N/A</c:v>
                </c:pt>
                <c:pt idx="12532">
                  <c:v>#N/A</c:v>
                </c:pt>
                <c:pt idx="12533">
                  <c:v>#N/A</c:v>
                </c:pt>
                <c:pt idx="12534">
                  <c:v>#N/A</c:v>
                </c:pt>
                <c:pt idx="12535">
                  <c:v>#N/A</c:v>
                </c:pt>
                <c:pt idx="12536">
                  <c:v>#N/A</c:v>
                </c:pt>
                <c:pt idx="12537">
                  <c:v>#N/A</c:v>
                </c:pt>
                <c:pt idx="12538">
                  <c:v>#N/A</c:v>
                </c:pt>
                <c:pt idx="12539">
                  <c:v>#N/A</c:v>
                </c:pt>
                <c:pt idx="12540">
                  <c:v>#N/A</c:v>
                </c:pt>
                <c:pt idx="12541">
                  <c:v>#N/A</c:v>
                </c:pt>
                <c:pt idx="12542">
                  <c:v>#N/A</c:v>
                </c:pt>
                <c:pt idx="12543">
                  <c:v>#N/A</c:v>
                </c:pt>
                <c:pt idx="12544">
                  <c:v>#N/A</c:v>
                </c:pt>
                <c:pt idx="12545">
                  <c:v>#N/A</c:v>
                </c:pt>
                <c:pt idx="12546">
                  <c:v>#N/A</c:v>
                </c:pt>
                <c:pt idx="12547">
                  <c:v>#N/A</c:v>
                </c:pt>
                <c:pt idx="12548">
                  <c:v>#N/A</c:v>
                </c:pt>
                <c:pt idx="12549">
                  <c:v>#N/A</c:v>
                </c:pt>
                <c:pt idx="12550">
                  <c:v>#N/A</c:v>
                </c:pt>
                <c:pt idx="12551">
                  <c:v>#N/A</c:v>
                </c:pt>
                <c:pt idx="12552">
                  <c:v>#N/A</c:v>
                </c:pt>
                <c:pt idx="12553">
                  <c:v>#N/A</c:v>
                </c:pt>
                <c:pt idx="12554">
                  <c:v>#N/A</c:v>
                </c:pt>
                <c:pt idx="12555">
                  <c:v>#N/A</c:v>
                </c:pt>
                <c:pt idx="12556">
                  <c:v>#N/A</c:v>
                </c:pt>
                <c:pt idx="12557">
                  <c:v>#N/A</c:v>
                </c:pt>
                <c:pt idx="12558">
                  <c:v>#N/A</c:v>
                </c:pt>
                <c:pt idx="12559">
                  <c:v>#N/A</c:v>
                </c:pt>
                <c:pt idx="12560">
                  <c:v>#N/A</c:v>
                </c:pt>
                <c:pt idx="12561">
                  <c:v>#N/A</c:v>
                </c:pt>
                <c:pt idx="12562">
                  <c:v>#N/A</c:v>
                </c:pt>
                <c:pt idx="12563">
                  <c:v>#N/A</c:v>
                </c:pt>
                <c:pt idx="12564">
                  <c:v>#N/A</c:v>
                </c:pt>
                <c:pt idx="12565">
                  <c:v>#N/A</c:v>
                </c:pt>
                <c:pt idx="12566">
                  <c:v>#N/A</c:v>
                </c:pt>
                <c:pt idx="12567">
                  <c:v>#N/A</c:v>
                </c:pt>
                <c:pt idx="12568">
                  <c:v>#N/A</c:v>
                </c:pt>
                <c:pt idx="12569">
                  <c:v>#N/A</c:v>
                </c:pt>
                <c:pt idx="12570">
                  <c:v>#N/A</c:v>
                </c:pt>
                <c:pt idx="12571">
                  <c:v>#N/A</c:v>
                </c:pt>
                <c:pt idx="12572">
                  <c:v>#N/A</c:v>
                </c:pt>
                <c:pt idx="12573">
                  <c:v>#N/A</c:v>
                </c:pt>
                <c:pt idx="12574">
                  <c:v>#N/A</c:v>
                </c:pt>
                <c:pt idx="12575">
                  <c:v>#N/A</c:v>
                </c:pt>
                <c:pt idx="12576">
                  <c:v>#N/A</c:v>
                </c:pt>
                <c:pt idx="12577">
                  <c:v>#N/A</c:v>
                </c:pt>
                <c:pt idx="12578">
                  <c:v>#N/A</c:v>
                </c:pt>
                <c:pt idx="12579">
                  <c:v>#N/A</c:v>
                </c:pt>
                <c:pt idx="12580">
                  <c:v>#N/A</c:v>
                </c:pt>
                <c:pt idx="12581">
                  <c:v>#N/A</c:v>
                </c:pt>
                <c:pt idx="12582">
                  <c:v>#N/A</c:v>
                </c:pt>
                <c:pt idx="12583">
                  <c:v>#N/A</c:v>
                </c:pt>
                <c:pt idx="12584">
                  <c:v>#N/A</c:v>
                </c:pt>
                <c:pt idx="12585">
                  <c:v>#N/A</c:v>
                </c:pt>
                <c:pt idx="12586">
                  <c:v>#N/A</c:v>
                </c:pt>
                <c:pt idx="12587">
                  <c:v>#N/A</c:v>
                </c:pt>
                <c:pt idx="12588">
                  <c:v>#N/A</c:v>
                </c:pt>
                <c:pt idx="12589">
                  <c:v>#N/A</c:v>
                </c:pt>
                <c:pt idx="12590">
                  <c:v>#N/A</c:v>
                </c:pt>
                <c:pt idx="12591">
                  <c:v>#N/A</c:v>
                </c:pt>
                <c:pt idx="12592">
                  <c:v>#N/A</c:v>
                </c:pt>
                <c:pt idx="12593">
                  <c:v>#N/A</c:v>
                </c:pt>
                <c:pt idx="12594">
                  <c:v>#N/A</c:v>
                </c:pt>
                <c:pt idx="12595">
                  <c:v>#N/A</c:v>
                </c:pt>
                <c:pt idx="12596">
                  <c:v>#N/A</c:v>
                </c:pt>
                <c:pt idx="12597">
                  <c:v>#N/A</c:v>
                </c:pt>
                <c:pt idx="12598">
                  <c:v>#N/A</c:v>
                </c:pt>
                <c:pt idx="12599">
                  <c:v>#N/A</c:v>
                </c:pt>
                <c:pt idx="12600">
                  <c:v>#N/A</c:v>
                </c:pt>
                <c:pt idx="12601">
                  <c:v>#N/A</c:v>
                </c:pt>
                <c:pt idx="12602">
                  <c:v>#N/A</c:v>
                </c:pt>
                <c:pt idx="12603">
                  <c:v>#N/A</c:v>
                </c:pt>
                <c:pt idx="12604">
                  <c:v>#N/A</c:v>
                </c:pt>
                <c:pt idx="12605">
                  <c:v>#N/A</c:v>
                </c:pt>
                <c:pt idx="12606">
                  <c:v>#N/A</c:v>
                </c:pt>
                <c:pt idx="12607">
                  <c:v>#N/A</c:v>
                </c:pt>
                <c:pt idx="12608">
                  <c:v>#N/A</c:v>
                </c:pt>
                <c:pt idx="12609">
                  <c:v>#N/A</c:v>
                </c:pt>
                <c:pt idx="12610">
                  <c:v>#N/A</c:v>
                </c:pt>
                <c:pt idx="12611">
                  <c:v>#N/A</c:v>
                </c:pt>
                <c:pt idx="12612">
                  <c:v>#N/A</c:v>
                </c:pt>
                <c:pt idx="12613">
                  <c:v>#N/A</c:v>
                </c:pt>
                <c:pt idx="12614">
                  <c:v>#N/A</c:v>
                </c:pt>
                <c:pt idx="12615">
                  <c:v>#N/A</c:v>
                </c:pt>
                <c:pt idx="12616">
                  <c:v>#N/A</c:v>
                </c:pt>
                <c:pt idx="12617">
                  <c:v>#N/A</c:v>
                </c:pt>
                <c:pt idx="12618">
                  <c:v>#N/A</c:v>
                </c:pt>
                <c:pt idx="12619">
                  <c:v>#N/A</c:v>
                </c:pt>
                <c:pt idx="12620">
                  <c:v>#N/A</c:v>
                </c:pt>
                <c:pt idx="12621">
                  <c:v>#N/A</c:v>
                </c:pt>
                <c:pt idx="12622">
                  <c:v>#N/A</c:v>
                </c:pt>
                <c:pt idx="12623">
                  <c:v>#N/A</c:v>
                </c:pt>
                <c:pt idx="12624">
                  <c:v>7.3315068493150681</c:v>
                </c:pt>
                <c:pt idx="12625">
                  <c:v>#N/A</c:v>
                </c:pt>
                <c:pt idx="12626">
                  <c:v>#N/A</c:v>
                </c:pt>
                <c:pt idx="12627">
                  <c:v>#N/A</c:v>
                </c:pt>
                <c:pt idx="12628">
                  <c:v>#N/A</c:v>
                </c:pt>
                <c:pt idx="12629">
                  <c:v>#N/A</c:v>
                </c:pt>
                <c:pt idx="12630">
                  <c:v>#N/A</c:v>
                </c:pt>
                <c:pt idx="12631">
                  <c:v>#N/A</c:v>
                </c:pt>
                <c:pt idx="12632">
                  <c:v>#N/A</c:v>
                </c:pt>
                <c:pt idx="12633">
                  <c:v>#N/A</c:v>
                </c:pt>
                <c:pt idx="12634">
                  <c:v>#N/A</c:v>
                </c:pt>
                <c:pt idx="12635">
                  <c:v>#N/A</c:v>
                </c:pt>
                <c:pt idx="12636">
                  <c:v>#N/A</c:v>
                </c:pt>
                <c:pt idx="12637">
                  <c:v>#N/A</c:v>
                </c:pt>
                <c:pt idx="12638">
                  <c:v>#N/A</c:v>
                </c:pt>
                <c:pt idx="12639">
                  <c:v>#N/A</c:v>
                </c:pt>
                <c:pt idx="12640">
                  <c:v>#N/A</c:v>
                </c:pt>
                <c:pt idx="12641">
                  <c:v>#N/A</c:v>
                </c:pt>
                <c:pt idx="12642">
                  <c:v>#N/A</c:v>
                </c:pt>
                <c:pt idx="12643">
                  <c:v>#N/A</c:v>
                </c:pt>
                <c:pt idx="12644">
                  <c:v>#N/A</c:v>
                </c:pt>
                <c:pt idx="12645">
                  <c:v>#N/A</c:v>
                </c:pt>
                <c:pt idx="12646">
                  <c:v>#N/A</c:v>
                </c:pt>
                <c:pt idx="12647">
                  <c:v>#N/A</c:v>
                </c:pt>
                <c:pt idx="12648">
                  <c:v>#N/A</c:v>
                </c:pt>
                <c:pt idx="12649">
                  <c:v>#N/A</c:v>
                </c:pt>
                <c:pt idx="12650">
                  <c:v>#N/A</c:v>
                </c:pt>
                <c:pt idx="12651">
                  <c:v>#N/A</c:v>
                </c:pt>
                <c:pt idx="12652">
                  <c:v>#N/A</c:v>
                </c:pt>
                <c:pt idx="12653">
                  <c:v>#N/A</c:v>
                </c:pt>
                <c:pt idx="12654">
                  <c:v>#N/A</c:v>
                </c:pt>
                <c:pt idx="12655">
                  <c:v>#N/A</c:v>
                </c:pt>
                <c:pt idx="12656">
                  <c:v>#N/A</c:v>
                </c:pt>
                <c:pt idx="12657">
                  <c:v>#N/A</c:v>
                </c:pt>
                <c:pt idx="12658">
                  <c:v>#N/A</c:v>
                </c:pt>
                <c:pt idx="12659">
                  <c:v>#N/A</c:v>
                </c:pt>
                <c:pt idx="12660">
                  <c:v>#N/A</c:v>
                </c:pt>
                <c:pt idx="12661">
                  <c:v>#N/A</c:v>
                </c:pt>
                <c:pt idx="12662">
                  <c:v>#N/A</c:v>
                </c:pt>
                <c:pt idx="12663">
                  <c:v>#N/A</c:v>
                </c:pt>
                <c:pt idx="12664">
                  <c:v>#N/A</c:v>
                </c:pt>
                <c:pt idx="12665">
                  <c:v>#N/A</c:v>
                </c:pt>
                <c:pt idx="12666">
                  <c:v>#N/A</c:v>
                </c:pt>
                <c:pt idx="12667">
                  <c:v>#N/A</c:v>
                </c:pt>
                <c:pt idx="12668">
                  <c:v>#N/A</c:v>
                </c:pt>
                <c:pt idx="12669">
                  <c:v>#N/A</c:v>
                </c:pt>
                <c:pt idx="12670">
                  <c:v>#N/A</c:v>
                </c:pt>
                <c:pt idx="12671">
                  <c:v>#N/A</c:v>
                </c:pt>
                <c:pt idx="12672">
                  <c:v>#N/A</c:v>
                </c:pt>
                <c:pt idx="12673">
                  <c:v>#N/A</c:v>
                </c:pt>
                <c:pt idx="12674">
                  <c:v>#N/A</c:v>
                </c:pt>
                <c:pt idx="12675">
                  <c:v>#N/A</c:v>
                </c:pt>
                <c:pt idx="12676">
                  <c:v>#N/A</c:v>
                </c:pt>
                <c:pt idx="12677">
                  <c:v>#N/A</c:v>
                </c:pt>
                <c:pt idx="12678">
                  <c:v>#N/A</c:v>
                </c:pt>
                <c:pt idx="12679">
                  <c:v>#N/A</c:v>
                </c:pt>
                <c:pt idx="12680">
                  <c:v>#N/A</c:v>
                </c:pt>
                <c:pt idx="12681">
                  <c:v>#N/A</c:v>
                </c:pt>
                <c:pt idx="12682">
                  <c:v>#N/A</c:v>
                </c:pt>
                <c:pt idx="12683">
                  <c:v>#N/A</c:v>
                </c:pt>
                <c:pt idx="12684">
                  <c:v>#N/A</c:v>
                </c:pt>
                <c:pt idx="12685">
                  <c:v>#N/A</c:v>
                </c:pt>
                <c:pt idx="12686">
                  <c:v>#N/A</c:v>
                </c:pt>
                <c:pt idx="12687">
                  <c:v>#N/A</c:v>
                </c:pt>
                <c:pt idx="12688">
                  <c:v>#N/A</c:v>
                </c:pt>
                <c:pt idx="12689">
                  <c:v>#N/A</c:v>
                </c:pt>
                <c:pt idx="12690">
                  <c:v>#N/A</c:v>
                </c:pt>
                <c:pt idx="12691">
                  <c:v>#N/A</c:v>
                </c:pt>
                <c:pt idx="12692">
                  <c:v>#N/A</c:v>
                </c:pt>
                <c:pt idx="12693">
                  <c:v>#N/A</c:v>
                </c:pt>
                <c:pt idx="12694">
                  <c:v>#N/A</c:v>
                </c:pt>
                <c:pt idx="12695">
                  <c:v>#N/A</c:v>
                </c:pt>
                <c:pt idx="12696">
                  <c:v>#N/A</c:v>
                </c:pt>
                <c:pt idx="12697">
                  <c:v>#N/A</c:v>
                </c:pt>
                <c:pt idx="12698">
                  <c:v>#N/A</c:v>
                </c:pt>
                <c:pt idx="12699">
                  <c:v>#N/A</c:v>
                </c:pt>
                <c:pt idx="12700">
                  <c:v>#N/A</c:v>
                </c:pt>
                <c:pt idx="12701">
                  <c:v>#N/A</c:v>
                </c:pt>
                <c:pt idx="12702">
                  <c:v>#N/A</c:v>
                </c:pt>
                <c:pt idx="12703">
                  <c:v>#N/A</c:v>
                </c:pt>
                <c:pt idx="12704">
                  <c:v>#N/A</c:v>
                </c:pt>
                <c:pt idx="12705">
                  <c:v>#N/A</c:v>
                </c:pt>
                <c:pt idx="12706">
                  <c:v>#N/A</c:v>
                </c:pt>
                <c:pt idx="12707">
                  <c:v>#N/A</c:v>
                </c:pt>
                <c:pt idx="12708">
                  <c:v>#N/A</c:v>
                </c:pt>
                <c:pt idx="12709">
                  <c:v>#N/A</c:v>
                </c:pt>
                <c:pt idx="12710">
                  <c:v>#N/A</c:v>
                </c:pt>
                <c:pt idx="12711">
                  <c:v>#N/A</c:v>
                </c:pt>
                <c:pt idx="12712">
                  <c:v>#N/A</c:v>
                </c:pt>
                <c:pt idx="12713">
                  <c:v>#N/A</c:v>
                </c:pt>
                <c:pt idx="12714">
                  <c:v>#N/A</c:v>
                </c:pt>
                <c:pt idx="12715">
                  <c:v>#N/A</c:v>
                </c:pt>
                <c:pt idx="12716">
                  <c:v>#N/A</c:v>
                </c:pt>
                <c:pt idx="12717">
                  <c:v>#N/A</c:v>
                </c:pt>
                <c:pt idx="12718">
                  <c:v>#N/A</c:v>
                </c:pt>
                <c:pt idx="12719">
                  <c:v>#N/A</c:v>
                </c:pt>
                <c:pt idx="12720">
                  <c:v>#N/A</c:v>
                </c:pt>
                <c:pt idx="12721">
                  <c:v>#N/A</c:v>
                </c:pt>
                <c:pt idx="12722">
                  <c:v>#N/A</c:v>
                </c:pt>
                <c:pt idx="12723">
                  <c:v>#N/A</c:v>
                </c:pt>
                <c:pt idx="12724">
                  <c:v>#N/A</c:v>
                </c:pt>
                <c:pt idx="12725">
                  <c:v>#N/A</c:v>
                </c:pt>
                <c:pt idx="12726">
                  <c:v>#N/A</c:v>
                </c:pt>
                <c:pt idx="12727">
                  <c:v>#N/A</c:v>
                </c:pt>
                <c:pt idx="12728">
                  <c:v>#N/A</c:v>
                </c:pt>
                <c:pt idx="12729">
                  <c:v>#N/A</c:v>
                </c:pt>
                <c:pt idx="12730">
                  <c:v>#N/A</c:v>
                </c:pt>
                <c:pt idx="12731">
                  <c:v>#N/A</c:v>
                </c:pt>
                <c:pt idx="12732">
                  <c:v>#N/A</c:v>
                </c:pt>
                <c:pt idx="12733">
                  <c:v>#N/A</c:v>
                </c:pt>
                <c:pt idx="12734">
                  <c:v>#N/A</c:v>
                </c:pt>
                <c:pt idx="12735">
                  <c:v>#N/A</c:v>
                </c:pt>
                <c:pt idx="12736">
                  <c:v>#N/A</c:v>
                </c:pt>
                <c:pt idx="12737">
                  <c:v>#N/A</c:v>
                </c:pt>
                <c:pt idx="12738">
                  <c:v>#N/A</c:v>
                </c:pt>
                <c:pt idx="12739">
                  <c:v>#N/A</c:v>
                </c:pt>
                <c:pt idx="12740">
                  <c:v>#N/A</c:v>
                </c:pt>
                <c:pt idx="12741">
                  <c:v>#N/A</c:v>
                </c:pt>
                <c:pt idx="12742">
                  <c:v>#N/A</c:v>
                </c:pt>
                <c:pt idx="12743">
                  <c:v>#N/A</c:v>
                </c:pt>
                <c:pt idx="12744">
                  <c:v>#N/A</c:v>
                </c:pt>
                <c:pt idx="12745">
                  <c:v>#N/A</c:v>
                </c:pt>
                <c:pt idx="12746">
                  <c:v>#N/A</c:v>
                </c:pt>
                <c:pt idx="12747">
                  <c:v>#N/A</c:v>
                </c:pt>
                <c:pt idx="12748">
                  <c:v>#N/A</c:v>
                </c:pt>
                <c:pt idx="12749">
                  <c:v>#N/A</c:v>
                </c:pt>
                <c:pt idx="12750">
                  <c:v>#N/A</c:v>
                </c:pt>
                <c:pt idx="12751">
                  <c:v>#N/A</c:v>
                </c:pt>
                <c:pt idx="12752">
                  <c:v>#N/A</c:v>
                </c:pt>
                <c:pt idx="12753">
                  <c:v>#N/A</c:v>
                </c:pt>
                <c:pt idx="12754">
                  <c:v>#N/A</c:v>
                </c:pt>
                <c:pt idx="12755">
                  <c:v>#N/A</c:v>
                </c:pt>
                <c:pt idx="12756">
                  <c:v>#N/A</c:v>
                </c:pt>
                <c:pt idx="12757">
                  <c:v>#N/A</c:v>
                </c:pt>
                <c:pt idx="12758">
                  <c:v>#N/A</c:v>
                </c:pt>
                <c:pt idx="12759">
                  <c:v>#N/A</c:v>
                </c:pt>
                <c:pt idx="12760">
                  <c:v>#N/A</c:v>
                </c:pt>
                <c:pt idx="12761">
                  <c:v>#N/A</c:v>
                </c:pt>
                <c:pt idx="12762">
                  <c:v>#N/A</c:v>
                </c:pt>
                <c:pt idx="12763">
                  <c:v>#N/A</c:v>
                </c:pt>
                <c:pt idx="12764">
                  <c:v>#N/A</c:v>
                </c:pt>
                <c:pt idx="12765">
                  <c:v>#N/A</c:v>
                </c:pt>
                <c:pt idx="12766">
                  <c:v>#N/A</c:v>
                </c:pt>
                <c:pt idx="12767">
                  <c:v>#N/A</c:v>
                </c:pt>
                <c:pt idx="12768">
                  <c:v>#N/A</c:v>
                </c:pt>
                <c:pt idx="12769">
                  <c:v>#N/A</c:v>
                </c:pt>
                <c:pt idx="12770">
                  <c:v>#N/A</c:v>
                </c:pt>
                <c:pt idx="12771">
                  <c:v>#N/A</c:v>
                </c:pt>
                <c:pt idx="12772">
                  <c:v>#N/A</c:v>
                </c:pt>
                <c:pt idx="12773">
                  <c:v>#N/A</c:v>
                </c:pt>
                <c:pt idx="12774">
                  <c:v>#N/A</c:v>
                </c:pt>
                <c:pt idx="12775">
                  <c:v>#N/A</c:v>
                </c:pt>
                <c:pt idx="12776">
                  <c:v>#N/A</c:v>
                </c:pt>
                <c:pt idx="12777">
                  <c:v>#N/A</c:v>
                </c:pt>
                <c:pt idx="12778">
                  <c:v>#N/A</c:v>
                </c:pt>
                <c:pt idx="12779">
                  <c:v>#N/A</c:v>
                </c:pt>
                <c:pt idx="12780">
                  <c:v>#N/A</c:v>
                </c:pt>
                <c:pt idx="12781">
                  <c:v>#N/A</c:v>
                </c:pt>
                <c:pt idx="12782">
                  <c:v>#N/A</c:v>
                </c:pt>
                <c:pt idx="12783">
                  <c:v>#N/A</c:v>
                </c:pt>
                <c:pt idx="12784">
                  <c:v>#N/A</c:v>
                </c:pt>
                <c:pt idx="12785">
                  <c:v>#N/A</c:v>
                </c:pt>
                <c:pt idx="12786">
                  <c:v>#N/A</c:v>
                </c:pt>
                <c:pt idx="12787">
                  <c:v>#N/A</c:v>
                </c:pt>
                <c:pt idx="12788">
                  <c:v>#N/A</c:v>
                </c:pt>
                <c:pt idx="12789">
                  <c:v>#N/A</c:v>
                </c:pt>
                <c:pt idx="12790">
                  <c:v>#N/A</c:v>
                </c:pt>
                <c:pt idx="12791">
                  <c:v>#N/A</c:v>
                </c:pt>
                <c:pt idx="12792">
                  <c:v>#N/A</c:v>
                </c:pt>
                <c:pt idx="12793">
                  <c:v>#N/A</c:v>
                </c:pt>
                <c:pt idx="12794">
                  <c:v>#N/A</c:v>
                </c:pt>
                <c:pt idx="12795">
                  <c:v>#N/A</c:v>
                </c:pt>
                <c:pt idx="12796">
                  <c:v>#N/A</c:v>
                </c:pt>
                <c:pt idx="12797">
                  <c:v>#N/A</c:v>
                </c:pt>
                <c:pt idx="12798">
                  <c:v>#N/A</c:v>
                </c:pt>
                <c:pt idx="12799">
                  <c:v>#N/A</c:v>
                </c:pt>
                <c:pt idx="12800">
                  <c:v>#N/A</c:v>
                </c:pt>
                <c:pt idx="12801">
                  <c:v>#N/A</c:v>
                </c:pt>
                <c:pt idx="12802">
                  <c:v>#N/A</c:v>
                </c:pt>
                <c:pt idx="12803">
                  <c:v>#N/A</c:v>
                </c:pt>
                <c:pt idx="12804">
                  <c:v>#N/A</c:v>
                </c:pt>
                <c:pt idx="12805">
                  <c:v>#N/A</c:v>
                </c:pt>
                <c:pt idx="12806">
                  <c:v>#N/A</c:v>
                </c:pt>
                <c:pt idx="12807">
                  <c:v>#N/A</c:v>
                </c:pt>
                <c:pt idx="12808">
                  <c:v>#N/A</c:v>
                </c:pt>
                <c:pt idx="12809">
                  <c:v>#N/A</c:v>
                </c:pt>
                <c:pt idx="12810">
                  <c:v>#N/A</c:v>
                </c:pt>
                <c:pt idx="12811">
                  <c:v>#N/A</c:v>
                </c:pt>
                <c:pt idx="12812">
                  <c:v>#N/A</c:v>
                </c:pt>
                <c:pt idx="12813">
                  <c:v>#N/A</c:v>
                </c:pt>
                <c:pt idx="12814">
                  <c:v>#N/A</c:v>
                </c:pt>
                <c:pt idx="12815">
                  <c:v>#N/A</c:v>
                </c:pt>
                <c:pt idx="12816">
                  <c:v>#N/A</c:v>
                </c:pt>
                <c:pt idx="12817">
                  <c:v>#N/A</c:v>
                </c:pt>
                <c:pt idx="12818">
                  <c:v>#N/A</c:v>
                </c:pt>
                <c:pt idx="12819">
                  <c:v>#N/A</c:v>
                </c:pt>
                <c:pt idx="12820">
                  <c:v>#N/A</c:v>
                </c:pt>
                <c:pt idx="12821">
                  <c:v>#N/A</c:v>
                </c:pt>
                <c:pt idx="12822">
                  <c:v>#N/A</c:v>
                </c:pt>
                <c:pt idx="12823">
                  <c:v>#N/A</c:v>
                </c:pt>
                <c:pt idx="12824">
                  <c:v>#N/A</c:v>
                </c:pt>
                <c:pt idx="12825">
                  <c:v>#N/A</c:v>
                </c:pt>
                <c:pt idx="12826">
                  <c:v>#N/A</c:v>
                </c:pt>
                <c:pt idx="12827">
                  <c:v>#N/A</c:v>
                </c:pt>
                <c:pt idx="12828">
                  <c:v>#N/A</c:v>
                </c:pt>
                <c:pt idx="12829">
                  <c:v>#N/A</c:v>
                </c:pt>
                <c:pt idx="12830">
                  <c:v>#N/A</c:v>
                </c:pt>
                <c:pt idx="12831">
                  <c:v>#N/A</c:v>
                </c:pt>
                <c:pt idx="12832">
                  <c:v>#N/A</c:v>
                </c:pt>
                <c:pt idx="12833">
                  <c:v>#N/A</c:v>
                </c:pt>
                <c:pt idx="12834">
                  <c:v>#N/A</c:v>
                </c:pt>
                <c:pt idx="12835">
                  <c:v>#N/A</c:v>
                </c:pt>
                <c:pt idx="12836">
                  <c:v>#N/A</c:v>
                </c:pt>
                <c:pt idx="12837">
                  <c:v>#N/A</c:v>
                </c:pt>
                <c:pt idx="12838">
                  <c:v>#N/A</c:v>
                </c:pt>
                <c:pt idx="12839">
                  <c:v>#N/A</c:v>
                </c:pt>
                <c:pt idx="12840">
                  <c:v>#N/A</c:v>
                </c:pt>
                <c:pt idx="12841">
                  <c:v>#N/A</c:v>
                </c:pt>
                <c:pt idx="12842">
                  <c:v>#N/A</c:v>
                </c:pt>
                <c:pt idx="12843">
                  <c:v>#N/A</c:v>
                </c:pt>
                <c:pt idx="12844">
                  <c:v>#N/A</c:v>
                </c:pt>
                <c:pt idx="12845">
                  <c:v>#N/A</c:v>
                </c:pt>
                <c:pt idx="12846">
                  <c:v>#N/A</c:v>
                </c:pt>
                <c:pt idx="12847">
                  <c:v>#N/A</c:v>
                </c:pt>
                <c:pt idx="12848">
                  <c:v>#N/A</c:v>
                </c:pt>
                <c:pt idx="12849">
                  <c:v>#N/A</c:v>
                </c:pt>
                <c:pt idx="12850">
                  <c:v>#N/A</c:v>
                </c:pt>
                <c:pt idx="12851">
                  <c:v>#N/A</c:v>
                </c:pt>
                <c:pt idx="12852">
                  <c:v>#N/A</c:v>
                </c:pt>
                <c:pt idx="12853">
                  <c:v>#N/A</c:v>
                </c:pt>
                <c:pt idx="12854">
                  <c:v>#N/A</c:v>
                </c:pt>
                <c:pt idx="12855">
                  <c:v>8.4164383561643827</c:v>
                </c:pt>
                <c:pt idx="12856">
                  <c:v>#N/A</c:v>
                </c:pt>
                <c:pt idx="12857">
                  <c:v>#N/A</c:v>
                </c:pt>
                <c:pt idx="12858">
                  <c:v>#N/A</c:v>
                </c:pt>
                <c:pt idx="12859">
                  <c:v>#N/A</c:v>
                </c:pt>
                <c:pt idx="12860">
                  <c:v>#N/A</c:v>
                </c:pt>
                <c:pt idx="12861">
                  <c:v>#N/A</c:v>
                </c:pt>
                <c:pt idx="12862">
                  <c:v>#N/A</c:v>
                </c:pt>
                <c:pt idx="12863">
                  <c:v>#N/A</c:v>
                </c:pt>
                <c:pt idx="12864">
                  <c:v>#N/A</c:v>
                </c:pt>
                <c:pt idx="12865">
                  <c:v>#N/A</c:v>
                </c:pt>
                <c:pt idx="12866">
                  <c:v>#N/A</c:v>
                </c:pt>
                <c:pt idx="12867">
                  <c:v>#N/A</c:v>
                </c:pt>
                <c:pt idx="12868">
                  <c:v>#N/A</c:v>
                </c:pt>
                <c:pt idx="12869">
                  <c:v>#N/A</c:v>
                </c:pt>
                <c:pt idx="12870">
                  <c:v>#N/A</c:v>
                </c:pt>
                <c:pt idx="12871">
                  <c:v>#N/A</c:v>
                </c:pt>
                <c:pt idx="12872">
                  <c:v>#N/A</c:v>
                </c:pt>
                <c:pt idx="12873">
                  <c:v>#N/A</c:v>
                </c:pt>
                <c:pt idx="12874">
                  <c:v>#N/A</c:v>
                </c:pt>
                <c:pt idx="12875">
                  <c:v>#N/A</c:v>
                </c:pt>
                <c:pt idx="12876">
                  <c:v>#N/A</c:v>
                </c:pt>
                <c:pt idx="12877">
                  <c:v>#N/A</c:v>
                </c:pt>
                <c:pt idx="12878">
                  <c:v>#N/A</c:v>
                </c:pt>
                <c:pt idx="12879">
                  <c:v>#N/A</c:v>
                </c:pt>
                <c:pt idx="12880">
                  <c:v>#N/A</c:v>
                </c:pt>
                <c:pt idx="12881">
                  <c:v>#N/A</c:v>
                </c:pt>
                <c:pt idx="12882">
                  <c:v>#N/A</c:v>
                </c:pt>
                <c:pt idx="12883">
                  <c:v>#N/A</c:v>
                </c:pt>
                <c:pt idx="12884">
                  <c:v>#N/A</c:v>
                </c:pt>
                <c:pt idx="12885">
                  <c:v>#N/A</c:v>
                </c:pt>
                <c:pt idx="12886">
                  <c:v>#N/A</c:v>
                </c:pt>
                <c:pt idx="12887">
                  <c:v>#N/A</c:v>
                </c:pt>
                <c:pt idx="12888">
                  <c:v>#N/A</c:v>
                </c:pt>
                <c:pt idx="12889">
                  <c:v>#N/A</c:v>
                </c:pt>
                <c:pt idx="12890">
                  <c:v>#N/A</c:v>
                </c:pt>
                <c:pt idx="12891">
                  <c:v>#N/A</c:v>
                </c:pt>
                <c:pt idx="12892">
                  <c:v>#N/A</c:v>
                </c:pt>
                <c:pt idx="12893">
                  <c:v>#N/A</c:v>
                </c:pt>
                <c:pt idx="12894">
                  <c:v>#N/A</c:v>
                </c:pt>
                <c:pt idx="12895">
                  <c:v>#N/A</c:v>
                </c:pt>
                <c:pt idx="12896">
                  <c:v>#N/A</c:v>
                </c:pt>
                <c:pt idx="12897">
                  <c:v>#N/A</c:v>
                </c:pt>
                <c:pt idx="12898">
                  <c:v>#N/A</c:v>
                </c:pt>
                <c:pt idx="12899">
                  <c:v>#N/A</c:v>
                </c:pt>
                <c:pt idx="12900">
                  <c:v>#N/A</c:v>
                </c:pt>
                <c:pt idx="12901">
                  <c:v>#N/A</c:v>
                </c:pt>
                <c:pt idx="12902">
                  <c:v>#N/A</c:v>
                </c:pt>
                <c:pt idx="12903">
                  <c:v>#N/A</c:v>
                </c:pt>
                <c:pt idx="12904">
                  <c:v>#N/A</c:v>
                </c:pt>
                <c:pt idx="12905">
                  <c:v>#N/A</c:v>
                </c:pt>
                <c:pt idx="12906">
                  <c:v>#N/A</c:v>
                </c:pt>
                <c:pt idx="12907">
                  <c:v>#N/A</c:v>
                </c:pt>
                <c:pt idx="12908">
                  <c:v>#N/A</c:v>
                </c:pt>
                <c:pt idx="12909">
                  <c:v>#N/A</c:v>
                </c:pt>
                <c:pt idx="12910">
                  <c:v>#N/A</c:v>
                </c:pt>
                <c:pt idx="12911">
                  <c:v>#N/A</c:v>
                </c:pt>
                <c:pt idx="12912">
                  <c:v>#N/A</c:v>
                </c:pt>
                <c:pt idx="12913">
                  <c:v>#N/A</c:v>
                </c:pt>
                <c:pt idx="12914">
                  <c:v>#N/A</c:v>
                </c:pt>
                <c:pt idx="12915">
                  <c:v>#N/A</c:v>
                </c:pt>
                <c:pt idx="12916">
                  <c:v>#N/A</c:v>
                </c:pt>
                <c:pt idx="12917">
                  <c:v>#N/A</c:v>
                </c:pt>
                <c:pt idx="12918">
                  <c:v>#N/A</c:v>
                </c:pt>
                <c:pt idx="12919">
                  <c:v>#N/A</c:v>
                </c:pt>
                <c:pt idx="12920">
                  <c:v>#N/A</c:v>
                </c:pt>
                <c:pt idx="12921">
                  <c:v>#N/A</c:v>
                </c:pt>
                <c:pt idx="12922">
                  <c:v>#N/A</c:v>
                </c:pt>
                <c:pt idx="12923">
                  <c:v>#N/A</c:v>
                </c:pt>
                <c:pt idx="12924">
                  <c:v>#N/A</c:v>
                </c:pt>
                <c:pt idx="12925">
                  <c:v>#N/A</c:v>
                </c:pt>
                <c:pt idx="12926">
                  <c:v>#N/A</c:v>
                </c:pt>
                <c:pt idx="12927">
                  <c:v>#N/A</c:v>
                </c:pt>
                <c:pt idx="12928">
                  <c:v>#N/A</c:v>
                </c:pt>
                <c:pt idx="12929">
                  <c:v>#N/A</c:v>
                </c:pt>
                <c:pt idx="12930">
                  <c:v>#N/A</c:v>
                </c:pt>
                <c:pt idx="12931">
                  <c:v>#N/A</c:v>
                </c:pt>
                <c:pt idx="12932">
                  <c:v>#N/A</c:v>
                </c:pt>
                <c:pt idx="12933">
                  <c:v>#N/A</c:v>
                </c:pt>
                <c:pt idx="12934">
                  <c:v>#N/A</c:v>
                </c:pt>
                <c:pt idx="12935">
                  <c:v>#N/A</c:v>
                </c:pt>
                <c:pt idx="12936">
                  <c:v>#N/A</c:v>
                </c:pt>
                <c:pt idx="12937">
                  <c:v>#N/A</c:v>
                </c:pt>
                <c:pt idx="12938">
                  <c:v>#N/A</c:v>
                </c:pt>
                <c:pt idx="12939">
                  <c:v>#N/A</c:v>
                </c:pt>
                <c:pt idx="12940">
                  <c:v>#N/A</c:v>
                </c:pt>
                <c:pt idx="12941">
                  <c:v>#N/A</c:v>
                </c:pt>
                <c:pt idx="12942">
                  <c:v>#N/A</c:v>
                </c:pt>
                <c:pt idx="12943">
                  <c:v>#N/A</c:v>
                </c:pt>
                <c:pt idx="12944">
                  <c:v>#N/A</c:v>
                </c:pt>
                <c:pt idx="12945">
                  <c:v>#N/A</c:v>
                </c:pt>
                <c:pt idx="12946">
                  <c:v>#N/A</c:v>
                </c:pt>
                <c:pt idx="12947">
                  <c:v>#N/A</c:v>
                </c:pt>
                <c:pt idx="12948">
                  <c:v>#N/A</c:v>
                </c:pt>
                <c:pt idx="12949">
                  <c:v>#N/A</c:v>
                </c:pt>
                <c:pt idx="12950">
                  <c:v>#N/A</c:v>
                </c:pt>
                <c:pt idx="12951">
                  <c:v>#N/A</c:v>
                </c:pt>
                <c:pt idx="12952">
                  <c:v>#N/A</c:v>
                </c:pt>
                <c:pt idx="12953">
                  <c:v>#N/A</c:v>
                </c:pt>
                <c:pt idx="12954">
                  <c:v>#N/A</c:v>
                </c:pt>
                <c:pt idx="12955">
                  <c:v>#N/A</c:v>
                </c:pt>
                <c:pt idx="12956">
                  <c:v>#N/A</c:v>
                </c:pt>
                <c:pt idx="12957">
                  <c:v>#N/A</c:v>
                </c:pt>
                <c:pt idx="12958">
                  <c:v>#N/A</c:v>
                </c:pt>
                <c:pt idx="12959">
                  <c:v>#N/A</c:v>
                </c:pt>
                <c:pt idx="12960">
                  <c:v>#N/A</c:v>
                </c:pt>
                <c:pt idx="12961">
                  <c:v>#N/A</c:v>
                </c:pt>
                <c:pt idx="12962">
                  <c:v>#N/A</c:v>
                </c:pt>
                <c:pt idx="12963">
                  <c:v>#N/A</c:v>
                </c:pt>
                <c:pt idx="12964">
                  <c:v>#N/A</c:v>
                </c:pt>
                <c:pt idx="12965">
                  <c:v>#N/A</c:v>
                </c:pt>
                <c:pt idx="12966">
                  <c:v>#N/A</c:v>
                </c:pt>
                <c:pt idx="12967">
                  <c:v>#N/A</c:v>
                </c:pt>
                <c:pt idx="12968">
                  <c:v>#N/A</c:v>
                </c:pt>
                <c:pt idx="12969">
                  <c:v>#N/A</c:v>
                </c:pt>
                <c:pt idx="12970">
                  <c:v>#N/A</c:v>
                </c:pt>
                <c:pt idx="12971">
                  <c:v>#N/A</c:v>
                </c:pt>
                <c:pt idx="12972">
                  <c:v>#N/A</c:v>
                </c:pt>
                <c:pt idx="12973">
                  <c:v>#N/A</c:v>
                </c:pt>
                <c:pt idx="12974">
                  <c:v>#N/A</c:v>
                </c:pt>
                <c:pt idx="12975">
                  <c:v>9.7287671232876711</c:v>
                </c:pt>
                <c:pt idx="12976">
                  <c:v>#N/A</c:v>
                </c:pt>
                <c:pt idx="12977">
                  <c:v>#N/A</c:v>
                </c:pt>
                <c:pt idx="12978">
                  <c:v>#N/A</c:v>
                </c:pt>
                <c:pt idx="12979">
                  <c:v>#N/A</c:v>
                </c:pt>
                <c:pt idx="12980">
                  <c:v>#N/A</c:v>
                </c:pt>
                <c:pt idx="12981">
                  <c:v>#N/A</c:v>
                </c:pt>
                <c:pt idx="12982">
                  <c:v>#N/A</c:v>
                </c:pt>
                <c:pt idx="12983">
                  <c:v>#N/A</c:v>
                </c:pt>
                <c:pt idx="12984">
                  <c:v>#N/A</c:v>
                </c:pt>
                <c:pt idx="12985">
                  <c:v>#N/A</c:v>
                </c:pt>
                <c:pt idx="12986">
                  <c:v>#N/A</c:v>
                </c:pt>
                <c:pt idx="12987">
                  <c:v>#N/A</c:v>
                </c:pt>
                <c:pt idx="12988">
                  <c:v>#N/A</c:v>
                </c:pt>
                <c:pt idx="12989">
                  <c:v>#N/A</c:v>
                </c:pt>
                <c:pt idx="12990">
                  <c:v>#N/A</c:v>
                </c:pt>
                <c:pt idx="12991">
                  <c:v>#N/A</c:v>
                </c:pt>
                <c:pt idx="12992">
                  <c:v>#N/A</c:v>
                </c:pt>
                <c:pt idx="12993">
                  <c:v>#N/A</c:v>
                </c:pt>
                <c:pt idx="12994">
                  <c:v>#N/A</c:v>
                </c:pt>
                <c:pt idx="12995">
                  <c:v>#N/A</c:v>
                </c:pt>
                <c:pt idx="12996">
                  <c:v>#N/A</c:v>
                </c:pt>
                <c:pt idx="12997">
                  <c:v>#N/A</c:v>
                </c:pt>
                <c:pt idx="12998">
                  <c:v>#N/A</c:v>
                </c:pt>
                <c:pt idx="12999">
                  <c:v>11.175342465753424</c:v>
                </c:pt>
                <c:pt idx="13000">
                  <c:v>#N/A</c:v>
                </c:pt>
                <c:pt idx="13001">
                  <c:v>#N/A</c:v>
                </c:pt>
                <c:pt idx="13002">
                  <c:v>#N/A</c:v>
                </c:pt>
                <c:pt idx="13003">
                  <c:v>11.432876712328767</c:v>
                </c:pt>
                <c:pt idx="13004">
                  <c:v>#N/A</c:v>
                </c:pt>
                <c:pt idx="13005">
                  <c:v>#N/A</c:v>
                </c:pt>
                <c:pt idx="13006">
                  <c:v>#N/A</c:v>
                </c:pt>
                <c:pt idx="13007">
                  <c:v>#N/A</c:v>
                </c:pt>
                <c:pt idx="13008">
                  <c:v>#N/A</c:v>
                </c:pt>
                <c:pt idx="13009">
                  <c:v>#N/A</c:v>
                </c:pt>
                <c:pt idx="13010">
                  <c:v>#N/A</c:v>
                </c:pt>
                <c:pt idx="13011">
                  <c:v>#N/A</c:v>
                </c:pt>
                <c:pt idx="13012">
                  <c:v>#N/A</c:v>
                </c:pt>
                <c:pt idx="13013">
                  <c:v>#N/A</c:v>
                </c:pt>
                <c:pt idx="13014">
                  <c:v>#N/A</c:v>
                </c:pt>
                <c:pt idx="13015">
                  <c:v>#N/A</c:v>
                </c:pt>
                <c:pt idx="13016">
                  <c:v>#N/A</c:v>
                </c:pt>
                <c:pt idx="13017">
                  <c:v>#N/A</c:v>
                </c:pt>
                <c:pt idx="13018">
                  <c:v>#N/A</c:v>
                </c:pt>
                <c:pt idx="13019">
                  <c:v>#N/A</c:v>
                </c:pt>
                <c:pt idx="13020">
                  <c:v>#N/A</c:v>
                </c:pt>
                <c:pt idx="13021">
                  <c:v>#N/A</c:v>
                </c:pt>
                <c:pt idx="13022">
                  <c:v>12.882191780821918</c:v>
                </c:pt>
                <c:pt idx="13023">
                  <c:v>13.024657534246575</c:v>
                </c:pt>
                <c:pt idx="13024">
                  <c:v>#N/A</c:v>
                </c:pt>
                <c:pt idx="13025">
                  <c:v>13.517808219178082</c:v>
                </c:pt>
                <c:pt idx="13026">
                  <c:v>#N/A</c:v>
                </c:pt>
                <c:pt idx="13027">
                  <c:v>#N/A</c:v>
                </c:pt>
                <c:pt idx="13028">
                  <c:v>#N/A</c:v>
                </c:pt>
                <c:pt idx="13029">
                  <c:v>#N/A</c:v>
                </c:pt>
                <c:pt idx="13030">
                  <c:v>#N/A</c:v>
                </c:pt>
                <c:pt idx="13031">
                  <c:v>#N/A</c:v>
                </c:pt>
                <c:pt idx="13032">
                  <c:v>13.61917808219178</c:v>
                </c:pt>
                <c:pt idx="13033">
                  <c:v>#N/A</c:v>
                </c:pt>
                <c:pt idx="13034">
                  <c:v>#N/A</c:v>
                </c:pt>
                <c:pt idx="13035">
                  <c:v>#N/A</c:v>
                </c:pt>
                <c:pt idx="13036">
                  <c:v>#N/A</c:v>
                </c:pt>
                <c:pt idx="13037">
                  <c:v>#N/A</c:v>
                </c:pt>
                <c:pt idx="13038">
                  <c:v>#N/A</c:v>
                </c:pt>
                <c:pt idx="13039">
                  <c:v>#N/A</c:v>
                </c:pt>
                <c:pt idx="13040">
                  <c:v>#N/A</c:v>
                </c:pt>
                <c:pt idx="13041">
                  <c:v>#N/A</c:v>
                </c:pt>
                <c:pt idx="13042">
                  <c:v>#N/A</c:v>
                </c:pt>
                <c:pt idx="13043">
                  <c:v>#N/A</c:v>
                </c:pt>
                <c:pt idx="13044">
                  <c:v>#N/A</c:v>
                </c:pt>
                <c:pt idx="13045">
                  <c:v>#N/A</c:v>
                </c:pt>
                <c:pt idx="13046">
                  <c:v>#N/A</c:v>
                </c:pt>
                <c:pt idx="13047">
                  <c:v>#N/A</c:v>
                </c:pt>
                <c:pt idx="13048">
                  <c:v>#N/A</c:v>
                </c:pt>
                <c:pt idx="13049">
                  <c:v>#N/A</c:v>
                </c:pt>
                <c:pt idx="13050">
                  <c:v>#N/A</c:v>
                </c:pt>
                <c:pt idx="13051">
                  <c:v>#N/A</c:v>
                </c:pt>
                <c:pt idx="13052">
                  <c:v>#N/A</c:v>
                </c:pt>
                <c:pt idx="13053">
                  <c:v>#N/A</c:v>
                </c:pt>
                <c:pt idx="13054">
                  <c:v>#N/A</c:v>
                </c:pt>
                <c:pt idx="13055">
                  <c:v>#N/A</c:v>
                </c:pt>
                <c:pt idx="13056">
                  <c:v>#N/A</c:v>
                </c:pt>
                <c:pt idx="13057">
                  <c:v>#N/A</c:v>
                </c:pt>
                <c:pt idx="13058">
                  <c:v>#N/A</c:v>
                </c:pt>
                <c:pt idx="13059">
                  <c:v>#N/A</c:v>
                </c:pt>
                <c:pt idx="13060">
                  <c:v>#N/A</c:v>
                </c:pt>
                <c:pt idx="13061">
                  <c:v>#N/A</c:v>
                </c:pt>
                <c:pt idx="13062">
                  <c:v>#N/A</c:v>
                </c:pt>
                <c:pt idx="13063">
                  <c:v>#N/A</c:v>
                </c:pt>
                <c:pt idx="13064">
                  <c:v>#N/A</c:v>
                </c:pt>
                <c:pt idx="13065">
                  <c:v>#N/A</c:v>
                </c:pt>
                <c:pt idx="13066">
                  <c:v>#N/A</c:v>
                </c:pt>
                <c:pt idx="13067">
                  <c:v>#N/A</c:v>
                </c:pt>
                <c:pt idx="13068">
                  <c:v>#N/A</c:v>
                </c:pt>
                <c:pt idx="13069">
                  <c:v>#N/A</c:v>
                </c:pt>
                <c:pt idx="13070">
                  <c:v>#N/A</c:v>
                </c:pt>
                <c:pt idx="13071">
                  <c:v>#N/A</c:v>
                </c:pt>
                <c:pt idx="13072">
                  <c:v>#N/A</c:v>
                </c:pt>
                <c:pt idx="13073">
                  <c:v>#N/A</c:v>
                </c:pt>
                <c:pt idx="13074">
                  <c:v>#N/A</c:v>
                </c:pt>
                <c:pt idx="13075">
                  <c:v>#N/A</c:v>
                </c:pt>
                <c:pt idx="13076">
                  <c:v>#N/A</c:v>
                </c:pt>
                <c:pt idx="13077">
                  <c:v>#N/A</c:v>
                </c:pt>
                <c:pt idx="13078">
                  <c:v>#N/A</c:v>
                </c:pt>
                <c:pt idx="13079">
                  <c:v>#N/A</c:v>
                </c:pt>
                <c:pt idx="13080">
                  <c:v>#N/A</c:v>
                </c:pt>
              </c:numCache>
            </c:numRef>
          </c:xVal>
          <c:yVal>
            <c:numRef>
              <c:f>'power_generator-2024-09-23T (2)'!$U$2:$U$13082</c:f>
              <c:numCache>
                <c:formatCode>General</c:formatCode>
                <c:ptCount val="13081"/>
                <c:pt idx="0">
                  <c:v>5.0423620058489318</c:v>
                </c:pt>
                <c:pt idx="1">
                  <c:v>5.9984969734300204</c:v>
                </c:pt>
                <c:pt idx="2">
                  <c:v>6.028243266869449</c:v>
                </c:pt>
                <c:pt idx="3">
                  <c:v>6.027615680892267</c:v>
                </c:pt>
                <c:pt idx="4">
                  <c:v>6.0968802963641044</c:v>
                </c:pt>
                <c:pt idx="5">
                  <c:v>5.0833740576969442</c:v>
                </c:pt>
                <c:pt idx="6">
                  <c:v>4.8649706859237121</c:v>
                </c:pt>
                <c:pt idx="7">
                  <c:v>4.9838127763822371</c:v>
                </c:pt>
                <c:pt idx="8">
                  <c:v>3.9330733837753398</c:v>
                </c:pt>
                <c:pt idx="9">
                  <c:v>5.0274272656549748</c:v>
                </c:pt>
                <c:pt idx="10">
                  <c:v>4.2713519971552012</c:v>
                </c:pt>
                <c:pt idx="11">
                  <c:v>4.0230424193938301</c:v>
                </c:pt>
                <c:pt idx="12">
                  <c:v>5.1093266698785786</c:v>
                </c:pt>
                <c:pt idx="13">
                  <c:v>3.7789549155485394</c:v>
                </c:pt>
                <c:pt idx="14">
                  <c:v>5.1135823180669</c:v>
                </c:pt>
                <c:pt idx="15">
                  <c:v>5.1470967119613782</c:v>
                </c:pt>
                <c:pt idx="16">
                  <c:v>5.0933798732621636</c:v>
                </c:pt>
                <c:pt idx="17">
                  <c:v>6.1148849603222679</c:v>
                </c:pt>
                <c:pt idx="18">
                  <c:v>5.1840351127786324</c:v>
                </c:pt>
                <c:pt idx="19">
                  <c:v>4.9326101929562061</c:v>
                </c:pt>
                <c:pt idx="20">
                  <c:v>4.891495675253843</c:v>
                </c:pt>
                <c:pt idx="21">
                  <c:v>5.0342251415695536</c:v>
                </c:pt>
                <c:pt idx="22">
                  <c:v>5.0857390895175936</c:v>
                </c:pt>
                <c:pt idx="23">
                  <c:v>6.0305374433227987</c:v>
                </c:pt>
                <c:pt idx="24">
                  <c:v>5.867703502113379</c:v>
                </c:pt>
                <c:pt idx="25">
                  <c:v>5.2281367546392428</c:v>
                </c:pt>
                <c:pt idx="26">
                  <c:v>6.0403565569171107</c:v>
                </c:pt>
                <c:pt idx="27">
                  <c:v>4.9230729141968723</c:v>
                </c:pt>
                <c:pt idx="28">
                  <c:v>5.0047761039437617</c:v>
                </c:pt>
                <c:pt idx="29">
                  <c:v>4.1601352771088891</c:v>
                </c:pt>
                <c:pt idx="30">
                  <c:v>4.8531316785957088</c:v>
                </c:pt>
                <c:pt idx="31">
                  <c:v>5.1731757707995758</c:v>
                </c:pt>
                <c:pt idx="32">
                  <c:v>3.8841641575482173</c:v>
                </c:pt>
                <c:pt idx="33">
                  <c:v>4.9633263593285042</c:v>
                </c:pt>
                <c:pt idx="34">
                  <c:v>5.7934833686737042</c:v>
                </c:pt>
                <c:pt idx="35">
                  <c:v>5.776250892404355</c:v>
                </c:pt>
                <c:pt idx="36">
                  <c:v>4.9795114960604261</c:v>
                </c:pt>
                <c:pt idx="37">
                  <c:v>7.0567515492551678</c:v>
                </c:pt>
                <c:pt idx="38">
                  <c:v>5.9107818677330508</c:v>
                </c:pt>
                <c:pt idx="39">
                  <c:v>3.9863828012207243</c:v>
                </c:pt>
                <c:pt idx="40">
                  <c:v>5.0730218962980711</c:v>
                </c:pt>
                <c:pt idx="41">
                  <c:v>4.912029944991863</c:v>
                </c:pt>
                <c:pt idx="42">
                  <c:v>5.0048101777829253</c:v>
                </c:pt>
                <c:pt idx="43">
                  <c:v>5.8595127855509057</c:v>
                </c:pt>
                <c:pt idx="44">
                  <c:v>4.1076766125286248</c:v>
                </c:pt>
                <c:pt idx="45">
                  <c:v>6.9813927063759165</c:v>
                </c:pt>
                <c:pt idx="46">
                  <c:v>6.1455680024709345</c:v>
                </c:pt>
                <c:pt idx="47">
                  <c:v>5.002322790238539</c:v>
                </c:pt>
                <c:pt idx="48">
                  <c:v>3.9556188004152095</c:v>
                </c:pt>
                <c:pt idx="49">
                  <c:v>5.9668690691198574</c:v>
                </c:pt>
                <c:pt idx="50">
                  <c:v>6.1061528519625874</c:v>
                </c:pt>
                <c:pt idx="51">
                  <c:v>4.9568554683781558</c:v>
                </c:pt>
                <c:pt idx="52">
                  <c:v>5.9705560961442199</c:v>
                </c:pt>
                <c:pt idx="53">
                  <c:v>3.8649575757968564</c:v>
                </c:pt>
                <c:pt idx="54">
                  <c:v>5.0505858619730901</c:v>
                </c:pt>
                <c:pt idx="55">
                  <c:v>5.094145874629155</c:v>
                </c:pt>
                <c:pt idx="56">
                  <c:v>5.8074269643065435</c:v>
                </c:pt>
                <c:pt idx="57">
                  <c:v>5.953659090889821</c:v>
                </c:pt>
                <c:pt idx="58">
                  <c:v>4.8031963268992515</c:v>
                </c:pt>
                <c:pt idx="59">
                  <c:v>4.0680530396243464</c:v>
                </c:pt>
                <c:pt idx="60">
                  <c:v>5.1313087767133325</c:v>
                </c:pt>
                <c:pt idx="61">
                  <c:v>3.8579803787173397</c:v>
                </c:pt>
                <c:pt idx="62">
                  <c:v>5.8664847588884204</c:v>
                </c:pt>
                <c:pt idx="63">
                  <c:v>9.0794018642177576</c:v>
                </c:pt>
                <c:pt idx="64">
                  <c:v>5.0592714449641276</c:v>
                </c:pt>
                <c:pt idx="65">
                  <c:v>6.1206365581012303</c:v>
                </c:pt>
                <c:pt idx="66">
                  <c:v>4.8865991374950877</c:v>
                </c:pt>
                <c:pt idx="67">
                  <c:v>4.9021862801652549</c:v>
                </c:pt>
                <c:pt idx="68">
                  <c:v>5.1710506636393925</c:v>
                </c:pt>
                <c:pt idx="69">
                  <c:v>6.1361049125818008</c:v>
                </c:pt>
                <c:pt idx="70">
                  <c:v>5.9186018762335406</c:v>
                </c:pt>
                <c:pt idx="71">
                  <c:v>6.0127675753564214</c:v>
                </c:pt>
                <c:pt idx="72">
                  <c:v>5.9751240711200326</c:v>
                </c:pt>
                <c:pt idx="73">
                  <c:v>5.9048754423423997</c:v>
                </c:pt>
                <c:pt idx="74">
                  <c:v>6.0030827812151504</c:v>
                </c:pt>
                <c:pt idx="75">
                  <c:v>5.9356058018936881</c:v>
                </c:pt>
                <c:pt idx="76">
                  <c:v>4.9025467418290649</c:v>
                </c:pt>
                <c:pt idx="77">
                  <c:v>5.8577519470087003</c:v>
                </c:pt>
                <c:pt idx="78">
                  <c:v>4.917646632103513</c:v>
                </c:pt>
                <c:pt idx="79">
                  <c:v>4.9490580642890647</c:v>
                </c:pt>
                <c:pt idx="80">
                  <c:v>5.0974975255379489</c:v>
                </c:pt>
                <c:pt idx="81">
                  <c:v>5.9318785407512555</c:v>
                </c:pt>
                <c:pt idx="82">
                  <c:v>4.9220516310285447</c:v>
                </c:pt>
                <c:pt idx="83">
                  <c:v>5.078016067201184</c:v>
                </c:pt>
                <c:pt idx="84">
                  <c:v>5.1051260061440606</c:v>
                </c:pt>
                <c:pt idx="85">
                  <c:v>4.9754304970155259</c:v>
                </c:pt>
                <c:pt idx="86">
                  <c:v>5.9431455999129463</c:v>
                </c:pt>
                <c:pt idx="87">
                  <c:v>6.0190873451923839</c:v>
                </c:pt>
                <c:pt idx="88">
                  <c:v>5.1276009043277524</c:v>
                </c:pt>
                <c:pt idx="89">
                  <c:v>6.0970598419303919</c:v>
                </c:pt>
                <c:pt idx="90">
                  <c:v>5.0061002985165173</c:v>
                </c:pt>
                <c:pt idx="91">
                  <c:v>6.0247791384179923</c:v>
                </c:pt>
                <c:pt idx="92">
                  <c:v>5.9782425106237085</c:v>
                </c:pt>
                <c:pt idx="93">
                  <c:v>4.9007286570651205</c:v>
                </c:pt>
                <c:pt idx="94">
                  <c:v>5.962445986496177</c:v>
                </c:pt>
                <c:pt idx="95">
                  <c:v>6.1226960261946486</c:v>
                </c:pt>
                <c:pt idx="96">
                  <c:v>5.0999749424204692</c:v>
                </c:pt>
                <c:pt idx="97">
                  <c:v>5.0223016162710925</c:v>
                </c:pt>
                <c:pt idx="98">
                  <c:v>5.925556808952706</c:v>
                </c:pt>
                <c:pt idx="99">
                  <c:v>5.9122627195450885</c:v>
                </c:pt>
                <c:pt idx="100">
                  <c:v>5.9604077256928312</c:v>
                </c:pt>
                <c:pt idx="101">
                  <c:v>6.0114538526580734</c:v>
                </c:pt>
                <c:pt idx="102">
                  <c:v>6.2095468873314248</c:v>
                </c:pt>
                <c:pt idx="103">
                  <c:v>4.9598970253977299</c:v>
                </c:pt>
                <c:pt idx="104">
                  <c:v>6.1295661774850361</c:v>
                </c:pt>
                <c:pt idx="105">
                  <c:v>6.0973062095551605</c:v>
                </c:pt>
                <c:pt idx="106">
                  <c:v>4.973498553324597</c:v>
                </c:pt>
                <c:pt idx="107">
                  <c:v>4.9186300478743785</c:v>
                </c:pt>
                <c:pt idx="108">
                  <c:v>5.0099753647069001</c:v>
                </c:pt>
                <c:pt idx="109">
                  <c:v>4.9343798874746421</c:v>
                </c:pt>
                <c:pt idx="110">
                  <c:v>4.8266720303695108</c:v>
                </c:pt>
                <c:pt idx="111">
                  <c:v>4.9887374921046366</c:v>
                </c:pt>
                <c:pt idx="112">
                  <c:v>5.9214695848801044</c:v>
                </c:pt>
                <c:pt idx="113">
                  <c:v>5.2496843542288083</c:v>
                </c:pt>
                <c:pt idx="114">
                  <c:v>6.9017115400496101</c:v>
                </c:pt>
                <c:pt idx="115">
                  <c:v>4.8642807759450353</c:v>
                </c:pt>
                <c:pt idx="116">
                  <c:v>4.0107633082364842</c:v>
                </c:pt>
                <c:pt idx="117">
                  <c:v>5.716100812085207</c:v>
                </c:pt>
                <c:pt idx="118">
                  <c:v>3.9643128178614315</c:v>
                </c:pt>
                <c:pt idx="119">
                  <c:v>4.9274400474862983</c:v>
                </c:pt>
                <c:pt idx="120">
                  <c:v>5.9118105434917032</c:v>
                </c:pt>
                <c:pt idx="121">
                  <c:v>4.9687323800346315</c:v>
                </c:pt>
                <c:pt idx="122">
                  <c:v>5.0709090838859856</c:v>
                </c:pt>
                <c:pt idx="123">
                  <c:v>6.1895441805595812</c:v>
                </c:pt>
                <c:pt idx="124">
                  <c:v>5.0240952862107973</c:v>
                </c:pt>
                <c:pt idx="125">
                  <c:v>5.0158145501548654</c:v>
                </c:pt>
                <c:pt idx="126">
                  <c:v>4.9110702561664219</c:v>
                </c:pt>
                <c:pt idx="127">
                  <c:v>4.9505232340569609</c:v>
                </c:pt>
                <c:pt idx="128">
                  <c:v>4.9914528394628972</c:v>
                </c:pt>
                <c:pt idx="129">
                  <c:v>5.0485988376627606</c:v>
                </c:pt>
                <c:pt idx="130">
                  <c:v>5.9040392126915098</c:v>
                </c:pt>
                <c:pt idx="131">
                  <c:v>5.1263152877492377</c:v>
                </c:pt>
                <c:pt idx="132">
                  <c:v>3.8780653190770926</c:v>
                </c:pt>
                <c:pt idx="133">
                  <c:v>7.0810924603937728</c:v>
                </c:pt>
                <c:pt idx="134">
                  <c:v>4.1695790557500478</c:v>
                </c:pt>
                <c:pt idx="135">
                  <c:v>4.8333544444253231</c:v>
                </c:pt>
                <c:pt idx="136">
                  <c:v>5.047786140001068</c:v>
                </c:pt>
                <c:pt idx="137">
                  <c:v>4.9850374742404373</c:v>
                </c:pt>
                <c:pt idx="138">
                  <c:v>5.9966655440644159</c:v>
                </c:pt>
                <c:pt idx="139">
                  <c:v>5.9464070761871151</c:v>
                </c:pt>
                <c:pt idx="140">
                  <c:v>5.0261577459183897</c:v>
                </c:pt>
                <c:pt idx="141">
                  <c:v>6.0492630038458195</c:v>
                </c:pt>
                <c:pt idx="142">
                  <c:v>5.9904079223632039</c:v>
                </c:pt>
                <c:pt idx="143">
                  <c:v>5.1123386361373644</c:v>
                </c:pt>
                <c:pt idx="144">
                  <c:v>5.9627487621356012</c:v>
                </c:pt>
                <c:pt idx="145">
                  <c:v>5.0191285834595094</c:v>
                </c:pt>
                <c:pt idx="146">
                  <c:v>4.8464054626331707</c:v>
                </c:pt>
                <c:pt idx="147">
                  <c:v>6.1887514766896352</c:v>
                </c:pt>
                <c:pt idx="148">
                  <c:v>5.0198268604449474</c:v>
                </c:pt>
                <c:pt idx="149">
                  <c:v>4.9449494860754672</c:v>
                </c:pt>
                <c:pt idx="150">
                  <c:v>6.0367281491066711</c:v>
                </c:pt>
                <c:pt idx="151">
                  <c:v>5.0934908623560897</c:v>
                </c:pt>
                <c:pt idx="152">
                  <c:v>3.9807678242223608</c:v>
                </c:pt>
                <c:pt idx="153">
                  <c:v>6.0355725917546055</c:v>
                </c:pt>
                <c:pt idx="154">
                  <c:v>5.9603480468779209</c:v>
                </c:pt>
                <c:pt idx="155">
                  <c:v>5.9638408615907457</c:v>
                </c:pt>
                <c:pt idx="156">
                  <c:v>3.9539837663113113</c:v>
                </c:pt>
                <c:pt idx="157">
                  <c:v>4.1731656536706145</c:v>
                </c:pt>
                <c:pt idx="158">
                  <c:v>4.0214970395963894</c:v>
                </c:pt>
                <c:pt idx="159">
                  <c:v>6.8408029881742465</c:v>
                </c:pt>
                <c:pt idx="160">
                  <c:v>4.910736369240956</c:v>
                </c:pt>
                <c:pt idx="161">
                  <c:v>3.803027586613863</c:v>
                </c:pt>
                <c:pt idx="162">
                  <c:v>4.8912904841671416</c:v>
                </c:pt>
                <c:pt idx="163">
                  <c:v>5.0828837914567213</c:v>
                </c:pt>
                <c:pt idx="164">
                  <c:v>5.9008980929160826</c:v>
                </c:pt>
                <c:pt idx="165">
                  <c:v>5.0204716450650793</c:v>
                </c:pt>
                <c:pt idx="166">
                  <c:v>5.8305132069850591</c:v>
                </c:pt>
                <c:pt idx="167">
                  <c:v>7.0406017735940996</c:v>
                </c:pt>
                <c:pt idx="168">
                  <c:v>5.9859054573296024</c:v>
                </c:pt>
                <c:pt idx="169">
                  <c:v>4.9997223872251988</c:v>
                </c:pt>
                <c:pt idx="170">
                  <c:v>6.0103278301842487</c:v>
                </c:pt>
                <c:pt idx="171">
                  <c:v>7.1055740348015242</c:v>
                </c:pt>
                <c:pt idx="172">
                  <c:v>5.0173008044384222</c:v>
                </c:pt>
                <c:pt idx="173">
                  <c:v>6.1730306603458152</c:v>
                </c:pt>
                <c:pt idx="174">
                  <c:v>6.1826816457524929</c:v>
                </c:pt>
                <c:pt idx="175">
                  <c:v>4.9729191662701808</c:v>
                </c:pt>
                <c:pt idx="176">
                  <c:v>5.0330274337650973</c:v>
                </c:pt>
                <c:pt idx="177">
                  <c:v>7.1317304266108064</c:v>
                </c:pt>
                <c:pt idx="178">
                  <c:v>5.0889509198750593</c:v>
                </c:pt>
                <c:pt idx="179">
                  <c:v>6.8172523782089272</c:v>
                </c:pt>
                <c:pt idx="180">
                  <c:v>6.1648282916004895</c:v>
                </c:pt>
                <c:pt idx="181">
                  <c:v>6.9722014193880693</c:v>
                </c:pt>
                <c:pt idx="182">
                  <c:v>4.9969252129256176</c:v>
                </c:pt>
                <c:pt idx="183">
                  <c:v>4.8497439597186318</c:v>
                </c:pt>
                <c:pt idx="184">
                  <c:v>6.1491410038074044</c:v>
                </c:pt>
                <c:pt idx="185">
                  <c:v>6.8212694297105489</c:v>
                </c:pt>
                <c:pt idx="186">
                  <c:v>4.9067617809449633</c:v>
                </c:pt>
                <c:pt idx="187">
                  <c:v>5.9926035340808115</c:v>
                </c:pt>
                <c:pt idx="188">
                  <c:v>5.1682307987036351</c:v>
                </c:pt>
                <c:pt idx="189">
                  <c:v>4.9957825970204937</c:v>
                </c:pt>
                <c:pt idx="190">
                  <c:v>5.0982241597762847</c:v>
                </c:pt>
                <c:pt idx="191">
                  <c:v>6.0282998980335787</c:v>
                </c:pt>
                <c:pt idx="192">
                  <c:v>5.0541895358524371</c:v>
                </c:pt>
                <c:pt idx="193">
                  <c:v>4.9970709057776794</c:v>
                </c:pt>
                <c:pt idx="194">
                  <c:v>3.8003804184922676</c:v>
                </c:pt>
                <c:pt idx="195">
                  <c:v>7.0466582274554277</c:v>
                </c:pt>
                <c:pt idx="196">
                  <c:v>6.0212963952618574</c:v>
                </c:pt>
                <c:pt idx="197">
                  <c:v>4.793230031026722</c:v>
                </c:pt>
                <c:pt idx="198">
                  <c:v>6.080865798418067</c:v>
                </c:pt>
                <c:pt idx="199">
                  <c:v>4.8861636674611866</c:v>
                </c:pt>
                <c:pt idx="200">
                  <c:v>6.1234908645295203</c:v>
                </c:pt>
                <c:pt idx="201">
                  <c:v>4.999357389225942</c:v>
                </c:pt>
                <c:pt idx="202">
                  <c:v>5.980716292650639</c:v>
                </c:pt>
                <c:pt idx="203">
                  <c:v>6.0332082211200744</c:v>
                </c:pt>
                <c:pt idx="204">
                  <c:v>6.0915285932885723</c:v>
                </c:pt>
                <c:pt idx="205">
                  <c:v>6.0278542981032821</c:v>
                </c:pt>
                <c:pt idx="206">
                  <c:v>2.9477775731227913</c:v>
                </c:pt>
                <c:pt idx="207">
                  <c:v>6.0840400342303207</c:v>
                </c:pt>
                <c:pt idx="208">
                  <c:v>6.1682895985196717</c:v>
                </c:pt>
                <c:pt idx="209">
                  <c:v>5.0584110563120026</c:v>
                </c:pt>
                <c:pt idx="210">
                  <c:v>5.9020192961825133</c:v>
                </c:pt>
                <c:pt idx="211">
                  <c:v>5.0820017355251439</c:v>
                </c:pt>
                <c:pt idx="212">
                  <c:v>6.1041879349566557</c:v>
                </c:pt>
                <c:pt idx="213">
                  <c:v>4.842808517381517</c:v>
                </c:pt>
                <c:pt idx="214">
                  <c:v>5.0700700097661784</c:v>
                </c:pt>
                <c:pt idx="215">
                  <c:v>5.9056577603186318</c:v>
                </c:pt>
                <c:pt idx="216">
                  <c:v>5.9642940476681057</c:v>
                </c:pt>
                <c:pt idx="217">
                  <c:v>5.8165689246558028</c:v>
                </c:pt>
                <c:pt idx="218">
                  <c:v>6.0108322739224</c:v>
                </c:pt>
                <c:pt idx="219">
                  <c:v>4.8831536474413122</c:v>
                </c:pt>
                <c:pt idx="220">
                  <c:v>4.9390785790196503</c:v>
                </c:pt>
                <c:pt idx="221">
                  <c:v>6.8765981783800934</c:v>
                </c:pt>
                <c:pt idx="222">
                  <c:v>5.8793298720437672</c:v>
                </c:pt>
                <c:pt idx="223">
                  <c:v>5.962042194731616</c:v>
                </c:pt>
                <c:pt idx="224">
                  <c:v>7.1114495938419244</c:v>
                </c:pt>
                <c:pt idx="225">
                  <c:v>4.9892365360762199</c:v>
                </c:pt>
                <c:pt idx="226">
                  <c:v>4.9188345427678497</c:v>
                </c:pt>
                <c:pt idx="227">
                  <c:v>4.843636773135592</c:v>
                </c:pt>
                <c:pt idx="228">
                  <c:v>4.8146486174694072</c:v>
                </c:pt>
                <c:pt idx="229">
                  <c:v>6.9030673957482822</c:v>
                </c:pt>
                <c:pt idx="230">
                  <c:v>4.880718752787109</c:v>
                </c:pt>
                <c:pt idx="231">
                  <c:v>4.9002960353052485</c:v>
                </c:pt>
                <c:pt idx="232">
                  <c:v>4.7193027084078878</c:v>
                </c:pt>
                <c:pt idx="233">
                  <c:v>2.8697434451342234</c:v>
                </c:pt>
                <c:pt idx="234">
                  <c:v>5.0756071344489966</c:v>
                </c:pt>
                <c:pt idx="235">
                  <c:v>5.8944544926968101</c:v>
                </c:pt>
                <c:pt idx="236">
                  <c:v>4.9127453877650717</c:v>
                </c:pt>
                <c:pt idx="237">
                  <c:v>4.8017985781301844</c:v>
                </c:pt>
                <c:pt idx="238">
                  <c:v>5.9327315458412953</c:v>
                </c:pt>
                <c:pt idx="239">
                  <c:v>5.9041896594131291</c:v>
                </c:pt>
                <c:pt idx="240">
                  <c:v>4.8016771338059607</c:v>
                </c:pt>
                <c:pt idx="241">
                  <c:v>5.9641380952762617</c:v>
                </c:pt>
                <c:pt idx="242">
                  <c:v>5.952300035164785</c:v>
                </c:pt>
                <c:pt idx="243">
                  <c:v>6.0619676921819243</c:v>
                </c:pt>
                <c:pt idx="244">
                  <c:v>6.0111006631843953</c:v>
                </c:pt>
                <c:pt idx="245">
                  <c:v>4.851244598195402</c:v>
                </c:pt>
                <c:pt idx="246">
                  <c:v>4.9906080186302466</c:v>
                </c:pt>
                <c:pt idx="247">
                  <c:v>4.9064243993438685</c:v>
                </c:pt>
                <c:pt idx="248">
                  <c:v>5.8970273293123032</c:v>
                </c:pt>
                <c:pt idx="249">
                  <c:v>5.0452739296327449</c:v>
                </c:pt>
                <c:pt idx="250">
                  <c:v>5.1689640835037789</c:v>
                </c:pt>
                <c:pt idx="251">
                  <c:v>5.7823981166963154</c:v>
                </c:pt>
                <c:pt idx="252">
                  <c:v>5.9882387546657707</c:v>
                </c:pt>
                <c:pt idx="253">
                  <c:v>4.9312738496139774</c:v>
                </c:pt>
                <c:pt idx="254">
                  <c:v>4.9625860723113746</c:v>
                </c:pt>
                <c:pt idx="255">
                  <c:v>5.0109173225453576</c:v>
                </c:pt>
                <c:pt idx="256">
                  <c:v>5.2733558191826919</c:v>
                </c:pt>
                <c:pt idx="257">
                  <c:v>4.9274546571206894</c:v>
                </c:pt>
                <c:pt idx="258">
                  <c:v>5.9450012077590904</c:v>
                </c:pt>
                <c:pt idx="259">
                  <c:v>4.7775452926105935</c:v>
                </c:pt>
                <c:pt idx="260">
                  <c:v>5.073238990658262</c:v>
                </c:pt>
                <c:pt idx="261">
                  <c:v>5.0522821710366914</c:v>
                </c:pt>
                <c:pt idx="262">
                  <c:v>5.2364283529770788</c:v>
                </c:pt>
                <c:pt idx="263">
                  <c:v>5.0524473201889153</c:v>
                </c:pt>
                <c:pt idx="264">
                  <c:v>5.9465842556328274</c:v>
                </c:pt>
                <c:pt idx="265">
                  <c:v>4.8895291818552256</c:v>
                </c:pt>
                <c:pt idx="266">
                  <c:v>5.0805123652886399</c:v>
                </c:pt>
                <c:pt idx="267">
                  <c:v>4.8794320382777912</c:v>
                </c:pt>
                <c:pt idx="268">
                  <c:v>5.01838177870472</c:v>
                </c:pt>
                <c:pt idx="269">
                  <c:v>4.9918274488573955</c:v>
                </c:pt>
                <c:pt idx="270">
                  <c:v>6.1200409172211074</c:v>
                </c:pt>
                <c:pt idx="271">
                  <c:v>5.932653920391326</c:v>
                </c:pt>
                <c:pt idx="272">
                  <c:v>5.9701727787049306</c:v>
                </c:pt>
                <c:pt idx="273">
                  <c:v>6.1478878161993809</c:v>
                </c:pt>
                <c:pt idx="274">
                  <c:v>4.8317009545328231</c:v>
                </c:pt>
                <c:pt idx="275">
                  <c:v>2.9634620591025471</c:v>
                </c:pt>
                <c:pt idx="276">
                  <c:v>3.9806464797880272</c:v>
                </c:pt>
                <c:pt idx="277">
                  <c:v>5.9867573979320845</c:v>
                </c:pt>
                <c:pt idx="278">
                  <c:v>6.0781911475850325</c:v>
                </c:pt>
                <c:pt idx="279">
                  <c:v>6.0342051834257191</c:v>
                </c:pt>
                <c:pt idx="280">
                  <c:v>5.9271561542908229</c:v>
                </c:pt>
                <c:pt idx="281">
                  <c:v>6.1122342121904909</c:v>
                </c:pt>
                <c:pt idx="282">
                  <c:v>5.815451475759053</c:v>
                </c:pt>
                <c:pt idx="283">
                  <c:v>5.8798628396886503</c:v>
                </c:pt>
                <c:pt idx="284">
                  <c:v>4.9700053532855195</c:v>
                </c:pt>
                <c:pt idx="285">
                  <c:v>5.1303753972439967</c:v>
                </c:pt>
                <c:pt idx="286">
                  <c:v>4.9920553925093136</c:v>
                </c:pt>
                <c:pt idx="287">
                  <c:v>6.9827118123280414</c:v>
                </c:pt>
                <c:pt idx="288">
                  <c:v>5.9880190527504773</c:v>
                </c:pt>
                <c:pt idx="289">
                  <c:v>3.9919881112683298</c:v>
                </c:pt>
                <c:pt idx="290">
                  <c:v>6.0840417778173324</c:v>
                </c:pt>
                <c:pt idx="291">
                  <c:v>6.0194571192955193</c:v>
                </c:pt>
                <c:pt idx="292">
                  <c:v>6.1022896422957089</c:v>
                </c:pt>
                <c:pt idx="293">
                  <c:v>5.0392997264935273</c:v>
                </c:pt>
                <c:pt idx="294">
                  <c:v>6.0363952575660953</c:v>
                </c:pt>
                <c:pt idx="295">
                  <c:v>4.9871365582278697</c:v>
                </c:pt>
                <c:pt idx="296">
                  <c:v>6.0088966354097133</c:v>
                </c:pt>
                <c:pt idx="297">
                  <c:v>5.0622778632756074</c:v>
                </c:pt>
                <c:pt idx="298">
                  <c:v>3.9427991134193787</c:v>
                </c:pt>
                <c:pt idx="299">
                  <c:v>4.8892441963980575</c:v>
                </c:pt>
                <c:pt idx="300">
                  <c:v>5.0413153770015597</c:v>
                </c:pt>
                <c:pt idx="301">
                  <c:v>5.0652707849752199</c:v>
                </c:pt>
                <c:pt idx="302">
                  <c:v>5.0239740289447949</c:v>
                </c:pt>
                <c:pt idx="303">
                  <c:v>5.968839313017182</c:v>
                </c:pt>
                <c:pt idx="304">
                  <c:v>6.033625409387751</c:v>
                </c:pt>
                <c:pt idx="305">
                  <c:v>4.9154251328101868</c:v>
                </c:pt>
                <c:pt idx="306">
                  <c:v>5.0960135237818402</c:v>
                </c:pt>
                <c:pt idx="307">
                  <c:v>4.9013306189490136</c:v>
                </c:pt>
                <c:pt idx="308">
                  <c:v>5.8767408005972879</c:v>
                </c:pt>
                <c:pt idx="309">
                  <c:v>3.8219548454663124</c:v>
                </c:pt>
                <c:pt idx="310">
                  <c:v>5.1852830532321361</c:v>
                </c:pt>
                <c:pt idx="311">
                  <c:v>5.9895204201191588</c:v>
                </c:pt>
                <c:pt idx="312">
                  <c:v>6.2069554504064888</c:v>
                </c:pt>
                <c:pt idx="313">
                  <c:v>5.161462854999523</c:v>
                </c:pt>
                <c:pt idx="314">
                  <c:v>5.1493373094064729</c:v>
                </c:pt>
                <c:pt idx="315">
                  <c:v>4.8440120114589256</c:v>
                </c:pt>
                <c:pt idx="316">
                  <c:v>3.9032997784716916</c:v>
                </c:pt>
                <c:pt idx="317">
                  <c:v>4.9576213770016144</c:v>
                </c:pt>
                <c:pt idx="318">
                  <c:v>4.8503244241720846</c:v>
                </c:pt>
                <c:pt idx="319">
                  <c:v>5.9600145107325364</c:v>
                </c:pt>
                <c:pt idx="320">
                  <c:v>5.8987295344287523</c:v>
                </c:pt>
                <c:pt idx="321">
                  <c:v>6.057050866882923</c:v>
                </c:pt>
                <c:pt idx="322">
                  <c:v>6.0487230419033526</c:v>
                </c:pt>
                <c:pt idx="323">
                  <c:v>6.1336847944682846</c:v>
                </c:pt>
                <c:pt idx="324">
                  <c:v>6.9544399674089181</c:v>
                </c:pt>
                <c:pt idx="325">
                  <c:v>4.808816710036723</c:v>
                </c:pt>
                <c:pt idx="326">
                  <c:v>4.9794913942623946</c:v>
                </c:pt>
                <c:pt idx="327">
                  <c:v>6.1644405081891041</c:v>
                </c:pt>
                <c:pt idx="328">
                  <c:v>3.9218760587372112</c:v>
                </c:pt>
                <c:pt idx="329">
                  <c:v>4.8872602261411595</c:v>
                </c:pt>
                <c:pt idx="330">
                  <c:v>4.9853337761105507</c:v>
                </c:pt>
                <c:pt idx="331">
                  <c:v>7.065037717679794</c:v>
                </c:pt>
                <c:pt idx="332">
                  <c:v>5.2737874926974966</c:v>
                </c:pt>
                <c:pt idx="333">
                  <c:v>6.0572261608642428</c:v>
                </c:pt>
                <c:pt idx="334">
                  <c:v>4.8764830148170111</c:v>
                </c:pt>
                <c:pt idx="335">
                  <c:v>5.9679167828210709</c:v>
                </c:pt>
                <c:pt idx="336">
                  <c:v>5.1131043128302176</c:v>
                </c:pt>
                <c:pt idx="337">
                  <c:v>6.1343592522027919</c:v>
                </c:pt>
                <c:pt idx="338">
                  <c:v>6.0301297223411812</c:v>
                </c:pt>
                <c:pt idx="339">
                  <c:v>4.9457066337093911</c:v>
                </c:pt>
                <c:pt idx="340">
                  <c:v>5.0605160671991198</c:v>
                </c:pt>
                <c:pt idx="341">
                  <c:v>5.9550894755082133</c:v>
                </c:pt>
                <c:pt idx="342">
                  <c:v>6.0746855578257133</c:v>
                </c:pt>
                <c:pt idx="343">
                  <c:v>6.0978608957887674</c:v>
                </c:pt>
                <c:pt idx="344">
                  <c:v>5.8756101884225522</c:v>
                </c:pt>
                <c:pt idx="345">
                  <c:v>4.9188368870531995</c:v>
                </c:pt>
                <c:pt idx="346">
                  <c:v>5.0844212910354836</c:v>
                </c:pt>
                <c:pt idx="347">
                  <c:v>4.9181079764859836</c:v>
                </c:pt>
                <c:pt idx="348">
                  <c:v>5.044646254830921</c:v>
                </c:pt>
                <c:pt idx="349">
                  <c:v>5.8356833278369562</c:v>
                </c:pt>
                <c:pt idx="350">
                  <c:v>5.0884302924375566</c:v>
                </c:pt>
                <c:pt idx="351">
                  <c:v>5.0422446718746547</c:v>
                </c:pt>
                <c:pt idx="352">
                  <c:v>4.9106652376792059</c:v>
                </c:pt>
                <c:pt idx="353">
                  <c:v>6.0630771991423824</c:v>
                </c:pt>
                <c:pt idx="354">
                  <c:v>6.1129968480713783</c:v>
                </c:pt>
                <c:pt idx="355">
                  <c:v>6.0094966980013664</c:v>
                </c:pt>
                <c:pt idx="356">
                  <c:v>4.9610035780420514</c:v>
                </c:pt>
                <c:pt idx="357">
                  <c:v>4.9157121492655946</c:v>
                </c:pt>
                <c:pt idx="358">
                  <c:v>5.8033729384724273</c:v>
                </c:pt>
                <c:pt idx="359">
                  <c:v>4.9302084871776231</c:v>
                </c:pt>
                <c:pt idx="360">
                  <c:v>6.1025270978055346</c:v>
                </c:pt>
                <c:pt idx="361">
                  <c:v>5.0724853358064692</c:v>
                </c:pt>
                <c:pt idx="362">
                  <c:v>5.9053768351829614</c:v>
                </c:pt>
                <c:pt idx="363">
                  <c:v>5.926839235613806</c:v>
                </c:pt>
                <c:pt idx="364">
                  <c:v>6.0328040695080274</c:v>
                </c:pt>
                <c:pt idx="365">
                  <c:v>5.0406055666312701</c:v>
                </c:pt>
                <c:pt idx="366">
                  <c:v>4.9025989861004344</c:v>
                </c:pt>
                <c:pt idx="367">
                  <c:v>5.0939324641028891</c:v>
                </c:pt>
                <c:pt idx="368">
                  <c:v>4.9662255802727948</c:v>
                </c:pt>
                <c:pt idx="369">
                  <c:v>4.8765438556883014</c:v>
                </c:pt>
                <c:pt idx="370">
                  <c:v>4.9015945723515708</c:v>
                </c:pt>
                <c:pt idx="371">
                  <c:v>5.9417459041058338</c:v>
                </c:pt>
                <c:pt idx="372">
                  <c:v>4.9331555610057825</c:v>
                </c:pt>
                <c:pt idx="373">
                  <c:v>4.7366043874871453</c:v>
                </c:pt>
                <c:pt idx="374">
                  <c:v>6.0078344154387979</c:v>
                </c:pt>
                <c:pt idx="375">
                  <c:v>6.0603739624748609</c:v>
                </c:pt>
                <c:pt idx="376">
                  <c:v>6.0991121085320419</c:v>
                </c:pt>
                <c:pt idx="377">
                  <c:v>5.9089415303033306</c:v>
                </c:pt>
                <c:pt idx="378">
                  <c:v>5.0495417255407711</c:v>
                </c:pt>
                <c:pt idx="379">
                  <c:v>6.93794890130473</c:v>
                </c:pt>
                <c:pt idx="380">
                  <c:v>6.0602720675591666</c:v>
                </c:pt>
                <c:pt idx="381">
                  <c:v>5.0993048867104873</c:v>
                </c:pt>
                <c:pt idx="382">
                  <c:v>4.9905666272203675</c:v>
                </c:pt>
                <c:pt idx="383">
                  <c:v>6.1090324312273285</c:v>
                </c:pt>
                <c:pt idx="384">
                  <c:v>5.9780361767082599</c:v>
                </c:pt>
                <c:pt idx="385">
                  <c:v>5.8890602924289173</c:v>
                </c:pt>
                <c:pt idx="386">
                  <c:v>5.056646385808234</c:v>
                </c:pt>
                <c:pt idx="387">
                  <c:v>5.284458925171287</c:v>
                </c:pt>
                <c:pt idx="388">
                  <c:v>5.1113687628078281</c:v>
                </c:pt>
                <c:pt idx="389">
                  <c:v>4.9183420952386276</c:v>
                </c:pt>
                <c:pt idx="390">
                  <c:v>5.030871823904314</c:v>
                </c:pt>
                <c:pt idx="391">
                  <c:v>4.8765433610651749</c:v>
                </c:pt>
                <c:pt idx="392">
                  <c:v>7.0124312933875661</c:v>
                </c:pt>
                <c:pt idx="393">
                  <c:v>7.0693160854753057</c:v>
                </c:pt>
                <c:pt idx="394">
                  <c:v>6.9371584626636755</c:v>
                </c:pt>
                <c:pt idx="395">
                  <c:v>6.0898278013704354</c:v>
                </c:pt>
                <c:pt idx="396">
                  <c:v>6.0426094078689827</c:v>
                </c:pt>
                <c:pt idx="397">
                  <c:v>5.9611745825794724</c:v>
                </c:pt>
                <c:pt idx="398">
                  <c:v>7.0412816939840264</c:v>
                </c:pt>
                <c:pt idx="399">
                  <c:v>4.9447325019026582</c:v>
                </c:pt>
                <c:pt idx="400">
                  <c:v>6.2075700765928659</c:v>
                </c:pt>
                <c:pt idx="401">
                  <c:v>5.0110885648677801</c:v>
                </c:pt>
                <c:pt idx="402">
                  <c:v>4.9623912758908704</c:v>
                </c:pt>
                <c:pt idx="403">
                  <c:v>6.9167230423717045</c:v>
                </c:pt>
                <c:pt idx="404">
                  <c:v>5.9956243446709019</c:v>
                </c:pt>
                <c:pt idx="405">
                  <c:v>3.9446384928454195</c:v>
                </c:pt>
                <c:pt idx="406">
                  <c:v>3.9870649018227589</c:v>
                </c:pt>
                <c:pt idx="407">
                  <c:v>5.0742112911596777</c:v>
                </c:pt>
                <c:pt idx="408">
                  <c:v>1.7600022717928372</c:v>
                </c:pt>
                <c:pt idx="409">
                  <c:v>5.9346645359748305</c:v>
                </c:pt>
                <c:pt idx="410">
                  <c:v>6.0801702978504073</c:v>
                </c:pt>
                <c:pt idx="411">
                  <c:v>5.0839586460577895</c:v>
                </c:pt>
                <c:pt idx="412">
                  <c:v>4.9558819881149896</c:v>
                </c:pt>
                <c:pt idx="413">
                  <c:v>4.8559971816590046</c:v>
                </c:pt>
                <c:pt idx="414">
                  <c:v>5.0313173037435819</c:v>
                </c:pt>
                <c:pt idx="415">
                  <c:v>6.1549351502432712</c:v>
                </c:pt>
                <c:pt idx="416">
                  <c:v>4.8927343512993247</c:v>
                </c:pt>
                <c:pt idx="417">
                  <c:v>5.8652685620920781</c:v>
                </c:pt>
                <c:pt idx="418">
                  <c:v>4.7475229628460927</c:v>
                </c:pt>
                <c:pt idx="419">
                  <c:v>6.1363518309517993</c:v>
                </c:pt>
                <c:pt idx="420">
                  <c:v>6.2697334490773962</c:v>
                </c:pt>
                <c:pt idx="421">
                  <c:v>6.0831397145979444</c:v>
                </c:pt>
                <c:pt idx="422">
                  <c:v>4.8768987171812483</c:v>
                </c:pt>
                <c:pt idx="423">
                  <c:v>4.9988179492249971</c:v>
                </c:pt>
                <c:pt idx="424">
                  <c:v>5.1273767037704152</c:v>
                </c:pt>
                <c:pt idx="425">
                  <c:v>6.0770025717210405</c:v>
                </c:pt>
                <c:pt idx="426">
                  <c:v>5.0407145733156238</c:v>
                </c:pt>
                <c:pt idx="427">
                  <c:v>6.0124995025209005</c:v>
                </c:pt>
                <c:pt idx="428">
                  <c:v>4.95841273892598</c:v>
                </c:pt>
                <c:pt idx="429">
                  <c:v>5.9838594759965966</c:v>
                </c:pt>
                <c:pt idx="430">
                  <c:v>5.1257689989498116</c:v>
                </c:pt>
                <c:pt idx="431">
                  <c:v>6.1442562333815882</c:v>
                </c:pt>
                <c:pt idx="432">
                  <c:v>4.9527336553167869</c:v>
                </c:pt>
                <c:pt idx="433">
                  <c:v>4.8830023036906276</c:v>
                </c:pt>
                <c:pt idx="434">
                  <c:v>6.0424297172320465</c:v>
                </c:pt>
                <c:pt idx="435">
                  <c:v>7.0730754837387675</c:v>
                </c:pt>
                <c:pt idx="436">
                  <c:v>5.1106844708238697</c:v>
                </c:pt>
                <c:pt idx="437">
                  <c:v>4.9243033397499616</c:v>
                </c:pt>
                <c:pt idx="438">
                  <c:v>7.142942607756491</c:v>
                </c:pt>
                <c:pt idx="439">
                  <c:v>4.9392168898925641</c:v>
                </c:pt>
                <c:pt idx="440">
                  <c:v>4.9087847398426492</c:v>
                </c:pt>
                <c:pt idx="441">
                  <c:v>4.9832167176425646</c:v>
                </c:pt>
                <c:pt idx="442">
                  <c:v>4.976125437489392</c:v>
                </c:pt>
                <c:pt idx="443">
                  <c:v>6.9590335179699041</c:v>
                </c:pt>
                <c:pt idx="444">
                  <c:v>5.9202017444246904</c:v>
                </c:pt>
                <c:pt idx="445">
                  <c:v>4.9046364658992578</c:v>
                </c:pt>
                <c:pt idx="446">
                  <c:v>4.7539650406056442</c:v>
                </c:pt>
                <c:pt idx="447">
                  <c:v>4.8640678087130818</c:v>
                </c:pt>
                <c:pt idx="448">
                  <c:v>4.9710367438373471</c:v>
                </c:pt>
                <c:pt idx="449">
                  <c:v>5.046449567870396</c:v>
                </c:pt>
                <c:pt idx="450">
                  <c:v>6.0133449032723583</c:v>
                </c:pt>
                <c:pt idx="451">
                  <c:v>4.9882724840849413</c:v>
                </c:pt>
                <c:pt idx="452">
                  <c:v>6.0699392675876291</c:v>
                </c:pt>
                <c:pt idx="453">
                  <c:v>5.9879698578349432</c:v>
                </c:pt>
                <c:pt idx="454">
                  <c:v>4.8818067925804618</c:v>
                </c:pt>
                <c:pt idx="455">
                  <c:v>5.1562528075250125</c:v>
                </c:pt>
                <c:pt idx="456">
                  <c:v>5.0053652935344379</c:v>
                </c:pt>
                <c:pt idx="457">
                  <c:v>5.8727677645621474</c:v>
                </c:pt>
                <c:pt idx="458">
                  <c:v>5.0227111564056708</c:v>
                </c:pt>
                <c:pt idx="459">
                  <c:v>5.1001965331268959</c:v>
                </c:pt>
                <c:pt idx="460">
                  <c:v>5.9644951933147752</c:v>
                </c:pt>
                <c:pt idx="461">
                  <c:v>5.932992221100875</c:v>
                </c:pt>
                <c:pt idx="462">
                  <c:v>5.9399762568550099</c:v>
                </c:pt>
                <c:pt idx="463">
                  <c:v>6.2171061850162017</c:v>
                </c:pt>
                <c:pt idx="464">
                  <c:v>4.9800882624731342</c:v>
                </c:pt>
                <c:pt idx="465">
                  <c:v>5.8591225369495694</c:v>
                </c:pt>
                <c:pt idx="466">
                  <c:v>7.0686959545127346</c:v>
                </c:pt>
                <c:pt idx="467">
                  <c:v>4.8891792626019779</c:v>
                </c:pt>
                <c:pt idx="468">
                  <c:v>2.0789821234075188</c:v>
                </c:pt>
                <c:pt idx="469">
                  <c:v>5.144535094063575</c:v>
                </c:pt>
                <c:pt idx="470">
                  <c:v>5.8112500471987278</c:v>
                </c:pt>
                <c:pt idx="471">
                  <c:v>5.0253740512820171</c:v>
                </c:pt>
                <c:pt idx="472">
                  <c:v>5.0038668143292737</c:v>
                </c:pt>
                <c:pt idx="473">
                  <c:v>5.9977404018087057</c:v>
                </c:pt>
                <c:pt idx="474">
                  <c:v>4.9569426596837083</c:v>
                </c:pt>
                <c:pt idx="475">
                  <c:v>7.1971207960538592</c:v>
                </c:pt>
                <c:pt idx="476">
                  <c:v>5.9641893202534995</c:v>
                </c:pt>
                <c:pt idx="477">
                  <c:v>7.0047404854594966</c:v>
                </c:pt>
                <c:pt idx="478">
                  <c:v>6.0773687954956026</c:v>
                </c:pt>
                <c:pt idx="479">
                  <c:v>4.8875322584532306</c:v>
                </c:pt>
                <c:pt idx="480">
                  <c:v>4.8729472162900382</c:v>
                </c:pt>
                <c:pt idx="481">
                  <c:v>4.955627760016867</c:v>
                </c:pt>
                <c:pt idx="482">
                  <c:v>4.0566347213905187</c:v>
                </c:pt>
                <c:pt idx="483">
                  <c:v>4.8760667485759575</c:v>
                </c:pt>
                <c:pt idx="484">
                  <c:v>5.1049491871044372</c:v>
                </c:pt>
                <c:pt idx="485">
                  <c:v>5.7092205972022043</c:v>
                </c:pt>
                <c:pt idx="486">
                  <c:v>4.9594590522043731</c:v>
                </c:pt>
                <c:pt idx="487">
                  <c:v>4.9845482241049632</c:v>
                </c:pt>
                <c:pt idx="488">
                  <c:v>6.0150473616108071</c:v>
                </c:pt>
                <c:pt idx="489">
                  <c:v>4.174348773748056</c:v>
                </c:pt>
                <c:pt idx="490">
                  <c:v>6.9914659195835176</c:v>
                </c:pt>
                <c:pt idx="491">
                  <c:v>5.9400590151004051</c:v>
                </c:pt>
                <c:pt idx="492">
                  <c:v>4.9900032418761509</c:v>
                </c:pt>
                <c:pt idx="493">
                  <c:v>5.9498861002395707</c:v>
                </c:pt>
                <c:pt idx="494">
                  <c:v>4.8429191507405829</c:v>
                </c:pt>
                <c:pt idx="495">
                  <c:v>6.010832665229441</c:v>
                </c:pt>
                <c:pt idx="496">
                  <c:v>5.0234638782179513</c:v>
                </c:pt>
                <c:pt idx="497">
                  <c:v>5.9791631416215747</c:v>
                </c:pt>
                <c:pt idx="498">
                  <c:v>5.8490511271560894</c:v>
                </c:pt>
                <c:pt idx="499">
                  <c:v>4.8819831735620518</c:v>
                </c:pt>
                <c:pt idx="500">
                  <c:v>5.99716102455087</c:v>
                </c:pt>
                <c:pt idx="501">
                  <c:v>4.9830454288073369</c:v>
                </c:pt>
                <c:pt idx="502">
                  <c:v>4.9558829228165244</c:v>
                </c:pt>
                <c:pt idx="503">
                  <c:v>6.0557071127145399</c:v>
                </c:pt>
                <c:pt idx="504">
                  <c:v>6.0418878242014182</c:v>
                </c:pt>
                <c:pt idx="505">
                  <c:v>4.9783429164453548</c:v>
                </c:pt>
                <c:pt idx="506">
                  <c:v>5.8539470259696778</c:v>
                </c:pt>
                <c:pt idx="507">
                  <c:v>5.9516471558783577</c:v>
                </c:pt>
                <c:pt idx="508">
                  <c:v>5.9596734318073983</c:v>
                </c:pt>
                <c:pt idx="509">
                  <c:v>4.9641565685302149</c:v>
                </c:pt>
                <c:pt idx="510">
                  <c:v>6.9370217508740888</c:v>
                </c:pt>
                <c:pt idx="511">
                  <c:v>4.9280293121360668</c:v>
                </c:pt>
                <c:pt idx="512">
                  <c:v>4.9972366971669961</c:v>
                </c:pt>
                <c:pt idx="513">
                  <c:v>4.9268457886269648</c:v>
                </c:pt>
                <c:pt idx="514">
                  <c:v>5.9818627829398769</c:v>
                </c:pt>
                <c:pt idx="515">
                  <c:v>5.8209843973272148</c:v>
                </c:pt>
                <c:pt idx="516">
                  <c:v>5.9691501049851512</c:v>
                </c:pt>
                <c:pt idx="517">
                  <c:v>5.864935341405797</c:v>
                </c:pt>
                <c:pt idx="518">
                  <c:v>4.9843645371099674</c:v>
                </c:pt>
                <c:pt idx="519">
                  <c:v>4.09479677216813</c:v>
                </c:pt>
                <c:pt idx="520">
                  <c:v>6.1147883997539214</c:v>
                </c:pt>
                <c:pt idx="521">
                  <c:v>6.1117924724012855</c:v>
                </c:pt>
                <c:pt idx="522">
                  <c:v>5.1571815579707181</c:v>
                </c:pt>
                <c:pt idx="523">
                  <c:v>6.0620587845262177</c:v>
                </c:pt>
                <c:pt idx="524">
                  <c:v>4.9390376884006697</c:v>
                </c:pt>
                <c:pt idx="525">
                  <c:v>6.0779986422861629</c:v>
                </c:pt>
                <c:pt idx="526">
                  <c:v>6.0761853083399675</c:v>
                </c:pt>
                <c:pt idx="527">
                  <c:v>5.836437396181795</c:v>
                </c:pt>
                <c:pt idx="528">
                  <c:v>5.089248381933249</c:v>
                </c:pt>
                <c:pt idx="529">
                  <c:v>4.8920484673590945</c:v>
                </c:pt>
                <c:pt idx="530">
                  <c:v>5.0069960578263428</c:v>
                </c:pt>
                <c:pt idx="531">
                  <c:v>5.0705690019953193</c:v>
                </c:pt>
                <c:pt idx="532">
                  <c:v>5.9311126295820946</c:v>
                </c:pt>
                <c:pt idx="533">
                  <c:v>6.1071057909256607</c:v>
                </c:pt>
                <c:pt idx="534">
                  <c:v>7.1907957106306268</c:v>
                </c:pt>
                <c:pt idx="535">
                  <c:v>5.967270109776976</c:v>
                </c:pt>
                <c:pt idx="536">
                  <c:v>6.8813375871100027</c:v>
                </c:pt>
                <c:pt idx="537">
                  <c:v>6.1119370594381772</c:v>
                </c:pt>
                <c:pt idx="538">
                  <c:v>4.9812148007211556</c:v>
                </c:pt>
                <c:pt idx="539">
                  <c:v>4.9429126646839352</c:v>
                </c:pt>
                <c:pt idx="540">
                  <c:v>4.9320082423108946</c:v>
                </c:pt>
                <c:pt idx="541">
                  <c:v>6.0601631704968622</c:v>
                </c:pt>
                <c:pt idx="542">
                  <c:v>6.0556232472663432</c:v>
                </c:pt>
                <c:pt idx="543">
                  <c:v>5.1511358126799012</c:v>
                </c:pt>
                <c:pt idx="544">
                  <c:v>6.1293449254959667</c:v>
                </c:pt>
                <c:pt idx="545">
                  <c:v>4.9243692058923338</c:v>
                </c:pt>
                <c:pt idx="546">
                  <c:v>6.1027027544233379</c:v>
                </c:pt>
                <c:pt idx="547">
                  <c:v>6.0018490055461706</c:v>
                </c:pt>
                <c:pt idx="548">
                  <c:v>5.9663473222944203</c:v>
                </c:pt>
                <c:pt idx="549">
                  <c:v>6.1427213087020904</c:v>
                </c:pt>
                <c:pt idx="550">
                  <c:v>5.0047458646239464</c:v>
                </c:pt>
                <c:pt idx="551">
                  <c:v>5.8326016540467611</c:v>
                </c:pt>
                <c:pt idx="552">
                  <c:v>5.0193388266842085</c:v>
                </c:pt>
                <c:pt idx="553">
                  <c:v>6.0663035500825657</c:v>
                </c:pt>
                <c:pt idx="554">
                  <c:v>7.0357569489189942</c:v>
                </c:pt>
                <c:pt idx="555">
                  <c:v>5.9285337621616705</c:v>
                </c:pt>
                <c:pt idx="556">
                  <c:v>4.1234153126108888</c:v>
                </c:pt>
                <c:pt idx="557">
                  <c:v>5.8927965560181841</c:v>
                </c:pt>
                <c:pt idx="558">
                  <c:v>4.9718655718117288</c:v>
                </c:pt>
                <c:pt idx="559">
                  <c:v>7.1178711692216599</c:v>
                </c:pt>
                <c:pt idx="560">
                  <c:v>5.92141689027462</c:v>
                </c:pt>
                <c:pt idx="561">
                  <c:v>6.9773375268472062</c:v>
                </c:pt>
                <c:pt idx="562">
                  <c:v>7.0036115778822632</c:v>
                </c:pt>
                <c:pt idx="563">
                  <c:v>6.0197897211962292</c:v>
                </c:pt>
                <c:pt idx="564">
                  <c:v>6.1235295898718629</c:v>
                </c:pt>
                <c:pt idx="565">
                  <c:v>5.0927209876131938</c:v>
                </c:pt>
                <c:pt idx="566">
                  <c:v>5.1281030787682367</c:v>
                </c:pt>
                <c:pt idx="567">
                  <c:v>6.8730891328019066</c:v>
                </c:pt>
                <c:pt idx="568">
                  <c:v>5.9686392646104345</c:v>
                </c:pt>
                <c:pt idx="569">
                  <c:v>4.971714375725556</c:v>
                </c:pt>
                <c:pt idx="570">
                  <c:v>5.8854602361295667</c:v>
                </c:pt>
                <c:pt idx="571">
                  <c:v>7.0398045222047756</c:v>
                </c:pt>
                <c:pt idx="572">
                  <c:v>5.9335411534803546</c:v>
                </c:pt>
                <c:pt idx="573">
                  <c:v>6.0035084357344166</c:v>
                </c:pt>
                <c:pt idx="574">
                  <c:v>7.1612744563814932</c:v>
                </c:pt>
                <c:pt idx="575">
                  <c:v>5.9452007217816636</c:v>
                </c:pt>
                <c:pt idx="576">
                  <c:v>7.055492723278312</c:v>
                </c:pt>
                <c:pt idx="577">
                  <c:v>5.8867145007453718</c:v>
                </c:pt>
                <c:pt idx="578">
                  <c:v>6.980548029110988</c:v>
                </c:pt>
                <c:pt idx="579">
                  <c:v>5.8752362394512714</c:v>
                </c:pt>
                <c:pt idx="580">
                  <c:v>5.8603638362785668</c:v>
                </c:pt>
                <c:pt idx="581">
                  <c:v>5.8677916975003814</c:v>
                </c:pt>
                <c:pt idx="582">
                  <c:v>5.9861379334826763</c:v>
                </c:pt>
                <c:pt idx="583">
                  <c:v>7.0565611747645836</c:v>
                </c:pt>
                <c:pt idx="584">
                  <c:v>5.8768930731023001</c:v>
                </c:pt>
                <c:pt idx="585">
                  <c:v>7.0621236672951646</c:v>
                </c:pt>
                <c:pt idx="586">
                  <c:v>5.089166866244045</c:v>
                </c:pt>
                <c:pt idx="587">
                  <c:v>5.9636188153419383</c:v>
                </c:pt>
                <c:pt idx="588">
                  <c:v>4.8648246674029867</c:v>
                </c:pt>
                <c:pt idx="589">
                  <c:v>6.0143599725321515</c:v>
                </c:pt>
                <c:pt idx="590">
                  <c:v>4.8998527678363448</c:v>
                </c:pt>
                <c:pt idx="591">
                  <c:v>6.8797959050947535</c:v>
                </c:pt>
                <c:pt idx="592">
                  <c:v>5.029047616128377</c:v>
                </c:pt>
                <c:pt idx="593">
                  <c:v>7.0347699581971446</c:v>
                </c:pt>
                <c:pt idx="594">
                  <c:v>4.8291517897494671</c:v>
                </c:pt>
                <c:pt idx="595">
                  <c:v>4.031403780656226</c:v>
                </c:pt>
                <c:pt idx="596">
                  <c:v>6.1269427418719715</c:v>
                </c:pt>
                <c:pt idx="597">
                  <c:v>4.9142345699245169</c:v>
                </c:pt>
                <c:pt idx="598">
                  <c:v>6.1943912085750386</c:v>
                </c:pt>
                <c:pt idx="599">
                  <c:v>6.7639804192699682</c:v>
                </c:pt>
                <c:pt idx="600">
                  <c:v>5.7436495356945851</c:v>
                </c:pt>
                <c:pt idx="601">
                  <c:v>5.9006472239152803</c:v>
                </c:pt>
                <c:pt idx="602">
                  <c:v>6.8903700477329828</c:v>
                </c:pt>
                <c:pt idx="603">
                  <c:v>5.9847035858058328</c:v>
                </c:pt>
                <c:pt idx="604">
                  <c:v>6.1014073460012321</c:v>
                </c:pt>
                <c:pt idx="605">
                  <c:v>6.9476119244658614</c:v>
                </c:pt>
                <c:pt idx="606">
                  <c:v>5.9183023279340778</c:v>
                </c:pt>
                <c:pt idx="607">
                  <c:v>6.9949621686481036</c:v>
                </c:pt>
                <c:pt idx="608">
                  <c:v>4.8182265516766343</c:v>
                </c:pt>
                <c:pt idx="609">
                  <c:v>6.0707340111036299</c:v>
                </c:pt>
                <c:pt idx="610">
                  <c:v>5.0141668880829009</c:v>
                </c:pt>
                <c:pt idx="611">
                  <c:v>6.0134030899012973</c:v>
                </c:pt>
                <c:pt idx="612">
                  <c:v>5.7998851498196577</c:v>
                </c:pt>
                <c:pt idx="613">
                  <c:v>5.9863590122170613</c:v>
                </c:pt>
                <c:pt idx="614">
                  <c:v>4.9356085556178781</c:v>
                </c:pt>
                <c:pt idx="615">
                  <c:v>4.8900164311956553</c:v>
                </c:pt>
                <c:pt idx="616">
                  <c:v>7.1121094455930685</c:v>
                </c:pt>
                <c:pt idx="617">
                  <c:v>4.8710757785302858</c:v>
                </c:pt>
                <c:pt idx="618">
                  <c:v>6.023599076821478</c:v>
                </c:pt>
                <c:pt idx="619">
                  <c:v>3.030097819577978</c:v>
                </c:pt>
                <c:pt idx="620">
                  <c:v>5.0438936748186922</c:v>
                </c:pt>
                <c:pt idx="621">
                  <c:v>4.8237993741904495</c:v>
                </c:pt>
                <c:pt idx="622">
                  <c:v>5.0269797190947543</c:v>
                </c:pt>
                <c:pt idx="623">
                  <c:v>6.0275580308425916</c:v>
                </c:pt>
                <c:pt idx="624">
                  <c:v>7.1054191459963194</c:v>
                </c:pt>
                <c:pt idx="625">
                  <c:v>6.0152244191930873</c:v>
                </c:pt>
                <c:pt idx="626">
                  <c:v>6.0580160494681419</c:v>
                </c:pt>
                <c:pt idx="627">
                  <c:v>6.9082141625157547</c:v>
                </c:pt>
                <c:pt idx="628">
                  <c:v>5.0435697615513568</c:v>
                </c:pt>
                <c:pt idx="629">
                  <c:v>4.8827759191360167</c:v>
                </c:pt>
                <c:pt idx="630">
                  <c:v>4.9174590834182901</c:v>
                </c:pt>
                <c:pt idx="631">
                  <c:v>6.0576916913892918</c:v>
                </c:pt>
                <c:pt idx="632">
                  <c:v>5.8728421651923384</c:v>
                </c:pt>
                <c:pt idx="633">
                  <c:v>6.9778702641966337</c:v>
                </c:pt>
                <c:pt idx="634">
                  <c:v>5.9792270220913908</c:v>
                </c:pt>
                <c:pt idx="635">
                  <c:v>5.997971492755326</c:v>
                </c:pt>
                <c:pt idx="636">
                  <c:v>5.0679384448401565</c:v>
                </c:pt>
                <c:pt idx="637">
                  <c:v>6.9044002479461462</c:v>
                </c:pt>
                <c:pt idx="638">
                  <c:v>5.7691517499992608</c:v>
                </c:pt>
                <c:pt idx="639">
                  <c:v>7.096003893743382</c:v>
                </c:pt>
                <c:pt idx="640">
                  <c:v>4.9027893845836044</c:v>
                </c:pt>
                <c:pt idx="641">
                  <c:v>6.0980826625567834</c:v>
                </c:pt>
                <c:pt idx="642">
                  <c:v>5.9331690126096257</c:v>
                </c:pt>
                <c:pt idx="643">
                  <c:v>5.0583774211971164</c:v>
                </c:pt>
                <c:pt idx="644">
                  <c:v>5.9593419816854363</c:v>
                </c:pt>
                <c:pt idx="645">
                  <c:v>4.9867513000124042</c:v>
                </c:pt>
                <c:pt idx="646">
                  <c:v>6.0504145213085572</c:v>
                </c:pt>
                <c:pt idx="647">
                  <c:v>5.0125710764540754</c:v>
                </c:pt>
                <c:pt idx="648">
                  <c:v>6.0214535101464532</c:v>
                </c:pt>
                <c:pt idx="649">
                  <c:v>7.013959127165835</c:v>
                </c:pt>
                <c:pt idx="650">
                  <c:v>5.1181213579530249</c:v>
                </c:pt>
                <c:pt idx="651">
                  <c:v>5.8899754547095826</c:v>
                </c:pt>
                <c:pt idx="652">
                  <c:v>7.0677057228342699</c:v>
                </c:pt>
                <c:pt idx="653">
                  <c:v>5.0297295721735544</c:v>
                </c:pt>
                <c:pt idx="654">
                  <c:v>5.9521601889807512</c:v>
                </c:pt>
                <c:pt idx="655">
                  <c:v>5.8833212712352916</c:v>
                </c:pt>
                <c:pt idx="656">
                  <c:v>6.1239388457086781</c:v>
                </c:pt>
                <c:pt idx="657">
                  <c:v>5.8651524146257907</c:v>
                </c:pt>
                <c:pt idx="658">
                  <c:v>5.8538554542600352</c:v>
                </c:pt>
                <c:pt idx="659">
                  <c:v>5.9516342646591021</c:v>
                </c:pt>
                <c:pt idx="660">
                  <c:v>4.8607865505231613</c:v>
                </c:pt>
                <c:pt idx="661">
                  <c:v>7.0454579172298297</c:v>
                </c:pt>
                <c:pt idx="662">
                  <c:v>4.9037723259106434</c:v>
                </c:pt>
                <c:pt idx="663">
                  <c:v>5.9861973870843954</c:v>
                </c:pt>
                <c:pt idx="664">
                  <c:v>5.8659859631213065</c:v>
                </c:pt>
                <c:pt idx="665">
                  <c:v>7.1094859313012355</c:v>
                </c:pt>
                <c:pt idx="666">
                  <c:v>6.0834839658043203</c:v>
                </c:pt>
                <c:pt idx="667">
                  <c:v>6.012323560754127</c:v>
                </c:pt>
                <c:pt idx="668">
                  <c:v>6.0103491501487598</c:v>
                </c:pt>
                <c:pt idx="669">
                  <c:v>4.8930707977688952</c:v>
                </c:pt>
                <c:pt idx="670">
                  <c:v>6.0846969200908889</c:v>
                </c:pt>
                <c:pt idx="671">
                  <c:v>6.0475143532445577</c:v>
                </c:pt>
                <c:pt idx="672">
                  <c:v>4.0327839027679211</c:v>
                </c:pt>
                <c:pt idx="673">
                  <c:v>4.9152307621705917</c:v>
                </c:pt>
                <c:pt idx="674">
                  <c:v>6.1517742633524408</c:v>
                </c:pt>
                <c:pt idx="675">
                  <c:v>5.789051433536323</c:v>
                </c:pt>
                <c:pt idx="676">
                  <c:v>5.9784793280406721</c:v>
                </c:pt>
                <c:pt idx="677">
                  <c:v>4.9556223170404055</c:v>
                </c:pt>
                <c:pt idx="678">
                  <c:v>4.979502177483476</c:v>
                </c:pt>
                <c:pt idx="679">
                  <c:v>5.7842397610883216</c:v>
                </c:pt>
                <c:pt idx="680">
                  <c:v>5.077071400108883</c:v>
                </c:pt>
                <c:pt idx="681">
                  <c:v>4.852694990757815</c:v>
                </c:pt>
                <c:pt idx="682">
                  <c:v>6.1605018138623064</c:v>
                </c:pt>
                <c:pt idx="683">
                  <c:v>4.9516845940075589</c:v>
                </c:pt>
                <c:pt idx="684">
                  <c:v>5.8998864420676229</c:v>
                </c:pt>
                <c:pt idx="685">
                  <c:v>6.9503215079455209</c:v>
                </c:pt>
                <c:pt idx="686">
                  <c:v>7.0085356648546933</c:v>
                </c:pt>
                <c:pt idx="687">
                  <c:v>3.9778997973554486</c:v>
                </c:pt>
                <c:pt idx="688">
                  <c:v>4.8399531395618522</c:v>
                </c:pt>
                <c:pt idx="689">
                  <c:v>6.16960366363051</c:v>
                </c:pt>
                <c:pt idx="690">
                  <c:v>5.9020755639961333</c:v>
                </c:pt>
                <c:pt idx="691">
                  <c:v>5.985567106456573</c:v>
                </c:pt>
                <c:pt idx="692">
                  <c:v>5.240237020499106</c:v>
                </c:pt>
                <c:pt idx="693">
                  <c:v>6.1141759877248854</c:v>
                </c:pt>
                <c:pt idx="694">
                  <c:v>5.9548714025466847</c:v>
                </c:pt>
                <c:pt idx="695">
                  <c:v>5.2447775159633645</c:v>
                </c:pt>
                <c:pt idx="696">
                  <c:v>5.8271842296203431</c:v>
                </c:pt>
                <c:pt idx="697">
                  <c:v>4.9248630477986426</c:v>
                </c:pt>
                <c:pt idx="698">
                  <c:v>5.7138960203288987</c:v>
                </c:pt>
                <c:pt idx="699">
                  <c:v>6.062984410203522</c:v>
                </c:pt>
                <c:pt idx="700">
                  <c:v>5.071695813188084</c:v>
                </c:pt>
                <c:pt idx="701">
                  <c:v>5.0393378175552161</c:v>
                </c:pt>
                <c:pt idx="702">
                  <c:v>5.8839010460873507</c:v>
                </c:pt>
                <c:pt idx="703">
                  <c:v>4.9160592059606332</c:v>
                </c:pt>
                <c:pt idx="704">
                  <c:v>7.001859122520858</c:v>
                </c:pt>
                <c:pt idx="705">
                  <c:v>5.9583545022985716</c:v>
                </c:pt>
                <c:pt idx="706">
                  <c:v>5.9485476612870398</c:v>
                </c:pt>
                <c:pt idx="707">
                  <c:v>5.7671051006638931</c:v>
                </c:pt>
                <c:pt idx="708">
                  <c:v>4.1087069779647249</c:v>
                </c:pt>
                <c:pt idx="709">
                  <c:v>5.8203750980134012</c:v>
                </c:pt>
                <c:pt idx="710">
                  <c:v>5.9367377825053653</c:v>
                </c:pt>
                <c:pt idx="711">
                  <c:v>5.9574234285617624</c:v>
                </c:pt>
                <c:pt idx="712">
                  <c:v>4.8816364909532748</c:v>
                </c:pt>
                <c:pt idx="713">
                  <c:v>4.966545764200375</c:v>
                </c:pt>
                <c:pt idx="714">
                  <c:v>7.0494294721736388</c:v>
                </c:pt>
                <c:pt idx="715">
                  <c:v>5.997431175120207</c:v>
                </c:pt>
                <c:pt idx="716">
                  <c:v>6.1705777825956272</c:v>
                </c:pt>
                <c:pt idx="717">
                  <c:v>7.0527832885124928</c:v>
                </c:pt>
                <c:pt idx="718">
                  <c:v>4.9335782430709729</c:v>
                </c:pt>
                <c:pt idx="719">
                  <c:v>5.9674931496114079</c:v>
                </c:pt>
                <c:pt idx="720">
                  <c:v>5.1360164023790382</c:v>
                </c:pt>
                <c:pt idx="721">
                  <c:v>5.0405618615207493</c:v>
                </c:pt>
                <c:pt idx="722">
                  <c:v>6.1827801898479207</c:v>
                </c:pt>
                <c:pt idx="723">
                  <c:v>5.0406365618325184</c:v>
                </c:pt>
                <c:pt idx="724">
                  <c:v>5.8609124534205419</c:v>
                </c:pt>
                <c:pt idx="725">
                  <c:v>5.9130838098849345</c:v>
                </c:pt>
                <c:pt idx="726">
                  <c:v>5.0553302493755554</c:v>
                </c:pt>
                <c:pt idx="727">
                  <c:v>6.015942493556719</c:v>
                </c:pt>
                <c:pt idx="728">
                  <c:v>5.0513696387559595</c:v>
                </c:pt>
                <c:pt idx="729">
                  <c:v>7.1277211120771549</c:v>
                </c:pt>
                <c:pt idx="730">
                  <c:v>7.1348879575039135</c:v>
                </c:pt>
                <c:pt idx="731">
                  <c:v>7.0458042552761073</c:v>
                </c:pt>
                <c:pt idx="732">
                  <c:v>6.046245962920473</c:v>
                </c:pt>
                <c:pt idx="733">
                  <c:v>3.8544608910195532</c:v>
                </c:pt>
                <c:pt idx="734">
                  <c:v>7.1207531400216855</c:v>
                </c:pt>
                <c:pt idx="735">
                  <c:v>7.0614368142566812</c:v>
                </c:pt>
                <c:pt idx="736">
                  <c:v>5.9369369946447179</c:v>
                </c:pt>
                <c:pt idx="737">
                  <c:v>4.9066319239341363</c:v>
                </c:pt>
                <c:pt idx="738">
                  <c:v>5.1040302234343242</c:v>
                </c:pt>
                <c:pt idx="739">
                  <c:v>6.1776592527352356</c:v>
                </c:pt>
                <c:pt idx="740">
                  <c:v>7.0776761252081224</c:v>
                </c:pt>
                <c:pt idx="741">
                  <c:v>4.9735445587587606</c:v>
                </c:pt>
                <c:pt idx="742">
                  <c:v>3.9638340558752256</c:v>
                </c:pt>
                <c:pt idx="743">
                  <c:v>4.0282277927915757</c:v>
                </c:pt>
                <c:pt idx="744">
                  <c:v>6.978967942546995</c:v>
                </c:pt>
                <c:pt idx="745">
                  <c:v>5.9287941896140728</c:v>
                </c:pt>
                <c:pt idx="746">
                  <c:v>3.9830338785105321</c:v>
                </c:pt>
                <c:pt idx="747">
                  <c:v>5.9372304509173057</c:v>
                </c:pt>
                <c:pt idx="748">
                  <c:v>6.0499601620319892</c:v>
                </c:pt>
                <c:pt idx="749">
                  <c:v>6.0287392345630169</c:v>
                </c:pt>
                <c:pt idx="750">
                  <c:v>3.9785380952296183</c:v>
                </c:pt>
                <c:pt idx="751">
                  <c:v>4.8558962662704142</c:v>
                </c:pt>
                <c:pt idx="752">
                  <c:v>5.8872295683394498</c:v>
                </c:pt>
                <c:pt idx="753">
                  <c:v>4.0286727066372725</c:v>
                </c:pt>
                <c:pt idx="754">
                  <c:v>6.1007255320643781</c:v>
                </c:pt>
                <c:pt idx="755">
                  <c:v>6.1142092748035726</c:v>
                </c:pt>
                <c:pt idx="756">
                  <c:v>6.7647031750322757</c:v>
                </c:pt>
                <c:pt idx="757">
                  <c:v>4.8579594584882555</c:v>
                </c:pt>
                <c:pt idx="758">
                  <c:v>6.9875093373978263</c:v>
                </c:pt>
                <c:pt idx="759">
                  <c:v>6.0348146587576332</c:v>
                </c:pt>
                <c:pt idx="760">
                  <c:v>7.0420993778991186</c:v>
                </c:pt>
                <c:pt idx="761">
                  <c:v>6.9875112787319225</c:v>
                </c:pt>
                <c:pt idx="762">
                  <c:v>6.1150124822105631</c:v>
                </c:pt>
                <c:pt idx="763">
                  <c:v>6.1124094299093414</c:v>
                </c:pt>
                <c:pt idx="764">
                  <c:v>5.1241850666039879</c:v>
                </c:pt>
                <c:pt idx="765">
                  <c:v>5.9969423478700232</c:v>
                </c:pt>
                <c:pt idx="766">
                  <c:v>4.0288689739788888</c:v>
                </c:pt>
                <c:pt idx="767">
                  <c:v>7.1657511020335001</c:v>
                </c:pt>
                <c:pt idx="768">
                  <c:v>6.0248594583677448</c:v>
                </c:pt>
                <c:pt idx="769">
                  <c:v>6.0620097518403826</c:v>
                </c:pt>
                <c:pt idx="770">
                  <c:v>6.0631564673239033</c:v>
                </c:pt>
                <c:pt idx="771">
                  <c:v>5.9602952854345395</c:v>
                </c:pt>
                <c:pt idx="772">
                  <c:v>6.022706270436017</c:v>
                </c:pt>
                <c:pt idx="773">
                  <c:v>7.1620687599989177</c:v>
                </c:pt>
                <c:pt idx="774">
                  <c:v>5.8756435383941801</c:v>
                </c:pt>
                <c:pt idx="775">
                  <c:v>4.9639742620202281</c:v>
                </c:pt>
                <c:pt idx="776">
                  <c:v>6.1838736033217536</c:v>
                </c:pt>
                <c:pt idx="777">
                  <c:v>5.9639107702160201</c:v>
                </c:pt>
                <c:pt idx="778">
                  <c:v>4.9368071688932904</c:v>
                </c:pt>
                <c:pt idx="779">
                  <c:v>5.0621748528312072</c:v>
                </c:pt>
                <c:pt idx="780">
                  <c:v>5.856551748277699</c:v>
                </c:pt>
                <c:pt idx="781">
                  <c:v>4.9505028481606432</c:v>
                </c:pt>
                <c:pt idx="782">
                  <c:v>5.8756016234608008</c:v>
                </c:pt>
                <c:pt idx="783">
                  <c:v>4.0509162802827658</c:v>
                </c:pt>
                <c:pt idx="784">
                  <c:v>5.0178427292095273</c:v>
                </c:pt>
                <c:pt idx="785">
                  <c:v>4.8952445371369961</c:v>
                </c:pt>
                <c:pt idx="786">
                  <c:v>4.8973502476456012</c:v>
                </c:pt>
                <c:pt idx="787">
                  <c:v>6.0263964982924492</c:v>
                </c:pt>
                <c:pt idx="788">
                  <c:v>4.8297668107338509</c:v>
                </c:pt>
                <c:pt idx="789">
                  <c:v>6.0141083970772442</c:v>
                </c:pt>
                <c:pt idx="790">
                  <c:v>4.0112816868375889</c:v>
                </c:pt>
                <c:pt idx="791">
                  <c:v>6.0379931744781041</c:v>
                </c:pt>
                <c:pt idx="792">
                  <c:v>4.9770591439736682</c:v>
                </c:pt>
                <c:pt idx="793">
                  <c:v>6.0007836547433433</c:v>
                </c:pt>
                <c:pt idx="794">
                  <c:v>5.9813766968460298</c:v>
                </c:pt>
                <c:pt idx="795">
                  <c:v>6.1089928407146417</c:v>
                </c:pt>
                <c:pt idx="796">
                  <c:v>6.122121980080216</c:v>
                </c:pt>
                <c:pt idx="797">
                  <c:v>4.1055534308908053</c:v>
                </c:pt>
                <c:pt idx="798">
                  <c:v>6.0349238720149927</c:v>
                </c:pt>
                <c:pt idx="799">
                  <c:v>4.9973939743865516</c:v>
                </c:pt>
                <c:pt idx="800">
                  <c:v>5.1067164232216999</c:v>
                </c:pt>
                <c:pt idx="801">
                  <c:v>6.1934782714673293</c:v>
                </c:pt>
                <c:pt idx="802">
                  <c:v>6.006057224487952</c:v>
                </c:pt>
                <c:pt idx="803">
                  <c:v>6.8252063077723424</c:v>
                </c:pt>
                <c:pt idx="804">
                  <c:v>6.0643699451897941</c:v>
                </c:pt>
                <c:pt idx="805">
                  <c:v>6.043804330140671</c:v>
                </c:pt>
                <c:pt idx="806">
                  <c:v>5.116290615961133</c:v>
                </c:pt>
                <c:pt idx="807">
                  <c:v>5.9150392433899839</c:v>
                </c:pt>
                <c:pt idx="808">
                  <c:v>5.1623743612193653</c:v>
                </c:pt>
                <c:pt idx="809">
                  <c:v>5.1306127339122742</c:v>
                </c:pt>
                <c:pt idx="810">
                  <c:v>5.0023875144900858</c:v>
                </c:pt>
                <c:pt idx="811">
                  <c:v>6.0000242496083205</c:v>
                </c:pt>
                <c:pt idx="812">
                  <c:v>3.7911259443148637</c:v>
                </c:pt>
                <c:pt idx="813">
                  <c:v>6.1140787335836873</c:v>
                </c:pt>
                <c:pt idx="814">
                  <c:v>5.0190798336904745</c:v>
                </c:pt>
                <c:pt idx="815">
                  <c:v>6.0280939314997095</c:v>
                </c:pt>
                <c:pt idx="816">
                  <c:v>7.1194130032016325</c:v>
                </c:pt>
                <c:pt idx="817">
                  <c:v>6.068858140036915</c:v>
                </c:pt>
                <c:pt idx="818">
                  <c:v>6.9848586749113659</c:v>
                </c:pt>
                <c:pt idx="819">
                  <c:v>6.1318449598935976</c:v>
                </c:pt>
                <c:pt idx="820">
                  <c:v>5.0177554448607999</c:v>
                </c:pt>
                <c:pt idx="821">
                  <c:v>5.005417260514502</c:v>
                </c:pt>
                <c:pt idx="822">
                  <c:v>6.1003114967705532</c:v>
                </c:pt>
                <c:pt idx="823">
                  <c:v>6.0207621682761232</c:v>
                </c:pt>
                <c:pt idx="824">
                  <c:v>5.9971871915989308</c:v>
                </c:pt>
                <c:pt idx="825">
                  <c:v>6.0593277441675006</c:v>
                </c:pt>
                <c:pt idx="826">
                  <c:v>5.0494401026641951</c:v>
                </c:pt>
                <c:pt idx="827">
                  <c:v>5.9066200881038089</c:v>
                </c:pt>
                <c:pt idx="828">
                  <c:v>6.0512585448868128</c:v>
                </c:pt>
                <c:pt idx="829">
                  <c:v>6.0614691645466703</c:v>
                </c:pt>
                <c:pt idx="830">
                  <c:v>5.0018436561632678</c:v>
                </c:pt>
                <c:pt idx="831">
                  <c:v>7.1135294376657425</c:v>
                </c:pt>
                <c:pt idx="832">
                  <c:v>5.0589578424734363</c:v>
                </c:pt>
                <c:pt idx="833">
                  <c:v>5.1023055811659974</c:v>
                </c:pt>
                <c:pt idx="834">
                  <c:v>5.0237768638580169</c:v>
                </c:pt>
                <c:pt idx="835">
                  <c:v>5.0701649328321849</c:v>
                </c:pt>
                <c:pt idx="836">
                  <c:v>6.0126540138380058</c:v>
                </c:pt>
                <c:pt idx="837">
                  <c:v>7.0630501682634481</c:v>
                </c:pt>
                <c:pt idx="838">
                  <c:v>4.9567667568314393</c:v>
                </c:pt>
                <c:pt idx="839">
                  <c:v>4.9640115256924764</c:v>
                </c:pt>
                <c:pt idx="840">
                  <c:v>5.0414799214725585</c:v>
                </c:pt>
                <c:pt idx="841">
                  <c:v>4.8477445209853309</c:v>
                </c:pt>
                <c:pt idx="842">
                  <c:v>5.1204633024957893</c:v>
                </c:pt>
                <c:pt idx="843">
                  <c:v>4.9043029658105182</c:v>
                </c:pt>
                <c:pt idx="844">
                  <c:v>5.0210310522825052</c:v>
                </c:pt>
                <c:pt idx="845">
                  <c:v>4.0134933752688369</c:v>
                </c:pt>
                <c:pt idx="846">
                  <c:v>5.9650133408702271</c:v>
                </c:pt>
                <c:pt idx="847">
                  <c:v>5.9473834304652478</c:v>
                </c:pt>
                <c:pt idx="848">
                  <c:v>6.9080573491115524</c:v>
                </c:pt>
                <c:pt idx="849">
                  <c:v>4.964684548303544</c:v>
                </c:pt>
                <c:pt idx="850">
                  <c:v>4.0003085600062898</c:v>
                </c:pt>
                <c:pt idx="851">
                  <c:v>6.1365548992331327</c:v>
                </c:pt>
                <c:pt idx="852">
                  <c:v>5.9173810314860118</c:v>
                </c:pt>
                <c:pt idx="853">
                  <c:v>6.0059492824562994</c:v>
                </c:pt>
                <c:pt idx="854">
                  <c:v>6.0967667345234391</c:v>
                </c:pt>
                <c:pt idx="855">
                  <c:v>6.0779837494195537</c:v>
                </c:pt>
                <c:pt idx="856">
                  <c:v>5.0498823639165868</c:v>
                </c:pt>
                <c:pt idx="857">
                  <c:v>3.9670239660117046</c:v>
                </c:pt>
                <c:pt idx="858">
                  <c:v>4.9188677274937422</c:v>
                </c:pt>
                <c:pt idx="859">
                  <c:v>5.9754812553843504</c:v>
                </c:pt>
                <c:pt idx="860">
                  <c:v>5.2847792141901859</c:v>
                </c:pt>
                <c:pt idx="861">
                  <c:v>5.8712158286888041</c:v>
                </c:pt>
                <c:pt idx="862">
                  <c:v>6.0301776063826606</c:v>
                </c:pt>
                <c:pt idx="863">
                  <c:v>4.8600828078083245</c:v>
                </c:pt>
                <c:pt idx="864">
                  <c:v>6.0030917777830952</c:v>
                </c:pt>
                <c:pt idx="865">
                  <c:v>6.0585358897557144</c:v>
                </c:pt>
                <c:pt idx="866">
                  <c:v>6.0553802398676622</c:v>
                </c:pt>
                <c:pt idx="867">
                  <c:v>6.9486274246651636</c:v>
                </c:pt>
                <c:pt idx="868">
                  <c:v>5.0723803958118152</c:v>
                </c:pt>
                <c:pt idx="869">
                  <c:v>3.8382710890088449</c:v>
                </c:pt>
                <c:pt idx="870">
                  <c:v>5.9516736415968037</c:v>
                </c:pt>
                <c:pt idx="871">
                  <c:v>5.9050895065832449</c:v>
                </c:pt>
                <c:pt idx="872">
                  <c:v>7.0277092355540942</c:v>
                </c:pt>
                <c:pt idx="873">
                  <c:v>6.1219900202880373</c:v>
                </c:pt>
                <c:pt idx="874">
                  <c:v>6.9758359612121961</c:v>
                </c:pt>
                <c:pt idx="875">
                  <c:v>6.1207044627386988</c:v>
                </c:pt>
                <c:pt idx="876">
                  <c:v>6.1228377691718059</c:v>
                </c:pt>
                <c:pt idx="877">
                  <c:v>6.0578642215836851</c:v>
                </c:pt>
                <c:pt idx="878">
                  <c:v>4.844428767952019</c:v>
                </c:pt>
                <c:pt idx="879">
                  <c:v>6.9535215737507841</c:v>
                </c:pt>
                <c:pt idx="880">
                  <c:v>5.8793146336187467</c:v>
                </c:pt>
                <c:pt idx="881">
                  <c:v>6.1475129872445873</c:v>
                </c:pt>
                <c:pt idx="882">
                  <c:v>6.0948848599190208</c:v>
                </c:pt>
                <c:pt idx="883">
                  <c:v>6.0572501991170133</c:v>
                </c:pt>
                <c:pt idx="884">
                  <c:v>5.9295454518542305</c:v>
                </c:pt>
                <c:pt idx="885">
                  <c:v>7.1386272851174475</c:v>
                </c:pt>
                <c:pt idx="886">
                  <c:v>5.9000831533647382</c:v>
                </c:pt>
                <c:pt idx="887">
                  <c:v>6.1030878441115597</c:v>
                </c:pt>
                <c:pt idx="888">
                  <c:v>6.1534991448845968</c:v>
                </c:pt>
                <c:pt idx="889">
                  <c:v>4.9525350316955956</c:v>
                </c:pt>
                <c:pt idx="890">
                  <c:v>4.0460458038214098</c:v>
                </c:pt>
                <c:pt idx="891">
                  <c:v>4.978883531507444</c:v>
                </c:pt>
                <c:pt idx="892">
                  <c:v>4.8946780322056389</c:v>
                </c:pt>
                <c:pt idx="893">
                  <c:v>6.0859875182900653</c:v>
                </c:pt>
                <c:pt idx="894">
                  <c:v>4.071537229956494</c:v>
                </c:pt>
                <c:pt idx="895">
                  <c:v>5.0762892116051761</c:v>
                </c:pt>
                <c:pt idx="896">
                  <c:v>4.9652310584216712</c:v>
                </c:pt>
                <c:pt idx="897">
                  <c:v>6.959391390476414</c:v>
                </c:pt>
                <c:pt idx="898">
                  <c:v>6.09071639422221</c:v>
                </c:pt>
                <c:pt idx="899">
                  <c:v>6.0470404938803224</c:v>
                </c:pt>
                <c:pt idx="900">
                  <c:v>7.0601493640390673</c:v>
                </c:pt>
                <c:pt idx="901">
                  <c:v>6.1641700429508361</c:v>
                </c:pt>
                <c:pt idx="902">
                  <c:v>7.1149391367029571</c:v>
                </c:pt>
                <c:pt idx="903">
                  <c:v>4.8354568202326949</c:v>
                </c:pt>
                <c:pt idx="904">
                  <c:v>4.9854366724571113</c:v>
                </c:pt>
                <c:pt idx="905">
                  <c:v>6.0306160859396494</c:v>
                </c:pt>
                <c:pt idx="906">
                  <c:v>5.8142483484516987</c:v>
                </c:pt>
                <c:pt idx="907">
                  <c:v>6.0442836243940237</c:v>
                </c:pt>
                <c:pt idx="908">
                  <c:v>4.6804394592949006</c:v>
                </c:pt>
                <c:pt idx="909">
                  <c:v>5.863265140007738</c:v>
                </c:pt>
                <c:pt idx="910">
                  <c:v>4.8624745337823629</c:v>
                </c:pt>
                <c:pt idx="911">
                  <c:v>4.9438793167837964</c:v>
                </c:pt>
                <c:pt idx="912">
                  <c:v>5.7433109205260191</c:v>
                </c:pt>
                <c:pt idx="913">
                  <c:v>6.1871972408344833</c:v>
                </c:pt>
                <c:pt idx="914">
                  <c:v>4.9824725284955491</c:v>
                </c:pt>
                <c:pt idx="915">
                  <c:v>6.2691389178725165</c:v>
                </c:pt>
                <c:pt idx="916">
                  <c:v>5.0204197926301886</c:v>
                </c:pt>
                <c:pt idx="917">
                  <c:v>5.00337170300197</c:v>
                </c:pt>
                <c:pt idx="918">
                  <c:v>5.0079438060825865</c:v>
                </c:pt>
                <c:pt idx="919">
                  <c:v>5.6966615132923168</c:v>
                </c:pt>
                <c:pt idx="920">
                  <c:v>6.1076127106342115</c:v>
                </c:pt>
                <c:pt idx="921">
                  <c:v>7.0739069323434629</c:v>
                </c:pt>
                <c:pt idx="922">
                  <c:v>5.0312090146245625</c:v>
                </c:pt>
                <c:pt idx="923">
                  <c:v>4.7094172847978832</c:v>
                </c:pt>
                <c:pt idx="924">
                  <c:v>6.7958250194545382</c:v>
                </c:pt>
                <c:pt idx="925">
                  <c:v>6.990700684606252</c:v>
                </c:pt>
                <c:pt idx="926">
                  <c:v>6.970441882034244</c:v>
                </c:pt>
                <c:pt idx="927">
                  <c:v>6.0299929431429211</c:v>
                </c:pt>
                <c:pt idx="928">
                  <c:v>6.312741385739864</c:v>
                </c:pt>
                <c:pt idx="929">
                  <c:v>6.053224781560635</c:v>
                </c:pt>
                <c:pt idx="930">
                  <c:v>5.174974989632152</c:v>
                </c:pt>
                <c:pt idx="931">
                  <c:v>5.1747556327084725</c:v>
                </c:pt>
                <c:pt idx="932">
                  <c:v>5.0801015988579152</c:v>
                </c:pt>
                <c:pt idx="933">
                  <c:v>5.7619396679183419</c:v>
                </c:pt>
                <c:pt idx="934">
                  <c:v>5.9213350058212937</c:v>
                </c:pt>
                <c:pt idx="935">
                  <c:v>6.0514727486381394</c:v>
                </c:pt>
                <c:pt idx="936">
                  <c:v>5.0174263034462028</c:v>
                </c:pt>
                <c:pt idx="937">
                  <c:v>5.9095902500144684</c:v>
                </c:pt>
                <c:pt idx="938">
                  <c:v>7.017391779112593</c:v>
                </c:pt>
                <c:pt idx="939">
                  <c:v>5.0872515108566176</c:v>
                </c:pt>
                <c:pt idx="940">
                  <c:v>5.9071605665773559</c:v>
                </c:pt>
                <c:pt idx="941">
                  <c:v>5.1005728985179317</c:v>
                </c:pt>
                <c:pt idx="942">
                  <c:v>4.8685566156969546</c:v>
                </c:pt>
                <c:pt idx="943">
                  <c:v>6.156165719566113</c:v>
                </c:pt>
                <c:pt idx="944">
                  <c:v>5.8647693934870828</c:v>
                </c:pt>
                <c:pt idx="945">
                  <c:v>5.9843310335340147</c:v>
                </c:pt>
                <c:pt idx="946">
                  <c:v>7.0155951698143131</c:v>
                </c:pt>
                <c:pt idx="947">
                  <c:v>6.1119619242546346</c:v>
                </c:pt>
                <c:pt idx="948">
                  <c:v>5.9713134176075293</c:v>
                </c:pt>
                <c:pt idx="949">
                  <c:v>5.1921044650501988</c:v>
                </c:pt>
                <c:pt idx="950">
                  <c:v>4.9517360047542516</c:v>
                </c:pt>
                <c:pt idx="951">
                  <c:v>4.8640810556490699</c:v>
                </c:pt>
                <c:pt idx="952">
                  <c:v>4.9567643580437837</c:v>
                </c:pt>
                <c:pt idx="953">
                  <c:v>5.8654044329838504</c:v>
                </c:pt>
                <c:pt idx="954">
                  <c:v>4.988333021295885</c:v>
                </c:pt>
                <c:pt idx="955">
                  <c:v>6.037842134619325</c:v>
                </c:pt>
                <c:pt idx="956">
                  <c:v>4.9807179799714874</c:v>
                </c:pt>
                <c:pt idx="957">
                  <c:v>6.1216887893635166</c:v>
                </c:pt>
                <c:pt idx="958">
                  <c:v>4.920965192217726</c:v>
                </c:pt>
                <c:pt idx="959">
                  <c:v>5.8224171278872481</c:v>
                </c:pt>
                <c:pt idx="960">
                  <c:v>7.1666342108251042</c:v>
                </c:pt>
                <c:pt idx="961">
                  <c:v>6.8545225042416424</c:v>
                </c:pt>
                <c:pt idx="962">
                  <c:v>5.9519490479133728</c:v>
                </c:pt>
                <c:pt idx="963">
                  <c:v>6.0461278506257115</c:v>
                </c:pt>
                <c:pt idx="964">
                  <c:v>4.8565759163348075</c:v>
                </c:pt>
                <c:pt idx="965">
                  <c:v>5.908935374250512</c:v>
                </c:pt>
                <c:pt idx="966">
                  <c:v>5.7845222864471335</c:v>
                </c:pt>
                <c:pt idx="967">
                  <c:v>6.065377642791554</c:v>
                </c:pt>
                <c:pt idx="968">
                  <c:v>6.0504867611032829</c:v>
                </c:pt>
                <c:pt idx="969">
                  <c:v>7.0101787763309931</c:v>
                </c:pt>
                <c:pt idx="970">
                  <c:v>4.9968760136781425</c:v>
                </c:pt>
                <c:pt idx="971">
                  <c:v>4.9214411420843795</c:v>
                </c:pt>
                <c:pt idx="972">
                  <c:v>7.0553312560323498</c:v>
                </c:pt>
                <c:pt idx="973">
                  <c:v>4.9716817422120565</c:v>
                </c:pt>
                <c:pt idx="974">
                  <c:v>4.839310295791619</c:v>
                </c:pt>
                <c:pt idx="975">
                  <c:v>6.0168149141882461</c:v>
                </c:pt>
                <c:pt idx="976">
                  <c:v>5.0547430271997049</c:v>
                </c:pt>
                <c:pt idx="977">
                  <c:v>6.0755411528715326</c:v>
                </c:pt>
                <c:pt idx="978">
                  <c:v>5.1546814934983587</c:v>
                </c:pt>
                <c:pt idx="979">
                  <c:v>5.1836480298721712</c:v>
                </c:pt>
                <c:pt idx="980">
                  <c:v>5.0004366801315658</c:v>
                </c:pt>
                <c:pt idx="981">
                  <c:v>4.9802795943895353</c:v>
                </c:pt>
                <c:pt idx="982">
                  <c:v>5.0451624051801991</c:v>
                </c:pt>
                <c:pt idx="983">
                  <c:v>6.1000362388280109</c:v>
                </c:pt>
                <c:pt idx="984">
                  <c:v>4.9029631448508253</c:v>
                </c:pt>
                <c:pt idx="985">
                  <c:v>6.0547112734188975</c:v>
                </c:pt>
                <c:pt idx="986">
                  <c:v>4.9525064308429583</c:v>
                </c:pt>
                <c:pt idx="987">
                  <c:v>5.8488194596365819</c:v>
                </c:pt>
                <c:pt idx="988">
                  <c:v>6.0460220774941016</c:v>
                </c:pt>
                <c:pt idx="989">
                  <c:v>4.9966243890728173</c:v>
                </c:pt>
                <c:pt idx="990">
                  <c:v>5.9987729705280586</c:v>
                </c:pt>
                <c:pt idx="991">
                  <c:v>4.9817285880514799</c:v>
                </c:pt>
                <c:pt idx="992">
                  <c:v>6.0300810672983651</c:v>
                </c:pt>
                <c:pt idx="993">
                  <c:v>5.0245837035817873</c:v>
                </c:pt>
                <c:pt idx="994">
                  <c:v>4.6962356533655987</c:v>
                </c:pt>
                <c:pt idx="995">
                  <c:v>6.0806397384360347</c:v>
                </c:pt>
                <c:pt idx="996">
                  <c:v>6.0384929110691239</c:v>
                </c:pt>
                <c:pt idx="997">
                  <c:v>4.8857231785234889</c:v>
                </c:pt>
                <c:pt idx="998">
                  <c:v>5.9624120036314681</c:v>
                </c:pt>
                <c:pt idx="999">
                  <c:v>6.0876370056968581</c:v>
                </c:pt>
                <c:pt idx="1000">
                  <c:v>6.00750628026596</c:v>
                </c:pt>
                <c:pt idx="1001">
                  <c:v>6.0598575542225008</c:v>
                </c:pt>
                <c:pt idx="1002">
                  <c:v>6.118437401325262</c:v>
                </c:pt>
                <c:pt idx="1003">
                  <c:v>5.9781909117473671</c:v>
                </c:pt>
                <c:pt idx="1004">
                  <c:v>6.0182884812290451</c:v>
                </c:pt>
                <c:pt idx="1005">
                  <c:v>5.037060460229128</c:v>
                </c:pt>
                <c:pt idx="1006">
                  <c:v>6.034238654538699</c:v>
                </c:pt>
                <c:pt idx="1007">
                  <c:v>5.1357186012924458</c:v>
                </c:pt>
                <c:pt idx="1008">
                  <c:v>5.9683448823380134</c:v>
                </c:pt>
                <c:pt idx="1009">
                  <c:v>5.0172715460527808</c:v>
                </c:pt>
                <c:pt idx="1010">
                  <c:v>4.9366325934173743</c:v>
                </c:pt>
                <c:pt idx="1011">
                  <c:v>4.8600545734431915</c:v>
                </c:pt>
                <c:pt idx="1012">
                  <c:v>4.9682970041332046</c:v>
                </c:pt>
                <c:pt idx="1013">
                  <c:v>5.0105608574516065</c:v>
                </c:pt>
                <c:pt idx="1014">
                  <c:v>4.9423992236916554</c:v>
                </c:pt>
                <c:pt idx="1015">
                  <c:v>5.9445190236830756</c:v>
                </c:pt>
                <c:pt idx="1016">
                  <c:v>6.0801427988981338</c:v>
                </c:pt>
                <c:pt idx="1017">
                  <c:v>5.1329012867515802</c:v>
                </c:pt>
                <c:pt idx="1018">
                  <c:v>6.004748960132086</c:v>
                </c:pt>
                <c:pt idx="1019">
                  <c:v>4.9595290805728469</c:v>
                </c:pt>
                <c:pt idx="1020">
                  <c:v>5.9740008951881265</c:v>
                </c:pt>
                <c:pt idx="1021">
                  <c:v>5.0004176042915685</c:v>
                </c:pt>
                <c:pt idx="1022">
                  <c:v>6.2001474738687818</c:v>
                </c:pt>
                <c:pt idx="1023">
                  <c:v>4.8819066741586612</c:v>
                </c:pt>
                <c:pt idx="1024">
                  <c:v>4.9495867344097784</c:v>
                </c:pt>
                <c:pt idx="1025">
                  <c:v>5.9159248409278229</c:v>
                </c:pt>
                <c:pt idx="1026">
                  <c:v>5.0048953091008892</c:v>
                </c:pt>
                <c:pt idx="1027">
                  <c:v>6.053598410237119</c:v>
                </c:pt>
                <c:pt idx="1028">
                  <c:v>6.0332816011095884</c:v>
                </c:pt>
                <c:pt idx="1029">
                  <c:v>5.1112891395629223</c:v>
                </c:pt>
                <c:pt idx="1030">
                  <c:v>4.9223358018006733</c:v>
                </c:pt>
                <c:pt idx="1031">
                  <c:v>4.8852460864742495</c:v>
                </c:pt>
                <c:pt idx="1032">
                  <c:v>6.1218974448867742</c:v>
                </c:pt>
                <c:pt idx="1033">
                  <c:v>5.0881465611073518</c:v>
                </c:pt>
                <c:pt idx="1034">
                  <c:v>5.1133327137901867</c:v>
                </c:pt>
                <c:pt idx="1035">
                  <c:v>4.9415019277643166</c:v>
                </c:pt>
                <c:pt idx="1036">
                  <c:v>6.0480171780265195</c:v>
                </c:pt>
                <c:pt idx="1037">
                  <c:v>5.2435714191000455</c:v>
                </c:pt>
                <c:pt idx="1038">
                  <c:v>4.8690930718758567</c:v>
                </c:pt>
                <c:pt idx="1039">
                  <c:v>5.9460558520155624</c:v>
                </c:pt>
                <c:pt idx="1040">
                  <c:v>6.9279696608418897</c:v>
                </c:pt>
                <c:pt idx="1041">
                  <c:v>6.8402356024202238</c:v>
                </c:pt>
                <c:pt idx="1042">
                  <c:v>6.0364155301419746</c:v>
                </c:pt>
                <c:pt idx="1043">
                  <c:v>4.9785560646985081</c:v>
                </c:pt>
                <c:pt idx="1044">
                  <c:v>4.9392511284872533</c:v>
                </c:pt>
                <c:pt idx="1045">
                  <c:v>5.1020693786701008</c:v>
                </c:pt>
                <c:pt idx="1046">
                  <c:v>4.8769594640057843</c:v>
                </c:pt>
                <c:pt idx="1047">
                  <c:v>6.0933982771622617</c:v>
                </c:pt>
                <c:pt idx="1048">
                  <c:v>5.0848456254239593</c:v>
                </c:pt>
                <c:pt idx="1049">
                  <c:v>6.1289201227865018</c:v>
                </c:pt>
                <c:pt idx="1050">
                  <c:v>5.061692310818291</c:v>
                </c:pt>
                <c:pt idx="1051">
                  <c:v>6.0369344369402622</c:v>
                </c:pt>
                <c:pt idx="1052">
                  <c:v>5.8428009143610389</c:v>
                </c:pt>
                <c:pt idx="1053">
                  <c:v>6.0150586130096784</c:v>
                </c:pt>
                <c:pt idx="1054">
                  <c:v>5.9586639380716191</c:v>
                </c:pt>
                <c:pt idx="1055">
                  <c:v>4.8692216019165215</c:v>
                </c:pt>
                <c:pt idx="1056">
                  <c:v>5.8464858747693063</c:v>
                </c:pt>
                <c:pt idx="1057">
                  <c:v>6.1958178944125901</c:v>
                </c:pt>
                <c:pt idx="1058">
                  <c:v>5.9768001325465256</c:v>
                </c:pt>
                <c:pt idx="1059">
                  <c:v>5.0355992473164193</c:v>
                </c:pt>
                <c:pt idx="1060">
                  <c:v>7.03602977681029</c:v>
                </c:pt>
                <c:pt idx="1061">
                  <c:v>7.2141396315667778</c:v>
                </c:pt>
                <c:pt idx="1062">
                  <c:v>5.942366251177579</c:v>
                </c:pt>
                <c:pt idx="1063">
                  <c:v>6.994436044260433</c:v>
                </c:pt>
                <c:pt idx="1064">
                  <c:v>6.0101999717973174</c:v>
                </c:pt>
                <c:pt idx="1065">
                  <c:v>6.920836631288986</c:v>
                </c:pt>
                <c:pt idx="1066">
                  <c:v>5.0941478421408126</c:v>
                </c:pt>
                <c:pt idx="1067">
                  <c:v>6.9227427207498522</c:v>
                </c:pt>
                <c:pt idx="1068">
                  <c:v>5.7758711596886636</c:v>
                </c:pt>
                <c:pt idx="1069">
                  <c:v>6.0936985955903538</c:v>
                </c:pt>
                <c:pt idx="1070">
                  <c:v>6.0399325857778914</c:v>
                </c:pt>
                <c:pt idx="1071">
                  <c:v>5.9436313347603509</c:v>
                </c:pt>
                <c:pt idx="1072">
                  <c:v>6.0937451638781353</c:v>
                </c:pt>
                <c:pt idx="1073">
                  <c:v>6.9709166776727223</c:v>
                </c:pt>
                <c:pt idx="1074">
                  <c:v>6.0497560704099413</c:v>
                </c:pt>
                <c:pt idx="1075">
                  <c:v>7.048980394854695</c:v>
                </c:pt>
                <c:pt idx="1076">
                  <c:v>4.9620480362098647</c:v>
                </c:pt>
                <c:pt idx="1077">
                  <c:v>5.8404736875863117</c:v>
                </c:pt>
                <c:pt idx="1078">
                  <c:v>6.0149249696513252</c:v>
                </c:pt>
                <c:pt idx="1079">
                  <c:v>1.8020404022741703</c:v>
                </c:pt>
                <c:pt idx="1080">
                  <c:v>4.9608694385285821</c:v>
                </c:pt>
                <c:pt idx="1081">
                  <c:v>2.0842096056649915</c:v>
                </c:pt>
                <c:pt idx="1082">
                  <c:v>2.0579764488184389</c:v>
                </c:pt>
                <c:pt idx="1083">
                  <c:v>4.9480537703392278</c:v>
                </c:pt>
                <c:pt idx="1084">
                  <c:v>4.9716474125309302</c:v>
                </c:pt>
                <c:pt idx="1085">
                  <c:v>4.7815276216284008</c:v>
                </c:pt>
                <c:pt idx="1086">
                  <c:v>5.0884955727283394</c:v>
                </c:pt>
                <c:pt idx="1087">
                  <c:v>4.8789376459622398</c:v>
                </c:pt>
                <c:pt idx="1088">
                  <c:v>4.0228247636492869</c:v>
                </c:pt>
                <c:pt idx="1089">
                  <c:v>5.0087963483019209</c:v>
                </c:pt>
                <c:pt idx="1090">
                  <c:v>3.9926765530203046</c:v>
                </c:pt>
                <c:pt idx="1091">
                  <c:v>4.9913314043258907</c:v>
                </c:pt>
                <c:pt idx="1092">
                  <c:v>7.0678872191635858</c:v>
                </c:pt>
                <c:pt idx="1093">
                  <c:v>3.8762940355032804</c:v>
                </c:pt>
                <c:pt idx="1094">
                  <c:v>5.969322668158707</c:v>
                </c:pt>
                <c:pt idx="1095">
                  <c:v>6.1297201505746903</c:v>
                </c:pt>
                <c:pt idx="1096">
                  <c:v>6.8308096943748362</c:v>
                </c:pt>
                <c:pt idx="1097">
                  <c:v>6.9983263017224955</c:v>
                </c:pt>
                <c:pt idx="1098">
                  <c:v>6.0903983451463075</c:v>
                </c:pt>
                <c:pt idx="1099">
                  <c:v>6.0540902055188912</c:v>
                </c:pt>
                <c:pt idx="1100">
                  <c:v>6.0275675224655831</c:v>
                </c:pt>
                <c:pt idx="1101">
                  <c:v>6.1304209594871697</c:v>
                </c:pt>
                <c:pt idx="1102">
                  <c:v>6.9535174674094327</c:v>
                </c:pt>
                <c:pt idx="1103">
                  <c:v>6.1367203196466846</c:v>
                </c:pt>
                <c:pt idx="1104">
                  <c:v>5.0017461076024583</c:v>
                </c:pt>
                <c:pt idx="1105">
                  <c:v>6.0006581460278072</c:v>
                </c:pt>
                <c:pt idx="1106">
                  <c:v>6.8578150117009073</c:v>
                </c:pt>
                <c:pt idx="1107">
                  <c:v>5.9670126782502821</c:v>
                </c:pt>
                <c:pt idx="1108">
                  <c:v>6.0370172988503681</c:v>
                </c:pt>
                <c:pt idx="1109">
                  <c:v>4.9646233495839143</c:v>
                </c:pt>
                <c:pt idx="1110">
                  <c:v>5.0113204694098581</c:v>
                </c:pt>
                <c:pt idx="1111">
                  <c:v>4.8511085198431552</c:v>
                </c:pt>
                <c:pt idx="1112">
                  <c:v>4.9958837406795205</c:v>
                </c:pt>
                <c:pt idx="1113">
                  <c:v>5.0639348083019051</c:v>
                </c:pt>
                <c:pt idx="1114">
                  <c:v>6.0695405520546863</c:v>
                </c:pt>
                <c:pt idx="1115">
                  <c:v>5.1033911301702064</c:v>
                </c:pt>
                <c:pt idx="1116">
                  <c:v>4.0188097688577864</c:v>
                </c:pt>
                <c:pt idx="1117">
                  <c:v>5.1182746610944214</c:v>
                </c:pt>
                <c:pt idx="1118">
                  <c:v>4.9880447994259285</c:v>
                </c:pt>
                <c:pt idx="1119">
                  <c:v>6.8322729272032952</c:v>
                </c:pt>
                <c:pt idx="1120">
                  <c:v>5.1579672963696765</c:v>
                </c:pt>
                <c:pt idx="1121">
                  <c:v>5.0989848067206358</c:v>
                </c:pt>
                <c:pt idx="1122">
                  <c:v>4.8097196849473303</c:v>
                </c:pt>
                <c:pt idx="1123">
                  <c:v>5.1994404060124344</c:v>
                </c:pt>
                <c:pt idx="1124">
                  <c:v>4.7613275411598508</c:v>
                </c:pt>
                <c:pt idx="1125">
                  <c:v>6.0459858455444291</c:v>
                </c:pt>
                <c:pt idx="1126">
                  <c:v>5.8297177066167007</c:v>
                </c:pt>
                <c:pt idx="1127">
                  <c:v>6.0142923320201715</c:v>
                </c:pt>
                <c:pt idx="1128">
                  <c:v>6.969184187942087</c:v>
                </c:pt>
                <c:pt idx="1129">
                  <c:v>6.0390193979694047</c:v>
                </c:pt>
                <c:pt idx="1130">
                  <c:v>6.1264251904412861</c:v>
                </c:pt>
                <c:pt idx="1131">
                  <c:v>4.9596808429260513</c:v>
                </c:pt>
                <c:pt idx="1132">
                  <c:v>4.9198843581666987</c:v>
                </c:pt>
                <c:pt idx="1133">
                  <c:v>5.1170589232618093</c:v>
                </c:pt>
                <c:pt idx="1134">
                  <c:v>5.9140812401904794</c:v>
                </c:pt>
                <c:pt idx="1135">
                  <c:v>5.9634419156769241</c:v>
                </c:pt>
                <c:pt idx="1136">
                  <c:v>4.855980348851431</c:v>
                </c:pt>
                <c:pt idx="1137">
                  <c:v>6.2731576660144057</c:v>
                </c:pt>
                <c:pt idx="1138">
                  <c:v>6.0494790695568303</c:v>
                </c:pt>
                <c:pt idx="1139">
                  <c:v>4.9291168063837816</c:v>
                </c:pt>
                <c:pt idx="1140">
                  <c:v>5.7806460050958348</c:v>
                </c:pt>
                <c:pt idx="1141">
                  <c:v>4.8952100478639116</c:v>
                </c:pt>
                <c:pt idx="1142">
                  <c:v>4.849459012689521</c:v>
                </c:pt>
                <c:pt idx="1143">
                  <c:v>1.880461267430666</c:v>
                </c:pt>
                <c:pt idx="1144">
                  <c:v>4.9628394212364748</c:v>
                </c:pt>
                <c:pt idx="1145">
                  <c:v>4.9883034826306547</c:v>
                </c:pt>
                <c:pt idx="1146">
                  <c:v>4.9571178109552472</c:v>
                </c:pt>
                <c:pt idx="1147">
                  <c:v>4.9096935146834015</c:v>
                </c:pt>
                <c:pt idx="1148">
                  <c:v>4.9176829499414758</c:v>
                </c:pt>
                <c:pt idx="1149">
                  <c:v>5.9930982989444725</c:v>
                </c:pt>
                <c:pt idx="1150">
                  <c:v>5.8668775259382651</c:v>
                </c:pt>
                <c:pt idx="1151">
                  <c:v>6.1857443889640011</c:v>
                </c:pt>
                <c:pt idx="1152">
                  <c:v>6.172905002901544</c:v>
                </c:pt>
                <c:pt idx="1153">
                  <c:v>5.9684888083657297</c:v>
                </c:pt>
                <c:pt idx="1154">
                  <c:v>6.1545983028293145</c:v>
                </c:pt>
                <c:pt idx="1155">
                  <c:v>5.9736281795041517</c:v>
                </c:pt>
                <c:pt idx="1156">
                  <c:v>5.014424150386648</c:v>
                </c:pt>
                <c:pt idx="1157">
                  <c:v>4.7742834610029083</c:v>
                </c:pt>
                <c:pt idx="1158">
                  <c:v>5.9246862839447099</c:v>
                </c:pt>
                <c:pt idx="1159">
                  <c:v>5.9905533351908407</c:v>
                </c:pt>
                <c:pt idx="1160">
                  <c:v>6.0101028293552918</c:v>
                </c:pt>
                <c:pt idx="1161">
                  <c:v>6.0927237371024408</c:v>
                </c:pt>
                <c:pt idx="1162">
                  <c:v>4.9876894904153897</c:v>
                </c:pt>
                <c:pt idx="1163">
                  <c:v>4.8698358071745806</c:v>
                </c:pt>
                <c:pt idx="1164">
                  <c:v>6.1100311959223275</c:v>
                </c:pt>
                <c:pt idx="1165">
                  <c:v>5.1078641938878873</c:v>
                </c:pt>
                <c:pt idx="1166">
                  <c:v>6.8102438011207695</c:v>
                </c:pt>
                <c:pt idx="1167">
                  <c:v>5.9125924875234155</c:v>
                </c:pt>
                <c:pt idx="1168">
                  <c:v>5.0470289887937501</c:v>
                </c:pt>
                <c:pt idx="1169">
                  <c:v>5.9826063123410398</c:v>
                </c:pt>
                <c:pt idx="1170">
                  <c:v>4.9539123793248567</c:v>
                </c:pt>
                <c:pt idx="1171">
                  <c:v>5.793857577840412</c:v>
                </c:pt>
                <c:pt idx="1172">
                  <c:v>4.9944382091493633</c:v>
                </c:pt>
                <c:pt idx="1173">
                  <c:v>5.9913409313068495</c:v>
                </c:pt>
                <c:pt idx="1174">
                  <c:v>5.1529224057098455</c:v>
                </c:pt>
                <c:pt idx="1175">
                  <c:v>5.8551416207356324</c:v>
                </c:pt>
                <c:pt idx="1176">
                  <c:v>5.1469082790601624</c:v>
                </c:pt>
                <c:pt idx="1177">
                  <c:v>5.8309547820159757</c:v>
                </c:pt>
                <c:pt idx="1178">
                  <c:v>5.9044394537169822</c:v>
                </c:pt>
                <c:pt idx="1179">
                  <c:v>4.8584504402623967</c:v>
                </c:pt>
                <c:pt idx="1180">
                  <c:v>5.0791902510254676</c:v>
                </c:pt>
                <c:pt idx="1181">
                  <c:v>5.129236014518904</c:v>
                </c:pt>
                <c:pt idx="1182">
                  <c:v>5.1237175345299901</c:v>
                </c:pt>
                <c:pt idx="1183">
                  <c:v>4.8603742478369787</c:v>
                </c:pt>
                <c:pt idx="1184">
                  <c:v>5.1397845164377811</c:v>
                </c:pt>
                <c:pt idx="1185">
                  <c:v>5.8918350631344225</c:v>
                </c:pt>
                <c:pt idx="1186">
                  <c:v>5.8780112019879684</c:v>
                </c:pt>
                <c:pt idx="1187">
                  <c:v>4.7807559994769901</c:v>
                </c:pt>
                <c:pt idx="1188">
                  <c:v>4.9999332308235553</c:v>
                </c:pt>
                <c:pt idx="1189">
                  <c:v>5.1128366620468526</c:v>
                </c:pt>
                <c:pt idx="1190">
                  <c:v>4.9679515436143955</c:v>
                </c:pt>
                <c:pt idx="1191">
                  <c:v>6.1287444069815438</c:v>
                </c:pt>
                <c:pt idx="1192">
                  <c:v>5.2343301958928157</c:v>
                </c:pt>
                <c:pt idx="1193">
                  <c:v>5.8796517497125862</c:v>
                </c:pt>
                <c:pt idx="1194">
                  <c:v>6.0647752622294782</c:v>
                </c:pt>
                <c:pt idx="1195">
                  <c:v>6.0470114279335725</c:v>
                </c:pt>
                <c:pt idx="1196">
                  <c:v>5.0223933274248633</c:v>
                </c:pt>
                <c:pt idx="1197">
                  <c:v>5.9684086545060433</c:v>
                </c:pt>
                <c:pt idx="1198">
                  <c:v>6.11181466536146</c:v>
                </c:pt>
                <c:pt idx="1199">
                  <c:v>4.9216550036654461</c:v>
                </c:pt>
                <c:pt idx="1200">
                  <c:v>4.9846980866382156</c:v>
                </c:pt>
                <c:pt idx="1201">
                  <c:v>5.9136421376089405</c:v>
                </c:pt>
                <c:pt idx="1202">
                  <c:v>4.9752609183981242</c:v>
                </c:pt>
                <c:pt idx="1203">
                  <c:v>5.9963957675584654</c:v>
                </c:pt>
                <c:pt idx="1204">
                  <c:v>5.8750779725188238</c:v>
                </c:pt>
                <c:pt idx="1205">
                  <c:v>5.9506684984529459</c:v>
                </c:pt>
                <c:pt idx="1206">
                  <c:v>6.0167739971013638</c:v>
                </c:pt>
                <c:pt idx="1207">
                  <c:v>6.9727659793367502</c:v>
                </c:pt>
                <c:pt idx="1208">
                  <c:v>4.9480154595479009</c:v>
                </c:pt>
                <c:pt idx="1209">
                  <c:v>6.0138021592680753</c:v>
                </c:pt>
                <c:pt idx="1210">
                  <c:v>5.0341250447693167</c:v>
                </c:pt>
                <c:pt idx="1211">
                  <c:v>4.8707639023168605</c:v>
                </c:pt>
                <c:pt idx="1212">
                  <c:v>6.9618781097786879</c:v>
                </c:pt>
                <c:pt idx="1213">
                  <c:v>5.9142751381327274</c:v>
                </c:pt>
                <c:pt idx="1214">
                  <c:v>6.1428492939065595</c:v>
                </c:pt>
                <c:pt idx="1215">
                  <c:v>4.8967339175505682</c:v>
                </c:pt>
                <c:pt idx="1216">
                  <c:v>6.1237999196329227</c:v>
                </c:pt>
                <c:pt idx="1217">
                  <c:v>4.8211062624990495</c:v>
                </c:pt>
                <c:pt idx="1218">
                  <c:v>5.9965030496854554</c:v>
                </c:pt>
                <c:pt idx="1219">
                  <c:v>6.0775477176425428</c:v>
                </c:pt>
                <c:pt idx="1220">
                  <c:v>5.9732250081347678</c:v>
                </c:pt>
                <c:pt idx="1221">
                  <c:v>5.0133360421380111</c:v>
                </c:pt>
                <c:pt idx="1222">
                  <c:v>6.0034424187009767</c:v>
                </c:pt>
                <c:pt idx="1223">
                  <c:v>4.9347105635491788</c:v>
                </c:pt>
                <c:pt idx="1224">
                  <c:v>6.0422732372380015</c:v>
                </c:pt>
                <c:pt idx="1225">
                  <c:v>6.0384262018229302</c:v>
                </c:pt>
                <c:pt idx="1226">
                  <c:v>6.0778971374403152</c:v>
                </c:pt>
                <c:pt idx="1227">
                  <c:v>5.9804993965635198</c:v>
                </c:pt>
                <c:pt idx="1228">
                  <c:v>4.9215229964939304</c:v>
                </c:pt>
                <c:pt idx="1229">
                  <c:v>6.0312728741344577</c:v>
                </c:pt>
                <c:pt idx="1230">
                  <c:v>4.9469514960824377</c:v>
                </c:pt>
                <c:pt idx="1231">
                  <c:v>6.0320368389289545</c:v>
                </c:pt>
                <c:pt idx="1232">
                  <c:v>4.9861494589567554</c:v>
                </c:pt>
                <c:pt idx="1233">
                  <c:v>5.9336837570864471</c:v>
                </c:pt>
                <c:pt idx="1234">
                  <c:v>5.9393038349390039</c:v>
                </c:pt>
                <c:pt idx="1235">
                  <c:v>5.161600397741255</c:v>
                </c:pt>
                <c:pt idx="1236">
                  <c:v>7.1799318068910338</c:v>
                </c:pt>
                <c:pt idx="1237">
                  <c:v>5.8982305502841221</c:v>
                </c:pt>
                <c:pt idx="1238">
                  <c:v>5.0976875196955822</c:v>
                </c:pt>
                <c:pt idx="1239">
                  <c:v>5.0279030556485784</c:v>
                </c:pt>
                <c:pt idx="1240">
                  <c:v>5.0727419810020855</c:v>
                </c:pt>
                <c:pt idx="1241">
                  <c:v>6.0374538485421629</c:v>
                </c:pt>
                <c:pt idx="1242">
                  <c:v>4.886885684819811</c:v>
                </c:pt>
                <c:pt idx="1243">
                  <c:v>4.9880982104190048</c:v>
                </c:pt>
                <c:pt idx="1244">
                  <c:v>5.8493883801285689</c:v>
                </c:pt>
                <c:pt idx="1245">
                  <c:v>6.1805386434566003</c:v>
                </c:pt>
                <c:pt idx="1246">
                  <c:v>5.9396342783185592</c:v>
                </c:pt>
                <c:pt idx="1247">
                  <c:v>6.2160644657873334</c:v>
                </c:pt>
                <c:pt idx="1248">
                  <c:v>5.9825210356691496</c:v>
                </c:pt>
                <c:pt idx="1249">
                  <c:v>5.1369690041724763</c:v>
                </c:pt>
                <c:pt idx="1250">
                  <c:v>5.0221966236123219</c:v>
                </c:pt>
                <c:pt idx="1251">
                  <c:v>6.0154054347101535</c:v>
                </c:pt>
                <c:pt idx="1252">
                  <c:v>6.0867566745558239</c:v>
                </c:pt>
                <c:pt idx="1253">
                  <c:v>4.873243441785422</c:v>
                </c:pt>
                <c:pt idx="1254">
                  <c:v>4.9957323869107446</c:v>
                </c:pt>
                <c:pt idx="1255">
                  <c:v>4.889870112321975</c:v>
                </c:pt>
                <c:pt idx="1256">
                  <c:v>4.9599819746119298</c:v>
                </c:pt>
                <c:pt idx="1257">
                  <c:v>5.171621569218896</c:v>
                </c:pt>
                <c:pt idx="1258">
                  <c:v>6.8553231298788431</c:v>
                </c:pt>
                <c:pt idx="1259">
                  <c:v>6.0482897909055104</c:v>
                </c:pt>
                <c:pt idx="1260">
                  <c:v>6.0579560362997871</c:v>
                </c:pt>
                <c:pt idx="1261">
                  <c:v>4.8199923853267377</c:v>
                </c:pt>
                <c:pt idx="1262">
                  <c:v>4.9046135088136902</c:v>
                </c:pt>
                <c:pt idx="1263">
                  <c:v>6.2039967967010679</c:v>
                </c:pt>
                <c:pt idx="1264">
                  <c:v>4.0240260664449075</c:v>
                </c:pt>
                <c:pt idx="1265">
                  <c:v>6.0061902554062243</c:v>
                </c:pt>
                <c:pt idx="1266">
                  <c:v>5.0310594323256046</c:v>
                </c:pt>
                <c:pt idx="1267">
                  <c:v>5.0517036643949256</c:v>
                </c:pt>
                <c:pt idx="1268">
                  <c:v>4.7861088688639457</c:v>
                </c:pt>
                <c:pt idx="1269">
                  <c:v>4.9463953038497817</c:v>
                </c:pt>
                <c:pt idx="1270">
                  <c:v>5.9953765175932272</c:v>
                </c:pt>
                <c:pt idx="1271">
                  <c:v>4.9911525067395255</c:v>
                </c:pt>
                <c:pt idx="1272">
                  <c:v>5.0828147471179834</c:v>
                </c:pt>
                <c:pt idx="1273">
                  <c:v>4.9806501227196183</c:v>
                </c:pt>
                <c:pt idx="1274">
                  <c:v>4.9942868029490546</c:v>
                </c:pt>
                <c:pt idx="1275">
                  <c:v>4.9345697470396814</c:v>
                </c:pt>
                <c:pt idx="1276">
                  <c:v>5.9774752413790813</c:v>
                </c:pt>
                <c:pt idx="1277">
                  <c:v>5.8637488992337143</c:v>
                </c:pt>
                <c:pt idx="1278">
                  <c:v>4.9277256376821423</c:v>
                </c:pt>
                <c:pt idx="1279">
                  <c:v>4.9255483004024754</c:v>
                </c:pt>
                <c:pt idx="1280">
                  <c:v>5.0822149117891469</c:v>
                </c:pt>
                <c:pt idx="1281">
                  <c:v>4.9102393078799569</c:v>
                </c:pt>
                <c:pt idx="1282">
                  <c:v>5.0359681131119878</c:v>
                </c:pt>
                <c:pt idx="1283">
                  <c:v>6.0722855727548426</c:v>
                </c:pt>
                <c:pt idx="1284">
                  <c:v>6.0295110839206876</c:v>
                </c:pt>
                <c:pt idx="1285">
                  <c:v>5.9767608520710152</c:v>
                </c:pt>
                <c:pt idx="1286">
                  <c:v>5.9164507493710774</c:v>
                </c:pt>
                <c:pt idx="1287">
                  <c:v>5.9870766083004172</c:v>
                </c:pt>
                <c:pt idx="1288">
                  <c:v>5.0392672788402608</c:v>
                </c:pt>
                <c:pt idx="1289">
                  <c:v>7.0014514135287067</c:v>
                </c:pt>
                <c:pt idx="1290">
                  <c:v>3.898410058709044</c:v>
                </c:pt>
                <c:pt idx="1291">
                  <c:v>5.9402127550990134</c:v>
                </c:pt>
                <c:pt idx="1292">
                  <c:v>6.0582402894423986</c:v>
                </c:pt>
                <c:pt idx="1293">
                  <c:v>6.0138218529128622</c:v>
                </c:pt>
                <c:pt idx="1294">
                  <c:v>5.873374104205249</c:v>
                </c:pt>
                <c:pt idx="1295">
                  <c:v>5.9342478379668648</c:v>
                </c:pt>
                <c:pt idx="1296">
                  <c:v>6.9811545445836893</c:v>
                </c:pt>
                <c:pt idx="1297">
                  <c:v>4.0137913029180075</c:v>
                </c:pt>
                <c:pt idx="1298">
                  <c:v>6.0987711270121583</c:v>
                </c:pt>
                <c:pt idx="1299">
                  <c:v>4.1424189347965541</c:v>
                </c:pt>
                <c:pt idx="1300">
                  <c:v>7.0743652401819785</c:v>
                </c:pt>
                <c:pt idx="1301">
                  <c:v>3.8959814801654926</c:v>
                </c:pt>
                <c:pt idx="1302">
                  <c:v>5.1212353435677</c:v>
                </c:pt>
                <c:pt idx="1303">
                  <c:v>4.8971437179423463</c:v>
                </c:pt>
                <c:pt idx="1304">
                  <c:v>4.060143560013584</c:v>
                </c:pt>
                <c:pt idx="1305">
                  <c:v>3.9474749458040508</c:v>
                </c:pt>
                <c:pt idx="1306">
                  <c:v>5.9242919043409721</c:v>
                </c:pt>
                <c:pt idx="1307">
                  <c:v>5.9278610418376845</c:v>
                </c:pt>
                <c:pt idx="1308">
                  <c:v>4.0831830561481182</c:v>
                </c:pt>
                <c:pt idx="1309">
                  <c:v>3.9045467394547448</c:v>
                </c:pt>
                <c:pt idx="1310">
                  <c:v>6.0059351610928928</c:v>
                </c:pt>
                <c:pt idx="1311">
                  <c:v>3.8607298906425154</c:v>
                </c:pt>
                <c:pt idx="1312">
                  <c:v>3.9196966763330217</c:v>
                </c:pt>
                <c:pt idx="1313">
                  <c:v>5.9885758632359156</c:v>
                </c:pt>
                <c:pt idx="1314">
                  <c:v>4.0415946338975459</c:v>
                </c:pt>
                <c:pt idx="1315">
                  <c:v>5.8653770470749391</c:v>
                </c:pt>
                <c:pt idx="1316">
                  <c:v>6.908043134992595</c:v>
                </c:pt>
                <c:pt idx="1317">
                  <c:v>5.8382174903226112</c:v>
                </c:pt>
                <c:pt idx="1318">
                  <c:v>3.0764210309773001</c:v>
                </c:pt>
                <c:pt idx="1319">
                  <c:v>4.9830200083195217</c:v>
                </c:pt>
                <c:pt idx="1320">
                  <c:v>5.9646493233462472</c:v>
                </c:pt>
                <c:pt idx="1321">
                  <c:v>4.9817455511156616</c:v>
                </c:pt>
                <c:pt idx="1322">
                  <c:v>4.9805737109812762</c:v>
                </c:pt>
                <c:pt idx="1323">
                  <c:v>5.9242752769108984</c:v>
                </c:pt>
                <c:pt idx="1324">
                  <c:v>5.9834618256863266</c:v>
                </c:pt>
                <c:pt idx="1325">
                  <c:v>5.9788862064182302</c:v>
                </c:pt>
                <c:pt idx="1326">
                  <c:v>6.0663888091662379</c:v>
                </c:pt>
                <c:pt idx="1327">
                  <c:v>5.0056757942699868</c:v>
                </c:pt>
                <c:pt idx="1328">
                  <c:v>4.9205242738598924</c:v>
                </c:pt>
                <c:pt idx="1329">
                  <c:v>5.1929855674517915</c:v>
                </c:pt>
                <c:pt idx="1330">
                  <c:v>5.9386583149666867</c:v>
                </c:pt>
                <c:pt idx="1331">
                  <c:v>6.1178138351065137</c:v>
                </c:pt>
                <c:pt idx="1332">
                  <c:v>5.9549584175971759</c:v>
                </c:pt>
                <c:pt idx="1333">
                  <c:v>5.8114799877316798</c:v>
                </c:pt>
                <c:pt idx="1334">
                  <c:v>6.0536752726426659</c:v>
                </c:pt>
                <c:pt idx="1335">
                  <c:v>5.006035343239704</c:v>
                </c:pt>
                <c:pt idx="1336">
                  <c:v>5.8377112580218764</c:v>
                </c:pt>
                <c:pt idx="1337">
                  <c:v>6.0729296513079252</c:v>
                </c:pt>
                <c:pt idx="1338">
                  <c:v>4.9267095791197804</c:v>
                </c:pt>
                <c:pt idx="1339">
                  <c:v>5.869148650606216</c:v>
                </c:pt>
                <c:pt idx="1340">
                  <c:v>5.9994889858098546</c:v>
                </c:pt>
                <c:pt idx="1341">
                  <c:v>5.0332614606429678</c:v>
                </c:pt>
                <c:pt idx="1342">
                  <c:v>4.9629550034342165</c:v>
                </c:pt>
                <c:pt idx="1343">
                  <c:v>4.8232071816765316</c:v>
                </c:pt>
                <c:pt idx="1344">
                  <c:v>6.0744932362099204</c:v>
                </c:pt>
                <c:pt idx="1345">
                  <c:v>4.841822659327657</c:v>
                </c:pt>
                <c:pt idx="1346">
                  <c:v>5.1051303114906545</c:v>
                </c:pt>
                <c:pt idx="1347">
                  <c:v>4.8303257228659167</c:v>
                </c:pt>
                <c:pt idx="1348">
                  <c:v>4.881233584551679</c:v>
                </c:pt>
                <c:pt idx="1349">
                  <c:v>5.0062349146591387</c:v>
                </c:pt>
                <c:pt idx="1350">
                  <c:v>4.9451875923022657</c:v>
                </c:pt>
                <c:pt idx="1351">
                  <c:v>4.9409947632190443</c:v>
                </c:pt>
                <c:pt idx="1352">
                  <c:v>5.0232576741344825</c:v>
                </c:pt>
                <c:pt idx="1353">
                  <c:v>5.0105978597858938</c:v>
                </c:pt>
                <c:pt idx="1354">
                  <c:v>7.0942246347704927</c:v>
                </c:pt>
                <c:pt idx="1355">
                  <c:v>5.987480026826602</c:v>
                </c:pt>
                <c:pt idx="1356">
                  <c:v>6.0246276848364992</c:v>
                </c:pt>
                <c:pt idx="1357">
                  <c:v>5.8962077728354014</c:v>
                </c:pt>
                <c:pt idx="1358">
                  <c:v>4.934880258800864</c:v>
                </c:pt>
                <c:pt idx="1359">
                  <c:v>5.0014357001490151</c:v>
                </c:pt>
                <c:pt idx="1360">
                  <c:v>5.0511400536336311</c:v>
                </c:pt>
                <c:pt idx="1361">
                  <c:v>5.0820162551342483</c:v>
                </c:pt>
                <c:pt idx="1362">
                  <c:v>4.9603223592627783</c:v>
                </c:pt>
                <c:pt idx="1363">
                  <c:v>6.9792695705815149</c:v>
                </c:pt>
                <c:pt idx="1364">
                  <c:v>6.9445393156323583</c:v>
                </c:pt>
                <c:pt idx="1365">
                  <c:v>7.1712692504040003</c:v>
                </c:pt>
                <c:pt idx="1366">
                  <c:v>6.9792710739848971</c:v>
                </c:pt>
                <c:pt idx="1367">
                  <c:v>7.0513999009911155</c:v>
                </c:pt>
                <c:pt idx="1368">
                  <c:v>1.9793943847948936</c:v>
                </c:pt>
                <c:pt idx="1369">
                  <c:v>5.080627825660434</c:v>
                </c:pt>
                <c:pt idx="1370">
                  <c:v>5.0768117786924902</c:v>
                </c:pt>
                <c:pt idx="1371">
                  <c:v>5.9863907183798997</c:v>
                </c:pt>
                <c:pt idx="1372">
                  <c:v>7.0097455584935489</c:v>
                </c:pt>
                <c:pt idx="1373">
                  <c:v>4.9323637479060043</c:v>
                </c:pt>
                <c:pt idx="1374">
                  <c:v>3.9594953769512626</c:v>
                </c:pt>
                <c:pt idx="1375">
                  <c:v>6.1259545423670856</c:v>
                </c:pt>
                <c:pt idx="1376">
                  <c:v>6.0155176735457863</c:v>
                </c:pt>
                <c:pt idx="1377">
                  <c:v>4.9648324611698573</c:v>
                </c:pt>
                <c:pt idx="1378">
                  <c:v>5.8230115379932172</c:v>
                </c:pt>
                <c:pt idx="1379">
                  <c:v>4.8840219819051205</c:v>
                </c:pt>
                <c:pt idx="1380">
                  <c:v>4.9113812998690785</c:v>
                </c:pt>
                <c:pt idx="1381">
                  <c:v>5.1251622912547123</c:v>
                </c:pt>
                <c:pt idx="1382">
                  <c:v>4.9388626220239304</c:v>
                </c:pt>
                <c:pt idx="1383">
                  <c:v>5.0397902297288244</c:v>
                </c:pt>
                <c:pt idx="1384">
                  <c:v>5.963786773601818</c:v>
                </c:pt>
                <c:pt idx="1385">
                  <c:v>4.8984293157617911</c:v>
                </c:pt>
                <c:pt idx="1386">
                  <c:v>5.1965480594019633</c:v>
                </c:pt>
                <c:pt idx="1387">
                  <c:v>4.0686126281394532</c:v>
                </c:pt>
                <c:pt idx="1388">
                  <c:v>4.798171037923936</c:v>
                </c:pt>
                <c:pt idx="1389">
                  <c:v>5.1190927719649029</c:v>
                </c:pt>
                <c:pt idx="1390">
                  <c:v>5.0476955555260723</c:v>
                </c:pt>
                <c:pt idx="1391">
                  <c:v>4.8976018669312307</c:v>
                </c:pt>
                <c:pt idx="1392">
                  <c:v>5.1779858978338682</c:v>
                </c:pt>
                <c:pt idx="1393">
                  <c:v>4.9290939816535992</c:v>
                </c:pt>
                <c:pt idx="1394">
                  <c:v>5.0001841419889406</c:v>
                </c:pt>
                <c:pt idx="1395">
                  <c:v>5.0807904249191616</c:v>
                </c:pt>
                <c:pt idx="1396">
                  <c:v>5.1799587623890373</c:v>
                </c:pt>
                <c:pt idx="1397">
                  <c:v>5.9796873852068009</c:v>
                </c:pt>
                <c:pt idx="1398">
                  <c:v>5.9691198156768799</c:v>
                </c:pt>
                <c:pt idx="1399">
                  <c:v>5.0123888640240617</c:v>
                </c:pt>
                <c:pt idx="1400">
                  <c:v>6.1133864167127872</c:v>
                </c:pt>
                <c:pt idx="1401">
                  <c:v>5.1436884479239211</c:v>
                </c:pt>
                <c:pt idx="1402">
                  <c:v>4.9410037378272014</c:v>
                </c:pt>
                <c:pt idx="1403">
                  <c:v>4.9295508033281932</c:v>
                </c:pt>
                <c:pt idx="1404">
                  <c:v>5.1554477348669465</c:v>
                </c:pt>
                <c:pt idx="1405">
                  <c:v>4.9977165106870194</c:v>
                </c:pt>
                <c:pt idx="1406">
                  <c:v>4.9719489191025446</c:v>
                </c:pt>
                <c:pt idx="1407">
                  <c:v>4.928060510215035</c:v>
                </c:pt>
                <c:pt idx="1408">
                  <c:v>5.9093728722460446</c:v>
                </c:pt>
                <c:pt idx="1409">
                  <c:v>5.9068608806681473</c:v>
                </c:pt>
                <c:pt idx="1410">
                  <c:v>4.9614862669910256</c:v>
                </c:pt>
                <c:pt idx="1411">
                  <c:v>5.1034139978938091</c:v>
                </c:pt>
                <c:pt idx="1412">
                  <c:v>4.8336695059631474</c:v>
                </c:pt>
                <c:pt idx="1413">
                  <c:v>6.0544046773089972</c:v>
                </c:pt>
                <c:pt idx="1414">
                  <c:v>4.9103532390083018</c:v>
                </c:pt>
                <c:pt idx="1415">
                  <c:v>5.9873769656755185</c:v>
                </c:pt>
                <c:pt idx="1416">
                  <c:v>6.0413923748262501</c:v>
                </c:pt>
                <c:pt idx="1417">
                  <c:v>5.050596756365838</c:v>
                </c:pt>
                <c:pt idx="1418">
                  <c:v>6.0091084948240203</c:v>
                </c:pt>
                <c:pt idx="1419">
                  <c:v>5.0636938607266098</c:v>
                </c:pt>
                <c:pt idx="1420">
                  <c:v>4.76490557917404</c:v>
                </c:pt>
                <c:pt idx="1421">
                  <c:v>6.0031929132650177</c:v>
                </c:pt>
                <c:pt idx="1422">
                  <c:v>6.2309384834672752</c:v>
                </c:pt>
                <c:pt idx="1423">
                  <c:v>5.9340190164528055</c:v>
                </c:pt>
                <c:pt idx="1424">
                  <c:v>5.0061494600984418</c:v>
                </c:pt>
                <c:pt idx="1425">
                  <c:v>4.0866424694728192</c:v>
                </c:pt>
                <c:pt idx="1426">
                  <c:v>5.0794036309425659</c:v>
                </c:pt>
                <c:pt idx="1427">
                  <c:v>6.2221107199630348</c:v>
                </c:pt>
                <c:pt idx="1428">
                  <c:v>5.1006731088775634</c:v>
                </c:pt>
                <c:pt idx="1429">
                  <c:v>3.9671980336702366</c:v>
                </c:pt>
                <c:pt idx="1430">
                  <c:v>4.960111809379419</c:v>
                </c:pt>
                <c:pt idx="1431">
                  <c:v>4.9946245141371062</c:v>
                </c:pt>
                <c:pt idx="1432">
                  <c:v>6.0081300559175848</c:v>
                </c:pt>
                <c:pt idx="1433">
                  <c:v>5.1077217826048074</c:v>
                </c:pt>
                <c:pt idx="1434">
                  <c:v>4.7857215788933356</c:v>
                </c:pt>
                <c:pt idx="1435">
                  <c:v>4.0185837209383299</c:v>
                </c:pt>
                <c:pt idx="1436">
                  <c:v>5.803840817283505</c:v>
                </c:pt>
                <c:pt idx="1437">
                  <c:v>5.0768424395758398</c:v>
                </c:pt>
                <c:pt idx="1438">
                  <c:v>5.942387681661125</c:v>
                </c:pt>
                <c:pt idx="1439">
                  <c:v>4.9306598793130565</c:v>
                </c:pt>
                <c:pt idx="1440">
                  <c:v>5.0609695230528962</c:v>
                </c:pt>
                <c:pt idx="1441">
                  <c:v>4.8264570712997896</c:v>
                </c:pt>
                <c:pt idx="1442">
                  <c:v>6.013104687216928</c:v>
                </c:pt>
                <c:pt idx="1443">
                  <c:v>4.8261587874841521</c:v>
                </c:pt>
                <c:pt idx="1444">
                  <c:v>5.0748590455741267</c:v>
                </c:pt>
                <c:pt idx="1445">
                  <c:v>5.9105886004566166</c:v>
                </c:pt>
                <c:pt idx="1446">
                  <c:v>5.127280408851802</c:v>
                </c:pt>
                <c:pt idx="1447">
                  <c:v>5.1667941397074184</c:v>
                </c:pt>
                <c:pt idx="1448">
                  <c:v>6.0001812221193971</c:v>
                </c:pt>
                <c:pt idx="1449">
                  <c:v>5.0951106336919114</c:v>
                </c:pt>
                <c:pt idx="1450">
                  <c:v>5.0912139543028703</c:v>
                </c:pt>
                <c:pt idx="1451">
                  <c:v>6.0587822331602652</c:v>
                </c:pt>
                <c:pt idx="1452">
                  <c:v>3.0125944993891767</c:v>
                </c:pt>
                <c:pt idx="1453">
                  <c:v>4.957947351554056</c:v>
                </c:pt>
                <c:pt idx="1454">
                  <c:v>5.8034542487009251</c:v>
                </c:pt>
                <c:pt idx="1455">
                  <c:v>6.1094647571735221</c:v>
                </c:pt>
                <c:pt idx="1456">
                  <c:v>6.0049705405221889</c:v>
                </c:pt>
                <c:pt idx="1457">
                  <c:v>4.2234822839722597</c:v>
                </c:pt>
                <c:pt idx="1458">
                  <c:v>5.9360942756479274</c:v>
                </c:pt>
                <c:pt idx="1459">
                  <c:v>3.9256748416193856</c:v>
                </c:pt>
                <c:pt idx="1460">
                  <c:v>7.0754724328139691</c:v>
                </c:pt>
                <c:pt idx="1461">
                  <c:v>4.2068758414270819</c:v>
                </c:pt>
                <c:pt idx="1462">
                  <c:v>3.8464166921739213</c:v>
                </c:pt>
                <c:pt idx="1463">
                  <c:v>5.9589041719070011</c:v>
                </c:pt>
                <c:pt idx="1464">
                  <c:v>6.1208132326889269</c:v>
                </c:pt>
                <c:pt idx="1465">
                  <c:v>5.8886609250135384</c:v>
                </c:pt>
                <c:pt idx="1466">
                  <c:v>5.0460561376856106</c:v>
                </c:pt>
                <c:pt idx="1467">
                  <c:v>4.8198742997931969</c:v>
                </c:pt>
                <c:pt idx="1468">
                  <c:v>4.9295587074474696</c:v>
                </c:pt>
                <c:pt idx="1469">
                  <c:v>5.0062397146295501</c:v>
                </c:pt>
                <c:pt idx="1470">
                  <c:v>4.9377848731278249</c:v>
                </c:pt>
                <c:pt idx="1471">
                  <c:v>6.166417736570815</c:v>
                </c:pt>
                <c:pt idx="1472">
                  <c:v>5.9681733384796232</c:v>
                </c:pt>
                <c:pt idx="1473">
                  <c:v>6.2288233801681869</c:v>
                </c:pt>
                <c:pt idx="1474">
                  <c:v>5.0018259817421304</c:v>
                </c:pt>
                <c:pt idx="1475">
                  <c:v>4.8655432909700629</c:v>
                </c:pt>
                <c:pt idx="1476">
                  <c:v>6.0851694506913061</c:v>
                </c:pt>
                <c:pt idx="1477">
                  <c:v>5.937423178829663</c:v>
                </c:pt>
                <c:pt idx="1478">
                  <c:v>6.1474050634347366</c:v>
                </c:pt>
                <c:pt idx="1479">
                  <c:v>5.0689121840075853</c:v>
                </c:pt>
                <c:pt idx="1480">
                  <c:v>6.0565132522056944</c:v>
                </c:pt>
                <c:pt idx="1481">
                  <c:v>5.0811605290360795</c:v>
                </c:pt>
                <c:pt idx="1482">
                  <c:v>6.1170220653615548</c:v>
                </c:pt>
                <c:pt idx="1483">
                  <c:v>5.9547202219675244</c:v>
                </c:pt>
                <c:pt idx="1484">
                  <c:v>5.9967052923574222</c:v>
                </c:pt>
                <c:pt idx="1485">
                  <c:v>5.867229812440141</c:v>
                </c:pt>
                <c:pt idx="1486">
                  <c:v>5.0047521938986765</c:v>
                </c:pt>
                <c:pt idx="1487">
                  <c:v>5.0873052644601984</c:v>
                </c:pt>
                <c:pt idx="1488">
                  <c:v>6.824897125124723</c:v>
                </c:pt>
                <c:pt idx="1489">
                  <c:v>5.8697049294707702</c:v>
                </c:pt>
                <c:pt idx="1490">
                  <c:v>5.0449656711705382</c:v>
                </c:pt>
                <c:pt idx="1491">
                  <c:v>6.0023947426902664</c:v>
                </c:pt>
                <c:pt idx="1492">
                  <c:v>4.9595013318108974</c:v>
                </c:pt>
                <c:pt idx="1493">
                  <c:v>6.9822484941734739</c:v>
                </c:pt>
                <c:pt idx="1494">
                  <c:v>6.0416476113902942</c:v>
                </c:pt>
                <c:pt idx="1495">
                  <c:v>6.0408243042656284</c:v>
                </c:pt>
                <c:pt idx="1496">
                  <c:v>5.0231741696928225</c:v>
                </c:pt>
                <c:pt idx="1497">
                  <c:v>7.0111092441233875</c:v>
                </c:pt>
                <c:pt idx="1498">
                  <c:v>5.1850180564593389</c:v>
                </c:pt>
                <c:pt idx="1499">
                  <c:v>4.9447529385054105</c:v>
                </c:pt>
                <c:pt idx="1500">
                  <c:v>4.9491127328295796</c:v>
                </c:pt>
                <c:pt idx="1501">
                  <c:v>4.9171128588765258</c:v>
                </c:pt>
                <c:pt idx="1502">
                  <c:v>4.9570236729721371</c:v>
                </c:pt>
                <c:pt idx="1503">
                  <c:v>6.0348319279866391</c:v>
                </c:pt>
                <c:pt idx="1504">
                  <c:v>6.132555238612408</c:v>
                </c:pt>
                <c:pt idx="1505">
                  <c:v>4.0916030770846445</c:v>
                </c:pt>
                <c:pt idx="1506">
                  <c:v>5.8985141638030365</c:v>
                </c:pt>
                <c:pt idx="1507">
                  <c:v>4.9198960450744851</c:v>
                </c:pt>
                <c:pt idx="1508">
                  <c:v>3.9897154610321497</c:v>
                </c:pt>
                <c:pt idx="1509">
                  <c:v>5.1214094591127628</c:v>
                </c:pt>
                <c:pt idx="1510">
                  <c:v>4.9853155500174013</c:v>
                </c:pt>
                <c:pt idx="1511">
                  <c:v>5.845340387382949</c:v>
                </c:pt>
                <c:pt idx="1512">
                  <c:v>5.9613120285002772</c:v>
                </c:pt>
                <c:pt idx="1513">
                  <c:v>5.9976844460363532</c:v>
                </c:pt>
                <c:pt idx="1514">
                  <c:v>5.8490509193759559</c:v>
                </c:pt>
                <c:pt idx="1515">
                  <c:v>5.8668597343559705</c:v>
                </c:pt>
                <c:pt idx="1516">
                  <c:v>5.9962755347430585</c:v>
                </c:pt>
                <c:pt idx="1517">
                  <c:v>5.8398314730361607</c:v>
                </c:pt>
                <c:pt idx="1518">
                  <c:v>4.8924849355596374</c:v>
                </c:pt>
                <c:pt idx="1519">
                  <c:v>3.80005061718412</c:v>
                </c:pt>
                <c:pt idx="1520">
                  <c:v>6.1082069735763804</c:v>
                </c:pt>
                <c:pt idx="1521">
                  <c:v>6.0095975437153797</c:v>
                </c:pt>
                <c:pt idx="1522">
                  <c:v>6.050015229774159</c:v>
                </c:pt>
                <c:pt idx="1523">
                  <c:v>5.9789608443947246</c:v>
                </c:pt>
                <c:pt idx="1524">
                  <c:v>5.0810875706787408</c:v>
                </c:pt>
                <c:pt idx="1525">
                  <c:v>6.0089238318436884</c:v>
                </c:pt>
                <c:pt idx="1526">
                  <c:v>4.9589766269081865</c:v>
                </c:pt>
                <c:pt idx="1527">
                  <c:v>5.9611178247271734</c:v>
                </c:pt>
                <c:pt idx="1528">
                  <c:v>5.0825362569435022</c:v>
                </c:pt>
                <c:pt idx="1529">
                  <c:v>5.0827426836464635</c:v>
                </c:pt>
                <c:pt idx="1530">
                  <c:v>5.1003037719494486</c:v>
                </c:pt>
                <c:pt idx="1531">
                  <c:v>6.0279643208098097</c:v>
                </c:pt>
                <c:pt idx="1532">
                  <c:v>4.9839882418753607</c:v>
                </c:pt>
                <c:pt idx="1533">
                  <c:v>5.0493054115778877</c:v>
                </c:pt>
                <c:pt idx="1534">
                  <c:v>4.9861222900984492</c:v>
                </c:pt>
                <c:pt idx="1535">
                  <c:v>4.9357568475741074</c:v>
                </c:pt>
                <c:pt idx="1536">
                  <c:v>6.0461429726130911</c:v>
                </c:pt>
                <c:pt idx="1537">
                  <c:v>5.9494815782719543</c:v>
                </c:pt>
                <c:pt idx="1538">
                  <c:v>6.0038469414858948</c:v>
                </c:pt>
                <c:pt idx="1539">
                  <c:v>6.9367057866765238</c:v>
                </c:pt>
                <c:pt idx="1540">
                  <c:v>4.9301986046023707</c:v>
                </c:pt>
                <c:pt idx="1541">
                  <c:v>6.0208611233070659</c:v>
                </c:pt>
                <c:pt idx="1542">
                  <c:v>4.9680537468823802</c:v>
                </c:pt>
                <c:pt idx="1543">
                  <c:v>4.9586338018187623</c:v>
                </c:pt>
                <c:pt idx="1544">
                  <c:v>5.9662026325308553</c:v>
                </c:pt>
                <c:pt idx="1545">
                  <c:v>5.0892076914677906</c:v>
                </c:pt>
                <c:pt idx="1546">
                  <c:v>5.9781483995940707</c:v>
                </c:pt>
                <c:pt idx="1547">
                  <c:v>4.9893715651338493</c:v>
                </c:pt>
                <c:pt idx="1548">
                  <c:v>4.842799659739053</c:v>
                </c:pt>
                <c:pt idx="1549">
                  <c:v>4.9734519425762747</c:v>
                </c:pt>
                <c:pt idx="1550">
                  <c:v>5.020292087287717</c:v>
                </c:pt>
                <c:pt idx="1551">
                  <c:v>6.0068706048375207</c:v>
                </c:pt>
                <c:pt idx="1552">
                  <c:v>6.0718880310546481</c:v>
                </c:pt>
                <c:pt idx="1553">
                  <c:v>5.998508225613949</c:v>
                </c:pt>
                <c:pt idx="1554">
                  <c:v>6.0716885945889638</c:v>
                </c:pt>
                <c:pt idx="1555">
                  <c:v>5.0859131990079707</c:v>
                </c:pt>
                <c:pt idx="1556">
                  <c:v>4.9464327856672323</c:v>
                </c:pt>
                <c:pt idx="1557">
                  <c:v>5.8791336148930418</c:v>
                </c:pt>
                <c:pt idx="1558">
                  <c:v>5.1766695391056103</c:v>
                </c:pt>
                <c:pt idx="1559">
                  <c:v>4.8618784390254053</c:v>
                </c:pt>
                <c:pt idx="1560">
                  <c:v>5.0449327600918412</c:v>
                </c:pt>
                <c:pt idx="1561">
                  <c:v>4.9111122226586978</c:v>
                </c:pt>
                <c:pt idx="1562">
                  <c:v>4.8186737710605234</c:v>
                </c:pt>
                <c:pt idx="1563">
                  <c:v>6.9457952130843079</c:v>
                </c:pt>
                <c:pt idx="1564">
                  <c:v>4.9709100423699129</c:v>
                </c:pt>
                <c:pt idx="1565">
                  <c:v>5.9577685815713579</c:v>
                </c:pt>
                <c:pt idx="1566">
                  <c:v>4.934277153790779</c:v>
                </c:pt>
                <c:pt idx="1567">
                  <c:v>5.9040487725448729</c:v>
                </c:pt>
                <c:pt idx="1568">
                  <c:v>5.8285529105939844</c:v>
                </c:pt>
                <c:pt idx="1569">
                  <c:v>4.9837375453025823</c:v>
                </c:pt>
                <c:pt idx="1570">
                  <c:v>4.9242642634943348</c:v>
                </c:pt>
                <c:pt idx="1571">
                  <c:v>4.9688893393770837</c:v>
                </c:pt>
                <c:pt idx="1572">
                  <c:v>6.032121785399104</c:v>
                </c:pt>
                <c:pt idx="1573">
                  <c:v>5.0155669475592015</c:v>
                </c:pt>
                <c:pt idx="1574">
                  <c:v>4.8680456786225319</c:v>
                </c:pt>
                <c:pt idx="1575">
                  <c:v>5.0530441721977386</c:v>
                </c:pt>
                <c:pt idx="1576">
                  <c:v>5.0849779806945614</c:v>
                </c:pt>
                <c:pt idx="1577">
                  <c:v>6.1540344951898067</c:v>
                </c:pt>
                <c:pt idx="1578">
                  <c:v>4.7086337071285058</c:v>
                </c:pt>
                <c:pt idx="1579">
                  <c:v>4.814989713853139</c:v>
                </c:pt>
                <c:pt idx="1580">
                  <c:v>4.9764006832320486</c:v>
                </c:pt>
                <c:pt idx="1581">
                  <c:v>6.9741159047159256</c:v>
                </c:pt>
                <c:pt idx="1582">
                  <c:v>5.0064865789554736</c:v>
                </c:pt>
                <c:pt idx="1583">
                  <c:v>5.0645121141125049</c:v>
                </c:pt>
                <c:pt idx="1584">
                  <c:v>5.8480751106768398</c:v>
                </c:pt>
                <c:pt idx="1585">
                  <c:v>4.9174315224445513</c:v>
                </c:pt>
                <c:pt idx="1586">
                  <c:v>5.1358141486388256</c:v>
                </c:pt>
                <c:pt idx="1587">
                  <c:v>6.0550148369395904</c:v>
                </c:pt>
                <c:pt idx="1588">
                  <c:v>6.0388756549651772</c:v>
                </c:pt>
                <c:pt idx="1589">
                  <c:v>5.9456037897608294</c:v>
                </c:pt>
                <c:pt idx="1590">
                  <c:v>4.8876612059468556</c:v>
                </c:pt>
                <c:pt idx="1591">
                  <c:v>4.9302834662293611</c:v>
                </c:pt>
                <c:pt idx="1592">
                  <c:v>5.1248780853269942</c:v>
                </c:pt>
                <c:pt idx="1593">
                  <c:v>4.9889656192643015</c:v>
                </c:pt>
                <c:pt idx="1594">
                  <c:v>6.0423308486376932</c:v>
                </c:pt>
                <c:pt idx="1595">
                  <c:v>5.1482429645527796</c:v>
                </c:pt>
                <c:pt idx="1596">
                  <c:v>6.0698520783869965</c:v>
                </c:pt>
                <c:pt idx="1597">
                  <c:v>6.0198787373307292</c:v>
                </c:pt>
                <c:pt idx="1598">
                  <c:v>5.0239392257237467</c:v>
                </c:pt>
                <c:pt idx="1599">
                  <c:v>6.8994519357586439</c:v>
                </c:pt>
                <c:pt idx="1600">
                  <c:v>5.9426898908134733</c:v>
                </c:pt>
                <c:pt idx="1601">
                  <c:v>4.9512737368493571</c:v>
                </c:pt>
                <c:pt idx="1602">
                  <c:v>5.016811751011204</c:v>
                </c:pt>
                <c:pt idx="1603">
                  <c:v>6.0769687858037562</c:v>
                </c:pt>
                <c:pt idx="1604">
                  <c:v>5.02756902148887</c:v>
                </c:pt>
                <c:pt idx="1605">
                  <c:v>6.0794510723030273</c:v>
                </c:pt>
                <c:pt idx="1606">
                  <c:v>4.8138925518741527</c:v>
                </c:pt>
                <c:pt idx="1607">
                  <c:v>6.097146003314041</c:v>
                </c:pt>
                <c:pt idx="1608">
                  <c:v>6.1640262583258547</c:v>
                </c:pt>
                <c:pt idx="1609">
                  <c:v>5.1013682409547076</c:v>
                </c:pt>
                <c:pt idx="1610">
                  <c:v>5.8740073363986181</c:v>
                </c:pt>
                <c:pt idx="1611">
                  <c:v>5.9468040461806471</c:v>
                </c:pt>
                <c:pt idx="1612">
                  <c:v>6.0935087929108755</c:v>
                </c:pt>
                <c:pt idx="1613">
                  <c:v>5.8299598981463721</c:v>
                </c:pt>
                <c:pt idx="1614">
                  <c:v>6.0754805607255946</c:v>
                </c:pt>
                <c:pt idx="1615">
                  <c:v>5.8292385078480349</c:v>
                </c:pt>
                <c:pt idx="1616">
                  <c:v>6.0644635907741922</c:v>
                </c:pt>
                <c:pt idx="1617">
                  <c:v>6.0222869053474186</c:v>
                </c:pt>
                <c:pt idx="1618">
                  <c:v>5.0072494557642573</c:v>
                </c:pt>
                <c:pt idx="1619">
                  <c:v>6.0446459550889147</c:v>
                </c:pt>
                <c:pt idx="1620">
                  <c:v>5.9832665587517972</c:v>
                </c:pt>
                <c:pt idx="1621">
                  <c:v>5.0484286958392097</c:v>
                </c:pt>
                <c:pt idx="1622">
                  <c:v>4.8636805950710738</c:v>
                </c:pt>
                <c:pt idx="1623">
                  <c:v>6.1621290160024627</c:v>
                </c:pt>
                <c:pt idx="1624">
                  <c:v>4.9402358825573875</c:v>
                </c:pt>
                <c:pt idx="1625">
                  <c:v>5.7991090339238625</c:v>
                </c:pt>
                <c:pt idx="1626">
                  <c:v>5.7918254713655486</c:v>
                </c:pt>
                <c:pt idx="1627">
                  <c:v>5.9632265721059179</c:v>
                </c:pt>
                <c:pt idx="1628">
                  <c:v>4.8876202473119834</c:v>
                </c:pt>
                <c:pt idx="1629">
                  <c:v>6.1437152396836439</c:v>
                </c:pt>
                <c:pt idx="1630">
                  <c:v>6.1221903983915524</c:v>
                </c:pt>
                <c:pt idx="1631">
                  <c:v>4.9624739134349811</c:v>
                </c:pt>
                <c:pt idx="1632">
                  <c:v>4.9683110444877849</c:v>
                </c:pt>
                <c:pt idx="1633">
                  <c:v>5.2480588608432202</c:v>
                </c:pt>
                <c:pt idx="1634">
                  <c:v>4.74735852812295</c:v>
                </c:pt>
                <c:pt idx="1635">
                  <c:v>7.1588568522628044</c:v>
                </c:pt>
                <c:pt idx="1636">
                  <c:v>5.0122034919857708</c:v>
                </c:pt>
                <c:pt idx="1637">
                  <c:v>4.8858732119302015</c:v>
                </c:pt>
                <c:pt idx="1638">
                  <c:v>5.0445430634380815</c:v>
                </c:pt>
                <c:pt idx="1639">
                  <c:v>4.8368747116876625</c:v>
                </c:pt>
                <c:pt idx="1640">
                  <c:v>4.9130102368451931</c:v>
                </c:pt>
                <c:pt idx="1641">
                  <c:v>4.0568087796770982</c:v>
                </c:pt>
                <c:pt idx="1642">
                  <c:v>4.0717940008802334</c:v>
                </c:pt>
                <c:pt idx="1643">
                  <c:v>4.8460173896114078</c:v>
                </c:pt>
                <c:pt idx="1644">
                  <c:v>3.9652083442792754</c:v>
                </c:pt>
                <c:pt idx="1645">
                  <c:v>4.8560107311468821</c:v>
                </c:pt>
                <c:pt idx="1646">
                  <c:v>4.9902981786801428</c:v>
                </c:pt>
                <c:pt idx="1647">
                  <c:v>5.0519511087515392</c:v>
                </c:pt>
                <c:pt idx="1648">
                  <c:v>5.9849069029894393</c:v>
                </c:pt>
                <c:pt idx="1649">
                  <c:v>4.9805979476424724</c:v>
                </c:pt>
                <c:pt idx="1650">
                  <c:v>4.9518561966153616</c:v>
                </c:pt>
                <c:pt idx="1651">
                  <c:v>6.1268435304747006</c:v>
                </c:pt>
                <c:pt idx="1652">
                  <c:v>5.9277779476882824</c:v>
                </c:pt>
                <c:pt idx="1653">
                  <c:v>6.0044324793110224</c:v>
                </c:pt>
                <c:pt idx="1654">
                  <c:v>4.9794921156654501</c:v>
                </c:pt>
                <c:pt idx="1655">
                  <c:v>5.8965083023047935</c:v>
                </c:pt>
                <c:pt idx="1656">
                  <c:v>6.1129733354065028</c:v>
                </c:pt>
                <c:pt idx="1657">
                  <c:v>6.0824156767470159</c:v>
                </c:pt>
                <c:pt idx="1658">
                  <c:v>6.0056174527730937</c:v>
                </c:pt>
                <c:pt idx="1659">
                  <c:v>5.9551203512054007</c:v>
                </c:pt>
                <c:pt idx="1660">
                  <c:v>5.0800268402610413</c:v>
                </c:pt>
                <c:pt idx="1661">
                  <c:v>6.0953871116214504</c:v>
                </c:pt>
                <c:pt idx="1662">
                  <c:v>5.9780243316345674</c:v>
                </c:pt>
                <c:pt idx="1663">
                  <c:v>5.9467183379880728</c:v>
                </c:pt>
                <c:pt idx="1664">
                  <c:v>5.8480393291786585</c:v>
                </c:pt>
                <c:pt idx="1665">
                  <c:v>4.946190586525085</c:v>
                </c:pt>
                <c:pt idx="1666">
                  <c:v>5.1425426393122367</c:v>
                </c:pt>
                <c:pt idx="1667">
                  <c:v>5.0231568680827436</c:v>
                </c:pt>
                <c:pt idx="1668">
                  <c:v>5.1124419254701312</c:v>
                </c:pt>
                <c:pt idx="1669">
                  <c:v>5.9345883324534938</c:v>
                </c:pt>
                <c:pt idx="1670">
                  <c:v>4.9552258568370311</c:v>
                </c:pt>
                <c:pt idx="1671">
                  <c:v>5.8927047473224166</c:v>
                </c:pt>
                <c:pt idx="1672">
                  <c:v>5.1849156909881531</c:v>
                </c:pt>
                <c:pt idx="1673">
                  <c:v>4.9808950406419763</c:v>
                </c:pt>
                <c:pt idx="1674">
                  <c:v>5.989677831311548</c:v>
                </c:pt>
                <c:pt idx="1675">
                  <c:v>5.9834037971231284</c:v>
                </c:pt>
                <c:pt idx="1676">
                  <c:v>5.8324936232081148</c:v>
                </c:pt>
                <c:pt idx="1677">
                  <c:v>6.116095836878543</c:v>
                </c:pt>
                <c:pt idx="1678">
                  <c:v>5.0078871522200297</c:v>
                </c:pt>
                <c:pt idx="1679">
                  <c:v>4.8590788787663</c:v>
                </c:pt>
                <c:pt idx="1680">
                  <c:v>6.2000239635277765</c:v>
                </c:pt>
                <c:pt idx="1681">
                  <c:v>5.1116560927838535</c:v>
                </c:pt>
                <c:pt idx="1682">
                  <c:v>6.0350862199330519</c:v>
                </c:pt>
                <c:pt idx="1683">
                  <c:v>4.9431397368560051</c:v>
                </c:pt>
                <c:pt idx="1684">
                  <c:v>6.0529166820082789</c:v>
                </c:pt>
                <c:pt idx="1685">
                  <c:v>5.937878870251426</c:v>
                </c:pt>
                <c:pt idx="1686">
                  <c:v>5.9030984466826073</c:v>
                </c:pt>
                <c:pt idx="1687">
                  <c:v>5.9663760687832061</c:v>
                </c:pt>
                <c:pt idx="1688">
                  <c:v>4.9958593621578995</c:v>
                </c:pt>
                <c:pt idx="1689">
                  <c:v>5.956308523364144</c:v>
                </c:pt>
                <c:pt idx="1690">
                  <c:v>5.2379020443299034</c:v>
                </c:pt>
                <c:pt idx="1691">
                  <c:v>4.9019466371206377</c:v>
                </c:pt>
                <c:pt idx="1692">
                  <c:v>6.0422790651991205</c:v>
                </c:pt>
                <c:pt idx="1693">
                  <c:v>7.0536372004064978</c:v>
                </c:pt>
                <c:pt idx="1694">
                  <c:v>5.1463293766966212</c:v>
                </c:pt>
                <c:pt idx="1695">
                  <c:v>4.9174754394265676</c:v>
                </c:pt>
                <c:pt idx="1696">
                  <c:v>5.1675038119243979</c:v>
                </c:pt>
                <c:pt idx="1697">
                  <c:v>6.142760437741388</c:v>
                </c:pt>
                <c:pt idx="1698">
                  <c:v>5.003157606942624</c:v>
                </c:pt>
                <c:pt idx="1699">
                  <c:v>4.7997180646578732</c:v>
                </c:pt>
                <c:pt idx="1700">
                  <c:v>7.010775156421472</c:v>
                </c:pt>
                <c:pt idx="1701">
                  <c:v>6.0642888112883773</c:v>
                </c:pt>
                <c:pt idx="1702">
                  <c:v>5.8794314586448877</c:v>
                </c:pt>
                <c:pt idx="1703">
                  <c:v>6.1073940019664716</c:v>
                </c:pt>
                <c:pt idx="1704">
                  <c:v>6.1173287459887611</c:v>
                </c:pt>
                <c:pt idx="1705">
                  <c:v>4.8421319744324975</c:v>
                </c:pt>
                <c:pt idx="1706">
                  <c:v>4.9481736878241378</c:v>
                </c:pt>
                <c:pt idx="1707">
                  <c:v>5.9997440973033127</c:v>
                </c:pt>
                <c:pt idx="1708">
                  <c:v>5.9998158504125998</c:v>
                </c:pt>
                <c:pt idx="1709">
                  <c:v>5.8872233950937289</c:v>
                </c:pt>
                <c:pt idx="1710">
                  <c:v>5.0577872971097904</c:v>
                </c:pt>
                <c:pt idx="1711">
                  <c:v>6.0402280299672482</c:v>
                </c:pt>
                <c:pt idx="1712">
                  <c:v>5.0369402998500341</c:v>
                </c:pt>
                <c:pt idx="1713">
                  <c:v>6.0687542663535732</c:v>
                </c:pt>
                <c:pt idx="1714">
                  <c:v>5.1074470609559572</c:v>
                </c:pt>
                <c:pt idx="1715">
                  <c:v>4.9591039636061085</c:v>
                </c:pt>
                <c:pt idx="1716">
                  <c:v>4.9589175018003067</c:v>
                </c:pt>
                <c:pt idx="1717">
                  <c:v>6.0324211720092968</c:v>
                </c:pt>
                <c:pt idx="1718">
                  <c:v>4.9557464030816485</c:v>
                </c:pt>
                <c:pt idx="1719">
                  <c:v>5.0073470099336355</c:v>
                </c:pt>
                <c:pt idx="1720">
                  <c:v>4.9585231271684975</c:v>
                </c:pt>
                <c:pt idx="1721">
                  <c:v>4.9536980162583486</c:v>
                </c:pt>
                <c:pt idx="1722">
                  <c:v>5.0104799381652452</c:v>
                </c:pt>
                <c:pt idx="1723">
                  <c:v>4.9535526185937231</c:v>
                </c:pt>
                <c:pt idx="1724">
                  <c:v>5.8030444491984543</c:v>
                </c:pt>
                <c:pt idx="1725">
                  <c:v>8.0813146389412704</c:v>
                </c:pt>
                <c:pt idx="1726">
                  <c:v>6.0318079781479916</c:v>
                </c:pt>
                <c:pt idx="1727">
                  <c:v>6.0818817929035802</c:v>
                </c:pt>
                <c:pt idx="1728">
                  <c:v>5.0428860601789696</c:v>
                </c:pt>
                <c:pt idx="1729">
                  <c:v>6.0640122191981476</c:v>
                </c:pt>
                <c:pt idx="1730">
                  <c:v>4.8299553514755331</c:v>
                </c:pt>
                <c:pt idx="1731">
                  <c:v>4.8820492691416222</c:v>
                </c:pt>
                <c:pt idx="1732">
                  <c:v>6.0178369732750516</c:v>
                </c:pt>
                <c:pt idx="1733">
                  <c:v>6.0749891336618438</c:v>
                </c:pt>
                <c:pt idx="1734">
                  <c:v>5.0981179937987813</c:v>
                </c:pt>
                <c:pt idx="1735">
                  <c:v>6.0193022339934394</c:v>
                </c:pt>
                <c:pt idx="1736">
                  <c:v>5.9783379240996233</c:v>
                </c:pt>
                <c:pt idx="1737">
                  <c:v>4.9935769857790069</c:v>
                </c:pt>
                <c:pt idx="1738">
                  <c:v>6.0173771631129753</c:v>
                </c:pt>
                <c:pt idx="1739">
                  <c:v>5.9564139151139628</c:v>
                </c:pt>
                <c:pt idx="1740">
                  <c:v>6.0186644143235517</c:v>
                </c:pt>
                <c:pt idx="1741">
                  <c:v>6.0841275744077707</c:v>
                </c:pt>
                <c:pt idx="1742">
                  <c:v>4.939363854198823</c:v>
                </c:pt>
                <c:pt idx="1743">
                  <c:v>5.0209056256243576</c:v>
                </c:pt>
                <c:pt idx="1744">
                  <c:v>5.0896914770945445</c:v>
                </c:pt>
                <c:pt idx="1745">
                  <c:v>4.8843353109940315</c:v>
                </c:pt>
                <c:pt idx="1746">
                  <c:v>5.8573581035146836</c:v>
                </c:pt>
                <c:pt idx="1747">
                  <c:v>5.1464830439188232</c:v>
                </c:pt>
                <c:pt idx="1748">
                  <c:v>4.9875841425473002</c:v>
                </c:pt>
                <c:pt idx="1749">
                  <c:v>5.137286263988261</c:v>
                </c:pt>
                <c:pt idx="1750">
                  <c:v>4.9382685892016598</c:v>
                </c:pt>
                <c:pt idx="1751">
                  <c:v>5.0948724969759258</c:v>
                </c:pt>
                <c:pt idx="1752">
                  <c:v>4.95963643336645</c:v>
                </c:pt>
                <c:pt idx="1753">
                  <c:v>6.1155271975919199</c:v>
                </c:pt>
                <c:pt idx="1754">
                  <c:v>6.1934810136891558</c:v>
                </c:pt>
                <c:pt idx="1755">
                  <c:v>5.9722855793114773</c:v>
                </c:pt>
                <c:pt idx="1756">
                  <c:v>5.0330797874487541</c:v>
                </c:pt>
                <c:pt idx="1757">
                  <c:v>5.8649112305885911</c:v>
                </c:pt>
                <c:pt idx="1758">
                  <c:v>5.0288746708351661</c:v>
                </c:pt>
                <c:pt idx="1759">
                  <c:v>5.0759050376335875</c:v>
                </c:pt>
                <c:pt idx="1760">
                  <c:v>6.1808745233986278</c:v>
                </c:pt>
                <c:pt idx="1761">
                  <c:v>5.0849757094733441</c:v>
                </c:pt>
                <c:pt idx="1762">
                  <c:v>5.9705043357779886</c:v>
                </c:pt>
                <c:pt idx="1763">
                  <c:v>6.9432394029726252</c:v>
                </c:pt>
                <c:pt idx="1764">
                  <c:v>5.1736793779655557</c:v>
                </c:pt>
                <c:pt idx="1765">
                  <c:v>6.0415193177578388</c:v>
                </c:pt>
                <c:pt idx="1766">
                  <c:v>4.9525124879857083</c:v>
                </c:pt>
                <c:pt idx="1767">
                  <c:v>6.0577004633358085</c:v>
                </c:pt>
                <c:pt idx="1768">
                  <c:v>5.9480296879828245</c:v>
                </c:pt>
                <c:pt idx="1769">
                  <c:v>7.1208564105923857</c:v>
                </c:pt>
                <c:pt idx="1770">
                  <c:v>5.7847013161717866</c:v>
                </c:pt>
                <c:pt idx="1771">
                  <c:v>5.1916110196543119</c:v>
                </c:pt>
                <c:pt idx="1772">
                  <c:v>4.8849252239357535</c:v>
                </c:pt>
                <c:pt idx="1773">
                  <c:v>5.0728877469520119</c:v>
                </c:pt>
                <c:pt idx="1774">
                  <c:v>5.1090630346135741</c:v>
                </c:pt>
                <c:pt idx="1775">
                  <c:v>5.0460749940729777</c:v>
                </c:pt>
                <c:pt idx="1776">
                  <c:v>4.9338329237332026</c:v>
                </c:pt>
                <c:pt idx="1777">
                  <c:v>6.0756324752865707</c:v>
                </c:pt>
                <c:pt idx="1778">
                  <c:v>4.9998709419589282</c:v>
                </c:pt>
                <c:pt idx="1779">
                  <c:v>7.0985852971509864</c:v>
                </c:pt>
                <c:pt idx="1780">
                  <c:v>6.0140461442834425</c:v>
                </c:pt>
                <c:pt idx="1781">
                  <c:v>6.9825589629116482</c:v>
                </c:pt>
                <c:pt idx="1782">
                  <c:v>7.2185148878607013</c:v>
                </c:pt>
                <c:pt idx="1783">
                  <c:v>7.0078224728425278</c:v>
                </c:pt>
                <c:pt idx="1784">
                  <c:v>5.1230315443199412</c:v>
                </c:pt>
                <c:pt idx="1785">
                  <c:v>6.1878968537699546</c:v>
                </c:pt>
                <c:pt idx="1786">
                  <c:v>4.9935645686681669</c:v>
                </c:pt>
                <c:pt idx="1787">
                  <c:v>6.0023284724834332</c:v>
                </c:pt>
                <c:pt idx="1788">
                  <c:v>5.0262893481954203</c:v>
                </c:pt>
                <c:pt idx="1789">
                  <c:v>5.9382634541594994</c:v>
                </c:pt>
                <c:pt idx="1790">
                  <c:v>5.8400088778920471</c:v>
                </c:pt>
                <c:pt idx="1791">
                  <c:v>5.0536722797038207</c:v>
                </c:pt>
                <c:pt idx="1792">
                  <c:v>6.0152948395605774</c:v>
                </c:pt>
                <c:pt idx="1793">
                  <c:v>6.1051945765989455</c:v>
                </c:pt>
                <c:pt idx="1794">
                  <c:v>5.9485971436265626</c:v>
                </c:pt>
                <c:pt idx="1795">
                  <c:v>6.0994079050710681</c:v>
                </c:pt>
                <c:pt idx="1796">
                  <c:v>5.9605744693683071</c:v>
                </c:pt>
                <c:pt idx="1797">
                  <c:v>5.0236891580984402</c:v>
                </c:pt>
                <c:pt idx="1798">
                  <c:v>6.1593456100323625</c:v>
                </c:pt>
                <c:pt idx="1799">
                  <c:v>6.8705454235806798</c:v>
                </c:pt>
                <c:pt idx="1800">
                  <c:v>5.0574122244510091</c:v>
                </c:pt>
                <c:pt idx="1801">
                  <c:v>6.0501801321697926</c:v>
                </c:pt>
                <c:pt idx="1802">
                  <c:v>6.0045373223512968</c:v>
                </c:pt>
                <c:pt idx="1803">
                  <c:v>5.1425369371948211</c:v>
                </c:pt>
                <c:pt idx="1804">
                  <c:v>6.9094969449193639</c:v>
                </c:pt>
                <c:pt idx="1805">
                  <c:v>5.9816075003194928</c:v>
                </c:pt>
                <c:pt idx="1806">
                  <c:v>5.1240520206668814</c:v>
                </c:pt>
                <c:pt idx="1807">
                  <c:v>6.9828091622477046</c:v>
                </c:pt>
                <c:pt idx="1808">
                  <c:v>4.9648246369158358</c:v>
                </c:pt>
                <c:pt idx="1809">
                  <c:v>7.0948237282542603</c:v>
                </c:pt>
                <c:pt idx="1810">
                  <c:v>5.9185876423196371</c:v>
                </c:pt>
                <c:pt idx="1811">
                  <c:v>6.6928135937604365</c:v>
                </c:pt>
                <c:pt idx="1812">
                  <c:v>7.0282815141466841</c:v>
                </c:pt>
                <c:pt idx="1813">
                  <c:v>5.0153821084628545</c:v>
                </c:pt>
                <c:pt idx="1814">
                  <c:v>6.0114208270581546</c:v>
                </c:pt>
                <c:pt idx="1815">
                  <c:v>4.0784058792096687</c:v>
                </c:pt>
                <c:pt idx="1816">
                  <c:v>6.0778495647403474</c:v>
                </c:pt>
                <c:pt idx="1817">
                  <c:v>5.8753582455585649</c:v>
                </c:pt>
                <c:pt idx="1818">
                  <c:v>7.0697175170187849</c:v>
                </c:pt>
                <c:pt idx="1819">
                  <c:v>5.927838985661924</c:v>
                </c:pt>
                <c:pt idx="1820">
                  <c:v>5.7897193056260097</c:v>
                </c:pt>
                <c:pt idx="1821">
                  <c:v>5.063664285905813</c:v>
                </c:pt>
                <c:pt idx="1822">
                  <c:v>6.0337025687798889</c:v>
                </c:pt>
                <c:pt idx="1823">
                  <c:v>6.1096741120324429</c:v>
                </c:pt>
                <c:pt idx="1824">
                  <c:v>6.1021831526157611</c:v>
                </c:pt>
                <c:pt idx="1825">
                  <c:v>5.9030721402528537</c:v>
                </c:pt>
                <c:pt idx="1826">
                  <c:v>9.0264528855788395</c:v>
                </c:pt>
                <c:pt idx="1827">
                  <c:v>4.9722096660373989</c:v>
                </c:pt>
                <c:pt idx="1828">
                  <c:v>4.9955433140996455</c:v>
                </c:pt>
                <c:pt idx="1829">
                  <c:v>4.9052724023850178</c:v>
                </c:pt>
                <c:pt idx="1830">
                  <c:v>4.8319370422073895</c:v>
                </c:pt>
                <c:pt idx="1831">
                  <c:v>3.8452586645193469</c:v>
                </c:pt>
                <c:pt idx="1832">
                  <c:v>4.9736679309340319</c:v>
                </c:pt>
                <c:pt idx="1833">
                  <c:v>5.2016210025587339</c:v>
                </c:pt>
                <c:pt idx="1834">
                  <c:v>5.0365078410291551</c:v>
                </c:pt>
                <c:pt idx="1835">
                  <c:v>6.0234611055650644</c:v>
                </c:pt>
                <c:pt idx="1836">
                  <c:v>4.9337381282089101</c:v>
                </c:pt>
                <c:pt idx="1837">
                  <c:v>5.0018988814874339</c:v>
                </c:pt>
                <c:pt idx="1838">
                  <c:v>4.8986097686540955</c:v>
                </c:pt>
                <c:pt idx="1839">
                  <c:v>3.9371597052199263</c:v>
                </c:pt>
                <c:pt idx="1840">
                  <c:v>6.0051959529422065</c:v>
                </c:pt>
                <c:pt idx="1841">
                  <c:v>3.9764402739304296</c:v>
                </c:pt>
                <c:pt idx="1842">
                  <c:v>5.1612670897312363</c:v>
                </c:pt>
                <c:pt idx="1843">
                  <c:v>4.9464850020154456</c:v>
                </c:pt>
                <c:pt idx="1844">
                  <c:v>5.9201482252619035</c:v>
                </c:pt>
                <c:pt idx="1845">
                  <c:v>5.0399797319303916</c:v>
                </c:pt>
                <c:pt idx="1846">
                  <c:v>5.9733481112363345</c:v>
                </c:pt>
                <c:pt idx="1847">
                  <c:v>6.9959540668243907</c:v>
                </c:pt>
                <c:pt idx="1848">
                  <c:v>5.9726826650189535</c:v>
                </c:pt>
                <c:pt idx="1849">
                  <c:v>5.1643763870214432</c:v>
                </c:pt>
                <c:pt idx="1850">
                  <c:v>6.9997728129432053</c:v>
                </c:pt>
                <c:pt idx="1851">
                  <c:v>6.2093573522551004</c:v>
                </c:pt>
                <c:pt idx="1852">
                  <c:v>5.9736306742073797</c:v>
                </c:pt>
                <c:pt idx="1853">
                  <c:v>6.164324825083189</c:v>
                </c:pt>
                <c:pt idx="1854">
                  <c:v>5.9377180463280697</c:v>
                </c:pt>
                <c:pt idx="1855">
                  <c:v>6.8469999152980749</c:v>
                </c:pt>
                <c:pt idx="1856">
                  <c:v>7.2107083768768581</c:v>
                </c:pt>
                <c:pt idx="1857">
                  <c:v>4.9827418743435326</c:v>
                </c:pt>
                <c:pt idx="1858">
                  <c:v>7.0158578223459189</c:v>
                </c:pt>
                <c:pt idx="1859">
                  <c:v>6.8634451223068647</c:v>
                </c:pt>
                <c:pt idx="1860">
                  <c:v>5.8691784540447642</c:v>
                </c:pt>
                <c:pt idx="1861">
                  <c:v>6.9767166690993552</c:v>
                </c:pt>
                <c:pt idx="1862">
                  <c:v>6.7847223872921925</c:v>
                </c:pt>
                <c:pt idx="1863">
                  <c:v>7.0048115452333963</c:v>
                </c:pt>
                <c:pt idx="1864">
                  <c:v>4.9926160491588263</c:v>
                </c:pt>
                <c:pt idx="1865">
                  <c:v>6.0090736399530753</c:v>
                </c:pt>
                <c:pt idx="1866">
                  <c:v>4.9345205908277388</c:v>
                </c:pt>
                <c:pt idx="1867">
                  <c:v>5.9671194134384713</c:v>
                </c:pt>
                <c:pt idx="1868">
                  <c:v>5.098150801505021</c:v>
                </c:pt>
                <c:pt idx="1869">
                  <c:v>5.0027293020226296</c:v>
                </c:pt>
                <c:pt idx="1870">
                  <c:v>4.9821591746138054</c:v>
                </c:pt>
                <c:pt idx="1871">
                  <c:v>7.236976377514746</c:v>
                </c:pt>
                <c:pt idx="1872">
                  <c:v>5.990309492725971</c:v>
                </c:pt>
                <c:pt idx="1873">
                  <c:v>7.0523038038789458</c:v>
                </c:pt>
                <c:pt idx="1874">
                  <c:v>6.050852088859072</c:v>
                </c:pt>
                <c:pt idx="1875">
                  <c:v>3.9546035724120947</c:v>
                </c:pt>
                <c:pt idx="1876">
                  <c:v>5.9237584542453376</c:v>
                </c:pt>
                <c:pt idx="1877">
                  <c:v>4.8266800447999074</c:v>
                </c:pt>
                <c:pt idx="1878">
                  <c:v>4.9894959677160786</c:v>
                </c:pt>
                <c:pt idx="1879">
                  <c:v>4.9443488125340407</c:v>
                </c:pt>
                <c:pt idx="1880">
                  <c:v>5.1154399311175309</c:v>
                </c:pt>
                <c:pt idx="1881">
                  <c:v>7.0624530791436699</c:v>
                </c:pt>
                <c:pt idx="1882">
                  <c:v>5.9684993877819945</c:v>
                </c:pt>
                <c:pt idx="1883">
                  <c:v>6.7399487272290592</c:v>
                </c:pt>
                <c:pt idx="1884">
                  <c:v>5.1098282424249888</c:v>
                </c:pt>
                <c:pt idx="1885">
                  <c:v>6.0495952957151369</c:v>
                </c:pt>
                <c:pt idx="1886">
                  <c:v>6.0379423850912843</c:v>
                </c:pt>
                <c:pt idx="1887">
                  <c:v>5.0454735206953538</c:v>
                </c:pt>
                <c:pt idx="1888">
                  <c:v>4.8600351507445456</c:v>
                </c:pt>
                <c:pt idx="1889">
                  <c:v>3.9244732684930441</c:v>
                </c:pt>
                <c:pt idx="1890">
                  <c:v>4.8916104560981752</c:v>
                </c:pt>
                <c:pt idx="1891">
                  <c:v>5.9768451022882125</c:v>
                </c:pt>
                <c:pt idx="1892">
                  <c:v>5.9541704901579449</c:v>
                </c:pt>
                <c:pt idx="1893">
                  <c:v>5.900173842055831</c:v>
                </c:pt>
                <c:pt idx="1894">
                  <c:v>5.9961541018956339</c:v>
                </c:pt>
                <c:pt idx="1895">
                  <c:v>6.0541956601608318</c:v>
                </c:pt>
                <c:pt idx="1896">
                  <c:v>5.0906290641826812</c:v>
                </c:pt>
                <c:pt idx="1897">
                  <c:v>5.0255564854339845</c:v>
                </c:pt>
                <c:pt idx="1898">
                  <c:v>6.0626070962485867</c:v>
                </c:pt>
                <c:pt idx="1899">
                  <c:v>4.8829600865698453</c:v>
                </c:pt>
                <c:pt idx="1900">
                  <c:v>6.1724697856415291</c:v>
                </c:pt>
                <c:pt idx="1901">
                  <c:v>6.0028870091899318</c:v>
                </c:pt>
                <c:pt idx="1902">
                  <c:v>6.0423748444841854</c:v>
                </c:pt>
                <c:pt idx="1903">
                  <c:v>6.1468604925921388</c:v>
                </c:pt>
                <c:pt idx="1904">
                  <c:v>6.1579492756514176</c:v>
                </c:pt>
                <c:pt idx="1905">
                  <c:v>5.0223187403029517</c:v>
                </c:pt>
                <c:pt idx="1906">
                  <c:v>4.9821010100152145</c:v>
                </c:pt>
                <c:pt idx="1907">
                  <c:v>4.9311953469482468</c:v>
                </c:pt>
                <c:pt idx="1908">
                  <c:v>3.9742719081528666</c:v>
                </c:pt>
                <c:pt idx="1909">
                  <c:v>4.9987070934797702</c:v>
                </c:pt>
                <c:pt idx="1910">
                  <c:v>5.2375940601534801</c:v>
                </c:pt>
                <c:pt idx="1911">
                  <c:v>5.0544509451820296</c:v>
                </c:pt>
                <c:pt idx="1912">
                  <c:v>7.0848699782358366</c:v>
                </c:pt>
                <c:pt idx="1913">
                  <c:v>4.8439263444115408</c:v>
                </c:pt>
                <c:pt idx="1914">
                  <c:v>5.1335664016556457</c:v>
                </c:pt>
                <c:pt idx="1915">
                  <c:v>5.0478045656623065</c:v>
                </c:pt>
                <c:pt idx="1916">
                  <c:v>4.9115574321741704</c:v>
                </c:pt>
                <c:pt idx="1917">
                  <c:v>5.8900067926553143</c:v>
                </c:pt>
                <c:pt idx="1918">
                  <c:v>6.1599049583320671</c:v>
                </c:pt>
                <c:pt idx="1919">
                  <c:v>5.0890651847006643</c:v>
                </c:pt>
                <c:pt idx="1920">
                  <c:v>4.8854062854152707</c:v>
                </c:pt>
                <c:pt idx="1921">
                  <c:v>5.9211598840395965</c:v>
                </c:pt>
                <c:pt idx="1922">
                  <c:v>5.2352997497559546</c:v>
                </c:pt>
                <c:pt idx="1923">
                  <c:v>4.8753165222245887</c:v>
                </c:pt>
                <c:pt idx="1924">
                  <c:v>5.0623654828201197</c:v>
                </c:pt>
                <c:pt idx="1925">
                  <c:v>4.9877180592343304</c:v>
                </c:pt>
                <c:pt idx="1926">
                  <c:v>5.0381475471163926</c:v>
                </c:pt>
                <c:pt idx="1927">
                  <c:v>5.1132958907190122</c:v>
                </c:pt>
                <c:pt idx="1928">
                  <c:v>5.973265708379496</c:v>
                </c:pt>
                <c:pt idx="1929">
                  <c:v>6.0380260803014423</c:v>
                </c:pt>
                <c:pt idx="1930">
                  <c:v>5.1243461755671502</c:v>
                </c:pt>
                <c:pt idx="1931">
                  <c:v>5.2682552168417711</c:v>
                </c:pt>
                <c:pt idx="1932">
                  <c:v>5.9044223634971589</c:v>
                </c:pt>
                <c:pt idx="1933">
                  <c:v>5.1731981729495997</c:v>
                </c:pt>
                <c:pt idx="1934">
                  <c:v>5.1571840674846952</c:v>
                </c:pt>
                <c:pt idx="1935">
                  <c:v>5.8648746132395058</c:v>
                </c:pt>
                <c:pt idx="1936">
                  <c:v>6.0815479551659237</c:v>
                </c:pt>
                <c:pt idx="1937">
                  <c:v>5.0747648859491594</c:v>
                </c:pt>
                <c:pt idx="1938">
                  <c:v>5.9076631291276129</c:v>
                </c:pt>
                <c:pt idx="1939">
                  <c:v>4.9607035691445738</c:v>
                </c:pt>
                <c:pt idx="1940">
                  <c:v>5.1195092703349276</c:v>
                </c:pt>
                <c:pt idx="1941">
                  <c:v>6.1426128237295812</c:v>
                </c:pt>
                <c:pt idx="1942">
                  <c:v>6.1430170196857503</c:v>
                </c:pt>
                <c:pt idx="1943">
                  <c:v>5.0779475503779654</c:v>
                </c:pt>
                <c:pt idx="1944">
                  <c:v>3.8988316500062763</c:v>
                </c:pt>
                <c:pt idx="1945">
                  <c:v>4.1718932029342506</c:v>
                </c:pt>
                <c:pt idx="1946">
                  <c:v>5.9871867617552645</c:v>
                </c:pt>
                <c:pt idx="1947">
                  <c:v>4.9032504043529075</c:v>
                </c:pt>
                <c:pt idx="1948">
                  <c:v>5.1555794910644837</c:v>
                </c:pt>
                <c:pt idx="1949">
                  <c:v>6.0477721353514786</c:v>
                </c:pt>
                <c:pt idx="1950">
                  <c:v>7.1139018533435969</c:v>
                </c:pt>
                <c:pt idx="1951">
                  <c:v>5.9877073230997349</c:v>
                </c:pt>
                <c:pt idx="1952">
                  <c:v>6.8317610331480001</c:v>
                </c:pt>
                <c:pt idx="1953">
                  <c:v>7.0689215210281127</c:v>
                </c:pt>
                <c:pt idx="1954">
                  <c:v>6.9297816574994116</c:v>
                </c:pt>
                <c:pt idx="1955">
                  <c:v>6.9107329068019219</c:v>
                </c:pt>
                <c:pt idx="1956">
                  <c:v>2.797583864084964</c:v>
                </c:pt>
                <c:pt idx="1957">
                  <c:v>3.197216439017426</c:v>
                </c:pt>
                <c:pt idx="1958">
                  <c:v>5.0770728902413271</c:v>
                </c:pt>
                <c:pt idx="1959">
                  <c:v>6.0166256968430218</c:v>
                </c:pt>
                <c:pt idx="1960">
                  <c:v>5.9886367569074839</c:v>
                </c:pt>
                <c:pt idx="1961">
                  <c:v>4.0305606253963555</c:v>
                </c:pt>
                <c:pt idx="1962">
                  <c:v>4.8665892393337984</c:v>
                </c:pt>
                <c:pt idx="1963">
                  <c:v>6.1718954041466905</c:v>
                </c:pt>
                <c:pt idx="1964">
                  <c:v>5.1029006991763328</c:v>
                </c:pt>
                <c:pt idx="1965">
                  <c:v>5.9020042574259666</c:v>
                </c:pt>
                <c:pt idx="1966">
                  <c:v>6.0844835021909818</c:v>
                </c:pt>
                <c:pt idx="1967">
                  <c:v>5.1401193917595478</c:v>
                </c:pt>
                <c:pt idx="1968">
                  <c:v>4.9715652921437314</c:v>
                </c:pt>
                <c:pt idx="1969">
                  <c:v>6.0878675711627519</c:v>
                </c:pt>
                <c:pt idx="1970">
                  <c:v>5.0131134139539606</c:v>
                </c:pt>
                <c:pt idx="1971">
                  <c:v>5.7964402549602712</c:v>
                </c:pt>
                <c:pt idx="1972">
                  <c:v>4.9401197265655039</c:v>
                </c:pt>
                <c:pt idx="1973">
                  <c:v>4.7997627548285005</c:v>
                </c:pt>
                <c:pt idx="1974">
                  <c:v>4.9638669211834365</c:v>
                </c:pt>
                <c:pt idx="1975">
                  <c:v>4.8983820726440364</c:v>
                </c:pt>
                <c:pt idx="1976">
                  <c:v>5.0993948533761726</c:v>
                </c:pt>
                <c:pt idx="1977">
                  <c:v>5.9142214611728505</c:v>
                </c:pt>
                <c:pt idx="1978">
                  <c:v>6.0432246853087488</c:v>
                </c:pt>
                <c:pt idx="1979">
                  <c:v>7.1272966162828757</c:v>
                </c:pt>
                <c:pt idx="1980">
                  <c:v>5.0256909776592238</c:v>
                </c:pt>
                <c:pt idx="1981">
                  <c:v>4.1064953581291173</c:v>
                </c:pt>
                <c:pt idx="1982">
                  <c:v>5.9510808574532215</c:v>
                </c:pt>
                <c:pt idx="1983">
                  <c:v>5.8985813047496203</c:v>
                </c:pt>
                <c:pt idx="1984">
                  <c:v>5.086771792815119</c:v>
                </c:pt>
                <c:pt idx="1985">
                  <c:v>5.1399639989610071</c:v>
                </c:pt>
                <c:pt idx="1986">
                  <c:v>6.1416787002541895</c:v>
                </c:pt>
                <c:pt idx="1987">
                  <c:v>4.9412500369435968</c:v>
                </c:pt>
                <c:pt idx="1988">
                  <c:v>4.9982725344325134</c:v>
                </c:pt>
                <c:pt idx="1989">
                  <c:v>6.1570457573228579</c:v>
                </c:pt>
                <c:pt idx="1990">
                  <c:v>5.9907953317181324</c:v>
                </c:pt>
                <c:pt idx="1991">
                  <c:v>5.0628328959894606</c:v>
                </c:pt>
                <c:pt idx="1992">
                  <c:v>4.9932476108637616</c:v>
                </c:pt>
                <c:pt idx="1993">
                  <c:v>4.9484983798102267</c:v>
                </c:pt>
                <c:pt idx="1994">
                  <c:v>5.8724310046679893</c:v>
                </c:pt>
                <c:pt idx="1995">
                  <c:v>5.0961987707497736</c:v>
                </c:pt>
                <c:pt idx="1996">
                  <c:v>4.9756522556913056</c:v>
                </c:pt>
                <c:pt idx="1997">
                  <c:v>4.9624995185135985</c:v>
                </c:pt>
                <c:pt idx="1998">
                  <c:v>5.0033239730765242</c:v>
                </c:pt>
                <c:pt idx="1999">
                  <c:v>5.1305913396836127</c:v>
                </c:pt>
                <c:pt idx="2000">
                  <c:v>4.8632111624174668</c:v>
                </c:pt>
                <c:pt idx="2001">
                  <c:v>5.9666202691926182</c:v>
                </c:pt>
                <c:pt idx="2002">
                  <c:v>6.0642225536139094</c:v>
                </c:pt>
                <c:pt idx="2003">
                  <c:v>4.909228998199481</c:v>
                </c:pt>
                <c:pt idx="2004">
                  <c:v>5.8184983044560177</c:v>
                </c:pt>
                <c:pt idx="2005">
                  <c:v>5.9571472657548519</c:v>
                </c:pt>
                <c:pt idx="2006">
                  <c:v>6.9592142640214831</c:v>
                </c:pt>
                <c:pt idx="2007">
                  <c:v>6.8312585848229599</c:v>
                </c:pt>
                <c:pt idx="2008">
                  <c:v>6.8717917282909662</c:v>
                </c:pt>
                <c:pt idx="2009">
                  <c:v>4.732988008414404</c:v>
                </c:pt>
                <c:pt idx="2010">
                  <c:v>4.9905935034364557</c:v>
                </c:pt>
                <c:pt idx="2011">
                  <c:v>6.9725267509328699</c:v>
                </c:pt>
                <c:pt idx="2012">
                  <c:v>4.9466032194469927</c:v>
                </c:pt>
                <c:pt idx="2013">
                  <c:v>4.8389718095562637</c:v>
                </c:pt>
                <c:pt idx="2014">
                  <c:v>4.957193180011795</c:v>
                </c:pt>
                <c:pt idx="2015">
                  <c:v>5.9924268124107751</c:v>
                </c:pt>
                <c:pt idx="2016">
                  <c:v>5.9684256053215039</c:v>
                </c:pt>
                <c:pt idx="2017">
                  <c:v>5.0119620073564093</c:v>
                </c:pt>
                <c:pt idx="2018">
                  <c:v>4.8814558838820759</c:v>
                </c:pt>
                <c:pt idx="2019">
                  <c:v>7.0952098356679718</c:v>
                </c:pt>
                <c:pt idx="2020">
                  <c:v>5.1795951622734302</c:v>
                </c:pt>
                <c:pt idx="2021">
                  <c:v>4.8964069592354473</c:v>
                </c:pt>
                <c:pt idx="2022">
                  <c:v>5.0128001711244474</c:v>
                </c:pt>
                <c:pt idx="2023">
                  <c:v>5.0583833684213566</c:v>
                </c:pt>
                <c:pt idx="2024">
                  <c:v>6.2088767909185165</c:v>
                </c:pt>
                <c:pt idx="2025">
                  <c:v>4.8177481906763679</c:v>
                </c:pt>
                <c:pt idx="2026">
                  <c:v>6.073236050552814</c:v>
                </c:pt>
                <c:pt idx="2027">
                  <c:v>5.2044437246253779</c:v>
                </c:pt>
                <c:pt idx="2028">
                  <c:v>5.0020409726491275</c:v>
                </c:pt>
                <c:pt idx="2029">
                  <c:v>5.1581391191424784</c:v>
                </c:pt>
                <c:pt idx="2030">
                  <c:v>4.9267707365389981</c:v>
                </c:pt>
                <c:pt idx="2031">
                  <c:v>4.9946770950291954</c:v>
                </c:pt>
                <c:pt idx="2032">
                  <c:v>5.0406911646214771</c:v>
                </c:pt>
                <c:pt idx="2033">
                  <c:v>4.9353287474741219</c:v>
                </c:pt>
                <c:pt idx="2034">
                  <c:v>5.9149084403950551</c:v>
                </c:pt>
                <c:pt idx="2035">
                  <c:v>6.0718350787802153</c:v>
                </c:pt>
                <c:pt idx="2036">
                  <c:v>6.1528167900553381</c:v>
                </c:pt>
                <c:pt idx="2037">
                  <c:v>4.8800224922546427</c:v>
                </c:pt>
                <c:pt idx="2038">
                  <c:v>5.0935168488012987</c:v>
                </c:pt>
                <c:pt idx="2039">
                  <c:v>6.0525226120756352</c:v>
                </c:pt>
                <c:pt idx="2040">
                  <c:v>6.1170333153119785</c:v>
                </c:pt>
                <c:pt idx="2041">
                  <c:v>5.9854568557757988</c:v>
                </c:pt>
                <c:pt idx="2042">
                  <c:v>5.9943228691460169</c:v>
                </c:pt>
                <c:pt idx="2043">
                  <c:v>6.2497312548658535</c:v>
                </c:pt>
                <c:pt idx="2044">
                  <c:v>5.9340655124191475</c:v>
                </c:pt>
                <c:pt idx="2045">
                  <c:v>4.1260549176157317</c:v>
                </c:pt>
                <c:pt idx="2046">
                  <c:v>4.9588575920326603</c:v>
                </c:pt>
                <c:pt idx="2047">
                  <c:v>5.9675651103412628</c:v>
                </c:pt>
                <c:pt idx="2048">
                  <c:v>4.7877509085392482</c:v>
                </c:pt>
                <c:pt idx="2049">
                  <c:v>7.0976084138947657</c:v>
                </c:pt>
                <c:pt idx="2050">
                  <c:v>4.9403013646466185</c:v>
                </c:pt>
                <c:pt idx="2051">
                  <c:v>6.0775840907101264</c:v>
                </c:pt>
                <c:pt idx="2052">
                  <c:v>5.9501502801054231</c:v>
                </c:pt>
                <c:pt idx="2053">
                  <c:v>6.1081217018798233</c:v>
                </c:pt>
                <c:pt idx="2054">
                  <c:v>4.8879480753050384</c:v>
                </c:pt>
                <c:pt idx="2055">
                  <c:v>4.0157927779781062</c:v>
                </c:pt>
                <c:pt idx="2056">
                  <c:v>4.9824919416600437</c:v>
                </c:pt>
                <c:pt idx="2057">
                  <c:v>6.0318449466710709</c:v>
                </c:pt>
                <c:pt idx="2058">
                  <c:v>4.9873248135916404</c:v>
                </c:pt>
                <c:pt idx="2059">
                  <c:v>5.0404414499775907</c:v>
                </c:pt>
                <c:pt idx="2060">
                  <c:v>6.0129688685603391</c:v>
                </c:pt>
                <c:pt idx="2061">
                  <c:v>4.0013527550873684</c:v>
                </c:pt>
                <c:pt idx="2062">
                  <c:v>4.9352462959747099</c:v>
                </c:pt>
                <c:pt idx="2063">
                  <c:v>6.9591024149118681</c:v>
                </c:pt>
                <c:pt idx="2064">
                  <c:v>7.2020437798898218</c:v>
                </c:pt>
                <c:pt idx="2065">
                  <c:v>5.0610092768702577</c:v>
                </c:pt>
                <c:pt idx="2066">
                  <c:v>5.0056435520762035</c:v>
                </c:pt>
                <c:pt idx="2067">
                  <c:v>6.1565089527234704</c:v>
                </c:pt>
                <c:pt idx="2068">
                  <c:v>5.9943241372244751</c:v>
                </c:pt>
                <c:pt idx="2069">
                  <c:v>4.9975117094762354</c:v>
                </c:pt>
                <c:pt idx="2070">
                  <c:v>4.7205717881093436</c:v>
                </c:pt>
                <c:pt idx="2071">
                  <c:v>5.9728146728888483</c:v>
                </c:pt>
                <c:pt idx="2072">
                  <c:v>6.0126982772054891</c:v>
                </c:pt>
                <c:pt idx="2073">
                  <c:v>5.9071173769918497</c:v>
                </c:pt>
                <c:pt idx="2074">
                  <c:v>5.1547477647318765</c:v>
                </c:pt>
                <c:pt idx="2075">
                  <c:v>4.8993930631815559</c:v>
                </c:pt>
                <c:pt idx="2076">
                  <c:v>6.2471290559528549</c:v>
                </c:pt>
                <c:pt idx="2077">
                  <c:v>6.1698759858208634</c:v>
                </c:pt>
                <c:pt idx="2078">
                  <c:v>4.8712650523003456</c:v>
                </c:pt>
                <c:pt idx="2079">
                  <c:v>4.9182634091703292</c:v>
                </c:pt>
                <c:pt idx="2080">
                  <c:v>5.9810778329331784</c:v>
                </c:pt>
                <c:pt idx="2081">
                  <c:v>5.8907794259055999</c:v>
                </c:pt>
                <c:pt idx="2082">
                  <c:v>5.8688067163532853</c:v>
                </c:pt>
                <c:pt idx="2083">
                  <c:v>6.0863452995340968</c:v>
                </c:pt>
                <c:pt idx="2084">
                  <c:v>4.8953438120863266</c:v>
                </c:pt>
                <c:pt idx="2085">
                  <c:v>7.0504616180091615</c:v>
                </c:pt>
                <c:pt idx="2086">
                  <c:v>5.0807022812056593</c:v>
                </c:pt>
                <c:pt idx="2087">
                  <c:v>5.0289677864723332</c:v>
                </c:pt>
                <c:pt idx="2088">
                  <c:v>6.098027344168365</c:v>
                </c:pt>
                <c:pt idx="2089">
                  <c:v>4.8770355949143767</c:v>
                </c:pt>
                <c:pt idx="2090">
                  <c:v>6.1327441785871537</c:v>
                </c:pt>
                <c:pt idx="2091">
                  <c:v>5.1973508615915414</c:v>
                </c:pt>
                <c:pt idx="2092">
                  <c:v>4.9393591140679156</c:v>
                </c:pt>
                <c:pt idx="2093">
                  <c:v>4.9084625387215208</c:v>
                </c:pt>
                <c:pt idx="2094">
                  <c:v>6.2965374800106284</c:v>
                </c:pt>
                <c:pt idx="2095">
                  <c:v>5.0315894267007533</c:v>
                </c:pt>
                <c:pt idx="2096">
                  <c:v>5.9397068305523018</c:v>
                </c:pt>
                <c:pt idx="2097">
                  <c:v>5.1062822587290926</c:v>
                </c:pt>
                <c:pt idx="2098">
                  <c:v>7.0386900855139229</c:v>
                </c:pt>
                <c:pt idx="2099">
                  <c:v>4.9721037187322255</c:v>
                </c:pt>
                <c:pt idx="2100">
                  <c:v>5.9845909145634026</c:v>
                </c:pt>
                <c:pt idx="2101">
                  <c:v>5.9232133451933269</c:v>
                </c:pt>
                <c:pt idx="2102">
                  <c:v>4.8692358374414733</c:v>
                </c:pt>
                <c:pt idx="2103">
                  <c:v>5.9607534392818708</c:v>
                </c:pt>
                <c:pt idx="2104">
                  <c:v>5.0168322231368077</c:v>
                </c:pt>
                <c:pt idx="2105">
                  <c:v>6.8989660640341777</c:v>
                </c:pt>
                <c:pt idx="2106">
                  <c:v>6.2257658284564759</c:v>
                </c:pt>
                <c:pt idx="2107">
                  <c:v>6.0971127679752524</c:v>
                </c:pt>
                <c:pt idx="2108">
                  <c:v>5.9372251073109146</c:v>
                </c:pt>
                <c:pt idx="2109">
                  <c:v>6.044574697859181</c:v>
                </c:pt>
                <c:pt idx="2110">
                  <c:v>6.0093470718561175</c:v>
                </c:pt>
                <c:pt idx="2111">
                  <c:v>3.9350798519012797</c:v>
                </c:pt>
                <c:pt idx="2112">
                  <c:v>6.0385416291666534</c:v>
                </c:pt>
                <c:pt idx="2113">
                  <c:v>5.082657933278238</c:v>
                </c:pt>
                <c:pt idx="2114">
                  <c:v>5.9679280727255284</c:v>
                </c:pt>
                <c:pt idx="2115">
                  <c:v>5.875762456634015</c:v>
                </c:pt>
                <c:pt idx="2116">
                  <c:v>4.9949461536617896</c:v>
                </c:pt>
                <c:pt idx="2117">
                  <c:v>3.9730948533739969</c:v>
                </c:pt>
                <c:pt idx="2118">
                  <c:v>4.9995064144102264</c:v>
                </c:pt>
                <c:pt idx="2119">
                  <c:v>4.8781058671262416</c:v>
                </c:pt>
                <c:pt idx="2120">
                  <c:v>6.0028372538918502</c:v>
                </c:pt>
                <c:pt idx="2121">
                  <c:v>5.0988182562572799</c:v>
                </c:pt>
                <c:pt idx="2122">
                  <c:v>5.0612987385647266</c:v>
                </c:pt>
                <c:pt idx="2123">
                  <c:v>3.9791676460793348</c:v>
                </c:pt>
                <c:pt idx="2124">
                  <c:v>6.844902585206837</c:v>
                </c:pt>
                <c:pt idx="2125">
                  <c:v>5.0611579440179932</c:v>
                </c:pt>
                <c:pt idx="2126">
                  <c:v>5.0615656297046048</c:v>
                </c:pt>
                <c:pt idx="2127">
                  <c:v>4.8409953861462114</c:v>
                </c:pt>
                <c:pt idx="2128">
                  <c:v>6.0752019627370801</c:v>
                </c:pt>
                <c:pt idx="2129">
                  <c:v>5.0077872331149216</c:v>
                </c:pt>
                <c:pt idx="2130">
                  <c:v>4.8567218803642813</c:v>
                </c:pt>
                <c:pt idx="2131">
                  <c:v>7.0017895086351629</c:v>
                </c:pt>
                <c:pt idx="2132">
                  <c:v>6.0919314126813049</c:v>
                </c:pt>
                <c:pt idx="2133">
                  <c:v>7.0320585800120599</c:v>
                </c:pt>
                <c:pt idx="2134">
                  <c:v>4.7994444368880451</c:v>
                </c:pt>
                <c:pt idx="2135">
                  <c:v>5.9882568419975222</c:v>
                </c:pt>
                <c:pt idx="2136">
                  <c:v>6.1948932108900499</c:v>
                </c:pt>
                <c:pt idx="2137">
                  <c:v>4.970643803248552</c:v>
                </c:pt>
                <c:pt idx="2138">
                  <c:v>5.7994721932798159</c:v>
                </c:pt>
                <c:pt idx="2139">
                  <c:v>6.0206851483075345</c:v>
                </c:pt>
                <c:pt idx="2140">
                  <c:v>5.8732340715989553</c:v>
                </c:pt>
                <c:pt idx="2141">
                  <c:v>5.9849238827516835</c:v>
                </c:pt>
                <c:pt idx="2142">
                  <c:v>7.0639405023431125</c:v>
                </c:pt>
                <c:pt idx="2143">
                  <c:v>4.8859979770253039</c:v>
                </c:pt>
                <c:pt idx="2144">
                  <c:v>4.9660576255723301</c:v>
                </c:pt>
                <c:pt idx="2145">
                  <c:v>4.9862814890747709</c:v>
                </c:pt>
                <c:pt idx="2146">
                  <c:v>6.0705314182641619</c:v>
                </c:pt>
                <c:pt idx="2147">
                  <c:v>7.1423640555957277</c:v>
                </c:pt>
                <c:pt idx="2148">
                  <c:v>5.0225126077016924</c:v>
                </c:pt>
                <c:pt idx="2149">
                  <c:v>6.1099777142617313</c:v>
                </c:pt>
                <c:pt idx="2150">
                  <c:v>5.1050253322222554</c:v>
                </c:pt>
                <c:pt idx="2151">
                  <c:v>5.9311155431875129</c:v>
                </c:pt>
                <c:pt idx="2152">
                  <c:v>6.0665120938680168</c:v>
                </c:pt>
                <c:pt idx="2153">
                  <c:v>5.0040457789447252</c:v>
                </c:pt>
                <c:pt idx="2154">
                  <c:v>4.802387087403666</c:v>
                </c:pt>
                <c:pt idx="2155">
                  <c:v>5.0337835161708639</c:v>
                </c:pt>
                <c:pt idx="2156">
                  <c:v>5.9699547471546612</c:v>
                </c:pt>
                <c:pt idx="2157">
                  <c:v>4.9139546737630466</c:v>
                </c:pt>
                <c:pt idx="2158">
                  <c:v>6.9960604435499354</c:v>
                </c:pt>
                <c:pt idx="2159">
                  <c:v>6.1136913790554397</c:v>
                </c:pt>
                <c:pt idx="2160">
                  <c:v>7.0050345974415755</c:v>
                </c:pt>
                <c:pt idx="2161">
                  <c:v>4.8692878164079945</c:v>
                </c:pt>
                <c:pt idx="2162">
                  <c:v>5.1117133972111111</c:v>
                </c:pt>
                <c:pt idx="2163">
                  <c:v>5.0124258573382612</c:v>
                </c:pt>
                <c:pt idx="2164">
                  <c:v>6.8804304783939942</c:v>
                </c:pt>
                <c:pt idx="2165">
                  <c:v>4.8716336011871126</c:v>
                </c:pt>
                <c:pt idx="2166">
                  <c:v>5.9781125053205812</c:v>
                </c:pt>
                <c:pt idx="2167">
                  <c:v>5.9378455972992406</c:v>
                </c:pt>
                <c:pt idx="2168">
                  <c:v>5.9113929634969127</c:v>
                </c:pt>
                <c:pt idx="2169">
                  <c:v>5.8884850542118707</c:v>
                </c:pt>
                <c:pt idx="2170">
                  <c:v>3.9343123065467309</c:v>
                </c:pt>
                <c:pt idx="2171">
                  <c:v>5.0326199331190011</c:v>
                </c:pt>
                <c:pt idx="2172">
                  <c:v>6.1040969207003553</c:v>
                </c:pt>
                <c:pt idx="2173">
                  <c:v>4.89309558232946</c:v>
                </c:pt>
                <c:pt idx="2174">
                  <c:v>6.0550845859342717</c:v>
                </c:pt>
                <c:pt idx="2175">
                  <c:v>5.0974959696802848</c:v>
                </c:pt>
                <c:pt idx="2176">
                  <c:v>4.974289014318293</c:v>
                </c:pt>
                <c:pt idx="2177">
                  <c:v>3.8632293904689292</c:v>
                </c:pt>
                <c:pt idx="2178">
                  <c:v>5.9575205737631718</c:v>
                </c:pt>
                <c:pt idx="2179">
                  <c:v>5.8352162774121528</c:v>
                </c:pt>
                <c:pt idx="2180">
                  <c:v>5.9537055080054921</c:v>
                </c:pt>
                <c:pt idx="2181">
                  <c:v>5.9792052205799342</c:v>
                </c:pt>
                <c:pt idx="2182">
                  <c:v>6.1266564549767972</c:v>
                </c:pt>
                <c:pt idx="2183">
                  <c:v>6.094267625558933</c:v>
                </c:pt>
                <c:pt idx="2184">
                  <c:v>5.8922799799159753</c:v>
                </c:pt>
                <c:pt idx="2185">
                  <c:v>6.055423359629768</c:v>
                </c:pt>
                <c:pt idx="2186">
                  <c:v>5.8911078938114789</c:v>
                </c:pt>
                <c:pt idx="2187">
                  <c:v>5.883567899258602</c:v>
                </c:pt>
                <c:pt idx="2188">
                  <c:v>6.0030942466853077</c:v>
                </c:pt>
                <c:pt idx="2189">
                  <c:v>5.900474291171208</c:v>
                </c:pt>
                <c:pt idx="2190">
                  <c:v>5.947508763618103</c:v>
                </c:pt>
                <c:pt idx="2191">
                  <c:v>5.9205576025524973</c:v>
                </c:pt>
                <c:pt idx="2192">
                  <c:v>5.9332161508831671</c:v>
                </c:pt>
                <c:pt idx="2193">
                  <c:v>6.1838498016278294</c:v>
                </c:pt>
                <c:pt idx="2194">
                  <c:v>4.9718635431837841</c:v>
                </c:pt>
                <c:pt idx="2195">
                  <c:v>6.0221266717525932</c:v>
                </c:pt>
                <c:pt idx="2196">
                  <c:v>6.0277784124143938</c:v>
                </c:pt>
                <c:pt idx="2197">
                  <c:v>6.0876184867294478</c:v>
                </c:pt>
                <c:pt idx="2198">
                  <c:v>6.0581339040978133</c:v>
                </c:pt>
                <c:pt idx="2199">
                  <c:v>4.989135461505386</c:v>
                </c:pt>
                <c:pt idx="2200">
                  <c:v>5.07847261005102</c:v>
                </c:pt>
                <c:pt idx="2201">
                  <c:v>4.958498640361463</c:v>
                </c:pt>
                <c:pt idx="2202">
                  <c:v>5.0378221447085387</c:v>
                </c:pt>
                <c:pt idx="2203">
                  <c:v>5.9980384182629738</c:v>
                </c:pt>
                <c:pt idx="2204">
                  <c:v>5.8789491498782507</c:v>
                </c:pt>
                <c:pt idx="2205">
                  <c:v>6.9423905871917224</c:v>
                </c:pt>
                <c:pt idx="2206">
                  <c:v>5.9578847447816079</c:v>
                </c:pt>
                <c:pt idx="2207">
                  <c:v>4.9471416142183591</c:v>
                </c:pt>
                <c:pt idx="2208">
                  <c:v>5.0446026674137814</c:v>
                </c:pt>
                <c:pt idx="2209">
                  <c:v>5.0224437817703667</c:v>
                </c:pt>
                <c:pt idx="2210">
                  <c:v>4.9142830734166898</c:v>
                </c:pt>
                <c:pt idx="2211">
                  <c:v>5.9252890026219607</c:v>
                </c:pt>
                <c:pt idx="2212">
                  <c:v>5.8805224115659582</c:v>
                </c:pt>
                <c:pt idx="2213">
                  <c:v>5.7997518151041447</c:v>
                </c:pt>
                <c:pt idx="2214">
                  <c:v>2.0089465280072418</c:v>
                </c:pt>
                <c:pt idx="2215">
                  <c:v>4.9622694296182113</c:v>
                </c:pt>
                <c:pt idx="2216">
                  <c:v>5.9109846797498964</c:v>
                </c:pt>
                <c:pt idx="2217">
                  <c:v>2.2111931190340686</c:v>
                </c:pt>
                <c:pt idx="2218">
                  <c:v>5.9952364071715465</c:v>
                </c:pt>
                <c:pt idx="2219">
                  <c:v>5.8302510149512923</c:v>
                </c:pt>
                <c:pt idx="2220">
                  <c:v>1.8950131147393481</c:v>
                </c:pt>
                <c:pt idx="2221">
                  <c:v>6.1051260791468858</c:v>
                </c:pt>
                <c:pt idx="2222">
                  <c:v>2.1066048450870163</c:v>
                </c:pt>
                <c:pt idx="2223">
                  <c:v>5.8640100532914845</c:v>
                </c:pt>
                <c:pt idx="2224">
                  <c:v>6.0411665790376512</c:v>
                </c:pt>
                <c:pt idx="2225">
                  <c:v>6.022014771025388</c:v>
                </c:pt>
                <c:pt idx="2226">
                  <c:v>6.0058503327747124</c:v>
                </c:pt>
                <c:pt idx="2227">
                  <c:v>5.0182272453110528</c:v>
                </c:pt>
                <c:pt idx="2228">
                  <c:v>6.0579111469513087</c:v>
                </c:pt>
                <c:pt idx="2229">
                  <c:v>6.1032097258013795</c:v>
                </c:pt>
                <c:pt idx="2230">
                  <c:v>3.9666654740055711</c:v>
                </c:pt>
                <c:pt idx="2231">
                  <c:v>5.974450042599166</c:v>
                </c:pt>
                <c:pt idx="2232">
                  <c:v>5.8188350944389313</c:v>
                </c:pt>
                <c:pt idx="2233">
                  <c:v>6.1981999535772534</c:v>
                </c:pt>
                <c:pt idx="2234">
                  <c:v>3.9582802369069667</c:v>
                </c:pt>
                <c:pt idx="2235">
                  <c:v>5.0730173334154589</c:v>
                </c:pt>
                <c:pt idx="2236">
                  <c:v>5.7939645871962009</c:v>
                </c:pt>
                <c:pt idx="2237">
                  <c:v>1.9634612099840498</c:v>
                </c:pt>
                <c:pt idx="2238">
                  <c:v>5.9336198252783952</c:v>
                </c:pt>
                <c:pt idx="2239">
                  <c:v>6.0831818502897512</c:v>
                </c:pt>
                <c:pt idx="2240">
                  <c:v>5.9919524261868959</c:v>
                </c:pt>
                <c:pt idx="2241">
                  <c:v>5.982103853787426</c:v>
                </c:pt>
                <c:pt idx="2242">
                  <c:v>5.0190983705948771</c:v>
                </c:pt>
                <c:pt idx="2243">
                  <c:v>6.0900482179291133</c:v>
                </c:pt>
                <c:pt idx="2244">
                  <c:v>5.0019588138983284</c:v>
                </c:pt>
                <c:pt idx="2245">
                  <c:v>6.0400970515821157</c:v>
                </c:pt>
                <c:pt idx="2246">
                  <c:v>5.0507314934723526</c:v>
                </c:pt>
                <c:pt idx="2247">
                  <c:v>5.1163952375860937</c:v>
                </c:pt>
                <c:pt idx="2248">
                  <c:v>5.005845240151868</c:v>
                </c:pt>
                <c:pt idx="2249">
                  <c:v>5.0763239198890524</c:v>
                </c:pt>
                <c:pt idx="2250">
                  <c:v>5.9543878284761469</c:v>
                </c:pt>
                <c:pt idx="2251">
                  <c:v>7.0264946613070869</c:v>
                </c:pt>
                <c:pt idx="2252">
                  <c:v>5.9090359798759611</c:v>
                </c:pt>
                <c:pt idx="2253">
                  <c:v>6.0256638602461861</c:v>
                </c:pt>
                <c:pt idx="2254">
                  <c:v>4.8738881690485085</c:v>
                </c:pt>
                <c:pt idx="2255">
                  <c:v>6.0445775917309712</c:v>
                </c:pt>
                <c:pt idx="2256">
                  <c:v>4.993500513574479</c:v>
                </c:pt>
                <c:pt idx="2257">
                  <c:v>5.1679157411120933</c:v>
                </c:pt>
                <c:pt idx="2258">
                  <c:v>5.0801971198356188</c:v>
                </c:pt>
                <c:pt idx="2259">
                  <c:v>5.9369422949526172</c:v>
                </c:pt>
                <c:pt idx="2260">
                  <c:v>5.0344675514870243</c:v>
                </c:pt>
                <c:pt idx="2261">
                  <c:v>5.0708340723223184</c:v>
                </c:pt>
                <c:pt idx="2262">
                  <c:v>5.0129133027062363</c:v>
                </c:pt>
                <c:pt idx="2263">
                  <c:v>6.2057409596141655</c:v>
                </c:pt>
                <c:pt idx="2264">
                  <c:v>5.020866495385234</c:v>
                </c:pt>
                <c:pt idx="2265">
                  <c:v>6.009072142658014</c:v>
                </c:pt>
                <c:pt idx="2266">
                  <c:v>5.0072914647669835</c:v>
                </c:pt>
                <c:pt idx="2267">
                  <c:v>4.098084744128168</c:v>
                </c:pt>
                <c:pt idx="2268">
                  <c:v>5.0162638819120042</c:v>
                </c:pt>
                <c:pt idx="2269">
                  <c:v>6.1508551294039098</c:v>
                </c:pt>
                <c:pt idx="2270">
                  <c:v>5.9776504223873621</c:v>
                </c:pt>
                <c:pt idx="2271">
                  <c:v>5.9873766209352315</c:v>
                </c:pt>
                <c:pt idx="2272">
                  <c:v>5.9970685311422853</c:v>
                </c:pt>
                <c:pt idx="2273">
                  <c:v>5.9462409092923441</c:v>
                </c:pt>
                <c:pt idx="2274">
                  <c:v>6.0947429657137597</c:v>
                </c:pt>
                <c:pt idx="2275">
                  <c:v>5.9984256205549258</c:v>
                </c:pt>
                <c:pt idx="2276">
                  <c:v>7.0156268451035499</c:v>
                </c:pt>
                <c:pt idx="2277">
                  <c:v>5.0692561793128545</c:v>
                </c:pt>
                <c:pt idx="2278">
                  <c:v>5.0570223664417187</c:v>
                </c:pt>
                <c:pt idx="2279">
                  <c:v>4.9441418251656142</c:v>
                </c:pt>
                <c:pt idx="2280">
                  <c:v>4.9214097073824483</c:v>
                </c:pt>
                <c:pt idx="2281">
                  <c:v>5.9224803002861783</c:v>
                </c:pt>
                <c:pt idx="2282">
                  <c:v>5.0809632877125885</c:v>
                </c:pt>
                <c:pt idx="2283">
                  <c:v>6.0997025809721661</c:v>
                </c:pt>
                <c:pt idx="2284">
                  <c:v>4.0753381597852369</c:v>
                </c:pt>
                <c:pt idx="2285">
                  <c:v>3.9129080312986497</c:v>
                </c:pt>
                <c:pt idx="2286">
                  <c:v>5.9486779474057752</c:v>
                </c:pt>
                <c:pt idx="2287">
                  <c:v>4.9321674579299408</c:v>
                </c:pt>
                <c:pt idx="2288">
                  <c:v>6.1900690531276759</c:v>
                </c:pt>
                <c:pt idx="2289">
                  <c:v>5.9507327258948131</c:v>
                </c:pt>
                <c:pt idx="2290">
                  <c:v>6.0503781417856173</c:v>
                </c:pt>
                <c:pt idx="2291">
                  <c:v>5.0841337053594273</c:v>
                </c:pt>
                <c:pt idx="2292">
                  <c:v>6.0604877164099644</c:v>
                </c:pt>
                <c:pt idx="2293">
                  <c:v>6.0146743791454309</c:v>
                </c:pt>
                <c:pt idx="2294">
                  <c:v>5.0439303989943101</c:v>
                </c:pt>
                <c:pt idx="2295">
                  <c:v>4.9643056035647852</c:v>
                </c:pt>
                <c:pt idx="2296">
                  <c:v>6.8338258169025394</c:v>
                </c:pt>
                <c:pt idx="2297">
                  <c:v>5.9090735315262828</c:v>
                </c:pt>
                <c:pt idx="2298">
                  <c:v>5.1054204866197823</c:v>
                </c:pt>
                <c:pt idx="2299">
                  <c:v>5.9796484632310332</c:v>
                </c:pt>
                <c:pt idx="2300">
                  <c:v>6.0725676266335844</c:v>
                </c:pt>
                <c:pt idx="2301">
                  <c:v>6.0349939294188193</c:v>
                </c:pt>
                <c:pt idx="2302">
                  <c:v>6.0110715553844054</c:v>
                </c:pt>
                <c:pt idx="2303">
                  <c:v>7.0285506932165385</c:v>
                </c:pt>
                <c:pt idx="2304">
                  <c:v>6.9465341034090837</c:v>
                </c:pt>
                <c:pt idx="2305">
                  <c:v>6.202106001856496</c:v>
                </c:pt>
                <c:pt idx="2306">
                  <c:v>4.8986678942838582</c:v>
                </c:pt>
                <c:pt idx="2307">
                  <c:v>4.7827372193094675</c:v>
                </c:pt>
                <c:pt idx="2308">
                  <c:v>5.0737617592447695</c:v>
                </c:pt>
                <c:pt idx="2309">
                  <c:v>4.8455845092617063</c:v>
                </c:pt>
                <c:pt idx="2310">
                  <c:v>4.9937695709932548</c:v>
                </c:pt>
                <c:pt idx="2311">
                  <c:v>5.0013794794093176</c:v>
                </c:pt>
                <c:pt idx="2312">
                  <c:v>4.8448912004173765</c:v>
                </c:pt>
                <c:pt idx="2313">
                  <c:v>5.93968687666609</c:v>
                </c:pt>
                <c:pt idx="2314">
                  <c:v>5.8733765089434584</c:v>
                </c:pt>
                <c:pt idx="2315">
                  <c:v>4.9548886875971396</c:v>
                </c:pt>
                <c:pt idx="2316">
                  <c:v>6.0128130900128154</c:v>
                </c:pt>
                <c:pt idx="2317">
                  <c:v>5.8678729008914852</c:v>
                </c:pt>
                <c:pt idx="2318">
                  <c:v>5.9073206759017269</c:v>
                </c:pt>
                <c:pt idx="2319">
                  <c:v>6.8473669280492606</c:v>
                </c:pt>
                <c:pt idx="2320">
                  <c:v>5.9532400171302129</c:v>
                </c:pt>
                <c:pt idx="2321">
                  <c:v>5.0255744335271846</c:v>
                </c:pt>
                <c:pt idx="2322">
                  <c:v>4.9735694590715402</c:v>
                </c:pt>
                <c:pt idx="2323">
                  <c:v>6.1346473623740829</c:v>
                </c:pt>
                <c:pt idx="2324">
                  <c:v>5.0655488032895359</c:v>
                </c:pt>
                <c:pt idx="2325">
                  <c:v>6.1552401663414713</c:v>
                </c:pt>
                <c:pt idx="2326">
                  <c:v>5.0638272047439665</c:v>
                </c:pt>
                <c:pt idx="2327">
                  <c:v>6.0192619705485786</c:v>
                </c:pt>
                <c:pt idx="2328">
                  <c:v>6.0216059257337911</c:v>
                </c:pt>
                <c:pt idx="2329">
                  <c:v>5.0150578520527516</c:v>
                </c:pt>
                <c:pt idx="2330">
                  <c:v>4.7974649415006878</c:v>
                </c:pt>
                <c:pt idx="2331">
                  <c:v>4.8669737237992026</c:v>
                </c:pt>
                <c:pt idx="2332">
                  <c:v>6.0652477204084656</c:v>
                </c:pt>
                <c:pt idx="2333">
                  <c:v>7.0816668625169505</c:v>
                </c:pt>
                <c:pt idx="2334">
                  <c:v>6.2033832056303728</c:v>
                </c:pt>
                <c:pt idx="2335">
                  <c:v>5.8156697206809493</c:v>
                </c:pt>
                <c:pt idx="2336">
                  <c:v>5.0214856632577058</c:v>
                </c:pt>
                <c:pt idx="2337">
                  <c:v>5.007136447575121</c:v>
                </c:pt>
                <c:pt idx="2338">
                  <c:v>5.9934332376027948</c:v>
                </c:pt>
                <c:pt idx="2339">
                  <c:v>4.8919149485698341</c:v>
                </c:pt>
                <c:pt idx="2340">
                  <c:v>5.9649760474823568</c:v>
                </c:pt>
                <c:pt idx="2341">
                  <c:v>5.0420645621059865</c:v>
                </c:pt>
                <c:pt idx="2342">
                  <c:v>5.9521563203336019</c:v>
                </c:pt>
                <c:pt idx="2343">
                  <c:v>5.0862142321887278</c:v>
                </c:pt>
                <c:pt idx="2344">
                  <c:v>6.0471797404845189</c:v>
                </c:pt>
                <c:pt idx="2345">
                  <c:v>7.1094116378903722</c:v>
                </c:pt>
                <c:pt idx="2346">
                  <c:v>5.0341159188462665</c:v>
                </c:pt>
                <c:pt idx="2347">
                  <c:v>5.0407509107320747</c:v>
                </c:pt>
                <c:pt idx="2348">
                  <c:v>6.0277518085296924</c:v>
                </c:pt>
                <c:pt idx="2349">
                  <c:v>4.9480025719207639</c:v>
                </c:pt>
                <c:pt idx="2350">
                  <c:v>4.8967238160517299</c:v>
                </c:pt>
                <c:pt idx="2351">
                  <c:v>6.6925553689334629</c:v>
                </c:pt>
                <c:pt idx="2352">
                  <c:v>5.9046225252189579</c:v>
                </c:pt>
                <c:pt idx="2353">
                  <c:v>7.0377790318779345</c:v>
                </c:pt>
                <c:pt idx="2354">
                  <c:v>6.0570347233391919</c:v>
                </c:pt>
                <c:pt idx="2355">
                  <c:v>6.9140070927016639</c:v>
                </c:pt>
                <c:pt idx="2356">
                  <c:v>5.9561908375342121</c:v>
                </c:pt>
                <c:pt idx="2357">
                  <c:v>5.0810416116497299</c:v>
                </c:pt>
                <c:pt idx="2358">
                  <c:v>5.0580026365133426</c:v>
                </c:pt>
                <c:pt idx="2359">
                  <c:v>6.1159038339935936</c:v>
                </c:pt>
                <c:pt idx="2360">
                  <c:v>5.1718752747766628</c:v>
                </c:pt>
                <c:pt idx="2361">
                  <c:v>5.0312972890359253</c:v>
                </c:pt>
                <c:pt idx="2362">
                  <c:v>5.9817050618348802</c:v>
                </c:pt>
                <c:pt idx="2363">
                  <c:v>4.8497194824603422</c:v>
                </c:pt>
                <c:pt idx="2364">
                  <c:v>5.0496286336823548</c:v>
                </c:pt>
                <c:pt idx="2365">
                  <c:v>6.0336272203528871</c:v>
                </c:pt>
                <c:pt idx="2366">
                  <c:v>5.9217162248415081</c:v>
                </c:pt>
                <c:pt idx="2367">
                  <c:v>4.8911996052594864</c:v>
                </c:pt>
                <c:pt idx="2368">
                  <c:v>5.1720157995039644</c:v>
                </c:pt>
                <c:pt idx="2369">
                  <c:v>6.0253239626776649</c:v>
                </c:pt>
                <c:pt idx="2370">
                  <c:v>5.0768149861396044</c:v>
                </c:pt>
                <c:pt idx="2371">
                  <c:v>5.0060675064659392</c:v>
                </c:pt>
                <c:pt idx="2372">
                  <c:v>5.9822984391393907</c:v>
                </c:pt>
                <c:pt idx="2373">
                  <c:v>5.8379873256981378</c:v>
                </c:pt>
                <c:pt idx="2374">
                  <c:v>4.9778184039221989</c:v>
                </c:pt>
                <c:pt idx="2375">
                  <c:v>6.0615909086565356</c:v>
                </c:pt>
                <c:pt idx="2376">
                  <c:v>5.182785365216283</c:v>
                </c:pt>
                <c:pt idx="2377">
                  <c:v>8.9693284511431042</c:v>
                </c:pt>
                <c:pt idx="2378">
                  <c:v>6.9988780991351707</c:v>
                </c:pt>
                <c:pt idx="2379">
                  <c:v>6.0450034708587603</c:v>
                </c:pt>
                <c:pt idx="2380">
                  <c:v>4.9352856096522082</c:v>
                </c:pt>
                <c:pt idx="2381">
                  <c:v>5.0852168979423373</c:v>
                </c:pt>
                <c:pt idx="2382">
                  <c:v>6.1227525371855851</c:v>
                </c:pt>
                <c:pt idx="2383">
                  <c:v>4.9212337205297816</c:v>
                </c:pt>
                <c:pt idx="2384">
                  <c:v>5.3076856437737252</c:v>
                </c:pt>
                <c:pt idx="2385">
                  <c:v>4.946677651082716</c:v>
                </c:pt>
                <c:pt idx="2386">
                  <c:v>6.1297405840115609</c:v>
                </c:pt>
                <c:pt idx="2387">
                  <c:v>6.0363261825063201</c:v>
                </c:pt>
                <c:pt idx="2388">
                  <c:v>5.0538746438061377</c:v>
                </c:pt>
                <c:pt idx="2389">
                  <c:v>5.1995529049196669</c:v>
                </c:pt>
                <c:pt idx="2390">
                  <c:v>5.0840126966917749</c:v>
                </c:pt>
                <c:pt idx="2391">
                  <c:v>4.8924830266373673</c:v>
                </c:pt>
                <c:pt idx="2392">
                  <c:v>5.8709770341918368</c:v>
                </c:pt>
                <c:pt idx="2393">
                  <c:v>4.8604976628686636</c:v>
                </c:pt>
                <c:pt idx="2394">
                  <c:v>4.8351235349497852</c:v>
                </c:pt>
                <c:pt idx="2395">
                  <c:v>5.8887965416510433</c:v>
                </c:pt>
                <c:pt idx="2396">
                  <c:v>4.0232532089182627</c:v>
                </c:pt>
                <c:pt idx="2397">
                  <c:v>4.9221528420798135</c:v>
                </c:pt>
                <c:pt idx="2398">
                  <c:v>6.0297913285094564</c:v>
                </c:pt>
                <c:pt idx="2399">
                  <c:v>5.9125830946513123</c:v>
                </c:pt>
                <c:pt idx="2400">
                  <c:v>5.0746959747338183</c:v>
                </c:pt>
                <c:pt idx="2401">
                  <c:v>4.8549359087497805</c:v>
                </c:pt>
                <c:pt idx="2402">
                  <c:v>5.0554585654366502</c:v>
                </c:pt>
                <c:pt idx="2403">
                  <c:v>6.141269084005752</c:v>
                </c:pt>
                <c:pt idx="2404">
                  <c:v>7.0153771863644776</c:v>
                </c:pt>
                <c:pt idx="2405">
                  <c:v>5.9889043617268021</c:v>
                </c:pt>
                <c:pt idx="2406">
                  <c:v>5.8475928541848639</c:v>
                </c:pt>
                <c:pt idx="2407">
                  <c:v>4.9597468607114958</c:v>
                </c:pt>
                <c:pt idx="2408">
                  <c:v>5.0281490253919809</c:v>
                </c:pt>
                <c:pt idx="2409">
                  <c:v>6.913294389228299</c:v>
                </c:pt>
                <c:pt idx="2410">
                  <c:v>6.0195838440372684</c:v>
                </c:pt>
                <c:pt idx="2411">
                  <c:v>5.0867945311115728</c:v>
                </c:pt>
                <c:pt idx="2412">
                  <c:v>5.0136429138632703</c:v>
                </c:pt>
                <c:pt idx="2413">
                  <c:v>4.9573713632105765</c:v>
                </c:pt>
                <c:pt idx="2414">
                  <c:v>4.1850661159427087</c:v>
                </c:pt>
                <c:pt idx="2415">
                  <c:v>3.7620822821371807</c:v>
                </c:pt>
                <c:pt idx="2416">
                  <c:v>4.0675778510880258</c:v>
                </c:pt>
                <c:pt idx="2417">
                  <c:v>5.8960688191361772</c:v>
                </c:pt>
                <c:pt idx="2418">
                  <c:v>5.1476511634571116</c:v>
                </c:pt>
                <c:pt idx="2419">
                  <c:v>5.1944161100793806</c:v>
                </c:pt>
                <c:pt idx="2420">
                  <c:v>4.9748212967115224</c:v>
                </c:pt>
                <c:pt idx="2421">
                  <c:v>6.9991682724874806</c:v>
                </c:pt>
                <c:pt idx="2422">
                  <c:v>4.8449550730816746</c:v>
                </c:pt>
                <c:pt idx="2423">
                  <c:v>5.9156438582234774</c:v>
                </c:pt>
                <c:pt idx="2424">
                  <c:v>5.0722447859389179</c:v>
                </c:pt>
                <c:pt idx="2425">
                  <c:v>5.963224450656492</c:v>
                </c:pt>
                <c:pt idx="2426">
                  <c:v>4.993199139145263</c:v>
                </c:pt>
                <c:pt idx="2427">
                  <c:v>6.094436643625202</c:v>
                </c:pt>
                <c:pt idx="2428">
                  <c:v>5.9777991188252573</c:v>
                </c:pt>
                <c:pt idx="2429">
                  <c:v>6.0421265216528122</c:v>
                </c:pt>
                <c:pt idx="2430">
                  <c:v>5.9535763605098975</c:v>
                </c:pt>
                <c:pt idx="2431">
                  <c:v>5.9064562083097272</c:v>
                </c:pt>
                <c:pt idx="2432">
                  <c:v>7.1560545167643301</c:v>
                </c:pt>
                <c:pt idx="2433">
                  <c:v>3.9480728043286279</c:v>
                </c:pt>
                <c:pt idx="2434">
                  <c:v>3.9703972167724957</c:v>
                </c:pt>
                <c:pt idx="2435">
                  <c:v>4.0545945711472857</c:v>
                </c:pt>
                <c:pt idx="2436">
                  <c:v>6.0608755806184824</c:v>
                </c:pt>
                <c:pt idx="2437">
                  <c:v>5.9586001028708289</c:v>
                </c:pt>
                <c:pt idx="2438">
                  <c:v>6.0229910218420057</c:v>
                </c:pt>
                <c:pt idx="2439">
                  <c:v>5.2367000317076657</c:v>
                </c:pt>
                <c:pt idx="2440">
                  <c:v>4.8709532630691337</c:v>
                </c:pt>
                <c:pt idx="2441">
                  <c:v>5.0093234039033385</c:v>
                </c:pt>
                <c:pt idx="2442">
                  <c:v>5.8452392482821836</c:v>
                </c:pt>
                <c:pt idx="2443">
                  <c:v>4.951017763662616</c:v>
                </c:pt>
                <c:pt idx="2444">
                  <c:v>4.8208351725737639</c:v>
                </c:pt>
                <c:pt idx="2445">
                  <c:v>5.0553071179573221</c:v>
                </c:pt>
                <c:pt idx="2446">
                  <c:v>4.9811324029830724</c:v>
                </c:pt>
                <c:pt idx="2447">
                  <c:v>5.9521816683183291</c:v>
                </c:pt>
                <c:pt idx="2448">
                  <c:v>5.2714400500523748</c:v>
                </c:pt>
                <c:pt idx="2449">
                  <c:v>4.9034456363123171</c:v>
                </c:pt>
                <c:pt idx="2450">
                  <c:v>6.092864693177324</c:v>
                </c:pt>
                <c:pt idx="2451">
                  <c:v>6.0111678754628315</c:v>
                </c:pt>
                <c:pt idx="2452">
                  <c:v>6.1355334081052648</c:v>
                </c:pt>
                <c:pt idx="2453">
                  <c:v>4.8766580927776726</c:v>
                </c:pt>
                <c:pt idx="2454">
                  <c:v>6.0746564665803371</c:v>
                </c:pt>
                <c:pt idx="2455">
                  <c:v>4.8040599031604634</c:v>
                </c:pt>
                <c:pt idx="2456">
                  <c:v>5.9544971249241421</c:v>
                </c:pt>
                <c:pt idx="2457">
                  <c:v>6.1770834356449837</c:v>
                </c:pt>
                <c:pt idx="2458">
                  <c:v>6.0806366425468363</c:v>
                </c:pt>
                <c:pt idx="2459">
                  <c:v>6.0669202059885867</c:v>
                </c:pt>
                <c:pt idx="2460">
                  <c:v>6.0500472931355631</c:v>
                </c:pt>
                <c:pt idx="2461">
                  <c:v>5.9891095435746537</c:v>
                </c:pt>
                <c:pt idx="2462">
                  <c:v>6.0768012195204459</c:v>
                </c:pt>
                <c:pt idx="2463">
                  <c:v>6.0176032709316827</c:v>
                </c:pt>
                <c:pt idx="2464">
                  <c:v>6.0839421951371282</c:v>
                </c:pt>
                <c:pt idx="2465">
                  <c:v>5.9909519282683767</c:v>
                </c:pt>
                <c:pt idx="2466">
                  <c:v>5.948111449797822</c:v>
                </c:pt>
                <c:pt idx="2467">
                  <c:v>6.0792639184521367</c:v>
                </c:pt>
                <c:pt idx="2468">
                  <c:v>6.0716196910885509</c:v>
                </c:pt>
                <c:pt idx="2469">
                  <c:v>6.1174653472451324</c:v>
                </c:pt>
                <c:pt idx="2470">
                  <c:v>6.0691645180808251</c:v>
                </c:pt>
                <c:pt idx="2471">
                  <c:v>6.012966599484681</c:v>
                </c:pt>
                <c:pt idx="2472">
                  <c:v>6.0391783481041763</c:v>
                </c:pt>
                <c:pt idx="2473">
                  <c:v>5.8929698416924667</c:v>
                </c:pt>
                <c:pt idx="2474">
                  <c:v>4.8543155393363095</c:v>
                </c:pt>
                <c:pt idx="2475">
                  <c:v>5.9843318344761833</c:v>
                </c:pt>
                <c:pt idx="2476">
                  <c:v>6.0834402377585581</c:v>
                </c:pt>
                <c:pt idx="2477">
                  <c:v>5.1098390562453675</c:v>
                </c:pt>
                <c:pt idx="2478">
                  <c:v>5.0872009317603624</c:v>
                </c:pt>
                <c:pt idx="2479">
                  <c:v>6.0853739912129177</c:v>
                </c:pt>
                <c:pt idx="2480">
                  <c:v>5.015947372813641</c:v>
                </c:pt>
                <c:pt idx="2481">
                  <c:v>4.9306063198111145</c:v>
                </c:pt>
                <c:pt idx="2482">
                  <c:v>5.9821926836883845</c:v>
                </c:pt>
                <c:pt idx="2483">
                  <c:v>6.1126023523015993</c:v>
                </c:pt>
                <c:pt idx="2484">
                  <c:v>3.9622357754936384</c:v>
                </c:pt>
                <c:pt idx="2485">
                  <c:v>4.8872685791962205</c:v>
                </c:pt>
                <c:pt idx="2486">
                  <c:v>5.0577861029170217</c:v>
                </c:pt>
                <c:pt idx="2487">
                  <c:v>3.9874253958147117</c:v>
                </c:pt>
                <c:pt idx="2488">
                  <c:v>4.9043579820659469</c:v>
                </c:pt>
                <c:pt idx="2489">
                  <c:v>7.1049720601006952</c:v>
                </c:pt>
                <c:pt idx="2490">
                  <c:v>6.0761776874487197</c:v>
                </c:pt>
                <c:pt idx="2491">
                  <c:v>4.8594825245064195</c:v>
                </c:pt>
                <c:pt idx="2492">
                  <c:v>5.939517925921824</c:v>
                </c:pt>
                <c:pt idx="2493">
                  <c:v>4.9692311616489659</c:v>
                </c:pt>
                <c:pt idx="2494">
                  <c:v>4.984307977808685</c:v>
                </c:pt>
                <c:pt idx="2495">
                  <c:v>5.8965405189024915</c:v>
                </c:pt>
                <c:pt idx="2496">
                  <c:v>4.9084801855317721</c:v>
                </c:pt>
                <c:pt idx="2497">
                  <c:v>5.9538421470285154</c:v>
                </c:pt>
                <c:pt idx="2498">
                  <c:v>5.9428668474940931</c:v>
                </c:pt>
                <c:pt idx="2499">
                  <c:v>6.0377019905913158</c:v>
                </c:pt>
                <c:pt idx="2500">
                  <c:v>6.0415411400794738</c:v>
                </c:pt>
                <c:pt idx="2501">
                  <c:v>5.9674164071598108</c:v>
                </c:pt>
                <c:pt idx="2502">
                  <c:v>6.013269735965511</c:v>
                </c:pt>
                <c:pt idx="2503">
                  <c:v>5.1103067912291307</c:v>
                </c:pt>
                <c:pt idx="2504">
                  <c:v>6.0541100603746614</c:v>
                </c:pt>
                <c:pt idx="2505">
                  <c:v>6.0856352355477954</c:v>
                </c:pt>
                <c:pt idx="2506">
                  <c:v>4.9440537612667796</c:v>
                </c:pt>
                <c:pt idx="2507">
                  <c:v>5.7965080303224683</c:v>
                </c:pt>
                <c:pt idx="2508">
                  <c:v>6.0122696688737394</c:v>
                </c:pt>
                <c:pt idx="2509">
                  <c:v>5.085702644337867</c:v>
                </c:pt>
                <c:pt idx="2510">
                  <c:v>6.0976599587923044</c:v>
                </c:pt>
                <c:pt idx="2511">
                  <c:v>5.0570222259685487</c:v>
                </c:pt>
                <c:pt idx="2512">
                  <c:v>6.8986057901847166</c:v>
                </c:pt>
                <c:pt idx="2513">
                  <c:v>4.9306689766975822</c:v>
                </c:pt>
                <c:pt idx="2514">
                  <c:v>5.8800045957260503</c:v>
                </c:pt>
                <c:pt idx="2515">
                  <c:v>6.0531733934922176</c:v>
                </c:pt>
                <c:pt idx="2516">
                  <c:v>5.1334904198465976</c:v>
                </c:pt>
                <c:pt idx="2517">
                  <c:v>6.1272677051390136</c:v>
                </c:pt>
                <c:pt idx="2518">
                  <c:v>6.0866595820700153</c:v>
                </c:pt>
                <c:pt idx="2519">
                  <c:v>4.9081899468018069</c:v>
                </c:pt>
                <c:pt idx="2520">
                  <c:v>5.0616589576431155</c:v>
                </c:pt>
                <c:pt idx="2521">
                  <c:v>4.8005263543139796</c:v>
                </c:pt>
                <c:pt idx="2522">
                  <c:v>6.0870124839832798</c:v>
                </c:pt>
                <c:pt idx="2523">
                  <c:v>5.0520122529460014</c:v>
                </c:pt>
                <c:pt idx="2524">
                  <c:v>6.0071074816933878</c:v>
                </c:pt>
                <c:pt idx="2525">
                  <c:v>3.8408279126004565</c:v>
                </c:pt>
                <c:pt idx="2526">
                  <c:v>5.1566655400333845</c:v>
                </c:pt>
                <c:pt idx="2527">
                  <c:v>6.0561429351577569</c:v>
                </c:pt>
                <c:pt idx="2528">
                  <c:v>4.9917183689486482</c:v>
                </c:pt>
                <c:pt idx="2529">
                  <c:v>6.0577230439833549</c:v>
                </c:pt>
                <c:pt idx="2530">
                  <c:v>5.0472861999443257</c:v>
                </c:pt>
                <c:pt idx="2531">
                  <c:v>4.8578739665534192</c:v>
                </c:pt>
                <c:pt idx="2532">
                  <c:v>5.0288707907589618</c:v>
                </c:pt>
                <c:pt idx="2533">
                  <c:v>5.2015575218177208</c:v>
                </c:pt>
                <c:pt idx="2534">
                  <c:v>6.0019639233055031</c:v>
                </c:pt>
                <c:pt idx="2535">
                  <c:v>7.1844024949557967</c:v>
                </c:pt>
                <c:pt idx="2536">
                  <c:v>6.1327200770558292</c:v>
                </c:pt>
                <c:pt idx="2537">
                  <c:v>4.7960220354903793</c:v>
                </c:pt>
                <c:pt idx="2538">
                  <c:v>5.00492067495931</c:v>
                </c:pt>
                <c:pt idx="2539">
                  <c:v>4.9681947124621164</c:v>
                </c:pt>
                <c:pt idx="2540">
                  <c:v>4.9860224802143573</c:v>
                </c:pt>
                <c:pt idx="2541">
                  <c:v>4.996882834491319</c:v>
                </c:pt>
                <c:pt idx="2542">
                  <c:v>4.9364329709090953</c:v>
                </c:pt>
                <c:pt idx="2543">
                  <c:v>5.9992251364965448</c:v>
                </c:pt>
                <c:pt idx="2544">
                  <c:v>5.0397288634711908</c:v>
                </c:pt>
                <c:pt idx="2545">
                  <c:v>5.8559885668752649</c:v>
                </c:pt>
                <c:pt idx="2546">
                  <c:v>5.1327580127454002</c:v>
                </c:pt>
                <c:pt idx="2547">
                  <c:v>5.826429056504435</c:v>
                </c:pt>
                <c:pt idx="2548">
                  <c:v>4.8514888051819778</c:v>
                </c:pt>
                <c:pt idx="2549">
                  <c:v>6.071713955561254</c:v>
                </c:pt>
                <c:pt idx="2550">
                  <c:v>4.9504552550016641</c:v>
                </c:pt>
                <c:pt idx="2551">
                  <c:v>6.0366217520638861</c:v>
                </c:pt>
                <c:pt idx="2552">
                  <c:v>4.9008374201761686</c:v>
                </c:pt>
                <c:pt idx="2553">
                  <c:v>5.9374280066023113</c:v>
                </c:pt>
                <c:pt idx="2554">
                  <c:v>5.0737027499721847</c:v>
                </c:pt>
                <c:pt idx="2555">
                  <c:v>6.1465540659459847</c:v>
                </c:pt>
                <c:pt idx="2556">
                  <c:v>6.8754152699111595</c:v>
                </c:pt>
                <c:pt idx="2557">
                  <c:v>5.9232413848584731</c:v>
                </c:pt>
                <c:pt idx="2558">
                  <c:v>5.162535956926674</c:v>
                </c:pt>
                <c:pt idx="2559">
                  <c:v>6.0995300819903946</c:v>
                </c:pt>
                <c:pt idx="2560">
                  <c:v>7.0110943036507729</c:v>
                </c:pt>
                <c:pt idx="2561">
                  <c:v>6.0035609440245814</c:v>
                </c:pt>
                <c:pt idx="2562">
                  <c:v>6.1185942611634117</c:v>
                </c:pt>
                <c:pt idx="2563">
                  <c:v>4.8935349083257487</c:v>
                </c:pt>
                <c:pt idx="2564">
                  <c:v>5.1205977674223311</c:v>
                </c:pt>
                <c:pt idx="2565">
                  <c:v>4.8942744382541123</c:v>
                </c:pt>
                <c:pt idx="2566">
                  <c:v>5.0038663785345792</c:v>
                </c:pt>
                <c:pt idx="2567">
                  <c:v>6.0687873139274071</c:v>
                </c:pt>
                <c:pt idx="2568">
                  <c:v>5.92154383539589</c:v>
                </c:pt>
                <c:pt idx="2569">
                  <c:v>6.0142957732288389</c:v>
                </c:pt>
                <c:pt idx="2570">
                  <c:v>4.8954616694267026</c:v>
                </c:pt>
                <c:pt idx="2571">
                  <c:v>6.0677900612419267</c:v>
                </c:pt>
                <c:pt idx="2572">
                  <c:v>5.9305056489271903</c:v>
                </c:pt>
                <c:pt idx="2573">
                  <c:v>5.0974647427491533</c:v>
                </c:pt>
                <c:pt idx="2574">
                  <c:v>5.0041454004838464</c:v>
                </c:pt>
                <c:pt idx="2575">
                  <c:v>6.0429469408276235</c:v>
                </c:pt>
                <c:pt idx="2576">
                  <c:v>4.9065530513225459</c:v>
                </c:pt>
                <c:pt idx="2577">
                  <c:v>5.0115333325499307</c:v>
                </c:pt>
                <c:pt idx="2578">
                  <c:v>5.0532150222705763</c:v>
                </c:pt>
                <c:pt idx="2579">
                  <c:v>5.9125682600452469</c:v>
                </c:pt>
                <c:pt idx="2580">
                  <c:v>6.0096264164435915</c:v>
                </c:pt>
                <c:pt idx="2581">
                  <c:v>5.0149185486346299</c:v>
                </c:pt>
                <c:pt idx="2582">
                  <c:v>5.8916615854205299</c:v>
                </c:pt>
                <c:pt idx="2583">
                  <c:v>6.1470382794860363</c:v>
                </c:pt>
                <c:pt idx="2584">
                  <c:v>6.0744622739866028</c:v>
                </c:pt>
                <c:pt idx="2585">
                  <c:v>7.1397231674523693</c:v>
                </c:pt>
                <c:pt idx="2586">
                  <c:v>5.9961672423361998</c:v>
                </c:pt>
                <c:pt idx="2587">
                  <c:v>4.8772987144475213</c:v>
                </c:pt>
                <c:pt idx="2588">
                  <c:v>5.0326282854480189</c:v>
                </c:pt>
                <c:pt idx="2589">
                  <c:v>6.1945722244010604</c:v>
                </c:pt>
                <c:pt idx="2590">
                  <c:v>5.9732025164339024</c:v>
                </c:pt>
                <c:pt idx="2591">
                  <c:v>6.0617042364514226</c:v>
                </c:pt>
                <c:pt idx="2592">
                  <c:v>5.8234613180889081</c:v>
                </c:pt>
                <c:pt idx="2593">
                  <c:v>4.9925844897629883</c:v>
                </c:pt>
                <c:pt idx="2594">
                  <c:v>5.8287512164183557</c:v>
                </c:pt>
                <c:pt idx="2595">
                  <c:v>6.0792643343976298</c:v>
                </c:pt>
                <c:pt idx="2596">
                  <c:v>4.9291717889185209</c:v>
                </c:pt>
                <c:pt idx="2597">
                  <c:v>5.9587693590891124</c:v>
                </c:pt>
                <c:pt idx="2598">
                  <c:v>5.0480770796375474</c:v>
                </c:pt>
                <c:pt idx="2599">
                  <c:v>6.0209332339017712</c:v>
                </c:pt>
                <c:pt idx="2600">
                  <c:v>5.9715366065071755</c:v>
                </c:pt>
                <c:pt idx="2601">
                  <c:v>4.8708988934479391</c:v>
                </c:pt>
                <c:pt idx="2602">
                  <c:v>6.0335936895427649</c:v>
                </c:pt>
                <c:pt idx="2603">
                  <c:v>6.2938335455363807</c:v>
                </c:pt>
                <c:pt idx="2604">
                  <c:v>5.9856815120684006</c:v>
                </c:pt>
                <c:pt idx="2605">
                  <c:v>7.0596212708866402</c:v>
                </c:pt>
                <c:pt idx="2606">
                  <c:v>6.026066124470038</c:v>
                </c:pt>
                <c:pt idx="2607">
                  <c:v>5.9086390144749794</c:v>
                </c:pt>
                <c:pt idx="2608">
                  <c:v>5.9028082426598489</c:v>
                </c:pt>
                <c:pt idx="2609">
                  <c:v>5.8122032318314183</c:v>
                </c:pt>
                <c:pt idx="2610">
                  <c:v>4.8502572523481327</c:v>
                </c:pt>
                <c:pt idx="2611">
                  <c:v>4.8930648443206923</c:v>
                </c:pt>
                <c:pt idx="2612">
                  <c:v>4.8686860235669371</c:v>
                </c:pt>
                <c:pt idx="2613">
                  <c:v>5.1060114503204304</c:v>
                </c:pt>
                <c:pt idx="2614">
                  <c:v>7.089366131956047</c:v>
                </c:pt>
                <c:pt idx="2615">
                  <c:v>5.8983872874971688</c:v>
                </c:pt>
                <c:pt idx="2616">
                  <c:v>6.164918615262053</c:v>
                </c:pt>
                <c:pt idx="2617">
                  <c:v>5.9102828767499123</c:v>
                </c:pt>
                <c:pt idx="2618">
                  <c:v>7.0647199738836077</c:v>
                </c:pt>
                <c:pt idx="2619">
                  <c:v>3.9364676096566713</c:v>
                </c:pt>
                <c:pt idx="2620">
                  <c:v>5.0866368812741722</c:v>
                </c:pt>
                <c:pt idx="2621">
                  <c:v>4.9787681033556375</c:v>
                </c:pt>
                <c:pt idx="2622">
                  <c:v>4.7888275216880318</c:v>
                </c:pt>
                <c:pt idx="2623">
                  <c:v>6.1791424824549823</c:v>
                </c:pt>
                <c:pt idx="2624">
                  <c:v>5.0939187717532528</c:v>
                </c:pt>
                <c:pt idx="2625">
                  <c:v>6.0140977383496539</c:v>
                </c:pt>
                <c:pt idx="2626">
                  <c:v>6.0579830343415404</c:v>
                </c:pt>
                <c:pt idx="2627">
                  <c:v>6.0204417118218387</c:v>
                </c:pt>
                <c:pt idx="2628">
                  <c:v>4.8947638609658757</c:v>
                </c:pt>
                <c:pt idx="2629">
                  <c:v>6.0429527616385101</c:v>
                </c:pt>
                <c:pt idx="2630">
                  <c:v>4.8825191813925164</c:v>
                </c:pt>
                <c:pt idx="2631">
                  <c:v>6.1335283089705648</c:v>
                </c:pt>
                <c:pt idx="2632">
                  <c:v>2.0019872462384649</c:v>
                </c:pt>
                <c:pt idx="2633">
                  <c:v>3.080783958541979</c:v>
                </c:pt>
                <c:pt idx="2634">
                  <c:v>5.0100978255472368</c:v>
                </c:pt>
                <c:pt idx="2635">
                  <c:v>4.9212878674049723</c:v>
                </c:pt>
                <c:pt idx="2636">
                  <c:v>5.0380285317440254</c:v>
                </c:pt>
                <c:pt idx="2637">
                  <c:v>2.9598307045521244</c:v>
                </c:pt>
                <c:pt idx="2638">
                  <c:v>6.1175484118078227</c:v>
                </c:pt>
                <c:pt idx="2639">
                  <c:v>6.8973666588171305</c:v>
                </c:pt>
                <c:pt idx="2640">
                  <c:v>5.9683945036660822</c:v>
                </c:pt>
                <c:pt idx="2641">
                  <c:v>6.9803537453395048</c:v>
                </c:pt>
                <c:pt idx="2642">
                  <c:v>4.9696708150620061</c:v>
                </c:pt>
                <c:pt idx="2643">
                  <c:v>5.9285534946359384</c:v>
                </c:pt>
                <c:pt idx="2644">
                  <c:v>4.8632471211097279</c:v>
                </c:pt>
                <c:pt idx="2645">
                  <c:v>5.0245881745168575</c:v>
                </c:pt>
                <c:pt idx="2646">
                  <c:v>5.1227616957049369</c:v>
                </c:pt>
                <c:pt idx="2647">
                  <c:v>4.047950356467573</c:v>
                </c:pt>
                <c:pt idx="2648">
                  <c:v>5.0476382184363784</c:v>
                </c:pt>
                <c:pt idx="2649">
                  <c:v>4.9352579923116799</c:v>
                </c:pt>
                <c:pt idx="2650">
                  <c:v>5.0812050927651367</c:v>
                </c:pt>
                <c:pt idx="2651">
                  <c:v>5.0445168000952822</c:v>
                </c:pt>
                <c:pt idx="2652">
                  <c:v>5.8309898967946463</c:v>
                </c:pt>
                <c:pt idx="2653">
                  <c:v>6.0153250425696028</c:v>
                </c:pt>
                <c:pt idx="2654">
                  <c:v>4.0333117956132174</c:v>
                </c:pt>
                <c:pt idx="2655">
                  <c:v>2.9287696178667368</c:v>
                </c:pt>
                <c:pt idx="2656">
                  <c:v>4.8481380164172201</c:v>
                </c:pt>
                <c:pt idx="2657">
                  <c:v>4.7916464094709781</c:v>
                </c:pt>
                <c:pt idx="2658">
                  <c:v>5.0806479052675426</c:v>
                </c:pt>
                <c:pt idx="2659">
                  <c:v>4.8861720436130325</c:v>
                </c:pt>
                <c:pt idx="2660">
                  <c:v>3.8487782947857894</c:v>
                </c:pt>
                <c:pt idx="2661">
                  <c:v>6.0812425538231363</c:v>
                </c:pt>
                <c:pt idx="2662">
                  <c:v>4.0435566821510847</c:v>
                </c:pt>
                <c:pt idx="2663">
                  <c:v>3.9584363625461059</c:v>
                </c:pt>
                <c:pt idx="2664">
                  <c:v>4.8276991875232982</c:v>
                </c:pt>
                <c:pt idx="2665">
                  <c:v>4.8697619248380768</c:v>
                </c:pt>
                <c:pt idx="2666">
                  <c:v>2.9051017967003747</c:v>
                </c:pt>
                <c:pt idx="2667">
                  <c:v>4.0301861747171497</c:v>
                </c:pt>
                <c:pt idx="2668">
                  <c:v>5.0084596790686753</c:v>
                </c:pt>
                <c:pt idx="2669">
                  <c:v>5.9719106107932669</c:v>
                </c:pt>
                <c:pt idx="2670">
                  <c:v>5.9761738245806626</c:v>
                </c:pt>
                <c:pt idx="2671">
                  <c:v>4.9662829058169926</c:v>
                </c:pt>
                <c:pt idx="2672">
                  <c:v>5.9160805288338203</c:v>
                </c:pt>
                <c:pt idx="2673">
                  <c:v>2.9136450868945389</c:v>
                </c:pt>
                <c:pt idx="2674">
                  <c:v>4.8151517212207544</c:v>
                </c:pt>
                <c:pt idx="2675">
                  <c:v>5.8528684239077684</c:v>
                </c:pt>
                <c:pt idx="2676">
                  <c:v>6.9807557040252881</c:v>
                </c:pt>
                <c:pt idx="2677">
                  <c:v>4.9895889827432374</c:v>
                </c:pt>
                <c:pt idx="2678">
                  <c:v>5.9749666813374871</c:v>
                </c:pt>
                <c:pt idx="2679">
                  <c:v>4.9731926436916387</c:v>
                </c:pt>
                <c:pt idx="2680">
                  <c:v>4.995176272170271</c:v>
                </c:pt>
                <c:pt idx="2681">
                  <c:v>4.8942081705575555</c:v>
                </c:pt>
                <c:pt idx="2682">
                  <c:v>6.0288775921519555</c:v>
                </c:pt>
                <c:pt idx="2683">
                  <c:v>6.0882043814713809</c:v>
                </c:pt>
                <c:pt idx="2684">
                  <c:v>5.0261025173891634</c:v>
                </c:pt>
                <c:pt idx="2685">
                  <c:v>4.0067496110208065</c:v>
                </c:pt>
                <c:pt idx="2686">
                  <c:v>5.9784748866812647</c:v>
                </c:pt>
                <c:pt idx="2687">
                  <c:v>3.9775589269959362</c:v>
                </c:pt>
                <c:pt idx="2688">
                  <c:v>6.0265191764657624</c:v>
                </c:pt>
                <c:pt idx="2689">
                  <c:v>4.8007867530719279</c:v>
                </c:pt>
                <c:pt idx="2690">
                  <c:v>6.0773664626404811</c:v>
                </c:pt>
                <c:pt idx="2691">
                  <c:v>5.0545764203414727</c:v>
                </c:pt>
                <c:pt idx="2692">
                  <c:v>5.8032267297427822</c:v>
                </c:pt>
                <c:pt idx="2693">
                  <c:v>4.874297447991645</c:v>
                </c:pt>
                <c:pt idx="2694">
                  <c:v>5.9071480698802432</c:v>
                </c:pt>
                <c:pt idx="2695">
                  <c:v>4.9713236903023272</c:v>
                </c:pt>
                <c:pt idx="2696">
                  <c:v>5.9958751245830673</c:v>
                </c:pt>
                <c:pt idx="2697">
                  <c:v>6.1066067715632872</c:v>
                </c:pt>
                <c:pt idx="2698">
                  <c:v>4.975442965803281</c:v>
                </c:pt>
                <c:pt idx="2699">
                  <c:v>5.0956840726930128</c:v>
                </c:pt>
                <c:pt idx="2700">
                  <c:v>6.0929042740208077</c:v>
                </c:pt>
                <c:pt idx="2701">
                  <c:v>6.1326737025625562</c:v>
                </c:pt>
                <c:pt idx="2702">
                  <c:v>5.9037766056190932</c:v>
                </c:pt>
                <c:pt idx="2703">
                  <c:v>5.1239397687255597</c:v>
                </c:pt>
                <c:pt idx="2704">
                  <c:v>5.0109875296615041</c:v>
                </c:pt>
                <c:pt idx="2705">
                  <c:v>5.9952519812194964</c:v>
                </c:pt>
                <c:pt idx="2706">
                  <c:v>5.0572122528446561</c:v>
                </c:pt>
                <c:pt idx="2707">
                  <c:v>5.0197701237582377</c:v>
                </c:pt>
                <c:pt idx="2708">
                  <c:v>4.7541207485551933</c:v>
                </c:pt>
                <c:pt idx="2709">
                  <c:v>5.9414831444017375</c:v>
                </c:pt>
                <c:pt idx="2710">
                  <c:v>5.0253224629586999</c:v>
                </c:pt>
                <c:pt idx="2711">
                  <c:v>4.9069660103782073</c:v>
                </c:pt>
                <c:pt idx="2712">
                  <c:v>4.988477996485047</c:v>
                </c:pt>
                <c:pt idx="2713">
                  <c:v>6.0434392077676229</c:v>
                </c:pt>
                <c:pt idx="2714">
                  <c:v>5.0556750440481428</c:v>
                </c:pt>
                <c:pt idx="2715">
                  <c:v>3.7544630509847403</c:v>
                </c:pt>
                <c:pt idx="2716">
                  <c:v>4.9690133988510308</c:v>
                </c:pt>
                <c:pt idx="2717">
                  <c:v>5.8869180769289624</c:v>
                </c:pt>
                <c:pt idx="2718">
                  <c:v>4.9135376704763996</c:v>
                </c:pt>
                <c:pt idx="2719">
                  <c:v>3.7770996940627959</c:v>
                </c:pt>
                <c:pt idx="2720">
                  <c:v>4.9955778844798591</c:v>
                </c:pt>
                <c:pt idx="2721">
                  <c:v>3.8348362285517239</c:v>
                </c:pt>
                <c:pt idx="2722">
                  <c:v>5.8337823661418442</c:v>
                </c:pt>
                <c:pt idx="2723">
                  <c:v>5.1534573921188809</c:v>
                </c:pt>
                <c:pt idx="2724">
                  <c:v>3.6421782317195408</c:v>
                </c:pt>
                <c:pt idx="2725">
                  <c:v>5.9298715521920426</c:v>
                </c:pt>
                <c:pt idx="2726">
                  <c:v>8.9662551027221831</c:v>
                </c:pt>
                <c:pt idx="2727">
                  <c:v>6.049415517059308</c:v>
                </c:pt>
                <c:pt idx="2728">
                  <c:v>5.8575430940055879</c:v>
                </c:pt>
                <c:pt idx="2729">
                  <c:v>6.2239201865486047</c:v>
                </c:pt>
                <c:pt idx="2730">
                  <c:v>4.9135614596075445</c:v>
                </c:pt>
                <c:pt idx="2731">
                  <c:v>5.0294151451494962</c:v>
                </c:pt>
                <c:pt idx="2732">
                  <c:v>6.1162437083022656</c:v>
                </c:pt>
                <c:pt idx="2733">
                  <c:v>5.1325283207192269</c:v>
                </c:pt>
                <c:pt idx="2734">
                  <c:v>5.0866470906814758</c:v>
                </c:pt>
                <c:pt idx="2735">
                  <c:v>5.912631303011473</c:v>
                </c:pt>
                <c:pt idx="2736">
                  <c:v>6.0395828004568912</c:v>
                </c:pt>
                <c:pt idx="2737">
                  <c:v>4.8363684269320046</c:v>
                </c:pt>
                <c:pt idx="2738">
                  <c:v>4.8351611045881988</c:v>
                </c:pt>
                <c:pt idx="2739">
                  <c:v>6.0483389647255379</c:v>
                </c:pt>
                <c:pt idx="2740">
                  <c:v>5.872516478881793</c:v>
                </c:pt>
                <c:pt idx="2741">
                  <c:v>5.1314808340631863</c:v>
                </c:pt>
                <c:pt idx="2742">
                  <c:v>5.8965797038045178</c:v>
                </c:pt>
                <c:pt idx="2743">
                  <c:v>5.1185617648917301</c:v>
                </c:pt>
                <c:pt idx="2744">
                  <c:v>5.9608630237704823</c:v>
                </c:pt>
                <c:pt idx="2745">
                  <c:v>6.1066902063829422</c:v>
                </c:pt>
                <c:pt idx="2746">
                  <c:v>5.0248386530855935</c:v>
                </c:pt>
                <c:pt idx="2747">
                  <c:v>5.0503767182877057</c:v>
                </c:pt>
                <c:pt idx="2748">
                  <c:v>6.1855879765845163</c:v>
                </c:pt>
                <c:pt idx="2749">
                  <c:v>4.9721846100818015</c:v>
                </c:pt>
                <c:pt idx="2750">
                  <c:v>5.1077358196481635</c:v>
                </c:pt>
                <c:pt idx="2751">
                  <c:v>4.9573433010231245</c:v>
                </c:pt>
                <c:pt idx="2752">
                  <c:v>4.9672223159350652</c:v>
                </c:pt>
                <c:pt idx="2753">
                  <c:v>5.0013821165121524</c:v>
                </c:pt>
                <c:pt idx="2754">
                  <c:v>5.0033561916900995</c:v>
                </c:pt>
                <c:pt idx="2755">
                  <c:v>6.0169965755310999</c:v>
                </c:pt>
                <c:pt idx="2756">
                  <c:v>3.9851384003763592</c:v>
                </c:pt>
                <c:pt idx="2757">
                  <c:v>7.0778944145423965</c:v>
                </c:pt>
                <c:pt idx="2758">
                  <c:v>5.015295965438554</c:v>
                </c:pt>
                <c:pt idx="2759">
                  <c:v>4.9142487593140958</c:v>
                </c:pt>
                <c:pt idx="2760">
                  <c:v>5.0843278846029314</c:v>
                </c:pt>
                <c:pt idx="2761">
                  <c:v>5.0132137548147018</c:v>
                </c:pt>
                <c:pt idx="2762">
                  <c:v>5.8479829282031313</c:v>
                </c:pt>
                <c:pt idx="2763">
                  <c:v>4.879712510809803</c:v>
                </c:pt>
                <c:pt idx="2764">
                  <c:v>5.1938484426406175</c:v>
                </c:pt>
                <c:pt idx="2765">
                  <c:v>5.1491618960681329</c:v>
                </c:pt>
                <c:pt idx="2766">
                  <c:v>5.0503662861144258</c:v>
                </c:pt>
                <c:pt idx="2767">
                  <c:v>5.1619827383979366</c:v>
                </c:pt>
                <c:pt idx="2768">
                  <c:v>6.0131091378319583</c:v>
                </c:pt>
                <c:pt idx="2769">
                  <c:v>4.032626752804501</c:v>
                </c:pt>
                <c:pt idx="2770">
                  <c:v>5.1098297446247045</c:v>
                </c:pt>
                <c:pt idx="2771">
                  <c:v>5.0305168103225153</c:v>
                </c:pt>
                <c:pt idx="2772">
                  <c:v>4.9233644299508628</c:v>
                </c:pt>
                <c:pt idx="2773">
                  <c:v>4.8915625754910845</c:v>
                </c:pt>
                <c:pt idx="2774">
                  <c:v>4.1431789811746631</c:v>
                </c:pt>
                <c:pt idx="2775">
                  <c:v>6.0419529227073436</c:v>
                </c:pt>
                <c:pt idx="2776">
                  <c:v>6.063193689346833</c:v>
                </c:pt>
                <c:pt idx="2777">
                  <c:v>5.8792679915756763</c:v>
                </c:pt>
                <c:pt idx="2778">
                  <c:v>4.1566937478611248</c:v>
                </c:pt>
                <c:pt idx="2779">
                  <c:v>6.0804915319780175</c:v>
                </c:pt>
                <c:pt idx="2780">
                  <c:v>5.9730918141946558</c:v>
                </c:pt>
                <c:pt idx="2781">
                  <c:v>6.0402745645335409</c:v>
                </c:pt>
                <c:pt idx="2782">
                  <c:v>4.9428547247483232</c:v>
                </c:pt>
                <c:pt idx="2783">
                  <c:v>6.0753365467313127</c:v>
                </c:pt>
                <c:pt idx="2784">
                  <c:v>6.0876459217547554</c:v>
                </c:pt>
                <c:pt idx="2785">
                  <c:v>5.9641061083658</c:v>
                </c:pt>
                <c:pt idx="2786">
                  <c:v>6.0023836307066647</c:v>
                </c:pt>
                <c:pt idx="2787">
                  <c:v>6.1193967229152086</c:v>
                </c:pt>
                <c:pt idx="2788">
                  <c:v>5.9757748729616003</c:v>
                </c:pt>
                <c:pt idx="2789">
                  <c:v>6.0460208259711221</c:v>
                </c:pt>
                <c:pt idx="2790">
                  <c:v>6.3167523813677882</c:v>
                </c:pt>
                <c:pt idx="2791">
                  <c:v>5.9574804745879479</c:v>
                </c:pt>
                <c:pt idx="2792">
                  <c:v>5.0944894386381856</c:v>
                </c:pt>
                <c:pt idx="2793">
                  <c:v>6.016920268248132</c:v>
                </c:pt>
                <c:pt idx="2794">
                  <c:v>6.0959944216221764</c:v>
                </c:pt>
                <c:pt idx="2795">
                  <c:v>5.1675642100854562</c:v>
                </c:pt>
                <c:pt idx="2796">
                  <c:v>6.2405267956523121</c:v>
                </c:pt>
                <c:pt idx="2797">
                  <c:v>7.0751631375727309</c:v>
                </c:pt>
                <c:pt idx="2798">
                  <c:v>4.9159084185687387</c:v>
                </c:pt>
                <c:pt idx="2799">
                  <c:v>6.1114575796116526</c:v>
                </c:pt>
                <c:pt idx="2800">
                  <c:v>7.0240130497895858</c:v>
                </c:pt>
                <c:pt idx="2801">
                  <c:v>5.8659363404440992</c:v>
                </c:pt>
                <c:pt idx="2802">
                  <c:v>6.0615731067701821</c:v>
                </c:pt>
                <c:pt idx="2803">
                  <c:v>5.9078089320424496</c:v>
                </c:pt>
                <c:pt idx="2804">
                  <c:v>6.0557225191949939</c:v>
                </c:pt>
                <c:pt idx="2805">
                  <c:v>5.9421686878922362</c:v>
                </c:pt>
                <c:pt idx="2806">
                  <c:v>5.9173437316996518</c:v>
                </c:pt>
                <c:pt idx="2807">
                  <c:v>5.0108313699572893</c:v>
                </c:pt>
                <c:pt idx="2808">
                  <c:v>4.1182387941867926</c:v>
                </c:pt>
                <c:pt idx="2809">
                  <c:v>5.9650330992386182</c:v>
                </c:pt>
                <c:pt idx="2810">
                  <c:v>5.0220753320646256</c:v>
                </c:pt>
                <c:pt idx="2811">
                  <c:v>5.9949434775291275</c:v>
                </c:pt>
                <c:pt idx="2812">
                  <c:v>4.8501145403290113</c:v>
                </c:pt>
                <c:pt idx="2813">
                  <c:v>5.9881815126894029</c:v>
                </c:pt>
                <c:pt idx="2814">
                  <c:v>6.0973414177970389</c:v>
                </c:pt>
                <c:pt idx="2815">
                  <c:v>6.2345785571258743</c:v>
                </c:pt>
                <c:pt idx="2816">
                  <c:v>6.0352478836200589</c:v>
                </c:pt>
                <c:pt idx="2817">
                  <c:v>3.961124982474117</c:v>
                </c:pt>
                <c:pt idx="2818">
                  <c:v>6.0230942749956204</c:v>
                </c:pt>
                <c:pt idx="2819">
                  <c:v>4.9903703754053179</c:v>
                </c:pt>
                <c:pt idx="2820">
                  <c:v>3.9500256702121037</c:v>
                </c:pt>
                <c:pt idx="2821">
                  <c:v>3.8989394408782769</c:v>
                </c:pt>
                <c:pt idx="2822">
                  <c:v>5.1526899863499622</c:v>
                </c:pt>
                <c:pt idx="2823">
                  <c:v>5.9926623941433785</c:v>
                </c:pt>
                <c:pt idx="2824">
                  <c:v>4.9396947252278824</c:v>
                </c:pt>
                <c:pt idx="2825">
                  <c:v>5.9220883420844537</c:v>
                </c:pt>
                <c:pt idx="2826">
                  <c:v>6.0349330509719472</c:v>
                </c:pt>
                <c:pt idx="2827">
                  <c:v>5.950386215993162</c:v>
                </c:pt>
                <c:pt idx="2828">
                  <c:v>5.9989588523568091</c:v>
                </c:pt>
                <c:pt idx="2829">
                  <c:v>4.8951462167317619</c:v>
                </c:pt>
                <c:pt idx="2830">
                  <c:v>5.0806566026001461</c:v>
                </c:pt>
                <c:pt idx="2831">
                  <c:v>4.0176046622027464</c:v>
                </c:pt>
                <c:pt idx="2832">
                  <c:v>4.9956005049410974</c:v>
                </c:pt>
                <c:pt idx="2833">
                  <c:v>4.8430160002117502</c:v>
                </c:pt>
                <c:pt idx="2834">
                  <c:v>5.9504148263106034</c:v>
                </c:pt>
                <c:pt idx="2835">
                  <c:v>4.9058119336605266</c:v>
                </c:pt>
                <c:pt idx="2836">
                  <c:v>3.9550900428509701</c:v>
                </c:pt>
                <c:pt idx="2837">
                  <c:v>4.0253574279285331</c:v>
                </c:pt>
                <c:pt idx="2838">
                  <c:v>6.0919859544519364</c:v>
                </c:pt>
                <c:pt idx="2839">
                  <c:v>6.0213922521712124</c:v>
                </c:pt>
                <c:pt idx="2840">
                  <c:v>4.9353851190001459</c:v>
                </c:pt>
                <c:pt idx="2841">
                  <c:v>3.924329957336417</c:v>
                </c:pt>
                <c:pt idx="2842">
                  <c:v>4.9179551721301911</c:v>
                </c:pt>
                <c:pt idx="2843">
                  <c:v>6.0727420160288101</c:v>
                </c:pt>
                <c:pt idx="2844">
                  <c:v>4.0020317550408437</c:v>
                </c:pt>
                <c:pt idx="2845">
                  <c:v>6.1090249208861991</c:v>
                </c:pt>
                <c:pt idx="2846">
                  <c:v>5.0832734537023319</c:v>
                </c:pt>
                <c:pt idx="2847">
                  <c:v>5.9047063767205445</c:v>
                </c:pt>
                <c:pt idx="2848">
                  <c:v>4.8633640612113744</c:v>
                </c:pt>
                <c:pt idx="2849">
                  <c:v>5.0892098373345798</c:v>
                </c:pt>
                <c:pt idx="2850">
                  <c:v>5.8213735765218839</c:v>
                </c:pt>
                <c:pt idx="2851">
                  <c:v>5.8760777058449118</c:v>
                </c:pt>
                <c:pt idx="2852">
                  <c:v>4.9096190045401826</c:v>
                </c:pt>
                <c:pt idx="2853">
                  <c:v>4.9989571736930092</c:v>
                </c:pt>
                <c:pt idx="2854">
                  <c:v>6.1018874072117972</c:v>
                </c:pt>
                <c:pt idx="2855">
                  <c:v>5.954907304431539</c:v>
                </c:pt>
                <c:pt idx="2856">
                  <c:v>5.9842078977183437</c:v>
                </c:pt>
                <c:pt idx="2857">
                  <c:v>5.8948286008358544</c:v>
                </c:pt>
                <c:pt idx="2858">
                  <c:v>4.8145527621091606</c:v>
                </c:pt>
                <c:pt idx="2859">
                  <c:v>4.984340622139233</c:v>
                </c:pt>
                <c:pt idx="2860">
                  <c:v>6.0332240346492183</c:v>
                </c:pt>
                <c:pt idx="2861">
                  <c:v>7.1475247844747578</c:v>
                </c:pt>
                <c:pt idx="2862">
                  <c:v>5.9964774606390847</c:v>
                </c:pt>
                <c:pt idx="2863">
                  <c:v>5.0080339420433777</c:v>
                </c:pt>
                <c:pt idx="2864">
                  <c:v>6.1081097819818879</c:v>
                </c:pt>
                <c:pt idx="2865">
                  <c:v>6.0434386399048794</c:v>
                </c:pt>
                <c:pt idx="2866">
                  <c:v>5.888154693152134</c:v>
                </c:pt>
                <c:pt idx="2867">
                  <c:v>5.0232077532361581</c:v>
                </c:pt>
                <c:pt idx="2868">
                  <c:v>4.873421600832593</c:v>
                </c:pt>
                <c:pt idx="2869">
                  <c:v>5.9325094367185844</c:v>
                </c:pt>
                <c:pt idx="2870">
                  <c:v>4.9014595754155446</c:v>
                </c:pt>
                <c:pt idx="2871">
                  <c:v>6.9637479509646596</c:v>
                </c:pt>
                <c:pt idx="2872">
                  <c:v>4.9231327576228026</c:v>
                </c:pt>
                <c:pt idx="2873">
                  <c:v>6.0077958599872803</c:v>
                </c:pt>
                <c:pt idx="2874">
                  <c:v>6.1017998546466901</c:v>
                </c:pt>
                <c:pt idx="2875">
                  <c:v>5.008947591066268</c:v>
                </c:pt>
                <c:pt idx="2876">
                  <c:v>5.9728885259541116</c:v>
                </c:pt>
                <c:pt idx="2877">
                  <c:v>5.1552439782164914</c:v>
                </c:pt>
                <c:pt idx="2878">
                  <c:v>4.8304206219878489</c:v>
                </c:pt>
                <c:pt idx="2879">
                  <c:v>6.1397422107711872</c:v>
                </c:pt>
                <c:pt idx="2880">
                  <c:v>6.1116687181186524</c:v>
                </c:pt>
                <c:pt idx="2881">
                  <c:v>5.8097615342968965</c:v>
                </c:pt>
                <c:pt idx="2882">
                  <c:v>5.0459622909538595</c:v>
                </c:pt>
                <c:pt idx="2883">
                  <c:v>5.6017887509581126</c:v>
                </c:pt>
                <c:pt idx="2884">
                  <c:v>6.9056090615372687</c:v>
                </c:pt>
                <c:pt idx="2885">
                  <c:v>4.875649856655472</c:v>
                </c:pt>
                <c:pt idx="2886">
                  <c:v>5.1223383913646225</c:v>
                </c:pt>
                <c:pt idx="2887">
                  <c:v>4.9820488002532617</c:v>
                </c:pt>
                <c:pt idx="2888">
                  <c:v>4.96348275640345</c:v>
                </c:pt>
                <c:pt idx="2889">
                  <c:v>7.0057823202157232</c:v>
                </c:pt>
                <c:pt idx="2890">
                  <c:v>5.1075251082778612</c:v>
                </c:pt>
                <c:pt idx="2891">
                  <c:v>4.9354404529603144</c:v>
                </c:pt>
                <c:pt idx="2892">
                  <c:v>6.148992393805675</c:v>
                </c:pt>
                <c:pt idx="2893">
                  <c:v>5.0249834922026286</c:v>
                </c:pt>
                <c:pt idx="2894">
                  <c:v>5.0056499575928539</c:v>
                </c:pt>
                <c:pt idx="2895">
                  <c:v>4.9829489332641925</c:v>
                </c:pt>
                <c:pt idx="2896">
                  <c:v>4.9030268743007133</c:v>
                </c:pt>
                <c:pt idx="2897">
                  <c:v>6.1967015692036433</c:v>
                </c:pt>
                <c:pt idx="2898">
                  <c:v>6.9381339802947908</c:v>
                </c:pt>
                <c:pt idx="2899">
                  <c:v>6.0619853098002556</c:v>
                </c:pt>
                <c:pt idx="2900">
                  <c:v>4.8619483063095545</c:v>
                </c:pt>
                <c:pt idx="2901">
                  <c:v>4.963517954739407</c:v>
                </c:pt>
                <c:pt idx="2902">
                  <c:v>5.9660399229940611</c:v>
                </c:pt>
                <c:pt idx="2903">
                  <c:v>6.9788986229887966</c:v>
                </c:pt>
                <c:pt idx="2904">
                  <c:v>7.0716555255776949</c:v>
                </c:pt>
                <c:pt idx="2905">
                  <c:v>5.0936499968392219</c:v>
                </c:pt>
                <c:pt idx="2906">
                  <c:v>6.125897014889226</c:v>
                </c:pt>
                <c:pt idx="2907">
                  <c:v>6.9761037796297147</c:v>
                </c:pt>
                <c:pt idx="2908">
                  <c:v>5.0067208670434331</c:v>
                </c:pt>
                <c:pt idx="2909">
                  <c:v>4.9956632407372714</c:v>
                </c:pt>
                <c:pt idx="2910">
                  <c:v>6.0329453589333006</c:v>
                </c:pt>
                <c:pt idx="2911">
                  <c:v>7.0198298641989254</c:v>
                </c:pt>
                <c:pt idx="2912">
                  <c:v>4.905863056912291</c:v>
                </c:pt>
                <c:pt idx="2913">
                  <c:v>5.0404384240951012</c:v>
                </c:pt>
                <c:pt idx="2914">
                  <c:v>5.9492519181822292</c:v>
                </c:pt>
                <c:pt idx="2915">
                  <c:v>5.0817652677880787</c:v>
                </c:pt>
                <c:pt idx="2916">
                  <c:v>5.0180621660288569</c:v>
                </c:pt>
                <c:pt idx="2917">
                  <c:v>6.9560618511466501</c:v>
                </c:pt>
                <c:pt idx="2918">
                  <c:v>5.0245730735936336</c:v>
                </c:pt>
                <c:pt idx="2919">
                  <c:v>5.1383574098352325</c:v>
                </c:pt>
                <c:pt idx="2920">
                  <c:v>6.1232976922532325</c:v>
                </c:pt>
                <c:pt idx="2921">
                  <c:v>5.0192540756905526</c:v>
                </c:pt>
                <c:pt idx="2922">
                  <c:v>5.9301647912924675</c:v>
                </c:pt>
                <c:pt idx="2923">
                  <c:v>5.0596875386437539</c:v>
                </c:pt>
                <c:pt idx="2924">
                  <c:v>5.8386039894531532</c:v>
                </c:pt>
                <c:pt idx="2925">
                  <c:v>6.1979944043807738</c:v>
                </c:pt>
                <c:pt idx="2926">
                  <c:v>5.1413949364584983</c:v>
                </c:pt>
                <c:pt idx="2927">
                  <c:v>5.9674310878643597</c:v>
                </c:pt>
                <c:pt idx="2928">
                  <c:v>5.0241066934888536</c:v>
                </c:pt>
                <c:pt idx="2929">
                  <c:v>5.9760881388882465</c:v>
                </c:pt>
                <c:pt idx="2930">
                  <c:v>5.9097380261017101</c:v>
                </c:pt>
                <c:pt idx="2931">
                  <c:v>4.892008265889757</c:v>
                </c:pt>
                <c:pt idx="2932">
                  <c:v>4.9275825378513538</c:v>
                </c:pt>
                <c:pt idx="2933">
                  <c:v>5.0562802625303469</c:v>
                </c:pt>
                <c:pt idx="2934">
                  <c:v>4.818545182284578</c:v>
                </c:pt>
                <c:pt idx="2935">
                  <c:v>5.0857536536019055</c:v>
                </c:pt>
                <c:pt idx="2936">
                  <c:v>6.0409469551921422</c:v>
                </c:pt>
                <c:pt idx="2937">
                  <c:v>4.8699735788735614</c:v>
                </c:pt>
                <c:pt idx="2938">
                  <c:v>4.9209622066097749</c:v>
                </c:pt>
                <c:pt idx="2939">
                  <c:v>3.9032332907816656</c:v>
                </c:pt>
                <c:pt idx="2940">
                  <c:v>4.9193255389468149</c:v>
                </c:pt>
                <c:pt idx="2941">
                  <c:v>5.9290804733414317</c:v>
                </c:pt>
                <c:pt idx="2942">
                  <c:v>5.9887875854379766</c:v>
                </c:pt>
                <c:pt idx="2943">
                  <c:v>4.8888152539737693</c:v>
                </c:pt>
                <c:pt idx="2944">
                  <c:v>5.0830444060228892</c:v>
                </c:pt>
                <c:pt idx="2945">
                  <c:v>4.8469075911575885</c:v>
                </c:pt>
                <c:pt idx="2946">
                  <c:v>5.8944782920973298</c:v>
                </c:pt>
                <c:pt idx="2947">
                  <c:v>6.0757437402098597</c:v>
                </c:pt>
                <c:pt idx="2948">
                  <c:v>5.8407229695124823</c:v>
                </c:pt>
                <c:pt idx="2949">
                  <c:v>4.9458884114053108</c:v>
                </c:pt>
                <c:pt idx="2950">
                  <c:v>4.9517177091993547</c:v>
                </c:pt>
                <c:pt idx="2951">
                  <c:v>6.2050173175007357</c:v>
                </c:pt>
                <c:pt idx="2952">
                  <c:v>4.8931074474657592</c:v>
                </c:pt>
                <c:pt idx="2953">
                  <c:v>6.1767108265342987</c:v>
                </c:pt>
                <c:pt idx="2954">
                  <c:v>4.8895192286047502</c:v>
                </c:pt>
                <c:pt idx="2955">
                  <c:v>5.9321357659252039</c:v>
                </c:pt>
                <c:pt idx="2956">
                  <c:v>6.0260895440517546</c:v>
                </c:pt>
                <c:pt idx="2957">
                  <c:v>6.0218450216457979</c:v>
                </c:pt>
                <c:pt idx="2958">
                  <c:v>6.0450111511169666</c:v>
                </c:pt>
                <c:pt idx="2959">
                  <c:v>5.9709909477148537</c:v>
                </c:pt>
                <c:pt idx="2960">
                  <c:v>5.9479220267201889</c:v>
                </c:pt>
                <c:pt idx="2961">
                  <c:v>4.9345107042089875</c:v>
                </c:pt>
                <c:pt idx="2962">
                  <c:v>4.8867799825411566</c:v>
                </c:pt>
                <c:pt idx="2963">
                  <c:v>4.9638366318085145</c:v>
                </c:pt>
                <c:pt idx="2964">
                  <c:v>6.1444920552531626</c:v>
                </c:pt>
                <c:pt idx="2965">
                  <c:v>4.9662499538727678</c:v>
                </c:pt>
                <c:pt idx="2966">
                  <c:v>4.8857799875696815</c:v>
                </c:pt>
                <c:pt idx="2967">
                  <c:v>5.0959104390189411</c:v>
                </c:pt>
                <c:pt idx="2968">
                  <c:v>4.9687422386951647</c:v>
                </c:pt>
                <c:pt idx="2969">
                  <c:v>5.7312775628434451</c:v>
                </c:pt>
                <c:pt idx="2970">
                  <c:v>5.9116562012025522</c:v>
                </c:pt>
                <c:pt idx="2971">
                  <c:v>5.0206328060219523</c:v>
                </c:pt>
                <c:pt idx="2972">
                  <c:v>4.8777787602622906</c:v>
                </c:pt>
                <c:pt idx="2973">
                  <c:v>6.0863734297576411</c:v>
                </c:pt>
                <c:pt idx="2974">
                  <c:v>5.874241660513257</c:v>
                </c:pt>
                <c:pt idx="2975">
                  <c:v>5.9861899815068833</c:v>
                </c:pt>
                <c:pt idx="2976">
                  <c:v>5.109243874640276</c:v>
                </c:pt>
                <c:pt idx="2977">
                  <c:v>5.8096743831078319</c:v>
                </c:pt>
                <c:pt idx="2978">
                  <c:v>6.0064917735407093</c:v>
                </c:pt>
                <c:pt idx="2979">
                  <c:v>5.931564205971501</c:v>
                </c:pt>
                <c:pt idx="2980">
                  <c:v>5.0819653782712857</c:v>
                </c:pt>
                <c:pt idx="2981">
                  <c:v>5.0443851650820868</c:v>
                </c:pt>
                <c:pt idx="2982">
                  <c:v>5.193843136586235</c:v>
                </c:pt>
                <c:pt idx="2983">
                  <c:v>6.1677016278124963</c:v>
                </c:pt>
                <c:pt idx="2984">
                  <c:v>4.8539782620645147</c:v>
                </c:pt>
                <c:pt idx="2985">
                  <c:v>4.9517506665105424</c:v>
                </c:pt>
                <c:pt idx="2986">
                  <c:v>5.1150743928150346</c:v>
                </c:pt>
                <c:pt idx="2987">
                  <c:v>4.7574386320052584</c:v>
                </c:pt>
                <c:pt idx="2988">
                  <c:v>5.0913291252602066</c:v>
                </c:pt>
                <c:pt idx="2989">
                  <c:v>6.1357508997813648</c:v>
                </c:pt>
                <c:pt idx="2990">
                  <c:v>4.9964791885364415</c:v>
                </c:pt>
                <c:pt idx="2991">
                  <c:v>6.0487166010749043</c:v>
                </c:pt>
                <c:pt idx="2992">
                  <c:v>5.0532062828564781</c:v>
                </c:pt>
                <c:pt idx="2993">
                  <c:v>5.0433915545234251</c:v>
                </c:pt>
                <c:pt idx="2994">
                  <c:v>6.0502945759139575</c:v>
                </c:pt>
                <c:pt idx="2995">
                  <c:v>6.1173824866224606</c:v>
                </c:pt>
                <c:pt idx="2996">
                  <c:v>6.0373141824889194</c:v>
                </c:pt>
                <c:pt idx="2997">
                  <c:v>5.1736675318943988</c:v>
                </c:pt>
                <c:pt idx="2998">
                  <c:v>5.104219345512603</c:v>
                </c:pt>
                <c:pt idx="2999">
                  <c:v>4.9530183945985309</c:v>
                </c:pt>
                <c:pt idx="3000">
                  <c:v>5.0136228609982494</c:v>
                </c:pt>
                <c:pt idx="3001">
                  <c:v>5.9688464242601977</c:v>
                </c:pt>
                <c:pt idx="3002">
                  <c:v>5.9628702564721632</c:v>
                </c:pt>
                <c:pt idx="3003">
                  <c:v>5.7841462993714412</c:v>
                </c:pt>
                <c:pt idx="3004">
                  <c:v>5.1169793677571702</c:v>
                </c:pt>
                <c:pt idx="3005">
                  <c:v>4.9892799765676203</c:v>
                </c:pt>
                <c:pt idx="3006">
                  <c:v>6.0888098975381926</c:v>
                </c:pt>
                <c:pt idx="3007">
                  <c:v>6.0481156096598276</c:v>
                </c:pt>
                <c:pt idx="3008">
                  <c:v>4.999787561404295</c:v>
                </c:pt>
                <c:pt idx="3009">
                  <c:v>6.0841350901568081</c:v>
                </c:pt>
                <c:pt idx="3010">
                  <c:v>5.9684544888300692</c:v>
                </c:pt>
                <c:pt idx="3011">
                  <c:v>5.0870028359950723</c:v>
                </c:pt>
                <c:pt idx="3012">
                  <c:v>5.9834479528475928</c:v>
                </c:pt>
                <c:pt idx="3013">
                  <c:v>6.1144871787684583</c:v>
                </c:pt>
                <c:pt idx="3014">
                  <c:v>5.9971792222490876</c:v>
                </c:pt>
                <c:pt idx="3015">
                  <c:v>4.8682342557684226</c:v>
                </c:pt>
                <c:pt idx="3016">
                  <c:v>4.8746512354316707</c:v>
                </c:pt>
                <c:pt idx="3017">
                  <c:v>4.8409680602118765</c:v>
                </c:pt>
                <c:pt idx="3018">
                  <c:v>6.0265399970627165</c:v>
                </c:pt>
                <c:pt idx="3019">
                  <c:v>4.9928539830874978</c:v>
                </c:pt>
                <c:pt idx="3020">
                  <c:v>6.089791800071569</c:v>
                </c:pt>
                <c:pt idx="3021">
                  <c:v>6.0174645801363127</c:v>
                </c:pt>
                <c:pt idx="3022">
                  <c:v>4.9234010270288007</c:v>
                </c:pt>
                <c:pt idx="3023">
                  <c:v>5.0826783352618499</c:v>
                </c:pt>
                <c:pt idx="3024">
                  <c:v>5.0559740580380108</c:v>
                </c:pt>
                <c:pt idx="3025">
                  <c:v>6.1112700158625319</c:v>
                </c:pt>
                <c:pt idx="3026">
                  <c:v>5.7752595366751809</c:v>
                </c:pt>
                <c:pt idx="3027">
                  <c:v>5.9665880384078669</c:v>
                </c:pt>
                <c:pt idx="3028">
                  <c:v>4.9895250271598321</c:v>
                </c:pt>
                <c:pt idx="3029">
                  <c:v>4.9784488941624234</c:v>
                </c:pt>
                <c:pt idx="3030">
                  <c:v>4.9815032897103446</c:v>
                </c:pt>
                <c:pt idx="3031">
                  <c:v>4.8785555474562949</c:v>
                </c:pt>
                <c:pt idx="3032">
                  <c:v>6.1427370979617129</c:v>
                </c:pt>
                <c:pt idx="3033">
                  <c:v>5.0294513295842469</c:v>
                </c:pt>
                <c:pt idx="3034">
                  <c:v>5.830853242525281</c:v>
                </c:pt>
                <c:pt idx="3035">
                  <c:v>5.0780389708028038</c:v>
                </c:pt>
                <c:pt idx="3036">
                  <c:v>4.9505081761825016</c:v>
                </c:pt>
                <c:pt idx="3037">
                  <c:v>6.1734209170173466</c:v>
                </c:pt>
                <c:pt idx="3038">
                  <c:v>6.0945572192069548</c:v>
                </c:pt>
                <c:pt idx="3039">
                  <c:v>4.0084647361630248</c:v>
                </c:pt>
                <c:pt idx="3040">
                  <c:v>5.0523016788658612</c:v>
                </c:pt>
                <c:pt idx="3041">
                  <c:v>4.91675697452854</c:v>
                </c:pt>
                <c:pt idx="3042">
                  <c:v>6.0452370329441223</c:v>
                </c:pt>
                <c:pt idx="3043">
                  <c:v>5.072621405645557</c:v>
                </c:pt>
                <c:pt idx="3044">
                  <c:v>4.9283634937607541</c:v>
                </c:pt>
                <c:pt idx="3045">
                  <c:v>5.0551994446588706</c:v>
                </c:pt>
                <c:pt idx="3046">
                  <c:v>5.1311937166072186</c:v>
                </c:pt>
                <c:pt idx="3047">
                  <c:v>6.0315350504810539</c:v>
                </c:pt>
                <c:pt idx="3048">
                  <c:v>6.0042553840580313</c:v>
                </c:pt>
                <c:pt idx="3049">
                  <c:v>4.6495444375815191</c:v>
                </c:pt>
                <c:pt idx="3050">
                  <c:v>5.0164956693811309</c:v>
                </c:pt>
                <c:pt idx="3051">
                  <c:v>5.9455085377012287</c:v>
                </c:pt>
                <c:pt idx="3052">
                  <c:v>5.7812715587096246</c:v>
                </c:pt>
                <c:pt idx="3053">
                  <c:v>5.1678290061982253</c:v>
                </c:pt>
                <c:pt idx="3054">
                  <c:v>5.02973562231288</c:v>
                </c:pt>
                <c:pt idx="3055">
                  <c:v>4.8796010327735813</c:v>
                </c:pt>
                <c:pt idx="3056">
                  <c:v>5.0413804094136285</c:v>
                </c:pt>
                <c:pt idx="3057">
                  <c:v>5.8895297181617874</c:v>
                </c:pt>
                <c:pt idx="3058">
                  <c:v>5.0828374205656672</c:v>
                </c:pt>
                <c:pt idx="3059">
                  <c:v>5.986112219121388</c:v>
                </c:pt>
                <c:pt idx="3060">
                  <c:v>6.1396289750241664</c:v>
                </c:pt>
                <c:pt idx="3061">
                  <c:v>5.7955633897386756</c:v>
                </c:pt>
                <c:pt idx="3062">
                  <c:v>4.9536775016220957</c:v>
                </c:pt>
                <c:pt idx="3063">
                  <c:v>5.9648799135558059</c:v>
                </c:pt>
                <c:pt idx="3064">
                  <c:v>5.0348184657764286</c:v>
                </c:pt>
                <c:pt idx="3065">
                  <c:v>6.0646475832774591</c:v>
                </c:pt>
                <c:pt idx="3066">
                  <c:v>5.0021791288001278</c:v>
                </c:pt>
                <c:pt idx="3067">
                  <c:v>5.9318697540166836</c:v>
                </c:pt>
                <c:pt idx="3068">
                  <c:v>5.0721205435648793</c:v>
                </c:pt>
                <c:pt idx="3069">
                  <c:v>5.1204007673582241</c:v>
                </c:pt>
                <c:pt idx="3070">
                  <c:v>6.1464262242771879</c:v>
                </c:pt>
                <c:pt idx="3071">
                  <c:v>4.9308306519422906</c:v>
                </c:pt>
                <c:pt idx="3072">
                  <c:v>6.1176229716791362</c:v>
                </c:pt>
                <c:pt idx="3073">
                  <c:v>5.0560637921248466</c:v>
                </c:pt>
                <c:pt idx="3074">
                  <c:v>4.8227622579600302</c:v>
                </c:pt>
                <c:pt idx="3075">
                  <c:v>5.8978036321624634</c:v>
                </c:pt>
                <c:pt idx="3076">
                  <c:v>5.8553295479539678</c:v>
                </c:pt>
                <c:pt idx="3077">
                  <c:v>5.1384303538077791</c:v>
                </c:pt>
                <c:pt idx="3078">
                  <c:v>5.0415496488869778</c:v>
                </c:pt>
                <c:pt idx="3079">
                  <c:v>4.8972121373363402</c:v>
                </c:pt>
                <c:pt idx="3080">
                  <c:v>4.9737354331990389</c:v>
                </c:pt>
                <c:pt idx="3081">
                  <c:v>5.1107373651577293</c:v>
                </c:pt>
                <c:pt idx="3082">
                  <c:v>4.8752015090494929</c:v>
                </c:pt>
                <c:pt idx="3083">
                  <c:v>5.0809849092070181</c:v>
                </c:pt>
                <c:pt idx="3084">
                  <c:v>4.933450353971339</c:v>
                </c:pt>
                <c:pt idx="3085">
                  <c:v>6.85809939002338</c:v>
                </c:pt>
                <c:pt idx="3086">
                  <c:v>5.1685460188382697</c:v>
                </c:pt>
                <c:pt idx="3087">
                  <c:v>5.9730710665126407</c:v>
                </c:pt>
                <c:pt idx="3088">
                  <c:v>3.9835324160956116</c:v>
                </c:pt>
                <c:pt idx="3089">
                  <c:v>5.1439258993317551</c:v>
                </c:pt>
                <c:pt idx="3090">
                  <c:v>4.9223128018624935</c:v>
                </c:pt>
                <c:pt idx="3091">
                  <c:v>6.0691681866951868</c:v>
                </c:pt>
                <c:pt idx="3092">
                  <c:v>4.8696740104071656</c:v>
                </c:pt>
                <c:pt idx="3093">
                  <c:v>6.0698451894303496</c:v>
                </c:pt>
                <c:pt idx="3094">
                  <c:v>5.9528397076534265</c:v>
                </c:pt>
                <c:pt idx="3095">
                  <c:v>4.9223428469931507</c:v>
                </c:pt>
                <c:pt idx="3096">
                  <c:v>3.7957362477976408</c:v>
                </c:pt>
                <c:pt idx="3097">
                  <c:v>4.966167961061621</c:v>
                </c:pt>
                <c:pt idx="3098">
                  <c:v>5.0048679905664262</c:v>
                </c:pt>
                <c:pt idx="3099">
                  <c:v>6.0925605946355459</c:v>
                </c:pt>
                <c:pt idx="3100">
                  <c:v>5.0993062276918248</c:v>
                </c:pt>
                <c:pt idx="3101">
                  <c:v>6.0309818080215702</c:v>
                </c:pt>
                <c:pt idx="3102">
                  <c:v>4.9403750766116454</c:v>
                </c:pt>
                <c:pt idx="3103">
                  <c:v>6.1350486330822429</c:v>
                </c:pt>
                <c:pt idx="3104">
                  <c:v>6.9204307649185646</c:v>
                </c:pt>
                <c:pt idx="3105">
                  <c:v>5.0016072431254477</c:v>
                </c:pt>
                <c:pt idx="3106">
                  <c:v>5.0644193554298802</c:v>
                </c:pt>
                <c:pt idx="3107">
                  <c:v>5.9281071269822148</c:v>
                </c:pt>
                <c:pt idx="3108">
                  <c:v>3.044502515767967</c:v>
                </c:pt>
                <c:pt idx="3109">
                  <c:v>6.1487810824817783</c:v>
                </c:pt>
                <c:pt idx="3110">
                  <c:v>5.9837925874843263</c:v>
                </c:pt>
                <c:pt idx="3111">
                  <c:v>7.0247053125195889</c:v>
                </c:pt>
                <c:pt idx="3112">
                  <c:v>6.1110279815590669</c:v>
                </c:pt>
                <c:pt idx="3113">
                  <c:v>2.0120504609962389</c:v>
                </c:pt>
                <c:pt idx="3114">
                  <c:v>4.9690895889441347</c:v>
                </c:pt>
                <c:pt idx="3115">
                  <c:v>5.1429589049825193</c:v>
                </c:pt>
                <c:pt idx="3116">
                  <c:v>1.9501203725964871</c:v>
                </c:pt>
                <c:pt idx="3117">
                  <c:v>5.9643922917608121</c:v>
                </c:pt>
                <c:pt idx="3118">
                  <c:v>5.0482274104189395</c:v>
                </c:pt>
                <c:pt idx="3119">
                  <c:v>5.9493709538986623</c:v>
                </c:pt>
                <c:pt idx="3120">
                  <c:v>5.0682115262702414</c:v>
                </c:pt>
                <c:pt idx="3121">
                  <c:v>2.0151657986977329</c:v>
                </c:pt>
                <c:pt idx="3122">
                  <c:v>5.9736743683580773</c:v>
                </c:pt>
                <c:pt idx="3123">
                  <c:v>6.0246578770310952</c:v>
                </c:pt>
                <c:pt idx="3124">
                  <c:v>7.0893216516547266</c:v>
                </c:pt>
                <c:pt idx="3125">
                  <c:v>5.9771984911801974</c:v>
                </c:pt>
                <c:pt idx="3126">
                  <c:v>5.052119943962496</c:v>
                </c:pt>
                <c:pt idx="3127">
                  <c:v>4.9628247938045718</c:v>
                </c:pt>
                <c:pt idx="3128">
                  <c:v>7.1143531943091807</c:v>
                </c:pt>
                <c:pt idx="3129">
                  <c:v>4.9317393198034578</c:v>
                </c:pt>
                <c:pt idx="3130">
                  <c:v>5.8765071931060655</c:v>
                </c:pt>
                <c:pt idx="3131">
                  <c:v>6.2223388680473724</c:v>
                </c:pt>
                <c:pt idx="3132">
                  <c:v>4.9425660461557666</c:v>
                </c:pt>
                <c:pt idx="3133">
                  <c:v>5.8390731410513705</c:v>
                </c:pt>
                <c:pt idx="3134">
                  <c:v>6.7315754947929447</c:v>
                </c:pt>
                <c:pt idx="3135">
                  <c:v>4.969779865486541</c:v>
                </c:pt>
                <c:pt idx="3136">
                  <c:v>5.8773895293998555</c:v>
                </c:pt>
                <c:pt idx="3137">
                  <c:v>5.0784576891512634</c:v>
                </c:pt>
                <c:pt idx="3138">
                  <c:v>5.9547643362628664</c:v>
                </c:pt>
                <c:pt idx="3139">
                  <c:v>7.0294427613976485</c:v>
                </c:pt>
                <c:pt idx="3140">
                  <c:v>6.8209027353597529</c:v>
                </c:pt>
                <c:pt idx="3141">
                  <c:v>5.0773697406659348</c:v>
                </c:pt>
                <c:pt idx="3142">
                  <c:v>5.004735590826539</c:v>
                </c:pt>
                <c:pt idx="3143">
                  <c:v>5.9415582764780499</c:v>
                </c:pt>
                <c:pt idx="3144">
                  <c:v>6.1247538788857003</c:v>
                </c:pt>
                <c:pt idx="3145">
                  <c:v>6.0006792921565175</c:v>
                </c:pt>
                <c:pt idx="3146">
                  <c:v>5.9270136771546165</c:v>
                </c:pt>
                <c:pt idx="3147">
                  <c:v>4.9294684462451874</c:v>
                </c:pt>
                <c:pt idx="3148">
                  <c:v>6.0317942369888824</c:v>
                </c:pt>
                <c:pt idx="3149">
                  <c:v>7.1268308639443978</c:v>
                </c:pt>
                <c:pt idx="3150">
                  <c:v>5.1981891218126126</c:v>
                </c:pt>
                <c:pt idx="3151">
                  <c:v>6.0745049909906754</c:v>
                </c:pt>
                <c:pt idx="3152">
                  <c:v>5.0082161353620087</c:v>
                </c:pt>
                <c:pt idx="3153">
                  <c:v>5.1711494151552477</c:v>
                </c:pt>
                <c:pt idx="3154">
                  <c:v>5.0254948701616504</c:v>
                </c:pt>
                <c:pt idx="3155">
                  <c:v>5.0789078699107018</c:v>
                </c:pt>
                <c:pt idx="3156">
                  <c:v>4.8775384720723522</c:v>
                </c:pt>
                <c:pt idx="3157">
                  <c:v>6.0318730087856771</c:v>
                </c:pt>
                <c:pt idx="3158">
                  <c:v>4.0004578595790017</c:v>
                </c:pt>
                <c:pt idx="3159">
                  <c:v>7.0894765041473429</c:v>
                </c:pt>
                <c:pt idx="3160">
                  <c:v>3.9123309861812507</c:v>
                </c:pt>
                <c:pt idx="3161">
                  <c:v>4.9069234146238792</c:v>
                </c:pt>
                <c:pt idx="3162">
                  <c:v>5.1569758255884324</c:v>
                </c:pt>
                <c:pt idx="3163">
                  <c:v>5.995740790450272</c:v>
                </c:pt>
                <c:pt idx="3164">
                  <c:v>4.9646321915326475</c:v>
                </c:pt>
                <c:pt idx="3165">
                  <c:v>4.9323367384300409</c:v>
                </c:pt>
                <c:pt idx="3166">
                  <c:v>5.0243879812769654</c:v>
                </c:pt>
                <c:pt idx="3167">
                  <c:v>5.1121796270948794</c:v>
                </c:pt>
                <c:pt idx="3168">
                  <c:v>6.9644571470069883</c:v>
                </c:pt>
                <c:pt idx="3169">
                  <c:v>4.9055322837360515</c:v>
                </c:pt>
                <c:pt idx="3170">
                  <c:v>4.880839157472054</c:v>
                </c:pt>
                <c:pt idx="3171">
                  <c:v>4.7485175775521249</c:v>
                </c:pt>
                <c:pt idx="3172">
                  <c:v>5.2273107223857371</c:v>
                </c:pt>
                <c:pt idx="3173">
                  <c:v>5.0138217737712951</c:v>
                </c:pt>
                <c:pt idx="3174">
                  <c:v>5.9630753942229227</c:v>
                </c:pt>
                <c:pt idx="3175">
                  <c:v>4.8151361712564116</c:v>
                </c:pt>
                <c:pt idx="3176">
                  <c:v>4.9717572401782038</c:v>
                </c:pt>
                <c:pt idx="3177">
                  <c:v>5.0813792834656839</c:v>
                </c:pt>
                <c:pt idx="3178">
                  <c:v>4.9284480661231118</c:v>
                </c:pt>
                <c:pt idx="3179">
                  <c:v>6.1947627481410006</c:v>
                </c:pt>
                <c:pt idx="3180">
                  <c:v>5.9622839704668937</c:v>
                </c:pt>
                <c:pt idx="3181">
                  <c:v>5.0041742004570056</c:v>
                </c:pt>
                <c:pt idx="3182">
                  <c:v>6.9792183348791177</c:v>
                </c:pt>
                <c:pt idx="3183">
                  <c:v>6.0159419337223969</c:v>
                </c:pt>
                <c:pt idx="3184">
                  <c:v>7.0334694640591602</c:v>
                </c:pt>
                <c:pt idx="3185">
                  <c:v>5.1143661605418282</c:v>
                </c:pt>
                <c:pt idx="3186">
                  <c:v>5.1289045163578928</c:v>
                </c:pt>
                <c:pt idx="3187">
                  <c:v>5.9806892129348599</c:v>
                </c:pt>
                <c:pt idx="3188">
                  <c:v>5.0246594507505229</c:v>
                </c:pt>
                <c:pt idx="3189">
                  <c:v>5.8759415565638156</c:v>
                </c:pt>
                <c:pt idx="3190">
                  <c:v>4.9389362497397897</c:v>
                </c:pt>
                <c:pt idx="3191">
                  <c:v>4.9504954538764956</c:v>
                </c:pt>
                <c:pt idx="3192">
                  <c:v>6.0160487451528528</c:v>
                </c:pt>
                <c:pt idx="3193">
                  <c:v>5.9092915315105241</c:v>
                </c:pt>
                <c:pt idx="3194">
                  <c:v>4.8827470912132291</c:v>
                </c:pt>
                <c:pt idx="3195">
                  <c:v>5.0080559803567102</c:v>
                </c:pt>
                <c:pt idx="3196">
                  <c:v>6.7794179863662549</c:v>
                </c:pt>
                <c:pt idx="3197">
                  <c:v>5.0954766991707672</c:v>
                </c:pt>
                <c:pt idx="3198">
                  <c:v>6.0378921324573822</c:v>
                </c:pt>
                <c:pt idx="3199">
                  <c:v>6.9383656811045302</c:v>
                </c:pt>
                <c:pt idx="3200">
                  <c:v>4.9809282489560252</c:v>
                </c:pt>
                <c:pt idx="3201">
                  <c:v>5.1278392411238567</c:v>
                </c:pt>
                <c:pt idx="3202">
                  <c:v>5.8998474380631496</c:v>
                </c:pt>
                <c:pt idx="3203">
                  <c:v>4.8361955433020061</c:v>
                </c:pt>
                <c:pt idx="3204">
                  <c:v>4.8146560294032827</c:v>
                </c:pt>
                <c:pt idx="3205">
                  <c:v>5.0146292960375911</c:v>
                </c:pt>
                <c:pt idx="3206">
                  <c:v>5.0426782758996023</c:v>
                </c:pt>
                <c:pt idx="3207">
                  <c:v>5.9027360998097151</c:v>
                </c:pt>
                <c:pt idx="3208">
                  <c:v>5.7336051344263854</c:v>
                </c:pt>
                <c:pt idx="3209">
                  <c:v>6.0122811937052356</c:v>
                </c:pt>
                <c:pt idx="3210">
                  <c:v>5.9319937730338639</c:v>
                </c:pt>
                <c:pt idx="3211">
                  <c:v>5.07719644203575</c:v>
                </c:pt>
                <c:pt idx="3212">
                  <c:v>5.9204238418083062</c:v>
                </c:pt>
                <c:pt idx="3213">
                  <c:v>5.0194070133407029</c:v>
                </c:pt>
                <c:pt idx="3214">
                  <c:v>4.9545489644941005</c:v>
                </c:pt>
                <c:pt idx="3215">
                  <c:v>5.0137543640225033</c:v>
                </c:pt>
                <c:pt idx="3216">
                  <c:v>4.9208068719151399</c:v>
                </c:pt>
                <c:pt idx="3217">
                  <c:v>5.8724098235081383</c:v>
                </c:pt>
                <c:pt idx="3218">
                  <c:v>6.0395657060564378</c:v>
                </c:pt>
                <c:pt idx="3219">
                  <c:v>5.0454666454252619</c:v>
                </c:pt>
                <c:pt idx="3220">
                  <c:v>4.9197052345020875</c:v>
                </c:pt>
                <c:pt idx="3221">
                  <c:v>5.011888294136587</c:v>
                </c:pt>
                <c:pt idx="3222">
                  <c:v>4.9925523335469615</c:v>
                </c:pt>
                <c:pt idx="3223">
                  <c:v>5.0046380317481063</c:v>
                </c:pt>
                <c:pt idx="3224">
                  <c:v>5.0495076891636792</c:v>
                </c:pt>
                <c:pt idx="3225">
                  <c:v>4.9171593157475</c:v>
                </c:pt>
                <c:pt idx="3226">
                  <c:v>4.7733157332284737</c:v>
                </c:pt>
                <c:pt idx="3227">
                  <c:v>5.0701046947392188</c:v>
                </c:pt>
                <c:pt idx="3228">
                  <c:v>5.9211693587466945</c:v>
                </c:pt>
                <c:pt idx="3229">
                  <c:v>5.9245478912605822</c:v>
                </c:pt>
                <c:pt idx="3230">
                  <c:v>4.926030847292302</c:v>
                </c:pt>
                <c:pt idx="3231">
                  <c:v>4.8396418146813547</c:v>
                </c:pt>
                <c:pt idx="3232">
                  <c:v>5.0847948515285939</c:v>
                </c:pt>
                <c:pt idx="3233">
                  <c:v>5.0829854293317709</c:v>
                </c:pt>
                <c:pt idx="3234">
                  <c:v>4.9297413662631175</c:v>
                </c:pt>
                <c:pt idx="3235">
                  <c:v>5.0532484177936565</c:v>
                </c:pt>
                <c:pt idx="3236">
                  <c:v>5.7779848882831342</c:v>
                </c:pt>
                <c:pt idx="3237">
                  <c:v>6.0068377119969725</c:v>
                </c:pt>
                <c:pt idx="3238">
                  <c:v>6.0641596835949745</c:v>
                </c:pt>
                <c:pt idx="3239">
                  <c:v>5.1459039910132836</c:v>
                </c:pt>
                <c:pt idx="3240">
                  <c:v>4.9827669096602278</c:v>
                </c:pt>
                <c:pt idx="3241">
                  <c:v>6.1521092848467651</c:v>
                </c:pt>
                <c:pt idx="3242">
                  <c:v>5.0887263905087581</c:v>
                </c:pt>
                <c:pt idx="3243">
                  <c:v>5.0421599666686578</c:v>
                </c:pt>
                <c:pt idx="3244">
                  <c:v>4.9890399087475963</c:v>
                </c:pt>
                <c:pt idx="3245">
                  <c:v>6.0057703575299115</c:v>
                </c:pt>
                <c:pt idx="3246">
                  <c:v>4.9941073000951581</c:v>
                </c:pt>
                <c:pt idx="3247">
                  <c:v>4.7704496102120615</c:v>
                </c:pt>
                <c:pt idx="3248">
                  <c:v>5.0601972580178947</c:v>
                </c:pt>
                <c:pt idx="3249">
                  <c:v>6.0678866311397393</c:v>
                </c:pt>
                <c:pt idx="3250">
                  <c:v>5.0569958636713439</c:v>
                </c:pt>
                <c:pt idx="3251">
                  <c:v>5.0174436806610281</c:v>
                </c:pt>
                <c:pt idx="3252">
                  <c:v>5.073853377331079</c:v>
                </c:pt>
                <c:pt idx="3253">
                  <c:v>5.0082690976194151</c:v>
                </c:pt>
                <c:pt idx="3254">
                  <c:v>6.112602344441421</c:v>
                </c:pt>
                <c:pt idx="3255">
                  <c:v>6.0721405943614863</c:v>
                </c:pt>
                <c:pt idx="3256">
                  <c:v>5.9220067888104317</c:v>
                </c:pt>
                <c:pt idx="3257">
                  <c:v>5.0133202927463305</c:v>
                </c:pt>
                <c:pt idx="3258">
                  <c:v>5.0928392497621058</c:v>
                </c:pt>
                <c:pt idx="3259">
                  <c:v>5.9706978924360161</c:v>
                </c:pt>
                <c:pt idx="3260">
                  <c:v>6.1598807359154097</c:v>
                </c:pt>
                <c:pt idx="3261">
                  <c:v>4.9362116746919673</c:v>
                </c:pt>
                <c:pt idx="3262">
                  <c:v>6.086926288083732</c:v>
                </c:pt>
                <c:pt idx="3263">
                  <c:v>7.0727462723487688</c:v>
                </c:pt>
                <c:pt idx="3264">
                  <c:v>5.0402124460231477</c:v>
                </c:pt>
                <c:pt idx="3265">
                  <c:v>5.0584426236875508</c:v>
                </c:pt>
                <c:pt idx="3266">
                  <c:v>5.9758360326710793</c:v>
                </c:pt>
                <c:pt idx="3267">
                  <c:v>4.9014605297018123</c:v>
                </c:pt>
                <c:pt idx="3268">
                  <c:v>4.9198877198744313</c:v>
                </c:pt>
                <c:pt idx="3269">
                  <c:v>6.2142250341082015</c:v>
                </c:pt>
                <c:pt idx="3270">
                  <c:v>7.016849462993723</c:v>
                </c:pt>
                <c:pt idx="3271">
                  <c:v>4.9612617276271012</c:v>
                </c:pt>
                <c:pt idx="3272">
                  <c:v>6.1270422395790334</c:v>
                </c:pt>
                <c:pt idx="3273">
                  <c:v>4.9202338754618316</c:v>
                </c:pt>
                <c:pt idx="3274">
                  <c:v>5.0770370077296914</c:v>
                </c:pt>
                <c:pt idx="3275">
                  <c:v>5.0647160505548836</c:v>
                </c:pt>
                <c:pt idx="3276">
                  <c:v>4.912959959877357</c:v>
                </c:pt>
                <c:pt idx="3277">
                  <c:v>5.9840344514663082</c:v>
                </c:pt>
                <c:pt idx="3278">
                  <c:v>4.9787954316430136</c:v>
                </c:pt>
                <c:pt idx="3279">
                  <c:v>5.0959065036353062</c:v>
                </c:pt>
                <c:pt idx="3280">
                  <c:v>4.9858332569565311</c:v>
                </c:pt>
                <c:pt idx="3281">
                  <c:v>6.1102397290716777</c:v>
                </c:pt>
                <c:pt idx="3282">
                  <c:v>5.0878427450970225</c:v>
                </c:pt>
                <c:pt idx="3283">
                  <c:v>5.935681689005829</c:v>
                </c:pt>
                <c:pt idx="3284">
                  <c:v>6.1062524220405772</c:v>
                </c:pt>
                <c:pt idx="3285">
                  <c:v>5.0680159415917982</c:v>
                </c:pt>
                <c:pt idx="3286">
                  <c:v>5.0457699154527624</c:v>
                </c:pt>
                <c:pt idx="3287">
                  <c:v>6.0062759243854664</c:v>
                </c:pt>
                <c:pt idx="3288">
                  <c:v>5.0595690670647322</c:v>
                </c:pt>
                <c:pt idx="3289">
                  <c:v>5.1584890435460391</c:v>
                </c:pt>
                <c:pt idx="3290">
                  <c:v>5.094462195108366</c:v>
                </c:pt>
                <c:pt idx="3291">
                  <c:v>4.8817052802211451</c:v>
                </c:pt>
                <c:pt idx="3292">
                  <c:v>5.0640200778038036</c:v>
                </c:pt>
                <c:pt idx="3293">
                  <c:v>5.9877007004569283</c:v>
                </c:pt>
                <c:pt idx="3294">
                  <c:v>5.1236922845063715</c:v>
                </c:pt>
                <c:pt idx="3295">
                  <c:v>5.0289938571772659</c:v>
                </c:pt>
                <c:pt idx="3296">
                  <c:v>5.900465557765763</c:v>
                </c:pt>
                <c:pt idx="3297">
                  <c:v>4.8899241404823321</c:v>
                </c:pt>
                <c:pt idx="3298">
                  <c:v>4.8787246439503171</c:v>
                </c:pt>
                <c:pt idx="3299">
                  <c:v>4.8360982759062772</c:v>
                </c:pt>
                <c:pt idx="3300">
                  <c:v>4.9109434449124416</c:v>
                </c:pt>
                <c:pt idx="3301">
                  <c:v>6.1067567242531515</c:v>
                </c:pt>
                <c:pt idx="3302">
                  <c:v>4.9768601226388842</c:v>
                </c:pt>
                <c:pt idx="3303">
                  <c:v>4.9843552779073068</c:v>
                </c:pt>
                <c:pt idx="3304">
                  <c:v>4.991044934248384</c:v>
                </c:pt>
                <c:pt idx="3305">
                  <c:v>4.9802013327852652</c:v>
                </c:pt>
                <c:pt idx="3306">
                  <c:v>6.241554493008187</c:v>
                </c:pt>
                <c:pt idx="3307">
                  <c:v>4.8403866462638545</c:v>
                </c:pt>
                <c:pt idx="3308">
                  <c:v>5.0196913361377735</c:v>
                </c:pt>
                <c:pt idx="3309">
                  <c:v>5.0277352027508444</c:v>
                </c:pt>
                <c:pt idx="3310">
                  <c:v>6.101227512457946</c:v>
                </c:pt>
                <c:pt idx="3311">
                  <c:v>6.1962998100959004</c:v>
                </c:pt>
                <c:pt idx="3312">
                  <c:v>6.0416299789721819</c:v>
                </c:pt>
                <c:pt idx="3313">
                  <c:v>5.0227679078365748</c:v>
                </c:pt>
                <c:pt idx="3314">
                  <c:v>5.0185456775918187</c:v>
                </c:pt>
                <c:pt idx="3315">
                  <c:v>7.1151087972039218</c:v>
                </c:pt>
                <c:pt idx="3316">
                  <c:v>5.1067569670710569</c:v>
                </c:pt>
                <c:pt idx="3317">
                  <c:v>5.1993390718766817</c:v>
                </c:pt>
                <c:pt idx="3318">
                  <c:v>6.0015579943093886</c:v>
                </c:pt>
                <c:pt idx="3319">
                  <c:v>4.8613566950834226</c:v>
                </c:pt>
                <c:pt idx="3320">
                  <c:v>5.9458458710683928</c:v>
                </c:pt>
                <c:pt idx="3321">
                  <c:v>4.9444231144620696</c:v>
                </c:pt>
                <c:pt idx="3322">
                  <c:v>5.9408779673245737</c:v>
                </c:pt>
                <c:pt idx="3323">
                  <c:v>5.0101000602853132</c:v>
                </c:pt>
                <c:pt idx="3324">
                  <c:v>5.0401460526684101</c:v>
                </c:pt>
                <c:pt idx="3325">
                  <c:v>4.9557478594427185</c:v>
                </c:pt>
                <c:pt idx="3326">
                  <c:v>6.0349152527579291</c:v>
                </c:pt>
                <c:pt idx="3327">
                  <c:v>5.9741148514725166</c:v>
                </c:pt>
                <c:pt idx="3328">
                  <c:v>4.8518220406522587</c:v>
                </c:pt>
                <c:pt idx="3329">
                  <c:v>6.0943009073697691</c:v>
                </c:pt>
                <c:pt idx="3330">
                  <c:v>5.9374525387135781</c:v>
                </c:pt>
                <c:pt idx="3331">
                  <c:v>4.948060602694448</c:v>
                </c:pt>
                <c:pt idx="3332">
                  <c:v>6.1676803479470683</c:v>
                </c:pt>
                <c:pt idx="3333">
                  <c:v>5.0485031259486703</c:v>
                </c:pt>
                <c:pt idx="3334">
                  <c:v>4.8796668357453603</c:v>
                </c:pt>
                <c:pt idx="3335">
                  <c:v>5.0667564626265786</c:v>
                </c:pt>
                <c:pt idx="3336">
                  <c:v>5.1124629690054659</c:v>
                </c:pt>
                <c:pt idx="3337">
                  <c:v>5.1433351762136637</c:v>
                </c:pt>
                <c:pt idx="3338">
                  <c:v>4.8356097413729868</c:v>
                </c:pt>
                <c:pt idx="3339">
                  <c:v>5.0120694520417253</c:v>
                </c:pt>
                <c:pt idx="3340">
                  <c:v>4.9474361362265027</c:v>
                </c:pt>
                <c:pt idx="3341">
                  <c:v>5.1425248176913376</c:v>
                </c:pt>
                <c:pt idx="3342">
                  <c:v>5.9502268082747198</c:v>
                </c:pt>
                <c:pt idx="3343">
                  <c:v>5.842853341376367</c:v>
                </c:pt>
                <c:pt idx="3344">
                  <c:v>5.8435387317662322</c:v>
                </c:pt>
                <c:pt idx="3345">
                  <c:v>5.0127538356277253</c:v>
                </c:pt>
                <c:pt idx="3346">
                  <c:v>6.0545655149289743</c:v>
                </c:pt>
                <c:pt idx="3347">
                  <c:v>5.9789698387180703</c:v>
                </c:pt>
                <c:pt idx="3348">
                  <c:v>4.9614720481947225</c:v>
                </c:pt>
                <c:pt idx="3349">
                  <c:v>5.9713580179423937</c:v>
                </c:pt>
                <c:pt idx="3350">
                  <c:v>4.9463542750295009</c:v>
                </c:pt>
                <c:pt idx="3351">
                  <c:v>4.9069349441470491</c:v>
                </c:pt>
                <c:pt idx="3352">
                  <c:v>6.0526601858308515</c:v>
                </c:pt>
                <c:pt idx="3353">
                  <c:v>3.0137917626950004</c:v>
                </c:pt>
                <c:pt idx="3354">
                  <c:v>5.1480449665583059</c:v>
                </c:pt>
                <c:pt idx="3355">
                  <c:v>6.0832633011922681</c:v>
                </c:pt>
                <c:pt idx="3356">
                  <c:v>4.9845152185535309</c:v>
                </c:pt>
                <c:pt idx="3357">
                  <c:v>4.9937903849868208</c:v>
                </c:pt>
                <c:pt idx="3358">
                  <c:v>5.0602246971104794</c:v>
                </c:pt>
                <c:pt idx="3359">
                  <c:v>5.9194226096994011</c:v>
                </c:pt>
                <c:pt idx="3360">
                  <c:v>4.9398980880532868</c:v>
                </c:pt>
                <c:pt idx="3361">
                  <c:v>5.0511356591061949</c:v>
                </c:pt>
                <c:pt idx="3362">
                  <c:v>5.0983999900777164</c:v>
                </c:pt>
                <c:pt idx="3363">
                  <c:v>5.8116227644942882</c:v>
                </c:pt>
                <c:pt idx="3364">
                  <c:v>5.2860288176197274</c:v>
                </c:pt>
                <c:pt idx="3365">
                  <c:v>5.0654527157151339</c:v>
                </c:pt>
                <c:pt idx="3366">
                  <c:v>5.1659574724623223</c:v>
                </c:pt>
                <c:pt idx="3367">
                  <c:v>5.0740723900742157</c:v>
                </c:pt>
                <c:pt idx="3368">
                  <c:v>4.9958377450485267</c:v>
                </c:pt>
                <c:pt idx="3369">
                  <c:v>5.155111351322442</c:v>
                </c:pt>
                <c:pt idx="3370">
                  <c:v>5.0685104055767889</c:v>
                </c:pt>
                <c:pt idx="3371">
                  <c:v>5.045436046729411</c:v>
                </c:pt>
                <c:pt idx="3372">
                  <c:v>4.9954526082115374</c:v>
                </c:pt>
                <c:pt idx="3373">
                  <c:v>4.9241413493928929</c:v>
                </c:pt>
                <c:pt idx="3374">
                  <c:v>5.7932252836849791</c:v>
                </c:pt>
                <c:pt idx="3375">
                  <c:v>5.8327110645984535</c:v>
                </c:pt>
                <c:pt idx="3376">
                  <c:v>5.0616054105357469</c:v>
                </c:pt>
                <c:pt idx="3377">
                  <c:v>5.9063029094624673</c:v>
                </c:pt>
                <c:pt idx="3378">
                  <c:v>5.9376153670588376</c:v>
                </c:pt>
                <c:pt idx="3379">
                  <c:v>4.8343594581334965</c:v>
                </c:pt>
                <c:pt idx="3380">
                  <c:v>5.0684054399985552</c:v>
                </c:pt>
                <c:pt idx="3381">
                  <c:v>5.1211909311264456</c:v>
                </c:pt>
                <c:pt idx="3382">
                  <c:v>5.055809452584203</c:v>
                </c:pt>
                <c:pt idx="3383">
                  <c:v>6.0580638670976468</c:v>
                </c:pt>
                <c:pt idx="3384">
                  <c:v>5.014265749108997</c:v>
                </c:pt>
                <c:pt idx="3385">
                  <c:v>5.1941679481513319</c:v>
                </c:pt>
                <c:pt idx="3386">
                  <c:v>4.9757067178495378</c:v>
                </c:pt>
                <c:pt idx="3387">
                  <c:v>4.9312731905444966</c:v>
                </c:pt>
                <c:pt idx="3388">
                  <c:v>5.7544124394277087</c:v>
                </c:pt>
                <c:pt idx="3389">
                  <c:v>5.0330062893472691</c:v>
                </c:pt>
                <c:pt idx="3390">
                  <c:v>4.9282103130241888</c:v>
                </c:pt>
                <c:pt idx="3391">
                  <c:v>6.0374293578587395</c:v>
                </c:pt>
                <c:pt idx="3392">
                  <c:v>4.9652635538936476</c:v>
                </c:pt>
                <c:pt idx="3393">
                  <c:v>6.0885197551787034</c:v>
                </c:pt>
                <c:pt idx="3394">
                  <c:v>5.0530629935761748</c:v>
                </c:pt>
                <c:pt idx="3395">
                  <c:v>5.0027739059334388</c:v>
                </c:pt>
                <c:pt idx="3396">
                  <c:v>4.917857636030881</c:v>
                </c:pt>
                <c:pt idx="3397">
                  <c:v>4.903517384218457</c:v>
                </c:pt>
                <c:pt idx="3398">
                  <c:v>5.0996423547302143</c:v>
                </c:pt>
                <c:pt idx="3399">
                  <c:v>4.9533512520606129</c:v>
                </c:pt>
                <c:pt idx="3400">
                  <c:v>4.9231202930271962</c:v>
                </c:pt>
                <c:pt idx="3401">
                  <c:v>5.0317039401757206</c:v>
                </c:pt>
                <c:pt idx="3402">
                  <c:v>5.0817555657441833</c:v>
                </c:pt>
                <c:pt idx="3403">
                  <c:v>5.0349317610308661</c:v>
                </c:pt>
                <c:pt idx="3404">
                  <c:v>5.0539861700181161</c:v>
                </c:pt>
                <c:pt idx="3405">
                  <c:v>5.0518084884491934</c:v>
                </c:pt>
                <c:pt idx="3406">
                  <c:v>6.1945155132076994</c:v>
                </c:pt>
                <c:pt idx="3407">
                  <c:v>5.9820520348554131</c:v>
                </c:pt>
                <c:pt idx="3408">
                  <c:v>5.9358418057719273</c:v>
                </c:pt>
                <c:pt idx="3409">
                  <c:v>5.9899057955854147</c:v>
                </c:pt>
                <c:pt idx="3410">
                  <c:v>5.1279632341902559</c:v>
                </c:pt>
                <c:pt idx="3411">
                  <c:v>5.0424394228215483</c:v>
                </c:pt>
                <c:pt idx="3412">
                  <c:v>4.9840780918756078</c:v>
                </c:pt>
                <c:pt idx="3413">
                  <c:v>4.8281353299414622</c:v>
                </c:pt>
                <c:pt idx="3414">
                  <c:v>5.176913800509281</c:v>
                </c:pt>
                <c:pt idx="3415">
                  <c:v>4.9239398142601658</c:v>
                </c:pt>
                <c:pt idx="3416">
                  <c:v>5.9071814801800686</c:v>
                </c:pt>
                <c:pt idx="3417">
                  <c:v>5.0237271025253945</c:v>
                </c:pt>
                <c:pt idx="3418">
                  <c:v>5.0009828100434017</c:v>
                </c:pt>
                <c:pt idx="3419">
                  <c:v>4.9105992894150239</c:v>
                </c:pt>
                <c:pt idx="3420">
                  <c:v>5.9740910814993713</c:v>
                </c:pt>
                <c:pt idx="3421">
                  <c:v>4.8590548652679004</c:v>
                </c:pt>
                <c:pt idx="3422">
                  <c:v>5.0804108620070245</c:v>
                </c:pt>
                <c:pt idx="3423">
                  <c:v>6.2299993989953695</c:v>
                </c:pt>
                <c:pt idx="3424">
                  <c:v>4.8729778334103839</c:v>
                </c:pt>
                <c:pt idx="3425">
                  <c:v>4.9580784582497381</c:v>
                </c:pt>
                <c:pt idx="3426">
                  <c:v>4.9621643657051706</c:v>
                </c:pt>
                <c:pt idx="3427">
                  <c:v>5.0915944160358331</c:v>
                </c:pt>
                <c:pt idx="3428">
                  <c:v>6.2516033571012528</c:v>
                </c:pt>
                <c:pt idx="3429">
                  <c:v>4.9947100773287403</c:v>
                </c:pt>
                <c:pt idx="3430">
                  <c:v>5.0097309857104078</c:v>
                </c:pt>
                <c:pt idx="3431">
                  <c:v>4.9578807513309746</c:v>
                </c:pt>
                <c:pt idx="3432">
                  <c:v>5.138256589211406</c:v>
                </c:pt>
                <c:pt idx="3433">
                  <c:v>4.9025726799813434</c:v>
                </c:pt>
                <c:pt idx="3434">
                  <c:v>5.9328544352118557</c:v>
                </c:pt>
                <c:pt idx="3435">
                  <c:v>4.8887012443904858</c:v>
                </c:pt>
                <c:pt idx="3436">
                  <c:v>4.9976343411434589</c:v>
                </c:pt>
                <c:pt idx="3437">
                  <c:v>5.2760713346855184</c:v>
                </c:pt>
                <c:pt idx="3438">
                  <c:v>4.9234458039225402</c:v>
                </c:pt>
                <c:pt idx="3439">
                  <c:v>7.1686470201596659</c:v>
                </c:pt>
                <c:pt idx="3440">
                  <c:v>6.0831107705601157</c:v>
                </c:pt>
                <c:pt idx="3441">
                  <c:v>5.9227537584304013</c:v>
                </c:pt>
                <c:pt idx="3442">
                  <c:v>5.0155654786880204</c:v>
                </c:pt>
                <c:pt idx="3443">
                  <c:v>5.9281468745672266</c:v>
                </c:pt>
                <c:pt idx="3444">
                  <c:v>5.2269153898867673</c:v>
                </c:pt>
                <c:pt idx="3445">
                  <c:v>5.9297947558416721</c:v>
                </c:pt>
                <c:pt idx="3446">
                  <c:v>5.9243593189215522</c:v>
                </c:pt>
                <c:pt idx="3447">
                  <c:v>5.9047255078885685</c:v>
                </c:pt>
                <c:pt idx="3448">
                  <c:v>5.0558989027199379</c:v>
                </c:pt>
                <c:pt idx="3449">
                  <c:v>6.8648405875368228</c:v>
                </c:pt>
                <c:pt idx="3450">
                  <c:v>5.9330083770643327</c:v>
                </c:pt>
                <c:pt idx="3451">
                  <c:v>4.9883565471356199</c:v>
                </c:pt>
                <c:pt idx="3452">
                  <c:v>5.108631254163476</c:v>
                </c:pt>
                <c:pt idx="3453">
                  <c:v>5.0779510228604714</c:v>
                </c:pt>
                <c:pt idx="3454">
                  <c:v>4.8386246633988428</c:v>
                </c:pt>
                <c:pt idx="3455">
                  <c:v>5.1367521039866322</c:v>
                </c:pt>
                <c:pt idx="3456">
                  <c:v>6.0631309507242941</c:v>
                </c:pt>
                <c:pt idx="3457">
                  <c:v>5.0365459018328416</c:v>
                </c:pt>
                <c:pt idx="3458">
                  <c:v>5.0942469231372964</c:v>
                </c:pt>
                <c:pt idx="3459">
                  <c:v>6.0876237233379191</c:v>
                </c:pt>
                <c:pt idx="3460">
                  <c:v>6.0056818556725675</c:v>
                </c:pt>
                <c:pt idx="3461">
                  <c:v>6.8106164465895178</c:v>
                </c:pt>
                <c:pt idx="3462">
                  <c:v>4.9726950373206344</c:v>
                </c:pt>
                <c:pt idx="3463">
                  <c:v>4.8503453817182969</c:v>
                </c:pt>
                <c:pt idx="3464">
                  <c:v>5.0334425957807785</c:v>
                </c:pt>
                <c:pt idx="3465">
                  <c:v>5.1356463410592212</c:v>
                </c:pt>
                <c:pt idx="3466">
                  <c:v>4.9806606804912397</c:v>
                </c:pt>
                <c:pt idx="3467">
                  <c:v>5.9983352760434254</c:v>
                </c:pt>
                <c:pt idx="3468">
                  <c:v>5.9554545409317585</c:v>
                </c:pt>
                <c:pt idx="3469">
                  <c:v>4.9515883279358262</c:v>
                </c:pt>
                <c:pt idx="3470">
                  <c:v>6.0266517748293005</c:v>
                </c:pt>
                <c:pt idx="3471">
                  <c:v>5.1432026920571632</c:v>
                </c:pt>
                <c:pt idx="3472">
                  <c:v>5.0234089411862914</c:v>
                </c:pt>
                <c:pt idx="3473">
                  <c:v>4.960120398252359</c:v>
                </c:pt>
                <c:pt idx="3474">
                  <c:v>5.9969781898937526</c:v>
                </c:pt>
                <c:pt idx="3475">
                  <c:v>5.0377466295747322</c:v>
                </c:pt>
                <c:pt idx="3476">
                  <c:v>5.0169540442927314</c:v>
                </c:pt>
                <c:pt idx="3477">
                  <c:v>5.9616383109727726</c:v>
                </c:pt>
                <c:pt idx="3478">
                  <c:v>5.0302126827943514</c:v>
                </c:pt>
                <c:pt idx="3479">
                  <c:v>5.0024585433633542</c:v>
                </c:pt>
                <c:pt idx="3480">
                  <c:v>5.8558136865376014</c:v>
                </c:pt>
                <c:pt idx="3481">
                  <c:v>4.8599625181549424</c:v>
                </c:pt>
                <c:pt idx="3482">
                  <c:v>6.0716489493550698</c:v>
                </c:pt>
                <c:pt idx="3483">
                  <c:v>4.8425593036805452</c:v>
                </c:pt>
                <c:pt idx="3484">
                  <c:v>4.864086550772778</c:v>
                </c:pt>
                <c:pt idx="3485">
                  <c:v>5.0647609381732197</c:v>
                </c:pt>
                <c:pt idx="3486">
                  <c:v>4.7665817579781713</c:v>
                </c:pt>
                <c:pt idx="3487">
                  <c:v>4.9423047289852313</c:v>
                </c:pt>
                <c:pt idx="3488">
                  <c:v>4.925738614142122</c:v>
                </c:pt>
                <c:pt idx="3489">
                  <c:v>4.9256436882898695</c:v>
                </c:pt>
                <c:pt idx="3490">
                  <c:v>4.9179212593625508</c:v>
                </c:pt>
                <c:pt idx="3491">
                  <c:v>5.971060535593022</c:v>
                </c:pt>
                <c:pt idx="3492">
                  <c:v>5.8595130059852689</c:v>
                </c:pt>
                <c:pt idx="3493">
                  <c:v>4.9746575817907761</c:v>
                </c:pt>
                <c:pt idx="3494">
                  <c:v>4.8901168011068314</c:v>
                </c:pt>
                <c:pt idx="3495">
                  <c:v>5.0984465866470208</c:v>
                </c:pt>
                <c:pt idx="3496">
                  <c:v>4.9075888062389934</c:v>
                </c:pt>
                <c:pt idx="3497">
                  <c:v>5.055413384032394</c:v>
                </c:pt>
                <c:pt idx="3498">
                  <c:v>7.1242229946166393</c:v>
                </c:pt>
                <c:pt idx="3499">
                  <c:v>5.1489087396608859</c:v>
                </c:pt>
                <c:pt idx="3500">
                  <c:v>6.2180138572777439</c:v>
                </c:pt>
                <c:pt idx="3501">
                  <c:v>6.0371125095543245</c:v>
                </c:pt>
                <c:pt idx="3502">
                  <c:v>5.0450630215899084</c:v>
                </c:pt>
                <c:pt idx="3503">
                  <c:v>5.019545859548237</c:v>
                </c:pt>
                <c:pt idx="3504">
                  <c:v>6.0035491429712504</c:v>
                </c:pt>
                <c:pt idx="3505">
                  <c:v>4.8546330212731696</c:v>
                </c:pt>
                <c:pt idx="3506">
                  <c:v>5.0151314095961004</c:v>
                </c:pt>
                <c:pt idx="3507">
                  <c:v>4.9682323265172394</c:v>
                </c:pt>
                <c:pt idx="3508">
                  <c:v>5.1643944222363656</c:v>
                </c:pt>
                <c:pt idx="3509">
                  <c:v>5.9116287300624393</c:v>
                </c:pt>
                <c:pt idx="3510">
                  <c:v>4.9608049512487495</c:v>
                </c:pt>
                <c:pt idx="3511">
                  <c:v>4.9515176439084181</c:v>
                </c:pt>
                <c:pt idx="3512">
                  <c:v>5.9864442196315242</c:v>
                </c:pt>
                <c:pt idx="3513">
                  <c:v>5.1827599494916408</c:v>
                </c:pt>
                <c:pt idx="3514">
                  <c:v>6.0391361597717674</c:v>
                </c:pt>
                <c:pt idx="3515">
                  <c:v>5.901004240047464</c:v>
                </c:pt>
                <c:pt idx="3516">
                  <c:v>4.9564809305846165</c:v>
                </c:pt>
                <c:pt idx="3517">
                  <c:v>6.081222053083347</c:v>
                </c:pt>
                <c:pt idx="3518">
                  <c:v>6.8910459644913065</c:v>
                </c:pt>
                <c:pt idx="3519">
                  <c:v>5.0579131727821993</c:v>
                </c:pt>
                <c:pt idx="3520">
                  <c:v>5.0509853566263896</c:v>
                </c:pt>
                <c:pt idx="3521">
                  <c:v>4.7481852301240011</c:v>
                </c:pt>
                <c:pt idx="3522">
                  <c:v>4.7995247886221364</c:v>
                </c:pt>
                <c:pt idx="3523">
                  <c:v>4.9869838363301477</c:v>
                </c:pt>
                <c:pt idx="3524">
                  <c:v>5.0589066433394114</c:v>
                </c:pt>
                <c:pt idx="3525">
                  <c:v>4.9759461924201407</c:v>
                </c:pt>
                <c:pt idx="3526">
                  <c:v>5.003108200122127</c:v>
                </c:pt>
                <c:pt idx="3527">
                  <c:v>5.0501744920259517</c:v>
                </c:pt>
                <c:pt idx="3528">
                  <c:v>5.0164368118242768</c:v>
                </c:pt>
                <c:pt idx="3529">
                  <c:v>5.0270221538786899</c:v>
                </c:pt>
                <c:pt idx="3530">
                  <c:v>4.9583070340556175</c:v>
                </c:pt>
                <c:pt idx="3531">
                  <c:v>6.0540341285947852</c:v>
                </c:pt>
                <c:pt idx="3532">
                  <c:v>4.9671977771007212</c:v>
                </c:pt>
                <c:pt idx="3533">
                  <c:v>5.0224983050243637</c:v>
                </c:pt>
                <c:pt idx="3534">
                  <c:v>7.0243721594059467</c:v>
                </c:pt>
                <c:pt idx="3535">
                  <c:v>5.0546283227948878</c:v>
                </c:pt>
                <c:pt idx="3536">
                  <c:v>5.0589149878622379</c:v>
                </c:pt>
                <c:pt idx="3537">
                  <c:v>5.0117334307966477</c:v>
                </c:pt>
                <c:pt idx="3538">
                  <c:v>5.0532342864011666</c:v>
                </c:pt>
                <c:pt idx="3539">
                  <c:v>5.8886200952965906</c:v>
                </c:pt>
                <c:pt idx="3540">
                  <c:v>4.9394067245292277</c:v>
                </c:pt>
                <c:pt idx="3541">
                  <c:v>5.1559449969212396</c:v>
                </c:pt>
                <c:pt idx="3542">
                  <c:v>4.9425987244457472</c:v>
                </c:pt>
                <c:pt idx="3543">
                  <c:v>5.1448086416063878</c:v>
                </c:pt>
                <c:pt idx="3544">
                  <c:v>5.9497860658882802</c:v>
                </c:pt>
                <c:pt idx="3545">
                  <c:v>5.0420024396537002</c:v>
                </c:pt>
                <c:pt idx="3546">
                  <c:v>5.0282312865948899</c:v>
                </c:pt>
                <c:pt idx="3547">
                  <c:v>5.0256214322045256</c:v>
                </c:pt>
                <c:pt idx="3548">
                  <c:v>5.0716007756689807</c:v>
                </c:pt>
                <c:pt idx="3549">
                  <c:v>4.8963887817075209</c:v>
                </c:pt>
                <c:pt idx="3550">
                  <c:v>4.9090543342436881</c:v>
                </c:pt>
                <c:pt idx="3551">
                  <c:v>6.1329260362647489</c:v>
                </c:pt>
                <c:pt idx="3552">
                  <c:v>5.9779194817100132</c:v>
                </c:pt>
                <c:pt idx="3553">
                  <c:v>5.9721011666909991</c:v>
                </c:pt>
                <c:pt idx="3554">
                  <c:v>5.799900483256649</c:v>
                </c:pt>
                <c:pt idx="3555">
                  <c:v>4.8832886407943956</c:v>
                </c:pt>
                <c:pt idx="3556">
                  <c:v>4.9967517220151842</c:v>
                </c:pt>
                <c:pt idx="3557">
                  <c:v>5.034808963911126</c:v>
                </c:pt>
                <c:pt idx="3558">
                  <c:v>5.0546988930767833</c:v>
                </c:pt>
                <c:pt idx="3559">
                  <c:v>5.9576229072672264</c:v>
                </c:pt>
                <c:pt idx="3560">
                  <c:v>5.1354155383270506</c:v>
                </c:pt>
                <c:pt idx="3561">
                  <c:v>5.1051403464226421</c:v>
                </c:pt>
                <c:pt idx="3562">
                  <c:v>5.9359972667845815</c:v>
                </c:pt>
                <c:pt idx="3563">
                  <c:v>4.9431014026503188</c:v>
                </c:pt>
                <c:pt idx="3564">
                  <c:v>6.1238265262053124</c:v>
                </c:pt>
                <c:pt idx="3565">
                  <c:v>4.9218883081741716</c:v>
                </c:pt>
                <c:pt idx="3566">
                  <c:v>5.2497884739473237</c:v>
                </c:pt>
                <c:pt idx="3567">
                  <c:v>5.055701743566595</c:v>
                </c:pt>
                <c:pt idx="3568">
                  <c:v>4.9731883584577643</c:v>
                </c:pt>
                <c:pt idx="3569">
                  <c:v>4.7943951503908977</c:v>
                </c:pt>
                <c:pt idx="3570">
                  <c:v>4.9358770425050524</c:v>
                </c:pt>
                <c:pt idx="3571">
                  <c:v>5.6878149825030535</c:v>
                </c:pt>
                <c:pt idx="3572">
                  <c:v>5.2042713800849905</c:v>
                </c:pt>
                <c:pt idx="3573">
                  <c:v>4.9622003420586598</c:v>
                </c:pt>
                <c:pt idx="3574">
                  <c:v>4.9461864426804087</c:v>
                </c:pt>
                <c:pt idx="3575">
                  <c:v>5.0079286404284602</c:v>
                </c:pt>
                <c:pt idx="3576">
                  <c:v>4.8321083567262875</c:v>
                </c:pt>
                <c:pt idx="3577">
                  <c:v>5.1299056384230859</c:v>
                </c:pt>
                <c:pt idx="3578">
                  <c:v>5.0193115856954185</c:v>
                </c:pt>
                <c:pt idx="3579">
                  <c:v>5.1561186026410484</c:v>
                </c:pt>
                <c:pt idx="3580">
                  <c:v>6.020069803723846</c:v>
                </c:pt>
                <c:pt idx="3581">
                  <c:v>5.0346002901140086</c:v>
                </c:pt>
                <c:pt idx="3582">
                  <c:v>5.0021112033127029</c:v>
                </c:pt>
                <c:pt idx="3583">
                  <c:v>4.8507879451899161</c:v>
                </c:pt>
                <c:pt idx="3584">
                  <c:v>5.0927040272866053</c:v>
                </c:pt>
                <c:pt idx="3585">
                  <c:v>5.0397105884043683</c:v>
                </c:pt>
                <c:pt idx="3586">
                  <c:v>5.1489730890664394</c:v>
                </c:pt>
                <c:pt idx="3587">
                  <c:v>4.8696544766310339</c:v>
                </c:pt>
                <c:pt idx="3588">
                  <c:v>4.9176581152882965</c:v>
                </c:pt>
                <c:pt idx="3589">
                  <c:v>5.1584469149073229</c:v>
                </c:pt>
                <c:pt idx="3590">
                  <c:v>5.0311717012464836</c:v>
                </c:pt>
                <c:pt idx="3591">
                  <c:v>4.9612113428969744</c:v>
                </c:pt>
                <c:pt idx="3592">
                  <c:v>4.9299631899100511</c:v>
                </c:pt>
                <c:pt idx="3593">
                  <c:v>5.9745834131266786</c:v>
                </c:pt>
                <c:pt idx="3594">
                  <c:v>4.9893831941452653</c:v>
                </c:pt>
                <c:pt idx="3595">
                  <c:v>5.0914508246616155</c:v>
                </c:pt>
                <c:pt idx="3596">
                  <c:v>4.994328288328088</c:v>
                </c:pt>
                <c:pt idx="3597">
                  <c:v>5.0400154650223925</c:v>
                </c:pt>
                <c:pt idx="3598">
                  <c:v>4.8393521460457469</c:v>
                </c:pt>
                <c:pt idx="3599">
                  <c:v>4.8902579775715891</c:v>
                </c:pt>
                <c:pt idx="3600">
                  <c:v>4.9960064820158276</c:v>
                </c:pt>
                <c:pt idx="3601">
                  <c:v>5.0206952657313781</c:v>
                </c:pt>
                <c:pt idx="3602">
                  <c:v>4.9699504546416122</c:v>
                </c:pt>
                <c:pt idx="3603">
                  <c:v>5.9196407882042372</c:v>
                </c:pt>
                <c:pt idx="3604">
                  <c:v>6.109687114460014</c:v>
                </c:pt>
                <c:pt idx="3605">
                  <c:v>6.0942469105752055</c:v>
                </c:pt>
                <c:pt idx="3606">
                  <c:v>4.8933131502032579</c:v>
                </c:pt>
                <c:pt idx="3607">
                  <c:v>5.9876962526381892</c:v>
                </c:pt>
                <c:pt idx="3608">
                  <c:v>4.9952339480811263</c:v>
                </c:pt>
                <c:pt idx="3609">
                  <c:v>5.0396435591599005</c:v>
                </c:pt>
                <c:pt idx="3610">
                  <c:v>4.9007866460867548</c:v>
                </c:pt>
                <c:pt idx="3611">
                  <c:v>4.9199583861233975</c:v>
                </c:pt>
                <c:pt idx="3612">
                  <c:v>5.7899820159414226</c:v>
                </c:pt>
                <c:pt idx="3613">
                  <c:v>4.9044137293143333</c:v>
                </c:pt>
                <c:pt idx="3614">
                  <c:v>5.0756274097673222</c:v>
                </c:pt>
                <c:pt idx="3615">
                  <c:v>4.8941088844443081</c:v>
                </c:pt>
                <c:pt idx="3616">
                  <c:v>5.0917102054522969</c:v>
                </c:pt>
                <c:pt idx="3617">
                  <c:v>5.0350493988730687</c:v>
                </c:pt>
                <c:pt idx="3618">
                  <c:v>5.8919327135314603</c:v>
                </c:pt>
                <c:pt idx="3619">
                  <c:v>5.0628316684529588</c:v>
                </c:pt>
                <c:pt idx="3620">
                  <c:v>4.9819069581147479</c:v>
                </c:pt>
                <c:pt idx="3621">
                  <c:v>4.9831812550347845</c:v>
                </c:pt>
                <c:pt idx="3622">
                  <c:v>5.1853958871015546</c:v>
                </c:pt>
                <c:pt idx="3623">
                  <c:v>6.1330951310626407</c:v>
                </c:pt>
                <c:pt idx="3624">
                  <c:v>5.1453646045755175</c:v>
                </c:pt>
                <c:pt idx="3625">
                  <c:v>5.1748869884940305</c:v>
                </c:pt>
                <c:pt idx="3626">
                  <c:v>4.9446531820799402</c:v>
                </c:pt>
                <c:pt idx="3627">
                  <c:v>5.1715788617507652</c:v>
                </c:pt>
                <c:pt idx="3628">
                  <c:v>5.9348137692323801</c:v>
                </c:pt>
                <c:pt idx="3629">
                  <c:v>4.7982050172666337</c:v>
                </c:pt>
                <c:pt idx="3630">
                  <c:v>5.0751341416474096</c:v>
                </c:pt>
                <c:pt idx="3631">
                  <c:v>4.9089586670246472</c:v>
                </c:pt>
                <c:pt idx="3632">
                  <c:v>6.0075918619050457</c:v>
                </c:pt>
                <c:pt idx="3633">
                  <c:v>4.8934301457013003</c:v>
                </c:pt>
                <c:pt idx="3634">
                  <c:v>4.9837502463669416</c:v>
                </c:pt>
                <c:pt idx="3635">
                  <c:v>5.1075042519283631</c:v>
                </c:pt>
                <c:pt idx="3636">
                  <c:v>5.0570412066990311</c:v>
                </c:pt>
                <c:pt idx="3637">
                  <c:v>5.0231693032336864</c:v>
                </c:pt>
                <c:pt idx="3638">
                  <c:v>5.0304101708411313</c:v>
                </c:pt>
                <c:pt idx="3639">
                  <c:v>6.0163809382345965</c:v>
                </c:pt>
                <c:pt idx="3640">
                  <c:v>5.9975190296377452</c:v>
                </c:pt>
                <c:pt idx="3641">
                  <c:v>5.9984211958141405</c:v>
                </c:pt>
                <c:pt idx="3642">
                  <c:v>5.0099229154346938</c:v>
                </c:pt>
                <c:pt idx="3643">
                  <c:v>5.0356436716805328</c:v>
                </c:pt>
                <c:pt idx="3644">
                  <c:v>5.9260757818274739</c:v>
                </c:pt>
                <c:pt idx="3645">
                  <c:v>5.1337939162131683</c:v>
                </c:pt>
                <c:pt idx="3646">
                  <c:v>5.0622029306302307</c:v>
                </c:pt>
                <c:pt idx="3647">
                  <c:v>4.9199443665624898</c:v>
                </c:pt>
                <c:pt idx="3648">
                  <c:v>5.0626330610024315</c:v>
                </c:pt>
                <c:pt idx="3649">
                  <c:v>4.9804879010867937</c:v>
                </c:pt>
                <c:pt idx="3650">
                  <c:v>5.9129421027085893</c:v>
                </c:pt>
                <c:pt idx="3651">
                  <c:v>4.8701865841654355</c:v>
                </c:pt>
                <c:pt idx="3652">
                  <c:v>6.1490032472601293</c:v>
                </c:pt>
                <c:pt idx="3653">
                  <c:v>5.0040860490836154</c:v>
                </c:pt>
                <c:pt idx="3654">
                  <c:v>5.1755531123864902</c:v>
                </c:pt>
                <c:pt idx="3655">
                  <c:v>5.8942061998147013</c:v>
                </c:pt>
                <c:pt idx="3656">
                  <c:v>5.0619072017618922</c:v>
                </c:pt>
                <c:pt idx="3657">
                  <c:v>6.0565720605471984</c:v>
                </c:pt>
                <c:pt idx="3658">
                  <c:v>4.9914688694131444</c:v>
                </c:pt>
                <c:pt idx="3659">
                  <c:v>5.0206154279002142</c:v>
                </c:pt>
                <c:pt idx="3660">
                  <c:v>4.9528284790360999</c:v>
                </c:pt>
                <c:pt idx="3661">
                  <c:v>5.1600848247327553</c:v>
                </c:pt>
                <c:pt idx="3662">
                  <c:v>5.9272316016477724</c:v>
                </c:pt>
                <c:pt idx="3663">
                  <c:v>6.0131488798304682</c:v>
                </c:pt>
                <c:pt idx="3664">
                  <c:v>5.1070239839642415</c:v>
                </c:pt>
                <c:pt idx="3665">
                  <c:v>4.9742927096415555</c:v>
                </c:pt>
                <c:pt idx="3666">
                  <c:v>4.9089206043298299</c:v>
                </c:pt>
                <c:pt idx="3667">
                  <c:v>6.0513814759654405</c:v>
                </c:pt>
                <c:pt idx="3668">
                  <c:v>4.8925689849000076</c:v>
                </c:pt>
                <c:pt idx="3669">
                  <c:v>5.054836681886572</c:v>
                </c:pt>
                <c:pt idx="3670">
                  <c:v>5.1080028235952692</c:v>
                </c:pt>
                <c:pt idx="3671">
                  <c:v>5.0939475333253244</c:v>
                </c:pt>
                <c:pt idx="3672">
                  <c:v>5.1073846483190106</c:v>
                </c:pt>
                <c:pt idx="3673">
                  <c:v>4.9189346641492353</c:v>
                </c:pt>
                <c:pt idx="3674">
                  <c:v>5.0751828125281495</c:v>
                </c:pt>
                <c:pt idx="3675">
                  <c:v>5.9785521239284742</c:v>
                </c:pt>
                <c:pt idx="3676">
                  <c:v>4.9589209968814991</c:v>
                </c:pt>
                <c:pt idx="3677">
                  <c:v>5.0548996607683359</c:v>
                </c:pt>
                <c:pt idx="3678">
                  <c:v>5.9703789433342633</c:v>
                </c:pt>
                <c:pt idx="3679">
                  <c:v>6.1016998904915623</c:v>
                </c:pt>
                <c:pt idx="3680">
                  <c:v>4.9105623530716693</c:v>
                </c:pt>
                <c:pt idx="3681">
                  <c:v>5.9222573848132729</c:v>
                </c:pt>
                <c:pt idx="3682">
                  <c:v>5.9477192047162664</c:v>
                </c:pt>
                <c:pt idx="3683">
                  <c:v>6.1295114875804675</c:v>
                </c:pt>
                <c:pt idx="3684">
                  <c:v>6.0703917730643937</c:v>
                </c:pt>
                <c:pt idx="3685">
                  <c:v>4.9743300871469129</c:v>
                </c:pt>
                <c:pt idx="3686">
                  <c:v>6.0371619023966758</c:v>
                </c:pt>
                <c:pt idx="3687">
                  <c:v>6.0265845471883797</c:v>
                </c:pt>
                <c:pt idx="3688">
                  <c:v>6.9495440425538968</c:v>
                </c:pt>
                <c:pt idx="3689">
                  <c:v>5.0860638229653183</c:v>
                </c:pt>
                <c:pt idx="3690">
                  <c:v>4.95310703035637</c:v>
                </c:pt>
                <c:pt idx="3691">
                  <c:v>5.9842830741770934</c:v>
                </c:pt>
                <c:pt idx="3692">
                  <c:v>6.8930192613259997</c:v>
                </c:pt>
                <c:pt idx="3693">
                  <c:v>4.9937220466490988</c:v>
                </c:pt>
                <c:pt idx="3694">
                  <c:v>4.8863127129533082</c:v>
                </c:pt>
                <c:pt idx="3695">
                  <c:v>4.8365637979484344</c:v>
                </c:pt>
                <c:pt idx="3696">
                  <c:v>5.1246255001976628</c:v>
                </c:pt>
                <c:pt idx="3697">
                  <c:v>4.9222153015795858</c:v>
                </c:pt>
                <c:pt idx="3698">
                  <c:v>4.9351757422499674</c:v>
                </c:pt>
                <c:pt idx="3699">
                  <c:v>5.1736673956825285</c:v>
                </c:pt>
                <c:pt idx="3700">
                  <c:v>4.8684345607464881</c:v>
                </c:pt>
                <c:pt idx="3701">
                  <c:v>4.8726783464715249</c:v>
                </c:pt>
                <c:pt idx="3702">
                  <c:v>6.0638124808339189</c:v>
                </c:pt>
                <c:pt idx="3703">
                  <c:v>6.0945862283443395</c:v>
                </c:pt>
                <c:pt idx="3704">
                  <c:v>7.0063075547995624</c:v>
                </c:pt>
                <c:pt idx="3705">
                  <c:v>6.1091316121936892</c:v>
                </c:pt>
                <c:pt idx="3706">
                  <c:v>6.0092524596069934</c:v>
                </c:pt>
                <c:pt idx="3707">
                  <c:v>5.0046875836449463</c:v>
                </c:pt>
                <c:pt idx="3708">
                  <c:v>5.0243127905909368</c:v>
                </c:pt>
                <c:pt idx="3709">
                  <c:v>5.8882482795299982</c:v>
                </c:pt>
                <c:pt idx="3710">
                  <c:v>4.8741213260132197</c:v>
                </c:pt>
                <c:pt idx="3711">
                  <c:v>5.0611074866792132</c:v>
                </c:pt>
                <c:pt idx="3712">
                  <c:v>5.1874826732858406</c:v>
                </c:pt>
                <c:pt idx="3713">
                  <c:v>6.2075434925156312</c:v>
                </c:pt>
                <c:pt idx="3714">
                  <c:v>5.9977953046786645</c:v>
                </c:pt>
                <c:pt idx="3715">
                  <c:v>5.9252131617741997</c:v>
                </c:pt>
                <c:pt idx="3716">
                  <c:v>5.9303549935326538</c:v>
                </c:pt>
                <c:pt idx="3717">
                  <c:v>6.0172842176797028</c:v>
                </c:pt>
                <c:pt idx="3718">
                  <c:v>4.9709357487304677</c:v>
                </c:pt>
                <c:pt idx="3719">
                  <c:v>5.0624487380197838</c:v>
                </c:pt>
                <c:pt idx="3720">
                  <c:v>5.8449861717630833</c:v>
                </c:pt>
                <c:pt idx="3721">
                  <c:v>4.9193802511630853</c:v>
                </c:pt>
                <c:pt idx="3722">
                  <c:v>4.9399914430780258</c:v>
                </c:pt>
                <c:pt idx="3723">
                  <c:v>4.947883894804078</c:v>
                </c:pt>
                <c:pt idx="3724">
                  <c:v>5.1437212985500356</c:v>
                </c:pt>
                <c:pt idx="3725">
                  <c:v>5.1529023559200242</c:v>
                </c:pt>
                <c:pt idx="3726">
                  <c:v>6.0196152503180507</c:v>
                </c:pt>
                <c:pt idx="3727">
                  <c:v>5.0276996725487031</c:v>
                </c:pt>
                <c:pt idx="3728">
                  <c:v>4.8835658401284592</c:v>
                </c:pt>
                <c:pt idx="3729">
                  <c:v>6.0476216094302462</c:v>
                </c:pt>
                <c:pt idx="3730">
                  <c:v>5.8403158742761212</c:v>
                </c:pt>
                <c:pt idx="3731">
                  <c:v>5.2191237704543987</c:v>
                </c:pt>
                <c:pt idx="3732">
                  <c:v>5.1533357984584445</c:v>
                </c:pt>
                <c:pt idx="3733">
                  <c:v>4.9032043233710407</c:v>
                </c:pt>
                <c:pt idx="3734">
                  <c:v>5.0867583590299903</c:v>
                </c:pt>
                <c:pt idx="3735">
                  <c:v>6.1235226574483361</c:v>
                </c:pt>
                <c:pt idx="3736">
                  <c:v>5.0658359137203863</c:v>
                </c:pt>
                <c:pt idx="3737">
                  <c:v>6.0326755064905742</c:v>
                </c:pt>
                <c:pt idx="3738">
                  <c:v>4.9078775462414628</c:v>
                </c:pt>
                <c:pt idx="3739">
                  <c:v>5.0787344525900071</c:v>
                </c:pt>
                <c:pt idx="3740">
                  <c:v>4.9191309026073009</c:v>
                </c:pt>
                <c:pt idx="3741">
                  <c:v>5.9648098734585693</c:v>
                </c:pt>
                <c:pt idx="3742">
                  <c:v>5.0029906361592165</c:v>
                </c:pt>
                <c:pt idx="3743">
                  <c:v>4.9982125410221752</c:v>
                </c:pt>
                <c:pt idx="3744">
                  <c:v>5.0414706455659113</c:v>
                </c:pt>
                <c:pt idx="3745">
                  <c:v>4.9545346356216946</c:v>
                </c:pt>
                <c:pt idx="3746">
                  <c:v>5.1665729740001645</c:v>
                </c:pt>
                <c:pt idx="3747">
                  <c:v>6.2317246845692749</c:v>
                </c:pt>
                <c:pt idx="3748">
                  <c:v>4.883374972482545</c:v>
                </c:pt>
                <c:pt idx="3749">
                  <c:v>4.932252775498406</c:v>
                </c:pt>
                <c:pt idx="3750">
                  <c:v>4.9897227155000845</c:v>
                </c:pt>
                <c:pt idx="3751">
                  <c:v>5.9779805134004782</c:v>
                </c:pt>
                <c:pt idx="3752">
                  <c:v>4.8646498650782792</c:v>
                </c:pt>
                <c:pt idx="3753">
                  <c:v>5.9615522555765681</c:v>
                </c:pt>
                <c:pt idx="3754">
                  <c:v>6.1029479759428336</c:v>
                </c:pt>
                <c:pt idx="3755">
                  <c:v>5.0946704235295881</c:v>
                </c:pt>
                <c:pt idx="3756">
                  <c:v>5.9525920674458304</c:v>
                </c:pt>
                <c:pt idx="3757">
                  <c:v>4.9632618107782527</c:v>
                </c:pt>
                <c:pt idx="3758">
                  <c:v>6.933680276826192</c:v>
                </c:pt>
                <c:pt idx="3759">
                  <c:v>6.0333553343201416</c:v>
                </c:pt>
                <c:pt idx="3760">
                  <c:v>5.0131262581381097</c:v>
                </c:pt>
                <c:pt idx="3761">
                  <c:v>5.9628191184004695</c:v>
                </c:pt>
                <c:pt idx="3762">
                  <c:v>6.126460808681232</c:v>
                </c:pt>
                <c:pt idx="3763">
                  <c:v>6.0517370698775625</c:v>
                </c:pt>
                <c:pt idx="3764">
                  <c:v>5.0364437744554467</c:v>
                </c:pt>
                <c:pt idx="3765">
                  <c:v>6.0395059575574974</c:v>
                </c:pt>
                <c:pt idx="3766">
                  <c:v>5.0404698908249115</c:v>
                </c:pt>
                <c:pt idx="3767">
                  <c:v>4.9140184154826105</c:v>
                </c:pt>
                <c:pt idx="3768">
                  <c:v>6.0321920637959661</c:v>
                </c:pt>
                <c:pt idx="3769">
                  <c:v>6.1436562954473288</c:v>
                </c:pt>
                <c:pt idx="3770">
                  <c:v>5.0705074356910007</c:v>
                </c:pt>
                <c:pt idx="3771">
                  <c:v>5.9396379648880604</c:v>
                </c:pt>
                <c:pt idx="3772">
                  <c:v>4.9444867690980843</c:v>
                </c:pt>
                <c:pt idx="3773">
                  <c:v>6.0276603890067415</c:v>
                </c:pt>
                <c:pt idx="3774">
                  <c:v>4.9490293391915312</c:v>
                </c:pt>
                <c:pt idx="3775">
                  <c:v>5.8938267548433174</c:v>
                </c:pt>
                <c:pt idx="3776">
                  <c:v>5.0735618551604142</c:v>
                </c:pt>
                <c:pt idx="3777">
                  <c:v>5.1121872367380172</c:v>
                </c:pt>
                <c:pt idx="3778">
                  <c:v>5.825614669074092</c:v>
                </c:pt>
                <c:pt idx="3779">
                  <c:v>5.2318318386078513</c:v>
                </c:pt>
                <c:pt idx="3780">
                  <c:v>4.8567728759028288</c:v>
                </c:pt>
                <c:pt idx="3781">
                  <c:v>5.9580883839005594</c:v>
                </c:pt>
                <c:pt idx="3782">
                  <c:v>5.0354203340699328</c:v>
                </c:pt>
                <c:pt idx="3783">
                  <c:v>6.0006764553796827</c:v>
                </c:pt>
                <c:pt idx="3784">
                  <c:v>4.8678725708153783</c:v>
                </c:pt>
                <c:pt idx="3785">
                  <c:v>4.8144902494156199</c:v>
                </c:pt>
                <c:pt idx="3786">
                  <c:v>6.0244221174428265</c:v>
                </c:pt>
                <c:pt idx="3787">
                  <c:v>6.1112737257240983</c:v>
                </c:pt>
                <c:pt idx="3788">
                  <c:v>4.8253354378161282</c:v>
                </c:pt>
                <c:pt idx="3789">
                  <c:v>5.0300389167446626</c:v>
                </c:pt>
                <c:pt idx="3790">
                  <c:v>5.9575739499038258</c:v>
                </c:pt>
                <c:pt idx="3791">
                  <c:v>6.1151145142275531</c:v>
                </c:pt>
                <c:pt idx="3792">
                  <c:v>6.1513846030478172</c:v>
                </c:pt>
                <c:pt idx="3793">
                  <c:v>4.9938151490601097</c:v>
                </c:pt>
                <c:pt idx="3794">
                  <c:v>4.8164556280098587</c:v>
                </c:pt>
                <c:pt idx="3795">
                  <c:v>4.9367284607157442</c:v>
                </c:pt>
                <c:pt idx="3796">
                  <c:v>5.1115144916093129</c:v>
                </c:pt>
                <c:pt idx="3797">
                  <c:v>5.7473592104673941</c:v>
                </c:pt>
                <c:pt idx="3798">
                  <c:v>5.1730926983644911</c:v>
                </c:pt>
                <c:pt idx="3799">
                  <c:v>4.8830818053913649</c:v>
                </c:pt>
                <c:pt idx="3800">
                  <c:v>6.2423828482970887</c:v>
                </c:pt>
                <c:pt idx="3801">
                  <c:v>4.9639218474209237</c:v>
                </c:pt>
                <c:pt idx="3802">
                  <c:v>5.8145799562762299</c:v>
                </c:pt>
                <c:pt idx="3803">
                  <c:v>5.9404468051231438</c:v>
                </c:pt>
                <c:pt idx="3804">
                  <c:v>5.1018952972448988</c:v>
                </c:pt>
                <c:pt idx="3805">
                  <c:v>4.7852921395073071</c:v>
                </c:pt>
                <c:pt idx="3806">
                  <c:v>5.9338012208514295</c:v>
                </c:pt>
                <c:pt idx="3807">
                  <c:v>5.0484906113328494</c:v>
                </c:pt>
                <c:pt idx="3808">
                  <c:v>4.9262500389111494</c:v>
                </c:pt>
                <c:pt idx="3809">
                  <c:v>4.9627833997181821</c:v>
                </c:pt>
                <c:pt idx="3810">
                  <c:v>4.9638952727532741</c:v>
                </c:pt>
                <c:pt idx="3811">
                  <c:v>5.0041020448045783</c:v>
                </c:pt>
                <c:pt idx="3812">
                  <c:v>5.1186917365778708</c:v>
                </c:pt>
                <c:pt idx="3813">
                  <c:v>5.142570660938139</c:v>
                </c:pt>
                <c:pt idx="3814">
                  <c:v>5.0884637227419933</c:v>
                </c:pt>
                <c:pt idx="3815">
                  <c:v>5.0319356138252713</c:v>
                </c:pt>
                <c:pt idx="3816">
                  <c:v>7.0694194412339506</c:v>
                </c:pt>
                <c:pt idx="3817">
                  <c:v>5.1539176748106428</c:v>
                </c:pt>
                <c:pt idx="3818">
                  <c:v>4.9970786080145952</c:v>
                </c:pt>
                <c:pt idx="3819">
                  <c:v>4.9861193990231438</c:v>
                </c:pt>
                <c:pt idx="3820">
                  <c:v>6.2013286390872988</c:v>
                </c:pt>
                <c:pt idx="3821">
                  <c:v>6.0084323139771252</c:v>
                </c:pt>
                <c:pt idx="3822">
                  <c:v>5.0746833543808778</c:v>
                </c:pt>
                <c:pt idx="3823">
                  <c:v>4.8556043562332096</c:v>
                </c:pt>
                <c:pt idx="3824">
                  <c:v>4.899735758616548</c:v>
                </c:pt>
                <c:pt idx="3825">
                  <c:v>6.0149075778485148</c:v>
                </c:pt>
                <c:pt idx="3826">
                  <c:v>5.8336868372436772</c:v>
                </c:pt>
                <c:pt idx="3827">
                  <c:v>4.9983600244469963</c:v>
                </c:pt>
                <c:pt idx="3828">
                  <c:v>6.0819463619223004</c:v>
                </c:pt>
                <c:pt idx="3829">
                  <c:v>4.9775051374231634</c:v>
                </c:pt>
                <c:pt idx="3830">
                  <c:v>4.940018857945593</c:v>
                </c:pt>
                <c:pt idx="3831">
                  <c:v>6.0485926328236275</c:v>
                </c:pt>
                <c:pt idx="3832">
                  <c:v>6.0293022442270097</c:v>
                </c:pt>
                <c:pt idx="3833">
                  <c:v>4.9187660736978556</c:v>
                </c:pt>
                <c:pt idx="3834">
                  <c:v>5.9605261776785738</c:v>
                </c:pt>
                <c:pt idx="3835">
                  <c:v>5.0544937301616946</c:v>
                </c:pt>
                <c:pt idx="3836">
                  <c:v>4.955057426028497</c:v>
                </c:pt>
                <c:pt idx="3837">
                  <c:v>4.9498581425158283</c:v>
                </c:pt>
                <c:pt idx="3838">
                  <c:v>6.0218880938455808</c:v>
                </c:pt>
                <c:pt idx="3839">
                  <c:v>5.0623893059286775</c:v>
                </c:pt>
                <c:pt idx="3840">
                  <c:v>6.0713572015117583</c:v>
                </c:pt>
                <c:pt idx="3841">
                  <c:v>5.0099351654213766</c:v>
                </c:pt>
                <c:pt idx="3842">
                  <c:v>6.9035909676492695</c:v>
                </c:pt>
                <c:pt idx="3843">
                  <c:v>5.0186737263141881</c:v>
                </c:pt>
                <c:pt idx="3844">
                  <c:v>6.8923909513706318</c:v>
                </c:pt>
                <c:pt idx="3845">
                  <c:v>6.0211021264138971</c:v>
                </c:pt>
                <c:pt idx="3846">
                  <c:v>4.9875989165341936</c:v>
                </c:pt>
                <c:pt idx="3847">
                  <c:v>5.0463071759874172</c:v>
                </c:pt>
                <c:pt idx="3848">
                  <c:v>5.0402406742591328</c:v>
                </c:pt>
                <c:pt idx="3849">
                  <c:v>5.1181200575725043</c:v>
                </c:pt>
                <c:pt idx="3850">
                  <c:v>6.1265884778960755</c:v>
                </c:pt>
                <c:pt idx="3851">
                  <c:v>4.9880887413682506</c:v>
                </c:pt>
                <c:pt idx="3852">
                  <c:v>4.9893615954586954</c:v>
                </c:pt>
                <c:pt idx="3853">
                  <c:v>5.1434890307685937</c:v>
                </c:pt>
                <c:pt idx="3854">
                  <c:v>5.0083705967005114</c:v>
                </c:pt>
                <c:pt idx="3855">
                  <c:v>4.9417213759824783</c:v>
                </c:pt>
                <c:pt idx="3856">
                  <c:v>6.1328176802534831</c:v>
                </c:pt>
                <c:pt idx="3857">
                  <c:v>5.9635343822755189</c:v>
                </c:pt>
                <c:pt idx="3858">
                  <c:v>4.6973758673558432</c:v>
                </c:pt>
                <c:pt idx="3859">
                  <c:v>4.768116013846381</c:v>
                </c:pt>
                <c:pt idx="3860">
                  <c:v>5.9534695505908317</c:v>
                </c:pt>
                <c:pt idx="3861">
                  <c:v>6.0767925658620694</c:v>
                </c:pt>
                <c:pt idx="3862">
                  <c:v>5.076808740012023</c:v>
                </c:pt>
                <c:pt idx="3863">
                  <c:v>4.9629331751657135</c:v>
                </c:pt>
                <c:pt idx="3864">
                  <c:v>4.9843911654639887</c:v>
                </c:pt>
                <c:pt idx="3865">
                  <c:v>4.9021198746322314</c:v>
                </c:pt>
                <c:pt idx="3866">
                  <c:v>5.0386105455289547</c:v>
                </c:pt>
                <c:pt idx="3867">
                  <c:v>5.0816998729115994</c:v>
                </c:pt>
                <c:pt idx="3868">
                  <c:v>4.8404672114446052</c:v>
                </c:pt>
                <c:pt idx="3869">
                  <c:v>5.0418312700645114</c:v>
                </c:pt>
                <c:pt idx="3870">
                  <c:v>5.0749750191180327</c:v>
                </c:pt>
                <c:pt idx="3871">
                  <c:v>5.0936099857040631</c:v>
                </c:pt>
                <c:pt idx="3872">
                  <c:v>5.1576053237886628</c:v>
                </c:pt>
                <c:pt idx="3873">
                  <c:v>5.0049930889379395</c:v>
                </c:pt>
                <c:pt idx="3874">
                  <c:v>4.9205590634286969</c:v>
                </c:pt>
                <c:pt idx="3875">
                  <c:v>5.022311354407198</c:v>
                </c:pt>
                <c:pt idx="3876">
                  <c:v>5.1430413524672351</c:v>
                </c:pt>
                <c:pt idx="3877">
                  <c:v>6.0028482242710091</c:v>
                </c:pt>
                <c:pt idx="3878">
                  <c:v>5.0642095437986736</c:v>
                </c:pt>
                <c:pt idx="3879">
                  <c:v>4.9035343340970989</c:v>
                </c:pt>
                <c:pt idx="3880">
                  <c:v>6.0500594336943259</c:v>
                </c:pt>
                <c:pt idx="3881">
                  <c:v>5.1298403978226625</c:v>
                </c:pt>
                <c:pt idx="3882">
                  <c:v>4.9588723917466409</c:v>
                </c:pt>
                <c:pt idx="3883">
                  <c:v>4.8887896113671827</c:v>
                </c:pt>
                <c:pt idx="3884">
                  <c:v>4.9565792975421008</c:v>
                </c:pt>
                <c:pt idx="3885">
                  <c:v>6.0164816580145217</c:v>
                </c:pt>
                <c:pt idx="3886">
                  <c:v>4.9289419147774538</c:v>
                </c:pt>
                <c:pt idx="3887">
                  <c:v>4.8873414246923419</c:v>
                </c:pt>
                <c:pt idx="3888">
                  <c:v>5.0168609940242028</c:v>
                </c:pt>
                <c:pt idx="3889">
                  <c:v>6.0124215578027655</c:v>
                </c:pt>
                <c:pt idx="3890">
                  <c:v>5.9562936550828738</c:v>
                </c:pt>
                <c:pt idx="3891">
                  <c:v>5.0370822415492711</c:v>
                </c:pt>
                <c:pt idx="3892">
                  <c:v>4.9067502558387917</c:v>
                </c:pt>
                <c:pt idx="3893">
                  <c:v>4.941000885638033</c:v>
                </c:pt>
                <c:pt idx="3894">
                  <c:v>5.9246038415522486</c:v>
                </c:pt>
                <c:pt idx="3895">
                  <c:v>4.9646122583731369</c:v>
                </c:pt>
                <c:pt idx="3896">
                  <c:v>5.0186541680382506</c:v>
                </c:pt>
                <c:pt idx="3897">
                  <c:v>4.9999341602565313</c:v>
                </c:pt>
                <c:pt idx="3898">
                  <c:v>5.0376627566436101</c:v>
                </c:pt>
                <c:pt idx="3899">
                  <c:v>4.9686607315152234</c:v>
                </c:pt>
                <c:pt idx="3900">
                  <c:v>5.0469942775129368</c:v>
                </c:pt>
                <c:pt idx="3901">
                  <c:v>4.9644740808799579</c:v>
                </c:pt>
                <c:pt idx="3902">
                  <c:v>6.0219606110500692</c:v>
                </c:pt>
                <c:pt idx="3903">
                  <c:v>5.9985875992934172</c:v>
                </c:pt>
                <c:pt idx="3904">
                  <c:v>4.9707918881630668</c:v>
                </c:pt>
                <c:pt idx="3905">
                  <c:v>5.191753675082718</c:v>
                </c:pt>
                <c:pt idx="3906">
                  <c:v>4.9039467992800212</c:v>
                </c:pt>
                <c:pt idx="3907">
                  <c:v>5.0015916234784648</c:v>
                </c:pt>
                <c:pt idx="3908">
                  <c:v>4.9976394464038147</c:v>
                </c:pt>
                <c:pt idx="3909">
                  <c:v>5.9476447933905128</c:v>
                </c:pt>
                <c:pt idx="3910">
                  <c:v>5.1572638301911056</c:v>
                </c:pt>
                <c:pt idx="3911">
                  <c:v>6.033982938280082</c:v>
                </c:pt>
                <c:pt idx="3912">
                  <c:v>5.1876980708394926</c:v>
                </c:pt>
                <c:pt idx="3913">
                  <c:v>4.949010613260584</c:v>
                </c:pt>
                <c:pt idx="3914">
                  <c:v>3.8695712749384379</c:v>
                </c:pt>
                <c:pt idx="3915">
                  <c:v>4.9408046387440985</c:v>
                </c:pt>
                <c:pt idx="3916">
                  <c:v>3.9463057054216435</c:v>
                </c:pt>
                <c:pt idx="3917">
                  <c:v>6.998980599338041</c:v>
                </c:pt>
                <c:pt idx="3918">
                  <c:v>6.7972194441897331</c:v>
                </c:pt>
                <c:pt idx="3919">
                  <c:v>6.0356343541459143</c:v>
                </c:pt>
                <c:pt idx="3920">
                  <c:v>5.8044495306427581</c:v>
                </c:pt>
                <c:pt idx="3921">
                  <c:v>5.9633222113700963</c:v>
                </c:pt>
                <c:pt idx="3922">
                  <c:v>5.0660931111983381</c:v>
                </c:pt>
                <c:pt idx="3923">
                  <c:v>4.970279919655912</c:v>
                </c:pt>
                <c:pt idx="3924">
                  <c:v>5.8951310198741966</c:v>
                </c:pt>
                <c:pt idx="3925">
                  <c:v>6.0741019817055015</c:v>
                </c:pt>
                <c:pt idx="3926">
                  <c:v>5.8201156154297378</c:v>
                </c:pt>
                <c:pt idx="3927">
                  <c:v>5.0400125024655242</c:v>
                </c:pt>
                <c:pt idx="3928">
                  <c:v>5.0762007631740049</c:v>
                </c:pt>
                <c:pt idx="3929">
                  <c:v>5.8956115007972896</c:v>
                </c:pt>
                <c:pt idx="3930">
                  <c:v>5.8573235633302057</c:v>
                </c:pt>
                <c:pt idx="3931">
                  <c:v>7.0843660487004412</c:v>
                </c:pt>
                <c:pt idx="3932">
                  <c:v>5.0414620499700566</c:v>
                </c:pt>
                <c:pt idx="3933">
                  <c:v>4.9612410692456672</c:v>
                </c:pt>
                <c:pt idx="3934">
                  <c:v>4.8114032640729683</c:v>
                </c:pt>
                <c:pt idx="3935">
                  <c:v>7.0110495002471902</c:v>
                </c:pt>
                <c:pt idx="3936">
                  <c:v>6.0551294477728828</c:v>
                </c:pt>
                <c:pt idx="3937">
                  <c:v>6.0751753075367612</c:v>
                </c:pt>
                <c:pt idx="3938">
                  <c:v>5.9954987484442892</c:v>
                </c:pt>
                <c:pt idx="3939">
                  <c:v>4.9323693242257711</c:v>
                </c:pt>
                <c:pt idx="3940">
                  <c:v>4.9260640932082191</c:v>
                </c:pt>
                <c:pt idx="3941">
                  <c:v>6.0147391217239639</c:v>
                </c:pt>
                <c:pt idx="3942">
                  <c:v>5.0391908357947841</c:v>
                </c:pt>
                <c:pt idx="3943">
                  <c:v>4.9197403013302523</c:v>
                </c:pt>
                <c:pt idx="3944">
                  <c:v>4.9933080266167371</c:v>
                </c:pt>
                <c:pt idx="3945">
                  <c:v>6.1440328785806733</c:v>
                </c:pt>
                <c:pt idx="3946">
                  <c:v>6.1339713902342803</c:v>
                </c:pt>
                <c:pt idx="3947">
                  <c:v>6.0521509326796181</c:v>
                </c:pt>
                <c:pt idx="3948">
                  <c:v>4.9810349044767097</c:v>
                </c:pt>
                <c:pt idx="3949">
                  <c:v>5.9661787452254442</c:v>
                </c:pt>
                <c:pt idx="3950">
                  <c:v>6.1264318749619582</c:v>
                </c:pt>
                <c:pt idx="3951">
                  <c:v>4.8901262679023398</c:v>
                </c:pt>
                <c:pt idx="3952">
                  <c:v>5.049527832024082</c:v>
                </c:pt>
                <c:pt idx="3953">
                  <c:v>6.0562756100646693</c:v>
                </c:pt>
                <c:pt idx="3954">
                  <c:v>5.0415882385597488</c:v>
                </c:pt>
                <c:pt idx="3955">
                  <c:v>5.1485620651856872</c:v>
                </c:pt>
                <c:pt idx="3956">
                  <c:v>5.8364833427866483</c:v>
                </c:pt>
                <c:pt idx="3957">
                  <c:v>5.9795854629645904</c:v>
                </c:pt>
                <c:pt idx="3958">
                  <c:v>6.9903463275957884</c:v>
                </c:pt>
                <c:pt idx="3959">
                  <c:v>5.0744835444368785</c:v>
                </c:pt>
                <c:pt idx="3960">
                  <c:v>7.0034987028199644</c:v>
                </c:pt>
                <c:pt idx="3961">
                  <c:v>5.8440663706247848</c:v>
                </c:pt>
                <c:pt idx="3962">
                  <c:v>5.8830617446906617</c:v>
                </c:pt>
                <c:pt idx="3963">
                  <c:v>5.9252768667850333</c:v>
                </c:pt>
                <c:pt idx="3964">
                  <c:v>4.8895950743321954</c:v>
                </c:pt>
                <c:pt idx="3965">
                  <c:v>5.0817201524737881</c:v>
                </c:pt>
                <c:pt idx="3966">
                  <c:v>4.9477242420020628</c:v>
                </c:pt>
                <c:pt idx="3967">
                  <c:v>6.0762497795815973</c:v>
                </c:pt>
                <c:pt idx="3968">
                  <c:v>3.9604721961326539</c:v>
                </c:pt>
                <c:pt idx="3969">
                  <c:v>5.0512456635789738</c:v>
                </c:pt>
                <c:pt idx="3970">
                  <c:v>4.7269149414454938</c:v>
                </c:pt>
                <c:pt idx="3971">
                  <c:v>5.1628244430074233</c:v>
                </c:pt>
                <c:pt idx="3972">
                  <c:v>5.9732294846212657</c:v>
                </c:pt>
                <c:pt idx="3973">
                  <c:v>5.1888349294066778</c:v>
                </c:pt>
                <c:pt idx="3974">
                  <c:v>6.9439485471590787</c:v>
                </c:pt>
                <c:pt idx="3975">
                  <c:v>7.0916388548225511</c:v>
                </c:pt>
                <c:pt idx="3976">
                  <c:v>6.1254831643905172</c:v>
                </c:pt>
                <c:pt idx="3977">
                  <c:v>5.7772601540626782</c:v>
                </c:pt>
                <c:pt idx="3978">
                  <c:v>5.9866418410510542</c:v>
                </c:pt>
                <c:pt idx="3979">
                  <c:v>5.1084671607779555</c:v>
                </c:pt>
                <c:pt idx="3980">
                  <c:v>5.0421119276789659</c:v>
                </c:pt>
                <c:pt idx="3981">
                  <c:v>4.9742858897737454</c:v>
                </c:pt>
                <c:pt idx="3982">
                  <c:v>5.9922445959806359</c:v>
                </c:pt>
                <c:pt idx="3983">
                  <c:v>5.0742270582203881</c:v>
                </c:pt>
                <c:pt idx="3984">
                  <c:v>6.0134245141051235</c:v>
                </c:pt>
                <c:pt idx="3985">
                  <c:v>4.9773683186188427</c:v>
                </c:pt>
                <c:pt idx="3986">
                  <c:v>4.8217609195084661</c:v>
                </c:pt>
                <c:pt idx="3987">
                  <c:v>5.9950992337676139</c:v>
                </c:pt>
                <c:pt idx="3988">
                  <c:v>5.0504307260447829</c:v>
                </c:pt>
                <c:pt idx="3989">
                  <c:v>5.0107657118750346</c:v>
                </c:pt>
                <c:pt idx="3990">
                  <c:v>5.1076407086282929</c:v>
                </c:pt>
                <c:pt idx="3991">
                  <c:v>5.0602229767873679</c:v>
                </c:pt>
                <c:pt idx="3992">
                  <c:v>4.9644089803703331</c:v>
                </c:pt>
                <c:pt idx="3993">
                  <c:v>5.0910152779007554</c:v>
                </c:pt>
                <c:pt idx="3994">
                  <c:v>5.0640717167841025</c:v>
                </c:pt>
                <c:pt idx="3995">
                  <c:v>4.7931523193411669</c:v>
                </c:pt>
                <c:pt idx="3996">
                  <c:v>5.9531797726619757</c:v>
                </c:pt>
                <c:pt idx="3997">
                  <c:v>4.8997441675702174</c:v>
                </c:pt>
                <c:pt idx="3998">
                  <c:v>6.096541227283196</c:v>
                </c:pt>
                <c:pt idx="3999">
                  <c:v>4.901534350867637</c:v>
                </c:pt>
                <c:pt idx="4000">
                  <c:v>5.9611337611562494</c:v>
                </c:pt>
                <c:pt idx="4001">
                  <c:v>6.0445188768097013</c:v>
                </c:pt>
                <c:pt idx="4002">
                  <c:v>4.9653458861754212</c:v>
                </c:pt>
                <c:pt idx="4003">
                  <c:v>5.9404137906361054</c:v>
                </c:pt>
                <c:pt idx="4004">
                  <c:v>5.9653080994172019</c:v>
                </c:pt>
                <c:pt idx="4005">
                  <c:v>4.8272382034028603</c:v>
                </c:pt>
                <c:pt idx="4006">
                  <c:v>6.0759994792390319</c:v>
                </c:pt>
                <c:pt idx="4007">
                  <c:v>5.9836379634203878</c:v>
                </c:pt>
                <c:pt idx="4008">
                  <c:v>5.0472173511071752</c:v>
                </c:pt>
                <c:pt idx="4009">
                  <c:v>5.0135065042194986</c:v>
                </c:pt>
                <c:pt idx="4010">
                  <c:v>4.9344184034892917</c:v>
                </c:pt>
                <c:pt idx="4011">
                  <c:v>4.9867777460686673</c:v>
                </c:pt>
                <c:pt idx="4012">
                  <c:v>6.0062734313588289</c:v>
                </c:pt>
                <c:pt idx="4013">
                  <c:v>7.1150379674672708</c:v>
                </c:pt>
                <c:pt idx="4014">
                  <c:v>5.1369547282374368</c:v>
                </c:pt>
                <c:pt idx="4015">
                  <c:v>5.0495308171256825</c:v>
                </c:pt>
                <c:pt idx="4016">
                  <c:v>5.0575881482230409</c:v>
                </c:pt>
                <c:pt idx="4017">
                  <c:v>4.9733616189892649</c:v>
                </c:pt>
                <c:pt idx="4018">
                  <c:v>5.109662293481132</c:v>
                </c:pt>
                <c:pt idx="4019">
                  <c:v>4.7949054487304963</c:v>
                </c:pt>
                <c:pt idx="4020">
                  <c:v>4.9217830269898544</c:v>
                </c:pt>
                <c:pt idx="4021">
                  <c:v>4.957198446443666</c:v>
                </c:pt>
                <c:pt idx="4022">
                  <c:v>5.8046266120735366</c:v>
                </c:pt>
                <c:pt idx="4023">
                  <c:v>5.9534785828701633</c:v>
                </c:pt>
                <c:pt idx="4024">
                  <c:v>4.9552569313220971</c:v>
                </c:pt>
                <c:pt idx="4025">
                  <c:v>5.0610447213437295</c:v>
                </c:pt>
                <c:pt idx="4026">
                  <c:v>5.1259217323702222</c:v>
                </c:pt>
                <c:pt idx="4027">
                  <c:v>5.7906408308810349</c:v>
                </c:pt>
                <c:pt idx="4028">
                  <c:v>5.93688548309742</c:v>
                </c:pt>
                <c:pt idx="4029">
                  <c:v>6.2201041571186364</c:v>
                </c:pt>
                <c:pt idx="4030">
                  <c:v>4.8842224498140432</c:v>
                </c:pt>
                <c:pt idx="4031">
                  <c:v>7.034773252022374</c:v>
                </c:pt>
                <c:pt idx="4032">
                  <c:v>5.9637980044367493</c:v>
                </c:pt>
                <c:pt idx="4033">
                  <c:v>5.0756214145510858</c:v>
                </c:pt>
                <c:pt idx="4034">
                  <c:v>5.0458980342867568</c:v>
                </c:pt>
                <c:pt idx="4035">
                  <c:v>5.0237730093026123</c:v>
                </c:pt>
                <c:pt idx="4036">
                  <c:v>5.7610386755219976</c:v>
                </c:pt>
                <c:pt idx="4037">
                  <c:v>5.7379868839178583</c:v>
                </c:pt>
                <c:pt idx="4038">
                  <c:v>6.0242406111236351</c:v>
                </c:pt>
                <c:pt idx="4039">
                  <c:v>6.0496796146405698</c:v>
                </c:pt>
                <c:pt idx="4040">
                  <c:v>5.0984328228003557</c:v>
                </c:pt>
                <c:pt idx="4041">
                  <c:v>6.1350270035102428</c:v>
                </c:pt>
                <c:pt idx="4042">
                  <c:v>4.8691942608820469</c:v>
                </c:pt>
                <c:pt idx="4043">
                  <c:v>5.1496853388025903</c:v>
                </c:pt>
                <c:pt idx="4044">
                  <c:v>5.9526650222941706</c:v>
                </c:pt>
                <c:pt idx="4045">
                  <c:v>5.902435800432114</c:v>
                </c:pt>
                <c:pt idx="4046">
                  <c:v>5.0005942884679957</c:v>
                </c:pt>
                <c:pt idx="4047">
                  <c:v>5.9509370954632281</c:v>
                </c:pt>
                <c:pt idx="4048">
                  <c:v>5.1050311054347803</c:v>
                </c:pt>
                <c:pt idx="4049">
                  <c:v>5.0269718276093247</c:v>
                </c:pt>
                <c:pt idx="4050">
                  <c:v>6.0113548497670388</c:v>
                </c:pt>
                <c:pt idx="4051">
                  <c:v>4.9734897634390132</c:v>
                </c:pt>
                <c:pt idx="4052">
                  <c:v>5.0323609348160412</c:v>
                </c:pt>
                <c:pt idx="4053">
                  <c:v>6.0148812406540291</c:v>
                </c:pt>
                <c:pt idx="4054">
                  <c:v>6.0427155796833896</c:v>
                </c:pt>
                <c:pt idx="4055">
                  <c:v>5.0089777627719823</c:v>
                </c:pt>
                <c:pt idx="4056">
                  <c:v>5.9725111914354185</c:v>
                </c:pt>
                <c:pt idx="4057">
                  <c:v>6.050270421926121</c:v>
                </c:pt>
                <c:pt idx="4058">
                  <c:v>7.0999589438252695</c:v>
                </c:pt>
                <c:pt idx="4059">
                  <c:v>5.1340364086216033</c:v>
                </c:pt>
                <c:pt idx="4060">
                  <c:v>5.9953001306355613</c:v>
                </c:pt>
                <c:pt idx="4061">
                  <c:v>5.8685530434543658</c:v>
                </c:pt>
                <c:pt idx="4062">
                  <c:v>6.1707316009106297</c:v>
                </c:pt>
                <c:pt idx="4063">
                  <c:v>5.0551493212182104</c:v>
                </c:pt>
                <c:pt idx="4064">
                  <c:v>6.8971093721827295</c:v>
                </c:pt>
                <c:pt idx="4065">
                  <c:v>6.0682492543646394</c:v>
                </c:pt>
                <c:pt idx="4066">
                  <c:v>5.0636394091450248</c:v>
                </c:pt>
                <c:pt idx="4067">
                  <c:v>6.9923514705955405</c:v>
                </c:pt>
                <c:pt idx="4068">
                  <c:v>5.0303154629897602</c:v>
                </c:pt>
                <c:pt idx="4069">
                  <c:v>7.0475938871263883</c:v>
                </c:pt>
                <c:pt idx="4070">
                  <c:v>6.0501303823920392</c:v>
                </c:pt>
                <c:pt idx="4071">
                  <c:v>4.9414958031981469</c:v>
                </c:pt>
                <c:pt idx="4072">
                  <c:v>6.871810362223937</c:v>
                </c:pt>
                <c:pt idx="4073">
                  <c:v>7.0049773491910505</c:v>
                </c:pt>
                <c:pt idx="4074">
                  <c:v>5.9722893395312289</c:v>
                </c:pt>
                <c:pt idx="4075">
                  <c:v>5.0763663164909962</c:v>
                </c:pt>
                <c:pt idx="4076">
                  <c:v>4.0950245083037862</c:v>
                </c:pt>
                <c:pt idx="4077">
                  <c:v>5.0813879013226675</c:v>
                </c:pt>
                <c:pt idx="4078">
                  <c:v>3.8960831876132604</c:v>
                </c:pt>
                <c:pt idx="4079">
                  <c:v>4.9552722591246523</c:v>
                </c:pt>
                <c:pt idx="4080">
                  <c:v>5.8970996750677509</c:v>
                </c:pt>
                <c:pt idx="4081">
                  <c:v>5.0448975151210078</c:v>
                </c:pt>
                <c:pt idx="4082">
                  <c:v>5.9894576823621932</c:v>
                </c:pt>
                <c:pt idx="4083">
                  <c:v>5.0100576441539522</c:v>
                </c:pt>
                <c:pt idx="4084">
                  <c:v>4.8305270802996958</c:v>
                </c:pt>
                <c:pt idx="4085">
                  <c:v>6.0227697289652706</c:v>
                </c:pt>
                <c:pt idx="4086">
                  <c:v>6.0776469108529758</c:v>
                </c:pt>
                <c:pt idx="4087">
                  <c:v>7.0196183663879559</c:v>
                </c:pt>
                <c:pt idx="4088">
                  <c:v>4.9873990827833241</c:v>
                </c:pt>
                <c:pt idx="4089">
                  <c:v>5.0536217225754294</c:v>
                </c:pt>
                <c:pt idx="4090">
                  <c:v>4.9839711213727167</c:v>
                </c:pt>
                <c:pt idx="4091">
                  <c:v>5.0809858437595006</c:v>
                </c:pt>
                <c:pt idx="4092">
                  <c:v>5.0864984503288042</c:v>
                </c:pt>
                <c:pt idx="4093">
                  <c:v>5.8790900148510143</c:v>
                </c:pt>
                <c:pt idx="4094">
                  <c:v>6.0395159643750276</c:v>
                </c:pt>
                <c:pt idx="4095">
                  <c:v>4.9823813173840703</c:v>
                </c:pt>
                <c:pt idx="4096">
                  <c:v>7.0351168782158275</c:v>
                </c:pt>
                <c:pt idx="4097">
                  <c:v>5.0667081478428901</c:v>
                </c:pt>
                <c:pt idx="4098">
                  <c:v>4.9475803315368463</c:v>
                </c:pt>
                <c:pt idx="4099">
                  <c:v>2.9858527516942246</c:v>
                </c:pt>
                <c:pt idx="4100">
                  <c:v>7.1217313055201599</c:v>
                </c:pt>
                <c:pt idx="4101">
                  <c:v>6.0666463427966448</c:v>
                </c:pt>
                <c:pt idx="4102">
                  <c:v>6.204059728254391</c:v>
                </c:pt>
                <c:pt idx="4103">
                  <c:v>6.0436903082615272</c:v>
                </c:pt>
                <c:pt idx="4104">
                  <c:v>5.8654170002334576</c:v>
                </c:pt>
                <c:pt idx="4105">
                  <c:v>5.8908105806382096</c:v>
                </c:pt>
                <c:pt idx="4106">
                  <c:v>4.9149620112420935</c:v>
                </c:pt>
                <c:pt idx="4107">
                  <c:v>5.9234589640474553</c:v>
                </c:pt>
                <c:pt idx="4108">
                  <c:v>5.9406724760605734</c:v>
                </c:pt>
                <c:pt idx="4109">
                  <c:v>5.9051657821816095</c:v>
                </c:pt>
                <c:pt idx="4110">
                  <c:v>5.2457270881376949</c:v>
                </c:pt>
                <c:pt idx="4111">
                  <c:v>5.0372900296404231</c:v>
                </c:pt>
                <c:pt idx="4112">
                  <c:v>4.9283286453870661</c:v>
                </c:pt>
                <c:pt idx="4113">
                  <c:v>5.9981927209936226</c:v>
                </c:pt>
                <c:pt idx="4114">
                  <c:v>4.8431357933351187</c:v>
                </c:pt>
                <c:pt idx="4115">
                  <c:v>5.0405070642741112</c:v>
                </c:pt>
                <c:pt idx="4116">
                  <c:v>6.0674727910519852</c:v>
                </c:pt>
                <c:pt idx="4117">
                  <c:v>6.2372352381349137</c:v>
                </c:pt>
                <c:pt idx="4118">
                  <c:v>4.9840690070352993</c:v>
                </c:pt>
                <c:pt idx="4119">
                  <c:v>6.0736013546764847</c:v>
                </c:pt>
                <c:pt idx="4120">
                  <c:v>5.0266469388181241</c:v>
                </c:pt>
                <c:pt idx="4121">
                  <c:v>5.9423032914582539</c:v>
                </c:pt>
                <c:pt idx="4122">
                  <c:v>4.9450244462720274</c:v>
                </c:pt>
                <c:pt idx="4123">
                  <c:v>7.0955673809816968</c:v>
                </c:pt>
                <c:pt idx="4124">
                  <c:v>4.904906641314839</c:v>
                </c:pt>
                <c:pt idx="4125">
                  <c:v>5.8839770459029799</c:v>
                </c:pt>
                <c:pt idx="4126">
                  <c:v>4.9453494082015013</c:v>
                </c:pt>
                <c:pt idx="4127">
                  <c:v>5.1088836623833398</c:v>
                </c:pt>
                <c:pt idx="4128">
                  <c:v>5.9793234737306991</c:v>
                </c:pt>
                <c:pt idx="4129">
                  <c:v>4.8994675806974879</c:v>
                </c:pt>
                <c:pt idx="4130">
                  <c:v>4.8948902246717658</c:v>
                </c:pt>
                <c:pt idx="4131">
                  <c:v>4.9483863462425539</c:v>
                </c:pt>
                <c:pt idx="4132">
                  <c:v>4.816304734368023</c:v>
                </c:pt>
                <c:pt idx="4133">
                  <c:v>5.9641116287156271</c:v>
                </c:pt>
                <c:pt idx="4134">
                  <c:v>5.0544281514561575</c:v>
                </c:pt>
                <c:pt idx="4135">
                  <c:v>5.1689779300914811</c:v>
                </c:pt>
                <c:pt idx="4136">
                  <c:v>5.0181521143589176</c:v>
                </c:pt>
                <c:pt idx="4137">
                  <c:v>5.9972767501978588</c:v>
                </c:pt>
                <c:pt idx="4138">
                  <c:v>4.9547000327977972</c:v>
                </c:pt>
                <c:pt idx="4139">
                  <c:v>5.1179297721862298</c:v>
                </c:pt>
                <c:pt idx="4140">
                  <c:v>4.7830351467226144</c:v>
                </c:pt>
                <c:pt idx="4141">
                  <c:v>6.0015790385254739</c:v>
                </c:pt>
                <c:pt idx="4142">
                  <c:v>6.0998743166582647</c:v>
                </c:pt>
                <c:pt idx="4143">
                  <c:v>4.9639798217177304</c:v>
                </c:pt>
                <c:pt idx="4144">
                  <c:v>4.9692878383242265</c:v>
                </c:pt>
                <c:pt idx="4145">
                  <c:v>5.0990854611478804</c:v>
                </c:pt>
                <c:pt idx="4146">
                  <c:v>5.9681043855993181</c:v>
                </c:pt>
                <c:pt idx="4147">
                  <c:v>7.1050843731017714</c:v>
                </c:pt>
                <c:pt idx="4148">
                  <c:v>5.0068709656507435</c:v>
                </c:pt>
                <c:pt idx="4149">
                  <c:v>5.9451790847733017</c:v>
                </c:pt>
                <c:pt idx="4150">
                  <c:v>5.0255094519959709</c:v>
                </c:pt>
                <c:pt idx="4151">
                  <c:v>6.0827622868830549</c:v>
                </c:pt>
                <c:pt idx="4152">
                  <c:v>6.9852511164241911</c:v>
                </c:pt>
                <c:pt idx="4153">
                  <c:v>7.0300231794764398</c:v>
                </c:pt>
                <c:pt idx="4154">
                  <c:v>4.9876816584992785</c:v>
                </c:pt>
                <c:pt idx="4155">
                  <c:v>7.0846695007332938</c:v>
                </c:pt>
                <c:pt idx="4156">
                  <c:v>5.9412605599630899</c:v>
                </c:pt>
                <c:pt idx="4157">
                  <c:v>6.0542632734920954</c:v>
                </c:pt>
                <c:pt idx="4158">
                  <c:v>6.9021337463812573</c:v>
                </c:pt>
                <c:pt idx="4159">
                  <c:v>6.8359920332431727</c:v>
                </c:pt>
                <c:pt idx="4160">
                  <c:v>5.0042710897424261</c:v>
                </c:pt>
                <c:pt idx="4161">
                  <c:v>7.0349376929078797</c:v>
                </c:pt>
                <c:pt idx="4162">
                  <c:v>6.95758891337434</c:v>
                </c:pt>
                <c:pt idx="4163">
                  <c:v>7.0638933810207742</c:v>
                </c:pt>
                <c:pt idx="4164">
                  <c:v>6.9729377311048797</c:v>
                </c:pt>
                <c:pt idx="4165">
                  <c:v>5.1774553328357182</c:v>
                </c:pt>
                <c:pt idx="4166">
                  <c:v>5.1034425083149628</c:v>
                </c:pt>
                <c:pt idx="4167">
                  <c:v>6.8353910816923626</c:v>
                </c:pt>
                <c:pt idx="4168">
                  <c:v>5.1685895386687708</c:v>
                </c:pt>
                <c:pt idx="4169">
                  <c:v>6.9555287115909188</c:v>
                </c:pt>
                <c:pt idx="4170">
                  <c:v>5.9468233191474811</c:v>
                </c:pt>
                <c:pt idx="4171">
                  <c:v>4.9584947037997216</c:v>
                </c:pt>
                <c:pt idx="4172">
                  <c:v>5.9708250157113341</c:v>
                </c:pt>
                <c:pt idx="4173">
                  <c:v>5.0151903322428577</c:v>
                </c:pt>
                <c:pt idx="4174">
                  <c:v>4.999301519924531</c:v>
                </c:pt>
                <c:pt idx="4175">
                  <c:v>6.2639142802026626</c:v>
                </c:pt>
                <c:pt idx="4176">
                  <c:v>4.845676869750581</c:v>
                </c:pt>
                <c:pt idx="4177">
                  <c:v>4.9638270451256652</c:v>
                </c:pt>
                <c:pt idx="4178">
                  <c:v>5.938493867635902</c:v>
                </c:pt>
                <c:pt idx="4179">
                  <c:v>5.076317090221738</c:v>
                </c:pt>
                <c:pt idx="4180">
                  <c:v>5.1009443732012052</c:v>
                </c:pt>
                <c:pt idx="4181">
                  <c:v>5.9855841959641625</c:v>
                </c:pt>
                <c:pt idx="4182">
                  <c:v>4.9858395934218063</c:v>
                </c:pt>
                <c:pt idx="4183">
                  <c:v>5.0939396820832821</c:v>
                </c:pt>
                <c:pt idx="4184">
                  <c:v>5.0940516443009383</c:v>
                </c:pt>
                <c:pt idx="4185">
                  <c:v>4.9802398608153116</c:v>
                </c:pt>
                <c:pt idx="4186">
                  <c:v>4.9570743970165445</c:v>
                </c:pt>
                <c:pt idx="4187">
                  <c:v>4.9801661030050095</c:v>
                </c:pt>
                <c:pt idx="4188">
                  <c:v>6.0808983850632989</c:v>
                </c:pt>
                <c:pt idx="4189">
                  <c:v>5.0624186387232974</c:v>
                </c:pt>
                <c:pt idx="4190">
                  <c:v>5.0967858440275018</c:v>
                </c:pt>
                <c:pt idx="4191">
                  <c:v>5.0124754090250105</c:v>
                </c:pt>
                <c:pt idx="4192">
                  <c:v>4.940550430354512</c:v>
                </c:pt>
                <c:pt idx="4193">
                  <c:v>5.0207281347389872</c:v>
                </c:pt>
                <c:pt idx="4194">
                  <c:v>4.796709736630576</c:v>
                </c:pt>
                <c:pt idx="4195">
                  <c:v>5.2421566813666818</c:v>
                </c:pt>
                <c:pt idx="4196">
                  <c:v>4.9646693303753739</c:v>
                </c:pt>
                <c:pt idx="4197">
                  <c:v>6.0533817062977215</c:v>
                </c:pt>
                <c:pt idx="4198">
                  <c:v>4.9996104967819885</c:v>
                </c:pt>
                <c:pt idx="4199">
                  <c:v>5.1080685670502133</c:v>
                </c:pt>
                <c:pt idx="4200">
                  <c:v>4.8495836710543294</c:v>
                </c:pt>
                <c:pt idx="4201">
                  <c:v>5.1439292987220711</c:v>
                </c:pt>
                <c:pt idx="4202">
                  <c:v>5.0131620468278495</c:v>
                </c:pt>
                <c:pt idx="4203">
                  <c:v>6.0069969215233465</c:v>
                </c:pt>
                <c:pt idx="4204">
                  <c:v>5.881495391323452</c:v>
                </c:pt>
                <c:pt idx="4205">
                  <c:v>4.9040017682447248</c:v>
                </c:pt>
                <c:pt idx="4206">
                  <c:v>6.1061869502246084</c:v>
                </c:pt>
                <c:pt idx="4207">
                  <c:v>5.1023393592353807</c:v>
                </c:pt>
                <c:pt idx="4208">
                  <c:v>5.2121969480851629</c:v>
                </c:pt>
                <c:pt idx="4209">
                  <c:v>5.0101988706000329</c:v>
                </c:pt>
                <c:pt idx="4210">
                  <c:v>6.0902990788972442</c:v>
                </c:pt>
                <c:pt idx="4211">
                  <c:v>5.8348237130656431</c:v>
                </c:pt>
                <c:pt idx="4212">
                  <c:v>4.9871845453153654</c:v>
                </c:pt>
                <c:pt idx="4213">
                  <c:v>5.1158533847677852</c:v>
                </c:pt>
                <c:pt idx="4214">
                  <c:v>5.0037863524838206</c:v>
                </c:pt>
                <c:pt idx="4215">
                  <c:v>4.9375397674493247</c:v>
                </c:pt>
                <c:pt idx="4216">
                  <c:v>6.0075643693815568</c:v>
                </c:pt>
                <c:pt idx="4217">
                  <c:v>6.2541813711160801</c:v>
                </c:pt>
                <c:pt idx="4218">
                  <c:v>5.0682547920137306</c:v>
                </c:pt>
                <c:pt idx="4219">
                  <c:v>5.9616824043380099</c:v>
                </c:pt>
                <c:pt idx="4220">
                  <c:v>4.9709264885830002</c:v>
                </c:pt>
                <c:pt idx="4221">
                  <c:v>6.8526353576480172</c:v>
                </c:pt>
                <c:pt idx="4222">
                  <c:v>5.0186457323913505</c:v>
                </c:pt>
                <c:pt idx="4223">
                  <c:v>5.9560673969735571</c:v>
                </c:pt>
                <c:pt idx="4224">
                  <c:v>5.0061484695645682</c:v>
                </c:pt>
                <c:pt idx="4225">
                  <c:v>4.996240113671707</c:v>
                </c:pt>
                <c:pt idx="4226">
                  <c:v>6.203164573123404</c:v>
                </c:pt>
                <c:pt idx="4227">
                  <c:v>6.0444419250822818</c:v>
                </c:pt>
                <c:pt idx="4228">
                  <c:v>5.9685293435859288</c:v>
                </c:pt>
                <c:pt idx="4229">
                  <c:v>6.022884598454973</c:v>
                </c:pt>
                <c:pt idx="4230">
                  <c:v>4.957508191623508</c:v>
                </c:pt>
                <c:pt idx="4231">
                  <c:v>4.9906317689686093</c:v>
                </c:pt>
                <c:pt idx="4232">
                  <c:v>5.1539669833683481</c:v>
                </c:pt>
                <c:pt idx="4233">
                  <c:v>5.0276943246612005</c:v>
                </c:pt>
                <c:pt idx="4234">
                  <c:v>6.0058727994010033</c:v>
                </c:pt>
                <c:pt idx="4235">
                  <c:v>4.9934643738223885</c:v>
                </c:pt>
                <c:pt idx="4236">
                  <c:v>7.0806514830218648</c:v>
                </c:pt>
                <c:pt idx="4237">
                  <c:v>6.1490610094068936</c:v>
                </c:pt>
                <c:pt idx="4238">
                  <c:v>4.8949542418686791</c:v>
                </c:pt>
                <c:pt idx="4239">
                  <c:v>7.0181128736973974</c:v>
                </c:pt>
                <c:pt idx="4240">
                  <c:v>4.8943534369859476</c:v>
                </c:pt>
                <c:pt idx="4241">
                  <c:v>5.1790671608481249</c:v>
                </c:pt>
                <c:pt idx="4242">
                  <c:v>4.9172663373812142</c:v>
                </c:pt>
                <c:pt idx="4243">
                  <c:v>4.9470796207801415</c:v>
                </c:pt>
                <c:pt idx="4244">
                  <c:v>7.1528561955491679</c:v>
                </c:pt>
                <c:pt idx="4245">
                  <c:v>5.082182005906013</c:v>
                </c:pt>
                <c:pt idx="4246">
                  <c:v>4.8608196337160896</c:v>
                </c:pt>
                <c:pt idx="4247">
                  <c:v>5.054267784338915</c:v>
                </c:pt>
                <c:pt idx="4248">
                  <c:v>4.8730188084038124</c:v>
                </c:pt>
                <c:pt idx="4249">
                  <c:v>7.1112782733891411</c:v>
                </c:pt>
                <c:pt idx="4250">
                  <c:v>6.0670046444795567</c:v>
                </c:pt>
                <c:pt idx="4251">
                  <c:v>5.8872623240941024</c:v>
                </c:pt>
                <c:pt idx="4252">
                  <c:v>5.8638665714793898</c:v>
                </c:pt>
                <c:pt idx="4253">
                  <c:v>5.054638854852981</c:v>
                </c:pt>
                <c:pt idx="4254">
                  <c:v>5.067060520031891</c:v>
                </c:pt>
                <c:pt idx="4255">
                  <c:v>5.0976067957522648</c:v>
                </c:pt>
                <c:pt idx="4256">
                  <c:v>6.0638676888185969</c:v>
                </c:pt>
                <c:pt idx="4257">
                  <c:v>5.1005859741225619</c:v>
                </c:pt>
                <c:pt idx="4258">
                  <c:v>4.8672217410461265</c:v>
                </c:pt>
                <c:pt idx="4259">
                  <c:v>5.9952141840946389</c:v>
                </c:pt>
                <c:pt idx="4260">
                  <c:v>5.9709242755722096</c:v>
                </c:pt>
                <c:pt idx="4261">
                  <c:v>4.9519821510157174</c:v>
                </c:pt>
                <c:pt idx="4262">
                  <c:v>5.048076721828135</c:v>
                </c:pt>
                <c:pt idx="4263">
                  <c:v>4.9286067499500437</c:v>
                </c:pt>
                <c:pt idx="4264">
                  <c:v>5.1402578139269322</c:v>
                </c:pt>
                <c:pt idx="4265">
                  <c:v>4.001051704878523</c:v>
                </c:pt>
                <c:pt idx="4266">
                  <c:v>5.0644185562626216</c:v>
                </c:pt>
                <c:pt idx="4267">
                  <c:v>4.8665391111037808</c:v>
                </c:pt>
                <c:pt idx="4268">
                  <c:v>5.0823181867790241</c:v>
                </c:pt>
                <c:pt idx="4269">
                  <c:v>5.0352845017196763</c:v>
                </c:pt>
                <c:pt idx="4270">
                  <c:v>5.1675983201723179</c:v>
                </c:pt>
                <c:pt idx="4271">
                  <c:v>4.9262849338175005</c:v>
                </c:pt>
                <c:pt idx="4272">
                  <c:v>5.0335966597793957</c:v>
                </c:pt>
                <c:pt idx="4273">
                  <c:v>5.0029192518405488</c:v>
                </c:pt>
                <c:pt idx="4274">
                  <c:v>5.1015228573719593</c:v>
                </c:pt>
                <c:pt idx="4275">
                  <c:v>4.9335208045431305</c:v>
                </c:pt>
                <c:pt idx="4276">
                  <c:v>4.8899598407951723</c:v>
                </c:pt>
                <c:pt idx="4277">
                  <c:v>4.9233370701545898</c:v>
                </c:pt>
                <c:pt idx="4278">
                  <c:v>5.7124374656304955</c:v>
                </c:pt>
                <c:pt idx="4279">
                  <c:v>4.816716662051153</c:v>
                </c:pt>
                <c:pt idx="4280">
                  <c:v>5.8534355051522811</c:v>
                </c:pt>
                <c:pt idx="4281">
                  <c:v>6.9889303456971321</c:v>
                </c:pt>
                <c:pt idx="4282">
                  <c:v>6.0584593967564055</c:v>
                </c:pt>
                <c:pt idx="4283">
                  <c:v>6.0455986443636043</c:v>
                </c:pt>
                <c:pt idx="4284">
                  <c:v>4.9970752040470749</c:v>
                </c:pt>
                <c:pt idx="4285">
                  <c:v>5.0354453607152214</c:v>
                </c:pt>
                <c:pt idx="4286">
                  <c:v>4.8580635906206933</c:v>
                </c:pt>
                <c:pt idx="4287">
                  <c:v>5.8213498668139545</c:v>
                </c:pt>
                <c:pt idx="4288">
                  <c:v>5.9040762246902183</c:v>
                </c:pt>
                <c:pt idx="4289">
                  <c:v>7.0462244935927609</c:v>
                </c:pt>
                <c:pt idx="4290">
                  <c:v>4.9808702486954095</c:v>
                </c:pt>
                <c:pt idx="4291">
                  <c:v>6.022757765848298</c:v>
                </c:pt>
                <c:pt idx="4292">
                  <c:v>6.12633890626332</c:v>
                </c:pt>
                <c:pt idx="4293">
                  <c:v>4.9350172564717099</c:v>
                </c:pt>
                <c:pt idx="4294">
                  <c:v>7.1826944257398182</c:v>
                </c:pt>
                <c:pt idx="4295">
                  <c:v>5.9904704379232578</c:v>
                </c:pt>
                <c:pt idx="4296">
                  <c:v>6.0086313262418587</c:v>
                </c:pt>
                <c:pt idx="4297">
                  <c:v>7.1654905327753085</c:v>
                </c:pt>
                <c:pt idx="4298">
                  <c:v>4.8719061240977677</c:v>
                </c:pt>
                <c:pt idx="4299">
                  <c:v>5.1873565700874851</c:v>
                </c:pt>
                <c:pt idx="4300">
                  <c:v>5.95769125587214</c:v>
                </c:pt>
                <c:pt idx="4301">
                  <c:v>5.0148647413630778</c:v>
                </c:pt>
                <c:pt idx="4302">
                  <c:v>5.930826813092696</c:v>
                </c:pt>
                <c:pt idx="4303">
                  <c:v>6.7365037901870526</c:v>
                </c:pt>
                <c:pt idx="4304">
                  <c:v>5.0383512581651253</c:v>
                </c:pt>
                <c:pt idx="4305">
                  <c:v>5.0231168774549584</c:v>
                </c:pt>
                <c:pt idx="4306">
                  <c:v>6.9342681573570006</c:v>
                </c:pt>
                <c:pt idx="4307">
                  <c:v>5.8970699485571174</c:v>
                </c:pt>
                <c:pt idx="4308">
                  <c:v>5.8988291481711208</c:v>
                </c:pt>
                <c:pt idx="4309">
                  <c:v>4.9562653814578983</c:v>
                </c:pt>
                <c:pt idx="4310">
                  <c:v>6.0312412364382864</c:v>
                </c:pt>
                <c:pt idx="4311">
                  <c:v>5.1062760232943969</c:v>
                </c:pt>
                <c:pt idx="4312">
                  <c:v>5.1089588142446578</c:v>
                </c:pt>
                <c:pt idx="4313">
                  <c:v>4.0104242328298305</c:v>
                </c:pt>
                <c:pt idx="4314">
                  <c:v>7.0647931145077747</c:v>
                </c:pt>
                <c:pt idx="4315">
                  <c:v>5.0250303512713632</c:v>
                </c:pt>
                <c:pt idx="4316">
                  <c:v>4.98075799060768</c:v>
                </c:pt>
                <c:pt idx="4317">
                  <c:v>5.8922050296338551</c:v>
                </c:pt>
                <c:pt idx="4318">
                  <c:v>5.0770697222577095</c:v>
                </c:pt>
                <c:pt idx="4319">
                  <c:v>4.9915302499395828</c:v>
                </c:pt>
                <c:pt idx="4320">
                  <c:v>5.021385771033291</c:v>
                </c:pt>
                <c:pt idx="4321">
                  <c:v>5.9051499325790653</c:v>
                </c:pt>
                <c:pt idx="4322">
                  <c:v>5.2192914262392707</c:v>
                </c:pt>
                <c:pt idx="4323">
                  <c:v>5.9127378560679498</c:v>
                </c:pt>
                <c:pt idx="4324">
                  <c:v>4.9989106253741999</c:v>
                </c:pt>
                <c:pt idx="4325">
                  <c:v>6.2320720087940922</c:v>
                </c:pt>
                <c:pt idx="4326">
                  <c:v>6.0406498227701544</c:v>
                </c:pt>
                <c:pt idx="4327">
                  <c:v>4.8265640902047249</c:v>
                </c:pt>
                <c:pt idx="4328">
                  <c:v>4.9172905364027502</c:v>
                </c:pt>
                <c:pt idx="4329">
                  <c:v>5.0672938993402781</c:v>
                </c:pt>
                <c:pt idx="4330">
                  <c:v>5.12638488995833</c:v>
                </c:pt>
                <c:pt idx="4331">
                  <c:v>4.881319188625862</c:v>
                </c:pt>
                <c:pt idx="4332">
                  <c:v>5.0072780504468124</c:v>
                </c:pt>
                <c:pt idx="4333">
                  <c:v>3.9532258124489594</c:v>
                </c:pt>
                <c:pt idx="4334">
                  <c:v>5.8685619479914228</c:v>
                </c:pt>
                <c:pt idx="4335">
                  <c:v>4.9533749010400463</c:v>
                </c:pt>
                <c:pt idx="4336">
                  <c:v>5.9335782455842629</c:v>
                </c:pt>
                <c:pt idx="4337">
                  <c:v>4.940809966335113</c:v>
                </c:pt>
                <c:pt idx="4338">
                  <c:v>5.9135304060300689</c:v>
                </c:pt>
                <c:pt idx="4339">
                  <c:v>4.8950138783734722</c:v>
                </c:pt>
                <c:pt idx="4340">
                  <c:v>6.9261938617824637</c:v>
                </c:pt>
                <c:pt idx="4341">
                  <c:v>5.8074734873857219</c:v>
                </c:pt>
                <c:pt idx="4342">
                  <c:v>5.8606645363485343</c:v>
                </c:pt>
                <c:pt idx="4343">
                  <c:v>5.184677652780314</c:v>
                </c:pt>
                <c:pt idx="4344">
                  <c:v>5.0982591839163991</c:v>
                </c:pt>
                <c:pt idx="4345">
                  <c:v>5.0757304703781569</c:v>
                </c:pt>
                <c:pt idx="4346">
                  <c:v>4.9078298626039389</c:v>
                </c:pt>
                <c:pt idx="4347">
                  <c:v>4.9616392143715435</c:v>
                </c:pt>
                <c:pt idx="4348">
                  <c:v>6.0366235142175499</c:v>
                </c:pt>
                <c:pt idx="4349">
                  <c:v>4.9089619366734034</c:v>
                </c:pt>
                <c:pt idx="4350">
                  <c:v>5.2305171485189765</c:v>
                </c:pt>
                <c:pt idx="4351">
                  <c:v>5.7914741143575954</c:v>
                </c:pt>
                <c:pt idx="4352">
                  <c:v>6.0202545718980334</c:v>
                </c:pt>
                <c:pt idx="4353">
                  <c:v>5.1212090333774869</c:v>
                </c:pt>
                <c:pt idx="4354">
                  <c:v>5.8992712285292468</c:v>
                </c:pt>
                <c:pt idx="4355">
                  <c:v>5.0653259795651833</c:v>
                </c:pt>
                <c:pt idx="4356">
                  <c:v>5.9425318921478603</c:v>
                </c:pt>
                <c:pt idx="4357">
                  <c:v>7.1326119897817533</c:v>
                </c:pt>
                <c:pt idx="4358">
                  <c:v>4.9600075250717719</c:v>
                </c:pt>
                <c:pt idx="4359">
                  <c:v>4.9329346128770535</c:v>
                </c:pt>
                <c:pt idx="4360">
                  <c:v>4.9323708260837735</c:v>
                </c:pt>
                <c:pt idx="4361">
                  <c:v>4.8816622871550646</c:v>
                </c:pt>
                <c:pt idx="4362">
                  <c:v>6.0268582967730993</c:v>
                </c:pt>
                <c:pt idx="4363">
                  <c:v>6.9230645750695938</c:v>
                </c:pt>
                <c:pt idx="4364">
                  <c:v>5.0600515320743522</c:v>
                </c:pt>
                <c:pt idx="4365">
                  <c:v>4.9867877438202379</c:v>
                </c:pt>
                <c:pt idx="4366">
                  <c:v>5.1255253170298971</c:v>
                </c:pt>
                <c:pt idx="4367">
                  <c:v>4.8326919707836122</c:v>
                </c:pt>
                <c:pt idx="4368">
                  <c:v>5.0147927453911647</c:v>
                </c:pt>
                <c:pt idx="4369">
                  <c:v>5.0489568293068485</c:v>
                </c:pt>
                <c:pt idx="4370">
                  <c:v>5.9256638668980308</c:v>
                </c:pt>
                <c:pt idx="4371">
                  <c:v>6.1550627260674062</c:v>
                </c:pt>
                <c:pt idx="4372">
                  <c:v>4.8931620267337497</c:v>
                </c:pt>
                <c:pt idx="4373">
                  <c:v>5.9372161693032588</c:v>
                </c:pt>
                <c:pt idx="4374">
                  <c:v>6.2408843863311638</c:v>
                </c:pt>
                <c:pt idx="4375">
                  <c:v>5.0729594326674352</c:v>
                </c:pt>
                <c:pt idx="4376">
                  <c:v>6.0304339884616613</c:v>
                </c:pt>
                <c:pt idx="4377">
                  <c:v>5.0468347205032922</c:v>
                </c:pt>
                <c:pt idx="4378">
                  <c:v>6.0173969112747185</c:v>
                </c:pt>
                <c:pt idx="4379">
                  <c:v>4.9482203755249641</c:v>
                </c:pt>
                <c:pt idx="4380">
                  <c:v>6.0208030413290752</c:v>
                </c:pt>
                <c:pt idx="4381">
                  <c:v>6.031888318143853</c:v>
                </c:pt>
                <c:pt idx="4382">
                  <c:v>4.9040572713472086</c:v>
                </c:pt>
                <c:pt idx="4383">
                  <c:v>5.9714432335224412</c:v>
                </c:pt>
                <c:pt idx="4384">
                  <c:v>3.9194828788431773</c:v>
                </c:pt>
                <c:pt idx="4385">
                  <c:v>6.018907437381892</c:v>
                </c:pt>
                <c:pt idx="4386">
                  <c:v>6.01260572748199</c:v>
                </c:pt>
                <c:pt idx="4387">
                  <c:v>6.1725326868410377</c:v>
                </c:pt>
                <c:pt idx="4388">
                  <c:v>4.9725071993809999</c:v>
                </c:pt>
                <c:pt idx="4389">
                  <c:v>6.07346432980414</c:v>
                </c:pt>
                <c:pt idx="4390">
                  <c:v>6.0127524814991622</c:v>
                </c:pt>
                <c:pt idx="4391">
                  <c:v>6.0532880826277085</c:v>
                </c:pt>
                <c:pt idx="4392">
                  <c:v>5.2472564792408232</c:v>
                </c:pt>
                <c:pt idx="4393">
                  <c:v>5.040987169282527</c:v>
                </c:pt>
                <c:pt idx="4394">
                  <c:v>5.0517204979314743</c:v>
                </c:pt>
                <c:pt idx="4395">
                  <c:v>5.1228095948705175</c:v>
                </c:pt>
                <c:pt idx="4396">
                  <c:v>4.9589218562201705</c:v>
                </c:pt>
                <c:pt idx="4397">
                  <c:v>6.0532419229516572</c:v>
                </c:pt>
                <c:pt idx="4398">
                  <c:v>5.7710897647848451</c:v>
                </c:pt>
                <c:pt idx="4399">
                  <c:v>6.0644832739141448</c:v>
                </c:pt>
                <c:pt idx="4400">
                  <c:v>6.7976613293641215</c:v>
                </c:pt>
                <c:pt idx="4401">
                  <c:v>6.0467245722116623</c:v>
                </c:pt>
                <c:pt idx="4402">
                  <c:v>5.9295970809296037</c:v>
                </c:pt>
                <c:pt idx="4403">
                  <c:v>4.9536868122626174</c:v>
                </c:pt>
                <c:pt idx="4404">
                  <c:v>6.0238408445145151</c:v>
                </c:pt>
                <c:pt idx="4405">
                  <c:v>4.9895155619139002</c:v>
                </c:pt>
                <c:pt idx="4406">
                  <c:v>5.0000492243247328</c:v>
                </c:pt>
                <c:pt idx="4407">
                  <c:v>5.9240558796837712</c:v>
                </c:pt>
                <c:pt idx="4408">
                  <c:v>5.0741816038360668</c:v>
                </c:pt>
                <c:pt idx="4409">
                  <c:v>7.0637482485241883</c:v>
                </c:pt>
                <c:pt idx="4410">
                  <c:v>5.0159517990226261</c:v>
                </c:pt>
                <c:pt idx="4411">
                  <c:v>4.9510991546549832</c:v>
                </c:pt>
                <c:pt idx="4412">
                  <c:v>6.1973375841573404</c:v>
                </c:pt>
                <c:pt idx="4413">
                  <c:v>5.778807440347542</c:v>
                </c:pt>
                <c:pt idx="4414">
                  <c:v>4.9219790562460952</c:v>
                </c:pt>
                <c:pt idx="4415">
                  <c:v>5.8745180669394479</c:v>
                </c:pt>
                <c:pt idx="4416">
                  <c:v>5.8878336068015598</c:v>
                </c:pt>
                <c:pt idx="4417">
                  <c:v>5.978245889932964</c:v>
                </c:pt>
                <c:pt idx="4418">
                  <c:v>5.0436382344335309</c:v>
                </c:pt>
                <c:pt idx="4419">
                  <c:v>6.0453154587982629</c:v>
                </c:pt>
                <c:pt idx="4420">
                  <c:v>6.0655151430853849</c:v>
                </c:pt>
                <c:pt idx="4421">
                  <c:v>5.1292954068926822</c:v>
                </c:pt>
                <c:pt idx="4422">
                  <c:v>5.0523986888736356</c:v>
                </c:pt>
                <c:pt idx="4423">
                  <c:v>5.0908507299765775</c:v>
                </c:pt>
                <c:pt idx="4424">
                  <c:v>6.0206193974796758</c:v>
                </c:pt>
                <c:pt idx="4425">
                  <c:v>4.9978527682802447</c:v>
                </c:pt>
                <c:pt idx="4426">
                  <c:v>4.8852175577188603</c:v>
                </c:pt>
                <c:pt idx="4427">
                  <c:v>8.0317367771759542</c:v>
                </c:pt>
                <c:pt idx="4428">
                  <c:v>4.0370747812271359</c:v>
                </c:pt>
                <c:pt idx="4429">
                  <c:v>4.9334587520663407</c:v>
                </c:pt>
                <c:pt idx="4430">
                  <c:v>5.2263468579476493</c:v>
                </c:pt>
                <c:pt idx="4431">
                  <c:v>5.9408971687346233</c:v>
                </c:pt>
                <c:pt idx="4432">
                  <c:v>5.1163165832143171</c:v>
                </c:pt>
                <c:pt idx="4433">
                  <c:v>5.0768354344127067</c:v>
                </c:pt>
                <c:pt idx="4434">
                  <c:v>5.0507421571195481</c:v>
                </c:pt>
                <c:pt idx="4435">
                  <c:v>6.0963058359162723</c:v>
                </c:pt>
                <c:pt idx="4436">
                  <c:v>5.9485043071321995</c:v>
                </c:pt>
                <c:pt idx="4437">
                  <c:v>4.0151443755956517</c:v>
                </c:pt>
                <c:pt idx="4438">
                  <c:v>5.1613926877667913</c:v>
                </c:pt>
                <c:pt idx="4439">
                  <c:v>4.8894846589136227</c:v>
                </c:pt>
                <c:pt idx="4440">
                  <c:v>5.9962749196134055</c:v>
                </c:pt>
                <c:pt idx="4441">
                  <c:v>6.1957948576605002</c:v>
                </c:pt>
                <c:pt idx="4442">
                  <c:v>4.947813652811524</c:v>
                </c:pt>
                <c:pt idx="4443">
                  <c:v>5.089408386384239</c:v>
                </c:pt>
                <c:pt idx="4444">
                  <c:v>5.1288795631506749</c:v>
                </c:pt>
                <c:pt idx="4445">
                  <c:v>5.8237314125220072</c:v>
                </c:pt>
                <c:pt idx="4446">
                  <c:v>4.9686409164167804</c:v>
                </c:pt>
                <c:pt idx="4447">
                  <c:v>4.9296324995156144</c:v>
                </c:pt>
                <c:pt idx="4448">
                  <c:v>5.0473012942733906</c:v>
                </c:pt>
                <c:pt idx="4449">
                  <c:v>4.9094090347038506</c:v>
                </c:pt>
                <c:pt idx="4450">
                  <c:v>5.1258121333574644</c:v>
                </c:pt>
                <c:pt idx="4451">
                  <c:v>5.9773368941781175</c:v>
                </c:pt>
                <c:pt idx="4452">
                  <c:v>4.985885688346646</c:v>
                </c:pt>
                <c:pt idx="4453">
                  <c:v>4.9460573489328263</c:v>
                </c:pt>
                <c:pt idx="4454">
                  <c:v>6.0233817045387914</c:v>
                </c:pt>
                <c:pt idx="4455">
                  <c:v>4.9342280363534785</c:v>
                </c:pt>
                <c:pt idx="4456">
                  <c:v>6.0011031747578132</c:v>
                </c:pt>
                <c:pt idx="4457">
                  <c:v>5.9645945394469289</c:v>
                </c:pt>
                <c:pt idx="4458">
                  <c:v>6.1086746618135619</c:v>
                </c:pt>
                <c:pt idx="4459">
                  <c:v>5.9875714139365845</c:v>
                </c:pt>
                <c:pt idx="4460">
                  <c:v>4.02547647041541</c:v>
                </c:pt>
                <c:pt idx="4461">
                  <c:v>4.9845244938278128</c:v>
                </c:pt>
                <c:pt idx="4462">
                  <c:v>6.1388157601178053</c:v>
                </c:pt>
                <c:pt idx="4463">
                  <c:v>6.009744332618526</c:v>
                </c:pt>
                <c:pt idx="4464">
                  <c:v>5.924209244080104</c:v>
                </c:pt>
                <c:pt idx="4465">
                  <c:v>4.9533549304865563</c:v>
                </c:pt>
                <c:pt idx="4466">
                  <c:v>5.9450106576197896</c:v>
                </c:pt>
                <c:pt idx="4467">
                  <c:v>4.9498588570791089</c:v>
                </c:pt>
                <c:pt idx="4468">
                  <c:v>6.0393399903717393</c:v>
                </c:pt>
                <c:pt idx="4469">
                  <c:v>6.0380979401283659</c:v>
                </c:pt>
                <c:pt idx="4470">
                  <c:v>4.9254946527994212</c:v>
                </c:pt>
                <c:pt idx="4471">
                  <c:v>5.0081728873816616</c:v>
                </c:pt>
                <c:pt idx="4472">
                  <c:v>5.0384671474631713</c:v>
                </c:pt>
                <c:pt idx="4473">
                  <c:v>6.1429297779774323</c:v>
                </c:pt>
                <c:pt idx="4474">
                  <c:v>4.8763519556220842</c:v>
                </c:pt>
                <c:pt idx="4475">
                  <c:v>4.9547935756292469</c:v>
                </c:pt>
                <c:pt idx="4476">
                  <c:v>6.1332362986789102</c:v>
                </c:pt>
                <c:pt idx="4477">
                  <c:v>6.0162783005311509</c:v>
                </c:pt>
                <c:pt idx="4478">
                  <c:v>6.0021251321205584</c:v>
                </c:pt>
                <c:pt idx="4479">
                  <c:v>6.0282634577148331</c:v>
                </c:pt>
                <c:pt idx="4480">
                  <c:v>5.9438011834839308</c:v>
                </c:pt>
                <c:pt idx="4481">
                  <c:v>5.9307557279523939</c:v>
                </c:pt>
                <c:pt idx="4482">
                  <c:v>5.956678134922778</c:v>
                </c:pt>
                <c:pt idx="4483">
                  <c:v>5.890405435745758</c:v>
                </c:pt>
                <c:pt idx="4484">
                  <c:v>6.0231710279700241</c:v>
                </c:pt>
                <c:pt idx="4485">
                  <c:v>5.9674630832998341</c:v>
                </c:pt>
                <c:pt idx="4486">
                  <c:v>6.0813366072409663</c:v>
                </c:pt>
                <c:pt idx="4487">
                  <c:v>6.033557579933353</c:v>
                </c:pt>
                <c:pt idx="4488">
                  <c:v>6.0152782187897582</c:v>
                </c:pt>
                <c:pt idx="4489">
                  <c:v>5.903699736674251</c:v>
                </c:pt>
                <c:pt idx="4490">
                  <c:v>5.9846873733158219</c:v>
                </c:pt>
                <c:pt idx="4491">
                  <c:v>6.0962889523619426</c:v>
                </c:pt>
                <c:pt idx="4492">
                  <c:v>6.1307360883036051</c:v>
                </c:pt>
                <c:pt idx="4493">
                  <c:v>5.7689787545653886</c:v>
                </c:pt>
                <c:pt idx="4494">
                  <c:v>5.9522691630265054</c:v>
                </c:pt>
                <c:pt idx="4495">
                  <c:v>5.9294301827296341</c:v>
                </c:pt>
                <c:pt idx="4496">
                  <c:v>5.9256148932843411</c:v>
                </c:pt>
                <c:pt idx="4497">
                  <c:v>5.9212308509033065</c:v>
                </c:pt>
                <c:pt idx="4498">
                  <c:v>6.067994863582971</c:v>
                </c:pt>
                <c:pt idx="4499">
                  <c:v>5.9016880023885072</c:v>
                </c:pt>
                <c:pt idx="4500">
                  <c:v>6.0979470151355297</c:v>
                </c:pt>
                <c:pt idx="4501">
                  <c:v>6.0144701004376913</c:v>
                </c:pt>
                <c:pt idx="4502">
                  <c:v>5.8536861051056306</c:v>
                </c:pt>
                <c:pt idx="4503">
                  <c:v>5.9769463959509199</c:v>
                </c:pt>
                <c:pt idx="4504">
                  <c:v>5.9809233488784166</c:v>
                </c:pt>
                <c:pt idx="4505">
                  <c:v>5.975999335785894</c:v>
                </c:pt>
                <c:pt idx="4506">
                  <c:v>6.0591537286188926</c:v>
                </c:pt>
                <c:pt idx="4507">
                  <c:v>6.0830724455216707</c:v>
                </c:pt>
                <c:pt idx="4508">
                  <c:v>6.1240832044739015</c:v>
                </c:pt>
                <c:pt idx="4509">
                  <c:v>5.9322312212464583</c:v>
                </c:pt>
                <c:pt idx="4510">
                  <c:v>6.0752421408750097</c:v>
                </c:pt>
                <c:pt idx="4511">
                  <c:v>5.9896142645638966</c:v>
                </c:pt>
                <c:pt idx="4512">
                  <c:v>5.9972960913812994</c:v>
                </c:pt>
                <c:pt idx="4513">
                  <c:v>5.8886840668526323</c:v>
                </c:pt>
                <c:pt idx="4514">
                  <c:v>5.8266013513251345</c:v>
                </c:pt>
                <c:pt idx="4515">
                  <c:v>6.0990420057124597</c:v>
                </c:pt>
                <c:pt idx="4516">
                  <c:v>4.9745591808025171</c:v>
                </c:pt>
                <c:pt idx="4517">
                  <c:v>6.0469427430922176</c:v>
                </c:pt>
                <c:pt idx="4518">
                  <c:v>6.0474178385768562</c:v>
                </c:pt>
                <c:pt idx="4519">
                  <c:v>5.9628973219343369</c:v>
                </c:pt>
                <c:pt idx="4520">
                  <c:v>5.886287722288114</c:v>
                </c:pt>
                <c:pt idx="4521">
                  <c:v>5.7467431741679889</c:v>
                </c:pt>
                <c:pt idx="4522">
                  <c:v>5.8105443952452216</c:v>
                </c:pt>
                <c:pt idx="4523">
                  <c:v>5.9272121798424431</c:v>
                </c:pt>
                <c:pt idx="4524">
                  <c:v>5.8879291396578468</c:v>
                </c:pt>
                <c:pt idx="4525">
                  <c:v>6.042857695947438</c:v>
                </c:pt>
                <c:pt idx="4526">
                  <c:v>5.9846430783226685</c:v>
                </c:pt>
                <c:pt idx="4527">
                  <c:v>6.078838627148893</c:v>
                </c:pt>
                <c:pt idx="4528">
                  <c:v>5.8968726542306777</c:v>
                </c:pt>
                <c:pt idx="4529">
                  <c:v>5.9277183785267091</c:v>
                </c:pt>
                <c:pt idx="4530">
                  <c:v>5.0593030680265576</c:v>
                </c:pt>
                <c:pt idx="4531">
                  <c:v>6.0197545796630241</c:v>
                </c:pt>
                <c:pt idx="4532">
                  <c:v>6.0725961468795058</c:v>
                </c:pt>
                <c:pt idx="4533">
                  <c:v>6.0484303822624037</c:v>
                </c:pt>
                <c:pt idx="4534">
                  <c:v>5.919059293146395</c:v>
                </c:pt>
                <c:pt idx="4535">
                  <c:v>6.1203902386272455</c:v>
                </c:pt>
                <c:pt idx="4536">
                  <c:v>5.9540270915312146</c:v>
                </c:pt>
                <c:pt idx="4537">
                  <c:v>6.1262507841959515</c:v>
                </c:pt>
                <c:pt idx="4538">
                  <c:v>6.1477078067356654</c:v>
                </c:pt>
                <c:pt idx="4539">
                  <c:v>5.8430018812538247</c:v>
                </c:pt>
                <c:pt idx="4540">
                  <c:v>6.0447835061844568</c:v>
                </c:pt>
                <c:pt idx="4541">
                  <c:v>6.0871567469709902</c:v>
                </c:pt>
                <c:pt idx="4542">
                  <c:v>5.0657909389867104</c:v>
                </c:pt>
                <c:pt idx="4543">
                  <c:v>4.9675313859927401</c:v>
                </c:pt>
                <c:pt idx="4544">
                  <c:v>5.0354920789579101</c:v>
                </c:pt>
                <c:pt idx="4545">
                  <c:v>5.8608426339376072</c:v>
                </c:pt>
                <c:pt idx="4546">
                  <c:v>6.1687660141919363</c:v>
                </c:pt>
                <c:pt idx="4547">
                  <c:v>5.0122944575556456</c:v>
                </c:pt>
                <c:pt idx="4548">
                  <c:v>4.9784956419825699</c:v>
                </c:pt>
                <c:pt idx="4549">
                  <c:v>4.8228382424170331</c:v>
                </c:pt>
                <c:pt idx="4550">
                  <c:v>5.17091120574631</c:v>
                </c:pt>
                <c:pt idx="4551">
                  <c:v>6.1539239127293603</c:v>
                </c:pt>
                <c:pt idx="4552">
                  <c:v>7.071544136391001</c:v>
                </c:pt>
                <c:pt idx="4553">
                  <c:v>5.1855723734689532</c:v>
                </c:pt>
                <c:pt idx="4554">
                  <c:v>6.1577412767055604</c:v>
                </c:pt>
                <c:pt idx="4555">
                  <c:v>7.0016020904616365</c:v>
                </c:pt>
                <c:pt idx="4556">
                  <c:v>6.2073324857826773</c:v>
                </c:pt>
                <c:pt idx="4557">
                  <c:v>5.9219128338132325</c:v>
                </c:pt>
                <c:pt idx="4558">
                  <c:v>4.9506564058124001</c:v>
                </c:pt>
                <c:pt idx="4559">
                  <c:v>4.9300904593052239</c:v>
                </c:pt>
                <c:pt idx="4560">
                  <c:v>5.0530872093039445</c:v>
                </c:pt>
                <c:pt idx="4561">
                  <c:v>6.0364544669671831</c:v>
                </c:pt>
                <c:pt idx="4562">
                  <c:v>5.9881516193280113</c:v>
                </c:pt>
                <c:pt idx="4563">
                  <c:v>5.0617046447684286</c:v>
                </c:pt>
                <c:pt idx="4564">
                  <c:v>5.8655945839623254</c:v>
                </c:pt>
                <c:pt idx="4565">
                  <c:v>6.0797720875963641</c:v>
                </c:pt>
                <c:pt idx="4566">
                  <c:v>5.9697013292894114</c:v>
                </c:pt>
                <c:pt idx="4567">
                  <c:v>6.0408457839431202</c:v>
                </c:pt>
                <c:pt idx="4568">
                  <c:v>4.8578616648868813</c:v>
                </c:pt>
                <c:pt idx="4569">
                  <c:v>6.0782173251487501</c:v>
                </c:pt>
                <c:pt idx="4570">
                  <c:v>5.7803740394142826</c:v>
                </c:pt>
                <c:pt idx="4571">
                  <c:v>5.134228843373891</c:v>
                </c:pt>
                <c:pt idx="4572">
                  <c:v>4.9290963968243879</c:v>
                </c:pt>
                <c:pt idx="4573">
                  <c:v>5.221952434560885</c:v>
                </c:pt>
                <c:pt idx="4574">
                  <c:v>5.0108914366190387</c:v>
                </c:pt>
                <c:pt idx="4575">
                  <c:v>5.8418033487499823</c:v>
                </c:pt>
                <c:pt idx="4576">
                  <c:v>4.9331701187177286</c:v>
                </c:pt>
                <c:pt idx="4577">
                  <c:v>6.0440278700690175</c:v>
                </c:pt>
                <c:pt idx="4578">
                  <c:v>5.9042625779060529</c:v>
                </c:pt>
                <c:pt idx="4579">
                  <c:v>6.0743383220116991</c:v>
                </c:pt>
                <c:pt idx="4580">
                  <c:v>6.2589044701603598</c:v>
                </c:pt>
                <c:pt idx="4581">
                  <c:v>5.9716399674200114</c:v>
                </c:pt>
                <c:pt idx="4582">
                  <c:v>4.9324909755743462</c:v>
                </c:pt>
                <c:pt idx="4583">
                  <c:v>6.0445902885011025</c:v>
                </c:pt>
                <c:pt idx="4584">
                  <c:v>4.9767391195633603</c:v>
                </c:pt>
                <c:pt idx="4585">
                  <c:v>6.9965020072465283</c:v>
                </c:pt>
                <c:pt idx="4586">
                  <c:v>4.0847108495557887</c:v>
                </c:pt>
                <c:pt idx="4587">
                  <c:v>5.0278824071075841</c:v>
                </c:pt>
                <c:pt idx="4588">
                  <c:v>6.8925373019249978</c:v>
                </c:pt>
                <c:pt idx="4589">
                  <c:v>5.0393065565035453</c:v>
                </c:pt>
                <c:pt idx="4590">
                  <c:v>4.9968361443081601</c:v>
                </c:pt>
                <c:pt idx="4591">
                  <c:v>4.8352419199226535</c:v>
                </c:pt>
                <c:pt idx="4592">
                  <c:v>4.7999532233501139</c:v>
                </c:pt>
                <c:pt idx="4593">
                  <c:v>4.9927473665088087</c:v>
                </c:pt>
                <c:pt idx="4594">
                  <c:v>5.0354282032125628</c:v>
                </c:pt>
                <c:pt idx="4595">
                  <c:v>4.8914920098288448</c:v>
                </c:pt>
                <c:pt idx="4596">
                  <c:v>5.0362101482834989</c:v>
                </c:pt>
                <c:pt idx="4597">
                  <c:v>5.0773398566854278</c:v>
                </c:pt>
                <c:pt idx="4598">
                  <c:v>4.9398898466649328</c:v>
                </c:pt>
                <c:pt idx="4599">
                  <c:v>6.0181309897640443</c:v>
                </c:pt>
                <c:pt idx="4600">
                  <c:v>5.9690771770957722</c:v>
                </c:pt>
                <c:pt idx="4601">
                  <c:v>6.0634102159640708</c:v>
                </c:pt>
                <c:pt idx="4602">
                  <c:v>3.8281120535220845</c:v>
                </c:pt>
                <c:pt idx="4603">
                  <c:v>5.8282702443756218</c:v>
                </c:pt>
                <c:pt idx="4604">
                  <c:v>5.0199564038371456</c:v>
                </c:pt>
                <c:pt idx="4605">
                  <c:v>5.1691764369507229</c:v>
                </c:pt>
                <c:pt idx="4606">
                  <c:v>5.9928654747266972</c:v>
                </c:pt>
                <c:pt idx="4607">
                  <c:v>5.8746758431497001</c:v>
                </c:pt>
                <c:pt idx="4608">
                  <c:v>5.0793304119615961</c:v>
                </c:pt>
                <c:pt idx="4609">
                  <c:v>5.1237183592559115</c:v>
                </c:pt>
                <c:pt idx="4610">
                  <c:v>6.1280023990113799</c:v>
                </c:pt>
                <c:pt idx="4611">
                  <c:v>4.980121093578024</c:v>
                </c:pt>
                <c:pt idx="4612">
                  <c:v>5.1359763769404267</c:v>
                </c:pt>
                <c:pt idx="4613">
                  <c:v>5.9421002660233802</c:v>
                </c:pt>
                <c:pt idx="4614">
                  <c:v>4.0568202330497041</c:v>
                </c:pt>
                <c:pt idx="4615">
                  <c:v>4.9219049874494889</c:v>
                </c:pt>
                <c:pt idx="4616">
                  <c:v>6.9219899068676627</c:v>
                </c:pt>
                <c:pt idx="4617">
                  <c:v>4.8331351931009969</c:v>
                </c:pt>
                <c:pt idx="4618">
                  <c:v>5.9728077093664327</c:v>
                </c:pt>
                <c:pt idx="4619">
                  <c:v>5.0730273272765745</c:v>
                </c:pt>
                <c:pt idx="4620">
                  <c:v>6.0236869179455219</c:v>
                </c:pt>
                <c:pt idx="4621">
                  <c:v>5.9576154780920989</c:v>
                </c:pt>
                <c:pt idx="4622">
                  <c:v>4.8464307234825919</c:v>
                </c:pt>
                <c:pt idx="4623">
                  <c:v>3.0110575929625925</c:v>
                </c:pt>
                <c:pt idx="4624">
                  <c:v>5.9811174289779583</c:v>
                </c:pt>
                <c:pt idx="4625">
                  <c:v>4.0738400176168348</c:v>
                </c:pt>
                <c:pt idx="4626">
                  <c:v>4.854928344764323</c:v>
                </c:pt>
                <c:pt idx="4627">
                  <c:v>5.9395235392996142</c:v>
                </c:pt>
                <c:pt idx="4628">
                  <c:v>4.9014850426133707</c:v>
                </c:pt>
                <c:pt idx="4629">
                  <c:v>5.9023397088334892</c:v>
                </c:pt>
                <c:pt idx="4630">
                  <c:v>4.8599079497575586</c:v>
                </c:pt>
                <c:pt idx="4631">
                  <c:v>6.9588969874991786</c:v>
                </c:pt>
                <c:pt idx="4632">
                  <c:v>5.8137044025651701</c:v>
                </c:pt>
                <c:pt idx="4633">
                  <c:v>4.9359612637557317</c:v>
                </c:pt>
                <c:pt idx="4634">
                  <c:v>6.2847222764694051</c:v>
                </c:pt>
                <c:pt idx="4635">
                  <c:v>5.0626881218107922</c:v>
                </c:pt>
                <c:pt idx="4636">
                  <c:v>4.9634689959066689</c:v>
                </c:pt>
                <c:pt idx="4637">
                  <c:v>4.936990020073214</c:v>
                </c:pt>
                <c:pt idx="4638">
                  <c:v>5.9955514483111854</c:v>
                </c:pt>
                <c:pt idx="4639">
                  <c:v>5.0074125615470937</c:v>
                </c:pt>
                <c:pt idx="4640">
                  <c:v>6.0010511430357614</c:v>
                </c:pt>
                <c:pt idx="4641">
                  <c:v>5.0889404889736713</c:v>
                </c:pt>
                <c:pt idx="4642">
                  <c:v>6.0593206534830797</c:v>
                </c:pt>
                <c:pt idx="4643">
                  <c:v>4.1645748833277167</c:v>
                </c:pt>
                <c:pt idx="4644">
                  <c:v>5.0909997789237993</c:v>
                </c:pt>
                <c:pt idx="4645">
                  <c:v>6.9880138910765375</c:v>
                </c:pt>
                <c:pt idx="4646">
                  <c:v>4.9886475149356437</c:v>
                </c:pt>
                <c:pt idx="4647">
                  <c:v>6.0535168137853548</c:v>
                </c:pt>
                <c:pt idx="4648">
                  <c:v>4.8478871800368006</c:v>
                </c:pt>
                <c:pt idx="4649">
                  <c:v>6.0982912252267667</c:v>
                </c:pt>
                <c:pt idx="4650">
                  <c:v>4.9928799256021819</c:v>
                </c:pt>
                <c:pt idx="4651">
                  <c:v>5.2245651613534374</c:v>
                </c:pt>
                <c:pt idx="4652">
                  <c:v>5.9102384967185655</c:v>
                </c:pt>
                <c:pt idx="4653">
                  <c:v>5.0223789104958554</c:v>
                </c:pt>
                <c:pt idx="4654">
                  <c:v>6.0179770103728174</c:v>
                </c:pt>
                <c:pt idx="4655">
                  <c:v>5.9482324538323956</c:v>
                </c:pt>
                <c:pt idx="4656">
                  <c:v>5.7221088186205931</c:v>
                </c:pt>
                <c:pt idx="4657">
                  <c:v>4.946169038565964</c:v>
                </c:pt>
                <c:pt idx="4658">
                  <c:v>6.1907812342596671</c:v>
                </c:pt>
                <c:pt idx="4659">
                  <c:v>5.86206287327522</c:v>
                </c:pt>
                <c:pt idx="4660">
                  <c:v>5.8660867406517578</c:v>
                </c:pt>
                <c:pt idx="4661">
                  <c:v>5.0071824052265876</c:v>
                </c:pt>
                <c:pt idx="4662">
                  <c:v>4.9386816694086466</c:v>
                </c:pt>
                <c:pt idx="4663">
                  <c:v>5.9584715519688531</c:v>
                </c:pt>
                <c:pt idx="4664">
                  <c:v>5.1125991154836363</c:v>
                </c:pt>
                <c:pt idx="4665">
                  <c:v>5.0620171906644869</c:v>
                </c:pt>
                <c:pt idx="4666">
                  <c:v>3.8726031027464005</c:v>
                </c:pt>
                <c:pt idx="4667">
                  <c:v>5.0502714614475579</c:v>
                </c:pt>
                <c:pt idx="4668">
                  <c:v>6.0166263464269099</c:v>
                </c:pt>
                <c:pt idx="4669">
                  <c:v>5.00740398222921</c:v>
                </c:pt>
                <c:pt idx="4670">
                  <c:v>5.9413075472996431</c:v>
                </c:pt>
                <c:pt idx="4671">
                  <c:v>5.1975433876780608</c:v>
                </c:pt>
                <c:pt idx="4672">
                  <c:v>4.9294244920811492</c:v>
                </c:pt>
                <c:pt idx="4673">
                  <c:v>5.0067538575047807</c:v>
                </c:pt>
                <c:pt idx="4674">
                  <c:v>5.1105928571888857</c:v>
                </c:pt>
                <c:pt idx="4675">
                  <c:v>4.9227790802864444</c:v>
                </c:pt>
                <c:pt idx="4676">
                  <c:v>5.9837018815140537</c:v>
                </c:pt>
                <c:pt idx="4677">
                  <c:v>5.0303525830906128</c:v>
                </c:pt>
                <c:pt idx="4678">
                  <c:v>3.9727834138912965</c:v>
                </c:pt>
                <c:pt idx="4679">
                  <c:v>5.9242104339880326</c:v>
                </c:pt>
                <c:pt idx="4680">
                  <c:v>6.0105578472990455</c:v>
                </c:pt>
                <c:pt idx="4681">
                  <c:v>5.0492063192211685</c:v>
                </c:pt>
                <c:pt idx="4682">
                  <c:v>5.2038856879952027</c:v>
                </c:pt>
                <c:pt idx="4683">
                  <c:v>5.9605456443695966</c:v>
                </c:pt>
                <c:pt idx="4684">
                  <c:v>4.9428684728245385</c:v>
                </c:pt>
                <c:pt idx="4685">
                  <c:v>3.0811602771966777</c:v>
                </c:pt>
                <c:pt idx="4686">
                  <c:v>6.0351829367525065</c:v>
                </c:pt>
                <c:pt idx="4687">
                  <c:v>6.0136874442667745</c:v>
                </c:pt>
                <c:pt idx="4688">
                  <c:v>6.1429133408066736</c:v>
                </c:pt>
                <c:pt idx="4689">
                  <c:v>5.1674659902726647</c:v>
                </c:pt>
                <c:pt idx="4690">
                  <c:v>4.9158169486236361</c:v>
                </c:pt>
                <c:pt idx="4691">
                  <c:v>4.8999250701619133</c:v>
                </c:pt>
                <c:pt idx="4692">
                  <c:v>4.9534093227008835</c:v>
                </c:pt>
                <c:pt idx="4693">
                  <c:v>5.1071241627696118</c:v>
                </c:pt>
                <c:pt idx="4694">
                  <c:v>5.957720991842006</c:v>
                </c:pt>
                <c:pt idx="4695">
                  <c:v>4.1689103303500268</c:v>
                </c:pt>
                <c:pt idx="4696">
                  <c:v>5.7763883763692929</c:v>
                </c:pt>
                <c:pt idx="4697">
                  <c:v>6.005713730581876</c:v>
                </c:pt>
                <c:pt idx="4698">
                  <c:v>4.8507894248103769</c:v>
                </c:pt>
                <c:pt idx="4699">
                  <c:v>5.9605946573665447</c:v>
                </c:pt>
                <c:pt idx="4700">
                  <c:v>4.9745090588320293</c:v>
                </c:pt>
                <c:pt idx="4701">
                  <c:v>6.9759337085575321</c:v>
                </c:pt>
                <c:pt idx="4702">
                  <c:v>6.0272048168660337</c:v>
                </c:pt>
                <c:pt idx="4703">
                  <c:v>5.0780500683854131</c:v>
                </c:pt>
                <c:pt idx="4704">
                  <c:v>6.1873053487627327</c:v>
                </c:pt>
                <c:pt idx="4705">
                  <c:v>5.208483905370203</c:v>
                </c:pt>
                <c:pt idx="4706">
                  <c:v>5.1403915376455007</c:v>
                </c:pt>
                <c:pt idx="4707">
                  <c:v>5.0058090608652028</c:v>
                </c:pt>
                <c:pt idx="4708">
                  <c:v>4.925937340706926</c:v>
                </c:pt>
                <c:pt idx="4709">
                  <c:v>5.0038093236502101</c:v>
                </c:pt>
                <c:pt idx="4710">
                  <c:v>5.9110881702251676</c:v>
                </c:pt>
                <c:pt idx="4711">
                  <c:v>6.0399095640432208</c:v>
                </c:pt>
                <c:pt idx="4712">
                  <c:v>6.1451389695570686</c:v>
                </c:pt>
                <c:pt idx="4713">
                  <c:v>4.9448249004691123</c:v>
                </c:pt>
                <c:pt idx="4714">
                  <c:v>4.8313390700757992</c:v>
                </c:pt>
                <c:pt idx="4715">
                  <c:v>6.1184682849374141</c:v>
                </c:pt>
                <c:pt idx="4716">
                  <c:v>4.996375700659387</c:v>
                </c:pt>
                <c:pt idx="4717">
                  <c:v>6.047906694808999</c:v>
                </c:pt>
                <c:pt idx="4718">
                  <c:v>6.9925683284645173</c:v>
                </c:pt>
                <c:pt idx="4719">
                  <c:v>5.0969773405965908</c:v>
                </c:pt>
                <c:pt idx="4720">
                  <c:v>6.0064270067018013</c:v>
                </c:pt>
                <c:pt idx="4721">
                  <c:v>2.0475776868443525</c:v>
                </c:pt>
                <c:pt idx="4722">
                  <c:v>4.8396510018065015</c:v>
                </c:pt>
                <c:pt idx="4723">
                  <c:v>4.8740592625883759</c:v>
                </c:pt>
                <c:pt idx="4724">
                  <c:v>5.0290092329852891</c:v>
                </c:pt>
                <c:pt idx="4725">
                  <c:v>5.1615250367175438</c:v>
                </c:pt>
                <c:pt idx="4726">
                  <c:v>5.9916626300226712</c:v>
                </c:pt>
                <c:pt idx="4727">
                  <c:v>4.9707454800195245</c:v>
                </c:pt>
                <c:pt idx="4728">
                  <c:v>6.0089695576348632</c:v>
                </c:pt>
                <c:pt idx="4729">
                  <c:v>4.9806054014602816</c:v>
                </c:pt>
                <c:pt idx="4730">
                  <c:v>4.9558184884529171</c:v>
                </c:pt>
                <c:pt idx="4731">
                  <c:v>5.9056571577269832</c:v>
                </c:pt>
                <c:pt idx="4732">
                  <c:v>6.0108119337735513</c:v>
                </c:pt>
                <c:pt idx="4733">
                  <c:v>5.0155706370113124</c:v>
                </c:pt>
                <c:pt idx="4734">
                  <c:v>4.9947503314879924</c:v>
                </c:pt>
                <c:pt idx="4735">
                  <c:v>5.1289621075152247</c:v>
                </c:pt>
                <c:pt idx="4736">
                  <c:v>4.9533964504686265</c:v>
                </c:pt>
                <c:pt idx="4737">
                  <c:v>6.0462178867833645</c:v>
                </c:pt>
                <c:pt idx="4738">
                  <c:v>5.051507524139792</c:v>
                </c:pt>
                <c:pt idx="4739">
                  <c:v>5.8642773976933738</c:v>
                </c:pt>
                <c:pt idx="4740">
                  <c:v>4.9330773042958347</c:v>
                </c:pt>
                <c:pt idx="4741">
                  <c:v>5.0244158398450525</c:v>
                </c:pt>
                <c:pt idx="4742">
                  <c:v>5.0984287129727477</c:v>
                </c:pt>
                <c:pt idx="4743">
                  <c:v>5.8384210205342315</c:v>
                </c:pt>
                <c:pt idx="4744">
                  <c:v>5.8615906020423481</c:v>
                </c:pt>
                <c:pt idx="4745">
                  <c:v>6.0374410001208663</c:v>
                </c:pt>
                <c:pt idx="4746">
                  <c:v>7.1364037111289838</c:v>
                </c:pt>
                <c:pt idx="4747">
                  <c:v>5.9919810913090412</c:v>
                </c:pt>
                <c:pt idx="4748">
                  <c:v>4.9347636033798778</c:v>
                </c:pt>
                <c:pt idx="4749">
                  <c:v>5.0830996821375392</c:v>
                </c:pt>
                <c:pt idx="4750">
                  <c:v>5.900668594061802</c:v>
                </c:pt>
                <c:pt idx="4751">
                  <c:v>4.8629749816425933</c:v>
                </c:pt>
                <c:pt idx="4752">
                  <c:v>5.9073664105909733</c:v>
                </c:pt>
                <c:pt idx="4753">
                  <c:v>5.8537629302954262</c:v>
                </c:pt>
                <c:pt idx="4754">
                  <c:v>6.8574031011177574</c:v>
                </c:pt>
                <c:pt idx="4755">
                  <c:v>7.092771796918993</c:v>
                </c:pt>
                <c:pt idx="4756">
                  <c:v>6.0495965985140305</c:v>
                </c:pt>
                <c:pt idx="4757">
                  <c:v>4.9008683416815835</c:v>
                </c:pt>
                <c:pt idx="4758">
                  <c:v>4.9598487157606517</c:v>
                </c:pt>
                <c:pt idx="4759">
                  <c:v>3.7861809160641506</c:v>
                </c:pt>
                <c:pt idx="4760">
                  <c:v>6.0256618829814386</c:v>
                </c:pt>
                <c:pt idx="4761">
                  <c:v>5.0644875653213122</c:v>
                </c:pt>
                <c:pt idx="4762">
                  <c:v>6.012229577066754</c:v>
                </c:pt>
                <c:pt idx="4763">
                  <c:v>5.1328074250676421</c:v>
                </c:pt>
                <c:pt idx="4764">
                  <c:v>5.993710458233509</c:v>
                </c:pt>
                <c:pt idx="4765">
                  <c:v>4.8514313468405215</c:v>
                </c:pt>
                <c:pt idx="4766">
                  <c:v>5.0795531544485959</c:v>
                </c:pt>
                <c:pt idx="4767">
                  <c:v>5.0341446680279569</c:v>
                </c:pt>
                <c:pt idx="4768">
                  <c:v>6.0112551174021185</c:v>
                </c:pt>
                <c:pt idx="4769">
                  <c:v>4.0383262059962313</c:v>
                </c:pt>
                <c:pt idx="4770">
                  <c:v>5.0837051383424718</c:v>
                </c:pt>
                <c:pt idx="4771">
                  <c:v>5.0504669423152366</c:v>
                </c:pt>
                <c:pt idx="4772">
                  <c:v>6.0203919433822568</c:v>
                </c:pt>
                <c:pt idx="4773">
                  <c:v>4.8696205840388744</c:v>
                </c:pt>
                <c:pt idx="4774">
                  <c:v>5.0992339149013963</c:v>
                </c:pt>
                <c:pt idx="4775">
                  <c:v>4.9934673103307698</c:v>
                </c:pt>
                <c:pt idx="4776">
                  <c:v>6.1584809304570447</c:v>
                </c:pt>
                <c:pt idx="4777">
                  <c:v>4.0894269516043371</c:v>
                </c:pt>
                <c:pt idx="4778">
                  <c:v>5.7542040723655017</c:v>
                </c:pt>
                <c:pt idx="4779">
                  <c:v>5.0635067294713476</c:v>
                </c:pt>
                <c:pt idx="4780">
                  <c:v>6.1019530721723942</c:v>
                </c:pt>
                <c:pt idx="4781">
                  <c:v>5.0747307473693652</c:v>
                </c:pt>
                <c:pt idx="4782">
                  <c:v>6.1325091321199245</c:v>
                </c:pt>
                <c:pt idx="4783">
                  <c:v>5.035227318218074</c:v>
                </c:pt>
                <c:pt idx="4784">
                  <c:v>5.0357162727225724</c:v>
                </c:pt>
                <c:pt idx="4785">
                  <c:v>5.926202696498617</c:v>
                </c:pt>
                <c:pt idx="4786">
                  <c:v>5.0888707649002889</c:v>
                </c:pt>
                <c:pt idx="4787">
                  <c:v>6.1236918325638259</c:v>
                </c:pt>
                <c:pt idx="4788">
                  <c:v>4.9585743626078012</c:v>
                </c:pt>
                <c:pt idx="4789">
                  <c:v>5.8291905169799154</c:v>
                </c:pt>
                <c:pt idx="4790">
                  <c:v>5.0253042219640411</c:v>
                </c:pt>
                <c:pt idx="4791">
                  <c:v>5.9918087903918824</c:v>
                </c:pt>
                <c:pt idx="4792">
                  <c:v>6.1004807913363912</c:v>
                </c:pt>
                <c:pt idx="4793">
                  <c:v>4.8820337496144397</c:v>
                </c:pt>
                <c:pt idx="4794">
                  <c:v>5.0004818939615987</c:v>
                </c:pt>
                <c:pt idx="4795">
                  <c:v>6.0279798075412323</c:v>
                </c:pt>
                <c:pt idx="4796">
                  <c:v>4.1109272980030758</c:v>
                </c:pt>
                <c:pt idx="4797">
                  <c:v>5.1376517558276262</c:v>
                </c:pt>
                <c:pt idx="4798">
                  <c:v>4.9656861325245503</c:v>
                </c:pt>
                <c:pt idx="4799">
                  <c:v>6.0912765934629176</c:v>
                </c:pt>
                <c:pt idx="4800">
                  <c:v>5.1642615972629144</c:v>
                </c:pt>
                <c:pt idx="4801">
                  <c:v>5.010605236929436</c:v>
                </c:pt>
                <c:pt idx="4802">
                  <c:v>6.8849882585484439</c:v>
                </c:pt>
                <c:pt idx="4803">
                  <c:v>5.0683277954346613</c:v>
                </c:pt>
                <c:pt idx="4804">
                  <c:v>7.0807544300094687</c:v>
                </c:pt>
                <c:pt idx="4805">
                  <c:v>4.9473988727117941</c:v>
                </c:pt>
                <c:pt idx="4806">
                  <c:v>5.8126281835279121</c:v>
                </c:pt>
                <c:pt idx="4807">
                  <c:v>6.0593120034743482</c:v>
                </c:pt>
                <c:pt idx="4808">
                  <c:v>6.0922978649314823</c:v>
                </c:pt>
                <c:pt idx="4809">
                  <c:v>5.9932182020721418</c:v>
                </c:pt>
                <c:pt idx="4810">
                  <c:v>5.8961017114685932</c:v>
                </c:pt>
                <c:pt idx="4811">
                  <c:v>6.0036234149991907</c:v>
                </c:pt>
                <c:pt idx="4812">
                  <c:v>4.8918649980115623</c:v>
                </c:pt>
                <c:pt idx="4813">
                  <c:v>6.1050978726517178</c:v>
                </c:pt>
                <c:pt idx="4814">
                  <c:v>5.8632239855899755</c:v>
                </c:pt>
                <c:pt idx="4815">
                  <c:v>5.9033319678345801</c:v>
                </c:pt>
                <c:pt idx="4816">
                  <c:v>5.9601331027517102</c:v>
                </c:pt>
                <c:pt idx="4817">
                  <c:v>4.9117036655531594</c:v>
                </c:pt>
                <c:pt idx="4818">
                  <c:v>4.9690165154601837</c:v>
                </c:pt>
                <c:pt idx="4819">
                  <c:v>5.0769355722684493</c:v>
                </c:pt>
                <c:pt idx="4820">
                  <c:v>7.0485868540482262</c:v>
                </c:pt>
                <c:pt idx="4821">
                  <c:v>7.0012667835904123</c:v>
                </c:pt>
                <c:pt idx="4822">
                  <c:v>5.1107516391469821</c:v>
                </c:pt>
                <c:pt idx="4823">
                  <c:v>5.04740438577414</c:v>
                </c:pt>
                <c:pt idx="4824">
                  <c:v>5.9310505286108244</c:v>
                </c:pt>
                <c:pt idx="4825">
                  <c:v>4.8688383240798636</c:v>
                </c:pt>
                <c:pt idx="4826">
                  <c:v>5.0054591697999644</c:v>
                </c:pt>
                <c:pt idx="4827">
                  <c:v>6.28325372009588</c:v>
                </c:pt>
                <c:pt idx="4828">
                  <c:v>6.0168807864841733</c:v>
                </c:pt>
                <c:pt idx="4829">
                  <c:v>4.9150170005060989</c:v>
                </c:pt>
                <c:pt idx="4830">
                  <c:v>6.0513444254888089</c:v>
                </c:pt>
                <c:pt idx="4831">
                  <c:v>4.9108347975771114</c:v>
                </c:pt>
                <c:pt idx="4832">
                  <c:v>5.9023781379923292</c:v>
                </c:pt>
                <c:pt idx="4833">
                  <c:v>5.0682401169138283</c:v>
                </c:pt>
                <c:pt idx="4834">
                  <c:v>5.9431380264515896</c:v>
                </c:pt>
                <c:pt idx="4835">
                  <c:v>5.9541327708482887</c:v>
                </c:pt>
                <c:pt idx="4836">
                  <c:v>4.0403295810831494</c:v>
                </c:pt>
                <c:pt idx="4837">
                  <c:v>5.0940779609305471</c:v>
                </c:pt>
                <c:pt idx="4838">
                  <c:v>4.9810082621649689</c:v>
                </c:pt>
                <c:pt idx="4839">
                  <c:v>4.9403917588098594</c:v>
                </c:pt>
                <c:pt idx="4840">
                  <c:v>5.9254167714328823</c:v>
                </c:pt>
                <c:pt idx="4841">
                  <c:v>5.0221656742596705</c:v>
                </c:pt>
                <c:pt idx="4842">
                  <c:v>5.9471181657269643</c:v>
                </c:pt>
                <c:pt idx="4843">
                  <c:v>5.2367064022204994</c:v>
                </c:pt>
                <c:pt idx="4844">
                  <c:v>5.9044433608778757</c:v>
                </c:pt>
                <c:pt idx="4845">
                  <c:v>5.0080030047203987</c:v>
                </c:pt>
                <c:pt idx="4846">
                  <c:v>7.0050933976671201</c:v>
                </c:pt>
                <c:pt idx="4847">
                  <c:v>3.8090424766872872</c:v>
                </c:pt>
                <c:pt idx="4848">
                  <c:v>3.8925906431000445</c:v>
                </c:pt>
                <c:pt idx="4849">
                  <c:v>3.9132672098840127</c:v>
                </c:pt>
                <c:pt idx="4850">
                  <c:v>3.9600078963142744</c:v>
                </c:pt>
                <c:pt idx="4851">
                  <c:v>3.9395082333853799</c:v>
                </c:pt>
                <c:pt idx="4852">
                  <c:v>4.1855695969566034</c:v>
                </c:pt>
                <c:pt idx="4853">
                  <c:v>4.0238897920135184</c:v>
                </c:pt>
                <c:pt idx="4854">
                  <c:v>4.1544836135091243</c:v>
                </c:pt>
                <c:pt idx="4855">
                  <c:v>4.0947245036027704</c:v>
                </c:pt>
                <c:pt idx="4856">
                  <c:v>3.8550364527655527</c:v>
                </c:pt>
                <c:pt idx="4857">
                  <c:v>5.8396633617012217</c:v>
                </c:pt>
                <c:pt idx="4858">
                  <c:v>4.9327396343613303</c:v>
                </c:pt>
                <c:pt idx="4859">
                  <c:v>5.008399117092484</c:v>
                </c:pt>
                <c:pt idx="4860">
                  <c:v>4.9081039637646811</c:v>
                </c:pt>
                <c:pt idx="4861">
                  <c:v>4.8234567092316736</c:v>
                </c:pt>
                <c:pt idx="4862">
                  <c:v>5.8497366048149955</c:v>
                </c:pt>
                <c:pt idx="4863">
                  <c:v>6.001339654508044</c:v>
                </c:pt>
                <c:pt idx="4864">
                  <c:v>5.0370171831695485</c:v>
                </c:pt>
                <c:pt idx="4865">
                  <c:v>4.9002890040985765</c:v>
                </c:pt>
                <c:pt idx="4866">
                  <c:v>4.9105248389943981</c:v>
                </c:pt>
                <c:pt idx="4867">
                  <c:v>5.8857774089816584</c:v>
                </c:pt>
                <c:pt idx="4868">
                  <c:v>7.0460948818630555</c:v>
                </c:pt>
                <c:pt idx="4869">
                  <c:v>4.9098175988800072</c:v>
                </c:pt>
                <c:pt idx="4870">
                  <c:v>4.9491891116039817</c:v>
                </c:pt>
                <c:pt idx="4871">
                  <c:v>5.99276709975803</c:v>
                </c:pt>
                <c:pt idx="4872">
                  <c:v>5.9384142823992025</c:v>
                </c:pt>
                <c:pt idx="4873">
                  <c:v>5.8542995259491697</c:v>
                </c:pt>
                <c:pt idx="4874">
                  <c:v>4.9104007136908274</c:v>
                </c:pt>
                <c:pt idx="4875">
                  <c:v>5.06725413078461</c:v>
                </c:pt>
                <c:pt idx="4876">
                  <c:v>6.1615771142154117</c:v>
                </c:pt>
                <c:pt idx="4877">
                  <c:v>4.9581963758894876</c:v>
                </c:pt>
                <c:pt idx="4878">
                  <c:v>4.8051001117007077</c:v>
                </c:pt>
                <c:pt idx="4879">
                  <c:v>4.6814781603275675</c:v>
                </c:pt>
                <c:pt idx="4880">
                  <c:v>3.9400223252959083</c:v>
                </c:pt>
                <c:pt idx="4881">
                  <c:v>6.0112289369128522</c:v>
                </c:pt>
                <c:pt idx="4882">
                  <c:v>4.9418282779829061</c:v>
                </c:pt>
                <c:pt idx="4883">
                  <c:v>5.924999531479556</c:v>
                </c:pt>
                <c:pt idx="4884">
                  <c:v>4.9562258806367465</c:v>
                </c:pt>
                <c:pt idx="4885">
                  <c:v>4.9297455245148534</c:v>
                </c:pt>
                <c:pt idx="4886">
                  <c:v>4.981233315175138</c:v>
                </c:pt>
                <c:pt idx="4887">
                  <c:v>3.9940940159272791</c:v>
                </c:pt>
                <c:pt idx="4888">
                  <c:v>5.8854029799368046</c:v>
                </c:pt>
                <c:pt idx="4889">
                  <c:v>6.0257172076340151</c:v>
                </c:pt>
                <c:pt idx="4890">
                  <c:v>4.8575668806564662</c:v>
                </c:pt>
                <c:pt idx="4891">
                  <c:v>4.9323326226265118</c:v>
                </c:pt>
                <c:pt idx="4892">
                  <c:v>4.9986312443085268</c:v>
                </c:pt>
                <c:pt idx="4893">
                  <c:v>5.2053249422406473</c:v>
                </c:pt>
                <c:pt idx="4894">
                  <c:v>5.9029036172151956</c:v>
                </c:pt>
                <c:pt idx="4895">
                  <c:v>4.8566413436828437</c:v>
                </c:pt>
                <c:pt idx="4896">
                  <c:v>5.098620213188287</c:v>
                </c:pt>
                <c:pt idx="4897">
                  <c:v>5.0206033545961581</c:v>
                </c:pt>
                <c:pt idx="4898">
                  <c:v>5.1117301155809809</c:v>
                </c:pt>
                <c:pt idx="4899">
                  <c:v>4.8761867520321962</c:v>
                </c:pt>
                <c:pt idx="4900">
                  <c:v>4.8940190605800371</c:v>
                </c:pt>
                <c:pt idx="4901">
                  <c:v>4.9517803624183268</c:v>
                </c:pt>
                <c:pt idx="4902">
                  <c:v>4.9971737917251691</c:v>
                </c:pt>
                <c:pt idx="4903">
                  <c:v>5.775671886986018</c:v>
                </c:pt>
                <c:pt idx="4904">
                  <c:v>5.0274182625618362</c:v>
                </c:pt>
                <c:pt idx="4905">
                  <c:v>5.2409062729559199</c:v>
                </c:pt>
                <c:pt idx="4906">
                  <c:v>7.1203772052773342</c:v>
                </c:pt>
                <c:pt idx="4907">
                  <c:v>7.1618207681544508</c:v>
                </c:pt>
                <c:pt idx="4908">
                  <c:v>5.0890874236356272</c:v>
                </c:pt>
                <c:pt idx="4909">
                  <c:v>5.1359917239546524</c:v>
                </c:pt>
                <c:pt idx="4910">
                  <c:v>6.8776437409297735</c:v>
                </c:pt>
                <c:pt idx="4911">
                  <c:v>5.0026620012758727</c:v>
                </c:pt>
                <c:pt idx="4912">
                  <c:v>6.8501098035981594</c:v>
                </c:pt>
                <c:pt idx="4913">
                  <c:v>6.9825881821777473</c:v>
                </c:pt>
                <c:pt idx="4914">
                  <c:v>4.9961147468467537</c:v>
                </c:pt>
                <c:pt idx="4915">
                  <c:v>5.1360971367484574</c:v>
                </c:pt>
                <c:pt idx="4916">
                  <c:v>7.0021881082186015</c:v>
                </c:pt>
                <c:pt idx="4917">
                  <c:v>7.1239904485459675</c:v>
                </c:pt>
                <c:pt idx="4918">
                  <c:v>5.1867291500258679</c:v>
                </c:pt>
                <c:pt idx="4919">
                  <c:v>7.0846459922260054</c:v>
                </c:pt>
                <c:pt idx="4920">
                  <c:v>6.9733899891254154</c:v>
                </c:pt>
                <c:pt idx="4921">
                  <c:v>7.1069277447918626</c:v>
                </c:pt>
                <c:pt idx="4922">
                  <c:v>4.9544045749616616</c:v>
                </c:pt>
                <c:pt idx="4923">
                  <c:v>6.9746170066564863</c:v>
                </c:pt>
                <c:pt idx="4924">
                  <c:v>4.8744403001346903</c:v>
                </c:pt>
                <c:pt idx="4925">
                  <c:v>7.1923735127019714</c:v>
                </c:pt>
                <c:pt idx="4926">
                  <c:v>4.9132486306401804</c:v>
                </c:pt>
                <c:pt idx="4927">
                  <c:v>5.0129196248476644</c:v>
                </c:pt>
                <c:pt idx="4928">
                  <c:v>5.0578194985364373</c:v>
                </c:pt>
                <c:pt idx="4929">
                  <c:v>7.0167338201798861</c:v>
                </c:pt>
                <c:pt idx="4930">
                  <c:v>6.1051710799684571</c:v>
                </c:pt>
                <c:pt idx="4931">
                  <c:v>5.0726431475399014</c:v>
                </c:pt>
                <c:pt idx="4932">
                  <c:v>6.1070785054559344</c:v>
                </c:pt>
                <c:pt idx="4933">
                  <c:v>6.1342247574966304</c:v>
                </c:pt>
                <c:pt idx="4934">
                  <c:v>6.0304875600014904</c:v>
                </c:pt>
                <c:pt idx="4935">
                  <c:v>5.9714237269532022</c:v>
                </c:pt>
                <c:pt idx="4936">
                  <c:v>5.9911766111256819</c:v>
                </c:pt>
                <c:pt idx="4937">
                  <c:v>6.068484098436806</c:v>
                </c:pt>
                <c:pt idx="4938">
                  <c:v>6.0440052511656139</c:v>
                </c:pt>
                <c:pt idx="4939">
                  <c:v>6.2484127562169967</c:v>
                </c:pt>
                <c:pt idx="4940">
                  <c:v>2.9956115445707994</c:v>
                </c:pt>
                <c:pt idx="4941">
                  <c:v>5.0490530030599023</c:v>
                </c:pt>
                <c:pt idx="4942">
                  <c:v>5.9214368591059605</c:v>
                </c:pt>
                <c:pt idx="4943">
                  <c:v>4.9829211504808564</c:v>
                </c:pt>
                <c:pt idx="4944">
                  <c:v>4.9733764254809643</c:v>
                </c:pt>
                <c:pt idx="4945">
                  <c:v>4.897401769793178</c:v>
                </c:pt>
                <c:pt idx="4946">
                  <c:v>6.0109331246191937</c:v>
                </c:pt>
                <c:pt idx="4947">
                  <c:v>4.9374987409347053</c:v>
                </c:pt>
                <c:pt idx="4948">
                  <c:v>4.8897929063285526</c:v>
                </c:pt>
                <c:pt idx="4949">
                  <c:v>5.9200144867667825</c:v>
                </c:pt>
                <c:pt idx="4950">
                  <c:v>4.9709230853889483</c:v>
                </c:pt>
                <c:pt idx="4951">
                  <c:v>6.0395322145610564</c:v>
                </c:pt>
                <c:pt idx="4952">
                  <c:v>5.947014749341915</c:v>
                </c:pt>
                <c:pt idx="4953">
                  <c:v>6.2108330150961528</c:v>
                </c:pt>
                <c:pt idx="4954">
                  <c:v>3.9363179513313145</c:v>
                </c:pt>
                <c:pt idx="4955">
                  <c:v>6.1521669055326944</c:v>
                </c:pt>
                <c:pt idx="4956">
                  <c:v>4.0556803931193848</c:v>
                </c:pt>
                <c:pt idx="4957">
                  <c:v>6.0331573368889009</c:v>
                </c:pt>
                <c:pt idx="4958">
                  <c:v>6.1096134591035147</c:v>
                </c:pt>
                <c:pt idx="4959">
                  <c:v>6.0520049687075375</c:v>
                </c:pt>
                <c:pt idx="4960">
                  <c:v>5.0602625019116303</c:v>
                </c:pt>
                <c:pt idx="4961">
                  <c:v>5.0449449309169978</c:v>
                </c:pt>
                <c:pt idx="4962">
                  <c:v>6.0783886969793626</c:v>
                </c:pt>
                <c:pt idx="4963">
                  <c:v>5.9480200200516222</c:v>
                </c:pt>
                <c:pt idx="4964">
                  <c:v>5.104176145375356</c:v>
                </c:pt>
                <c:pt idx="4965">
                  <c:v>4.9687570607046334</c:v>
                </c:pt>
                <c:pt idx="4966">
                  <c:v>5.1078203707442249</c:v>
                </c:pt>
                <c:pt idx="4967">
                  <c:v>6.1332995631905005</c:v>
                </c:pt>
                <c:pt idx="4968">
                  <c:v>5.0147712039340924</c:v>
                </c:pt>
                <c:pt idx="4969">
                  <c:v>7.1084734979424882</c:v>
                </c:pt>
                <c:pt idx="4970">
                  <c:v>5.9298224194350402</c:v>
                </c:pt>
                <c:pt idx="4971">
                  <c:v>6.04119553849746</c:v>
                </c:pt>
                <c:pt idx="4972">
                  <c:v>6.2047947795964413</c:v>
                </c:pt>
                <c:pt idx="4973">
                  <c:v>6.0668458325827146</c:v>
                </c:pt>
                <c:pt idx="4974">
                  <c:v>5.0480089822551957</c:v>
                </c:pt>
                <c:pt idx="4975">
                  <c:v>5.0069799528089742</c:v>
                </c:pt>
                <c:pt idx="4976">
                  <c:v>5.9178193222249105</c:v>
                </c:pt>
                <c:pt idx="4977">
                  <c:v>6.0687380368629302</c:v>
                </c:pt>
                <c:pt idx="4978">
                  <c:v>5.0196346800800331</c:v>
                </c:pt>
                <c:pt idx="4979">
                  <c:v>5.949392015025972</c:v>
                </c:pt>
                <c:pt idx="4980">
                  <c:v>6.0742287024083543</c:v>
                </c:pt>
                <c:pt idx="4981">
                  <c:v>6.0198111933180751</c:v>
                </c:pt>
                <c:pt idx="4982">
                  <c:v>4.9385315337034283</c:v>
                </c:pt>
                <c:pt idx="4983">
                  <c:v>6.0012190571661943</c:v>
                </c:pt>
                <c:pt idx="4984">
                  <c:v>5.0660141249195405</c:v>
                </c:pt>
                <c:pt idx="4985">
                  <c:v>6.0466642786930045</c:v>
                </c:pt>
                <c:pt idx="4986">
                  <c:v>5.8081879601445081</c:v>
                </c:pt>
                <c:pt idx="4987">
                  <c:v>5.7938534454397947</c:v>
                </c:pt>
                <c:pt idx="4988">
                  <c:v>6.1028960911498595</c:v>
                </c:pt>
                <c:pt idx="4989">
                  <c:v>5.993373595116636</c:v>
                </c:pt>
                <c:pt idx="4990">
                  <c:v>5.0818514243959072</c:v>
                </c:pt>
                <c:pt idx="4991">
                  <c:v>4.9407883843325529</c:v>
                </c:pt>
                <c:pt idx="4992">
                  <c:v>5.0404661019290504</c:v>
                </c:pt>
                <c:pt idx="4993">
                  <c:v>5.1084198280314439</c:v>
                </c:pt>
                <c:pt idx="4994">
                  <c:v>7.089676982685571</c:v>
                </c:pt>
                <c:pt idx="4995">
                  <c:v>6.1157804501538422</c:v>
                </c:pt>
                <c:pt idx="4996">
                  <c:v>4.9729840491265342</c:v>
                </c:pt>
                <c:pt idx="4997">
                  <c:v>5.134856975456116</c:v>
                </c:pt>
                <c:pt idx="4998">
                  <c:v>6.0119280802206045</c:v>
                </c:pt>
                <c:pt idx="4999">
                  <c:v>5.9910910414379366</c:v>
                </c:pt>
                <c:pt idx="5000">
                  <c:v>4.9545596400861305</c:v>
                </c:pt>
                <c:pt idx="5001">
                  <c:v>5.8651430845996551</c:v>
                </c:pt>
                <c:pt idx="5002">
                  <c:v>5.011249876337768</c:v>
                </c:pt>
                <c:pt idx="5003">
                  <c:v>6.0293446243366597</c:v>
                </c:pt>
                <c:pt idx="5004">
                  <c:v>5.9457184313325433</c:v>
                </c:pt>
                <c:pt idx="5005">
                  <c:v>5.0539993686834679</c:v>
                </c:pt>
                <c:pt idx="5006">
                  <c:v>4.9148020141253923</c:v>
                </c:pt>
                <c:pt idx="5007">
                  <c:v>6.9609395163065866</c:v>
                </c:pt>
                <c:pt idx="5008">
                  <c:v>6.0683318365021313</c:v>
                </c:pt>
                <c:pt idx="5009">
                  <c:v>5.0328386876135385</c:v>
                </c:pt>
                <c:pt idx="5010">
                  <c:v>6.0406635022997515</c:v>
                </c:pt>
                <c:pt idx="5011">
                  <c:v>6.0686979083783612</c:v>
                </c:pt>
                <c:pt idx="5012">
                  <c:v>6.0978993511118276</c:v>
                </c:pt>
                <c:pt idx="5013">
                  <c:v>3.8581762440208278</c:v>
                </c:pt>
                <c:pt idx="5014">
                  <c:v>5.9120115930726493</c:v>
                </c:pt>
                <c:pt idx="5015">
                  <c:v>5.9308429031283074</c:v>
                </c:pt>
                <c:pt idx="5016">
                  <c:v>5.0792510042345649</c:v>
                </c:pt>
                <c:pt idx="5017">
                  <c:v>6.0269228920082432</c:v>
                </c:pt>
                <c:pt idx="5018">
                  <c:v>5.0303823191177708</c:v>
                </c:pt>
                <c:pt idx="5019">
                  <c:v>4.9524370794350334</c:v>
                </c:pt>
                <c:pt idx="5020">
                  <c:v>6.071143199162246</c:v>
                </c:pt>
                <c:pt idx="5021">
                  <c:v>5.0468022959247358</c:v>
                </c:pt>
                <c:pt idx="5022">
                  <c:v>6.1811779681666223</c:v>
                </c:pt>
                <c:pt idx="5023">
                  <c:v>5.8653496159212102</c:v>
                </c:pt>
                <c:pt idx="5024">
                  <c:v>6.1298602470861905</c:v>
                </c:pt>
                <c:pt idx="5025">
                  <c:v>5.9850013650620912</c:v>
                </c:pt>
                <c:pt idx="5026">
                  <c:v>4.8465764400374791</c:v>
                </c:pt>
                <c:pt idx="5027">
                  <c:v>5.9946633144354973</c:v>
                </c:pt>
                <c:pt idx="5028">
                  <c:v>6.0960435182371846</c:v>
                </c:pt>
                <c:pt idx="5029">
                  <c:v>5.9648964344176099</c:v>
                </c:pt>
                <c:pt idx="5030">
                  <c:v>6.1116378857966982</c:v>
                </c:pt>
                <c:pt idx="5031">
                  <c:v>5.7070466395653714</c:v>
                </c:pt>
                <c:pt idx="5032">
                  <c:v>5.0199486436171279</c:v>
                </c:pt>
                <c:pt idx="5033">
                  <c:v>6.0786226353268278</c:v>
                </c:pt>
                <c:pt idx="5034">
                  <c:v>4.009445693148578</c:v>
                </c:pt>
                <c:pt idx="5035">
                  <c:v>5.9587795546441003</c:v>
                </c:pt>
                <c:pt idx="5036">
                  <c:v>5.9926271602356573</c:v>
                </c:pt>
                <c:pt idx="5037">
                  <c:v>6.0055593097644051</c:v>
                </c:pt>
                <c:pt idx="5038">
                  <c:v>6.2457191284954838</c:v>
                </c:pt>
                <c:pt idx="5039">
                  <c:v>5.922775525645136</c:v>
                </c:pt>
                <c:pt idx="5040">
                  <c:v>6.029530543759428</c:v>
                </c:pt>
                <c:pt idx="5041">
                  <c:v>5.0353378471504575</c:v>
                </c:pt>
                <c:pt idx="5042">
                  <c:v>5.9767835657256203</c:v>
                </c:pt>
                <c:pt idx="5043">
                  <c:v>5.9687695921866153</c:v>
                </c:pt>
                <c:pt idx="5044">
                  <c:v>5.9586945790745149</c:v>
                </c:pt>
                <c:pt idx="5045">
                  <c:v>5.0254555914876082</c:v>
                </c:pt>
                <c:pt idx="5046">
                  <c:v>5.7995000735265085</c:v>
                </c:pt>
                <c:pt idx="5047">
                  <c:v>5.9671937138107385</c:v>
                </c:pt>
                <c:pt idx="5048">
                  <c:v>5.9448547825255025</c:v>
                </c:pt>
                <c:pt idx="5049">
                  <c:v>4.9743068558988623</c:v>
                </c:pt>
                <c:pt idx="5050">
                  <c:v>6.066651614989345</c:v>
                </c:pt>
                <c:pt idx="5051">
                  <c:v>6.2610251606965415</c:v>
                </c:pt>
                <c:pt idx="5052">
                  <c:v>5.9403433391045457</c:v>
                </c:pt>
                <c:pt idx="5053">
                  <c:v>5.9155208078203811</c:v>
                </c:pt>
                <c:pt idx="5054">
                  <c:v>5.0462245729909201</c:v>
                </c:pt>
                <c:pt idx="5055">
                  <c:v>6.0123482450790959</c:v>
                </c:pt>
                <c:pt idx="5056">
                  <c:v>6.1946960969361182</c:v>
                </c:pt>
                <c:pt idx="5057">
                  <c:v>5.9730915289890234</c:v>
                </c:pt>
                <c:pt idx="5058">
                  <c:v>5.1150625101268945</c:v>
                </c:pt>
                <c:pt idx="5059">
                  <c:v>7.1754260668771961</c:v>
                </c:pt>
                <c:pt idx="5060">
                  <c:v>6.1068579299054218</c:v>
                </c:pt>
                <c:pt idx="5061">
                  <c:v>6.0216116697679158</c:v>
                </c:pt>
                <c:pt idx="5062">
                  <c:v>4.9005411630220541</c:v>
                </c:pt>
                <c:pt idx="5063">
                  <c:v>6.0334805543666032</c:v>
                </c:pt>
                <c:pt idx="5064">
                  <c:v>5.0938395637805867</c:v>
                </c:pt>
                <c:pt idx="5065">
                  <c:v>6.1112638698907045</c:v>
                </c:pt>
                <c:pt idx="5066">
                  <c:v>4.9996037305463528</c:v>
                </c:pt>
                <c:pt idx="5067">
                  <c:v>6.0088612974706264</c:v>
                </c:pt>
                <c:pt idx="5068">
                  <c:v>4.9947612645633352</c:v>
                </c:pt>
                <c:pt idx="5069">
                  <c:v>5.0334258579452653</c:v>
                </c:pt>
                <c:pt idx="5070">
                  <c:v>5.0317866196551462</c:v>
                </c:pt>
                <c:pt idx="5071">
                  <c:v>6.0341280056389053</c:v>
                </c:pt>
                <c:pt idx="5072">
                  <c:v>5.782085709291902</c:v>
                </c:pt>
                <c:pt idx="5073">
                  <c:v>6.0380662051118517</c:v>
                </c:pt>
                <c:pt idx="5074">
                  <c:v>5.9017333770187363</c:v>
                </c:pt>
                <c:pt idx="5075">
                  <c:v>4.7898342506174068</c:v>
                </c:pt>
                <c:pt idx="5076">
                  <c:v>4.9269076348188428</c:v>
                </c:pt>
                <c:pt idx="5077">
                  <c:v>6.9914972096573651</c:v>
                </c:pt>
                <c:pt idx="5078">
                  <c:v>5.0703580237584243</c:v>
                </c:pt>
                <c:pt idx="5079">
                  <c:v>5.1292516040849723</c:v>
                </c:pt>
                <c:pt idx="5080">
                  <c:v>4.8931463077257726</c:v>
                </c:pt>
                <c:pt idx="5081">
                  <c:v>5.0818820922180343</c:v>
                </c:pt>
                <c:pt idx="5082">
                  <c:v>6.1042319836226859</c:v>
                </c:pt>
                <c:pt idx="5083">
                  <c:v>6.0199152458218368</c:v>
                </c:pt>
                <c:pt idx="5084">
                  <c:v>4.826656477689192</c:v>
                </c:pt>
                <c:pt idx="5085">
                  <c:v>6.066430630762575</c:v>
                </c:pt>
                <c:pt idx="5086">
                  <c:v>5.0549607683646585</c:v>
                </c:pt>
                <c:pt idx="5087">
                  <c:v>4.9733892749220061</c:v>
                </c:pt>
                <c:pt idx="5088">
                  <c:v>6.1117537063086322</c:v>
                </c:pt>
                <c:pt idx="5089">
                  <c:v>4.9472201249815333</c:v>
                </c:pt>
                <c:pt idx="5090">
                  <c:v>5.0460753986650797</c:v>
                </c:pt>
                <c:pt idx="5091">
                  <c:v>5.0239507649505892</c:v>
                </c:pt>
                <c:pt idx="5092">
                  <c:v>6.0274999741101247</c:v>
                </c:pt>
                <c:pt idx="5093">
                  <c:v>6.1300299513877334</c:v>
                </c:pt>
                <c:pt idx="5094">
                  <c:v>5.0412891553466554</c:v>
                </c:pt>
                <c:pt idx="5095">
                  <c:v>6.0170324833944857</c:v>
                </c:pt>
                <c:pt idx="5096">
                  <c:v>5.9939003122523369</c:v>
                </c:pt>
                <c:pt idx="5097">
                  <c:v>7.0038650806501082</c:v>
                </c:pt>
                <c:pt idx="5098">
                  <c:v>5.8632789037366502</c:v>
                </c:pt>
                <c:pt idx="5099">
                  <c:v>5.9917140309642267</c:v>
                </c:pt>
                <c:pt idx="5100">
                  <c:v>5.0473478290165072</c:v>
                </c:pt>
                <c:pt idx="5101">
                  <c:v>6.0162140464903375</c:v>
                </c:pt>
                <c:pt idx="5102">
                  <c:v>6.0933354576975551</c:v>
                </c:pt>
                <c:pt idx="5103">
                  <c:v>4.9466471957646236</c:v>
                </c:pt>
                <c:pt idx="5104">
                  <c:v>6.0465112260220586</c:v>
                </c:pt>
                <c:pt idx="5105">
                  <c:v>5.9079277538397061</c:v>
                </c:pt>
                <c:pt idx="5106">
                  <c:v>3.9538270615622149</c:v>
                </c:pt>
                <c:pt idx="5107">
                  <c:v>5.9896402068368753</c:v>
                </c:pt>
                <c:pt idx="5108">
                  <c:v>5.9387109424058302</c:v>
                </c:pt>
                <c:pt idx="5109">
                  <c:v>5.85248117319082</c:v>
                </c:pt>
                <c:pt idx="5110">
                  <c:v>6.1527771022023749</c:v>
                </c:pt>
                <c:pt idx="5111">
                  <c:v>4.8801254268958401</c:v>
                </c:pt>
                <c:pt idx="5112">
                  <c:v>5.0200356159610529</c:v>
                </c:pt>
                <c:pt idx="5113">
                  <c:v>5.0581672189762816</c:v>
                </c:pt>
                <c:pt idx="5114">
                  <c:v>4.8687698729552613</c:v>
                </c:pt>
                <c:pt idx="5115">
                  <c:v>5.999787971862216</c:v>
                </c:pt>
                <c:pt idx="5116">
                  <c:v>5.9160466342968299</c:v>
                </c:pt>
                <c:pt idx="5117">
                  <c:v>4.7989531038114208</c:v>
                </c:pt>
                <c:pt idx="5118">
                  <c:v>6.0926435833180976</c:v>
                </c:pt>
                <c:pt idx="5119">
                  <c:v>4.9012023563519449</c:v>
                </c:pt>
                <c:pt idx="5120">
                  <c:v>5.8204219973444404</c:v>
                </c:pt>
                <c:pt idx="5121">
                  <c:v>4.9347872419895626</c:v>
                </c:pt>
                <c:pt idx="5122">
                  <c:v>4.8896076492874823</c:v>
                </c:pt>
                <c:pt idx="5123">
                  <c:v>6.006675992768332</c:v>
                </c:pt>
                <c:pt idx="5124">
                  <c:v>4.9369853246413911</c:v>
                </c:pt>
                <c:pt idx="5125">
                  <c:v>6.1718535451091876</c:v>
                </c:pt>
                <c:pt idx="5126">
                  <c:v>6.0757232062572664</c:v>
                </c:pt>
                <c:pt idx="5127">
                  <c:v>4.9228744779434495</c:v>
                </c:pt>
                <c:pt idx="5128">
                  <c:v>6.0277164892246935</c:v>
                </c:pt>
                <c:pt idx="5129">
                  <c:v>5.664308165974016</c:v>
                </c:pt>
                <c:pt idx="5130">
                  <c:v>5.9989362063205451</c:v>
                </c:pt>
                <c:pt idx="5131">
                  <c:v>5.8866111097588014</c:v>
                </c:pt>
                <c:pt idx="5132">
                  <c:v>5.9239664206985587</c:v>
                </c:pt>
                <c:pt idx="5133">
                  <c:v>5.9857735410680064</c:v>
                </c:pt>
                <c:pt idx="5134">
                  <c:v>6.0766917644952576</c:v>
                </c:pt>
                <c:pt idx="5135">
                  <c:v>6.8779320562401089</c:v>
                </c:pt>
                <c:pt idx="5136">
                  <c:v>6.0176334056244478</c:v>
                </c:pt>
                <c:pt idx="5137">
                  <c:v>4.9496323403470051</c:v>
                </c:pt>
                <c:pt idx="5138">
                  <c:v>5.9917926065346885</c:v>
                </c:pt>
                <c:pt idx="5139">
                  <c:v>5.9808122991383845</c:v>
                </c:pt>
                <c:pt idx="5140">
                  <c:v>6.0618480531901477</c:v>
                </c:pt>
                <c:pt idx="5141">
                  <c:v>6.239614251351731</c:v>
                </c:pt>
                <c:pt idx="5142">
                  <c:v>6.0134738867071631</c:v>
                </c:pt>
                <c:pt idx="5143">
                  <c:v>5.9903057897638288</c:v>
                </c:pt>
                <c:pt idx="5144">
                  <c:v>4.8571185814301909</c:v>
                </c:pt>
                <c:pt idx="5145">
                  <c:v>5.0602466201798659</c:v>
                </c:pt>
                <c:pt idx="5146">
                  <c:v>4.9291872161706554</c:v>
                </c:pt>
                <c:pt idx="5147">
                  <c:v>5.8902391176643283</c:v>
                </c:pt>
                <c:pt idx="5148">
                  <c:v>6.0848336253282636</c:v>
                </c:pt>
                <c:pt idx="5149">
                  <c:v>5.8999962530216656</c:v>
                </c:pt>
                <c:pt idx="5150">
                  <c:v>5.1230218998664547</c:v>
                </c:pt>
                <c:pt idx="5151">
                  <c:v>4.8956096339504844</c:v>
                </c:pt>
                <c:pt idx="5152">
                  <c:v>4.8672026121898524</c:v>
                </c:pt>
                <c:pt idx="5153">
                  <c:v>4.9132623765095742</c:v>
                </c:pt>
                <c:pt idx="5154">
                  <c:v>4.9584299658109225</c:v>
                </c:pt>
                <c:pt idx="5155">
                  <c:v>7.130795089282028</c:v>
                </c:pt>
                <c:pt idx="5156">
                  <c:v>5.8641807635881777</c:v>
                </c:pt>
                <c:pt idx="5157">
                  <c:v>7.1996113907797126</c:v>
                </c:pt>
                <c:pt idx="5158">
                  <c:v>6.0675442958716488</c:v>
                </c:pt>
                <c:pt idx="5159">
                  <c:v>4.8687530976572555</c:v>
                </c:pt>
                <c:pt idx="5160">
                  <c:v>5.0139161644279868</c:v>
                </c:pt>
                <c:pt idx="5161">
                  <c:v>7.1740097067463111</c:v>
                </c:pt>
                <c:pt idx="5162">
                  <c:v>5.8964871062099924</c:v>
                </c:pt>
                <c:pt idx="5163">
                  <c:v>5.9635854364075129</c:v>
                </c:pt>
                <c:pt idx="5164">
                  <c:v>5.9704150224467831</c:v>
                </c:pt>
                <c:pt idx="5165">
                  <c:v>5.1275015061909857</c:v>
                </c:pt>
                <c:pt idx="5166">
                  <c:v>5.9200326283155409</c:v>
                </c:pt>
                <c:pt idx="5167">
                  <c:v>5.0904006174463809</c:v>
                </c:pt>
                <c:pt idx="5168">
                  <c:v>5.0792353909760672</c:v>
                </c:pt>
                <c:pt idx="5169">
                  <c:v>5.9052558722250366</c:v>
                </c:pt>
                <c:pt idx="5170">
                  <c:v>6.0136956363715255</c:v>
                </c:pt>
                <c:pt idx="5171">
                  <c:v>6.0158106209435029</c:v>
                </c:pt>
                <c:pt idx="5172">
                  <c:v>4.973098919683677</c:v>
                </c:pt>
                <c:pt idx="5173">
                  <c:v>5.9114213061052707</c:v>
                </c:pt>
                <c:pt idx="5174">
                  <c:v>5.9440970855963284</c:v>
                </c:pt>
                <c:pt idx="5175">
                  <c:v>6.0349728196214389</c:v>
                </c:pt>
                <c:pt idx="5176">
                  <c:v>4.773845939079493</c:v>
                </c:pt>
                <c:pt idx="5177">
                  <c:v>5.0782429069832755</c:v>
                </c:pt>
                <c:pt idx="5178">
                  <c:v>7.1084116294002051</c:v>
                </c:pt>
                <c:pt idx="5179">
                  <c:v>6.0144316333672192</c:v>
                </c:pt>
                <c:pt idx="5180">
                  <c:v>5.880127585446794</c:v>
                </c:pt>
                <c:pt idx="5181">
                  <c:v>5.9766414053443517</c:v>
                </c:pt>
                <c:pt idx="5182">
                  <c:v>5.1481591340517419</c:v>
                </c:pt>
                <c:pt idx="5183">
                  <c:v>6.0348372674140451</c:v>
                </c:pt>
                <c:pt idx="5184">
                  <c:v>5.0587720693623668</c:v>
                </c:pt>
                <c:pt idx="5185">
                  <c:v>7.0463654103104201</c:v>
                </c:pt>
                <c:pt idx="5186">
                  <c:v>4.9335906739981699</c:v>
                </c:pt>
                <c:pt idx="5187">
                  <c:v>5.0937700239776564</c:v>
                </c:pt>
                <c:pt idx="5188">
                  <c:v>6.138180588132867</c:v>
                </c:pt>
                <c:pt idx="5189">
                  <c:v>6.0536367704915399</c:v>
                </c:pt>
                <c:pt idx="5190">
                  <c:v>5.0743062368042242</c:v>
                </c:pt>
                <c:pt idx="5191">
                  <c:v>5.7854911666910951</c:v>
                </c:pt>
                <c:pt idx="5192">
                  <c:v>5.9702884334705448</c:v>
                </c:pt>
                <c:pt idx="5193">
                  <c:v>6.0777189127895808</c:v>
                </c:pt>
                <c:pt idx="5194">
                  <c:v>4.0030294768847279</c:v>
                </c:pt>
                <c:pt idx="5195">
                  <c:v>5.0405785345729672</c:v>
                </c:pt>
                <c:pt idx="5196">
                  <c:v>4.947903662529904</c:v>
                </c:pt>
                <c:pt idx="5197">
                  <c:v>4.9130170070084178</c:v>
                </c:pt>
                <c:pt idx="5198">
                  <c:v>5.8947950314331514</c:v>
                </c:pt>
                <c:pt idx="5199">
                  <c:v>3.9380231014281724</c:v>
                </c:pt>
                <c:pt idx="5200">
                  <c:v>6.0603231202367596</c:v>
                </c:pt>
                <c:pt idx="5201">
                  <c:v>5.9234444459539679</c:v>
                </c:pt>
                <c:pt idx="5202">
                  <c:v>6.2970891259816328</c:v>
                </c:pt>
                <c:pt idx="5203">
                  <c:v>5.9388066202076661</c:v>
                </c:pt>
                <c:pt idx="5204">
                  <c:v>4.9388787106923457</c:v>
                </c:pt>
                <c:pt idx="5205">
                  <c:v>6.9342120765196924</c:v>
                </c:pt>
                <c:pt idx="5206">
                  <c:v>6.8287678241424734</c:v>
                </c:pt>
                <c:pt idx="5207">
                  <c:v>4.8729735209632938</c:v>
                </c:pt>
                <c:pt idx="5208">
                  <c:v>4.9227006546062491</c:v>
                </c:pt>
                <c:pt idx="5209">
                  <c:v>5.8318952028412152</c:v>
                </c:pt>
                <c:pt idx="5210">
                  <c:v>5.1301549607690227</c:v>
                </c:pt>
                <c:pt idx="5211">
                  <c:v>7.0914720928345423</c:v>
                </c:pt>
                <c:pt idx="5212">
                  <c:v>4.8370558974651274</c:v>
                </c:pt>
                <c:pt idx="5213">
                  <c:v>4.7477949236548538</c:v>
                </c:pt>
                <c:pt idx="5214">
                  <c:v>6.0719312492804542</c:v>
                </c:pt>
                <c:pt idx="5215">
                  <c:v>4.9862639172644787</c:v>
                </c:pt>
                <c:pt idx="5216">
                  <c:v>5.1517605266049387</c:v>
                </c:pt>
                <c:pt idx="5217">
                  <c:v>5.0625443591390047</c:v>
                </c:pt>
                <c:pt idx="5218">
                  <c:v>5.8589751611836238</c:v>
                </c:pt>
                <c:pt idx="5219">
                  <c:v>5.075707500149047</c:v>
                </c:pt>
                <c:pt idx="5220">
                  <c:v>5.9857411362610016</c:v>
                </c:pt>
                <c:pt idx="5221">
                  <c:v>5.0371369504301038</c:v>
                </c:pt>
                <c:pt idx="5222">
                  <c:v>6.2700115484357068</c:v>
                </c:pt>
                <c:pt idx="5223">
                  <c:v>5.9751024982147412</c:v>
                </c:pt>
                <c:pt idx="5224">
                  <c:v>5.9177390668868428</c:v>
                </c:pt>
                <c:pt idx="5225">
                  <c:v>4.9365143073001247</c:v>
                </c:pt>
                <c:pt idx="5226">
                  <c:v>3.8892702827380257</c:v>
                </c:pt>
                <c:pt idx="5227">
                  <c:v>5.0379013641784853</c:v>
                </c:pt>
                <c:pt idx="5228">
                  <c:v>4.8491301567015981</c:v>
                </c:pt>
                <c:pt idx="5229">
                  <c:v>7.0181827642634955</c:v>
                </c:pt>
                <c:pt idx="5230">
                  <c:v>5.8419430468054232</c:v>
                </c:pt>
                <c:pt idx="5231">
                  <c:v>6.0113222294631905</c:v>
                </c:pt>
                <c:pt idx="5232">
                  <c:v>5.9316522946597843</c:v>
                </c:pt>
                <c:pt idx="5233">
                  <c:v>4.9371900304106671</c:v>
                </c:pt>
                <c:pt idx="5234">
                  <c:v>4.9517437181291086</c:v>
                </c:pt>
                <c:pt idx="5235">
                  <c:v>6.8165998253512647</c:v>
                </c:pt>
                <c:pt idx="5236">
                  <c:v>5.8764986807469439</c:v>
                </c:pt>
                <c:pt idx="5237">
                  <c:v>5.0955313116468597</c:v>
                </c:pt>
                <c:pt idx="5238">
                  <c:v>4.0325038335422452</c:v>
                </c:pt>
                <c:pt idx="5239">
                  <c:v>5.9741467885034671</c:v>
                </c:pt>
                <c:pt idx="5240">
                  <c:v>4.820336681760188</c:v>
                </c:pt>
                <c:pt idx="5241">
                  <c:v>4.9692670772465446</c:v>
                </c:pt>
                <c:pt idx="5242">
                  <c:v>6.0828842402079477</c:v>
                </c:pt>
                <c:pt idx="5243">
                  <c:v>5.9431129049066476</c:v>
                </c:pt>
                <c:pt idx="5244">
                  <c:v>4.9478682031875083</c:v>
                </c:pt>
                <c:pt idx="5245">
                  <c:v>5.9875843342228601</c:v>
                </c:pt>
                <c:pt idx="5246">
                  <c:v>4.8380043203735852</c:v>
                </c:pt>
                <c:pt idx="5247">
                  <c:v>5.9353962346664524</c:v>
                </c:pt>
                <c:pt idx="5248">
                  <c:v>6.218913777489627</c:v>
                </c:pt>
                <c:pt idx="5249">
                  <c:v>4.9345986883722102</c:v>
                </c:pt>
                <c:pt idx="5250">
                  <c:v>6.1240646135835854</c:v>
                </c:pt>
                <c:pt idx="5251">
                  <c:v>7.042229608891013</c:v>
                </c:pt>
                <c:pt idx="5252">
                  <c:v>7.0008674930015706</c:v>
                </c:pt>
                <c:pt idx="5253">
                  <c:v>5.047447323546618</c:v>
                </c:pt>
                <c:pt idx="5254">
                  <c:v>4.9681001343189282</c:v>
                </c:pt>
                <c:pt idx="5255">
                  <c:v>6.9526674449822172</c:v>
                </c:pt>
                <c:pt idx="5256">
                  <c:v>5.7379902486278</c:v>
                </c:pt>
                <c:pt idx="5257">
                  <c:v>5.9962288801225716</c:v>
                </c:pt>
                <c:pt idx="5258">
                  <c:v>6.0323188386361659</c:v>
                </c:pt>
                <c:pt idx="5259">
                  <c:v>5.9186621059773454</c:v>
                </c:pt>
                <c:pt idx="5260">
                  <c:v>4.9148875595481876</c:v>
                </c:pt>
                <c:pt idx="5261">
                  <c:v>6.0194385254936043</c:v>
                </c:pt>
                <c:pt idx="5262">
                  <c:v>6.0285772762216698</c:v>
                </c:pt>
                <c:pt idx="5263">
                  <c:v>5.9798013096923919</c:v>
                </c:pt>
                <c:pt idx="5264">
                  <c:v>5.8156633073068207</c:v>
                </c:pt>
                <c:pt idx="5265">
                  <c:v>6.0065607457527488</c:v>
                </c:pt>
                <c:pt idx="5266">
                  <c:v>5.9959071485411641</c:v>
                </c:pt>
                <c:pt idx="5267">
                  <c:v>5.9985430576723395</c:v>
                </c:pt>
                <c:pt idx="5268">
                  <c:v>5.1173934853310437</c:v>
                </c:pt>
                <c:pt idx="5269">
                  <c:v>5.9249299039117922</c:v>
                </c:pt>
                <c:pt idx="5270">
                  <c:v>6.0439348171396494</c:v>
                </c:pt>
                <c:pt idx="5271">
                  <c:v>6.0258771133824203</c:v>
                </c:pt>
                <c:pt idx="5272">
                  <c:v>5.8895666784202136</c:v>
                </c:pt>
                <c:pt idx="5273">
                  <c:v>6.1088533166340904</c:v>
                </c:pt>
                <c:pt idx="5274">
                  <c:v>5.964337926174343</c:v>
                </c:pt>
                <c:pt idx="5275">
                  <c:v>6.9428298388517806</c:v>
                </c:pt>
                <c:pt idx="5276">
                  <c:v>5.0315391844030897</c:v>
                </c:pt>
                <c:pt idx="5277">
                  <c:v>4.8541252016955507</c:v>
                </c:pt>
                <c:pt idx="5278">
                  <c:v>5.8410835861028527</c:v>
                </c:pt>
                <c:pt idx="5279">
                  <c:v>5.8566046086370225</c:v>
                </c:pt>
                <c:pt idx="5280">
                  <c:v>5.1806883605131446</c:v>
                </c:pt>
                <c:pt idx="5281">
                  <c:v>6.0771954110583568</c:v>
                </c:pt>
                <c:pt idx="5282">
                  <c:v>5.0490977240680666</c:v>
                </c:pt>
                <c:pt idx="5283">
                  <c:v>4.9485142376711533</c:v>
                </c:pt>
                <c:pt idx="5284">
                  <c:v>3.949410526180174</c:v>
                </c:pt>
                <c:pt idx="5285">
                  <c:v>6.1094834011966999</c:v>
                </c:pt>
                <c:pt idx="5286">
                  <c:v>3.856612665488298</c:v>
                </c:pt>
                <c:pt idx="5287">
                  <c:v>5.0977555404269825</c:v>
                </c:pt>
                <c:pt idx="5288">
                  <c:v>5.8153765814496072</c:v>
                </c:pt>
                <c:pt idx="5289">
                  <c:v>4.8281448692005178</c:v>
                </c:pt>
                <c:pt idx="5290">
                  <c:v>6.9615634197140448</c:v>
                </c:pt>
                <c:pt idx="5291">
                  <c:v>4.9461831062472497</c:v>
                </c:pt>
                <c:pt idx="5292">
                  <c:v>4.8891523060889162</c:v>
                </c:pt>
                <c:pt idx="5293">
                  <c:v>5.0992469560163114</c:v>
                </c:pt>
                <c:pt idx="5294">
                  <c:v>4.9651272082521025</c:v>
                </c:pt>
                <c:pt idx="5295">
                  <c:v>5.8721203771357571</c:v>
                </c:pt>
                <c:pt idx="5296">
                  <c:v>4.8480627932121036</c:v>
                </c:pt>
                <c:pt idx="5297">
                  <c:v>6.0770748420084075</c:v>
                </c:pt>
                <c:pt idx="5298">
                  <c:v>6.8678147501605631</c:v>
                </c:pt>
                <c:pt idx="5299">
                  <c:v>6.2365673973886846</c:v>
                </c:pt>
                <c:pt idx="5300">
                  <c:v>6.097263166897628</c:v>
                </c:pt>
                <c:pt idx="5301">
                  <c:v>6.7128353520690291</c:v>
                </c:pt>
                <c:pt idx="5302">
                  <c:v>4.9965692530939245</c:v>
                </c:pt>
                <c:pt idx="5303">
                  <c:v>5.8783181553111685</c:v>
                </c:pt>
                <c:pt idx="5304">
                  <c:v>4.8282912640252915</c:v>
                </c:pt>
                <c:pt idx="5305">
                  <c:v>6.0126040102497207</c:v>
                </c:pt>
                <c:pt idx="5306">
                  <c:v>4.9491172005829789</c:v>
                </c:pt>
                <c:pt idx="5307">
                  <c:v>4.9563283125475142</c:v>
                </c:pt>
                <c:pt idx="5308">
                  <c:v>4.1725134141157394</c:v>
                </c:pt>
                <c:pt idx="5309">
                  <c:v>6.2288420913936564</c:v>
                </c:pt>
                <c:pt idx="5310">
                  <c:v>5.0477045824546432</c:v>
                </c:pt>
                <c:pt idx="5311">
                  <c:v>5.9105169272189979</c:v>
                </c:pt>
                <c:pt idx="5312">
                  <c:v>5.9768743948338949</c:v>
                </c:pt>
                <c:pt idx="5313">
                  <c:v>5.0729373821745467</c:v>
                </c:pt>
                <c:pt idx="5314">
                  <c:v>5.0657717316976134</c:v>
                </c:pt>
                <c:pt idx="5315">
                  <c:v>5.1413172895173949</c:v>
                </c:pt>
                <c:pt idx="5316">
                  <c:v>5.9094726975424248</c:v>
                </c:pt>
                <c:pt idx="5317">
                  <c:v>4.9318942577078611</c:v>
                </c:pt>
                <c:pt idx="5318">
                  <c:v>6.9545696227781519</c:v>
                </c:pt>
                <c:pt idx="5319">
                  <c:v>6.1405406985815789</c:v>
                </c:pt>
                <c:pt idx="5320">
                  <c:v>6.9199412110665177</c:v>
                </c:pt>
                <c:pt idx="5321">
                  <c:v>7.0213145892053994</c:v>
                </c:pt>
                <c:pt idx="5322">
                  <c:v>6.8879164145677247</c:v>
                </c:pt>
                <c:pt idx="5323">
                  <c:v>5.0090408745390134</c:v>
                </c:pt>
                <c:pt idx="5324">
                  <c:v>5.8505564896286213</c:v>
                </c:pt>
                <c:pt idx="5325">
                  <c:v>5.9885655975067875</c:v>
                </c:pt>
                <c:pt idx="5326">
                  <c:v>5.0007436131276588</c:v>
                </c:pt>
                <c:pt idx="5327">
                  <c:v>6.1650654377136691</c:v>
                </c:pt>
                <c:pt idx="5328">
                  <c:v>5.9614303841907148</c:v>
                </c:pt>
                <c:pt idx="5329">
                  <c:v>6.0888010610565333</c:v>
                </c:pt>
                <c:pt idx="5330">
                  <c:v>5.0221046675568735</c:v>
                </c:pt>
                <c:pt idx="5331">
                  <c:v>5.95619512488478</c:v>
                </c:pt>
                <c:pt idx="5332">
                  <c:v>5.9013187672926239</c:v>
                </c:pt>
                <c:pt idx="5333">
                  <c:v>5.867949752646747</c:v>
                </c:pt>
                <c:pt idx="5334">
                  <c:v>7.016411705981155</c:v>
                </c:pt>
                <c:pt idx="5335">
                  <c:v>6.3001182254213983</c:v>
                </c:pt>
                <c:pt idx="5336">
                  <c:v>5.8844425816874244</c:v>
                </c:pt>
                <c:pt idx="5337">
                  <c:v>5.0330582625823403</c:v>
                </c:pt>
                <c:pt idx="5338">
                  <c:v>7.0546116747822296</c:v>
                </c:pt>
                <c:pt idx="5339">
                  <c:v>6.0163484006126104</c:v>
                </c:pt>
                <c:pt idx="5340">
                  <c:v>4.9714123389785376</c:v>
                </c:pt>
                <c:pt idx="5341">
                  <c:v>5.055751812468503</c:v>
                </c:pt>
                <c:pt idx="5342">
                  <c:v>5.0069153438085685</c:v>
                </c:pt>
                <c:pt idx="5343">
                  <c:v>4.9560710835074691</c:v>
                </c:pt>
                <c:pt idx="5344">
                  <c:v>5.836499203523088</c:v>
                </c:pt>
                <c:pt idx="5345">
                  <c:v>5.064960880024473</c:v>
                </c:pt>
                <c:pt idx="5346">
                  <c:v>6.1331699533819224</c:v>
                </c:pt>
                <c:pt idx="5347">
                  <c:v>7.0581975164629984</c:v>
                </c:pt>
                <c:pt idx="5348">
                  <c:v>4.7911123766151613</c:v>
                </c:pt>
                <c:pt idx="5349">
                  <c:v>4.9168662334686148</c:v>
                </c:pt>
                <c:pt idx="5350">
                  <c:v>6.0340704033340149</c:v>
                </c:pt>
                <c:pt idx="5351">
                  <c:v>5.8929438045983122</c:v>
                </c:pt>
                <c:pt idx="5352">
                  <c:v>6.0383588594026723</c:v>
                </c:pt>
                <c:pt idx="5353">
                  <c:v>5.035192287588492</c:v>
                </c:pt>
                <c:pt idx="5354">
                  <c:v>4.991672592660386</c:v>
                </c:pt>
                <c:pt idx="5355">
                  <c:v>5.1156115111984173</c:v>
                </c:pt>
                <c:pt idx="5356">
                  <c:v>5.1605430865737425</c:v>
                </c:pt>
                <c:pt idx="5357">
                  <c:v>5.9180732475537177</c:v>
                </c:pt>
                <c:pt idx="5358">
                  <c:v>4.9955981289833131</c:v>
                </c:pt>
                <c:pt idx="5359">
                  <c:v>5.9662919027216379</c:v>
                </c:pt>
                <c:pt idx="5360">
                  <c:v>5.9636488212716943</c:v>
                </c:pt>
                <c:pt idx="5361">
                  <c:v>5.8540166467345278</c:v>
                </c:pt>
                <c:pt idx="5362">
                  <c:v>5.0116451159002837</c:v>
                </c:pt>
                <c:pt idx="5363">
                  <c:v>4.8813847120096376</c:v>
                </c:pt>
                <c:pt idx="5364">
                  <c:v>5.8481891101906589</c:v>
                </c:pt>
                <c:pt idx="5365">
                  <c:v>5.1864232819198302</c:v>
                </c:pt>
                <c:pt idx="5366">
                  <c:v>5.8917017089091477</c:v>
                </c:pt>
                <c:pt idx="5367">
                  <c:v>4.9875985283371067</c:v>
                </c:pt>
                <c:pt idx="5368">
                  <c:v>6.1835267613854201</c:v>
                </c:pt>
                <c:pt idx="5369">
                  <c:v>4.9450231809816678</c:v>
                </c:pt>
                <c:pt idx="5370">
                  <c:v>5.0474475307113265</c:v>
                </c:pt>
                <c:pt idx="5371">
                  <c:v>4.9855270293773666</c:v>
                </c:pt>
                <c:pt idx="5372">
                  <c:v>6.0103145347673239</c:v>
                </c:pt>
                <c:pt idx="5373">
                  <c:v>6.1306844428321812</c:v>
                </c:pt>
                <c:pt idx="5374">
                  <c:v>5.9377617096283553</c:v>
                </c:pt>
                <c:pt idx="5375">
                  <c:v>6.9336784881254765</c:v>
                </c:pt>
                <c:pt idx="5376">
                  <c:v>4.8543486504310289</c:v>
                </c:pt>
                <c:pt idx="5377">
                  <c:v>5.9745048318994476</c:v>
                </c:pt>
                <c:pt idx="5378">
                  <c:v>7.0843942484691729</c:v>
                </c:pt>
                <c:pt idx="5379">
                  <c:v>6.1138406867561077</c:v>
                </c:pt>
                <c:pt idx="5380">
                  <c:v>5.9321577165039496</c:v>
                </c:pt>
                <c:pt idx="5381">
                  <c:v>4.8901667399504376</c:v>
                </c:pt>
                <c:pt idx="5382">
                  <c:v>6.197984066048047</c:v>
                </c:pt>
                <c:pt idx="5383">
                  <c:v>6.0707346895007213</c:v>
                </c:pt>
                <c:pt idx="5384">
                  <c:v>6.1567074692034716</c:v>
                </c:pt>
                <c:pt idx="5385">
                  <c:v>6.0690642527614083</c:v>
                </c:pt>
                <c:pt idx="5386">
                  <c:v>6.2410486448122455</c:v>
                </c:pt>
                <c:pt idx="5387">
                  <c:v>5.9083003300716044</c:v>
                </c:pt>
                <c:pt idx="5388">
                  <c:v>4.9422560444275883</c:v>
                </c:pt>
                <c:pt idx="5389">
                  <c:v>4.9985475688279424</c:v>
                </c:pt>
                <c:pt idx="5390">
                  <c:v>5.0529402288456859</c:v>
                </c:pt>
                <c:pt idx="5391">
                  <c:v>6.083120600456601</c:v>
                </c:pt>
                <c:pt idx="5392">
                  <c:v>5.0686904314678047</c:v>
                </c:pt>
                <c:pt idx="5393">
                  <c:v>4.865473906579294</c:v>
                </c:pt>
                <c:pt idx="5394">
                  <c:v>6.1105433512768483</c:v>
                </c:pt>
                <c:pt idx="5395">
                  <c:v>5.7546325020666105</c:v>
                </c:pt>
                <c:pt idx="5396">
                  <c:v>6.0812679789206543</c:v>
                </c:pt>
                <c:pt idx="5397">
                  <c:v>5.983416379340162</c:v>
                </c:pt>
                <c:pt idx="5398">
                  <c:v>7.0269723144374501</c:v>
                </c:pt>
                <c:pt idx="5399">
                  <c:v>6.1197088502872541</c:v>
                </c:pt>
                <c:pt idx="5400">
                  <c:v>6.1737358667792028</c:v>
                </c:pt>
                <c:pt idx="5401">
                  <c:v>5.9045141743959828</c:v>
                </c:pt>
                <c:pt idx="5402">
                  <c:v>6.0659657350687324</c:v>
                </c:pt>
                <c:pt idx="5403">
                  <c:v>6.0149489075175762</c:v>
                </c:pt>
                <c:pt idx="5404">
                  <c:v>5.1208186528118738</c:v>
                </c:pt>
                <c:pt idx="5405">
                  <c:v>4.9815584265090447</c:v>
                </c:pt>
                <c:pt idx="5406">
                  <c:v>4.9863656314685443</c:v>
                </c:pt>
                <c:pt idx="5407">
                  <c:v>6.0966201306939789</c:v>
                </c:pt>
                <c:pt idx="5408">
                  <c:v>6.146936063348071</c:v>
                </c:pt>
                <c:pt idx="5409">
                  <c:v>6.0491144479605623</c:v>
                </c:pt>
                <c:pt idx="5410">
                  <c:v>6.1598366109444287</c:v>
                </c:pt>
                <c:pt idx="5411">
                  <c:v>4.9275698454986454</c:v>
                </c:pt>
                <c:pt idx="5412">
                  <c:v>6.0242586190481386</c:v>
                </c:pt>
                <c:pt idx="5413">
                  <c:v>6.0479383644996592</c:v>
                </c:pt>
                <c:pt idx="5414">
                  <c:v>5.985837725334842</c:v>
                </c:pt>
                <c:pt idx="5415">
                  <c:v>5.8562424091221885</c:v>
                </c:pt>
                <c:pt idx="5416">
                  <c:v>5.8305101245773807</c:v>
                </c:pt>
                <c:pt idx="5417">
                  <c:v>4.9981667294287071</c:v>
                </c:pt>
                <c:pt idx="5418">
                  <c:v>5.9797079149978511</c:v>
                </c:pt>
                <c:pt idx="5419">
                  <c:v>5.0595787076360601</c:v>
                </c:pt>
                <c:pt idx="5420">
                  <c:v>5.8849118230028612</c:v>
                </c:pt>
                <c:pt idx="5421">
                  <c:v>5.973557866136689</c:v>
                </c:pt>
                <c:pt idx="5422">
                  <c:v>6.0819651209454726</c:v>
                </c:pt>
                <c:pt idx="5423">
                  <c:v>6.026084479735041</c:v>
                </c:pt>
                <c:pt idx="5424">
                  <c:v>5.8396079573970416</c:v>
                </c:pt>
                <c:pt idx="5425">
                  <c:v>6.0693024991320739</c:v>
                </c:pt>
                <c:pt idx="5426">
                  <c:v>6.1749820856232418</c:v>
                </c:pt>
                <c:pt idx="5427">
                  <c:v>5.9992145578033336</c:v>
                </c:pt>
                <c:pt idx="5428">
                  <c:v>4.0210223347819234</c:v>
                </c:pt>
                <c:pt idx="5429">
                  <c:v>6.0281044027185766</c:v>
                </c:pt>
                <c:pt idx="5430">
                  <c:v>5.029319323094195</c:v>
                </c:pt>
                <c:pt idx="5431">
                  <c:v>5.9089447677373679</c:v>
                </c:pt>
                <c:pt idx="5432">
                  <c:v>6.8390882789395304</c:v>
                </c:pt>
                <c:pt idx="5433">
                  <c:v>5.92893139699044</c:v>
                </c:pt>
                <c:pt idx="5434">
                  <c:v>6.1674851872218017</c:v>
                </c:pt>
                <c:pt idx="5435">
                  <c:v>5.9070646749915863</c:v>
                </c:pt>
                <c:pt idx="5436">
                  <c:v>5.8773419010973873</c:v>
                </c:pt>
                <c:pt idx="5437">
                  <c:v>5.0321646375368232</c:v>
                </c:pt>
                <c:pt idx="5438">
                  <c:v>4.9117696393870593</c:v>
                </c:pt>
                <c:pt idx="5439">
                  <c:v>6.0698773608175864</c:v>
                </c:pt>
                <c:pt idx="5440">
                  <c:v>5.8573570610011787</c:v>
                </c:pt>
                <c:pt idx="5441">
                  <c:v>5.1657287220231565</c:v>
                </c:pt>
                <c:pt idx="5442">
                  <c:v>4.9584856937519222</c:v>
                </c:pt>
                <c:pt idx="5443">
                  <c:v>5.9700002070321831</c:v>
                </c:pt>
                <c:pt idx="5444">
                  <c:v>6.0873884475257238</c:v>
                </c:pt>
                <c:pt idx="5445">
                  <c:v>4.9541402851891458</c:v>
                </c:pt>
                <c:pt idx="5446">
                  <c:v>6.1109262819548364</c:v>
                </c:pt>
                <c:pt idx="5447">
                  <c:v>4.8647157045714646</c:v>
                </c:pt>
                <c:pt idx="5448">
                  <c:v>6.110748312349453</c:v>
                </c:pt>
                <c:pt idx="5449">
                  <c:v>6.0151377926626397</c:v>
                </c:pt>
                <c:pt idx="5450">
                  <c:v>4.9851215961858744</c:v>
                </c:pt>
                <c:pt idx="5451">
                  <c:v>6.067563182708926</c:v>
                </c:pt>
                <c:pt idx="5452">
                  <c:v>4.9752549009829989</c:v>
                </c:pt>
                <c:pt idx="5453">
                  <c:v>4.8977213088430203</c:v>
                </c:pt>
                <c:pt idx="5454">
                  <c:v>6.095914537334103</c:v>
                </c:pt>
                <c:pt idx="5455">
                  <c:v>4.9322168434090665</c:v>
                </c:pt>
                <c:pt idx="5456">
                  <c:v>5.9376019272185347</c:v>
                </c:pt>
                <c:pt idx="5457">
                  <c:v>6.0383223719023658</c:v>
                </c:pt>
                <c:pt idx="5458">
                  <c:v>5.8231605381482794</c:v>
                </c:pt>
                <c:pt idx="5459">
                  <c:v>5.937356374154044</c:v>
                </c:pt>
                <c:pt idx="5460">
                  <c:v>6.0469688760969706</c:v>
                </c:pt>
                <c:pt idx="5461">
                  <c:v>6.1509453053986034</c:v>
                </c:pt>
                <c:pt idx="5462">
                  <c:v>4.9676683936490411</c:v>
                </c:pt>
                <c:pt idx="5463">
                  <c:v>6.0089378437918199</c:v>
                </c:pt>
                <c:pt idx="5464">
                  <c:v>6.0597063381939682</c:v>
                </c:pt>
                <c:pt idx="5465">
                  <c:v>6.0479718878118289</c:v>
                </c:pt>
                <c:pt idx="5466">
                  <c:v>6.1113260366305404</c:v>
                </c:pt>
                <c:pt idx="5467">
                  <c:v>4.7481359355011348</c:v>
                </c:pt>
                <c:pt idx="5468">
                  <c:v>5.9897393588975616</c:v>
                </c:pt>
                <c:pt idx="5469">
                  <c:v>4.8965214281307876</c:v>
                </c:pt>
                <c:pt idx="5470">
                  <c:v>6.0900706610961137</c:v>
                </c:pt>
                <c:pt idx="5471">
                  <c:v>6.0552166679233723</c:v>
                </c:pt>
                <c:pt idx="5472">
                  <c:v>6.0332942394574998</c:v>
                </c:pt>
                <c:pt idx="5473">
                  <c:v>6.1060176972008806</c:v>
                </c:pt>
                <c:pt idx="5474">
                  <c:v>5.9718137913967899</c:v>
                </c:pt>
                <c:pt idx="5475">
                  <c:v>5.8661754544618168</c:v>
                </c:pt>
                <c:pt idx="5476">
                  <c:v>5.9875799383350703</c:v>
                </c:pt>
                <c:pt idx="5477">
                  <c:v>4.9483951991706183</c:v>
                </c:pt>
                <c:pt idx="5478">
                  <c:v>5.8410159012996443</c:v>
                </c:pt>
                <c:pt idx="5479">
                  <c:v>5.9773622053655329</c:v>
                </c:pt>
                <c:pt idx="5480">
                  <c:v>6.0268862127514424</c:v>
                </c:pt>
                <c:pt idx="5481">
                  <c:v>5.9931139909770765</c:v>
                </c:pt>
                <c:pt idx="5482">
                  <c:v>5.9760892809477459</c:v>
                </c:pt>
                <c:pt idx="5483">
                  <c:v>4.9247554322065179</c:v>
                </c:pt>
                <c:pt idx="5484">
                  <c:v>6.1061395493101065</c:v>
                </c:pt>
                <c:pt idx="5485">
                  <c:v>6.0116317986366026</c:v>
                </c:pt>
                <c:pt idx="5486">
                  <c:v>6.0830262838543891</c:v>
                </c:pt>
                <c:pt idx="5487">
                  <c:v>5.9184260026743178</c:v>
                </c:pt>
                <c:pt idx="5488">
                  <c:v>5.024028983842987</c:v>
                </c:pt>
                <c:pt idx="5489">
                  <c:v>5.9395479180400068</c:v>
                </c:pt>
                <c:pt idx="5490">
                  <c:v>6.1028302212514323</c:v>
                </c:pt>
                <c:pt idx="5491">
                  <c:v>6.0646760408150309</c:v>
                </c:pt>
                <c:pt idx="5492">
                  <c:v>6.028787655712474</c:v>
                </c:pt>
                <c:pt idx="5493">
                  <c:v>6.1132266924416827</c:v>
                </c:pt>
                <c:pt idx="5494">
                  <c:v>5.9450438615635424</c:v>
                </c:pt>
                <c:pt idx="5495">
                  <c:v>6.1494464361109333</c:v>
                </c:pt>
                <c:pt idx="5496">
                  <c:v>4.9127393225901876</c:v>
                </c:pt>
                <c:pt idx="5497">
                  <c:v>6.0775395539417749</c:v>
                </c:pt>
                <c:pt idx="5498">
                  <c:v>6.1026398483614006</c:v>
                </c:pt>
                <c:pt idx="5499">
                  <c:v>5.0805501863851079</c:v>
                </c:pt>
                <c:pt idx="5500">
                  <c:v>5.0605438465101544</c:v>
                </c:pt>
                <c:pt idx="5501">
                  <c:v>6.017708040040624</c:v>
                </c:pt>
                <c:pt idx="5502">
                  <c:v>6.1700722295591524</c:v>
                </c:pt>
                <c:pt idx="5503">
                  <c:v>5.1010839124379919</c:v>
                </c:pt>
                <c:pt idx="5504">
                  <c:v>6.0240416718655299</c:v>
                </c:pt>
                <c:pt idx="5505">
                  <c:v>4.8923834060261235</c:v>
                </c:pt>
                <c:pt idx="5506">
                  <c:v>4.9101624231448397</c:v>
                </c:pt>
                <c:pt idx="5507">
                  <c:v>5.8946827063704621</c:v>
                </c:pt>
                <c:pt idx="5508">
                  <c:v>6.1519770458758725</c:v>
                </c:pt>
                <c:pt idx="5509">
                  <c:v>6.1618457222612895</c:v>
                </c:pt>
                <c:pt idx="5510">
                  <c:v>5.0227504835077958</c:v>
                </c:pt>
                <c:pt idx="5511">
                  <c:v>5.1492077937066085</c:v>
                </c:pt>
                <c:pt idx="5512">
                  <c:v>5.8912278603952926</c:v>
                </c:pt>
                <c:pt idx="5513">
                  <c:v>5.0035950744940045</c:v>
                </c:pt>
                <c:pt idx="5514">
                  <c:v>5.9516419453612031</c:v>
                </c:pt>
                <c:pt idx="5515">
                  <c:v>5.9634776376679701</c:v>
                </c:pt>
                <c:pt idx="5516">
                  <c:v>6.0616543234033697</c:v>
                </c:pt>
                <c:pt idx="5517">
                  <c:v>6.0437683602465588</c:v>
                </c:pt>
                <c:pt idx="5518">
                  <c:v>5.9293920556318298</c:v>
                </c:pt>
                <c:pt idx="5519">
                  <c:v>5.8830285686256483</c:v>
                </c:pt>
                <c:pt idx="5520">
                  <c:v>5.0485486592824316</c:v>
                </c:pt>
                <c:pt idx="5521">
                  <c:v>6.0326479475387442</c:v>
                </c:pt>
                <c:pt idx="5522">
                  <c:v>6.1497670420261432</c:v>
                </c:pt>
                <c:pt idx="5523">
                  <c:v>6.2068201901051312</c:v>
                </c:pt>
                <c:pt idx="5524">
                  <c:v>6.0139009180014549</c:v>
                </c:pt>
                <c:pt idx="5525">
                  <c:v>5.8786785915800257</c:v>
                </c:pt>
                <c:pt idx="5526">
                  <c:v>4.9197975781458032</c:v>
                </c:pt>
                <c:pt idx="5527">
                  <c:v>5.0883031173702369</c:v>
                </c:pt>
                <c:pt idx="5528">
                  <c:v>5.9873526674113657</c:v>
                </c:pt>
                <c:pt idx="5529">
                  <c:v>6.1039803715873866</c:v>
                </c:pt>
                <c:pt idx="5530">
                  <c:v>5.1078437534877734</c:v>
                </c:pt>
                <c:pt idx="5531">
                  <c:v>5.9478960135098218</c:v>
                </c:pt>
                <c:pt idx="5532">
                  <c:v>5.9519463099001948</c:v>
                </c:pt>
                <c:pt idx="5533">
                  <c:v>6.0441752839202794</c:v>
                </c:pt>
                <c:pt idx="5534">
                  <c:v>4.9736071366133032</c:v>
                </c:pt>
                <c:pt idx="5535">
                  <c:v>5.9838992935093938</c:v>
                </c:pt>
                <c:pt idx="5536">
                  <c:v>5.0137483283879325</c:v>
                </c:pt>
                <c:pt idx="5537">
                  <c:v>4.9350815906498946</c:v>
                </c:pt>
                <c:pt idx="5538">
                  <c:v>6.0489761159104578</c:v>
                </c:pt>
                <c:pt idx="5539">
                  <c:v>5.853155735973071</c:v>
                </c:pt>
                <c:pt idx="5540">
                  <c:v>5.9105106703183488</c:v>
                </c:pt>
                <c:pt idx="5541">
                  <c:v>6.0040139218115298</c:v>
                </c:pt>
                <c:pt idx="5542">
                  <c:v>5.973309076509616</c:v>
                </c:pt>
                <c:pt idx="5543">
                  <c:v>5.9552014119177255</c:v>
                </c:pt>
                <c:pt idx="5544">
                  <c:v>6.0886230442168365</c:v>
                </c:pt>
                <c:pt idx="5545">
                  <c:v>5.9456222098267553</c:v>
                </c:pt>
                <c:pt idx="5546">
                  <c:v>4.7538752451241466</c:v>
                </c:pt>
                <c:pt idx="5547">
                  <c:v>5.0134165936420603</c:v>
                </c:pt>
                <c:pt idx="5548">
                  <c:v>5.0686931200219254</c:v>
                </c:pt>
                <c:pt idx="5549">
                  <c:v>6.8575696575373764</c:v>
                </c:pt>
                <c:pt idx="5550">
                  <c:v>6.0622296498225658</c:v>
                </c:pt>
                <c:pt idx="5551">
                  <c:v>4.9023909062843281</c:v>
                </c:pt>
                <c:pt idx="5552">
                  <c:v>6.1401741444404161</c:v>
                </c:pt>
                <c:pt idx="5553">
                  <c:v>6.1248925457643839</c:v>
                </c:pt>
                <c:pt idx="5554">
                  <c:v>5.8459361759228701</c:v>
                </c:pt>
                <c:pt idx="5555">
                  <c:v>5.1097095321861827</c:v>
                </c:pt>
                <c:pt idx="5556">
                  <c:v>7.1292678647545014</c:v>
                </c:pt>
                <c:pt idx="5557">
                  <c:v>5.9478846995045584</c:v>
                </c:pt>
                <c:pt idx="5558">
                  <c:v>5.8311256683597374</c:v>
                </c:pt>
                <c:pt idx="5559">
                  <c:v>4.8625983511605213</c:v>
                </c:pt>
                <c:pt idx="5560">
                  <c:v>5.9749336498405636</c:v>
                </c:pt>
                <c:pt idx="5561">
                  <c:v>7.0328222797708841</c:v>
                </c:pt>
                <c:pt idx="5562">
                  <c:v>5.0557443455852171</c:v>
                </c:pt>
                <c:pt idx="5563">
                  <c:v>4.9629859884599306</c:v>
                </c:pt>
                <c:pt idx="5564">
                  <c:v>6.8834312495455352</c:v>
                </c:pt>
                <c:pt idx="5565">
                  <c:v>4.9244566758709025</c:v>
                </c:pt>
                <c:pt idx="5566">
                  <c:v>5.0119215548537239</c:v>
                </c:pt>
                <c:pt idx="5567">
                  <c:v>4.9672696791449962</c:v>
                </c:pt>
                <c:pt idx="5568">
                  <c:v>4.9027273856792251</c:v>
                </c:pt>
                <c:pt idx="5569">
                  <c:v>5.9131354777629115</c:v>
                </c:pt>
                <c:pt idx="5570">
                  <c:v>5.993704146150785</c:v>
                </c:pt>
                <c:pt idx="5571">
                  <c:v>6.0984070022233752</c:v>
                </c:pt>
                <c:pt idx="5572">
                  <c:v>4.0615269329510237</c:v>
                </c:pt>
                <c:pt idx="5573">
                  <c:v>4.892917645686488</c:v>
                </c:pt>
                <c:pt idx="5574">
                  <c:v>5.872179762292868</c:v>
                </c:pt>
                <c:pt idx="5575">
                  <c:v>6.0424021994758537</c:v>
                </c:pt>
                <c:pt idx="5576">
                  <c:v>6.0052121451087048</c:v>
                </c:pt>
                <c:pt idx="5577">
                  <c:v>6.0525741743410926</c:v>
                </c:pt>
                <c:pt idx="5578">
                  <c:v>4.9326175603529601</c:v>
                </c:pt>
                <c:pt idx="5579">
                  <c:v>5.8498500699621419</c:v>
                </c:pt>
                <c:pt idx="5580">
                  <c:v>4.7578490890957879</c:v>
                </c:pt>
                <c:pt idx="5581">
                  <c:v>5.1559802601829885</c:v>
                </c:pt>
                <c:pt idx="5582">
                  <c:v>5.1041695339835158</c:v>
                </c:pt>
                <c:pt idx="5583">
                  <c:v>6.1703890180051095</c:v>
                </c:pt>
                <c:pt idx="5584">
                  <c:v>5.9818362665729641</c:v>
                </c:pt>
                <c:pt idx="5585">
                  <c:v>5.9979448915816826</c:v>
                </c:pt>
                <c:pt idx="5586">
                  <c:v>5.0420572012304179</c:v>
                </c:pt>
                <c:pt idx="5587">
                  <c:v>5.0596113347179354</c:v>
                </c:pt>
                <c:pt idx="5588">
                  <c:v>5.9901606287721609</c:v>
                </c:pt>
                <c:pt idx="5589">
                  <c:v>5.9198231475205851</c:v>
                </c:pt>
                <c:pt idx="5590">
                  <c:v>5.99661482772576</c:v>
                </c:pt>
                <c:pt idx="5591">
                  <c:v>6.0041171788978431</c:v>
                </c:pt>
                <c:pt idx="5592">
                  <c:v>5.9361924280968745</c:v>
                </c:pt>
                <c:pt idx="5593">
                  <c:v>5.0340141728303891</c:v>
                </c:pt>
                <c:pt idx="5594">
                  <c:v>6.102294110831477</c:v>
                </c:pt>
                <c:pt idx="5595">
                  <c:v>5.7899949823314234</c:v>
                </c:pt>
                <c:pt idx="5596">
                  <c:v>5.7222611549298339</c:v>
                </c:pt>
                <c:pt idx="5597">
                  <c:v>6.0164797044829292</c:v>
                </c:pt>
                <c:pt idx="5598">
                  <c:v>5.0458926361966734</c:v>
                </c:pt>
                <c:pt idx="5599">
                  <c:v>6.9794097789236984</c:v>
                </c:pt>
                <c:pt idx="5600">
                  <c:v>4.9043376414129218</c:v>
                </c:pt>
                <c:pt idx="5601">
                  <c:v>5.0203232754239044</c:v>
                </c:pt>
                <c:pt idx="5602">
                  <c:v>4.9223567304842888</c:v>
                </c:pt>
                <c:pt idx="5603">
                  <c:v>6.0654892911436598</c:v>
                </c:pt>
                <c:pt idx="5604">
                  <c:v>6.1254868119578463</c:v>
                </c:pt>
                <c:pt idx="5605">
                  <c:v>5.0070873245670215</c:v>
                </c:pt>
                <c:pt idx="5606">
                  <c:v>5.0245730609640118</c:v>
                </c:pt>
                <c:pt idx="5607">
                  <c:v>5.8894810440015721</c:v>
                </c:pt>
                <c:pt idx="5608">
                  <c:v>4.9523135326596774</c:v>
                </c:pt>
                <c:pt idx="5609">
                  <c:v>6.1185632466559543</c:v>
                </c:pt>
                <c:pt idx="5610">
                  <c:v>4.8025311200520155</c:v>
                </c:pt>
                <c:pt idx="5611">
                  <c:v>5.8492147088432329</c:v>
                </c:pt>
                <c:pt idx="5612">
                  <c:v>6.8963680233148592</c:v>
                </c:pt>
                <c:pt idx="5613">
                  <c:v>5.995184744823769</c:v>
                </c:pt>
                <c:pt idx="5614">
                  <c:v>4.89971070514913</c:v>
                </c:pt>
                <c:pt idx="5615">
                  <c:v>6.162815892619836</c:v>
                </c:pt>
                <c:pt idx="5616">
                  <c:v>6.0900153998787836</c:v>
                </c:pt>
                <c:pt idx="5617">
                  <c:v>6.9615384025868634</c:v>
                </c:pt>
                <c:pt idx="5618">
                  <c:v>7.219078313219522</c:v>
                </c:pt>
                <c:pt idx="5619">
                  <c:v>5.8936541564882656</c:v>
                </c:pt>
                <c:pt idx="5620">
                  <c:v>5.9889055221173262</c:v>
                </c:pt>
                <c:pt idx="5621">
                  <c:v>6.0092250180886282</c:v>
                </c:pt>
                <c:pt idx="5622">
                  <c:v>5.8829398577082239</c:v>
                </c:pt>
                <c:pt idx="5623">
                  <c:v>7.0151933488848481</c:v>
                </c:pt>
                <c:pt idx="5624">
                  <c:v>6.0679804770466284</c:v>
                </c:pt>
                <c:pt idx="5625">
                  <c:v>5.8659515770043926</c:v>
                </c:pt>
                <c:pt idx="5626">
                  <c:v>6.0791602219343215</c:v>
                </c:pt>
                <c:pt idx="5627">
                  <c:v>5.9750316819585549</c:v>
                </c:pt>
                <c:pt idx="5628">
                  <c:v>6.0147635502212085</c:v>
                </c:pt>
                <c:pt idx="5629">
                  <c:v>6.1943433987637615</c:v>
                </c:pt>
                <c:pt idx="5630">
                  <c:v>5.0312158812224057</c:v>
                </c:pt>
                <c:pt idx="5631">
                  <c:v>6.0328751020596627</c:v>
                </c:pt>
                <c:pt idx="5632">
                  <c:v>5.1251499329090802</c:v>
                </c:pt>
                <c:pt idx="5633">
                  <c:v>5.8989221708765873</c:v>
                </c:pt>
                <c:pt idx="5634">
                  <c:v>6.9469199019240886</c:v>
                </c:pt>
                <c:pt idx="5635">
                  <c:v>4.9048990998214022</c:v>
                </c:pt>
                <c:pt idx="5636">
                  <c:v>5.06972730670108</c:v>
                </c:pt>
                <c:pt idx="5637">
                  <c:v>5.84966039631753</c:v>
                </c:pt>
                <c:pt idx="5638">
                  <c:v>5.0422400778664764</c:v>
                </c:pt>
                <c:pt idx="5639">
                  <c:v>3.0175703574209796</c:v>
                </c:pt>
                <c:pt idx="5640">
                  <c:v>5.0026121795344443</c:v>
                </c:pt>
                <c:pt idx="5641">
                  <c:v>5.9200788711064956</c:v>
                </c:pt>
                <c:pt idx="5642">
                  <c:v>5.1531870433899902</c:v>
                </c:pt>
                <c:pt idx="5643">
                  <c:v>5.0617969239956455</c:v>
                </c:pt>
                <c:pt idx="5644">
                  <c:v>5.9917022726768128</c:v>
                </c:pt>
                <c:pt idx="5645">
                  <c:v>5.9499658291173168</c:v>
                </c:pt>
                <c:pt idx="5646">
                  <c:v>5.0107290879045197</c:v>
                </c:pt>
                <c:pt idx="5647">
                  <c:v>6.8640830706757026</c:v>
                </c:pt>
                <c:pt idx="5648">
                  <c:v>4.9885848558884556</c:v>
                </c:pt>
                <c:pt idx="5649">
                  <c:v>6.0217299370350315</c:v>
                </c:pt>
                <c:pt idx="5650">
                  <c:v>5.9705137531587935</c:v>
                </c:pt>
                <c:pt idx="5651">
                  <c:v>4.893715123119077</c:v>
                </c:pt>
                <c:pt idx="5652">
                  <c:v>7.1064289827383957</c:v>
                </c:pt>
                <c:pt idx="5653">
                  <c:v>5.0438969625882093</c:v>
                </c:pt>
                <c:pt idx="5654">
                  <c:v>6.9743070798408091</c:v>
                </c:pt>
                <c:pt idx="5655">
                  <c:v>4.9955500587194415</c:v>
                </c:pt>
                <c:pt idx="5656">
                  <c:v>5.0612670924030878</c:v>
                </c:pt>
                <c:pt idx="5657">
                  <c:v>6.0954710832605628</c:v>
                </c:pt>
                <c:pt idx="5658">
                  <c:v>6.0356007137053362</c:v>
                </c:pt>
                <c:pt idx="5659">
                  <c:v>6.8524452807194951</c:v>
                </c:pt>
                <c:pt idx="5660">
                  <c:v>7.1839254015376701</c:v>
                </c:pt>
                <c:pt idx="5661">
                  <c:v>5.9839173536892325</c:v>
                </c:pt>
                <c:pt idx="5662">
                  <c:v>5.2606687683219624</c:v>
                </c:pt>
                <c:pt idx="5663">
                  <c:v>5.2061785543739472</c:v>
                </c:pt>
                <c:pt idx="5664">
                  <c:v>6.0620599839296476</c:v>
                </c:pt>
                <c:pt idx="5665">
                  <c:v>5.9810435978576066</c:v>
                </c:pt>
                <c:pt idx="5666">
                  <c:v>7.1629915354775431</c:v>
                </c:pt>
                <c:pt idx="5667">
                  <c:v>5.9426519572710115</c:v>
                </c:pt>
                <c:pt idx="5668">
                  <c:v>4.9666205581149301</c:v>
                </c:pt>
                <c:pt idx="5669">
                  <c:v>5.2540758614563208</c:v>
                </c:pt>
                <c:pt idx="5670">
                  <c:v>5.8772318234097272</c:v>
                </c:pt>
                <c:pt idx="5671">
                  <c:v>5.9084005232021832</c:v>
                </c:pt>
                <c:pt idx="5672">
                  <c:v>6.1572897106634308</c:v>
                </c:pt>
                <c:pt idx="5673">
                  <c:v>6.8830341347676596</c:v>
                </c:pt>
                <c:pt idx="5674">
                  <c:v>6.0004323400522193</c:v>
                </c:pt>
                <c:pt idx="5675">
                  <c:v>5.0102661373188058</c:v>
                </c:pt>
                <c:pt idx="5676">
                  <c:v>5.0232184057586169</c:v>
                </c:pt>
                <c:pt idx="5677">
                  <c:v>5.9347542719745991</c:v>
                </c:pt>
                <c:pt idx="5678">
                  <c:v>7.009452975441163</c:v>
                </c:pt>
                <c:pt idx="5679">
                  <c:v>4.891067111203963</c:v>
                </c:pt>
                <c:pt idx="5680">
                  <c:v>6.0598963604989482</c:v>
                </c:pt>
                <c:pt idx="5681">
                  <c:v>6.1203879168370827</c:v>
                </c:pt>
                <c:pt idx="5682">
                  <c:v>6.0012189330366468</c:v>
                </c:pt>
                <c:pt idx="5683">
                  <c:v>5.982554619563782</c:v>
                </c:pt>
                <c:pt idx="5684">
                  <c:v>6.0044336557499918</c:v>
                </c:pt>
                <c:pt idx="5685">
                  <c:v>4.8817204654003161</c:v>
                </c:pt>
                <c:pt idx="5686">
                  <c:v>6.1273487991051629</c:v>
                </c:pt>
                <c:pt idx="5687">
                  <c:v>5.0975507589078264</c:v>
                </c:pt>
                <c:pt idx="5688">
                  <c:v>5.8926478998775833</c:v>
                </c:pt>
                <c:pt idx="5689">
                  <c:v>4.9416685532140949</c:v>
                </c:pt>
                <c:pt idx="5690">
                  <c:v>5.1011201634604495</c:v>
                </c:pt>
                <c:pt idx="5691">
                  <c:v>6.1076212356661808</c:v>
                </c:pt>
                <c:pt idx="5692">
                  <c:v>6.0968239842630796</c:v>
                </c:pt>
                <c:pt idx="5693">
                  <c:v>6.0281583754097259</c:v>
                </c:pt>
                <c:pt idx="5694">
                  <c:v>4.9286155754872105</c:v>
                </c:pt>
                <c:pt idx="5695">
                  <c:v>6.0200706597737286</c:v>
                </c:pt>
                <c:pt idx="5696">
                  <c:v>4.0155007614491804</c:v>
                </c:pt>
                <c:pt idx="5697">
                  <c:v>6.0635443072508517</c:v>
                </c:pt>
                <c:pt idx="5698">
                  <c:v>6.0270107170444422</c:v>
                </c:pt>
                <c:pt idx="5699">
                  <c:v>5.9615189615018593</c:v>
                </c:pt>
                <c:pt idx="5700">
                  <c:v>6.0388107073425044</c:v>
                </c:pt>
                <c:pt idx="5701">
                  <c:v>5.9886733295088561</c:v>
                </c:pt>
                <c:pt idx="5702">
                  <c:v>5.9399486250124438</c:v>
                </c:pt>
                <c:pt idx="5703">
                  <c:v>6.008360295295021</c:v>
                </c:pt>
                <c:pt idx="5704">
                  <c:v>4.9065106360008279</c:v>
                </c:pt>
                <c:pt idx="5705">
                  <c:v>4.9492091689825015</c:v>
                </c:pt>
                <c:pt idx="5706">
                  <c:v>5.8192642073452703</c:v>
                </c:pt>
                <c:pt idx="5707">
                  <c:v>4.9275261111759043</c:v>
                </c:pt>
                <c:pt idx="5708">
                  <c:v>6.0011872460416011</c:v>
                </c:pt>
                <c:pt idx="5709">
                  <c:v>6.0662742410787915</c:v>
                </c:pt>
                <c:pt idx="5710">
                  <c:v>4.9636817141146086</c:v>
                </c:pt>
                <c:pt idx="5711">
                  <c:v>5.8915019210302493</c:v>
                </c:pt>
                <c:pt idx="5712">
                  <c:v>6.0867480507498524</c:v>
                </c:pt>
                <c:pt idx="5713">
                  <c:v>5.0592543405723696</c:v>
                </c:pt>
                <c:pt idx="5714">
                  <c:v>6.042423318155266</c:v>
                </c:pt>
                <c:pt idx="5715">
                  <c:v>5.8869978519636401</c:v>
                </c:pt>
                <c:pt idx="5716">
                  <c:v>5.9898394251994658</c:v>
                </c:pt>
                <c:pt idx="5717">
                  <c:v>5.92140640090257</c:v>
                </c:pt>
                <c:pt idx="5718">
                  <c:v>6.1641728940766534</c:v>
                </c:pt>
                <c:pt idx="5719">
                  <c:v>4.8849363928859768</c:v>
                </c:pt>
                <c:pt idx="5720">
                  <c:v>5.8530849015889821</c:v>
                </c:pt>
                <c:pt idx="5721">
                  <c:v>5.8809163866226948</c:v>
                </c:pt>
                <c:pt idx="5722">
                  <c:v>4.9566764669844172</c:v>
                </c:pt>
                <c:pt idx="5723">
                  <c:v>6.0086730735082625</c:v>
                </c:pt>
                <c:pt idx="5724">
                  <c:v>6.0238612382353063</c:v>
                </c:pt>
                <c:pt idx="5725">
                  <c:v>5.0501546854347099</c:v>
                </c:pt>
                <c:pt idx="5726">
                  <c:v>4.9724413382432404</c:v>
                </c:pt>
                <c:pt idx="5727">
                  <c:v>6.0105348171152642</c:v>
                </c:pt>
                <c:pt idx="5728">
                  <c:v>6.0644785152158009</c:v>
                </c:pt>
                <c:pt idx="5729">
                  <c:v>6.0041802783091622</c:v>
                </c:pt>
                <c:pt idx="5730">
                  <c:v>5.9532938869663807</c:v>
                </c:pt>
                <c:pt idx="5731">
                  <c:v>5.8655962615860329</c:v>
                </c:pt>
                <c:pt idx="5732">
                  <c:v>6.9949716515596565</c:v>
                </c:pt>
                <c:pt idx="5733">
                  <c:v>6.927388602743525</c:v>
                </c:pt>
                <c:pt idx="5734">
                  <c:v>5.1666740685928652</c:v>
                </c:pt>
                <c:pt idx="5735">
                  <c:v>6.2729758511668861</c:v>
                </c:pt>
                <c:pt idx="5736">
                  <c:v>4.9856786470461589</c:v>
                </c:pt>
                <c:pt idx="5737">
                  <c:v>6.0372213889377777</c:v>
                </c:pt>
                <c:pt idx="5738">
                  <c:v>6.1761386181907731</c:v>
                </c:pt>
                <c:pt idx="5739">
                  <c:v>4.9836968506245203</c:v>
                </c:pt>
                <c:pt idx="5740">
                  <c:v>5.0139540153456572</c:v>
                </c:pt>
                <c:pt idx="5741">
                  <c:v>6.0469267618629452</c:v>
                </c:pt>
                <c:pt idx="5742">
                  <c:v>6.1948038737385458</c:v>
                </c:pt>
                <c:pt idx="5743">
                  <c:v>5.9996121854021025</c:v>
                </c:pt>
                <c:pt idx="5744">
                  <c:v>4.9001829268665977</c:v>
                </c:pt>
                <c:pt idx="5745">
                  <c:v>6.1161328310041805</c:v>
                </c:pt>
                <c:pt idx="5746">
                  <c:v>7.2085128009206256</c:v>
                </c:pt>
                <c:pt idx="5747">
                  <c:v>5.9806078884292511</c:v>
                </c:pt>
                <c:pt idx="5748">
                  <c:v>4.9280867963619626</c:v>
                </c:pt>
                <c:pt idx="5749">
                  <c:v>6.8547223303907163</c:v>
                </c:pt>
                <c:pt idx="5750">
                  <c:v>6.1108586408762866</c:v>
                </c:pt>
                <c:pt idx="5751">
                  <c:v>6.2210539306062316</c:v>
                </c:pt>
                <c:pt idx="5752">
                  <c:v>5.9863490842810343</c:v>
                </c:pt>
                <c:pt idx="5753">
                  <c:v>7.0936393176611308</c:v>
                </c:pt>
                <c:pt idx="5754">
                  <c:v>5.850501667451292</c:v>
                </c:pt>
                <c:pt idx="5755">
                  <c:v>6.0394620825123413</c:v>
                </c:pt>
                <c:pt idx="5756">
                  <c:v>4.9834965882636855</c:v>
                </c:pt>
                <c:pt idx="5757">
                  <c:v>5.0493900607464255</c:v>
                </c:pt>
                <c:pt idx="5758">
                  <c:v>6.9197409128662937</c:v>
                </c:pt>
                <c:pt idx="5759">
                  <c:v>4.9880889432431692</c:v>
                </c:pt>
                <c:pt idx="5760">
                  <c:v>4.9798849963614877</c:v>
                </c:pt>
                <c:pt idx="5761">
                  <c:v>5.9038338422937153</c:v>
                </c:pt>
                <c:pt idx="5762">
                  <c:v>4.9743799161651134</c:v>
                </c:pt>
                <c:pt idx="5763">
                  <c:v>4.9446874687970821</c:v>
                </c:pt>
                <c:pt idx="5764">
                  <c:v>6.0987798500547283</c:v>
                </c:pt>
                <c:pt idx="5765">
                  <c:v>6.077912872062873</c:v>
                </c:pt>
                <c:pt idx="5766">
                  <c:v>5.6869858282154198</c:v>
                </c:pt>
                <c:pt idx="5767">
                  <c:v>5.8912642378261157</c:v>
                </c:pt>
                <c:pt idx="5768">
                  <c:v>5.9682037285061558</c:v>
                </c:pt>
                <c:pt idx="5769">
                  <c:v>5.8535879075646902</c:v>
                </c:pt>
                <c:pt idx="5770">
                  <c:v>6.0405416879960931</c:v>
                </c:pt>
                <c:pt idx="5771">
                  <c:v>4.9032763482300066</c:v>
                </c:pt>
                <c:pt idx="5772">
                  <c:v>5.9882109630477185</c:v>
                </c:pt>
                <c:pt idx="5773">
                  <c:v>4.9342146772181197</c:v>
                </c:pt>
                <c:pt idx="5774">
                  <c:v>5.0475259700600317</c:v>
                </c:pt>
                <c:pt idx="5775">
                  <c:v>6.1960665835988218</c:v>
                </c:pt>
                <c:pt idx="5776">
                  <c:v>6.0839612961310676</c:v>
                </c:pt>
                <c:pt idx="5777">
                  <c:v>5.9751847740235888</c:v>
                </c:pt>
                <c:pt idx="5778">
                  <c:v>5.9958473570572579</c:v>
                </c:pt>
                <c:pt idx="5779">
                  <c:v>6.0476387922308401</c:v>
                </c:pt>
                <c:pt idx="5780">
                  <c:v>6.1065960093289871</c:v>
                </c:pt>
                <c:pt idx="5781">
                  <c:v>5.1082173683401741</c:v>
                </c:pt>
                <c:pt idx="5782">
                  <c:v>4.9594961623017992</c:v>
                </c:pt>
                <c:pt idx="5783">
                  <c:v>5.8770478478992842</c:v>
                </c:pt>
                <c:pt idx="5784">
                  <c:v>4.9595328860403471</c:v>
                </c:pt>
                <c:pt idx="5785">
                  <c:v>4.8719559816384406</c:v>
                </c:pt>
                <c:pt idx="5786">
                  <c:v>4.1582435324211025</c:v>
                </c:pt>
                <c:pt idx="5787">
                  <c:v>6.9442179069987384</c:v>
                </c:pt>
                <c:pt idx="5788">
                  <c:v>6.8714768441255174</c:v>
                </c:pt>
                <c:pt idx="5789">
                  <c:v>7.0545212589639945</c:v>
                </c:pt>
                <c:pt idx="5790">
                  <c:v>5.9542347291066644</c:v>
                </c:pt>
                <c:pt idx="5791">
                  <c:v>6.0862127675639632</c:v>
                </c:pt>
                <c:pt idx="5792">
                  <c:v>4.9652019054496117</c:v>
                </c:pt>
                <c:pt idx="5793">
                  <c:v>6.0618734917958026</c:v>
                </c:pt>
                <c:pt idx="5794">
                  <c:v>7.1607051178820242</c:v>
                </c:pt>
                <c:pt idx="5795">
                  <c:v>5.9285187257297842</c:v>
                </c:pt>
                <c:pt idx="5796">
                  <c:v>4.9820510835506386</c:v>
                </c:pt>
                <c:pt idx="5797">
                  <c:v>6.0380889233858461</c:v>
                </c:pt>
                <c:pt idx="5798">
                  <c:v>4.8615869887187584</c:v>
                </c:pt>
                <c:pt idx="5799">
                  <c:v>5.8822961233894491</c:v>
                </c:pt>
                <c:pt idx="5800">
                  <c:v>6.9639573941179167</c:v>
                </c:pt>
                <c:pt idx="5801">
                  <c:v>5.0233465828118931</c:v>
                </c:pt>
                <c:pt idx="5802">
                  <c:v>7.0191602871682877</c:v>
                </c:pt>
                <c:pt idx="5803">
                  <c:v>5.0098736702998607</c:v>
                </c:pt>
                <c:pt idx="5804">
                  <c:v>7.0883564847577007</c:v>
                </c:pt>
                <c:pt idx="5805">
                  <c:v>4.967457313444303</c:v>
                </c:pt>
                <c:pt idx="5806">
                  <c:v>4.8393307044827241</c:v>
                </c:pt>
                <c:pt idx="5807">
                  <c:v>5.8722745757800894</c:v>
                </c:pt>
                <c:pt idx="5808">
                  <c:v>5.9400125151387106</c:v>
                </c:pt>
                <c:pt idx="5809">
                  <c:v>4.8824724865913041</c:v>
                </c:pt>
                <c:pt idx="5810">
                  <c:v>5.9165881794963679</c:v>
                </c:pt>
                <c:pt idx="5811">
                  <c:v>6.0490197993063006</c:v>
                </c:pt>
                <c:pt idx="5812">
                  <c:v>4.9270879291538652</c:v>
                </c:pt>
                <c:pt idx="5813">
                  <c:v>5.0532613160518283</c:v>
                </c:pt>
                <c:pt idx="5814">
                  <c:v>6.1394504950059359</c:v>
                </c:pt>
                <c:pt idx="5815">
                  <c:v>5.0555871553989435</c:v>
                </c:pt>
                <c:pt idx="5816">
                  <c:v>5.8703345197724914</c:v>
                </c:pt>
                <c:pt idx="5817">
                  <c:v>5.997719362533565</c:v>
                </c:pt>
                <c:pt idx="5818">
                  <c:v>5.8887405839248528</c:v>
                </c:pt>
                <c:pt idx="5819">
                  <c:v>5.9808764980755678</c:v>
                </c:pt>
                <c:pt idx="5820">
                  <c:v>5.8904736406782003</c:v>
                </c:pt>
                <c:pt idx="5821">
                  <c:v>4.9923694462453936</c:v>
                </c:pt>
                <c:pt idx="5822">
                  <c:v>6.0852397541475041</c:v>
                </c:pt>
                <c:pt idx="5823">
                  <c:v>4.9556798320766156</c:v>
                </c:pt>
                <c:pt idx="5824">
                  <c:v>4.9873127366995522</c:v>
                </c:pt>
                <c:pt idx="5825">
                  <c:v>5.0242890678148351</c:v>
                </c:pt>
                <c:pt idx="5826">
                  <c:v>4.8179491301909811</c:v>
                </c:pt>
                <c:pt idx="5827">
                  <c:v>6.1413024422858555</c:v>
                </c:pt>
                <c:pt idx="5828">
                  <c:v>5.9811798104514686</c:v>
                </c:pt>
                <c:pt idx="5829">
                  <c:v>4.9128250049996076</c:v>
                </c:pt>
                <c:pt idx="5830">
                  <c:v>6.0659683809102711</c:v>
                </c:pt>
                <c:pt idx="5831">
                  <c:v>4.9022589113400903</c:v>
                </c:pt>
                <c:pt idx="5832">
                  <c:v>6.2139270631973131</c:v>
                </c:pt>
                <c:pt idx="5833">
                  <c:v>7.096576340930679</c:v>
                </c:pt>
                <c:pt idx="5834">
                  <c:v>5.9216681657407992</c:v>
                </c:pt>
                <c:pt idx="5835">
                  <c:v>6.0830749023396802</c:v>
                </c:pt>
                <c:pt idx="5836">
                  <c:v>5.88134950596677</c:v>
                </c:pt>
                <c:pt idx="5837">
                  <c:v>5.9545955199348821</c:v>
                </c:pt>
                <c:pt idx="5838">
                  <c:v>6.0413672060798733</c:v>
                </c:pt>
                <c:pt idx="5839">
                  <c:v>5.9016541599601409</c:v>
                </c:pt>
                <c:pt idx="5840">
                  <c:v>6.0176032335290133</c:v>
                </c:pt>
                <c:pt idx="5841">
                  <c:v>5.0906902401058858</c:v>
                </c:pt>
                <c:pt idx="5842">
                  <c:v>4.9326353132978848</c:v>
                </c:pt>
                <c:pt idx="5843">
                  <c:v>5.9644828336949409</c:v>
                </c:pt>
                <c:pt idx="5844">
                  <c:v>6.0578741926520836</c:v>
                </c:pt>
                <c:pt idx="5845">
                  <c:v>5.170961029897156</c:v>
                </c:pt>
                <c:pt idx="5846">
                  <c:v>4.9322380708867088</c:v>
                </c:pt>
                <c:pt idx="5847">
                  <c:v>5.0363927383604228</c:v>
                </c:pt>
                <c:pt idx="5848">
                  <c:v>6.1642176275078571</c:v>
                </c:pt>
                <c:pt idx="5849">
                  <c:v>5.0938389204866548</c:v>
                </c:pt>
                <c:pt idx="5850">
                  <c:v>6.0346959345105011</c:v>
                </c:pt>
                <c:pt idx="5851">
                  <c:v>5.1812971745902239</c:v>
                </c:pt>
                <c:pt idx="5852">
                  <c:v>5.1075065648958873</c:v>
                </c:pt>
                <c:pt idx="5853">
                  <c:v>6.0014172835695723</c:v>
                </c:pt>
                <c:pt idx="5854">
                  <c:v>5.0212670931338854</c:v>
                </c:pt>
                <c:pt idx="5855">
                  <c:v>4.9817625550536464</c:v>
                </c:pt>
                <c:pt idx="5856">
                  <c:v>4.855985063423228</c:v>
                </c:pt>
                <c:pt idx="5857">
                  <c:v>6.0474129496089022</c:v>
                </c:pt>
                <c:pt idx="5858">
                  <c:v>4.9216825011173624</c:v>
                </c:pt>
                <c:pt idx="5859">
                  <c:v>5.1911536342320446</c:v>
                </c:pt>
                <c:pt idx="5860">
                  <c:v>5.1106375109125679</c:v>
                </c:pt>
                <c:pt idx="5861">
                  <c:v>6.1076833270247191</c:v>
                </c:pt>
                <c:pt idx="5862">
                  <c:v>5.012807162358289</c:v>
                </c:pt>
                <c:pt idx="5863">
                  <c:v>5.0936060635098395</c:v>
                </c:pt>
                <c:pt idx="5864">
                  <c:v>6.149357633323981</c:v>
                </c:pt>
                <c:pt idx="5865">
                  <c:v>6.0835505855387879</c:v>
                </c:pt>
                <c:pt idx="5866">
                  <c:v>7.1327655794094529</c:v>
                </c:pt>
                <c:pt idx="5867">
                  <c:v>5.9429588643171547</c:v>
                </c:pt>
                <c:pt idx="5868">
                  <c:v>5.0309859786583901</c:v>
                </c:pt>
                <c:pt idx="5869">
                  <c:v>5.0375287637335049</c:v>
                </c:pt>
                <c:pt idx="5870">
                  <c:v>7.2606052056494645</c:v>
                </c:pt>
                <c:pt idx="5871">
                  <c:v>5.015992636593066</c:v>
                </c:pt>
                <c:pt idx="5872">
                  <c:v>4.8140027795585203</c:v>
                </c:pt>
                <c:pt idx="5873">
                  <c:v>6.0753570862487063</c:v>
                </c:pt>
                <c:pt idx="5874">
                  <c:v>4.9001305925295213</c:v>
                </c:pt>
                <c:pt idx="5875">
                  <c:v>6.0072726620754571</c:v>
                </c:pt>
                <c:pt idx="5876">
                  <c:v>6.0384375338234388</c:v>
                </c:pt>
                <c:pt idx="5877">
                  <c:v>5.0663304296821945</c:v>
                </c:pt>
                <c:pt idx="5878">
                  <c:v>5.8458418977774302</c:v>
                </c:pt>
                <c:pt idx="5879">
                  <c:v>5.9157779799163031</c:v>
                </c:pt>
                <c:pt idx="5880">
                  <c:v>6.0181139326708291</c:v>
                </c:pt>
                <c:pt idx="5881">
                  <c:v>5.1001353682217685</c:v>
                </c:pt>
                <c:pt idx="5882">
                  <c:v>4.9040164714233017</c:v>
                </c:pt>
                <c:pt idx="5883">
                  <c:v>5.0818686079781497</c:v>
                </c:pt>
                <c:pt idx="5884">
                  <c:v>5.9271009971323556</c:v>
                </c:pt>
                <c:pt idx="5885">
                  <c:v>4.9019817225156359</c:v>
                </c:pt>
                <c:pt idx="5886">
                  <c:v>6.9225371586633777</c:v>
                </c:pt>
                <c:pt idx="5887">
                  <c:v>5.077342920076326</c:v>
                </c:pt>
                <c:pt idx="5888">
                  <c:v>5.0466542332285469</c:v>
                </c:pt>
                <c:pt idx="5889">
                  <c:v>4.8871569397669168</c:v>
                </c:pt>
                <c:pt idx="5890">
                  <c:v>5.0906182520413257</c:v>
                </c:pt>
                <c:pt idx="5891">
                  <c:v>4.8953218597107213</c:v>
                </c:pt>
                <c:pt idx="5892">
                  <c:v>5.9418925360905828</c:v>
                </c:pt>
                <c:pt idx="5893">
                  <c:v>5.2369494478617806</c:v>
                </c:pt>
                <c:pt idx="5894">
                  <c:v>5.9793300923950987</c:v>
                </c:pt>
                <c:pt idx="5895">
                  <c:v>4.9948349461480586</c:v>
                </c:pt>
                <c:pt idx="5896">
                  <c:v>4.8828273286495323</c:v>
                </c:pt>
                <c:pt idx="5897">
                  <c:v>5.8240330270710725</c:v>
                </c:pt>
                <c:pt idx="5898">
                  <c:v>5.9711006819119889</c:v>
                </c:pt>
                <c:pt idx="5899">
                  <c:v>5.054619730624224</c:v>
                </c:pt>
                <c:pt idx="5900">
                  <c:v>5.9006270573430015</c:v>
                </c:pt>
                <c:pt idx="5901">
                  <c:v>5.181929713247964</c:v>
                </c:pt>
                <c:pt idx="5902">
                  <c:v>5.1065079639370961</c:v>
                </c:pt>
                <c:pt idx="5903">
                  <c:v>5.1499231154230527</c:v>
                </c:pt>
                <c:pt idx="5904">
                  <c:v>5.0526219492975954</c:v>
                </c:pt>
                <c:pt idx="5905">
                  <c:v>5.9571026580280391</c:v>
                </c:pt>
                <c:pt idx="5906">
                  <c:v>5.9362037076585503</c:v>
                </c:pt>
                <c:pt idx="5907">
                  <c:v>4.9497334022792359</c:v>
                </c:pt>
                <c:pt idx="5908">
                  <c:v>5.9158051717744096</c:v>
                </c:pt>
                <c:pt idx="5909">
                  <c:v>5.0057959941301844</c:v>
                </c:pt>
                <c:pt idx="5910">
                  <c:v>4.9524405514283139</c:v>
                </c:pt>
                <c:pt idx="5911">
                  <c:v>6.1538022984544334</c:v>
                </c:pt>
                <c:pt idx="5912">
                  <c:v>5.0581016540045702</c:v>
                </c:pt>
                <c:pt idx="5913">
                  <c:v>6.1361617731397438</c:v>
                </c:pt>
                <c:pt idx="5914">
                  <c:v>5.1040146944046274</c:v>
                </c:pt>
                <c:pt idx="5915">
                  <c:v>5.0979099881917938</c:v>
                </c:pt>
                <c:pt idx="5916">
                  <c:v>6.060135474264924</c:v>
                </c:pt>
                <c:pt idx="5917">
                  <c:v>5.126888766183253</c:v>
                </c:pt>
                <c:pt idx="5918">
                  <c:v>5.9535150369739309</c:v>
                </c:pt>
                <c:pt idx="5919">
                  <c:v>5.9923820615031342</c:v>
                </c:pt>
                <c:pt idx="5920">
                  <c:v>5.9969666163475024</c:v>
                </c:pt>
                <c:pt idx="5921">
                  <c:v>4.9954800989043067</c:v>
                </c:pt>
                <c:pt idx="5922">
                  <c:v>3.9705893270316492</c:v>
                </c:pt>
                <c:pt idx="5923">
                  <c:v>4.888434982575343</c:v>
                </c:pt>
                <c:pt idx="5924">
                  <c:v>4.9036325825607667</c:v>
                </c:pt>
                <c:pt idx="5925">
                  <c:v>6.0940434043371141</c:v>
                </c:pt>
                <c:pt idx="5926">
                  <c:v>5.0791710701368933</c:v>
                </c:pt>
                <c:pt idx="5927">
                  <c:v>6.0411756255557556</c:v>
                </c:pt>
                <c:pt idx="5928">
                  <c:v>6.1331008348633995</c:v>
                </c:pt>
                <c:pt idx="5929">
                  <c:v>6.2679350444192252</c:v>
                </c:pt>
                <c:pt idx="5930">
                  <c:v>3.0340737877839086</c:v>
                </c:pt>
                <c:pt idx="5931">
                  <c:v>5.1147983775140569</c:v>
                </c:pt>
                <c:pt idx="5932">
                  <c:v>5.84841881414967</c:v>
                </c:pt>
                <c:pt idx="5933">
                  <c:v>5.0363934000429973</c:v>
                </c:pt>
                <c:pt idx="5934">
                  <c:v>5.108217111249755</c:v>
                </c:pt>
                <c:pt idx="5935">
                  <c:v>5.9228823227321135</c:v>
                </c:pt>
                <c:pt idx="5936">
                  <c:v>4.972172692509063</c:v>
                </c:pt>
                <c:pt idx="5937">
                  <c:v>6.0892487797818449</c:v>
                </c:pt>
                <c:pt idx="5938">
                  <c:v>5.981524842671881</c:v>
                </c:pt>
                <c:pt idx="5939">
                  <c:v>5.8432838189187226</c:v>
                </c:pt>
                <c:pt idx="5940">
                  <c:v>5.0826773168127115</c:v>
                </c:pt>
                <c:pt idx="5941">
                  <c:v>5.150999361817826</c:v>
                </c:pt>
                <c:pt idx="5942">
                  <c:v>6.1265502797441886</c:v>
                </c:pt>
                <c:pt idx="5943">
                  <c:v>6.0862470560854813</c:v>
                </c:pt>
                <c:pt idx="5944">
                  <c:v>5.0471215474082962</c:v>
                </c:pt>
                <c:pt idx="5945">
                  <c:v>4.9505806354430657</c:v>
                </c:pt>
                <c:pt idx="5946">
                  <c:v>6.0904555781752192</c:v>
                </c:pt>
                <c:pt idx="5947">
                  <c:v>4.8747461880464948</c:v>
                </c:pt>
                <c:pt idx="5948">
                  <c:v>5.0381885064721672</c:v>
                </c:pt>
                <c:pt idx="5949">
                  <c:v>5.8717134973971108</c:v>
                </c:pt>
                <c:pt idx="5950">
                  <c:v>5.7747505961644219</c:v>
                </c:pt>
                <c:pt idx="5951">
                  <c:v>5.9155902455795495</c:v>
                </c:pt>
                <c:pt idx="5952">
                  <c:v>6.1864587667370987</c:v>
                </c:pt>
                <c:pt idx="5953">
                  <c:v>5.9821623409150702</c:v>
                </c:pt>
                <c:pt idx="5954">
                  <c:v>6.0116129726912666</c:v>
                </c:pt>
                <c:pt idx="5955">
                  <c:v>6.1167423669917333</c:v>
                </c:pt>
                <c:pt idx="5956">
                  <c:v>5.0530650513902264</c:v>
                </c:pt>
                <c:pt idx="5957">
                  <c:v>6.2734318417322212</c:v>
                </c:pt>
                <c:pt idx="5958">
                  <c:v>5.116751873410295</c:v>
                </c:pt>
                <c:pt idx="5959">
                  <c:v>6.018596638540104</c:v>
                </c:pt>
                <c:pt idx="5960">
                  <c:v>5.8727165462584106</c:v>
                </c:pt>
                <c:pt idx="5961">
                  <c:v>5.1080778912240143</c:v>
                </c:pt>
                <c:pt idx="5962">
                  <c:v>4.9609066836537092</c:v>
                </c:pt>
                <c:pt idx="5963">
                  <c:v>5.9723899121335844</c:v>
                </c:pt>
                <c:pt idx="5964">
                  <c:v>4.8705480773059211</c:v>
                </c:pt>
                <c:pt idx="5965">
                  <c:v>5.9504944816563716</c:v>
                </c:pt>
                <c:pt idx="5966">
                  <c:v>4.9630955519889204</c:v>
                </c:pt>
                <c:pt idx="5967">
                  <c:v>5.7885814464726391</c:v>
                </c:pt>
                <c:pt idx="5968">
                  <c:v>4.9938829965407319</c:v>
                </c:pt>
                <c:pt idx="5969">
                  <c:v>6.12167642223163</c:v>
                </c:pt>
                <c:pt idx="5970">
                  <c:v>5.0704329747903225</c:v>
                </c:pt>
                <c:pt idx="5971">
                  <c:v>6.0652333224548096</c:v>
                </c:pt>
                <c:pt idx="5972">
                  <c:v>5.9710838513148161</c:v>
                </c:pt>
                <c:pt idx="5973">
                  <c:v>5.8753901054246285</c:v>
                </c:pt>
                <c:pt idx="5974">
                  <c:v>6.0832465983788877</c:v>
                </c:pt>
                <c:pt idx="5975">
                  <c:v>5.9055794725594746</c:v>
                </c:pt>
                <c:pt idx="5976">
                  <c:v>5.1550927085006615</c:v>
                </c:pt>
                <c:pt idx="5977">
                  <c:v>4.9844826295915663</c:v>
                </c:pt>
                <c:pt idx="5978">
                  <c:v>5.9056673523765495</c:v>
                </c:pt>
                <c:pt idx="5979">
                  <c:v>5.0407237776735867</c:v>
                </c:pt>
                <c:pt idx="5980">
                  <c:v>5.1616177194306889</c:v>
                </c:pt>
                <c:pt idx="5981">
                  <c:v>5.9378410678149649</c:v>
                </c:pt>
                <c:pt idx="5982">
                  <c:v>5.9486948067098053</c:v>
                </c:pt>
                <c:pt idx="5983">
                  <c:v>6.1263997455304704</c:v>
                </c:pt>
                <c:pt idx="5984">
                  <c:v>4.8934009734528381</c:v>
                </c:pt>
                <c:pt idx="5985">
                  <c:v>5.0342534872675966</c:v>
                </c:pt>
                <c:pt idx="5986">
                  <c:v>4.9643626324704986</c:v>
                </c:pt>
                <c:pt idx="5987">
                  <c:v>4.88128027979878</c:v>
                </c:pt>
                <c:pt idx="5988">
                  <c:v>5.883182663738773</c:v>
                </c:pt>
                <c:pt idx="5989">
                  <c:v>6.1140232628248539</c:v>
                </c:pt>
                <c:pt idx="5990">
                  <c:v>6.0153952161881152</c:v>
                </c:pt>
                <c:pt idx="5991">
                  <c:v>4.9110151483676052</c:v>
                </c:pt>
                <c:pt idx="5992">
                  <c:v>6.0988474188281305</c:v>
                </c:pt>
                <c:pt idx="5993">
                  <c:v>5.0025231739855478</c:v>
                </c:pt>
                <c:pt idx="5994">
                  <c:v>6.0463618667994936</c:v>
                </c:pt>
                <c:pt idx="5995">
                  <c:v>6.0999062117870517</c:v>
                </c:pt>
                <c:pt idx="5996">
                  <c:v>5.0976580278379435</c:v>
                </c:pt>
                <c:pt idx="5997">
                  <c:v>5.9023155341411364</c:v>
                </c:pt>
                <c:pt idx="5998">
                  <c:v>5.091452561420386</c:v>
                </c:pt>
                <c:pt idx="5999">
                  <c:v>5.9236775027311008</c:v>
                </c:pt>
                <c:pt idx="6000">
                  <c:v>7.0702086144194762</c:v>
                </c:pt>
                <c:pt idx="6001">
                  <c:v>5.9090689003270018</c:v>
                </c:pt>
                <c:pt idx="6002">
                  <c:v>5.219422346918396</c:v>
                </c:pt>
                <c:pt idx="6003">
                  <c:v>5.9495228737808636</c:v>
                </c:pt>
                <c:pt idx="6004">
                  <c:v>4.9396257770304208</c:v>
                </c:pt>
                <c:pt idx="6005">
                  <c:v>5.1274676757753967</c:v>
                </c:pt>
                <c:pt idx="6006">
                  <c:v>6.045575281692015</c:v>
                </c:pt>
                <c:pt idx="6007">
                  <c:v>6.1794958804313209</c:v>
                </c:pt>
                <c:pt idx="6008">
                  <c:v>4.9288662789971776</c:v>
                </c:pt>
                <c:pt idx="6009">
                  <c:v>6.0266343381132907</c:v>
                </c:pt>
                <c:pt idx="6010">
                  <c:v>5.0491870648885344</c:v>
                </c:pt>
                <c:pt idx="6011">
                  <c:v>5.1017586665710972</c:v>
                </c:pt>
                <c:pt idx="6012">
                  <c:v>5.963258281021913</c:v>
                </c:pt>
                <c:pt idx="6013">
                  <c:v>5.1083231346518865</c:v>
                </c:pt>
                <c:pt idx="6014">
                  <c:v>5.0401540163709546</c:v>
                </c:pt>
                <c:pt idx="6015">
                  <c:v>5.9718062281307116</c:v>
                </c:pt>
                <c:pt idx="6016">
                  <c:v>5.1050276038387041</c:v>
                </c:pt>
                <c:pt idx="6017">
                  <c:v>6.0481677958733098</c:v>
                </c:pt>
                <c:pt idx="6018">
                  <c:v>6.066355837763254</c:v>
                </c:pt>
                <c:pt idx="6019">
                  <c:v>5.971395233934313</c:v>
                </c:pt>
                <c:pt idx="6020">
                  <c:v>5.9812483473483757</c:v>
                </c:pt>
                <c:pt idx="6021">
                  <c:v>4.9257060935047408</c:v>
                </c:pt>
                <c:pt idx="6022">
                  <c:v>5.1281637354048604</c:v>
                </c:pt>
                <c:pt idx="6023">
                  <c:v>6.0954283082594998</c:v>
                </c:pt>
                <c:pt idx="6024">
                  <c:v>6.117697475336219</c:v>
                </c:pt>
                <c:pt idx="6025">
                  <c:v>5.0095141462207833</c:v>
                </c:pt>
                <c:pt idx="6026">
                  <c:v>4.9999593185610482</c:v>
                </c:pt>
                <c:pt idx="6027">
                  <c:v>5.0321992502316846</c:v>
                </c:pt>
                <c:pt idx="6028">
                  <c:v>4.8566287563343788</c:v>
                </c:pt>
                <c:pt idx="6029">
                  <c:v>5.857613292200039</c:v>
                </c:pt>
                <c:pt idx="6030">
                  <c:v>6.010150210068792</c:v>
                </c:pt>
                <c:pt idx="6031">
                  <c:v>4.9244952268236268</c:v>
                </c:pt>
                <c:pt idx="6032">
                  <c:v>5.9422265475526723</c:v>
                </c:pt>
                <c:pt idx="6033">
                  <c:v>5.9679115812436132</c:v>
                </c:pt>
                <c:pt idx="6034">
                  <c:v>3.9383214708636562</c:v>
                </c:pt>
                <c:pt idx="6035">
                  <c:v>4.8034862448130324</c:v>
                </c:pt>
                <c:pt idx="6036">
                  <c:v>5.9207180623988469</c:v>
                </c:pt>
                <c:pt idx="6037">
                  <c:v>5.9184027944880775</c:v>
                </c:pt>
                <c:pt idx="6038">
                  <c:v>5.0598193270132255</c:v>
                </c:pt>
                <c:pt idx="6039">
                  <c:v>5.0821561189922884</c:v>
                </c:pt>
                <c:pt idx="6040">
                  <c:v>4.96861355528792</c:v>
                </c:pt>
                <c:pt idx="6041">
                  <c:v>6.9553751327616355</c:v>
                </c:pt>
                <c:pt idx="6042">
                  <c:v>4.1249300095322488</c:v>
                </c:pt>
                <c:pt idx="6043">
                  <c:v>7.0757704670974153</c:v>
                </c:pt>
                <c:pt idx="6044">
                  <c:v>7.0376212871673136</c:v>
                </c:pt>
                <c:pt idx="6045">
                  <c:v>5.0115134514662083</c:v>
                </c:pt>
                <c:pt idx="6046">
                  <c:v>5.0271905768423393</c:v>
                </c:pt>
                <c:pt idx="6047">
                  <c:v>6.0636173936582018</c:v>
                </c:pt>
                <c:pt idx="6048">
                  <c:v>5.1188971552009637</c:v>
                </c:pt>
                <c:pt idx="6049">
                  <c:v>4.8351631751985078</c:v>
                </c:pt>
                <c:pt idx="6050">
                  <c:v>6.0581884236368326</c:v>
                </c:pt>
                <c:pt idx="6051">
                  <c:v>6.0908735542849062</c:v>
                </c:pt>
                <c:pt idx="6052">
                  <c:v>5.9852327369990634</c:v>
                </c:pt>
                <c:pt idx="6053">
                  <c:v>5.1655788131961149</c:v>
                </c:pt>
                <c:pt idx="6054">
                  <c:v>5.9508370040227616</c:v>
                </c:pt>
                <c:pt idx="6055">
                  <c:v>4.981402448765837</c:v>
                </c:pt>
                <c:pt idx="6056">
                  <c:v>5.9538960368240126</c:v>
                </c:pt>
                <c:pt idx="6057">
                  <c:v>6.2680053523161074</c:v>
                </c:pt>
                <c:pt idx="6058">
                  <c:v>5.9618147488136728</c:v>
                </c:pt>
                <c:pt idx="6059">
                  <c:v>5.9220392266327497</c:v>
                </c:pt>
                <c:pt idx="6060">
                  <c:v>6.1124624854683391</c:v>
                </c:pt>
                <c:pt idx="6061">
                  <c:v>5.7685805453183052</c:v>
                </c:pt>
                <c:pt idx="6062">
                  <c:v>6.0758252167957068</c:v>
                </c:pt>
                <c:pt idx="6063">
                  <c:v>4.922451616744242</c:v>
                </c:pt>
                <c:pt idx="6064">
                  <c:v>6.0687708132296505</c:v>
                </c:pt>
                <c:pt idx="6065">
                  <c:v>5.1040797907875817</c:v>
                </c:pt>
                <c:pt idx="6066">
                  <c:v>5.9550970799621847</c:v>
                </c:pt>
                <c:pt idx="6067">
                  <c:v>6.146711035969779</c:v>
                </c:pt>
                <c:pt idx="6068">
                  <c:v>4.9673102195063938</c:v>
                </c:pt>
                <c:pt idx="6069">
                  <c:v>6.0586416231360571</c:v>
                </c:pt>
                <c:pt idx="6070">
                  <c:v>5.077020143972522</c:v>
                </c:pt>
                <c:pt idx="6071">
                  <c:v>5.0935521576078298</c:v>
                </c:pt>
                <c:pt idx="6072">
                  <c:v>5.8770465736397206</c:v>
                </c:pt>
                <c:pt idx="6073">
                  <c:v>4.9328209936431451</c:v>
                </c:pt>
                <c:pt idx="6074">
                  <c:v>4.9696589153946809</c:v>
                </c:pt>
                <c:pt idx="6075">
                  <c:v>7.0487307603688576</c:v>
                </c:pt>
                <c:pt idx="6076">
                  <c:v>4.7468030726164381</c:v>
                </c:pt>
                <c:pt idx="6077">
                  <c:v>5.9295633914333941</c:v>
                </c:pt>
                <c:pt idx="6078">
                  <c:v>5.9002315483842471</c:v>
                </c:pt>
                <c:pt idx="6079">
                  <c:v>6.0621434615107583</c:v>
                </c:pt>
                <c:pt idx="6080">
                  <c:v>6.1111488227670936</c:v>
                </c:pt>
                <c:pt idx="6081">
                  <c:v>4.9138159348919324</c:v>
                </c:pt>
                <c:pt idx="6082">
                  <c:v>5.9448119546951874</c:v>
                </c:pt>
                <c:pt idx="6083">
                  <c:v>4.9420798900471814</c:v>
                </c:pt>
                <c:pt idx="6084">
                  <c:v>5.053970842353686</c:v>
                </c:pt>
                <c:pt idx="6085">
                  <c:v>6.143424232746777</c:v>
                </c:pt>
                <c:pt idx="6086">
                  <c:v>6.033063624683372</c:v>
                </c:pt>
                <c:pt idx="6087">
                  <c:v>5.0309266357626896</c:v>
                </c:pt>
                <c:pt idx="6088">
                  <c:v>5.1018737222010362</c:v>
                </c:pt>
                <c:pt idx="6089">
                  <c:v>4.9760115600419121</c:v>
                </c:pt>
                <c:pt idx="6090">
                  <c:v>6.0590316173160605</c:v>
                </c:pt>
                <c:pt idx="6091">
                  <c:v>6.0939062796360215</c:v>
                </c:pt>
                <c:pt idx="6092">
                  <c:v>6.1015699743182807</c:v>
                </c:pt>
                <c:pt idx="6093">
                  <c:v>6.0627833770671673</c:v>
                </c:pt>
                <c:pt idx="6094">
                  <c:v>5.0500406649985337</c:v>
                </c:pt>
                <c:pt idx="6095">
                  <c:v>6.027946823737838</c:v>
                </c:pt>
                <c:pt idx="6096">
                  <c:v>4.7975317204533336</c:v>
                </c:pt>
                <c:pt idx="6097">
                  <c:v>5.0440446393471907</c:v>
                </c:pt>
                <c:pt idx="6098">
                  <c:v>5.8849520845780807</c:v>
                </c:pt>
                <c:pt idx="6099">
                  <c:v>6.1158029259058511</c:v>
                </c:pt>
                <c:pt idx="6100">
                  <c:v>5.9094299502614911</c:v>
                </c:pt>
                <c:pt idx="6101">
                  <c:v>4.8677487962849133</c:v>
                </c:pt>
                <c:pt idx="6102">
                  <c:v>4.9023967738560996</c:v>
                </c:pt>
                <c:pt idx="6103">
                  <c:v>5.0571592799239697</c:v>
                </c:pt>
                <c:pt idx="6104">
                  <c:v>4.8937814616281763</c:v>
                </c:pt>
                <c:pt idx="6105">
                  <c:v>6.0150231981307831</c:v>
                </c:pt>
                <c:pt idx="6106">
                  <c:v>4.958756003494261</c:v>
                </c:pt>
                <c:pt idx="6107">
                  <c:v>5.2225878254533882</c:v>
                </c:pt>
                <c:pt idx="6108">
                  <c:v>5.9213468340242388</c:v>
                </c:pt>
                <c:pt idx="6109">
                  <c:v>5.019513383033936</c:v>
                </c:pt>
                <c:pt idx="6110">
                  <c:v>5.1268229150228821</c:v>
                </c:pt>
                <c:pt idx="6111">
                  <c:v>5.1902272164136471</c:v>
                </c:pt>
                <c:pt idx="6112">
                  <c:v>5.9678419773520242</c:v>
                </c:pt>
                <c:pt idx="6113">
                  <c:v>4.9256789095060132</c:v>
                </c:pt>
                <c:pt idx="6114">
                  <c:v>5.9388586291694443</c:v>
                </c:pt>
                <c:pt idx="6115">
                  <c:v>7.063469774529513</c:v>
                </c:pt>
                <c:pt idx="6116">
                  <c:v>4.1330655998994814</c:v>
                </c:pt>
                <c:pt idx="6117">
                  <c:v>7.0570242458860211</c:v>
                </c:pt>
                <c:pt idx="6118">
                  <c:v>5.0519260853673744</c:v>
                </c:pt>
                <c:pt idx="6119">
                  <c:v>5.0976715984517602</c:v>
                </c:pt>
                <c:pt idx="6120">
                  <c:v>3.8801931557204341</c:v>
                </c:pt>
                <c:pt idx="6121">
                  <c:v>6.0998515661512753</c:v>
                </c:pt>
                <c:pt idx="6122">
                  <c:v>5.9517136443524663</c:v>
                </c:pt>
                <c:pt idx="6123">
                  <c:v>6.0498629130028876</c:v>
                </c:pt>
                <c:pt idx="6124">
                  <c:v>6.0251462019258044</c:v>
                </c:pt>
                <c:pt idx="6125">
                  <c:v>4.8477601103379815</c:v>
                </c:pt>
                <c:pt idx="6126">
                  <c:v>5.8668448712404553</c:v>
                </c:pt>
                <c:pt idx="6127">
                  <c:v>6.9330624459163177</c:v>
                </c:pt>
                <c:pt idx="6128">
                  <c:v>6.1955260239602916</c:v>
                </c:pt>
                <c:pt idx="6129">
                  <c:v>4.8017220494071697</c:v>
                </c:pt>
                <c:pt idx="6130">
                  <c:v>5.1283207453322817</c:v>
                </c:pt>
                <c:pt idx="6131">
                  <c:v>5.0328578843084504</c:v>
                </c:pt>
                <c:pt idx="6132">
                  <c:v>5.0509626149509383</c:v>
                </c:pt>
                <c:pt idx="6133">
                  <c:v>6.129889311717152</c:v>
                </c:pt>
                <c:pt idx="6134">
                  <c:v>5.115828614923009</c:v>
                </c:pt>
                <c:pt idx="6135">
                  <c:v>5.637432873390833</c:v>
                </c:pt>
                <c:pt idx="6136">
                  <c:v>4.9222861580085491</c:v>
                </c:pt>
                <c:pt idx="6137">
                  <c:v>5.9845863438070772</c:v>
                </c:pt>
                <c:pt idx="6138">
                  <c:v>5.0271198621907214</c:v>
                </c:pt>
                <c:pt idx="6139">
                  <c:v>4.9997248662482789</c:v>
                </c:pt>
                <c:pt idx="6140">
                  <c:v>5.1726490988273435</c:v>
                </c:pt>
                <c:pt idx="6141">
                  <c:v>4.9747943394275875</c:v>
                </c:pt>
                <c:pt idx="6142">
                  <c:v>4.8284373546013795</c:v>
                </c:pt>
                <c:pt idx="6143">
                  <c:v>5.0632626440735775</c:v>
                </c:pt>
                <c:pt idx="6144">
                  <c:v>5.8670608009145919</c:v>
                </c:pt>
                <c:pt idx="6145">
                  <c:v>5.1164520957690938</c:v>
                </c:pt>
                <c:pt idx="6146">
                  <c:v>5.9106434707223672</c:v>
                </c:pt>
                <c:pt idx="6147">
                  <c:v>5.0101301906734061</c:v>
                </c:pt>
                <c:pt idx="6148">
                  <c:v>5.9178082905911404</c:v>
                </c:pt>
                <c:pt idx="6149">
                  <c:v>5.9058236732681024</c:v>
                </c:pt>
                <c:pt idx="6150">
                  <c:v>6.9806321190926521</c:v>
                </c:pt>
                <c:pt idx="6151">
                  <c:v>5.891207553417102</c:v>
                </c:pt>
                <c:pt idx="6152">
                  <c:v>4.9002998532633173</c:v>
                </c:pt>
                <c:pt idx="6153">
                  <c:v>6.1126936979425563</c:v>
                </c:pt>
                <c:pt idx="6154">
                  <c:v>4.7952804640587532</c:v>
                </c:pt>
                <c:pt idx="6155">
                  <c:v>5.0421114953191841</c:v>
                </c:pt>
                <c:pt idx="6156">
                  <c:v>4.9495358645740302</c:v>
                </c:pt>
                <c:pt idx="6157">
                  <c:v>6.1440586699671789</c:v>
                </c:pt>
                <c:pt idx="6158">
                  <c:v>4.9676560771964065</c:v>
                </c:pt>
                <c:pt idx="6159">
                  <c:v>6.1159412329321716</c:v>
                </c:pt>
                <c:pt idx="6160">
                  <c:v>6.1012931909430428</c:v>
                </c:pt>
                <c:pt idx="6161">
                  <c:v>6.0030860517061662</c:v>
                </c:pt>
                <c:pt idx="6162">
                  <c:v>3.8684681056490473</c:v>
                </c:pt>
                <c:pt idx="6163">
                  <c:v>4.2073736056571498</c:v>
                </c:pt>
                <c:pt idx="6164">
                  <c:v>4.026706650340107</c:v>
                </c:pt>
                <c:pt idx="6165">
                  <c:v>3.9989636245729021</c:v>
                </c:pt>
                <c:pt idx="6166">
                  <c:v>4.2226648534822919</c:v>
                </c:pt>
                <c:pt idx="6167">
                  <c:v>3.9609821432971355</c:v>
                </c:pt>
                <c:pt idx="6168">
                  <c:v>4.0653711930672563</c:v>
                </c:pt>
                <c:pt idx="6169">
                  <c:v>4.0206366658446715</c:v>
                </c:pt>
                <c:pt idx="6170">
                  <c:v>4.0337487074522391</c:v>
                </c:pt>
                <c:pt idx="6171">
                  <c:v>5.9195759637923482</c:v>
                </c:pt>
                <c:pt idx="6172">
                  <c:v>4.9842248725485039</c:v>
                </c:pt>
                <c:pt idx="6173">
                  <c:v>4.9072332771557097</c:v>
                </c:pt>
                <c:pt idx="6174">
                  <c:v>6.1334527708271445</c:v>
                </c:pt>
                <c:pt idx="6175">
                  <c:v>4.9088073559503398</c:v>
                </c:pt>
                <c:pt idx="6176">
                  <c:v>5.9991818040221556</c:v>
                </c:pt>
                <c:pt idx="6177">
                  <c:v>6.012449658511791</c:v>
                </c:pt>
                <c:pt idx="6178">
                  <c:v>4.9054879187363589</c:v>
                </c:pt>
                <c:pt idx="6179">
                  <c:v>6.0233488046755017</c:v>
                </c:pt>
                <c:pt idx="6180">
                  <c:v>5.1015781567893139</c:v>
                </c:pt>
                <c:pt idx="6181">
                  <c:v>5.024396127190931</c:v>
                </c:pt>
                <c:pt idx="6182">
                  <c:v>4.9897254367728179</c:v>
                </c:pt>
                <c:pt idx="6183">
                  <c:v>4.0373280336677846</c:v>
                </c:pt>
                <c:pt idx="6184">
                  <c:v>7.2118648804306122</c:v>
                </c:pt>
                <c:pt idx="6185">
                  <c:v>5.1262274491286437</c:v>
                </c:pt>
                <c:pt idx="6186">
                  <c:v>3.7630555150273999</c:v>
                </c:pt>
                <c:pt idx="6187">
                  <c:v>5.0639770095021088</c:v>
                </c:pt>
                <c:pt idx="6188">
                  <c:v>5.0721177668812043</c:v>
                </c:pt>
                <c:pt idx="6189">
                  <c:v>6.9714242936424275</c:v>
                </c:pt>
                <c:pt idx="6190">
                  <c:v>4.9417988565292843</c:v>
                </c:pt>
                <c:pt idx="6191">
                  <c:v>5.0233958269208561</c:v>
                </c:pt>
                <c:pt idx="6192">
                  <c:v>4.9735033556275043</c:v>
                </c:pt>
                <c:pt idx="6193">
                  <c:v>4.815114257663117</c:v>
                </c:pt>
                <c:pt idx="6194">
                  <c:v>6.2000642552965415</c:v>
                </c:pt>
                <c:pt idx="6195">
                  <c:v>5.9251334147330015</c:v>
                </c:pt>
                <c:pt idx="6196">
                  <c:v>5.0145591127983478</c:v>
                </c:pt>
                <c:pt idx="6197">
                  <c:v>4.9249686244417452</c:v>
                </c:pt>
                <c:pt idx="6198">
                  <c:v>5.9895786518323364</c:v>
                </c:pt>
                <c:pt idx="6199">
                  <c:v>4.1532441317745095</c:v>
                </c:pt>
                <c:pt idx="6200">
                  <c:v>3.8530346076440432</c:v>
                </c:pt>
                <c:pt idx="6201">
                  <c:v>3.9677200535033874</c:v>
                </c:pt>
                <c:pt idx="6202">
                  <c:v>4.1956043817936406</c:v>
                </c:pt>
                <c:pt idx="6203">
                  <c:v>4.0816965191788688</c:v>
                </c:pt>
                <c:pt idx="6204">
                  <c:v>3.9751327219900201</c:v>
                </c:pt>
                <c:pt idx="6205">
                  <c:v>4.0420592606378758</c:v>
                </c:pt>
                <c:pt idx="6206">
                  <c:v>5.8351784829907229</c:v>
                </c:pt>
                <c:pt idx="6207">
                  <c:v>5.9442536724144315</c:v>
                </c:pt>
                <c:pt idx="6208">
                  <c:v>5.9337154887282306</c:v>
                </c:pt>
                <c:pt idx="6209">
                  <c:v>6.0943324425833003</c:v>
                </c:pt>
                <c:pt idx="6210">
                  <c:v>5.9345899848778751</c:v>
                </c:pt>
                <c:pt idx="6211">
                  <c:v>6.0244108457448382</c:v>
                </c:pt>
                <c:pt idx="6212">
                  <c:v>5.1258775370467635</c:v>
                </c:pt>
                <c:pt idx="6213">
                  <c:v>5.8433057570516986</c:v>
                </c:pt>
                <c:pt idx="6214">
                  <c:v>6.0901633133173672</c:v>
                </c:pt>
                <c:pt idx="6215">
                  <c:v>6.0539569159292217</c:v>
                </c:pt>
                <c:pt idx="6216">
                  <c:v>5.9888748063304504</c:v>
                </c:pt>
                <c:pt idx="6217">
                  <c:v>6.025882876837132</c:v>
                </c:pt>
                <c:pt idx="6218">
                  <c:v>5.9494208452629085</c:v>
                </c:pt>
                <c:pt idx="6219">
                  <c:v>4.0825141458911309</c:v>
                </c:pt>
                <c:pt idx="6220">
                  <c:v>5.9902725392759493</c:v>
                </c:pt>
                <c:pt idx="6221">
                  <c:v>5.9067642436875252</c:v>
                </c:pt>
                <c:pt idx="6222">
                  <c:v>4.9509101892153469</c:v>
                </c:pt>
                <c:pt idx="6223">
                  <c:v>4.9539368347233141</c:v>
                </c:pt>
                <c:pt idx="6224">
                  <c:v>4.0758542121907135</c:v>
                </c:pt>
                <c:pt idx="6225">
                  <c:v>5.9889076556776555</c:v>
                </c:pt>
                <c:pt idx="6226">
                  <c:v>4.9586505913114927</c:v>
                </c:pt>
                <c:pt idx="6227">
                  <c:v>6.016570111875378</c:v>
                </c:pt>
                <c:pt idx="6228">
                  <c:v>5.0567317311069573</c:v>
                </c:pt>
                <c:pt idx="6229">
                  <c:v>4.9903860912148268</c:v>
                </c:pt>
                <c:pt idx="6230">
                  <c:v>4.9294910793510587</c:v>
                </c:pt>
                <c:pt idx="6231">
                  <c:v>5.1068116195582913</c:v>
                </c:pt>
                <c:pt idx="6232">
                  <c:v>5.0214717180432631</c:v>
                </c:pt>
                <c:pt idx="6233">
                  <c:v>5.8663181298587963</c:v>
                </c:pt>
                <c:pt idx="6234">
                  <c:v>5.1004966606993234</c:v>
                </c:pt>
                <c:pt idx="6235">
                  <c:v>6.0115571848997664</c:v>
                </c:pt>
                <c:pt idx="6236">
                  <c:v>4.9536221177897035</c:v>
                </c:pt>
                <c:pt idx="6237">
                  <c:v>3.9821179527077342</c:v>
                </c:pt>
                <c:pt idx="6238">
                  <c:v>6.1225676967549703</c:v>
                </c:pt>
                <c:pt idx="6239">
                  <c:v>5.023716232334853</c:v>
                </c:pt>
                <c:pt idx="6240">
                  <c:v>4.9704841984303023</c:v>
                </c:pt>
                <c:pt idx="6241">
                  <c:v>6.0646643980102422</c:v>
                </c:pt>
                <c:pt idx="6242">
                  <c:v>5.0193555838656687</c:v>
                </c:pt>
                <c:pt idx="6243">
                  <c:v>4.9631017763417109</c:v>
                </c:pt>
                <c:pt idx="6244">
                  <c:v>4.9768688624224309</c:v>
                </c:pt>
                <c:pt idx="6245">
                  <c:v>4.8724347940980257</c:v>
                </c:pt>
                <c:pt idx="6246">
                  <c:v>5.8146674762285242</c:v>
                </c:pt>
                <c:pt idx="6247">
                  <c:v>6.1861407186380148</c:v>
                </c:pt>
                <c:pt idx="6248">
                  <c:v>4.7589744117221802</c:v>
                </c:pt>
                <c:pt idx="6249">
                  <c:v>4.988116723388198</c:v>
                </c:pt>
                <c:pt idx="6250">
                  <c:v>6.0434215889929259</c:v>
                </c:pt>
                <c:pt idx="6251">
                  <c:v>6.0429095453125967</c:v>
                </c:pt>
                <c:pt idx="6252">
                  <c:v>6.1521561978657546</c:v>
                </c:pt>
                <c:pt idx="6253">
                  <c:v>6.1538636084769571</c:v>
                </c:pt>
                <c:pt idx="6254">
                  <c:v>5.1552035330164365</c:v>
                </c:pt>
                <c:pt idx="6255">
                  <c:v>6.0171408116906493</c:v>
                </c:pt>
                <c:pt idx="6256">
                  <c:v>4.942561604545558</c:v>
                </c:pt>
                <c:pt idx="6257">
                  <c:v>5.9730620032351789</c:v>
                </c:pt>
                <c:pt idx="6258">
                  <c:v>5.8885261540559233</c:v>
                </c:pt>
                <c:pt idx="6259">
                  <c:v>5.9357504204321172</c:v>
                </c:pt>
                <c:pt idx="6260">
                  <c:v>4.804909926247853</c:v>
                </c:pt>
                <c:pt idx="6261">
                  <c:v>6.0094682184802526</c:v>
                </c:pt>
                <c:pt idx="6262">
                  <c:v>4.1083747777319255</c:v>
                </c:pt>
                <c:pt idx="6263">
                  <c:v>5.9336776837688294</c:v>
                </c:pt>
                <c:pt idx="6264">
                  <c:v>5.1637640024605442</c:v>
                </c:pt>
                <c:pt idx="6265">
                  <c:v>4.8161927955338832</c:v>
                </c:pt>
                <c:pt idx="6266">
                  <c:v>5.8455126638836763</c:v>
                </c:pt>
                <c:pt idx="6267">
                  <c:v>5.9538416618554324</c:v>
                </c:pt>
                <c:pt idx="6268">
                  <c:v>5.8649039614616587</c:v>
                </c:pt>
                <c:pt idx="6269">
                  <c:v>5.0120025972537521</c:v>
                </c:pt>
                <c:pt idx="6270">
                  <c:v>5.0867706036999945</c:v>
                </c:pt>
                <c:pt idx="6271">
                  <c:v>5.9384247682287477</c:v>
                </c:pt>
                <c:pt idx="6272">
                  <c:v>4.8266638471172385</c:v>
                </c:pt>
                <c:pt idx="6273">
                  <c:v>5.0595826311868688</c:v>
                </c:pt>
                <c:pt idx="6274">
                  <c:v>5.1280749700481225</c:v>
                </c:pt>
                <c:pt idx="6275">
                  <c:v>4.9662181795458062</c:v>
                </c:pt>
                <c:pt idx="6276">
                  <c:v>4.9002261012617501</c:v>
                </c:pt>
                <c:pt idx="6277">
                  <c:v>6.072456466011027</c:v>
                </c:pt>
                <c:pt idx="6278">
                  <c:v>5.9635710179896293</c:v>
                </c:pt>
                <c:pt idx="6279">
                  <c:v>6.0076814703479657</c:v>
                </c:pt>
                <c:pt idx="6280">
                  <c:v>5.8720119408371927</c:v>
                </c:pt>
                <c:pt idx="6281">
                  <c:v>5.9890697192480271</c:v>
                </c:pt>
                <c:pt idx="6282">
                  <c:v>5.8436496618763218</c:v>
                </c:pt>
                <c:pt idx="6283">
                  <c:v>5.9397960750669361</c:v>
                </c:pt>
                <c:pt idx="6284">
                  <c:v>6.0063838255138862</c:v>
                </c:pt>
                <c:pt idx="6285">
                  <c:v>6.0286610544700352</c:v>
                </c:pt>
                <c:pt idx="6286">
                  <c:v>6.0791215300974706</c:v>
                </c:pt>
                <c:pt idx="6287">
                  <c:v>5.8032901667697363</c:v>
                </c:pt>
                <c:pt idx="6288">
                  <c:v>5.9024758757551981</c:v>
                </c:pt>
                <c:pt idx="6289">
                  <c:v>6.0374555936240055</c:v>
                </c:pt>
                <c:pt idx="6290">
                  <c:v>6.0162278703420933</c:v>
                </c:pt>
                <c:pt idx="6291">
                  <c:v>5.9057246794966565</c:v>
                </c:pt>
                <c:pt idx="6292">
                  <c:v>6.8537226166537364</c:v>
                </c:pt>
                <c:pt idx="6293">
                  <c:v>5.9726659860971063</c:v>
                </c:pt>
                <c:pt idx="6294">
                  <c:v>5.9500511069713529</c:v>
                </c:pt>
                <c:pt idx="6295">
                  <c:v>4.0707245657932516</c:v>
                </c:pt>
                <c:pt idx="6296">
                  <c:v>4.018900031692116</c:v>
                </c:pt>
                <c:pt idx="6297">
                  <c:v>6.0820211291771393</c:v>
                </c:pt>
                <c:pt idx="6298">
                  <c:v>2.915693626310325</c:v>
                </c:pt>
                <c:pt idx="6299">
                  <c:v>6.0811680854894279</c:v>
                </c:pt>
                <c:pt idx="6300">
                  <c:v>5.9973394341795352</c:v>
                </c:pt>
                <c:pt idx="6301">
                  <c:v>4.9507154780239206</c:v>
                </c:pt>
                <c:pt idx="6302">
                  <c:v>5.9555607135623356</c:v>
                </c:pt>
                <c:pt idx="6303">
                  <c:v>6.0232418751220269</c:v>
                </c:pt>
                <c:pt idx="6304">
                  <c:v>4.9902701726696019</c:v>
                </c:pt>
                <c:pt idx="6305">
                  <c:v>2.7875662036916244</c:v>
                </c:pt>
                <c:pt idx="6306">
                  <c:v>6.0094458783516211</c:v>
                </c:pt>
                <c:pt idx="6307">
                  <c:v>6.232765298937756</c:v>
                </c:pt>
                <c:pt idx="6308">
                  <c:v>5.8652166244760586</c:v>
                </c:pt>
                <c:pt idx="6309">
                  <c:v>5.0537414483582284</c:v>
                </c:pt>
                <c:pt idx="6310">
                  <c:v>3.9907606551608468</c:v>
                </c:pt>
                <c:pt idx="6311">
                  <c:v>3.9445165453331472</c:v>
                </c:pt>
                <c:pt idx="6312">
                  <c:v>4.7595373010130722</c:v>
                </c:pt>
                <c:pt idx="6313">
                  <c:v>5.0942095757205124</c:v>
                </c:pt>
                <c:pt idx="6314">
                  <c:v>6.044465828148291</c:v>
                </c:pt>
                <c:pt idx="6315">
                  <c:v>6.06557789072499</c:v>
                </c:pt>
                <c:pt idx="6316">
                  <c:v>5.0857624471502803</c:v>
                </c:pt>
                <c:pt idx="6317">
                  <c:v>5.8604307574205139</c:v>
                </c:pt>
                <c:pt idx="6318">
                  <c:v>4.9741823875498019</c:v>
                </c:pt>
                <c:pt idx="6319">
                  <c:v>5.9615828976721126</c:v>
                </c:pt>
                <c:pt idx="6320">
                  <c:v>6.2220482108339219</c:v>
                </c:pt>
                <c:pt idx="6321">
                  <c:v>4.9530644929405803</c:v>
                </c:pt>
                <c:pt idx="6322">
                  <c:v>6.0582144657558503</c:v>
                </c:pt>
                <c:pt idx="6323">
                  <c:v>5.9354038764369168</c:v>
                </c:pt>
                <c:pt idx="6324">
                  <c:v>5.9702236159750646</c:v>
                </c:pt>
                <c:pt idx="6325">
                  <c:v>5.1012031828995141</c:v>
                </c:pt>
                <c:pt idx="6326">
                  <c:v>6.0846877590157264</c:v>
                </c:pt>
                <c:pt idx="6327">
                  <c:v>6.1682022743617662</c:v>
                </c:pt>
                <c:pt idx="6328">
                  <c:v>7.0468937331368542</c:v>
                </c:pt>
                <c:pt idx="6329">
                  <c:v>7.0054500586577122</c:v>
                </c:pt>
                <c:pt idx="6330">
                  <c:v>6.0066833339357855</c:v>
                </c:pt>
                <c:pt idx="6331">
                  <c:v>5.9958465455666268</c:v>
                </c:pt>
                <c:pt idx="6332">
                  <c:v>5.7868946821432763</c:v>
                </c:pt>
                <c:pt idx="6333">
                  <c:v>5.8451833239321047</c:v>
                </c:pt>
                <c:pt idx="6334">
                  <c:v>6.0850836021391048</c:v>
                </c:pt>
                <c:pt idx="6335">
                  <c:v>5.0769091371051545</c:v>
                </c:pt>
                <c:pt idx="6336">
                  <c:v>6.0087835187363092</c:v>
                </c:pt>
                <c:pt idx="6337">
                  <c:v>6.1100574963464025</c:v>
                </c:pt>
                <c:pt idx="6338">
                  <c:v>6.0769712699578537</c:v>
                </c:pt>
                <c:pt idx="6339">
                  <c:v>5.8716145283201104</c:v>
                </c:pt>
                <c:pt idx="6340">
                  <c:v>4.0050373541383237</c:v>
                </c:pt>
                <c:pt idx="6341">
                  <c:v>4.2008691106502072</c:v>
                </c:pt>
                <c:pt idx="6342">
                  <c:v>4.1618209934058124</c:v>
                </c:pt>
                <c:pt idx="6343">
                  <c:v>5.9817327476748492</c:v>
                </c:pt>
                <c:pt idx="6344">
                  <c:v>4.0188699745915466</c:v>
                </c:pt>
                <c:pt idx="6345">
                  <c:v>4.9117500175183251</c:v>
                </c:pt>
                <c:pt idx="6346">
                  <c:v>5.9851527815536443</c:v>
                </c:pt>
                <c:pt idx="6347">
                  <c:v>5.8444132140364902</c:v>
                </c:pt>
                <c:pt idx="6348">
                  <c:v>4.9701824444892715</c:v>
                </c:pt>
                <c:pt idx="6349">
                  <c:v>6.2092060043164707</c:v>
                </c:pt>
                <c:pt idx="6350">
                  <c:v>5.8808823122231777</c:v>
                </c:pt>
                <c:pt idx="6351">
                  <c:v>4.9583635434027737</c:v>
                </c:pt>
                <c:pt idx="6352">
                  <c:v>4.9868634656943778</c:v>
                </c:pt>
                <c:pt idx="6353">
                  <c:v>5.9422976301454487</c:v>
                </c:pt>
                <c:pt idx="6354">
                  <c:v>4.9980530798328555</c:v>
                </c:pt>
                <c:pt idx="6355">
                  <c:v>6.0839720353025903</c:v>
                </c:pt>
                <c:pt idx="6356">
                  <c:v>4.8791270914138503</c:v>
                </c:pt>
                <c:pt idx="6357">
                  <c:v>6.0080064458950435</c:v>
                </c:pt>
                <c:pt idx="6358">
                  <c:v>5.9640710755186106</c:v>
                </c:pt>
                <c:pt idx="6359">
                  <c:v>4.9243736147793351</c:v>
                </c:pt>
                <c:pt idx="6360">
                  <c:v>6.0777840121321933</c:v>
                </c:pt>
                <c:pt idx="6361">
                  <c:v>4.886345855807865</c:v>
                </c:pt>
                <c:pt idx="6362">
                  <c:v>5.1168096522460456</c:v>
                </c:pt>
                <c:pt idx="6363">
                  <c:v>5.0838962622546946</c:v>
                </c:pt>
                <c:pt idx="6364">
                  <c:v>4.9376553820125872</c:v>
                </c:pt>
                <c:pt idx="6365">
                  <c:v>4.9798137335741011</c:v>
                </c:pt>
                <c:pt idx="6366">
                  <c:v>4.9305624292534347</c:v>
                </c:pt>
                <c:pt idx="6367">
                  <c:v>5.9780163149726837</c:v>
                </c:pt>
                <c:pt idx="6368">
                  <c:v>5.7525670887336791</c:v>
                </c:pt>
                <c:pt idx="6369">
                  <c:v>4.053844564658732</c:v>
                </c:pt>
                <c:pt idx="6370">
                  <c:v>5.9913785549634158</c:v>
                </c:pt>
                <c:pt idx="6371">
                  <c:v>4.8223944398997025</c:v>
                </c:pt>
                <c:pt idx="6372">
                  <c:v>5.9684014316287888</c:v>
                </c:pt>
                <c:pt idx="6373">
                  <c:v>5.9117975034769144</c:v>
                </c:pt>
                <c:pt idx="6374">
                  <c:v>5.018732581930883</c:v>
                </c:pt>
                <c:pt idx="6375">
                  <c:v>6.1183793126396067</c:v>
                </c:pt>
                <c:pt idx="6376">
                  <c:v>6.9839873562745023</c:v>
                </c:pt>
                <c:pt idx="6377">
                  <c:v>6.0050868714428249</c:v>
                </c:pt>
                <c:pt idx="6378">
                  <c:v>5.1111507800720943</c:v>
                </c:pt>
                <c:pt idx="6379">
                  <c:v>6.166806345095714</c:v>
                </c:pt>
                <c:pt idx="6380">
                  <c:v>5.9051291557606405</c:v>
                </c:pt>
                <c:pt idx="6381">
                  <c:v>4.9098430649534777</c:v>
                </c:pt>
                <c:pt idx="6382">
                  <c:v>5.0203316918471153</c:v>
                </c:pt>
                <c:pt idx="6383">
                  <c:v>6.0815224554338769</c:v>
                </c:pt>
                <c:pt idx="6384">
                  <c:v>5.1170259256104131</c:v>
                </c:pt>
                <c:pt idx="6385">
                  <c:v>4.9618237678444892</c:v>
                </c:pt>
                <c:pt idx="6386">
                  <c:v>6.0747333178732656</c:v>
                </c:pt>
                <c:pt idx="6387">
                  <c:v>5.0396376555741034</c:v>
                </c:pt>
                <c:pt idx="6388">
                  <c:v>6.0376121224614376</c:v>
                </c:pt>
                <c:pt idx="6389">
                  <c:v>4.8958197090036331</c:v>
                </c:pt>
                <c:pt idx="6390">
                  <c:v>6.0010663375524533</c:v>
                </c:pt>
                <c:pt idx="6391">
                  <c:v>4.744648548829522</c:v>
                </c:pt>
                <c:pt idx="6392">
                  <c:v>4.9441478263800098</c:v>
                </c:pt>
                <c:pt idx="6393">
                  <c:v>6.0112337836545819</c:v>
                </c:pt>
                <c:pt idx="6394">
                  <c:v>4.860108834106331</c:v>
                </c:pt>
                <c:pt idx="6395">
                  <c:v>5.1852357715037733</c:v>
                </c:pt>
                <c:pt idx="6396">
                  <c:v>4.9813457088954864</c:v>
                </c:pt>
                <c:pt idx="6397">
                  <c:v>5.91896169903145</c:v>
                </c:pt>
                <c:pt idx="6398">
                  <c:v>5.0198224754858751</c:v>
                </c:pt>
                <c:pt idx="6399">
                  <c:v>5.0310069146053467</c:v>
                </c:pt>
                <c:pt idx="6400">
                  <c:v>5.9837422345888722</c:v>
                </c:pt>
                <c:pt idx="6401">
                  <c:v>5.9780304104196977</c:v>
                </c:pt>
                <c:pt idx="6402">
                  <c:v>6.0536111494359295</c:v>
                </c:pt>
                <c:pt idx="6403">
                  <c:v>5.0453378897128731</c:v>
                </c:pt>
                <c:pt idx="6404">
                  <c:v>4.9431444974109588</c:v>
                </c:pt>
                <c:pt idx="6405">
                  <c:v>4.9794205624868537</c:v>
                </c:pt>
                <c:pt idx="6406">
                  <c:v>6.1447658272447772</c:v>
                </c:pt>
                <c:pt idx="6407">
                  <c:v>5.8974603796936087</c:v>
                </c:pt>
                <c:pt idx="6408">
                  <c:v>5.8073023923528879</c:v>
                </c:pt>
                <c:pt idx="6409">
                  <c:v>5.9975904974883951</c:v>
                </c:pt>
                <c:pt idx="6410">
                  <c:v>6.0355829228541245</c:v>
                </c:pt>
                <c:pt idx="6411">
                  <c:v>6.1112563649264029</c:v>
                </c:pt>
                <c:pt idx="6412">
                  <c:v>5.0369467480516761</c:v>
                </c:pt>
                <c:pt idx="6413">
                  <c:v>5.0407612068964163</c:v>
                </c:pt>
                <c:pt idx="6414">
                  <c:v>4.9390966017618592</c:v>
                </c:pt>
                <c:pt idx="6415">
                  <c:v>6.099227759585875</c:v>
                </c:pt>
                <c:pt idx="6416">
                  <c:v>5.040872298021136</c:v>
                </c:pt>
                <c:pt idx="6417">
                  <c:v>4.941601264378467</c:v>
                </c:pt>
                <c:pt idx="6418">
                  <c:v>5.1447560191530579</c:v>
                </c:pt>
                <c:pt idx="6419">
                  <c:v>4.8883451599533725</c:v>
                </c:pt>
                <c:pt idx="6420">
                  <c:v>6.2719283664692451</c:v>
                </c:pt>
                <c:pt idx="6421">
                  <c:v>4.8766210711971807</c:v>
                </c:pt>
                <c:pt idx="6422">
                  <c:v>6.1236870993154255</c:v>
                </c:pt>
                <c:pt idx="6423">
                  <c:v>6.0323572778596741</c:v>
                </c:pt>
                <c:pt idx="6424">
                  <c:v>5.8989952825310095</c:v>
                </c:pt>
                <c:pt idx="6425">
                  <c:v>5.8170912983932936</c:v>
                </c:pt>
                <c:pt idx="6426">
                  <c:v>5.8668493913411446</c:v>
                </c:pt>
                <c:pt idx="6427">
                  <c:v>6.0267934081670136</c:v>
                </c:pt>
                <c:pt idx="6428">
                  <c:v>4.9430253311886752</c:v>
                </c:pt>
                <c:pt idx="6429">
                  <c:v>4.9424805398166596</c:v>
                </c:pt>
                <c:pt idx="6430">
                  <c:v>5.0909778062505602</c:v>
                </c:pt>
                <c:pt idx="6431">
                  <c:v>5.0369523742966331</c:v>
                </c:pt>
                <c:pt idx="6432">
                  <c:v>5.0704295508668373</c:v>
                </c:pt>
                <c:pt idx="6433">
                  <c:v>5.9677307653624698</c:v>
                </c:pt>
                <c:pt idx="6434">
                  <c:v>4.9155806918593656</c:v>
                </c:pt>
                <c:pt idx="6435">
                  <c:v>5.0126609649789566</c:v>
                </c:pt>
                <c:pt idx="6436">
                  <c:v>4.9727315006460202</c:v>
                </c:pt>
                <c:pt idx="6437">
                  <c:v>6.1002185482235118</c:v>
                </c:pt>
                <c:pt idx="6438">
                  <c:v>6.171819998149938</c:v>
                </c:pt>
                <c:pt idx="6439">
                  <c:v>4.8267760149512169</c:v>
                </c:pt>
                <c:pt idx="6440">
                  <c:v>4.9497720524952511</c:v>
                </c:pt>
                <c:pt idx="6441">
                  <c:v>5.9431874743960167</c:v>
                </c:pt>
                <c:pt idx="6442">
                  <c:v>6.0538052802799998</c:v>
                </c:pt>
                <c:pt idx="6443">
                  <c:v>5.1104550010650476</c:v>
                </c:pt>
                <c:pt idx="6444">
                  <c:v>5.06440718325047</c:v>
                </c:pt>
                <c:pt idx="6445">
                  <c:v>6.0247443221635795</c:v>
                </c:pt>
                <c:pt idx="6446">
                  <c:v>4.8147668992536907</c:v>
                </c:pt>
                <c:pt idx="6447">
                  <c:v>5.9191753379182961</c:v>
                </c:pt>
                <c:pt idx="6448">
                  <c:v>6.0453819854556121</c:v>
                </c:pt>
                <c:pt idx="6449">
                  <c:v>5.1586703078914606</c:v>
                </c:pt>
                <c:pt idx="6450">
                  <c:v>4.8696812678818846</c:v>
                </c:pt>
                <c:pt idx="6451">
                  <c:v>6.0157089141491333</c:v>
                </c:pt>
                <c:pt idx="6452">
                  <c:v>4.7882898444979034</c:v>
                </c:pt>
                <c:pt idx="6453">
                  <c:v>5.7080180870990764</c:v>
                </c:pt>
                <c:pt idx="6454">
                  <c:v>5.1678936182027151</c:v>
                </c:pt>
                <c:pt idx="6455">
                  <c:v>5.0673839812020098</c:v>
                </c:pt>
                <c:pt idx="6456">
                  <c:v>4.9579690717037019</c:v>
                </c:pt>
                <c:pt idx="6457">
                  <c:v>5.9172897645891682</c:v>
                </c:pt>
                <c:pt idx="6458">
                  <c:v>5.1287296769898951</c:v>
                </c:pt>
                <c:pt idx="6459">
                  <c:v>5.0411358073423145</c:v>
                </c:pt>
                <c:pt idx="6460">
                  <c:v>4.8594282667973827</c:v>
                </c:pt>
                <c:pt idx="6461">
                  <c:v>5.0049999238075387</c:v>
                </c:pt>
                <c:pt idx="6462">
                  <c:v>5.0894375229033253</c:v>
                </c:pt>
                <c:pt idx="6463">
                  <c:v>5.0461868343865746</c:v>
                </c:pt>
                <c:pt idx="6464">
                  <c:v>5.9392123878494738</c:v>
                </c:pt>
                <c:pt idx="6465">
                  <c:v>5.0363500236833554</c:v>
                </c:pt>
                <c:pt idx="6466">
                  <c:v>5.1022960283207777</c:v>
                </c:pt>
                <c:pt idx="6467">
                  <c:v>6.0308308094914613</c:v>
                </c:pt>
                <c:pt idx="6468">
                  <c:v>4.8752396384310765</c:v>
                </c:pt>
                <c:pt idx="6469">
                  <c:v>4.8787232497269644</c:v>
                </c:pt>
                <c:pt idx="6470">
                  <c:v>6.1155955503793535</c:v>
                </c:pt>
                <c:pt idx="6471">
                  <c:v>5.0294605059905191</c:v>
                </c:pt>
                <c:pt idx="6472">
                  <c:v>4.9050040975237668</c:v>
                </c:pt>
                <c:pt idx="6473">
                  <c:v>4.9067787172015134</c:v>
                </c:pt>
                <c:pt idx="6474">
                  <c:v>5.929261602113157</c:v>
                </c:pt>
                <c:pt idx="6475">
                  <c:v>6.9388593667392229</c:v>
                </c:pt>
                <c:pt idx="6476">
                  <c:v>7.1198251710421605</c:v>
                </c:pt>
                <c:pt idx="6477">
                  <c:v>5.8729750631081385</c:v>
                </c:pt>
                <c:pt idx="6478">
                  <c:v>6.0408368146100413</c:v>
                </c:pt>
                <c:pt idx="6479">
                  <c:v>4.9502486700657045</c:v>
                </c:pt>
                <c:pt idx="6480">
                  <c:v>6.9269531439357337</c:v>
                </c:pt>
                <c:pt idx="6481">
                  <c:v>6.8229402751348465</c:v>
                </c:pt>
                <c:pt idx="6482">
                  <c:v>5.9489658006602113</c:v>
                </c:pt>
                <c:pt idx="6483">
                  <c:v>6.1591153564608847</c:v>
                </c:pt>
                <c:pt idx="6484">
                  <c:v>5.0676382834491358</c:v>
                </c:pt>
                <c:pt idx="6485">
                  <c:v>4.9140884110133447</c:v>
                </c:pt>
                <c:pt idx="6486">
                  <c:v>6.168970021724963</c:v>
                </c:pt>
                <c:pt idx="6487">
                  <c:v>4.8993162526923451</c:v>
                </c:pt>
                <c:pt idx="6488">
                  <c:v>6.0007410712318974</c:v>
                </c:pt>
                <c:pt idx="6489">
                  <c:v>6.1023218188925519</c:v>
                </c:pt>
                <c:pt idx="6490">
                  <c:v>6.118399238105523</c:v>
                </c:pt>
                <c:pt idx="6491">
                  <c:v>5.9422356452669058</c:v>
                </c:pt>
                <c:pt idx="6492">
                  <c:v>4.9512964557234271</c:v>
                </c:pt>
                <c:pt idx="6493">
                  <c:v>5.851301559405778</c:v>
                </c:pt>
                <c:pt idx="6494">
                  <c:v>6.9962566500827323</c:v>
                </c:pt>
                <c:pt idx="6495">
                  <c:v>6.0252492005469982</c:v>
                </c:pt>
                <c:pt idx="6496">
                  <c:v>6.0187985872866783</c:v>
                </c:pt>
                <c:pt idx="6497">
                  <c:v>6.0397632815687201</c:v>
                </c:pt>
                <c:pt idx="6498">
                  <c:v>5.9166217583007246</c:v>
                </c:pt>
                <c:pt idx="6499">
                  <c:v>5.0768042320398417</c:v>
                </c:pt>
                <c:pt idx="6500">
                  <c:v>5.0338539252514272</c:v>
                </c:pt>
                <c:pt idx="6501">
                  <c:v>5.7135527938423438</c:v>
                </c:pt>
                <c:pt idx="6502">
                  <c:v>5.8427393398825203</c:v>
                </c:pt>
                <c:pt idx="6503">
                  <c:v>5.0152090328098309</c:v>
                </c:pt>
                <c:pt idx="6504">
                  <c:v>6.0480944685380411</c:v>
                </c:pt>
                <c:pt idx="6505">
                  <c:v>4.9437798079366617</c:v>
                </c:pt>
                <c:pt idx="6506">
                  <c:v>5.9670316631475639</c:v>
                </c:pt>
                <c:pt idx="6507">
                  <c:v>5.9153549598562076</c:v>
                </c:pt>
                <c:pt idx="6508">
                  <c:v>4.9415055845628233</c:v>
                </c:pt>
                <c:pt idx="6509">
                  <c:v>5.0437420271046687</c:v>
                </c:pt>
                <c:pt idx="6510">
                  <c:v>4.9657027729761918</c:v>
                </c:pt>
                <c:pt idx="6511">
                  <c:v>5.0951955842702796</c:v>
                </c:pt>
                <c:pt idx="6512">
                  <c:v>5.1404527074338597</c:v>
                </c:pt>
                <c:pt idx="6513">
                  <c:v>6.0125652459915697</c:v>
                </c:pt>
                <c:pt idx="6514">
                  <c:v>6.1301930535855931</c:v>
                </c:pt>
                <c:pt idx="6515">
                  <c:v>4.9476410608390955</c:v>
                </c:pt>
                <c:pt idx="6516">
                  <c:v>5.0127411425974602</c:v>
                </c:pt>
                <c:pt idx="6517">
                  <c:v>5.9734287463995113</c:v>
                </c:pt>
                <c:pt idx="6518">
                  <c:v>5.0502583161943422</c:v>
                </c:pt>
                <c:pt idx="6519">
                  <c:v>5.9464980647775354</c:v>
                </c:pt>
                <c:pt idx="6520">
                  <c:v>6.1570878958358666</c:v>
                </c:pt>
                <c:pt idx="6521">
                  <c:v>6.0476559278305748</c:v>
                </c:pt>
                <c:pt idx="6522">
                  <c:v>4.9547645835935743</c:v>
                </c:pt>
                <c:pt idx="6523">
                  <c:v>5.8809407457209293</c:v>
                </c:pt>
                <c:pt idx="6524">
                  <c:v>5.0294666690049503</c:v>
                </c:pt>
                <c:pt idx="6525">
                  <c:v>4.8998264578079631</c:v>
                </c:pt>
                <c:pt idx="6526">
                  <c:v>4.9904776733413421</c:v>
                </c:pt>
                <c:pt idx="6527">
                  <c:v>4.9471333091332168</c:v>
                </c:pt>
                <c:pt idx="6528">
                  <c:v>4.9932955506888064</c:v>
                </c:pt>
                <c:pt idx="6529">
                  <c:v>6.1145416177304828</c:v>
                </c:pt>
                <c:pt idx="6530">
                  <c:v>5.9673738976555155</c:v>
                </c:pt>
                <c:pt idx="6531">
                  <c:v>6.0506082183972918</c:v>
                </c:pt>
                <c:pt idx="6532">
                  <c:v>5.9857916385338958</c:v>
                </c:pt>
                <c:pt idx="6533">
                  <c:v>5.8857317697371059</c:v>
                </c:pt>
                <c:pt idx="6534">
                  <c:v>6.0965464612462315</c:v>
                </c:pt>
                <c:pt idx="6535">
                  <c:v>6.0089905595452784</c:v>
                </c:pt>
                <c:pt idx="6536">
                  <c:v>6.0895781537241556</c:v>
                </c:pt>
                <c:pt idx="6537">
                  <c:v>6.1293763698208599</c:v>
                </c:pt>
                <c:pt idx="6538">
                  <c:v>6.0530184939674712</c:v>
                </c:pt>
                <c:pt idx="6539">
                  <c:v>5.1133236467161076</c:v>
                </c:pt>
                <c:pt idx="6540">
                  <c:v>4.8148281094384178</c:v>
                </c:pt>
                <c:pt idx="6541">
                  <c:v>1.9958085607967389</c:v>
                </c:pt>
                <c:pt idx="6542">
                  <c:v>6.0443938200552481</c:v>
                </c:pt>
                <c:pt idx="6543">
                  <c:v>4.9444721409393182</c:v>
                </c:pt>
                <c:pt idx="6544">
                  <c:v>5.1324413704598602</c:v>
                </c:pt>
                <c:pt idx="6545">
                  <c:v>4.8682546791432912</c:v>
                </c:pt>
                <c:pt idx="6546">
                  <c:v>4.884980095293785</c:v>
                </c:pt>
                <c:pt idx="6547">
                  <c:v>5.0640324862388644</c:v>
                </c:pt>
                <c:pt idx="6548">
                  <c:v>4.9744527915673666</c:v>
                </c:pt>
                <c:pt idx="6549">
                  <c:v>5.0478771783450442</c:v>
                </c:pt>
                <c:pt idx="6550">
                  <c:v>5.9304782608756152</c:v>
                </c:pt>
                <c:pt idx="6551">
                  <c:v>4.8712738616494073</c:v>
                </c:pt>
                <c:pt idx="6552">
                  <c:v>6.0620832971289804</c:v>
                </c:pt>
                <c:pt idx="6553">
                  <c:v>6.0068059050906291</c:v>
                </c:pt>
                <c:pt idx="6554">
                  <c:v>6.1184542320748143</c:v>
                </c:pt>
                <c:pt idx="6555">
                  <c:v>4.8806680940803204</c:v>
                </c:pt>
                <c:pt idx="6556">
                  <c:v>6.0547635808049645</c:v>
                </c:pt>
                <c:pt idx="6557">
                  <c:v>5.0134097990649567</c:v>
                </c:pt>
                <c:pt idx="6558">
                  <c:v>5.0235535498307344</c:v>
                </c:pt>
                <c:pt idx="6559">
                  <c:v>4.7956626525019459</c:v>
                </c:pt>
                <c:pt idx="6560">
                  <c:v>6.0339388089685384</c:v>
                </c:pt>
                <c:pt idx="6561">
                  <c:v>5.8123555238286855</c:v>
                </c:pt>
                <c:pt idx="6562">
                  <c:v>6.1386834685090159</c:v>
                </c:pt>
                <c:pt idx="6563">
                  <c:v>4.9835622276889477</c:v>
                </c:pt>
                <c:pt idx="6564">
                  <c:v>5.0651956248151899</c:v>
                </c:pt>
                <c:pt idx="6565">
                  <c:v>5.0918341911753568</c:v>
                </c:pt>
                <c:pt idx="6566">
                  <c:v>4.9467148179184752</c:v>
                </c:pt>
                <c:pt idx="6567">
                  <c:v>5.159364330404653</c:v>
                </c:pt>
                <c:pt idx="6568">
                  <c:v>4.8626386143857063</c:v>
                </c:pt>
                <c:pt idx="6569">
                  <c:v>5.9081200066605382</c:v>
                </c:pt>
                <c:pt idx="6570">
                  <c:v>5.966630468749532</c:v>
                </c:pt>
                <c:pt idx="6571">
                  <c:v>4.9891409220143261</c:v>
                </c:pt>
                <c:pt idx="6572">
                  <c:v>4.8889154034140168</c:v>
                </c:pt>
                <c:pt idx="6573">
                  <c:v>5.846836110803066</c:v>
                </c:pt>
                <c:pt idx="6574">
                  <c:v>6.22938241427065</c:v>
                </c:pt>
                <c:pt idx="6575">
                  <c:v>5.9420649381572632</c:v>
                </c:pt>
                <c:pt idx="6576">
                  <c:v>5.993721814467535</c:v>
                </c:pt>
                <c:pt idx="6577">
                  <c:v>5.0589145097342909</c:v>
                </c:pt>
                <c:pt idx="6578">
                  <c:v>4.9813306636681851</c:v>
                </c:pt>
                <c:pt idx="6579">
                  <c:v>6.8852109073235059</c:v>
                </c:pt>
                <c:pt idx="6580">
                  <c:v>5.8380266544721042</c:v>
                </c:pt>
                <c:pt idx="6581">
                  <c:v>5.939274818954611</c:v>
                </c:pt>
                <c:pt idx="6582">
                  <c:v>4.8882486844166735</c:v>
                </c:pt>
                <c:pt idx="6583">
                  <c:v>5.1320585217637182</c:v>
                </c:pt>
                <c:pt idx="6584">
                  <c:v>6.0168046803528608</c:v>
                </c:pt>
                <c:pt idx="6585">
                  <c:v>5.0940746122721592</c:v>
                </c:pt>
                <c:pt idx="6586">
                  <c:v>5.1593387550880649</c:v>
                </c:pt>
                <c:pt idx="6587">
                  <c:v>6.8473032899083304</c:v>
                </c:pt>
                <c:pt idx="6588">
                  <c:v>6.8206137585727253</c:v>
                </c:pt>
                <c:pt idx="6589">
                  <c:v>5.9086784453649042</c:v>
                </c:pt>
                <c:pt idx="6590">
                  <c:v>3.9796925903691336</c:v>
                </c:pt>
                <c:pt idx="6591">
                  <c:v>5.0680327605886708</c:v>
                </c:pt>
                <c:pt idx="6592">
                  <c:v>6.0377413422192161</c:v>
                </c:pt>
                <c:pt idx="6593">
                  <c:v>4.8910375940696893</c:v>
                </c:pt>
                <c:pt idx="6594">
                  <c:v>5.9486634995755248</c:v>
                </c:pt>
                <c:pt idx="6595">
                  <c:v>4.8805354174257678</c:v>
                </c:pt>
                <c:pt idx="6596">
                  <c:v>5.0019519211877448</c:v>
                </c:pt>
                <c:pt idx="6597">
                  <c:v>5.0636168720052988</c:v>
                </c:pt>
                <c:pt idx="6598">
                  <c:v>5.0074216754367304</c:v>
                </c:pt>
                <c:pt idx="6599">
                  <c:v>4.8705473713325418</c:v>
                </c:pt>
                <c:pt idx="6600">
                  <c:v>7.0368484998723888</c:v>
                </c:pt>
                <c:pt idx="6601">
                  <c:v>5.8609473765569762</c:v>
                </c:pt>
                <c:pt idx="6602">
                  <c:v>5.1189008027829628</c:v>
                </c:pt>
                <c:pt idx="6603">
                  <c:v>6.1511010416788166</c:v>
                </c:pt>
                <c:pt idx="6604">
                  <c:v>4.9652750272050632</c:v>
                </c:pt>
                <c:pt idx="6605">
                  <c:v>5.9530086830674822</c:v>
                </c:pt>
                <c:pt idx="6606">
                  <c:v>4.9340306250771606</c:v>
                </c:pt>
                <c:pt idx="6607">
                  <c:v>5.0942818388345907</c:v>
                </c:pt>
                <c:pt idx="6608">
                  <c:v>4.8361062603200393</c:v>
                </c:pt>
                <c:pt idx="6609">
                  <c:v>5.1035079245938384</c:v>
                </c:pt>
                <c:pt idx="6610">
                  <c:v>5.7580782351050361</c:v>
                </c:pt>
                <c:pt idx="6611">
                  <c:v>5.015366658526581</c:v>
                </c:pt>
                <c:pt idx="6612">
                  <c:v>5.9402011438188582</c:v>
                </c:pt>
                <c:pt idx="6613">
                  <c:v>5.9443314199959207</c:v>
                </c:pt>
                <c:pt idx="6614">
                  <c:v>6.0306767288174967</c:v>
                </c:pt>
                <c:pt idx="6615">
                  <c:v>5.9891600443094317</c:v>
                </c:pt>
                <c:pt idx="6616">
                  <c:v>4.7592063007647045</c:v>
                </c:pt>
                <c:pt idx="6617">
                  <c:v>4.9459566279430849</c:v>
                </c:pt>
                <c:pt idx="6618">
                  <c:v>4.965493496310887</c:v>
                </c:pt>
                <c:pt idx="6619">
                  <c:v>5.0395618602556205</c:v>
                </c:pt>
                <c:pt idx="6620">
                  <c:v>6.0607441747263557</c:v>
                </c:pt>
                <c:pt idx="6621">
                  <c:v>4.8339959906189094</c:v>
                </c:pt>
                <c:pt idx="6622">
                  <c:v>5.9357609227921362</c:v>
                </c:pt>
                <c:pt idx="6623">
                  <c:v>5.9457072405764677</c:v>
                </c:pt>
                <c:pt idx="6624">
                  <c:v>4.8223713761667284</c:v>
                </c:pt>
                <c:pt idx="6625">
                  <c:v>5.0990935210529518</c:v>
                </c:pt>
                <c:pt idx="6626">
                  <c:v>7.0513723975431173</c:v>
                </c:pt>
                <c:pt idx="6627">
                  <c:v>5.9667728022942264</c:v>
                </c:pt>
                <c:pt idx="6628">
                  <c:v>5.8407871255230983</c:v>
                </c:pt>
                <c:pt idx="6629">
                  <c:v>5.0245162615554433</c:v>
                </c:pt>
                <c:pt idx="6630">
                  <c:v>5.2519942617544126</c:v>
                </c:pt>
                <c:pt idx="6631">
                  <c:v>6.0131678996554383</c:v>
                </c:pt>
                <c:pt idx="6632">
                  <c:v>5.9878739372862713</c:v>
                </c:pt>
                <c:pt idx="6633">
                  <c:v>7.0223614170562696</c:v>
                </c:pt>
                <c:pt idx="6634">
                  <c:v>4.9726660242186389</c:v>
                </c:pt>
                <c:pt idx="6635">
                  <c:v>5.9258982179161084</c:v>
                </c:pt>
                <c:pt idx="6636">
                  <c:v>3.9773787382832801</c:v>
                </c:pt>
                <c:pt idx="6637">
                  <c:v>6.0375886699846566</c:v>
                </c:pt>
                <c:pt idx="6638">
                  <c:v>6.1062005431804049</c:v>
                </c:pt>
                <c:pt idx="6639">
                  <c:v>5.0663580228257459</c:v>
                </c:pt>
                <c:pt idx="6640">
                  <c:v>5.0295930769941268</c:v>
                </c:pt>
                <c:pt idx="6641">
                  <c:v>6.0742223664043706</c:v>
                </c:pt>
                <c:pt idx="6642">
                  <c:v>6.0071552386170337</c:v>
                </c:pt>
                <c:pt idx="6643">
                  <c:v>6.0647081144690587</c:v>
                </c:pt>
                <c:pt idx="6644">
                  <c:v>7.2110902422445813</c:v>
                </c:pt>
                <c:pt idx="6645">
                  <c:v>6.1583325512989227</c:v>
                </c:pt>
                <c:pt idx="6646">
                  <c:v>5.9511876649527258</c:v>
                </c:pt>
                <c:pt idx="6647">
                  <c:v>4.8363226138281243</c:v>
                </c:pt>
                <c:pt idx="6648">
                  <c:v>4.9632028541910307</c:v>
                </c:pt>
                <c:pt idx="6649">
                  <c:v>5.9678485019091347</c:v>
                </c:pt>
                <c:pt idx="6650">
                  <c:v>5.1430415409894259</c:v>
                </c:pt>
                <c:pt idx="6651">
                  <c:v>6.0319186435290097</c:v>
                </c:pt>
                <c:pt idx="6652">
                  <c:v>5.8787460093953472</c:v>
                </c:pt>
                <c:pt idx="6653">
                  <c:v>4.9687659802847746</c:v>
                </c:pt>
                <c:pt idx="6654">
                  <c:v>4.9860543729895923</c:v>
                </c:pt>
                <c:pt idx="6655">
                  <c:v>5.9273652031841078</c:v>
                </c:pt>
                <c:pt idx="6656">
                  <c:v>5.0749432088833704</c:v>
                </c:pt>
                <c:pt idx="6657">
                  <c:v>4.9823748905810694</c:v>
                </c:pt>
                <c:pt idx="6658">
                  <c:v>5.9047449047128202</c:v>
                </c:pt>
                <c:pt idx="6659">
                  <c:v>5.9251539664878399</c:v>
                </c:pt>
                <c:pt idx="6660">
                  <c:v>5.9707190296358013</c:v>
                </c:pt>
                <c:pt idx="6661">
                  <c:v>7.0230090818938846</c:v>
                </c:pt>
                <c:pt idx="6662">
                  <c:v>8.898524100268725</c:v>
                </c:pt>
                <c:pt idx="6663">
                  <c:v>5.9845440782214689</c:v>
                </c:pt>
                <c:pt idx="6664">
                  <c:v>4.7806833404053304</c:v>
                </c:pt>
                <c:pt idx="6665">
                  <c:v>4.9982760398234936</c:v>
                </c:pt>
                <c:pt idx="6666">
                  <c:v>6.0842935611680398</c:v>
                </c:pt>
                <c:pt idx="6667">
                  <c:v>5.9776374655443538</c:v>
                </c:pt>
                <c:pt idx="6668">
                  <c:v>6.1070999786454481</c:v>
                </c:pt>
                <c:pt idx="6669">
                  <c:v>5.8841610173891494</c:v>
                </c:pt>
                <c:pt idx="6670">
                  <c:v>6.0706094567947346</c:v>
                </c:pt>
                <c:pt idx="6671">
                  <c:v>6.078375634466588</c:v>
                </c:pt>
                <c:pt idx="6672">
                  <c:v>5.8953740150956904</c:v>
                </c:pt>
                <c:pt idx="6673">
                  <c:v>4.8846115071910781</c:v>
                </c:pt>
                <c:pt idx="6674">
                  <c:v>5.8286371339088223</c:v>
                </c:pt>
                <c:pt idx="6675">
                  <c:v>5.8777633690777824</c:v>
                </c:pt>
                <c:pt idx="6676">
                  <c:v>5.8416161424964557</c:v>
                </c:pt>
                <c:pt idx="6677">
                  <c:v>4.9790118435975135</c:v>
                </c:pt>
                <c:pt idx="6678">
                  <c:v>3.8730405925483256</c:v>
                </c:pt>
                <c:pt idx="6679">
                  <c:v>6.0135040196458478</c:v>
                </c:pt>
                <c:pt idx="6680">
                  <c:v>5.2228277420126883</c:v>
                </c:pt>
                <c:pt idx="6681">
                  <c:v>6.1047259021786671</c:v>
                </c:pt>
                <c:pt idx="6682">
                  <c:v>5.1201952764953562</c:v>
                </c:pt>
                <c:pt idx="6683">
                  <c:v>5.0470775795696365</c:v>
                </c:pt>
                <c:pt idx="6684">
                  <c:v>4.8570584518881983</c:v>
                </c:pt>
                <c:pt idx="6685">
                  <c:v>6.1506712664730703</c:v>
                </c:pt>
                <c:pt idx="6686">
                  <c:v>5.9101748532239933</c:v>
                </c:pt>
                <c:pt idx="6687">
                  <c:v>4.9507252243310731</c:v>
                </c:pt>
                <c:pt idx="6688">
                  <c:v>6.157427147690786</c:v>
                </c:pt>
                <c:pt idx="6689">
                  <c:v>4.882875953661042</c:v>
                </c:pt>
                <c:pt idx="6690">
                  <c:v>4.8969966188790561</c:v>
                </c:pt>
                <c:pt idx="6691">
                  <c:v>4.8439968707308418</c:v>
                </c:pt>
                <c:pt idx="6692">
                  <c:v>5.9602037980659848</c:v>
                </c:pt>
                <c:pt idx="6693">
                  <c:v>5.9675960227628302</c:v>
                </c:pt>
                <c:pt idx="6694">
                  <c:v>6.0955380514020581</c:v>
                </c:pt>
                <c:pt idx="6695">
                  <c:v>6.0276709193532083</c:v>
                </c:pt>
                <c:pt idx="6696">
                  <c:v>5.0299121789210028</c:v>
                </c:pt>
                <c:pt idx="6697">
                  <c:v>5.0298738784295889</c:v>
                </c:pt>
                <c:pt idx="6698">
                  <c:v>5.0272067323040526</c:v>
                </c:pt>
                <c:pt idx="6699">
                  <c:v>4.920808142432687</c:v>
                </c:pt>
                <c:pt idx="6700">
                  <c:v>5.9633162009978538</c:v>
                </c:pt>
                <c:pt idx="6701">
                  <c:v>5.0828685820006427</c:v>
                </c:pt>
                <c:pt idx="6702">
                  <c:v>5.1426702581243919</c:v>
                </c:pt>
                <c:pt idx="6703">
                  <c:v>5.0592935951208666</c:v>
                </c:pt>
                <c:pt idx="6704">
                  <c:v>5.0997137988561141</c:v>
                </c:pt>
                <c:pt idx="6705">
                  <c:v>6.2110408720401491</c:v>
                </c:pt>
                <c:pt idx="6706">
                  <c:v>4.8505810288190734</c:v>
                </c:pt>
                <c:pt idx="6707">
                  <c:v>5.0106120720260678</c:v>
                </c:pt>
                <c:pt idx="6708">
                  <c:v>4.963809359524368</c:v>
                </c:pt>
                <c:pt idx="6709">
                  <c:v>4.7545731090775645</c:v>
                </c:pt>
                <c:pt idx="6710">
                  <c:v>6.0605954516950034</c:v>
                </c:pt>
                <c:pt idx="6711">
                  <c:v>6.066116813182008</c:v>
                </c:pt>
                <c:pt idx="6712">
                  <c:v>5.077012696551737</c:v>
                </c:pt>
                <c:pt idx="6713">
                  <c:v>5.0243341946068796</c:v>
                </c:pt>
                <c:pt idx="6714">
                  <c:v>4.9555763607224517</c:v>
                </c:pt>
                <c:pt idx="6715">
                  <c:v>4.9699894537116416</c:v>
                </c:pt>
                <c:pt idx="6716">
                  <c:v>5.0747437409443314</c:v>
                </c:pt>
                <c:pt idx="6717">
                  <c:v>5.8593770501547633</c:v>
                </c:pt>
                <c:pt idx="6718">
                  <c:v>5.9640184257500488</c:v>
                </c:pt>
                <c:pt idx="6719">
                  <c:v>7.0391966174293019</c:v>
                </c:pt>
                <c:pt idx="6720">
                  <c:v>5.9810152843539219</c:v>
                </c:pt>
                <c:pt idx="6721">
                  <c:v>5.9828149123098902</c:v>
                </c:pt>
                <c:pt idx="6722">
                  <c:v>4.956029453743124</c:v>
                </c:pt>
                <c:pt idx="6723">
                  <c:v>5.8295826043444787</c:v>
                </c:pt>
                <c:pt idx="6724">
                  <c:v>6.1074669538993103</c:v>
                </c:pt>
                <c:pt idx="6725">
                  <c:v>6.0213083604898294</c:v>
                </c:pt>
                <c:pt idx="6726">
                  <c:v>5.9697349712987577</c:v>
                </c:pt>
                <c:pt idx="6727">
                  <c:v>5.8505236820482063</c:v>
                </c:pt>
                <c:pt idx="6728">
                  <c:v>5.9326183244131157</c:v>
                </c:pt>
                <c:pt idx="6729">
                  <c:v>5.9228884978569507</c:v>
                </c:pt>
                <c:pt idx="6730">
                  <c:v>6.0089743796231163</c:v>
                </c:pt>
                <c:pt idx="6731">
                  <c:v>5.8841119245937987</c:v>
                </c:pt>
                <c:pt idx="6732">
                  <c:v>6.1112332058864993</c:v>
                </c:pt>
                <c:pt idx="6733">
                  <c:v>7.0356342895613917</c:v>
                </c:pt>
                <c:pt idx="6734">
                  <c:v>5.8524213124533784</c:v>
                </c:pt>
                <c:pt idx="6735">
                  <c:v>5.1051057218055185</c:v>
                </c:pt>
                <c:pt idx="6736">
                  <c:v>6.9473516626096634</c:v>
                </c:pt>
                <c:pt idx="6737">
                  <c:v>5.8787838169845736</c:v>
                </c:pt>
                <c:pt idx="6738">
                  <c:v>5.8637580402602625</c:v>
                </c:pt>
                <c:pt idx="6739">
                  <c:v>6.2533692537818384</c:v>
                </c:pt>
                <c:pt idx="6740">
                  <c:v>5.9995556603865134</c:v>
                </c:pt>
                <c:pt idx="6741">
                  <c:v>5.8352034410682689</c:v>
                </c:pt>
                <c:pt idx="6742">
                  <c:v>6.8901220862810781</c:v>
                </c:pt>
                <c:pt idx="6743">
                  <c:v>6.8932533131689055</c:v>
                </c:pt>
                <c:pt idx="6744">
                  <c:v>7.1108696817555543</c:v>
                </c:pt>
                <c:pt idx="6745">
                  <c:v>5.0952915676541375</c:v>
                </c:pt>
                <c:pt idx="6746">
                  <c:v>5.9475548453448983</c:v>
                </c:pt>
                <c:pt idx="6747">
                  <c:v>6.0680786957822281</c:v>
                </c:pt>
                <c:pt idx="6748">
                  <c:v>6.1566259802548347</c:v>
                </c:pt>
                <c:pt idx="6749">
                  <c:v>4.970481831929547</c:v>
                </c:pt>
                <c:pt idx="6750">
                  <c:v>4.9178789724683671</c:v>
                </c:pt>
                <c:pt idx="6751">
                  <c:v>6.056096012153561</c:v>
                </c:pt>
                <c:pt idx="6752">
                  <c:v>6.0431590904055525</c:v>
                </c:pt>
                <c:pt idx="6753">
                  <c:v>7.0720119132502113</c:v>
                </c:pt>
                <c:pt idx="6754">
                  <c:v>5.9810773507062933</c:v>
                </c:pt>
                <c:pt idx="6755">
                  <c:v>5.9497671440362456</c:v>
                </c:pt>
                <c:pt idx="6756">
                  <c:v>6.8305840761204264</c:v>
                </c:pt>
                <c:pt idx="6757">
                  <c:v>5.0296802850319029</c:v>
                </c:pt>
                <c:pt idx="6758">
                  <c:v>6.8549328967040468</c:v>
                </c:pt>
                <c:pt idx="6759">
                  <c:v>5.8931336440363458</c:v>
                </c:pt>
                <c:pt idx="6760">
                  <c:v>5.9902472500666288</c:v>
                </c:pt>
                <c:pt idx="6761">
                  <c:v>6.0869111708169656</c:v>
                </c:pt>
                <c:pt idx="6762">
                  <c:v>4.7981047175742964</c:v>
                </c:pt>
                <c:pt idx="6763">
                  <c:v>5.0075989294520076</c:v>
                </c:pt>
                <c:pt idx="6764">
                  <c:v>7.0209892465280888</c:v>
                </c:pt>
                <c:pt idx="6765">
                  <c:v>5.9870271594577282</c:v>
                </c:pt>
                <c:pt idx="6766">
                  <c:v>5.3175540759253881</c:v>
                </c:pt>
                <c:pt idx="6767">
                  <c:v>6.0950474619552644</c:v>
                </c:pt>
                <c:pt idx="6768">
                  <c:v>7.0937098220344401</c:v>
                </c:pt>
                <c:pt idx="6769">
                  <c:v>4.9003592530387641</c:v>
                </c:pt>
                <c:pt idx="6770">
                  <c:v>4.9888255590065693</c:v>
                </c:pt>
                <c:pt idx="6771">
                  <c:v>4.855062413246908</c:v>
                </c:pt>
                <c:pt idx="6772">
                  <c:v>4.9447176552909422</c:v>
                </c:pt>
                <c:pt idx="6773">
                  <c:v>4.8999203726746234</c:v>
                </c:pt>
                <c:pt idx="6774">
                  <c:v>4.8707732314772807</c:v>
                </c:pt>
                <c:pt idx="6775">
                  <c:v>5.9183973728850399</c:v>
                </c:pt>
                <c:pt idx="6776">
                  <c:v>4.8332563226818017</c:v>
                </c:pt>
                <c:pt idx="6777">
                  <c:v>4.8131249445064235</c:v>
                </c:pt>
                <c:pt idx="6778">
                  <c:v>5.9315191466869051</c:v>
                </c:pt>
                <c:pt idx="6779">
                  <c:v>6.9744784826003547</c:v>
                </c:pt>
                <c:pt idx="6780">
                  <c:v>4.8867435297148472</c:v>
                </c:pt>
                <c:pt idx="6781">
                  <c:v>5.0503954471298176</c:v>
                </c:pt>
                <c:pt idx="6782">
                  <c:v>6.1584212713337649</c:v>
                </c:pt>
                <c:pt idx="6783">
                  <c:v>4.9620695900387179</c:v>
                </c:pt>
                <c:pt idx="6784">
                  <c:v>4.9158999143243172</c:v>
                </c:pt>
                <c:pt idx="6785">
                  <c:v>4.91534346792122</c:v>
                </c:pt>
                <c:pt idx="6786">
                  <c:v>5.1840251277278711</c:v>
                </c:pt>
                <c:pt idx="6787">
                  <c:v>6.018297407948447</c:v>
                </c:pt>
                <c:pt idx="6788">
                  <c:v>5.0319596672658395</c:v>
                </c:pt>
                <c:pt idx="6789">
                  <c:v>5.0245935596723292</c:v>
                </c:pt>
                <c:pt idx="6790">
                  <c:v>5.1927329369215514</c:v>
                </c:pt>
                <c:pt idx="6791">
                  <c:v>6.031953080721566</c:v>
                </c:pt>
                <c:pt idx="6792">
                  <c:v>6.0320991690592436</c:v>
                </c:pt>
                <c:pt idx="6793">
                  <c:v>7.0844150844251459</c:v>
                </c:pt>
                <c:pt idx="6794">
                  <c:v>5.233030510155654</c:v>
                </c:pt>
                <c:pt idx="6795">
                  <c:v>5.9492054762171627</c:v>
                </c:pt>
                <c:pt idx="6796">
                  <c:v>5.0497561198979808</c:v>
                </c:pt>
                <c:pt idx="6797">
                  <c:v>5.9483390241036371</c:v>
                </c:pt>
                <c:pt idx="6798">
                  <c:v>6.1869081606317922</c:v>
                </c:pt>
                <c:pt idx="6799">
                  <c:v>6.0198840047762872</c:v>
                </c:pt>
                <c:pt idx="6800">
                  <c:v>6.038900049025326</c:v>
                </c:pt>
                <c:pt idx="6801">
                  <c:v>4.9559304407455302</c:v>
                </c:pt>
                <c:pt idx="6802">
                  <c:v>4.990559975021359</c:v>
                </c:pt>
                <c:pt idx="6803">
                  <c:v>5.9220762926997743</c:v>
                </c:pt>
                <c:pt idx="6804">
                  <c:v>5.0161868995691643</c:v>
                </c:pt>
                <c:pt idx="6805">
                  <c:v>4.9099958476027954</c:v>
                </c:pt>
                <c:pt idx="6806">
                  <c:v>6.2216863553008395</c:v>
                </c:pt>
                <c:pt idx="6807">
                  <c:v>5.9665950147335289</c:v>
                </c:pt>
                <c:pt idx="6808">
                  <c:v>6.0781934803167594</c:v>
                </c:pt>
                <c:pt idx="6809">
                  <c:v>6.9616986362954902</c:v>
                </c:pt>
                <c:pt idx="6810">
                  <c:v>5.9934214970051709</c:v>
                </c:pt>
                <c:pt idx="6811">
                  <c:v>5.1122205766889079</c:v>
                </c:pt>
                <c:pt idx="6812">
                  <c:v>4.933250564367202</c:v>
                </c:pt>
                <c:pt idx="6813">
                  <c:v>5.1664554508573692</c:v>
                </c:pt>
                <c:pt idx="6814">
                  <c:v>5.8426192812968258</c:v>
                </c:pt>
                <c:pt idx="6815">
                  <c:v>4.185691685592813</c:v>
                </c:pt>
                <c:pt idx="6816">
                  <c:v>5.1435360396348049</c:v>
                </c:pt>
                <c:pt idx="6817">
                  <c:v>4.9926781324324496</c:v>
                </c:pt>
                <c:pt idx="6818">
                  <c:v>4.8628037704852245</c:v>
                </c:pt>
                <c:pt idx="6819">
                  <c:v>4.8861782091126367</c:v>
                </c:pt>
                <c:pt idx="6820">
                  <c:v>6.0360127843720379</c:v>
                </c:pt>
                <c:pt idx="6821">
                  <c:v>5.0484905874749408</c:v>
                </c:pt>
                <c:pt idx="6822">
                  <c:v>5.1461606466388705</c:v>
                </c:pt>
                <c:pt idx="6823">
                  <c:v>5.1135479667273724</c:v>
                </c:pt>
                <c:pt idx="6824">
                  <c:v>6.111373906589578</c:v>
                </c:pt>
                <c:pt idx="6825">
                  <c:v>7.1480052994243</c:v>
                </c:pt>
                <c:pt idx="6826">
                  <c:v>5.1106251928571851</c:v>
                </c:pt>
                <c:pt idx="6827">
                  <c:v>5.0191017591632967</c:v>
                </c:pt>
                <c:pt idx="6828">
                  <c:v>7.0626132248137869</c:v>
                </c:pt>
                <c:pt idx="6829">
                  <c:v>5.9407685717724812</c:v>
                </c:pt>
                <c:pt idx="6830">
                  <c:v>5.1457978866633542</c:v>
                </c:pt>
                <c:pt idx="6831">
                  <c:v>6.1261127328142067</c:v>
                </c:pt>
                <c:pt idx="6832">
                  <c:v>6.1347237099876004</c:v>
                </c:pt>
                <c:pt idx="6833">
                  <c:v>4.9199225175237302</c:v>
                </c:pt>
                <c:pt idx="6834">
                  <c:v>5.0403114392315587</c:v>
                </c:pt>
                <c:pt idx="6835">
                  <c:v>6.0053206796871654</c:v>
                </c:pt>
                <c:pt idx="6836">
                  <c:v>6.0458091083437147</c:v>
                </c:pt>
                <c:pt idx="6837">
                  <c:v>6.1671593026878284</c:v>
                </c:pt>
                <c:pt idx="6838">
                  <c:v>5.1284827199106804</c:v>
                </c:pt>
                <c:pt idx="6839">
                  <c:v>4.9095260299039705</c:v>
                </c:pt>
                <c:pt idx="6840">
                  <c:v>4.8786526982685459</c:v>
                </c:pt>
                <c:pt idx="6841">
                  <c:v>4.9144256106634208</c:v>
                </c:pt>
                <c:pt idx="6842">
                  <c:v>6.1248408605964046</c:v>
                </c:pt>
                <c:pt idx="6843">
                  <c:v>4.7809113118848767</c:v>
                </c:pt>
                <c:pt idx="6844">
                  <c:v>5.0023128902777385</c:v>
                </c:pt>
                <c:pt idx="6845">
                  <c:v>6.8483766717986816</c:v>
                </c:pt>
                <c:pt idx="6846">
                  <c:v>6.0021620223097045</c:v>
                </c:pt>
                <c:pt idx="6847">
                  <c:v>5.0083530393267433</c:v>
                </c:pt>
                <c:pt idx="6848">
                  <c:v>4.8675850006360353</c:v>
                </c:pt>
                <c:pt idx="6849">
                  <c:v>5.0707442914879515</c:v>
                </c:pt>
                <c:pt idx="6850">
                  <c:v>5.9483922866659524</c:v>
                </c:pt>
                <c:pt idx="6851">
                  <c:v>6.0015190503524813</c:v>
                </c:pt>
                <c:pt idx="6852">
                  <c:v>6.0249399785238476</c:v>
                </c:pt>
                <c:pt idx="6853">
                  <c:v>6.0051979302415841</c:v>
                </c:pt>
                <c:pt idx="6854">
                  <c:v>4.9565750729091125</c:v>
                </c:pt>
                <c:pt idx="6855">
                  <c:v>4.8543583857689061</c:v>
                </c:pt>
                <c:pt idx="6856">
                  <c:v>5.9679396933368167</c:v>
                </c:pt>
                <c:pt idx="6857">
                  <c:v>6.9368382410995713</c:v>
                </c:pt>
                <c:pt idx="6858">
                  <c:v>5.9364690849420487</c:v>
                </c:pt>
                <c:pt idx="6859">
                  <c:v>6.0288174344651448</c:v>
                </c:pt>
                <c:pt idx="6860">
                  <c:v>5.9498270669234472</c:v>
                </c:pt>
                <c:pt idx="6861">
                  <c:v>5.0585324177576192</c:v>
                </c:pt>
                <c:pt idx="6862">
                  <c:v>4.9586085605219221</c:v>
                </c:pt>
                <c:pt idx="6863">
                  <c:v>5.9432180277915139</c:v>
                </c:pt>
                <c:pt idx="6864">
                  <c:v>6.0564275350388357</c:v>
                </c:pt>
                <c:pt idx="6865">
                  <c:v>5.9945448529601455</c:v>
                </c:pt>
                <c:pt idx="6866">
                  <c:v>5.0985412005492705</c:v>
                </c:pt>
                <c:pt idx="6867">
                  <c:v>5.053112140880196</c:v>
                </c:pt>
                <c:pt idx="6868">
                  <c:v>5.8727382922108227</c:v>
                </c:pt>
                <c:pt idx="6869">
                  <c:v>5.8782671956289425</c:v>
                </c:pt>
                <c:pt idx="6870">
                  <c:v>5.0488703518826687</c:v>
                </c:pt>
                <c:pt idx="6871">
                  <c:v>5.0447649785582831</c:v>
                </c:pt>
                <c:pt idx="6872">
                  <c:v>5.0496932932469258</c:v>
                </c:pt>
                <c:pt idx="6873">
                  <c:v>5.0207341984799259</c:v>
                </c:pt>
                <c:pt idx="6874">
                  <c:v>7.1029830264928311</c:v>
                </c:pt>
                <c:pt idx="6875">
                  <c:v>7.1507158904775538</c:v>
                </c:pt>
                <c:pt idx="6876">
                  <c:v>7.0524510210958553</c:v>
                </c:pt>
                <c:pt idx="6877">
                  <c:v>6.074639551378552</c:v>
                </c:pt>
                <c:pt idx="6878">
                  <c:v>4.9027090991899271</c:v>
                </c:pt>
                <c:pt idx="6879">
                  <c:v>4.8329135933532088</c:v>
                </c:pt>
                <c:pt idx="6880">
                  <c:v>5.1514935733856131</c:v>
                </c:pt>
                <c:pt idx="6881">
                  <c:v>6.0143372280259575</c:v>
                </c:pt>
                <c:pt idx="6882">
                  <c:v>5.8245252020494931</c:v>
                </c:pt>
                <c:pt idx="6883">
                  <c:v>6.9807070577274892</c:v>
                </c:pt>
                <c:pt idx="6884">
                  <c:v>4.9298103574654135</c:v>
                </c:pt>
                <c:pt idx="6885">
                  <c:v>6.8728518245639689</c:v>
                </c:pt>
                <c:pt idx="6886">
                  <c:v>4.9580426741732904</c:v>
                </c:pt>
                <c:pt idx="6887">
                  <c:v>6.0579184249701488</c:v>
                </c:pt>
                <c:pt idx="6888">
                  <c:v>5.1896422062345602</c:v>
                </c:pt>
                <c:pt idx="6889">
                  <c:v>5.9085275216369855</c:v>
                </c:pt>
                <c:pt idx="6890">
                  <c:v>6.0244266446879227</c:v>
                </c:pt>
                <c:pt idx="6891">
                  <c:v>6.08060728253965</c:v>
                </c:pt>
                <c:pt idx="6892">
                  <c:v>6.0101580760619209</c:v>
                </c:pt>
                <c:pt idx="6893">
                  <c:v>5.8527176058207635</c:v>
                </c:pt>
                <c:pt idx="6894">
                  <c:v>4.989858411486777</c:v>
                </c:pt>
                <c:pt idx="6895">
                  <c:v>5.1214449705628944</c:v>
                </c:pt>
                <c:pt idx="6896">
                  <c:v>6.023976408020439</c:v>
                </c:pt>
                <c:pt idx="6897">
                  <c:v>4.8651592238422161</c:v>
                </c:pt>
                <c:pt idx="6898">
                  <c:v>5.9813648101793877</c:v>
                </c:pt>
                <c:pt idx="6899">
                  <c:v>5.0833123369349407</c:v>
                </c:pt>
                <c:pt idx="6900">
                  <c:v>5.9551327553632856</c:v>
                </c:pt>
                <c:pt idx="6901">
                  <c:v>4.9068642652547156</c:v>
                </c:pt>
                <c:pt idx="6902">
                  <c:v>5.9533734616742038</c:v>
                </c:pt>
                <c:pt idx="6903">
                  <c:v>4.8382839997234726</c:v>
                </c:pt>
                <c:pt idx="6904">
                  <c:v>6.0092128019368731</c:v>
                </c:pt>
                <c:pt idx="6905">
                  <c:v>7.0779161510090987</c:v>
                </c:pt>
                <c:pt idx="6906">
                  <c:v>5.9745303368865406</c:v>
                </c:pt>
                <c:pt idx="6907">
                  <c:v>4.8819638943758932</c:v>
                </c:pt>
                <c:pt idx="6908">
                  <c:v>4.93547651518102</c:v>
                </c:pt>
                <c:pt idx="6909">
                  <c:v>5.1263066537160507</c:v>
                </c:pt>
                <c:pt idx="6910">
                  <c:v>6.1411738738956618</c:v>
                </c:pt>
                <c:pt idx="6911">
                  <c:v>5.0825128259723913</c:v>
                </c:pt>
                <c:pt idx="6912">
                  <c:v>4.9134428330458393</c:v>
                </c:pt>
                <c:pt idx="6913">
                  <c:v>5.9840005467926813</c:v>
                </c:pt>
                <c:pt idx="6914">
                  <c:v>6.179264687020674</c:v>
                </c:pt>
                <c:pt idx="6915">
                  <c:v>4.8879360048594025</c:v>
                </c:pt>
                <c:pt idx="6916">
                  <c:v>4.9165747382444271</c:v>
                </c:pt>
                <c:pt idx="6917">
                  <c:v>5.1383257665924456</c:v>
                </c:pt>
                <c:pt idx="6918">
                  <c:v>5.0481715121686701</c:v>
                </c:pt>
                <c:pt idx="6919">
                  <c:v>4.8848733664071773</c:v>
                </c:pt>
                <c:pt idx="6920">
                  <c:v>7.1560735061949767</c:v>
                </c:pt>
                <c:pt idx="6921">
                  <c:v>5.0192373099850807</c:v>
                </c:pt>
                <c:pt idx="6922">
                  <c:v>5.1810265051991129</c:v>
                </c:pt>
                <c:pt idx="6923">
                  <c:v>6.0034799162590682</c:v>
                </c:pt>
                <c:pt idx="6924">
                  <c:v>4.9356955667487235</c:v>
                </c:pt>
                <c:pt idx="6925">
                  <c:v>5.8972596024491866</c:v>
                </c:pt>
                <c:pt idx="6926">
                  <c:v>5.1279369406524973</c:v>
                </c:pt>
                <c:pt idx="6927">
                  <c:v>6.9972316119365781</c:v>
                </c:pt>
                <c:pt idx="6928">
                  <c:v>3.8433539455957595</c:v>
                </c:pt>
                <c:pt idx="6929">
                  <c:v>4.9972326642235316</c:v>
                </c:pt>
                <c:pt idx="6930">
                  <c:v>6.8952349181472439</c:v>
                </c:pt>
                <c:pt idx="6931">
                  <c:v>7.0126664993686916</c:v>
                </c:pt>
                <c:pt idx="6932">
                  <c:v>4.9696573628129528</c:v>
                </c:pt>
                <c:pt idx="6933">
                  <c:v>5.0326309855606368</c:v>
                </c:pt>
                <c:pt idx="6934">
                  <c:v>5.212833279049045</c:v>
                </c:pt>
                <c:pt idx="6935">
                  <c:v>4.972491409295265</c:v>
                </c:pt>
                <c:pt idx="6936">
                  <c:v>5.8658296863034138</c:v>
                </c:pt>
                <c:pt idx="6937">
                  <c:v>5.955368306635628</c:v>
                </c:pt>
                <c:pt idx="6938">
                  <c:v>5.034637157248306</c:v>
                </c:pt>
                <c:pt idx="6939">
                  <c:v>5.9591549151099317</c:v>
                </c:pt>
                <c:pt idx="6940">
                  <c:v>5.1148970513713188</c:v>
                </c:pt>
                <c:pt idx="6941">
                  <c:v>5.7805015348976001</c:v>
                </c:pt>
                <c:pt idx="6942">
                  <c:v>5.0457274842802278</c:v>
                </c:pt>
                <c:pt idx="6943">
                  <c:v>6.2549838287270623</c:v>
                </c:pt>
                <c:pt idx="6944">
                  <c:v>5.9619666199824932</c:v>
                </c:pt>
                <c:pt idx="6945">
                  <c:v>4.9186735019999581</c:v>
                </c:pt>
                <c:pt idx="6946">
                  <c:v>5.9066068650340044</c:v>
                </c:pt>
                <c:pt idx="6947">
                  <c:v>5.086850226291908</c:v>
                </c:pt>
                <c:pt idx="6948">
                  <c:v>5.9999185958601249</c:v>
                </c:pt>
                <c:pt idx="6949">
                  <c:v>4.9774552844511604</c:v>
                </c:pt>
                <c:pt idx="6950">
                  <c:v>5.9628391239928709</c:v>
                </c:pt>
                <c:pt idx="6951">
                  <c:v>4.9730835034771559</c:v>
                </c:pt>
                <c:pt idx="6952">
                  <c:v>4.9709859121475635</c:v>
                </c:pt>
                <c:pt idx="6953">
                  <c:v>4.9855866613192088</c:v>
                </c:pt>
                <c:pt idx="6954">
                  <c:v>4.8039916025189955</c:v>
                </c:pt>
                <c:pt idx="6955">
                  <c:v>5.894894046365863</c:v>
                </c:pt>
                <c:pt idx="6956">
                  <c:v>4.9229343806819639</c:v>
                </c:pt>
                <c:pt idx="6957">
                  <c:v>6.0503109493585985</c:v>
                </c:pt>
                <c:pt idx="6958">
                  <c:v>5.0075618525094185</c:v>
                </c:pt>
                <c:pt idx="6959">
                  <c:v>5.051139833908711</c:v>
                </c:pt>
                <c:pt idx="6960">
                  <c:v>6.1032082770429525</c:v>
                </c:pt>
                <c:pt idx="6961">
                  <c:v>6.0662516695164292</c:v>
                </c:pt>
                <c:pt idx="6962">
                  <c:v>4.8402266864972079</c:v>
                </c:pt>
                <c:pt idx="6963">
                  <c:v>5.8824277507078291</c:v>
                </c:pt>
                <c:pt idx="6964">
                  <c:v>5.8786395589879543</c:v>
                </c:pt>
                <c:pt idx="6965">
                  <c:v>5.9976051791158858</c:v>
                </c:pt>
                <c:pt idx="6966">
                  <c:v>6.2171287124122676</c:v>
                </c:pt>
                <c:pt idx="6967">
                  <c:v>5.04638988143072</c:v>
                </c:pt>
                <c:pt idx="6968">
                  <c:v>5.0606876626605262</c:v>
                </c:pt>
                <c:pt idx="6969">
                  <c:v>5.0797441594048216</c:v>
                </c:pt>
                <c:pt idx="6970">
                  <c:v>5.1203986547011802</c:v>
                </c:pt>
                <c:pt idx="6971">
                  <c:v>5.889911683434371</c:v>
                </c:pt>
                <c:pt idx="6972">
                  <c:v>4.8542289341993392</c:v>
                </c:pt>
                <c:pt idx="6973">
                  <c:v>4.7797798014772477</c:v>
                </c:pt>
                <c:pt idx="6974">
                  <c:v>5.131146854177552</c:v>
                </c:pt>
                <c:pt idx="6975">
                  <c:v>6.099873593910667</c:v>
                </c:pt>
                <c:pt idx="6976">
                  <c:v>5.0769482626972806</c:v>
                </c:pt>
                <c:pt idx="6977">
                  <c:v>5.14624466126849</c:v>
                </c:pt>
                <c:pt idx="6978">
                  <c:v>6.0957823505121862</c:v>
                </c:pt>
                <c:pt idx="6979">
                  <c:v>5.0018312637575058</c:v>
                </c:pt>
                <c:pt idx="6980">
                  <c:v>5.1450655270876355</c:v>
                </c:pt>
                <c:pt idx="6981">
                  <c:v>5.9711795754217407</c:v>
                </c:pt>
                <c:pt idx="6982">
                  <c:v>5.093665817826369</c:v>
                </c:pt>
                <c:pt idx="6983">
                  <c:v>5.0461378159522301</c:v>
                </c:pt>
                <c:pt idx="6984">
                  <c:v>6.0783777897337767</c:v>
                </c:pt>
                <c:pt idx="6985">
                  <c:v>4.8866922141564393</c:v>
                </c:pt>
                <c:pt idx="6986">
                  <c:v>6.0335807689082808</c:v>
                </c:pt>
                <c:pt idx="6987">
                  <c:v>7.1136925929440018</c:v>
                </c:pt>
                <c:pt idx="6988">
                  <c:v>4.9657408919383981</c:v>
                </c:pt>
                <c:pt idx="6989">
                  <c:v>4.9367589673153285</c:v>
                </c:pt>
                <c:pt idx="6990">
                  <c:v>4.9647361137116661</c:v>
                </c:pt>
                <c:pt idx="6991">
                  <c:v>4.8166203891265074</c:v>
                </c:pt>
                <c:pt idx="6992">
                  <c:v>6.2448718105539509</c:v>
                </c:pt>
                <c:pt idx="6993">
                  <c:v>5.169462378960147</c:v>
                </c:pt>
                <c:pt idx="6994">
                  <c:v>6.05375912052655</c:v>
                </c:pt>
                <c:pt idx="6995">
                  <c:v>5.9021266071587766</c:v>
                </c:pt>
                <c:pt idx="6996">
                  <c:v>6.0285159116563909</c:v>
                </c:pt>
                <c:pt idx="6997">
                  <c:v>5.8204116732949718</c:v>
                </c:pt>
                <c:pt idx="6998">
                  <c:v>5.0875975405963461</c:v>
                </c:pt>
                <c:pt idx="6999">
                  <c:v>5.8467471632763717</c:v>
                </c:pt>
                <c:pt idx="7000">
                  <c:v>5.1305958600261059</c:v>
                </c:pt>
                <c:pt idx="7001">
                  <c:v>5.0566425953527849</c:v>
                </c:pt>
                <c:pt idx="7002">
                  <c:v>6.1244155082368419</c:v>
                </c:pt>
                <c:pt idx="7003">
                  <c:v>6.0856811185534676</c:v>
                </c:pt>
                <c:pt idx="7004">
                  <c:v>6.0663583420365672</c:v>
                </c:pt>
                <c:pt idx="7005">
                  <c:v>5.8955592802533188</c:v>
                </c:pt>
                <c:pt idx="7006">
                  <c:v>5.9855985220442731</c:v>
                </c:pt>
                <c:pt idx="7007">
                  <c:v>5.9903098279848157</c:v>
                </c:pt>
                <c:pt idx="7008">
                  <c:v>5.9783584180310729</c:v>
                </c:pt>
                <c:pt idx="7009">
                  <c:v>4.9942399155096169</c:v>
                </c:pt>
                <c:pt idx="7010">
                  <c:v>4.9943124438988002</c:v>
                </c:pt>
                <c:pt idx="7011">
                  <c:v>5.0560216765398902</c:v>
                </c:pt>
                <c:pt idx="7012">
                  <c:v>4.9660698558073788</c:v>
                </c:pt>
                <c:pt idx="7013">
                  <c:v>5.7772765428091226</c:v>
                </c:pt>
                <c:pt idx="7014">
                  <c:v>6.1007976288438295</c:v>
                </c:pt>
                <c:pt idx="7015">
                  <c:v>6.0767047594900907</c:v>
                </c:pt>
                <c:pt idx="7016">
                  <c:v>6.0081555492431553</c:v>
                </c:pt>
                <c:pt idx="7017">
                  <c:v>4.9147222471292418</c:v>
                </c:pt>
                <c:pt idx="7018">
                  <c:v>4.8500888538130758</c:v>
                </c:pt>
                <c:pt idx="7019">
                  <c:v>5.0284902293957749</c:v>
                </c:pt>
                <c:pt idx="7020">
                  <c:v>5.0293377956478631</c:v>
                </c:pt>
                <c:pt idx="7021">
                  <c:v>5.9282207102835232</c:v>
                </c:pt>
                <c:pt idx="7022">
                  <c:v>6.0810765322991154</c:v>
                </c:pt>
                <c:pt idx="7023">
                  <c:v>4.8776815526985944</c:v>
                </c:pt>
                <c:pt idx="7024">
                  <c:v>5.0740216560617917</c:v>
                </c:pt>
                <c:pt idx="7025">
                  <c:v>5.95614295606733</c:v>
                </c:pt>
                <c:pt idx="7026">
                  <c:v>4.9835485857344128</c:v>
                </c:pt>
                <c:pt idx="7027">
                  <c:v>5.8778590117694955</c:v>
                </c:pt>
                <c:pt idx="7028">
                  <c:v>5.2771692601589741</c:v>
                </c:pt>
                <c:pt idx="7029">
                  <c:v>4.8574014932543088</c:v>
                </c:pt>
                <c:pt idx="7030">
                  <c:v>5.1386152339795776</c:v>
                </c:pt>
                <c:pt idx="7031">
                  <c:v>4.894977930022999</c:v>
                </c:pt>
                <c:pt idx="7032">
                  <c:v>5.9891444551319335</c:v>
                </c:pt>
                <c:pt idx="7033">
                  <c:v>5.973473461733434</c:v>
                </c:pt>
                <c:pt idx="7034">
                  <c:v>5.085328894891429</c:v>
                </c:pt>
                <c:pt idx="7035">
                  <c:v>5.9408257973220602</c:v>
                </c:pt>
                <c:pt idx="7036">
                  <c:v>6.9722861146436221</c:v>
                </c:pt>
                <c:pt idx="7037">
                  <c:v>4.988115455112287</c:v>
                </c:pt>
                <c:pt idx="7038">
                  <c:v>7.2484905792327261</c:v>
                </c:pt>
                <c:pt idx="7039">
                  <c:v>5.9268463660323718</c:v>
                </c:pt>
                <c:pt idx="7040">
                  <c:v>4.9703552751990738</c:v>
                </c:pt>
                <c:pt idx="7041">
                  <c:v>6.1027870584139299</c:v>
                </c:pt>
                <c:pt idx="7042">
                  <c:v>6.1777394092369056</c:v>
                </c:pt>
                <c:pt idx="7043">
                  <c:v>5.0046163155544043</c:v>
                </c:pt>
                <c:pt idx="7044">
                  <c:v>4.8816833982664285</c:v>
                </c:pt>
                <c:pt idx="7045">
                  <c:v>5.0049530323905946</c:v>
                </c:pt>
                <c:pt idx="7046">
                  <c:v>5.1033364808933177</c:v>
                </c:pt>
                <c:pt idx="7047">
                  <c:v>5.1509830013613884</c:v>
                </c:pt>
                <c:pt idx="7048">
                  <c:v>6.0606722243344429</c:v>
                </c:pt>
                <c:pt idx="7049">
                  <c:v>5.9973722447154776</c:v>
                </c:pt>
                <c:pt idx="7050">
                  <c:v>4.9904034327482032</c:v>
                </c:pt>
                <c:pt idx="7051">
                  <c:v>6.0324100447937061</c:v>
                </c:pt>
                <c:pt idx="7052">
                  <c:v>5.1351184515012216</c:v>
                </c:pt>
                <c:pt idx="7053">
                  <c:v>6.0761950688644122</c:v>
                </c:pt>
                <c:pt idx="7054">
                  <c:v>6.9862973005092597</c:v>
                </c:pt>
                <c:pt idx="7055">
                  <c:v>4.7606812128419467</c:v>
                </c:pt>
                <c:pt idx="7056">
                  <c:v>4.1215275396002324</c:v>
                </c:pt>
                <c:pt idx="7057">
                  <c:v>4.9290953692158359</c:v>
                </c:pt>
                <c:pt idx="7058">
                  <c:v>4.7133279422711896</c:v>
                </c:pt>
                <c:pt idx="7059">
                  <c:v>5.0490938879955811</c:v>
                </c:pt>
                <c:pt idx="7060">
                  <c:v>5.9789701823947787</c:v>
                </c:pt>
                <c:pt idx="7061">
                  <c:v>6.2093945347740247</c:v>
                </c:pt>
                <c:pt idx="7062">
                  <c:v>5.9553512136804709</c:v>
                </c:pt>
                <c:pt idx="7063">
                  <c:v>5.8560288051636542</c:v>
                </c:pt>
                <c:pt idx="7064">
                  <c:v>5.8559350594151995</c:v>
                </c:pt>
                <c:pt idx="7065">
                  <c:v>5.0295741234177989</c:v>
                </c:pt>
                <c:pt idx="7066">
                  <c:v>4.8460852900082054</c:v>
                </c:pt>
                <c:pt idx="7067">
                  <c:v>5.8955818992861957</c:v>
                </c:pt>
                <c:pt idx="7068">
                  <c:v>5.015952055079838</c:v>
                </c:pt>
                <c:pt idx="7069">
                  <c:v>5.0094267355835882</c:v>
                </c:pt>
                <c:pt idx="7070">
                  <c:v>5.8857649596113717</c:v>
                </c:pt>
                <c:pt idx="7071">
                  <c:v>5.1314730284102392</c:v>
                </c:pt>
                <c:pt idx="7072">
                  <c:v>5.0335291218235367</c:v>
                </c:pt>
                <c:pt idx="7073">
                  <c:v>4.9206170130846516</c:v>
                </c:pt>
                <c:pt idx="7074">
                  <c:v>5.8806341103125339</c:v>
                </c:pt>
                <c:pt idx="7075">
                  <c:v>4.9835609778582306</c:v>
                </c:pt>
                <c:pt idx="7076">
                  <c:v>6.148330771196524</c:v>
                </c:pt>
                <c:pt idx="7077">
                  <c:v>6.0308064441778599</c:v>
                </c:pt>
                <c:pt idx="7078">
                  <c:v>4.8985747387945162</c:v>
                </c:pt>
                <c:pt idx="7079">
                  <c:v>5.0115409417723953</c:v>
                </c:pt>
                <c:pt idx="7080">
                  <c:v>6.0340073887388739</c:v>
                </c:pt>
                <c:pt idx="7081">
                  <c:v>5.1487150408125277</c:v>
                </c:pt>
                <c:pt idx="7082">
                  <c:v>6.1296940752034521</c:v>
                </c:pt>
                <c:pt idx="7083">
                  <c:v>5.0876781890413785</c:v>
                </c:pt>
                <c:pt idx="7084">
                  <c:v>4.8938628797090038</c:v>
                </c:pt>
                <c:pt idx="7085">
                  <c:v>5.1693315481755446</c:v>
                </c:pt>
                <c:pt idx="7086">
                  <c:v>6.0140782508640154</c:v>
                </c:pt>
                <c:pt idx="7087">
                  <c:v>5.9730853836491544</c:v>
                </c:pt>
                <c:pt idx="7088">
                  <c:v>6.9663740161814953</c:v>
                </c:pt>
                <c:pt idx="7089">
                  <c:v>4.9248453212176173</c:v>
                </c:pt>
                <c:pt idx="7090">
                  <c:v>4.9810261192129808</c:v>
                </c:pt>
                <c:pt idx="7091">
                  <c:v>6.1071808313340723</c:v>
                </c:pt>
                <c:pt idx="7092">
                  <c:v>5.1229076964471378</c:v>
                </c:pt>
                <c:pt idx="7093">
                  <c:v>4.8332281876182552</c:v>
                </c:pt>
                <c:pt idx="7094">
                  <c:v>5.9740617237886529</c:v>
                </c:pt>
                <c:pt idx="7095">
                  <c:v>5.9573912397522193</c:v>
                </c:pt>
                <c:pt idx="7096">
                  <c:v>4.957567622275703</c:v>
                </c:pt>
                <c:pt idx="7097">
                  <c:v>6.0200801228264238</c:v>
                </c:pt>
                <c:pt idx="7098">
                  <c:v>6.0852588266106302</c:v>
                </c:pt>
                <c:pt idx="7099">
                  <c:v>6.1760057692913515</c:v>
                </c:pt>
                <c:pt idx="7100">
                  <c:v>4.9314637585488228</c:v>
                </c:pt>
                <c:pt idx="7101">
                  <c:v>5.7924399916087683</c:v>
                </c:pt>
                <c:pt idx="7102">
                  <c:v>5.1294670841874721</c:v>
                </c:pt>
                <c:pt idx="7103">
                  <c:v>4.8623779153843083</c:v>
                </c:pt>
                <c:pt idx="7104">
                  <c:v>5.9898160055304173</c:v>
                </c:pt>
                <c:pt idx="7105">
                  <c:v>5.198779459035797</c:v>
                </c:pt>
                <c:pt idx="7106">
                  <c:v>7.1816652446321845</c:v>
                </c:pt>
                <c:pt idx="7107">
                  <c:v>6.0987214077506611</c:v>
                </c:pt>
                <c:pt idx="7108">
                  <c:v>4.8489833457172642</c:v>
                </c:pt>
                <c:pt idx="7109">
                  <c:v>5.9414076950754495</c:v>
                </c:pt>
                <c:pt idx="7110">
                  <c:v>5.0869112239183414</c:v>
                </c:pt>
                <c:pt idx="7111">
                  <c:v>5.8926731621515724</c:v>
                </c:pt>
                <c:pt idx="7112">
                  <c:v>6.0019414107951246</c:v>
                </c:pt>
                <c:pt idx="7113">
                  <c:v>5.0133837319245309</c:v>
                </c:pt>
                <c:pt idx="7114">
                  <c:v>5.980495999092545</c:v>
                </c:pt>
                <c:pt idx="7115">
                  <c:v>4.888379120108028</c:v>
                </c:pt>
                <c:pt idx="7116">
                  <c:v>5.2502127117492909</c:v>
                </c:pt>
                <c:pt idx="7117">
                  <c:v>5.136976235179552</c:v>
                </c:pt>
                <c:pt idx="7118">
                  <c:v>6.1777907129740282</c:v>
                </c:pt>
                <c:pt idx="7119">
                  <c:v>5.9333630655325527</c:v>
                </c:pt>
                <c:pt idx="7120">
                  <c:v>4.9782295212706744</c:v>
                </c:pt>
                <c:pt idx="7121">
                  <c:v>5.9706003680023043</c:v>
                </c:pt>
                <c:pt idx="7122">
                  <c:v>4.8827923735318537</c:v>
                </c:pt>
                <c:pt idx="7123">
                  <c:v>5.9745520383327584</c:v>
                </c:pt>
                <c:pt idx="7124">
                  <c:v>5.1147193760289396</c:v>
                </c:pt>
                <c:pt idx="7125">
                  <c:v>4.7684561826809633</c:v>
                </c:pt>
                <c:pt idx="7126">
                  <c:v>4.8707458218867457</c:v>
                </c:pt>
                <c:pt idx="7127">
                  <c:v>4.8834263594244263</c:v>
                </c:pt>
                <c:pt idx="7128">
                  <c:v>4.9439623715838099</c:v>
                </c:pt>
                <c:pt idx="7129">
                  <c:v>5.1029806536957674</c:v>
                </c:pt>
                <c:pt idx="7130">
                  <c:v>5.1209675424406509</c:v>
                </c:pt>
                <c:pt idx="7131">
                  <c:v>5.937849727465327</c:v>
                </c:pt>
                <c:pt idx="7132">
                  <c:v>5.0479915493838767</c:v>
                </c:pt>
                <c:pt idx="7133">
                  <c:v>5.179825446677758</c:v>
                </c:pt>
                <c:pt idx="7134">
                  <c:v>4.9374517925551968</c:v>
                </c:pt>
                <c:pt idx="7135">
                  <c:v>6.1060830962473212</c:v>
                </c:pt>
                <c:pt idx="7136">
                  <c:v>5.9035952568519896</c:v>
                </c:pt>
                <c:pt idx="7137">
                  <c:v>5.0549204663938907</c:v>
                </c:pt>
                <c:pt idx="7138">
                  <c:v>5.9892935446079374</c:v>
                </c:pt>
                <c:pt idx="7139">
                  <c:v>6.0164889533350703</c:v>
                </c:pt>
                <c:pt idx="7140">
                  <c:v>6.0643114131572062</c:v>
                </c:pt>
                <c:pt idx="7141">
                  <c:v>6.0158981490805647</c:v>
                </c:pt>
                <c:pt idx="7142">
                  <c:v>5.0184827709394488</c:v>
                </c:pt>
                <c:pt idx="7143">
                  <c:v>5.0942921077013654</c:v>
                </c:pt>
                <c:pt idx="7144">
                  <c:v>5.9466741242332359</c:v>
                </c:pt>
                <c:pt idx="7145">
                  <c:v>6.0533851547884066</c:v>
                </c:pt>
                <c:pt idx="7146">
                  <c:v>5.9855942901029229</c:v>
                </c:pt>
                <c:pt idx="7147">
                  <c:v>4.8156036729096492</c:v>
                </c:pt>
                <c:pt idx="7148">
                  <c:v>5.1689517591036171</c:v>
                </c:pt>
                <c:pt idx="7149">
                  <c:v>6.0385581973813647</c:v>
                </c:pt>
                <c:pt idx="7150">
                  <c:v>6.0271091982815337</c:v>
                </c:pt>
                <c:pt idx="7151">
                  <c:v>5.021277698408614</c:v>
                </c:pt>
                <c:pt idx="7152">
                  <c:v>6.0455721286493116</c:v>
                </c:pt>
                <c:pt idx="7153">
                  <c:v>6.0394689786261084</c:v>
                </c:pt>
                <c:pt idx="7154">
                  <c:v>5.8704729636719808</c:v>
                </c:pt>
                <c:pt idx="7155">
                  <c:v>6.0162111221512671</c:v>
                </c:pt>
                <c:pt idx="7156">
                  <c:v>5.9808688955217235</c:v>
                </c:pt>
                <c:pt idx="7157">
                  <c:v>5.0081708056654897</c:v>
                </c:pt>
                <c:pt idx="7158">
                  <c:v>5.9522633757510555</c:v>
                </c:pt>
                <c:pt idx="7159">
                  <c:v>5.8866180123174354</c:v>
                </c:pt>
                <c:pt idx="7160">
                  <c:v>5.897895194230375</c:v>
                </c:pt>
                <c:pt idx="7161">
                  <c:v>5.067192426149445</c:v>
                </c:pt>
                <c:pt idx="7162">
                  <c:v>6.030011702619408</c:v>
                </c:pt>
                <c:pt idx="7163">
                  <c:v>6.0713207346789293</c:v>
                </c:pt>
                <c:pt idx="7164">
                  <c:v>5.1145373996129795</c:v>
                </c:pt>
                <c:pt idx="7165">
                  <c:v>5.1466710515666181</c:v>
                </c:pt>
                <c:pt idx="7166">
                  <c:v>4.9412508893516121</c:v>
                </c:pt>
                <c:pt idx="7167">
                  <c:v>5.0379520425363618</c:v>
                </c:pt>
                <c:pt idx="7168">
                  <c:v>5.0868141050110847</c:v>
                </c:pt>
                <c:pt idx="7169">
                  <c:v>6.1566529625535837</c:v>
                </c:pt>
                <c:pt idx="7170">
                  <c:v>5.1115976036177182</c:v>
                </c:pt>
                <c:pt idx="7171">
                  <c:v>4.9739569486408675</c:v>
                </c:pt>
                <c:pt idx="7172">
                  <c:v>6.1334070742309947</c:v>
                </c:pt>
                <c:pt idx="7173">
                  <c:v>5.9602650552129273</c:v>
                </c:pt>
                <c:pt idx="7174">
                  <c:v>6.1602035922723184</c:v>
                </c:pt>
                <c:pt idx="7175">
                  <c:v>6.2303508402984802</c:v>
                </c:pt>
                <c:pt idx="7176">
                  <c:v>5.9286559366907028</c:v>
                </c:pt>
                <c:pt idx="7177">
                  <c:v>5.9309375380439375</c:v>
                </c:pt>
                <c:pt idx="7178">
                  <c:v>6.1860930100198441</c:v>
                </c:pt>
                <c:pt idx="7179">
                  <c:v>6.0582835573147928</c:v>
                </c:pt>
                <c:pt idx="7180">
                  <c:v>6.0662927606220443</c:v>
                </c:pt>
                <c:pt idx="7181">
                  <c:v>5.97273497864406</c:v>
                </c:pt>
                <c:pt idx="7182">
                  <c:v>5.9177562792795158</c:v>
                </c:pt>
                <c:pt idx="7183">
                  <c:v>5.9803227464161184</c:v>
                </c:pt>
                <c:pt idx="7184">
                  <c:v>5.918893044401405</c:v>
                </c:pt>
                <c:pt idx="7185">
                  <c:v>5.8491641256844975</c:v>
                </c:pt>
                <c:pt idx="7186">
                  <c:v>6.0676728416292951</c:v>
                </c:pt>
                <c:pt idx="7187">
                  <c:v>6.0019783326266261</c:v>
                </c:pt>
                <c:pt idx="7188">
                  <c:v>6.0010239751324672</c:v>
                </c:pt>
                <c:pt idx="7189">
                  <c:v>6.1188205726204519</c:v>
                </c:pt>
                <c:pt idx="7190">
                  <c:v>6.0373385112678193</c:v>
                </c:pt>
                <c:pt idx="7191">
                  <c:v>5.8692256672763481</c:v>
                </c:pt>
                <c:pt idx="7192">
                  <c:v>5.995630953602098</c:v>
                </c:pt>
                <c:pt idx="7193">
                  <c:v>5.8505704604930493</c:v>
                </c:pt>
                <c:pt idx="7194">
                  <c:v>6.0298473115953746</c:v>
                </c:pt>
                <c:pt idx="7195">
                  <c:v>5.0958545115780307</c:v>
                </c:pt>
                <c:pt idx="7196">
                  <c:v>5.0600046832350829</c:v>
                </c:pt>
                <c:pt idx="7197">
                  <c:v>6.027141424929197</c:v>
                </c:pt>
                <c:pt idx="7198">
                  <c:v>6.0485960304782056</c:v>
                </c:pt>
                <c:pt idx="7199">
                  <c:v>4.8434122080291111</c:v>
                </c:pt>
                <c:pt idx="7200">
                  <c:v>6.0497886598347064</c:v>
                </c:pt>
                <c:pt idx="7201">
                  <c:v>4.8618487381520898</c:v>
                </c:pt>
                <c:pt idx="7202">
                  <c:v>4.9875713046419046</c:v>
                </c:pt>
                <c:pt idx="7203">
                  <c:v>4.9214073240911125</c:v>
                </c:pt>
                <c:pt idx="7204">
                  <c:v>4.923807586701197</c:v>
                </c:pt>
                <c:pt idx="7205">
                  <c:v>6.070074761189078</c:v>
                </c:pt>
                <c:pt idx="7206">
                  <c:v>5.0014519953775975</c:v>
                </c:pt>
                <c:pt idx="7207">
                  <c:v>4.9881849686132727</c:v>
                </c:pt>
                <c:pt idx="7208">
                  <c:v>6.0123809527299432</c:v>
                </c:pt>
                <c:pt idx="7209">
                  <c:v>5.0203472950136216</c:v>
                </c:pt>
                <c:pt idx="7210">
                  <c:v>4.9945606766219521</c:v>
                </c:pt>
                <c:pt idx="7211">
                  <c:v>6.1212912595085704</c:v>
                </c:pt>
                <c:pt idx="7212">
                  <c:v>6.2284057806197382</c:v>
                </c:pt>
                <c:pt idx="7213">
                  <c:v>4.9740766525256204</c:v>
                </c:pt>
                <c:pt idx="7214">
                  <c:v>4.9932610789627612</c:v>
                </c:pt>
                <c:pt idx="7215">
                  <c:v>6.0843059683672944</c:v>
                </c:pt>
                <c:pt idx="7216">
                  <c:v>5.0712945857359095</c:v>
                </c:pt>
                <c:pt idx="7217">
                  <c:v>6.0552554400189456</c:v>
                </c:pt>
                <c:pt idx="7218">
                  <c:v>6.1421805091260282</c:v>
                </c:pt>
                <c:pt idx="7219">
                  <c:v>5.0340677421397446</c:v>
                </c:pt>
                <c:pt idx="7220">
                  <c:v>5.8820215485065779</c:v>
                </c:pt>
                <c:pt idx="7221">
                  <c:v>5.0109046147729686</c:v>
                </c:pt>
                <c:pt idx="7222">
                  <c:v>4.9217503218272798</c:v>
                </c:pt>
                <c:pt idx="7223">
                  <c:v>4.8618595198231533</c:v>
                </c:pt>
                <c:pt idx="7224">
                  <c:v>4.9248109578833787</c:v>
                </c:pt>
                <c:pt idx="7225">
                  <c:v>6.0577212667650988</c:v>
                </c:pt>
                <c:pt idx="7226">
                  <c:v>6.0496215495019969</c:v>
                </c:pt>
                <c:pt idx="7227">
                  <c:v>4.9189420472543475</c:v>
                </c:pt>
                <c:pt idx="7228">
                  <c:v>5.1207755895429488</c:v>
                </c:pt>
                <c:pt idx="7229">
                  <c:v>5.9478317008333699</c:v>
                </c:pt>
                <c:pt idx="7230">
                  <c:v>6.0291519523486379</c:v>
                </c:pt>
                <c:pt idx="7231">
                  <c:v>4.9495874628689078</c:v>
                </c:pt>
                <c:pt idx="7232">
                  <c:v>6.0743648778023402</c:v>
                </c:pt>
                <c:pt idx="7233">
                  <c:v>5.0729403710891372</c:v>
                </c:pt>
                <c:pt idx="7234">
                  <c:v>5.1950787375571359</c:v>
                </c:pt>
                <c:pt idx="7235">
                  <c:v>4.8962805038627</c:v>
                </c:pt>
                <c:pt idx="7236">
                  <c:v>5.0941070903497883</c:v>
                </c:pt>
                <c:pt idx="7237">
                  <c:v>5.015721395891517</c:v>
                </c:pt>
                <c:pt idx="7238">
                  <c:v>5.9549696147353748</c:v>
                </c:pt>
                <c:pt idx="7239">
                  <c:v>5.9831103771846799</c:v>
                </c:pt>
                <c:pt idx="7240">
                  <c:v>5.0011135790459136</c:v>
                </c:pt>
                <c:pt idx="7241">
                  <c:v>4.8974976741593794</c:v>
                </c:pt>
                <c:pt idx="7242">
                  <c:v>5.993875066740082</c:v>
                </c:pt>
                <c:pt idx="7243">
                  <c:v>4.8996146515696575</c:v>
                </c:pt>
                <c:pt idx="7244">
                  <c:v>6.0674423451217399</c:v>
                </c:pt>
                <c:pt idx="7245">
                  <c:v>5.8295572895129091</c:v>
                </c:pt>
                <c:pt idx="7246">
                  <c:v>5.0142615925393352</c:v>
                </c:pt>
                <c:pt idx="7247">
                  <c:v>6.0091571716009629</c:v>
                </c:pt>
                <c:pt idx="7248">
                  <c:v>5.0156424421172527</c:v>
                </c:pt>
                <c:pt idx="7249">
                  <c:v>6.0870777301809547</c:v>
                </c:pt>
                <c:pt idx="7250">
                  <c:v>6.0818434568359194</c:v>
                </c:pt>
                <c:pt idx="7251">
                  <c:v>5.0679237835085891</c:v>
                </c:pt>
                <c:pt idx="7252">
                  <c:v>5.0401310691946613</c:v>
                </c:pt>
                <c:pt idx="7253">
                  <c:v>6.136368304586048</c:v>
                </c:pt>
                <c:pt idx="7254">
                  <c:v>6.0678936158953585</c:v>
                </c:pt>
                <c:pt idx="7255">
                  <c:v>4.9968063373614857</c:v>
                </c:pt>
                <c:pt idx="7256">
                  <c:v>4.9183007134223864</c:v>
                </c:pt>
                <c:pt idx="7257">
                  <c:v>4.9555186538315938</c:v>
                </c:pt>
                <c:pt idx="7258">
                  <c:v>4.9212725479080159</c:v>
                </c:pt>
                <c:pt idx="7259">
                  <c:v>4.9148386259936228</c:v>
                </c:pt>
                <c:pt idx="7260">
                  <c:v>5.134906053062072</c:v>
                </c:pt>
                <c:pt idx="7261">
                  <c:v>4.0913579774224571</c:v>
                </c:pt>
                <c:pt idx="7262">
                  <c:v>5.9741322260985212</c:v>
                </c:pt>
                <c:pt idx="7263">
                  <c:v>3.095693915263499</c:v>
                </c:pt>
                <c:pt idx="7264">
                  <c:v>6.0601862890570395</c:v>
                </c:pt>
                <c:pt idx="7265">
                  <c:v>4.9812999943946492</c:v>
                </c:pt>
                <c:pt idx="7266">
                  <c:v>5.8296871604660936</c:v>
                </c:pt>
                <c:pt idx="7267">
                  <c:v>4.909225884171736</c:v>
                </c:pt>
                <c:pt idx="7268">
                  <c:v>6.1736794574905112</c:v>
                </c:pt>
                <c:pt idx="7269">
                  <c:v>5.9014744674417479</c:v>
                </c:pt>
                <c:pt idx="7270">
                  <c:v>5.9157028687940301</c:v>
                </c:pt>
                <c:pt idx="7271">
                  <c:v>5.8890867649760104</c:v>
                </c:pt>
                <c:pt idx="7272">
                  <c:v>5.1235857540777152</c:v>
                </c:pt>
                <c:pt idx="7273">
                  <c:v>4.9863820141965505</c:v>
                </c:pt>
                <c:pt idx="7274">
                  <c:v>6.0476851209007565</c:v>
                </c:pt>
                <c:pt idx="7275">
                  <c:v>5.0796628075517587</c:v>
                </c:pt>
                <c:pt idx="7276">
                  <c:v>6.0493874829561864</c:v>
                </c:pt>
                <c:pt idx="7277">
                  <c:v>5.9342835158154204</c:v>
                </c:pt>
                <c:pt idx="7278">
                  <c:v>6.0600089325187563</c:v>
                </c:pt>
                <c:pt idx="7279">
                  <c:v>6.1193779347290089</c:v>
                </c:pt>
                <c:pt idx="7280">
                  <c:v>4.9758862584746595</c:v>
                </c:pt>
                <c:pt idx="7281">
                  <c:v>6.9200085541005425</c:v>
                </c:pt>
                <c:pt idx="7282">
                  <c:v>4.8276014155224614</c:v>
                </c:pt>
                <c:pt idx="7283">
                  <c:v>6.074042607177975</c:v>
                </c:pt>
                <c:pt idx="7284">
                  <c:v>4.9339881799255298</c:v>
                </c:pt>
                <c:pt idx="7285">
                  <c:v>6.1021627676570169</c:v>
                </c:pt>
                <c:pt idx="7286">
                  <c:v>6.039369070479653</c:v>
                </c:pt>
                <c:pt idx="7287">
                  <c:v>6.0262694358343492</c:v>
                </c:pt>
                <c:pt idx="7288">
                  <c:v>4.9644315145173197</c:v>
                </c:pt>
                <c:pt idx="7289">
                  <c:v>6.2166131910407962</c:v>
                </c:pt>
                <c:pt idx="7290">
                  <c:v>4.9836609094052502</c:v>
                </c:pt>
                <c:pt idx="7291">
                  <c:v>4.9181149285374932</c:v>
                </c:pt>
                <c:pt idx="7292">
                  <c:v>7.0771656673236185</c:v>
                </c:pt>
                <c:pt idx="7293">
                  <c:v>5.1168338916499465</c:v>
                </c:pt>
                <c:pt idx="7294">
                  <c:v>5.8641466881263788</c:v>
                </c:pt>
                <c:pt idx="7295">
                  <c:v>3.8692542376245123</c:v>
                </c:pt>
                <c:pt idx="7296">
                  <c:v>5.0465756566017062</c:v>
                </c:pt>
                <c:pt idx="7297">
                  <c:v>4.9164821221432931</c:v>
                </c:pt>
                <c:pt idx="7298">
                  <c:v>7.0211597424129621</c:v>
                </c:pt>
                <c:pt idx="7299">
                  <c:v>5.9361870832047128</c:v>
                </c:pt>
                <c:pt idx="7300">
                  <c:v>6.1107532888482625</c:v>
                </c:pt>
                <c:pt idx="7301">
                  <c:v>6.9657023209743816</c:v>
                </c:pt>
                <c:pt idx="7302">
                  <c:v>5.1053040901290361</c:v>
                </c:pt>
                <c:pt idx="7303">
                  <c:v>4.9574622108923183</c:v>
                </c:pt>
                <c:pt idx="7304">
                  <c:v>4.9913872837834132</c:v>
                </c:pt>
                <c:pt idx="7305">
                  <c:v>5.994472046680416</c:v>
                </c:pt>
                <c:pt idx="7306">
                  <c:v>5.9824531788305899</c:v>
                </c:pt>
                <c:pt idx="7307">
                  <c:v>4.9233780872965811</c:v>
                </c:pt>
                <c:pt idx="7308">
                  <c:v>6.0818058568405364</c:v>
                </c:pt>
                <c:pt idx="7309">
                  <c:v>5.0492915285109872</c:v>
                </c:pt>
                <c:pt idx="7310">
                  <c:v>5.0288217418957259</c:v>
                </c:pt>
                <c:pt idx="7311">
                  <c:v>4.7718408965745382</c:v>
                </c:pt>
                <c:pt idx="7312">
                  <c:v>5.8312786546495241</c:v>
                </c:pt>
                <c:pt idx="7313">
                  <c:v>5.001780403611928</c:v>
                </c:pt>
                <c:pt idx="7314">
                  <c:v>5.9138084161832829</c:v>
                </c:pt>
                <c:pt idx="7315">
                  <c:v>5.1441142713725041</c:v>
                </c:pt>
                <c:pt idx="7316">
                  <c:v>4.9953524059960781</c:v>
                </c:pt>
                <c:pt idx="7317">
                  <c:v>5.0550382743794788</c:v>
                </c:pt>
                <c:pt idx="7318">
                  <c:v>4.9929001910774682</c:v>
                </c:pt>
                <c:pt idx="7319">
                  <c:v>6.1683846170288055</c:v>
                </c:pt>
                <c:pt idx="7320">
                  <c:v>4.9381534430970264</c:v>
                </c:pt>
                <c:pt idx="7321">
                  <c:v>6.0167572625193104</c:v>
                </c:pt>
                <c:pt idx="7322">
                  <c:v>4.946154483835957</c:v>
                </c:pt>
                <c:pt idx="7323">
                  <c:v>5.8817727031777611</c:v>
                </c:pt>
                <c:pt idx="7324">
                  <c:v>6.0918346349848775</c:v>
                </c:pt>
                <c:pt idx="7325">
                  <c:v>5.1178212374890615</c:v>
                </c:pt>
                <c:pt idx="7326">
                  <c:v>5.1228323241071108</c:v>
                </c:pt>
                <c:pt idx="7327">
                  <c:v>5.9339979272349161</c:v>
                </c:pt>
                <c:pt idx="7328">
                  <c:v>6.0929622789569295</c:v>
                </c:pt>
                <c:pt idx="7329">
                  <c:v>4.9193906868449657</c:v>
                </c:pt>
                <c:pt idx="7330">
                  <c:v>6.0296291443654741</c:v>
                </c:pt>
                <c:pt idx="7331">
                  <c:v>6.1172401267177712</c:v>
                </c:pt>
                <c:pt idx="7332">
                  <c:v>6.1549091846020243</c:v>
                </c:pt>
                <c:pt idx="7333">
                  <c:v>5.1533724443572417</c:v>
                </c:pt>
                <c:pt idx="7334">
                  <c:v>4.92025726708283</c:v>
                </c:pt>
                <c:pt idx="7335">
                  <c:v>5.0919920394960059</c:v>
                </c:pt>
                <c:pt idx="7336">
                  <c:v>6.0323380736579209</c:v>
                </c:pt>
                <c:pt idx="7337">
                  <c:v>5.0307890212343924</c:v>
                </c:pt>
                <c:pt idx="7338">
                  <c:v>5.1081982142017797</c:v>
                </c:pt>
                <c:pt idx="7339">
                  <c:v>5.1581039994997679</c:v>
                </c:pt>
                <c:pt idx="7340">
                  <c:v>7.2101357975094906</c:v>
                </c:pt>
                <c:pt idx="7341">
                  <c:v>6.0286055852284726</c:v>
                </c:pt>
                <c:pt idx="7342">
                  <c:v>5.9339546246833494</c:v>
                </c:pt>
                <c:pt idx="7343">
                  <c:v>6.0347579708064911</c:v>
                </c:pt>
                <c:pt idx="7344">
                  <c:v>5.9822118922691825</c:v>
                </c:pt>
                <c:pt idx="7345">
                  <c:v>5.0467560538943461</c:v>
                </c:pt>
                <c:pt idx="7346">
                  <c:v>6.0750189477432706</c:v>
                </c:pt>
                <c:pt idx="7347">
                  <c:v>5.0852233723562428</c:v>
                </c:pt>
                <c:pt idx="7348">
                  <c:v>5.0628959008927978</c:v>
                </c:pt>
                <c:pt idx="7349">
                  <c:v>5.0024932416812362</c:v>
                </c:pt>
                <c:pt idx="7350">
                  <c:v>5.1048056654315879</c:v>
                </c:pt>
                <c:pt idx="7351">
                  <c:v>6.1075094568733546</c:v>
                </c:pt>
                <c:pt idx="7352">
                  <c:v>5.9998020867031938</c:v>
                </c:pt>
                <c:pt idx="7353">
                  <c:v>6.0535373666530523</c:v>
                </c:pt>
                <c:pt idx="7354">
                  <c:v>6.095176491684497</c:v>
                </c:pt>
                <c:pt idx="7355">
                  <c:v>5.0633274205422181</c:v>
                </c:pt>
                <c:pt idx="7356">
                  <c:v>5.9131151468944756</c:v>
                </c:pt>
                <c:pt idx="7357">
                  <c:v>4.8643633929700494</c:v>
                </c:pt>
                <c:pt idx="7358">
                  <c:v>6.0055981615132481</c:v>
                </c:pt>
                <c:pt idx="7359">
                  <c:v>4.9486083491206383</c:v>
                </c:pt>
                <c:pt idx="7360">
                  <c:v>5.9778121861159814</c:v>
                </c:pt>
                <c:pt idx="7361">
                  <c:v>5.0968987928285516</c:v>
                </c:pt>
                <c:pt idx="7362">
                  <c:v>4.9269958747698119</c:v>
                </c:pt>
                <c:pt idx="7363">
                  <c:v>6.0387068671629258</c:v>
                </c:pt>
                <c:pt idx="7364">
                  <c:v>4.9630098100906315</c:v>
                </c:pt>
                <c:pt idx="7365">
                  <c:v>4.9449746447384726</c:v>
                </c:pt>
                <c:pt idx="7366">
                  <c:v>5.9601408178277815</c:v>
                </c:pt>
                <c:pt idx="7367">
                  <c:v>5.8901101897090058</c:v>
                </c:pt>
                <c:pt idx="7368">
                  <c:v>5.000444262786961</c:v>
                </c:pt>
                <c:pt idx="7369">
                  <c:v>5.947754863799612</c:v>
                </c:pt>
                <c:pt idx="7370">
                  <c:v>5.900116999755161</c:v>
                </c:pt>
                <c:pt idx="7371">
                  <c:v>4.9368362155366112</c:v>
                </c:pt>
                <c:pt idx="7372">
                  <c:v>5.0208079847773828</c:v>
                </c:pt>
                <c:pt idx="7373">
                  <c:v>5.0749333453542667</c:v>
                </c:pt>
                <c:pt idx="7374">
                  <c:v>5.1386669578439292</c:v>
                </c:pt>
                <c:pt idx="7375">
                  <c:v>6.0756114030651753</c:v>
                </c:pt>
                <c:pt idx="7376">
                  <c:v>6.8450199469774047</c:v>
                </c:pt>
                <c:pt idx="7377">
                  <c:v>6.9456970250331382</c:v>
                </c:pt>
                <c:pt idx="7378">
                  <c:v>4.9785956885910316</c:v>
                </c:pt>
                <c:pt idx="7379">
                  <c:v>5.9906120395325582</c:v>
                </c:pt>
                <c:pt idx="7380">
                  <c:v>5.0099174426401207</c:v>
                </c:pt>
                <c:pt idx="7381">
                  <c:v>5.8650922522522748</c:v>
                </c:pt>
                <c:pt idx="7382">
                  <c:v>5.9838204068668741</c:v>
                </c:pt>
                <c:pt idx="7383">
                  <c:v>5.9017332299604135</c:v>
                </c:pt>
                <c:pt idx="7384">
                  <c:v>6.0552996912917338</c:v>
                </c:pt>
                <c:pt idx="7385">
                  <c:v>5.0514096618252031</c:v>
                </c:pt>
                <c:pt idx="7386">
                  <c:v>5.0734539641920673</c:v>
                </c:pt>
                <c:pt idx="7387">
                  <c:v>5.978819526896312</c:v>
                </c:pt>
                <c:pt idx="7388">
                  <c:v>7.0902673749241067</c:v>
                </c:pt>
                <c:pt idx="7389">
                  <c:v>7.036526800805996</c:v>
                </c:pt>
                <c:pt idx="7390">
                  <c:v>6.9858749049596094</c:v>
                </c:pt>
                <c:pt idx="7391">
                  <c:v>5.9492557193225171</c:v>
                </c:pt>
                <c:pt idx="7392">
                  <c:v>5.9681168482184201</c:v>
                </c:pt>
                <c:pt idx="7393">
                  <c:v>4.9416743583626443</c:v>
                </c:pt>
                <c:pt idx="7394">
                  <c:v>5.917945416979669</c:v>
                </c:pt>
                <c:pt idx="7395">
                  <c:v>5.0089787502965279</c:v>
                </c:pt>
                <c:pt idx="7396">
                  <c:v>5.9527701089469085</c:v>
                </c:pt>
                <c:pt idx="7397">
                  <c:v>6.1411088098446101</c:v>
                </c:pt>
                <c:pt idx="7398">
                  <c:v>5.8950702419383587</c:v>
                </c:pt>
                <c:pt idx="7399">
                  <c:v>5.883532839950254</c:v>
                </c:pt>
                <c:pt idx="7400">
                  <c:v>6.0386405162026247</c:v>
                </c:pt>
                <c:pt idx="7401">
                  <c:v>4.9644363667351747</c:v>
                </c:pt>
                <c:pt idx="7402">
                  <c:v>2.0148752027307926</c:v>
                </c:pt>
                <c:pt idx="7403">
                  <c:v>2.14393111083462</c:v>
                </c:pt>
                <c:pt idx="7404">
                  <c:v>6.0791219100464335</c:v>
                </c:pt>
                <c:pt idx="7405">
                  <c:v>5.1606749513478727</c:v>
                </c:pt>
                <c:pt idx="7406">
                  <c:v>5.0511916402700265</c:v>
                </c:pt>
                <c:pt idx="7407">
                  <c:v>4.9857821898441026</c:v>
                </c:pt>
                <c:pt idx="7408">
                  <c:v>6.1051026837728868</c:v>
                </c:pt>
                <c:pt idx="7409">
                  <c:v>5.1522197040911966</c:v>
                </c:pt>
                <c:pt idx="7410">
                  <c:v>4.8053347445549166</c:v>
                </c:pt>
                <c:pt idx="7411">
                  <c:v>5.0230164265245643</c:v>
                </c:pt>
                <c:pt idx="7412">
                  <c:v>5.9078241439070469</c:v>
                </c:pt>
                <c:pt idx="7413">
                  <c:v>6.868591304121515</c:v>
                </c:pt>
                <c:pt idx="7414">
                  <c:v>6.0478221110939954</c:v>
                </c:pt>
                <c:pt idx="7415">
                  <c:v>4.9431207697951294</c:v>
                </c:pt>
                <c:pt idx="7416">
                  <c:v>5.1337827509012275</c:v>
                </c:pt>
                <c:pt idx="7417">
                  <c:v>4.964205136656596</c:v>
                </c:pt>
                <c:pt idx="7418">
                  <c:v>5.1358095642854433</c:v>
                </c:pt>
                <c:pt idx="7419">
                  <c:v>4.9998990185192431</c:v>
                </c:pt>
                <c:pt idx="7420">
                  <c:v>6.0000983103135246</c:v>
                </c:pt>
                <c:pt idx="7421">
                  <c:v>4.9693878927523665</c:v>
                </c:pt>
                <c:pt idx="7422">
                  <c:v>5.9165762401400723</c:v>
                </c:pt>
                <c:pt idx="7423">
                  <c:v>5.1340974239070132</c:v>
                </c:pt>
                <c:pt idx="7424">
                  <c:v>4.942790138362672</c:v>
                </c:pt>
                <c:pt idx="7425">
                  <c:v>6.086133242280658</c:v>
                </c:pt>
                <c:pt idx="7426">
                  <c:v>6.0127965537790811</c:v>
                </c:pt>
                <c:pt idx="7427">
                  <c:v>6.9778932366066346</c:v>
                </c:pt>
                <c:pt idx="7428">
                  <c:v>5.9114794296437392</c:v>
                </c:pt>
                <c:pt idx="7429">
                  <c:v>5.8803641465250758</c:v>
                </c:pt>
                <c:pt idx="7430">
                  <c:v>1.8615805769193043</c:v>
                </c:pt>
                <c:pt idx="7431">
                  <c:v>4.0636306949692091</c:v>
                </c:pt>
                <c:pt idx="7432">
                  <c:v>4.9728594175456671</c:v>
                </c:pt>
                <c:pt idx="7433">
                  <c:v>4.8624564303098579</c:v>
                </c:pt>
                <c:pt idx="7434">
                  <c:v>6.1721734416767813</c:v>
                </c:pt>
                <c:pt idx="7435">
                  <c:v>4.9750411612200338</c:v>
                </c:pt>
                <c:pt idx="7436">
                  <c:v>5.8859841522441778</c:v>
                </c:pt>
                <c:pt idx="7437">
                  <c:v>5.9449072785481292</c:v>
                </c:pt>
                <c:pt idx="7438">
                  <c:v>6.0792748694407415</c:v>
                </c:pt>
                <c:pt idx="7439">
                  <c:v>6.0124927986042831</c:v>
                </c:pt>
                <c:pt idx="7440">
                  <c:v>5.0520219255325571</c:v>
                </c:pt>
                <c:pt idx="7441">
                  <c:v>5.0015098513399394</c:v>
                </c:pt>
                <c:pt idx="7442">
                  <c:v>4.8724468714060611</c:v>
                </c:pt>
                <c:pt idx="7443">
                  <c:v>5.9695124437441356</c:v>
                </c:pt>
                <c:pt idx="7444">
                  <c:v>5.7896921277709685</c:v>
                </c:pt>
                <c:pt idx="7445">
                  <c:v>5.0699282858586443</c:v>
                </c:pt>
                <c:pt idx="7446">
                  <c:v>5.9706295883426028</c:v>
                </c:pt>
                <c:pt idx="7447">
                  <c:v>5.8981436179345774</c:v>
                </c:pt>
                <c:pt idx="7448">
                  <c:v>5.0593646429652219</c:v>
                </c:pt>
                <c:pt idx="7449">
                  <c:v>5.1101652442102861</c:v>
                </c:pt>
                <c:pt idx="7450">
                  <c:v>5.1721650585511378</c:v>
                </c:pt>
                <c:pt idx="7451">
                  <c:v>5.0839708327622333</c:v>
                </c:pt>
                <c:pt idx="7452">
                  <c:v>6.0186499742773449</c:v>
                </c:pt>
                <c:pt idx="7453">
                  <c:v>4.9899898758749073</c:v>
                </c:pt>
                <c:pt idx="7454">
                  <c:v>6.0495041048969318</c:v>
                </c:pt>
                <c:pt idx="7455">
                  <c:v>5.9279253102874634</c:v>
                </c:pt>
                <c:pt idx="7456">
                  <c:v>4.9404360757922134</c:v>
                </c:pt>
                <c:pt idx="7457">
                  <c:v>4.7780764406999188</c:v>
                </c:pt>
                <c:pt idx="7458">
                  <c:v>5.0531968522333308</c:v>
                </c:pt>
                <c:pt idx="7459">
                  <c:v>5.1191084668217721</c:v>
                </c:pt>
                <c:pt idx="7460">
                  <c:v>5.0607068992203033</c:v>
                </c:pt>
                <c:pt idx="7461">
                  <c:v>5.014082662380015</c:v>
                </c:pt>
                <c:pt idx="7462">
                  <c:v>4.9591733070436348</c:v>
                </c:pt>
                <c:pt idx="7463">
                  <c:v>5.9903422425930763</c:v>
                </c:pt>
                <c:pt idx="7464">
                  <c:v>4.934327361169494</c:v>
                </c:pt>
                <c:pt idx="7465">
                  <c:v>3.9942240670242852</c:v>
                </c:pt>
                <c:pt idx="7466">
                  <c:v>4.1051835998653496</c:v>
                </c:pt>
                <c:pt idx="7467">
                  <c:v>3.9810780813122975</c:v>
                </c:pt>
                <c:pt idx="7468">
                  <c:v>4.9455292098689521</c:v>
                </c:pt>
                <c:pt idx="7469">
                  <c:v>5.1409692006815284</c:v>
                </c:pt>
                <c:pt idx="7470">
                  <c:v>5.9101421705226702</c:v>
                </c:pt>
                <c:pt idx="7471">
                  <c:v>6.129808018127231</c:v>
                </c:pt>
                <c:pt idx="7472">
                  <c:v>5.9965909729323537</c:v>
                </c:pt>
                <c:pt idx="7473">
                  <c:v>5.1295878795957162</c:v>
                </c:pt>
                <c:pt idx="7474">
                  <c:v>5.019612843700954</c:v>
                </c:pt>
                <c:pt idx="7475">
                  <c:v>6.0906230790191662</c:v>
                </c:pt>
                <c:pt idx="7476">
                  <c:v>6.0961506116085795</c:v>
                </c:pt>
                <c:pt idx="7477">
                  <c:v>6.0475157323457172</c:v>
                </c:pt>
                <c:pt idx="7478">
                  <c:v>4.9132942681767346</c:v>
                </c:pt>
                <c:pt idx="7479">
                  <c:v>5.9496304296085318</c:v>
                </c:pt>
                <c:pt idx="7480">
                  <c:v>4.9127059402164868</c:v>
                </c:pt>
                <c:pt idx="7481">
                  <c:v>6.8786094409070468</c:v>
                </c:pt>
                <c:pt idx="7482">
                  <c:v>4.0317422642313971</c:v>
                </c:pt>
                <c:pt idx="7483">
                  <c:v>6.0400921645591836</c:v>
                </c:pt>
                <c:pt idx="7484">
                  <c:v>5.9272342960087361</c:v>
                </c:pt>
                <c:pt idx="7485">
                  <c:v>4.9638001906715354</c:v>
                </c:pt>
                <c:pt idx="7486">
                  <c:v>5.0315494646580952</c:v>
                </c:pt>
                <c:pt idx="7487">
                  <c:v>4.8766738937505298</c:v>
                </c:pt>
                <c:pt idx="7488">
                  <c:v>4.7522004505824391</c:v>
                </c:pt>
                <c:pt idx="7489">
                  <c:v>6.0647668415688054</c:v>
                </c:pt>
                <c:pt idx="7490">
                  <c:v>4.1379582575138638</c:v>
                </c:pt>
                <c:pt idx="7491">
                  <c:v>1.998186738753071</c:v>
                </c:pt>
                <c:pt idx="7492">
                  <c:v>5.9697319800787927</c:v>
                </c:pt>
                <c:pt idx="7493">
                  <c:v>6.0736586643482511</c:v>
                </c:pt>
                <c:pt idx="7494">
                  <c:v>4.9738408169689823</c:v>
                </c:pt>
                <c:pt idx="7495">
                  <c:v>4.8933577795235319</c:v>
                </c:pt>
                <c:pt idx="7496">
                  <c:v>6.0800686126216537</c:v>
                </c:pt>
                <c:pt idx="7497">
                  <c:v>4.8021571169750441</c:v>
                </c:pt>
                <c:pt idx="7498">
                  <c:v>4.9459944544630279</c:v>
                </c:pt>
                <c:pt idx="7499">
                  <c:v>6.0214002705591465</c:v>
                </c:pt>
                <c:pt idx="7500">
                  <c:v>6.808107513680735</c:v>
                </c:pt>
                <c:pt idx="7501">
                  <c:v>5.9837908854131419</c:v>
                </c:pt>
                <c:pt idx="7502">
                  <c:v>4.9348636547531193</c:v>
                </c:pt>
                <c:pt idx="7503">
                  <c:v>5.0545116907831833</c:v>
                </c:pt>
                <c:pt idx="7504">
                  <c:v>6.1188361564370046</c:v>
                </c:pt>
                <c:pt idx="7505">
                  <c:v>5.8671917252632575</c:v>
                </c:pt>
                <c:pt idx="7506">
                  <c:v>6.1213341984496354</c:v>
                </c:pt>
                <c:pt idx="7507">
                  <c:v>5.9515766397076115</c:v>
                </c:pt>
                <c:pt idx="7508">
                  <c:v>6.1162437146025477</c:v>
                </c:pt>
                <c:pt idx="7509">
                  <c:v>5.7405611833695565</c:v>
                </c:pt>
                <c:pt idx="7510">
                  <c:v>5.0023363802823759</c:v>
                </c:pt>
                <c:pt idx="7511">
                  <c:v>5.0444970814132439</c:v>
                </c:pt>
                <c:pt idx="7512">
                  <c:v>5.8537630143240298</c:v>
                </c:pt>
                <c:pt idx="7513">
                  <c:v>6.0636807356758649</c:v>
                </c:pt>
                <c:pt idx="7514">
                  <c:v>5.0558049968333574</c:v>
                </c:pt>
                <c:pt idx="7515">
                  <c:v>6.9556835483741697</c:v>
                </c:pt>
                <c:pt idx="7516">
                  <c:v>6.0452176752808029</c:v>
                </c:pt>
                <c:pt idx="7517">
                  <c:v>5.9383304848969347</c:v>
                </c:pt>
                <c:pt idx="7518">
                  <c:v>4.9392443777526616</c:v>
                </c:pt>
                <c:pt idx="7519">
                  <c:v>6.0629583303506989</c:v>
                </c:pt>
                <c:pt idx="7520">
                  <c:v>5.0325979575963391</c:v>
                </c:pt>
                <c:pt idx="7521">
                  <c:v>4.993521620349533</c:v>
                </c:pt>
                <c:pt idx="7522">
                  <c:v>5.9944769717017294</c:v>
                </c:pt>
                <c:pt idx="7523">
                  <c:v>4.8606033801894855</c:v>
                </c:pt>
                <c:pt idx="7524">
                  <c:v>6.0365828399543089</c:v>
                </c:pt>
                <c:pt idx="7525">
                  <c:v>5.8225686653217634</c:v>
                </c:pt>
                <c:pt idx="7526">
                  <c:v>6.2121047703901331</c:v>
                </c:pt>
                <c:pt idx="7527">
                  <c:v>5.9040033562247549</c:v>
                </c:pt>
                <c:pt idx="7528">
                  <c:v>4.958316490037542</c:v>
                </c:pt>
                <c:pt idx="7529">
                  <c:v>6.0234871935169414</c:v>
                </c:pt>
                <c:pt idx="7530">
                  <c:v>6.1321111646063056</c:v>
                </c:pt>
                <c:pt idx="7531">
                  <c:v>5.9280891334073624</c:v>
                </c:pt>
                <c:pt idx="7532">
                  <c:v>6.1317816465051811</c:v>
                </c:pt>
                <c:pt idx="7533">
                  <c:v>5.9089517168201926</c:v>
                </c:pt>
                <c:pt idx="7534">
                  <c:v>4.9893931835240313</c:v>
                </c:pt>
                <c:pt idx="7535">
                  <c:v>7.079774785724636</c:v>
                </c:pt>
                <c:pt idx="7536">
                  <c:v>6.1237041580271745</c:v>
                </c:pt>
                <c:pt idx="7537">
                  <c:v>5.9062307462128683</c:v>
                </c:pt>
                <c:pt idx="7538">
                  <c:v>6.967992450628846</c:v>
                </c:pt>
                <c:pt idx="7539">
                  <c:v>6.0532798294657235</c:v>
                </c:pt>
                <c:pt idx="7540">
                  <c:v>5.1356110424983328</c:v>
                </c:pt>
                <c:pt idx="7541">
                  <c:v>5.9682524585422234</c:v>
                </c:pt>
                <c:pt idx="7542">
                  <c:v>6.0430605218905162</c:v>
                </c:pt>
                <c:pt idx="7543">
                  <c:v>4.8621479794151172</c:v>
                </c:pt>
                <c:pt idx="7544">
                  <c:v>5.0885558417599226</c:v>
                </c:pt>
                <c:pt idx="7545">
                  <c:v>5.8814780525836978</c:v>
                </c:pt>
                <c:pt idx="7546">
                  <c:v>6.0140287004211279</c:v>
                </c:pt>
                <c:pt idx="7547">
                  <c:v>6.0166904299423907</c:v>
                </c:pt>
                <c:pt idx="7548">
                  <c:v>5.7184363840463632</c:v>
                </c:pt>
                <c:pt idx="7549">
                  <c:v>5.0224318817378348</c:v>
                </c:pt>
                <c:pt idx="7550">
                  <c:v>5.8332467053390573</c:v>
                </c:pt>
                <c:pt idx="7551">
                  <c:v>6.0877638563220255</c:v>
                </c:pt>
                <c:pt idx="7552">
                  <c:v>4.9601188906130806</c:v>
                </c:pt>
                <c:pt idx="7553">
                  <c:v>6.0107199818438639</c:v>
                </c:pt>
                <c:pt idx="7554">
                  <c:v>5.9495077795859288</c:v>
                </c:pt>
                <c:pt idx="7555">
                  <c:v>5.7554710846768771</c:v>
                </c:pt>
                <c:pt idx="7556">
                  <c:v>5.1529356771549164</c:v>
                </c:pt>
                <c:pt idx="7557">
                  <c:v>5.9148267263634882</c:v>
                </c:pt>
                <c:pt idx="7558">
                  <c:v>5.9880694392785667</c:v>
                </c:pt>
                <c:pt idx="7559">
                  <c:v>6.258950275942853</c:v>
                </c:pt>
                <c:pt idx="7560">
                  <c:v>4.9689658990842611</c:v>
                </c:pt>
                <c:pt idx="7561">
                  <c:v>6.090019935435885</c:v>
                </c:pt>
                <c:pt idx="7562">
                  <c:v>6.0046524223514064</c:v>
                </c:pt>
                <c:pt idx="7563">
                  <c:v>6.0154667285839238</c:v>
                </c:pt>
                <c:pt idx="7564">
                  <c:v>5.8520159575547019</c:v>
                </c:pt>
                <c:pt idx="7565">
                  <c:v>6.1387188055662438</c:v>
                </c:pt>
                <c:pt idx="7566">
                  <c:v>5.9377632039964929</c:v>
                </c:pt>
                <c:pt idx="7567">
                  <c:v>5.9503832090209743</c:v>
                </c:pt>
                <c:pt idx="7568">
                  <c:v>6.0092212615647895</c:v>
                </c:pt>
                <c:pt idx="7569">
                  <c:v>4.9447470082188216</c:v>
                </c:pt>
                <c:pt idx="7570">
                  <c:v>6.8407532292554052</c:v>
                </c:pt>
                <c:pt idx="7571">
                  <c:v>7.1778729970879214</c:v>
                </c:pt>
                <c:pt idx="7572">
                  <c:v>7.0291022813246329</c:v>
                </c:pt>
                <c:pt idx="7573">
                  <c:v>7.0443756879439761</c:v>
                </c:pt>
                <c:pt idx="7574">
                  <c:v>5.0929859656827769</c:v>
                </c:pt>
                <c:pt idx="7575">
                  <c:v>6.142457910557547</c:v>
                </c:pt>
                <c:pt idx="7576">
                  <c:v>7.0017184778799084</c:v>
                </c:pt>
                <c:pt idx="7577">
                  <c:v>7.2167170928440711</c:v>
                </c:pt>
                <c:pt idx="7578">
                  <c:v>3.8744471043825546</c:v>
                </c:pt>
                <c:pt idx="7579">
                  <c:v>4.031733832378114</c:v>
                </c:pt>
                <c:pt idx="7580">
                  <c:v>4.927928596337285</c:v>
                </c:pt>
                <c:pt idx="7581">
                  <c:v>5.9024035686092651</c:v>
                </c:pt>
                <c:pt idx="7582">
                  <c:v>6.1096575925290137</c:v>
                </c:pt>
                <c:pt idx="7583">
                  <c:v>4.8744314725103841</c:v>
                </c:pt>
                <c:pt idx="7584">
                  <c:v>5.0073598871690708</c:v>
                </c:pt>
                <c:pt idx="7585">
                  <c:v>5.0483899009176989</c:v>
                </c:pt>
                <c:pt idx="7586">
                  <c:v>5.0717588329933783</c:v>
                </c:pt>
                <c:pt idx="7587">
                  <c:v>5.8247674504263749</c:v>
                </c:pt>
                <c:pt idx="7588">
                  <c:v>5.9820568185261145</c:v>
                </c:pt>
                <c:pt idx="7589">
                  <c:v>5.9552197487427359</c:v>
                </c:pt>
                <c:pt idx="7590">
                  <c:v>4.2409352529791615</c:v>
                </c:pt>
                <c:pt idx="7591">
                  <c:v>6.0509909427366386</c:v>
                </c:pt>
                <c:pt idx="7592">
                  <c:v>6.0959775144521666</c:v>
                </c:pt>
                <c:pt idx="7593">
                  <c:v>5.0079979960109791</c:v>
                </c:pt>
                <c:pt idx="7594">
                  <c:v>6.0114683014371018</c:v>
                </c:pt>
                <c:pt idx="7595">
                  <c:v>5.9692562579624031</c:v>
                </c:pt>
                <c:pt idx="7596">
                  <c:v>6.1345175451145453</c:v>
                </c:pt>
                <c:pt idx="7597">
                  <c:v>5.0488893867475708</c:v>
                </c:pt>
                <c:pt idx="7598">
                  <c:v>4.9912908388905448</c:v>
                </c:pt>
                <c:pt idx="7599">
                  <c:v>4.9048449185067913</c:v>
                </c:pt>
                <c:pt idx="7600">
                  <c:v>4.9568226917940912</c:v>
                </c:pt>
                <c:pt idx="7601">
                  <c:v>5.9501097126971745</c:v>
                </c:pt>
                <c:pt idx="7602">
                  <c:v>5.9671726236193692</c:v>
                </c:pt>
                <c:pt idx="7603">
                  <c:v>5.9323877917393446</c:v>
                </c:pt>
                <c:pt idx="7604">
                  <c:v>6.0133871436159438</c:v>
                </c:pt>
                <c:pt idx="7605">
                  <c:v>4.9706641314868154</c:v>
                </c:pt>
                <c:pt idx="7606">
                  <c:v>7.1139000152181522</c:v>
                </c:pt>
                <c:pt idx="7607">
                  <c:v>5.0950936179011332</c:v>
                </c:pt>
                <c:pt idx="7608">
                  <c:v>4.0264488075431162</c:v>
                </c:pt>
                <c:pt idx="7609">
                  <c:v>5.1839244094961572</c:v>
                </c:pt>
                <c:pt idx="7610">
                  <c:v>5.9701478604985505</c:v>
                </c:pt>
                <c:pt idx="7611">
                  <c:v>5.8385556860112269</c:v>
                </c:pt>
                <c:pt idx="7612">
                  <c:v>4.872927762075296</c:v>
                </c:pt>
                <c:pt idx="7613">
                  <c:v>5.0725087984838622</c:v>
                </c:pt>
                <c:pt idx="7614">
                  <c:v>5.8530386294352548</c:v>
                </c:pt>
                <c:pt idx="7615">
                  <c:v>4.8700820252239128</c:v>
                </c:pt>
                <c:pt idx="7616">
                  <c:v>4.8784323736538484</c:v>
                </c:pt>
                <c:pt idx="7617">
                  <c:v>4.9397682003642283</c:v>
                </c:pt>
                <c:pt idx="7618">
                  <c:v>7.0854798200889579</c:v>
                </c:pt>
                <c:pt idx="7619">
                  <c:v>5.8139662846841897</c:v>
                </c:pt>
                <c:pt idx="7620">
                  <c:v>6.1332356783381288</c:v>
                </c:pt>
                <c:pt idx="7621">
                  <c:v>5.9264275706862319</c:v>
                </c:pt>
                <c:pt idx="7622">
                  <c:v>5.8571924540066762</c:v>
                </c:pt>
                <c:pt idx="7623">
                  <c:v>6.0653503373584075</c:v>
                </c:pt>
                <c:pt idx="7624">
                  <c:v>5.8812415804293927</c:v>
                </c:pt>
                <c:pt idx="7625">
                  <c:v>5.0956795377021411</c:v>
                </c:pt>
                <c:pt idx="7626">
                  <c:v>5.0005567411010876</c:v>
                </c:pt>
                <c:pt idx="7627">
                  <c:v>6.0937375413660462</c:v>
                </c:pt>
                <c:pt idx="7628">
                  <c:v>4.9504586408807834</c:v>
                </c:pt>
                <c:pt idx="7629">
                  <c:v>5.7537544295744771</c:v>
                </c:pt>
                <c:pt idx="7630">
                  <c:v>6.201592533537025</c:v>
                </c:pt>
                <c:pt idx="7631">
                  <c:v>4.9208834100033867</c:v>
                </c:pt>
                <c:pt idx="7632">
                  <c:v>6.2418936662112179</c:v>
                </c:pt>
                <c:pt idx="7633">
                  <c:v>4.0259722270059939</c:v>
                </c:pt>
                <c:pt idx="7634">
                  <c:v>5.9175837142475567</c:v>
                </c:pt>
                <c:pt idx="7635">
                  <c:v>4.8415565440687125</c:v>
                </c:pt>
                <c:pt idx="7636">
                  <c:v>4.8655678043236499</c:v>
                </c:pt>
                <c:pt idx="7637">
                  <c:v>5.0204952811006915</c:v>
                </c:pt>
                <c:pt idx="7638">
                  <c:v>6.8170683144558399</c:v>
                </c:pt>
                <c:pt idx="7639">
                  <c:v>5.045429876704068</c:v>
                </c:pt>
                <c:pt idx="7640">
                  <c:v>5.095437059292478</c:v>
                </c:pt>
                <c:pt idx="7641">
                  <c:v>5.0073634255440291</c:v>
                </c:pt>
                <c:pt idx="7642">
                  <c:v>4.889116131977608</c:v>
                </c:pt>
                <c:pt idx="7643">
                  <c:v>3.984121395515035</c:v>
                </c:pt>
                <c:pt idx="7644">
                  <c:v>5.8918512329753243</c:v>
                </c:pt>
                <c:pt idx="7645">
                  <c:v>5.095784195585102</c:v>
                </c:pt>
                <c:pt idx="7646">
                  <c:v>4.8771020737221704</c:v>
                </c:pt>
                <c:pt idx="7647">
                  <c:v>5.9111927249770622</c:v>
                </c:pt>
                <c:pt idx="7648">
                  <c:v>5.9058177669267469</c:v>
                </c:pt>
                <c:pt idx="7649">
                  <c:v>3.9799012856611116</c:v>
                </c:pt>
                <c:pt idx="7650">
                  <c:v>5.1095289811819198</c:v>
                </c:pt>
                <c:pt idx="7651">
                  <c:v>6.0162750346345995</c:v>
                </c:pt>
                <c:pt idx="7652">
                  <c:v>5.9084918114648985</c:v>
                </c:pt>
                <c:pt idx="7653">
                  <c:v>4.986671908534734</c:v>
                </c:pt>
                <c:pt idx="7654">
                  <c:v>5.0658110590709162</c:v>
                </c:pt>
                <c:pt idx="7655">
                  <c:v>5.9094683984112049</c:v>
                </c:pt>
                <c:pt idx="7656">
                  <c:v>5.9016025635879013</c:v>
                </c:pt>
                <c:pt idx="7657">
                  <c:v>5.0491521429391364</c:v>
                </c:pt>
                <c:pt idx="7658">
                  <c:v>5.9709256117346303</c:v>
                </c:pt>
                <c:pt idx="7659">
                  <c:v>5.9552741825024622</c:v>
                </c:pt>
                <c:pt idx="7660">
                  <c:v>4.9287368269922807</c:v>
                </c:pt>
                <c:pt idx="7661">
                  <c:v>4.9003491986871808</c:v>
                </c:pt>
                <c:pt idx="7662">
                  <c:v>6.1326410222710477</c:v>
                </c:pt>
                <c:pt idx="7663">
                  <c:v>5.9644426178357577</c:v>
                </c:pt>
                <c:pt idx="7664">
                  <c:v>5.8914003572917881</c:v>
                </c:pt>
                <c:pt idx="7665">
                  <c:v>7.0688711474688892</c:v>
                </c:pt>
                <c:pt idx="7666">
                  <c:v>5.0277440333380961</c:v>
                </c:pt>
                <c:pt idx="7667">
                  <c:v>6.0284379217207427</c:v>
                </c:pt>
                <c:pt idx="7668">
                  <c:v>5.1367129335952075</c:v>
                </c:pt>
                <c:pt idx="7669">
                  <c:v>5.040873461297676</c:v>
                </c:pt>
                <c:pt idx="7670">
                  <c:v>5.8805781255790901</c:v>
                </c:pt>
                <c:pt idx="7671">
                  <c:v>4.9510561802192523</c:v>
                </c:pt>
                <c:pt idx="7672">
                  <c:v>6.1132744141376909</c:v>
                </c:pt>
                <c:pt idx="7673">
                  <c:v>4.9532585222829173</c:v>
                </c:pt>
                <c:pt idx="7674">
                  <c:v>4.9724727469356393</c:v>
                </c:pt>
                <c:pt idx="7675">
                  <c:v>6.207434071971047</c:v>
                </c:pt>
                <c:pt idx="7676">
                  <c:v>5.8828999526872803</c:v>
                </c:pt>
                <c:pt idx="7677">
                  <c:v>4.8058724154559425</c:v>
                </c:pt>
                <c:pt idx="7678">
                  <c:v>5.8572691906917305</c:v>
                </c:pt>
                <c:pt idx="7679">
                  <c:v>5.9114118378539313</c:v>
                </c:pt>
                <c:pt idx="7680">
                  <c:v>5.1154618736484716</c:v>
                </c:pt>
                <c:pt idx="7681">
                  <c:v>5.0764939715171504</c:v>
                </c:pt>
                <c:pt idx="7682">
                  <c:v>4.9916859672064433</c:v>
                </c:pt>
                <c:pt idx="7683">
                  <c:v>5.0980027853408805</c:v>
                </c:pt>
                <c:pt idx="7684">
                  <c:v>5.9870755349780822</c:v>
                </c:pt>
                <c:pt idx="7685">
                  <c:v>4.9847901826355967</c:v>
                </c:pt>
                <c:pt idx="7686">
                  <c:v>4.9252001102591079</c:v>
                </c:pt>
                <c:pt idx="7687">
                  <c:v>5.9980928780484799</c:v>
                </c:pt>
                <c:pt idx="7688">
                  <c:v>5.8609999306578713</c:v>
                </c:pt>
                <c:pt idx="7689">
                  <c:v>5.0252775560478335</c:v>
                </c:pt>
                <c:pt idx="7690">
                  <c:v>5.7889421455534791</c:v>
                </c:pt>
                <c:pt idx="7691">
                  <c:v>6.009664870398332</c:v>
                </c:pt>
                <c:pt idx="7692">
                  <c:v>4.8518983626533236</c:v>
                </c:pt>
                <c:pt idx="7693">
                  <c:v>5.074930337834628</c:v>
                </c:pt>
                <c:pt idx="7694">
                  <c:v>6.0565001970398997</c:v>
                </c:pt>
                <c:pt idx="7695">
                  <c:v>5.2724064266918766</c:v>
                </c:pt>
                <c:pt idx="7696">
                  <c:v>5.0208689330399388</c:v>
                </c:pt>
                <c:pt idx="7697">
                  <c:v>6.003667421494038</c:v>
                </c:pt>
                <c:pt idx="7698">
                  <c:v>5.228893189030333</c:v>
                </c:pt>
                <c:pt idx="7699">
                  <c:v>5.0333637353126868</c:v>
                </c:pt>
                <c:pt idx="7700">
                  <c:v>4.9852477179748975</c:v>
                </c:pt>
                <c:pt idx="7701">
                  <c:v>5.947464319075741</c:v>
                </c:pt>
                <c:pt idx="7702">
                  <c:v>4.9495270947472543</c:v>
                </c:pt>
                <c:pt idx="7703">
                  <c:v>4.9700726039326097</c:v>
                </c:pt>
                <c:pt idx="7704">
                  <c:v>6.041817282685086</c:v>
                </c:pt>
                <c:pt idx="7705">
                  <c:v>5.8523406952182286</c:v>
                </c:pt>
                <c:pt idx="7706">
                  <c:v>6.0064373713881203</c:v>
                </c:pt>
                <c:pt idx="7707">
                  <c:v>5.068888692279705</c:v>
                </c:pt>
                <c:pt idx="7708">
                  <c:v>6.0768915222117217</c:v>
                </c:pt>
                <c:pt idx="7709">
                  <c:v>5.0353373596156628</c:v>
                </c:pt>
                <c:pt idx="7710">
                  <c:v>4.8884925442222711</c:v>
                </c:pt>
                <c:pt idx="7711">
                  <c:v>5.8292339688850561</c:v>
                </c:pt>
                <c:pt idx="7712">
                  <c:v>6.0092405970066771</c:v>
                </c:pt>
                <c:pt idx="7713">
                  <c:v>5.027337961259188</c:v>
                </c:pt>
                <c:pt idx="7714">
                  <c:v>5.9883073979551931</c:v>
                </c:pt>
                <c:pt idx="7715">
                  <c:v>7.0760141818243651</c:v>
                </c:pt>
                <c:pt idx="7716">
                  <c:v>6.0601086005655365</c:v>
                </c:pt>
                <c:pt idx="7717">
                  <c:v>5.9364489501344009</c:v>
                </c:pt>
                <c:pt idx="7718">
                  <c:v>4.8040448752016021</c:v>
                </c:pt>
                <c:pt idx="7719">
                  <c:v>5.9076107834656097</c:v>
                </c:pt>
                <c:pt idx="7720">
                  <c:v>5.9440167328679712</c:v>
                </c:pt>
                <c:pt idx="7721">
                  <c:v>6.0164139301768502</c:v>
                </c:pt>
                <c:pt idx="7722">
                  <c:v>7.0390169683434642</c:v>
                </c:pt>
                <c:pt idx="7723">
                  <c:v>6.1285871668803358</c:v>
                </c:pt>
                <c:pt idx="7724">
                  <c:v>5.1463853361031084</c:v>
                </c:pt>
                <c:pt idx="7725">
                  <c:v>6.0113633168728899</c:v>
                </c:pt>
                <c:pt idx="7726">
                  <c:v>6.9766748319780394</c:v>
                </c:pt>
                <c:pt idx="7727">
                  <c:v>5.8436685139524851</c:v>
                </c:pt>
                <c:pt idx="7728">
                  <c:v>4.93224627272782</c:v>
                </c:pt>
                <c:pt idx="7729">
                  <c:v>6.1598839880522984</c:v>
                </c:pt>
                <c:pt idx="7730">
                  <c:v>6.0003756680603946</c:v>
                </c:pt>
                <c:pt idx="7731">
                  <c:v>4.1626373459756065</c:v>
                </c:pt>
                <c:pt idx="7732">
                  <c:v>7.0771092325505922</c:v>
                </c:pt>
                <c:pt idx="7733">
                  <c:v>3.8513860785924487</c:v>
                </c:pt>
                <c:pt idx="7734">
                  <c:v>3.9424707300451032</c:v>
                </c:pt>
                <c:pt idx="7735">
                  <c:v>5.0759831083047731</c:v>
                </c:pt>
                <c:pt idx="7736">
                  <c:v>5.1566390159296134</c:v>
                </c:pt>
                <c:pt idx="7737">
                  <c:v>4.9933370509196342</c:v>
                </c:pt>
                <c:pt idx="7738">
                  <c:v>5.0464382679218387</c:v>
                </c:pt>
                <c:pt idx="7739">
                  <c:v>6.0016678825908656</c:v>
                </c:pt>
                <c:pt idx="7740">
                  <c:v>6.028552408725905</c:v>
                </c:pt>
                <c:pt idx="7741">
                  <c:v>5.9264919484079117</c:v>
                </c:pt>
                <c:pt idx="7742">
                  <c:v>5.0729624896661498</c:v>
                </c:pt>
                <c:pt idx="7743">
                  <c:v>5.9943340357045631</c:v>
                </c:pt>
                <c:pt idx="7744">
                  <c:v>5.1156865405315397</c:v>
                </c:pt>
                <c:pt idx="7745">
                  <c:v>4.9164265578950035</c:v>
                </c:pt>
                <c:pt idx="7746">
                  <c:v>4.8575792187971887</c:v>
                </c:pt>
                <c:pt idx="7747">
                  <c:v>6.0013620633284797</c:v>
                </c:pt>
                <c:pt idx="7748">
                  <c:v>5.901115252837636</c:v>
                </c:pt>
                <c:pt idx="7749">
                  <c:v>5.8639806037469677</c:v>
                </c:pt>
                <c:pt idx="7750">
                  <c:v>4.9688870275928698</c:v>
                </c:pt>
                <c:pt idx="7751">
                  <c:v>5.8931925854263429</c:v>
                </c:pt>
                <c:pt idx="7752">
                  <c:v>5.9122812120514245</c:v>
                </c:pt>
                <c:pt idx="7753">
                  <c:v>5.9114671008525121</c:v>
                </c:pt>
                <c:pt idx="7754">
                  <c:v>6.1288248083715056</c:v>
                </c:pt>
                <c:pt idx="7755">
                  <c:v>4.1661232976625051</c:v>
                </c:pt>
                <c:pt idx="7756">
                  <c:v>6.0028460469137279</c:v>
                </c:pt>
                <c:pt idx="7757">
                  <c:v>4.890097596198907</c:v>
                </c:pt>
                <c:pt idx="7758">
                  <c:v>5.9611207614895587</c:v>
                </c:pt>
                <c:pt idx="7759">
                  <c:v>5.1414333111731061</c:v>
                </c:pt>
                <c:pt idx="7760">
                  <c:v>6.1083191310473115</c:v>
                </c:pt>
                <c:pt idx="7761">
                  <c:v>6.9947498963362644</c:v>
                </c:pt>
                <c:pt idx="7762">
                  <c:v>6.1078805427850833</c:v>
                </c:pt>
                <c:pt idx="7763">
                  <c:v>5.8108457281659236</c:v>
                </c:pt>
                <c:pt idx="7764">
                  <c:v>5.901250539409939</c:v>
                </c:pt>
                <c:pt idx="7765">
                  <c:v>4.9363439581039206</c:v>
                </c:pt>
                <c:pt idx="7766">
                  <c:v>6.0341060897604653</c:v>
                </c:pt>
                <c:pt idx="7767">
                  <c:v>5.9093974327132859</c:v>
                </c:pt>
                <c:pt idx="7768">
                  <c:v>5.0225449208220683</c:v>
                </c:pt>
                <c:pt idx="7769">
                  <c:v>4.987795878228547</c:v>
                </c:pt>
                <c:pt idx="7770">
                  <c:v>4.97900211204011</c:v>
                </c:pt>
                <c:pt idx="7771">
                  <c:v>4.95580505534934</c:v>
                </c:pt>
                <c:pt idx="7772">
                  <c:v>4.9225488558429769</c:v>
                </c:pt>
                <c:pt idx="7773">
                  <c:v>6.0446472038721195</c:v>
                </c:pt>
                <c:pt idx="7774">
                  <c:v>5.0489638973687017</c:v>
                </c:pt>
                <c:pt idx="7775">
                  <c:v>4.9001027147389662</c:v>
                </c:pt>
                <c:pt idx="7776">
                  <c:v>6.0100651634736071</c:v>
                </c:pt>
                <c:pt idx="7777">
                  <c:v>4.9177473576618658</c:v>
                </c:pt>
                <c:pt idx="7778">
                  <c:v>5.044808341576414</c:v>
                </c:pt>
                <c:pt idx="7779">
                  <c:v>5.1405423297199313</c:v>
                </c:pt>
                <c:pt idx="7780">
                  <c:v>5.1122316944996058</c:v>
                </c:pt>
                <c:pt idx="7781">
                  <c:v>4.8913334740236838</c:v>
                </c:pt>
                <c:pt idx="7782">
                  <c:v>5.972136279906989</c:v>
                </c:pt>
                <c:pt idx="7783">
                  <c:v>5.9996083573464292</c:v>
                </c:pt>
                <c:pt idx="7784">
                  <c:v>6.0501643251374277</c:v>
                </c:pt>
                <c:pt idx="7785">
                  <c:v>5.8603167793422628</c:v>
                </c:pt>
                <c:pt idx="7786">
                  <c:v>6.0617909931963911</c:v>
                </c:pt>
                <c:pt idx="7787">
                  <c:v>4.9166196073287347</c:v>
                </c:pt>
                <c:pt idx="7788">
                  <c:v>4.8623954219276238</c:v>
                </c:pt>
                <c:pt idx="7789">
                  <c:v>5.8514970968055815</c:v>
                </c:pt>
                <c:pt idx="7790">
                  <c:v>4.9901840544092071</c:v>
                </c:pt>
                <c:pt idx="7791">
                  <c:v>4.9064871054627819</c:v>
                </c:pt>
                <c:pt idx="7792">
                  <c:v>4.9613782586000452</c:v>
                </c:pt>
                <c:pt idx="7793">
                  <c:v>4.9860615150056926</c:v>
                </c:pt>
                <c:pt idx="7794">
                  <c:v>5.9755851644263966</c:v>
                </c:pt>
                <c:pt idx="7795">
                  <c:v>6.057699538676971</c:v>
                </c:pt>
                <c:pt idx="7796">
                  <c:v>5.0662985922086081</c:v>
                </c:pt>
                <c:pt idx="7797">
                  <c:v>5.0695179282497538</c:v>
                </c:pt>
                <c:pt idx="7798">
                  <c:v>5.9809374506957935</c:v>
                </c:pt>
                <c:pt idx="7799">
                  <c:v>4.944020527600741</c:v>
                </c:pt>
                <c:pt idx="7800">
                  <c:v>6.0122536926212824</c:v>
                </c:pt>
                <c:pt idx="7801">
                  <c:v>5.0159297901997189</c:v>
                </c:pt>
                <c:pt idx="7802">
                  <c:v>5.0894239709553686</c:v>
                </c:pt>
                <c:pt idx="7803">
                  <c:v>5.1000807958882888</c:v>
                </c:pt>
                <c:pt idx="7804">
                  <c:v>4.9788714458178047</c:v>
                </c:pt>
                <c:pt idx="7805">
                  <c:v>4.9700785902754365</c:v>
                </c:pt>
                <c:pt idx="7806">
                  <c:v>6.0606346727049454</c:v>
                </c:pt>
                <c:pt idx="7807">
                  <c:v>5.0893339774629975</c:v>
                </c:pt>
                <c:pt idx="7808">
                  <c:v>6.0917755720071751</c:v>
                </c:pt>
                <c:pt idx="7809">
                  <c:v>5.0536762029887567</c:v>
                </c:pt>
                <c:pt idx="7810">
                  <c:v>2.1887949865674656</c:v>
                </c:pt>
                <c:pt idx="7811">
                  <c:v>2.02648953155034</c:v>
                </c:pt>
                <c:pt idx="7812">
                  <c:v>5.0660094507316131</c:v>
                </c:pt>
                <c:pt idx="7813">
                  <c:v>6.0709491469659911</c:v>
                </c:pt>
                <c:pt idx="7814">
                  <c:v>6.0043794128538455</c:v>
                </c:pt>
                <c:pt idx="7815">
                  <c:v>5.0530668462587176</c:v>
                </c:pt>
                <c:pt idx="7816">
                  <c:v>7.0924914339178962</c:v>
                </c:pt>
                <c:pt idx="7817">
                  <c:v>4.9658265942900472</c:v>
                </c:pt>
                <c:pt idx="7818">
                  <c:v>3.946919024102518</c:v>
                </c:pt>
                <c:pt idx="7819">
                  <c:v>6.7200833989037072</c:v>
                </c:pt>
                <c:pt idx="7820">
                  <c:v>4.994200089831474</c:v>
                </c:pt>
                <c:pt idx="7821">
                  <c:v>5.0984864295849865</c:v>
                </c:pt>
                <c:pt idx="7822">
                  <c:v>6.039208474008511</c:v>
                </c:pt>
                <c:pt idx="7823">
                  <c:v>5.9318813587270585</c:v>
                </c:pt>
                <c:pt idx="7824">
                  <c:v>5.0575303790284867</c:v>
                </c:pt>
                <c:pt idx="7825">
                  <c:v>4.876621119547127</c:v>
                </c:pt>
                <c:pt idx="7826">
                  <c:v>6.1124507731648716</c:v>
                </c:pt>
                <c:pt idx="7827">
                  <c:v>6.0528804817148831</c:v>
                </c:pt>
                <c:pt idx="7828">
                  <c:v>5.0196286747548573</c:v>
                </c:pt>
                <c:pt idx="7829">
                  <c:v>4.8659147783225913</c:v>
                </c:pt>
                <c:pt idx="7830">
                  <c:v>6.0229136764550351</c:v>
                </c:pt>
                <c:pt idx="7831">
                  <c:v>5.0263751543857849</c:v>
                </c:pt>
                <c:pt idx="7832">
                  <c:v>6.1438727054426243</c:v>
                </c:pt>
                <c:pt idx="7833">
                  <c:v>5.0698984521867079</c:v>
                </c:pt>
                <c:pt idx="7834">
                  <c:v>5.9220181551029132</c:v>
                </c:pt>
                <c:pt idx="7835">
                  <c:v>5.9105493365181161</c:v>
                </c:pt>
                <c:pt idx="7836">
                  <c:v>5.8803211077693796</c:v>
                </c:pt>
                <c:pt idx="7837">
                  <c:v>6.0350432822772389</c:v>
                </c:pt>
                <c:pt idx="7838">
                  <c:v>5.9392435763297158</c:v>
                </c:pt>
                <c:pt idx="7839">
                  <c:v>5.9326056091804293</c:v>
                </c:pt>
                <c:pt idx="7840">
                  <c:v>6.0659573417088914</c:v>
                </c:pt>
                <c:pt idx="7841">
                  <c:v>6.0469811346501823</c:v>
                </c:pt>
                <c:pt idx="7842">
                  <c:v>5.8940859946372157</c:v>
                </c:pt>
                <c:pt idx="7843">
                  <c:v>5.9754602734928568</c:v>
                </c:pt>
                <c:pt idx="7844">
                  <c:v>5.2474674818829596</c:v>
                </c:pt>
                <c:pt idx="7845">
                  <c:v>5.1205288380963747</c:v>
                </c:pt>
                <c:pt idx="7846">
                  <c:v>6.0891392587765401</c:v>
                </c:pt>
                <c:pt idx="7847">
                  <c:v>5.0503084206452904</c:v>
                </c:pt>
                <c:pt idx="7848">
                  <c:v>5.9688329988891846</c:v>
                </c:pt>
                <c:pt idx="7849">
                  <c:v>5.0324535917543054</c:v>
                </c:pt>
                <c:pt idx="7850">
                  <c:v>6.0309324952205801</c:v>
                </c:pt>
                <c:pt idx="7851">
                  <c:v>4.9797749569351666</c:v>
                </c:pt>
                <c:pt idx="7852">
                  <c:v>5.9355681215368614</c:v>
                </c:pt>
                <c:pt idx="7853">
                  <c:v>5.9769262981736357</c:v>
                </c:pt>
                <c:pt idx="7854">
                  <c:v>5.0266203109251117</c:v>
                </c:pt>
                <c:pt idx="7855">
                  <c:v>6.031282735654778</c:v>
                </c:pt>
                <c:pt idx="7856">
                  <c:v>6.0866874406090874</c:v>
                </c:pt>
                <c:pt idx="7857">
                  <c:v>5.017219335378666</c:v>
                </c:pt>
                <c:pt idx="7858">
                  <c:v>4.9729332866859401</c:v>
                </c:pt>
                <c:pt idx="7859">
                  <c:v>6.0337190106332876</c:v>
                </c:pt>
                <c:pt idx="7860">
                  <c:v>4.9553291549970746</c:v>
                </c:pt>
                <c:pt idx="7861">
                  <c:v>4.955416502063982</c:v>
                </c:pt>
                <c:pt idx="7862">
                  <c:v>5.0328001698674418</c:v>
                </c:pt>
                <c:pt idx="7863">
                  <c:v>5.0392011960883609</c:v>
                </c:pt>
                <c:pt idx="7864">
                  <c:v>5.8895169112062495</c:v>
                </c:pt>
                <c:pt idx="7865">
                  <c:v>5.1504729233244317</c:v>
                </c:pt>
                <c:pt idx="7866">
                  <c:v>4.9575218435058694</c:v>
                </c:pt>
                <c:pt idx="7867">
                  <c:v>5.0301642638777162</c:v>
                </c:pt>
                <c:pt idx="7868">
                  <c:v>5.8931425022263388</c:v>
                </c:pt>
                <c:pt idx="7869">
                  <c:v>4.8729136394364509</c:v>
                </c:pt>
                <c:pt idx="7870">
                  <c:v>5.0031886042273346</c:v>
                </c:pt>
                <c:pt idx="7871">
                  <c:v>6.0094728331347067</c:v>
                </c:pt>
                <c:pt idx="7872">
                  <c:v>5.8234410332366906</c:v>
                </c:pt>
                <c:pt idx="7873">
                  <c:v>5.9546749409832724</c:v>
                </c:pt>
                <c:pt idx="7874">
                  <c:v>6.1532467053381259</c:v>
                </c:pt>
                <c:pt idx="7875">
                  <c:v>5.9376951505512796</c:v>
                </c:pt>
                <c:pt idx="7876">
                  <c:v>5.0157088254717479</c:v>
                </c:pt>
                <c:pt idx="7877">
                  <c:v>7.2070802371702785</c:v>
                </c:pt>
                <c:pt idx="7878">
                  <c:v>6.0064579491480439</c:v>
                </c:pt>
                <c:pt idx="7879">
                  <c:v>4.8918511927941948</c:v>
                </c:pt>
                <c:pt idx="7880">
                  <c:v>6.1852909536184608</c:v>
                </c:pt>
                <c:pt idx="7881">
                  <c:v>5.0787311301863136</c:v>
                </c:pt>
                <c:pt idx="7882">
                  <c:v>4.3025892268431774</c:v>
                </c:pt>
                <c:pt idx="7883">
                  <c:v>6.0792011422963057</c:v>
                </c:pt>
                <c:pt idx="7884">
                  <c:v>4.9267250537889158</c:v>
                </c:pt>
                <c:pt idx="7885">
                  <c:v>6.046229748999127</c:v>
                </c:pt>
                <c:pt idx="7886">
                  <c:v>4.8522047802192336</c:v>
                </c:pt>
                <c:pt idx="7887">
                  <c:v>5.931988743212675</c:v>
                </c:pt>
                <c:pt idx="7888">
                  <c:v>6.0525668052441128</c:v>
                </c:pt>
                <c:pt idx="7889">
                  <c:v>6.1641192784839998</c:v>
                </c:pt>
                <c:pt idx="7890">
                  <c:v>5.0668354728955398</c:v>
                </c:pt>
                <c:pt idx="7891">
                  <c:v>4.82255501078187</c:v>
                </c:pt>
                <c:pt idx="7892">
                  <c:v>5.9196802040371548</c:v>
                </c:pt>
                <c:pt idx="7893">
                  <c:v>6.9997622155394659</c:v>
                </c:pt>
                <c:pt idx="7894">
                  <c:v>6.0920121772449445</c:v>
                </c:pt>
                <c:pt idx="7895">
                  <c:v>6.1578136188712183</c:v>
                </c:pt>
                <c:pt idx="7896">
                  <c:v>4.8239476505692416</c:v>
                </c:pt>
                <c:pt idx="7897">
                  <c:v>6.2010051872697307</c:v>
                </c:pt>
                <c:pt idx="7898">
                  <c:v>5.0307604834223643</c:v>
                </c:pt>
                <c:pt idx="7899">
                  <c:v>5.9122386557064877</c:v>
                </c:pt>
                <c:pt idx="7900">
                  <c:v>5.9240212093870275</c:v>
                </c:pt>
                <c:pt idx="7901">
                  <c:v>6.1219165239397366</c:v>
                </c:pt>
                <c:pt idx="7902">
                  <c:v>4.9253642739561556</c:v>
                </c:pt>
                <c:pt idx="7903">
                  <c:v>6.0561085044643583</c:v>
                </c:pt>
                <c:pt idx="7904">
                  <c:v>5.1839217575013086</c:v>
                </c:pt>
                <c:pt idx="7905">
                  <c:v>5.9353125938197646</c:v>
                </c:pt>
                <c:pt idx="7906">
                  <c:v>5.8908894693835911</c:v>
                </c:pt>
                <c:pt idx="7907">
                  <c:v>5.8658826338157786</c:v>
                </c:pt>
                <c:pt idx="7908">
                  <c:v>5.9141595836505996</c:v>
                </c:pt>
                <c:pt idx="7909">
                  <c:v>5.0514275707983707</c:v>
                </c:pt>
                <c:pt idx="7910">
                  <c:v>4.7526147056469341</c:v>
                </c:pt>
                <c:pt idx="7911">
                  <c:v>5.0930196939406391</c:v>
                </c:pt>
                <c:pt idx="7912">
                  <c:v>5.0972533707469578</c:v>
                </c:pt>
                <c:pt idx="7913">
                  <c:v>6.0305641211513308</c:v>
                </c:pt>
                <c:pt idx="7914">
                  <c:v>6.0084712967257241</c:v>
                </c:pt>
                <c:pt idx="7915">
                  <c:v>6.0954197614983539</c:v>
                </c:pt>
                <c:pt idx="7916">
                  <c:v>4.9236710711547804</c:v>
                </c:pt>
                <c:pt idx="7917">
                  <c:v>5.1262994990666009</c:v>
                </c:pt>
                <c:pt idx="7918">
                  <c:v>5.984417692461018</c:v>
                </c:pt>
                <c:pt idx="7919">
                  <c:v>6.009866205307862</c:v>
                </c:pt>
                <c:pt idx="7920">
                  <c:v>6.0678361988988296</c:v>
                </c:pt>
                <c:pt idx="7921">
                  <c:v>5.9948440024179606</c:v>
                </c:pt>
                <c:pt idx="7922">
                  <c:v>6.002667132740247</c:v>
                </c:pt>
                <c:pt idx="7923">
                  <c:v>5.0235236937576762</c:v>
                </c:pt>
                <c:pt idx="7924">
                  <c:v>5.9465567859366546</c:v>
                </c:pt>
                <c:pt idx="7925">
                  <c:v>5.1001798209270346</c:v>
                </c:pt>
                <c:pt idx="7926">
                  <c:v>5.8541835300262415</c:v>
                </c:pt>
                <c:pt idx="7927">
                  <c:v>6.0279416119347911</c:v>
                </c:pt>
                <c:pt idx="7928">
                  <c:v>5.9296745270702944</c:v>
                </c:pt>
                <c:pt idx="7929">
                  <c:v>5.8901513896809838</c:v>
                </c:pt>
                <c:pt idx="7930">
                  <c:v>4.994591818501088</c:v>
                </c:pt>
                <c:pt idx="7931">
                  <c:v>5.0868617348172318</c:v>
                </c:pt>
                <c:pt idx="7932">
                  <c:v>5.9786987748692884</c:v>
                </c:pt>
                <c:pt idx="7933">
                  <c:v>5.021526870870165</c:v>
                </c:pt>
                <c:pt idx="7934">
                  <c:v>6.0336358970588568</c:v>
                </c:pt>
                <c:pt idx="7935">
                  <c:v>5.8905031478424217</c:v>
                </c:pt>
                <c:pt idx="7936">
                  <c:v>5.0721383351487068</c:v>
                </c:pt>
                <c:pt idx="7937">
                  <c:v>5.9664763844255386</c:v>
                </c:pt>
                <c:pt idx="7938">
                  <c:v>5.1211768335781551</c:v>
                </c:pt>
                <c:pt idx="7939">
                  <c:v>5.8259894686571077</c:v>
                </c:pt>
                <c:pt idx="7940">
                  <c:v>3.9917334237292441</c:v>
                </c:pt>
                <c:pt idx="7941">
                  <c:v>7.0483358839324239</c:v>
                </c:pt>
                <c:pt idx="7942">
                  <c:v>5.8656890086288147</c:v>
                </c:pt>
                <c:pt idx="7943">
                  <c:v>5.9375951932068789</c:v>
                </c:pt>
                <c:pt idx="7944">
                  <c:v>4.9824617394696213</c:v>
                </c:pt>
                <c:pt idx="7945">
                  <c:v>6.1733865199471758</c:v>
                </c:pt>
                <c:pt idx="7946">
                  <c:v>4.9934238778666842</c:v>
                </c:pt>
                <c:pt idx="7947">
                  <c:v>6.086120663145107</c:v>
                </c:pt>
                <c:pt idx="7948">
                  <c:v>5.8956445426312349</c:v>
                </c:pt>
                <c:pt idx="7949">
                  <c:v>5.0815225312706032</c:v>
                </c:pt>
                <c:pt idx="7950">
                  <c:v>4.8751372687247807</c:v>
                </c:pt>
                <c:pt idx="7951">
                  <c:v>6.1220457340021204</c:v>
                </c:pt>
                <c:pt idx="7952">
                  <c:v>4.9294038025915352</c:v>
                </c:pt>
                <c:pt idx="7953">
                  <c:v>5.1244096518005566</c:v>
                </c:pt>
                <c:pt idx="7954">
                  <c:v>5.9968579264865705</c:v>
                </c:pt>
                <c:pt idx="7955">
                  <c:v>6.0846849777218548</c:v>
                </c:pt>
                <c:pt idx="7956">
                  <c:v>5.9393444613072548</c:v>
                </c:pt>
                <c:pt idx="7957">
                  <c:v>5.9046493601658696</c:v>
                </c:pt>
                <c:pt idx="7958">
                  <c:v>5.9898027667718328</c:v>
                </c:pt>
                <c:pt idx="7959">
                  <c:v>6.055856930172415</c:v>
                </c:pt>
                <c:pt idx="7960">
                  <c:v>5.9956939484517546</c:v>
                </c:pt>
                <c:pt idx="7961">
                  <c:v>6.066821159055177</c:v>
                </c:pt>
                <c:pt idx="7962">
                  <c:v>5.0829316774933551</c:v>
                </c:pt>
                <c:pt idx="7963">
                  <c:v>5.9356556622815333</c:v>
                </c:pt>
                <c:pt idx="7964">
                  <c:v>4.9246902618746295</c:v>
                </c:pt>
                <c:pt idx="7965">
                  <c:v>5.8881295358624941</c:v>
                </c:pt>
                <c:pt idx="7966">
                  <c:v>5.9200455075118645</c:v>
                </c:pt>
                <c:pt idx="7967">
                  <c:v>5.8452011647928614</c:v>
                </c:pt>
                <c:pt idx="7968">
                  <c:v>6.021930646150917</c:v>
                </c:pt>
                <c:pt idx="7969">
                  <c:v>5.0233710389508754</c:v>
                </c:pt>
                <c:pt idx="7970">
                  <c:v>5.0225014407359136</c:v>
                </c:pt>
                <c:pt idx="7971">
                  <c:v>4.8868859567002927</c:v>
                </c:pt>
                <c:pt idx="7972">
                  <c:v>5.0235708758732098</c:v>
                </c:pt>
                <c:pt idx="7973">
                  <c:v>4.9718081304605084</c:v>
                </c:pt>
                <c:pt idx="7974">
                  <c:v>6.0016820866808338</c:v>
                </c:pt>
                <c:pt idx="7975">
                  <c:v>5.8061418420198265</c:v>
                </c:pt>
                <c:pt idx="7976">
                  <c:v>5.017812658895501</c:v>
                </c:pt>
                <c:pt idx="7977">
                  <c:v>6.0197395707629031</c:v>
                </c:pt>
                <c:pt idx="7978">
                  <c:v>5.8137140871631825</c:v>
                </c:pt>
                <c:pt idx="7979">
                  <c:v>5.0570378265327509</c:v>
                </c:pt>
                <c:pt idx="7980">
                  <c:v>4.8970479437452896</c:v>
                </c:pt>
                <c:pt idx="7981">
                  <c:v>4.9382452563340795</c:v>
                </c:pt>
                <c:pt idx="7982">
                  <c:v>4.9061342007580153</c:v>
                </c:pt>
                <c:pt idx="7983">
                  <c:v>4.9099168389694583</c:v>
                </c:pt>
                <c:pt idx="7984">
                  <c:v>5.9532334360248731</c:v>
                </c:pt>
                <c:pt idx="7985">
                  <c:v>6.0351679973722376</c:v>
                </c:pt>
                <c:pt idx="7986">
                  <c:v>6.0114420407913105</c:v>
                </c:pt>
                <c:pt idx="7987">
                  <c:v>5.862964588296002</c:v>
                </c:pt>
                <c:pt idx="7988">
                  <c:v>5.1579531002086991</c:v>
                </c:pt>
                <c:pt idx="7989">
                  <c:v>6.8696869870450685</c:v>
                </c:pt>
                <c:pt idx="7990">
                  <c:v>6.0323187624523333</c:v>
                </c:pt>
                <c:pt idx="7991">
                  <c:v>4.9705162384714887</c:v>
                </c:pt>
                <c:pt idx="7992">
                  <c:v>5.1080290167979507</c:v>
                </c:pt>
                <c:pt idx="7993">
                  <c:v>6.0125484162848304</c:v>
                </c:pt>
                <c:pt idx="7994">
                  <c:v>5.9920175289599573</c:v>
                </c:pt>
                <c:pt idx="7995">
                  <c:v>4.961480067409819</c:v>
                </c:pt>
                <c:pt idx="7996">
                  <c:v>4.7516068699934983</c:v>
                </c:pt>
                <c:pt idx="7997">
                  <c:v>5.0346298374668503</c:v>
                </c:pt>
                <c:pt idx="7998">
                  <c:v>4.7800294441976776</c:v>
                </c:pt>
                <c:pt idx="7999">
                  <c:v>5.024756249230844</c:v>
                </c:pt>
                <c:pt idx="8000">
                  <c:v>6.1316276751035748</c:v>
                </c:pt>
                <c:pt idx="8001">
                  <c:v>6.1268966424937146</c:v>
                </c:pt>
                <c:pt idx="8002">
                  <c:v>6.0078557544548117</c:v>
                </c:pt>
                <c:pt idx="8003">
                  <c:v>5.9652726944625138</c:v>
                </c:pt>
                <c:pt idx="8004">
                  <c:v>5.9651469522149601</c:v>
                </c:pt>
                <c:pt idx="8005">
                  <c:v>6.1002362830672308</c:v>
                </c:pt>
                <c:pt idx="8006">
                  <c:v>4.9769249589397022</c:v>
                </c:pt>
                <c:pt idx="8007">
                  <c:v>5.1848074867902403</c:v>
                </c:pt>
                <c:pt idx="8008">
                  <c:v>4.8501860619148376</c:v>
                </c:pt>
                <c:pt idx="8009">
                  <c:v>6.0850449181532253</c:v>
                </c:pt>
                <c:pt idx="8010">
                  <c:v>5.8354167816580365</c:v>
                </c:pt>
                <c:pt idx="8011">
                  <c:v>5.7632133302665798</c:v>
                </c:pt>
                <c:pt idx="8012">
                  <c:v>7.0039449396856348</c:v>
                </c:pt>
                <c:pt idx="8013">
                  <c:v>6.084332069437103</c:v>
                </c:pt>
                <c:pt idx="8014">
                  <c:v>5.103079844865146</c:v>
                </c:pt>
                <c:pt idx="8015">
                  <c:v>5.0584267144275152</c:v>
                </c:pt>
                <c:pt idx="8016">
                  <c:v>5.9692234350089697</c:v>
                </c:pt>
                <c:pt idx="8017">
                  <c:v>6.0716418965534151</c:v>
                </c:pt>
                <c:pt idx="8018">
                  <c:v>6.1083118590034067</c:v>
                </c:pt>
                <c:pt idx="8019">
                  <c:v>4.8828580073796299</c:v>
                </c:pt>
                <c:pt idx="8020">
                  <c:v>6.0646372463743283</c:v>
                </c:pt>
                <c:pt idx="8021">
                  <c:v>4.8413885241858736</c:v>
                </c:pt>
                <c:pt idx="8022">
                  <c:v>5.0843819039669986</c:v>
                </c:pt>
                <c:pt idx="8023">
                  <c:v>6.911538352173614</c:v>
                </c:pt>
                <c:pt idx="8024">
                  <c:v>6.0559805385839445</c:v>
                </c:pt>
                <c:pt idx="8025">
                  <c:v>5.091388213873687</c:v>
                </c:pt>
                <c:pt idx="8026">
                  <c:v>4.9864954751274322</c:v>
                </c:pt>
                <c:pt idx="8027">
                  <c:v>4.8562324768585974</c:v>
                </c:pt>
                <c:pt idx="8028">
                  <c:v>5.981932531698603</c:v>
                </c:pt>
                <c:pt idx="8029">
                  <c:v>5.7625797394375802</c:v>
                </c:pt>
                <c:pt idx="8030">
                  <c:v>6.056845064679365</c:v>
                </c:pt>
                <c:pt idx="8031">
                  <c:v>5.0874121237491217</c:v>
                </c:pt>
                <c:pt idx="8032">
                  <c:v>6.0551988651474904</c:v>
                </c:pt>
                <c:pt idx="8033">
                  <c:v>5.9390900191893419</c:v>
                </c:pt>
                <c:pt idx="8034">
                  <c:v>5.0698016868831735</c:v>
                </c:pt>
                <c:pt idx="8035">
                  <c:v>5.8731415040170774</c:v>
                </c:pt>
                <c:pt idx="8036">
                  <c:v>6.0805403078172064</c:v>
                </c:pt>
                <c:pt idx="8037">
                  <c:v>4.9802781187714489</c:v>
                </c:pt>
                <c:pt idx="8038">
                  <c:v>6.0736922617109022</c:v>
                </c:pt>
                <c:pt idx="8039">
                  <c:v>5.8981549232038279</c:v>
                </c:pt>
                <c:pt idx="8040">
                  <c:v>5.0662177212583401</c:v>
                </c:pt>
                <c:pt idx="8041">
                  <c:v>5.9006229044531846</c:v>
                </c:pt>
                <c:pt idx="8042">
                  <c:v>4.9476364149060439</c:v>
                </c:pt>
                <c:pt idx="8043">
                  <c:v>5.785019123785462</c:v>
                </c:pt>
                <c:pt idx="8044">
                  <c:v>6.1104813208576827</c:v>
                </c:pt>
                <c:pt idx="8045">
                  <c:v>5.1811687193346927</c:v>
                </c:pt>
                <c:pt idx="8046">
                  <c:v>5.9510789460950502</c:v>
                </c:pt>
                <c:pt idx="8047">
                  <c:v>5.873995963423841</c:v>
                </c:pt>
                <c:pt idx="8048">
                  <c:v>5.9433055650780426</c:v>
                </c:pt>
                <c:pt idx="8049">
                  <c:v>4.9790931170013097</c:v>
                </c:pt>
                <c:pt idx="8050">
                  <c:v>4.9627291955421855</c:v>
                </c:pt>
                <c:pt idx="8051">
                  <c:v>4.9290979969623505</c:v>
                </c:pt>
                <c:pt idx="8052">
                  <c:v>6.1829462956778309</c:v>
                </c:pt>
                <c:pt idx="8053">
                  <c:v>4.9970079259859643</c:v>
                </c:pt>
                <c:pt idx="8054">
                  <c:v>5.1736804121794115</c:v>
                </c:pt>
                <c:pt idx="8055">
                  <c:v>5.1653552512760621</c:v>
                </c:pt>
                <c:pt idx="8056">
                  <c:v>5.0697763168164593</c:v>
                </c:pt>
                <c:pt idx="8057">
                  <c:v>5.9525683683929387</c:v>
                </c:pt>
                <c:pt idx="8058">
                  <c:v>6.8900974337558321</c:v>
                </c:pt>
                <c:pt idx="8059">
                  <c:v>5.9306299168225127</c:v>
                </c:pt>
                <c:pt idx="8060">
                  <c:v>6.0526223510515109</c:v>
                </c:pt>
                <c:pt idx="8061">
                  <c:v>5.0174303364502268</c:v>
                </c:pt>
                <c:pt idx="8062">
                  <c:v>5.0440988715577628</c:v>
                </c:pt>
                <c:pt idx="8063">
                  <c:v>6.0561735986028076</c:v>
                </c:pt>
                <c:pt idx="8064">
                  <c:v>4.8686501780878499</c:v>
                </c:pt>
                <c:pt idx="8065">
                  <c:v>4.9210230170246323</c:v>
                </c:pt>
                <c:pt idx="8066">
                  <c:v>5.0262890985785553</c:v>
                </c:pt>
                <c:pt idx="8067">
                  <c:v>6.0231903296519489</c:v>
                </c:pt>
                <c:pt idx="8068">
                  <c:v>4.9869320468067855</c:v>
                </c:pt>
                <c:pt idx="8069">
                  <c:v>5.943971605678338</c:v>
                </c:pt>
                <c:pt idx="8070">
                  <c:v>5.0277701680220721</c:v>
                </c:pt>
                <c:pt idx="8071">
                  <c:v>4.7482727571163865</c:v>
                </c:pt>
                <c:pt idx="8072">
                  <c:v>5.7929895867802008</c:v>
                </c:pt>
                <c:pt idx="8073">
                  <c:v>5.0366173458810257</c:v>
                </c:pt>
                <c:pt idx="8074">
                  <c:v>4.9879780130788332</c:v>
                </c:pt>
                <c:pt idx="8075">
                  <c:v>4.9225597203933047</c:v>
                </c:pt>
                <c:pt idx="8076">
                  <c:v>5.0693232082882007</c:v>
                </c:pt>
                <c:pt idx="8077">
                  <c:v>6.1740943276171745</c:v>
                </c:pt>
                <c:pt idx="8078">
                  <c:v>5.1261202531162562</c:v>
                </c:pt>
                <c:pt idx="8079">
                  <c:v>5.901836035806034</c:v>
                </c:pt>
                <c:pt idx="8080">
                  <c:v>6.0774966254836089</c:v>
                </c:pt>
                <c:pt idx="8081">
                  <c:v>7.0074786639644238</c:v>
                </c:pt>
                <c:pt idx="8082">
                  <c:v>7.0583725781668569</c:v>
                </c:pt>
                <c:pt idx="8083">
                  <c:v>6.169812463768177</c:v>
                </c:pt>
                <c:pt idx="8084">
                  <c:v>6.1004739527649212</c:v>
                </c:pt>
                <c:pt idx="8085">
                  <c:v>6.0120122759066259</c:v>
                </c:pt>
                <c:pt idx="8086">
                  <c:v>6.1080845340961174</c:v>
                </c:pt>
                <c:pt idx="8087">
                  <c:v>6.0753458747503393</c:v>
                </c:pt>
                <c:pt idx="8088">
                  <c:v>5.0471592797503106</c:v>
                </c:pt>
                <c:pt idx="8089">
                  <c:v>4.9485833335980987</c:v>
                </c:pt>
                <c:pt idx="8090">
                  <c:v>6.1456700509337896</c:v>
                </c:pt>
                <c:pt idx="8091">
                  <c:v>5.925162598222478</c:v>
                </c:pt>
                <c:pt idx="8092">
                  <c:v>5.9316546185297101</c:v>
                </c:pt>
                <c:pt idx="8093">
                  <c:v>6.1246443613558803</c:v>
                </c:pt>
                <c:pt idx="8094">
                  <c:v>4.9722992757868631</c:v>
                </c:pt>
                <c:pt idx="8095">
                  <c:v>5.9608353315988598</c:v>
                </c:pt>
                <c:pt idx="8096">
                  <c:v>5.0365366517412395</c:v>
                </c:pt>
                <c:pt idx="8097">
                  <c:v>6.1253411966496216</c:v>
                </c:pt>
                <c:pt idx="8098">
                  <c:v>5.9890675002965006</c:v>
                </c:pt>
                <c:pt idx="8099">
                  <c:v>4.9615628225583102</c:v>
                </c:pt>
                <c:pt idx="8100">
                  <c:v>4.9465637586108366</c:v>
                </c:pt>
                <c:pt idx="8101">
                  <c:v>5.9877696698738587</c:v>
                </c:pt>
                <c:pt idx="8102">
                  <c:v>4.9851130597323419</c:v>
                </c:pt>
                <c:pt idx="8103">
                  <c:v>6.0620584887312523</c:v>
                </c:pt>
                <c:pt idx="8104">
                  <c:v>5.051013576053041</c:v>
                </c:pt>
                <c:pt idx="8105">
                  <c:v>5.7126026906509777</c:v>
                </c:pt>
                <c:pt idx="8106">
                  <c:v>5.0473035426048467</c:v>
                </c:pt>
                <c:pt idx="8107">
                  <c:v>6.9535113071973429</c:v>
                </c:pt>
                <c:pt idx="8108">
                  <c:v>5.9995186564980854</c:v>
                </c:pt>
                <c:pt idx="8109">
                  <c:v>5.1486394820688721</c:v>
                </c:pt>
                <c:pt idx="8110">
                  <c:v>6.004047427206995</c:v>
                </c:pt>
                <c:pt idx="8111">
                  <c:v>6.138553871564012</c:v>
                </c:pt>
                <c:pt idx="8112">
                  <c:v>6.0289678916492031</c:v>
                </c:pt>
                <c:pt idx="8113">
                  <c:v>4.9288858408629643</c:v>
                </c:pt>
                <c:pt idx="8114">
                  <c:v>6.0855949328983225</c:v>
                </c:pt>
                <c:pt idx="8115">
                  <c:v>6.1485486165247742</c:v>
                </c:pt>
                <c:pt idx="8116">
                  <c:v>6.0264656834752728</c:v>
                </c:pt>
                <c:pt idx="8117">
                  <c:v>6.0393311458646552</c:v>
                </c:pt>
                <c:pt idx="8118">
                  <c:v>5.8392683459424273</c:v>
                </c:pt>
                <c:pt idx="8119">
                  <c:v>4.9894650299025329</c:v>
                </c:pt>
                <c:pt idx="8120">
                  <c:v>6.1845316694779253</c:v>
                </c:pt>
                <c:pt idx="8121">
                  <c:v>6.014181155220359</c:v>
                </c:pt>
                <c:pt idx="8122">
                  <c:v>5.9595810692921987</c:v>
                </c:pt>
                <c:pt idx="8123">
                  <c:v>6.0508560676038146</c:v>
                </c:pt>
                <c:pt idx="8124">
                  <c:v>4.895732420216957</c:v>
                </c:pt>
                <c:pt idx="8125">
                  <c:v>5.9485453219604487</c:v>
                </c:pt>
                <c:pt idx="8126">
                  <c:v>4.9438978128928657</c:v>
                </c:pt>
                <c:pt idx="8127">
                  <c:v>5.9921581484006454</c:v>
                </c:pt>
                <c:pt idx="8128">
                  <c:v>5.8881775272504653</c:v>
                </c:pt>
                <c:pt idx="8129">
                  <c:v>5.7565987517722279</c:v>
                </c:pt>
                <c:pt idx="8130">
                  <c:v>5.9687435914089386</c:v>
                </c:pt>
                <c:pt idx="8131">
                  <c:v>6.0718310053774518</c:v>
                </c:pt>
                <c:pt idx="8132">
                  <c:v>6.1280884696196347</c:v>
                </c:pt>
                <c:pt idx="8133">
                  <c:v>6.1263775885283565</c:v>
                </c:pt>
                <c:pt idx="8134">
                  <c:v>6.0703187879096872</c:v>
                </c:pt>
                <c:pt idx="8135">
                  <c:v>6.1093937425442348</c:v>
                </c:pt>
                <c:pt idx="8136">
                  <c:v>6.9956888426024015</c:v>
                </c:pt>
                <c:pt idx="8137">
                  <c:v>4.9430146136187716</c:v>
                </c:pt>
                <c:pt idx="8138">
                  <c:v>5.9198378514994099</c:v>
                </c:pt>
                <c:pt idx="8139">
                  <c:v>4.8348883280200896</c:v>
                </c:pt>
                <c:pt idx="8140">
                  <c:v>4.9186771936798532</c:v>
                </c:pt>
                <c:pt idx="8141">
                  <c:v>5.9067330835475831</c:v>
                </c:pt>
                <c:pt idx="8142">
                  <c:v>5.9049656070770986</c:v>
                </c:pt>
                <c:pt idx="8143">
                  <c:v>6.106505499174844</c:v>
                </c:pt>
                <c:pt idx="8144">
                  <c:v>6.0992517848939922</c:v>
                </c:pt>
                <c:pt idx="8145">
                  <c:v>6.0061718248136833</c:v>
                </c:pt>
                <c:pt idx="8146">
                  <c:v>5.9786157391724197</c:v>
                </c:pt>
                <c:pt idx="8147">
                  <c:v>5.9906645249681132</c:v>
                </c:pt>
                <c:pt idx="8148">
                  <c:v>5.0460826980643931</c:v>
                </c:pt>
                <c:pt idx="8149">
                  <c:v>6.0829030847923917</c:v>
                </c:pt>
                <c:pt idx="8150">
                  <c:v>5.0006710585377512</c:v>
                </c:pt>
                <c:pt idx="8151">
                  <c:v>4.8269524801647874</c:v>
                </c:pt>
                <c:pt idx="8152">
                  <c:v>6.0321329107615291</c:v>
                </c:pt>
                <c:pt idx="8153">
                  <c:v>5.7547946016476033</c:v>
                </c:pt>
                <c:pt idx="8154">
                  <c:v>5.9598777331451753</c:v>
                </c:pt>
                <c:pt idx="8155">
                  <c:v>6.0083822047915083</c:v>
                </c:pt>
                <c:pt idx="8156">
                  <c:v>5.910227215066044</c:v>
                </c:pt>
                <c:pt idx="8157">
                  <c:v>6.0454450471810981</c:v>
                </c:pt>
                <c:pt idx="8158">
                  <c:v>5.9603582364644749</c:v>
                </c:pt>
                <c:pt idx="8159">
                  <c:v>5.0569843804955763</c:v>
                </c:pt>
                <c:pt idx="8160">
                  <c:v>5.9530248636761849</c:v>
                </c:pt>
                <c:pt idx="8161">
                  <c:v>5.9720746868879102</c:v>
                </c:pt>
                <c:pt idx="8162">
                  <c:v>5.8698050804659259</c:v>
                </c:pt>
                <c:pt idx="8163">
                  <c:v>6.0597227678078989</c:v>
                </c:pt>
                <c:pt idx="8164">
                  <c:v>5.8153738915140876</c:v>
                </c:pt>
                <c:pt idx="8165">
                  <c:v>4.9397735425159697</c:v>
                </c:pt>
                <c:pt idx="8166">
                  <c:v>4.8878707166319018</c:v>
                </c:pt>
                <c:pt idx="8167">
                  <c:v>6.2405933162851728</c:v>
                </c:pt>
                <c:pt idx="8168">
                  <c:v>5.9981596022624011</c:v>
                </c:pt>
                <c:pt idx="8169">
                  <c:v>4.8685066696453614</c:v>
                </c:pt>
                <c:pt idx="8170">
                  <c:v>6.0942565976855088</c:v>
                </c:pt>
                <c:pt idx="8171">
                  <c:v>5.8792153205149038</c:v>
                </c:pt>
                <c:pt idx="8172">
                  <c:v>4.9146353842264476</c:v>
                </c:pt>
                <c:pt idx="8173">
                  <c:v>5.9448421448270805</c:v>
                </c:pt>
                <c:pt idx="8174">
                  <c:v>5.8030432408994015</c:v>
                </c:pt>
                <c:pt idx="8175">
                  <c:v>5.032682683394512</c:v>
                </c:pt>
                <c:pt idx="8176">
                  <c:v>5.9124389741512688</c:v>
                </c:pt>
                <c:pt idx="8177">
                  <c:v>5.9391811530197938</c:v>
                </c:pt>
                <c:pt idx="8178">
                  <c:v>5.0860693967635848</c:v>
                </c:pt>
                <c:pt idx="8179">
                  <c:v>6.0398992304898655</c:v>
                </c:pt>
                <c:pt idx="8180">
                  <c:v>4.904608129289473</c:v>
                </c:pt>
                <c:pt idx="8181">
                  <c:v>4.764256673428318</c:v>
                </c:pt>
                <c:pt idx="8182">
                  <c:v>5.9100961959753597</c:v>
                </c:pt>
                <c:pt idx="8183">
                  <c:v>5.1220194517134949</c:v>
                </c:pt>
                <c:pt idx="8184">
                  <c:v>4.9909965544247381</c:v>
                </c:pt>
                <c:pt idx="8185">
                  <c:v>4.9295633798305065</c:v>
                </c:pt>
                <c:pt idx="8186">
                  <c:v>4.9907820531071216</c:v>
                </c:pt>
                <c:pt idx="8187">
                  <c:v>6.0325880747518177</c:v>
                </c:pt>
                <c:pt idx="8188">
                  <c:v>7.2179486944092215</c:v>
                </c:pt>
                <c:pt idx="8189">
                  <c:v>4.9740249075810459</c:v>
                </c:pt>
                <c:pt idx="8190">
                  <c:v>4.9662682628268273</c:v>
                </c:pt>
                <c:pt idx="8191">
                  <c:v>6.0098869349748911</c:v>
                </c:pt>
                <c:pt idx="8192">
                  <c:v>4.9865627725461943</c:v>
                </c:pt>
                <c:pt idx="8193">
                  <c:v>6.0467166554666933</c:v>
                </c:pt>
                <c:pt idx="8194">
                  <c:v>5.8968680098165107</c:v>
                </c:pt>
                <c:pt idx="8195">
                  <c:v>5.040402956007517</c:v>
                </c:pt>
                <c:pt idx="8196">
                  <c:v>6.0192905753027039</c:v>
                </c:pt>
                <c:pt idx="8197">
                  <c:v>5.097263537664479</c:v>
                </c:pt>
                <c:pt idx="8198">
                  <c:v>6.0690630351618378</c:v>
                </c:pt>
                <c:pt idx="8199">
                  <c:v>5.9812481415622161</c:v>
                </c:pt>
                <c:pt idx="8200">
                  <c:v>5.0781770557585011</c:v>
                </c:pt>
                <c:pt idx="8201">
                  <c:v>5.0495737649288062</c:v>
                </c:pt>
                <c:pt idx="8202">
                  <c:v>4.9907449616405017</c:v>
                </c:pt>
                <c:pt idx="8203">
                  <c:v>5.1507110521358399</c:v>
                </c:pt>
                <c:pt idx="8204">
                  <c:v>6.054537375681349</c:v>
                </c:pt>
                <c:pt idx="8205">
                  <c:v>5.9476702267007298</c:v>
                </c:pt>
                <c:pt idx="8206">
                  <c:v>5.100329931350597</c:v>
                </c:pt>
                <c:pt idx="8207">
                  <c:v>6.2328641441076353</c:v>
                </c:pt>
                <c:pt idx="8208">
                  <c:v>6.1263379078968789</c:v>
                </c:pt>
                <c:pt idx="8209">
                  <c:v>6.094725728786889</c:v>
                </c:pt>
                <c:pt idx="8210">
                  <c:v>6.0360472190682586</c:v>
                </c:pt>
                <c:pt idx="8211">
                  <c:v>5.0157754672527686</c:v>
                </c:pt>
                <c:pt idx="8212">
                  <c:v>5.9463681327948015</c:v>
                </c:pt>
                <c:pt idx="8213">
                  <c:v>6.1156956673155527</c:v>
                </c:pt>
                <c:pt idx="8214">
                  <c:v>5.1944726725525836</c:v>
                </c:pt>
                <c:pt idx="8215">
                  <c:v>5.0790797571933295</c:v>
                </c:pt>
                <c:pt idx="8216">
                  <c:v>4.9293368945884648</c:v>
                </c:pt>
                <c:pt idx="8217">
                  <c:v>5.9311707622414858</c:v>
                </c:pt>
                <c:pt idx="8218">
                  <c:v>5.0188787923512894</c:v>
                </c:pt>
                <c:pt idx="8219">
                  <c:v>6.0461678928232114</c:v>
                </c:pt>
                <c:pt idx="8220">
                  <c:v>5.9901284844169727</c:v>
                </c:pt>
                <c:pt idx="8221">
                  <c:v>4.9284237696646835</c:v>
                </c:pt>
                <c:pt idx="8222">
                  <c:v>6.0946572272494857</c:v>
                </c:pt>
                <c:pt idx="8223">
                  <c:v>6.0483821877249273</c:v>
                </c:pt>
                <c:pt idx="8224">
                  <c:v>5.9851741826499669</c:v>
                </c:pt>
                <c:pt idx="8225">
                  <c:v>5.9165015326469836</c:v>
                </c:pt>
                <c:pt idx="8226">
                  <c:v>6.0842123598315778</c:v>
                </c:pt>
                <c:pt idx="8227">
                  <c:v>6.0430405886248142</c:v>
                </c:pt>
                <c:pt idx="8228">
                  <c:v>4.911026440026629</c:v>
                </c:pt>
                <c:pt idx="8229">
                  <c:v>5.958895627314539</c:v>
                </c:pt>
                <c:pt idx="8230">
                  <c:v>5.1864645820328432</c:v>
                </c:pt>
                <c:pt idx="8231">
                  <c:v>6.0034487497914242</c:v>
                </c:pt>
                <c:pt idx="8232">
                  <c:v>6.0631553408018233</c:v>
                </c:pt>
                <c:pt idx="8233">
                  <c:v>5.8628831277313846</c:v>
                </c:pt>
                <c:pt idx="8234">
                  <c:v>5.0634113707084918</c:v>
                </c:pt>
                <c:pt idx="8235">
                  <c:v>5.0310102038034374</c:v>
                </c:pt>
                <c:pt idx="8236">
                  <c:v>6.1918128142829723</c:v>
                </c:pt>
                <c:pt idx="8237">
                  <c:v>4.8917310659648106</c:v>
                </c:pt>
                <c:pt idx="8238">
                  <c:v>6.0480474972863894</c:v>
                </c:pt>
                <c:pt idx="8239">
                  <c:v>5.946405341835467</c:v>
                </c:pt>
                <c:pt idx="8240">
                  <c:v>5.876500525274535</c:v>
                </c:pt>
                <c:pt idx="8241">
                  <c:v>5.9201680616259686</c:v>
                </c:pt>
                <c:pt idx="8242">
                  <c:v>5.0488812257157107</c:v>
                </c:pt>
                <c:pt idx="8243">
                  <c:v>4.7266201043418139</c:v>
                </c:pt>
                <c:pt idx="8244">
                  <c:v>5.8111155664205008</c:v>
                </c:pt>
                <c:pt idx="8245">
                  <c:v>4.1482514212975055</c:v>
                </c:pt>
                <c:pt idx="8246">
                  <c:v>4.0122261433336641</c:v>
                </c:pt>
                <c:pt idx="8247">
                  <c:v>6.003148236492355</c:v>
                </c:pt>
                <c:pt idx="8248">
                  <c:v>5.9691457972555533</c:v>
                </c:pt>
                <c:pt idx="8249">
                  <c:v>5.0501641303270093</c:v>
                </c:pt>
                <c:pt idx="8250">
                  <c:v>5.9520158963642986</c:v>
                </c:pt>
                <c:pt idx="8251">
                  <c:v>5.1849790241906062</c:v>
                </c:pt>
                <c:pt idx="8252">
                  <c:v>5.0115783071063618</c:v>
                </c:pt>
                <c:pt idx="8253">
                  <c:v>5.8678694281858039</c:v>
                </c:pt>
                <c:pt idx="8254">
                  <c:v>5.8720064276839814</c:v>
                </c:pt>
                <c:pt idx="8255">
                  <c:v>5.2137908156677826</c:v>
                </c:pt>
                <c:pt idx="8256">
                  <c:v>5.0350829384199942</c:v>
                </c:pt>
                <c:pt idx="8257">
                  <c:v>5.8636652601549653</c:v>
                </c:pt>
                <c:pt idx="8258">
                  <c:v>5.818695341745574</c:v>
                </c:pt>
                <c:pt idx="8259">
                  <c:v>4.9033782786807736</c:v>
                </c:pt>
                <c:pt idx="8260">
                  <c:v>4.0393971943777967</c:v>
                </c:pt>
                <c:pt idx="8261">
                  <c:v>6.0644225132040379</c:v>
                </c:pt>
                <c:pt idx="8262">
                  <c:v>6.1438933647748222</c:v>
                </c:pt>
                <c:pt idx="8263">
                  <c:v>6.0463823725751267</c:v>
                </c:pt>
                <c:pt idx="8264">
                  <c:v>5.8830659571901966</c:v>
                </c:pt>
                <c:pt idx="8265">
                  <c:v>5.8410328924676325</c:v>
                </c:pt>
                <c:pt idx="8266">
                  <c:v>5.96130281973526</c:v>
                </c:pt>
                <c:pt idx="8267">
                  <c:v>5.0415619082817633</c:v>
                </c:pt>
                <c:pt idx="8268">
                  <c:v>6.0494498827466971</c:v>
                </c:pt>
                <c:pt idx="8269">
                  <c:v>6.1677685535614559</c:v>
                </c:pt>
                <c:pt idx="8270">
                  <c:v>5.8535702375880794</c:v>
                </c:pt>
                <c:pt idx="8271">
                  <c:v>4.9673988421211019</c:v>
                </c:pt>
                <c:pt idx="8272">
                  <c:v>4.97133233384295</c:v>
                </c:pt>
                <c:pt idx="8273">
                  <c:v>6.1002739073194894</c:v>
                </c:pt>
                <c:pt idx="8274">
                  <c:v>5.0316711268377787</c:v>
                </c:pt>
                <c:pt idx="8275">
                  <c:v>6.1068385069814548</c:v>
                </c:pt>
                <c:pt idx="8276">
                  <c:v>5.9848925757840039</c:v>
                </c:pt>
                <c:pt idx="8277">
                  <c:v>5.0135651355036224</c:v>
                </c:pt>
                <c:pt idx="8278">
                  <c:v>5.024766194592841</c:v>
                </c:pt>
                <c:pt idx="8279">
                  <c:v>5.1050734958804513</c:v>
                </c:pt>
                <c:pt idx="8280">
                  <c:v>5.1609417593945359</c:v>
                </c:pt>
                <c:pt idx="8281">
                  <c:v>6.1166310828816224</c:v>
                </c:pt>
                <c:pt idx="8282">
                  <c:v>4.8626522355762463</c:v>
                </c:pt>
                <c:pt idx="8283">
                  <c:v>5.0715067121670909</c:v>
                </c:pt>
                <c:pt idx="8284">
                  <c:v>5.7789965030666961</c:v>
                </c:pt>
                <c:pt idx="8285">
                  <c:v>5.0989052283168448</c:v>
                </c:pt>
                <c:pt idx="8286">
                  <c:v>4.9170142902864304</c:v>
                </c:pt>
                <c:pt idx="8287">
                  <c:v>4.9577807065437698</c:v>
                </c:pt>
                <c:pt idx="8288">
                  <c:v>5.0242006413757743</c:v>
                </c:pt>
                <c:pt idx="8289">
                  <c:v>6.0213224184235425</c:v>
                </c:pt>
                <c:pt idx="8290">
                  <c:v>4.8825302067582372</c:v>
                </c:pt>
                <c:pt idx="8291">
                  <c:v>5.9030545433257684</c:v>
                </c:pt>
                <c:pt idx="8292">
                  <c:v>6.1234618066004822</c:v>
                </c:pt>
                <c:pt idx="8293">
                  <c:v>5.1799468447858414</c:v>
                </c:pt>
                <c:pt idx="8294">
                  <c:v>5.9844061091931913</c:v>
                </c:pt>
                <c:pt idx="8295">
                  <c:v>5.9582434234595372</c:v>
                </c:pt>
                <c:pt idx="8296">
                  <c:v>6.0015556070329552</c:v>
                </c:pt>
                <c:pt idx="8297">
                  <c:v>5.051658498888445</c:v>
                </c:pt>
                <c:pt idx="8298">
                  <c:v>6.0551983495171227</c:v>
                </c:pt>
                <c:pt idx="8299">
                  <c:v>5.9084901086752044</c:v>
                </c:pt>
                <c:pt idx="8300">
                  <c:v>6.013264889790146</c:v>
                </c:pt>
                <c:pt idx="8301">
                  <c:v>4.9672084245554924</c:v>
                </c:pt>
                <c:pt idx="8302">
                  <c:v>6.105318656117185</c:v>
                </c:pt>
                <c:pt idx="8303">
                  <c:v>4.8299799287929819</c:v>
                </c:pt>
                <c:pt idx="8304">
                  <c:v>5.9539672335043923</c:v>
                </c:pt>
                <c:pt idx="8305">
                  <c:v>5.9407180713997771</c:v>
                </c:pt>
                <c:pt idx="8306">
                  <c:v>5.967362267512474</c:v>
                </c:pt>
                <c:pt idx="8307">
                  <c:v>6.1073168377391482</c:v>
                </c:pt>
                <c:pt idx="8308">
                  <c:v>6.0439293800480671</c:v>
                </c:pt>
                <c:pt idx="8309">
                  <c:v>5.0856822302436955</c:v>
                </c:pt>
                <c:pt idx="8310">
                  <c:v>6.117597844525787</c:v>
                </c:pt>
                <c:pt idx="8311">
                  <c:v>6.0164310011198632</c:v>
                </c:pt>
                <c:pt idx="8312">
                  <c:v>5.8508676929645187</c:v>
                </c:pt>
                <c:pt idx="8313">
                  <c:v>5.8022920076577478</c:v>
                </c:pt>
                <c:pt idx="8314">
                  <c:v>5.931631699864389</c:v>
                </c:pt>
                <c:pt idx="8315">
                  <c:v>5.949405970956259</c:v>
                </c:pt>
                <c:pt idx="8316">
                  <c:v>5.9088711276544839</c:v>
                </c:pt>
                <c:pt idx="8317">
                  <c:v>6.0890816909857994</c:v>
                </c:pt>
                <c:pt idx="8318">
                  <c:v>5.9191895994764208</c:v>
                </c:pt>
                <c:pt idx="8319">
                  <c:v>6.0360569296687689</c:v>
                </c:pt>
                <c:pt idx="8320">
                  <c:v>5.1274816528701637</c:v>
                </c:pt>
                <c:pt idx="8321">
                  <c:v>6.1150311934382913</c:v>
                </c:pt>
                <c:pt idx="8322">
                  <c:v>5.9721212366262506</c:v>
                </c:pt>
                <c:pt idx="8323">
                  <c:v>6.0057748080642686</c:v>
                </c:pt>
                <c:pt idx="8324">
                  <c:v>4.9975830533018764</c:v>
                </c:pt>
                <c:pt idx="8325">
                  <c:v>6.0439514867112818</c:v>
                </c:pt>
                <c:pt idx="8326">
                  <c:v>5.0254827994075741</c:v>
                </c:pt>
                <c:pt idx="8327">
                  <c:v>4.956823509775349</c:v>
                </c:pt>
                <c:pt idx="8328">
                  <c:v>6.0628524548768352</c:v>
                </c:pt>
                <c:pt idx="8329">
                  <c:v>6.0775040631188748</c:v>
                </c:pt>
                <c:pt idx="8330">
                  <c:v>5.9807209211017591</c:v>
                </c:pt>
                <c:pt idx="8331">
                  <c:v>5.9421818775043906</c:v>
                </c:pt>
                <c:pt idx="8332">
                  <c:v>5.0383285633740353</c:v>
                </c:pt>
                <c:pt idx="8333">
                  <c:v>6.0695997423545762</c:v>
                </c:pt>
                <c:pt idx="8334">
                  <c:v>4.8745859031639442</c:v>
                </c:pt>
                <c:pt idx="8335">
                  <c:v>6.0604479351890008</c:v>
                </c:pt>
                <c:pt idx="8336">
                  <c:v>5.9977071601793321</c:v>
                </c:pt>
                <c:pt idx="8337">
                  <c:v>5.9722255779114812</c:v>
                </c:pt>
                <c:pt idx="8338">
                  <c:v>6.9024080080011263</c:v>
                </c:pt>
                <c:pt idx="8339">
                  <c:v>6.9969282137367692</c:v>
                </c:pt>
                <c:pt idx="8340">
                  <c:v>5.0854687191025079</c:v>
                </c:pt>
                <c:pt idx="8341">
                  <c:v>5.0836999098375966</c:v>
                </c:pt>
                <c:pt idx="8342">
                  <c:v>4.969528669710396</c:v>
                </c:pt>
                <c:pt idx="8343">
                  <c:v>6.0352003377394166</c:v>
                </c:pt>
                <c:pt idx="8344">
                  <c:v>6.0824570544468948</c:v>
                </c:pt>
                <c:pt idx="8345">
                  <c:v>5.8829840238564213</c:v>
                </c:pt>
                <c:pt idx="8346">
                  <c:v>4.9574405744097474</c:v>
                </c:pt>
                <c:pt idx="8347">
                  <c:v>5.0755658515817936</c:v>
                </c:pt>
                <c:pt idx="8348">
                  <c:v>4.855259562307503</c:v>
                </c:pt>
                <c:pt idx="8349">
                  <c:v>6.0217987549128207</c:v>
                </c:pt>
                <c:pt idx="8350">
                  <c:v>5.9988297856030526</c:v>
                </c:pt>
                <c:pt idx="8351">
                  <c:v>5.1563048799378297</c:v>
                </c:pt>
                <c:pt idx="8352">
                  <c:v>5.9433938649393978</c:v>
                </c:pt>
                <c:pt idx="8353">
                  <c:v>6.9076510770513284</c:v>
                </c:pt>
                <c:pt idx="8354">
                  <c:v>5.8075171840040998</c:v>
                </c:pt>
                <c:pt idx="8355">
                  <c:v>6.0315544958587406</c:v>
                </c:pt>
                <c:pt idx="8356">
                  <c:v>5.0145011329794205</c:v>
                </c:pt>
                <c:pt idx="8357">
                  <c:v>6.9039166881478806</c:v>
                </c:pt>
                <c:pt idx="8358">
                  <c:v>6.0250203006964869</c:v>
                </c:pt>
                <c:pt idx="8359">
                  <c:v>8.0161164405713379</c:v>
                </c:pt>
                <c:pt idx="8360">
                  <c:v>6.0818031036852167</c:v>
                </c:pt>
                <c:pt idx="8361">
                  <c:v>4.887499664302025</c:v>
                </c:pt>
                <c:pt idx="8362">
                  <c:v>6.9313795523005615</c:v>
                </c:pt>
                <c:pt idx="8363">
                  <c:v>6.0170371838727208</c:v>
                </c:pt>
                <c:pt idx="8364">
                  <c:v>7.0802126012999738</c:v>
                </c:pt>
                <c:pt idx="8365">
                  <c:v>6.9951577281652995</c:v>
                </c:pt>
                <c:pt idx="8366">
                  <c:v>6.071619013429034</c:v>
                </c:pt>
                <c:pt idx="8367">
                  <c:v>4.9997021008144129</c:v>
                </c:pt>
                <c:pt idx="8368">
                  <c:v>4.9358564833773855</c:v>
                </c:pt>
                <c:pt idx="8369">
                  <c:v>5.0085878066907243</c:v>
                </c:pt>
                <c:pt idx="8370">
                  <c:v>6.0573320435501712</c:v>
                </c:pt>
                <c:pt idx="8371">
                  <c:v>7.1684966737004334</c:v>
                </c:pt>
                <c:pt idx="8372">
                  <c:v>5.0361709448734029</c:v>
                </c:pt>
                <c:pt idx="8373">
                  <c:v>4.9571715278883284</c:v>
                </c:pt>
                <c:pt idx="8374">
                  <c:v>5.1010918992442944</c:v>
                </c:pt>
                <c:pt idx="8375">
                  <c:v>6.0700602808607513</c:v>
                </c:pt>
                <c:pt idx="8376">
                  <c:v>4.9655565332498925</c:v>
                </c:pt>
                <c:pt idx="8377">
                  <c:v>6.0193835910008016</c:v>
                </c:pt>
                <c:pt idx="8378">
                  <c:v>5.0684851902165144</c:v>
                </c:pt>
                <c:pt idx="8379">
                  <c:v>4.8966370182114938</c:v>
                </c:pt>
                <c:pt idx="8380">
                  <c:v>6.0697033374230216</c:v>
                </c:pt>
                <c:pt idx="8381">
                  <c:v>5.0883686542445483</c:v>
                </c:pt>
                <c:pt idx="8382">
                  <c:v>6.1399870846551057</c:v>
                </c:pt>
                <c:pt idx="8383">
                  <c:v>6.1251094145456584</c:v>
                </c:pt>
                <c:pt idx="8384">
                  <c:v>4.9048432884000013</c:v>
                </c:pt>
                <c:pt idx="8385">
                  <c:v>4.8555876780388694</c:v>
                </c:pt>
                <c:pt idx="8386">
                  <c:v>4.9647016245847926</c:v>
                </c:pt>
                <c:pt idx="8387">
                  <c:v>5.9248180438453373</c:v>
                </c:pt>
                <c:pt idx="8388">
                  <c:v>6.0888091189287605</c:v>
                </c:pt>
                <c:pt idx="8389">
                  <c:v>5.0133356290977638</c:v>
                </c:pt>
                <c:pt idx="8390">
                  <c:v>6.9417349596007876</c:v>
                </c:pt>
                <c:pt idx="8391">
                  <c:v>4.8515676300715755</c:v>
                </c:pt>
                <c:pt idx="8392">
                  <c:v>5.9272430818461261</c:v>
                </c:pt>
                <c:pt idx="8393">
                  <c:v>6.168473760751513</c:v>
                </c:pt>
                <c:pt idx="8394">
                  <c:v>6.0719374331200013</c:v>
                </c:pt>
                <c:pt idx="8395">
                  <c:v>4.8745712287886676</c:v>
                </c:pt>
                <c:pt idx="8396">
                  <c:v>6.0519987591805231</c:v>
                </c:pt>
                <c:pt idx="8397">
                  <c:v>5.8966476579568363</c:v>
                </c:pt>
                <c:pt idx="8398">
                  <c:v>5.0537601494910449</c:v>
                </c:pt>
                <c:pt idx="8399">
                  <c:v>5.869660044806853</c:v>
                </c:pt>
                <c:pt idx="8400">
                  <c:v>5.0476927604804533</c:v>
                </c:pt>
                <c:pt idx="8401">
                  <c:v>4.8925944082996526</c:v>
                </c:pt>
                <c:pt idx="8402">
                  <c:v>5.0608333113695778</c:v>
                </c:pt>
                <c:pt idx="8403">
                  <c:v>5.0720184712918002</c:v>
                </c:pt>
                <c:pt idx="8404">
                  <c:v>5.135206977691154</c:v>
                </c:pt>
                <c:pt idx="8405">
                  <c:v>4.8679321091712149</c:v>
                </c:pt>
                <c:pt idx="8406">
                  <c:v>5.9523994092156709</c:v>
                </c:pt>
                <c:pt idx="8407">
                  <c:v>6.9399706974514688</c:v>
                </c:pt>
                <c:pt idx="8408">
                  <c:v>4.8810406388235243</c:v>
                </c:pt>
                <c:pt idx="8409">
                  <c:v>4.0835238100977529</c:v>
                </c:pt>
                <c:pt idx="8410">
                  <c:v>6.1266137160839236</c:v>
                </c:pt>
                <c:pt idx="8411">
                  <c:v>4.8689226380245181</c:v>
                </c:pt>
                <c:pt idx="8412">
                  <c:v>5.1828659883277526</c:v>
                </c:pt>
                <c:pt idx="8413">
                  <c:v>6.0145644683084649</c:v>
                </c:pt>
                <c:pt idx="8414">
                  <c:v>4.950551457549258</c:v>
                </c:pt>
                <c:pt idx="8415">
                  <c:v>6.1397933507809963</c:v>
                </c:pt>
                <c:pt idx="8416">
                  <c:v>6.2964407290617856</c:v>
                </c:pt>
                <c:pt idx="8417">
                  <c:v>4.7992066709613272</c:v>
                </c:pt>
                <c:pt idx="8418">
                  <c:v>3.8900535100390088</c:v>
                </c:pt>
                <c:pt idx="8419">
                  <c:v>6.0262754214102596</c:v>
                </c:pt>
                <c:pt idx="8420">
                  <c:v>5.1181390666565934</c:v>
                </c:pt>
                <c:pt idx="8421">
                  <c:v>7.0463807044342603</c:v>
                </c:pt>
                <c:pt idx="8422">
                  <c:v>5.7584213857241373</c:v>
                </c:pt>
                <c:pt idx="8423">
                  <c:v>6.1694250196514204</c:v>
                </c:pt>
                <c:pt idx="8424">
                  <c:v>4.8148200524877822</c:v>
                </c:pt>
                <c:pt idx="8425">
                  <c:v>6.1179431868459977</c:v>
                </c:pt>
                <c:pt idx="8426">
                  <c:v>5.9915284794755772</c:v>
                </c:pt>
                <c:pt idx="8427">
                  <c:v>5.0375538454487296</c:v>
                </c:pt>
                <c:pt idx="8428">
                  <c:v>5.9969964335425425</c:v>
                </c:pt>
                <c:pt idx="8429">
                  <c:v>5.0200375829902484</c:v>
                </c:pt>
                <c:pt idx="8430">
                  <c:v>4.8271393110258751</c:v>
                </c:pt>
                <c:pt idx="8431">
                  <c:v>5.9000294575267445</c:v>
                </c:pt>
                <c:pt idx="8432">
                  <c:v>6.7260455885067945</c:v>
                </c:pt>
                <c:pt idx="8433">
                  <c:v>5.8692210628372976</c:v>
                </c:pt>
                <c:pt idx="8434">
                  <c:v>5.8629277314924177</c:v>
                </c:pt>
                <c:pt idx="8435">
                  <c:v>5.0863783258574067</c:v>
                </c:pt>
                <c:pt idx="8436">
                  <c:v>5.1573212273245135</c:v>
                </c:pt>
                <c:pt idx="8437">
                  <c:v>4.9844936186214701</c:v>
                </c:pt>
                <c:pt idx="8438">
                  <c:v>4.7816578483354952</c:v>
                </c:pt>
                <c:pt idx="8439">
                  <c:v>5.9539730228955516</c:v>
                </c:pt>
                <c:pt idx="8440">
                  <c:v>7.0280855185936204</c:v>
                </c:pt>
                <c:pt idx="8441">
                  <c:v>5.0759769188738488</c:v>
                </c:pt>
                <c:pt idx="8442">
                  <c:v>4.947753908883727</c:v>
                </c:pt>
                <c:pt idx="8443">
                  <c:v>5.9164175743795191</c:v>
                </c:pt>
                <c:pt idx="8444">
                  <c:v>7.199007151072661</c:v>
                </c:pt>
                <c:pt idx="8445">
                  <c:v>6.1028715367883128</c:v>
                </c:pt>
                <c:pt idx="8446">
                  <c:v>4.9955977220519605</c:v>
                </c:pt>
                <c:pt idx="8447">
                  <c:v>5.0222017825431138</c:v>
                </c:pt>
                <c:pt idx="8448">
                  <c:v>4.9746747784339789</c:v>
                </c:pt>
                <c:pt idx="8449">
                  <c:v>6.8755659079461298</c:v>
                </c:pt>
                <c:pt idx="8450">
                  <c:v>4.9794241876066163</c:v>
                </c:pt>
                <c:pt idx="8451">
                  <c:v>4.9478154039826565</c:v>
                </c:pt>
                <c:pt idx="8452">
                  <c:v>6.0380318387086884</c:v>
                </c:pt>
                <c:pt idx="8453">
                  <c:v>5.9862745519037572</c:v>
                </c:pt>
                <c:pt idx="8454">
                  <c:v>4.9972658301704822</c:v>
                </c:pt>
                <c:pt idx="8455">
                  <c:v>7.089927392172056</c:v>
                </c:pt>
                <c:pt idx="8456">
                  <c:v>6.0247190277757534</c:v>
                </c:pt>
                <c:pt idx="8457">
                  <c:v>4.9986548256221939</c:v>
                </c:pt>
                <c:pt idx="8458">
                  <c:v>4.8390491097120689</c:v>
                </c:pt>
                <c:pt idx="8459">
                  <c:v>6.035716122251011</c:v>
                </c:pt>
                <c:pt idx="8460">
                  <c:v>5.0861412904923373</c:v>
                </c:pt>
                <c:pt idx="8461">
                  <c:v>5.9174921500095747</c:v>
                </c:pt>
                <c:pt idx="8462">
                  <c:v>5.9056484856872711</c:v>
                </c:pt>
                <c:pt idx="8463">
                  <c:v>5.0112023051003574</c:v>
                </c:pt>
                <c:pt idx="8464">
                  <c:v>5.9220935369785703</c:v>
                </c:pt>
                <c:pt idx="8465">
                  <c:v>5.9411351653439173</c:v>
                </c:pt>
                <c:pt idx="8466">
                  <c:v>6.0728718591076642</c:v>
                </c:pt>
                <c:pt idx="8467">
                  <c:v>6.0901143526020851</c:v>
                </c:pt>
                <c:pt idx="8468">
                  <c:v>4.99477461420806</c:v>
                </c:pt>
                <c:pt idx="8469">
                  <c:v>6.9704571303990672</c:v>
                </c:pt>
                <c:pt idx="8470">
                  <c:v>4.8916165522427457</c:v>
                </c:pt>
                <c:pt idx="8471">
                  <c:v>5.957532193915867</c:v>
                </c:pt>
                <c:pt idx="8472">
                  <c:v>5.0945851061254164</c:v>
                </c:pt>
                <c:pt idx="8473">
                  <c:v>4.8957330816301399</c:v>
                </c:pt>
                <c:pt idx="8474">
                  <c:v>7.2480247429899567</c:v>
                </c:pt>
                <c:pt idx="8475">
                  <c:v>5.0032820114672205</c:v>
                </c:pt>
                <c:pt idx="8476">
                  <c:v>5.1760114915091036</c:v>
                </c:pt>
                <c:pt idx="8477">
                  <c:v>4.8531420505292697</c:v>
                </c:pt>
                <c:pt idx="8478">
                  <c:v>5.9059235605526563</c:v>
                </c:pt>
                <c:pt idx="8479">
                  <c:v>6.8915612739229202</c:v>
                </c:pt>
                <c:pt idx="8480">
                  <c:v>6.057426405132956</c:v>
                </c:pt>
                <c:pt idx="8481">
                  <c:v>5.9952644698700759</c:v>
                </c:pt>
                <c:pt idx="8482">
                  <c:v>6.0542105534794421</c:v>
                </c:pt>
                <c:pt idx="8483">
                  <c:v>5.0348997772733091</c:v>
                </c:pt>
                <c:pt idx="8484">
                  <c:v>5.0052852567145969</c:v>
                </c:pt>
                <c:pt idx="8485">
                  <c:v>4.955046867032725</c:v>
                </c:pt>
                <c:pt idx="8486">
                  <c:v>5.1044850954708707</c:v>
                </c:pt>
                <c:pt idx="8487">
                  <c:v>7.0354745272928536</c:v>
                </c:pt>
                <c:pt idx="8488">
                  <c:v>4.9882410729916522</c:v>
                </c:pt>
                <c:pt idx="8489">
                  <c:v>6.1301897235737721</c:v>
                </c:pt>
                <c:pt idx="8490">
                  <c:v>6.1321000812719682</c:v>
                </c:pt>
                <c:pt idx="8491">
                  <c:v>7.0631491197493759</c:v>
                </c:pt>
                <c:pt idx="8492">
                  <c:v>5.0071907716956581</c:v>
                </c:pt>
                <c:pt idx="8493">
                  <c:v>6.9550331322446617</c:v>
                </c:pt>
                <c:pt idx="8494">
                  <c:v>5.9509086869235883</c:v>
                </c:pt>
                <c:pt idx="8495">
                  <c:v>6.0276186071042925</c:v>
                </c:pt>
                <c:pt idx="8496">
                  <c:v>4.8626922835793449</c:v>
                </c:pt>
                <c:pt idx="8497">
                  <c:v>4.9196893040611211</c:v>
                </c:pt>
                <c:pt idx="8498">
                  <c:v>5.869682086466713</c:v>
                </c:pt>
                <c:pt idx="8499">
                  <c:v>5.8621610564127682</c:v>
                </c:pt>
                <c:pt idx="8500">
                  <c:v>6.065741953203756</c:v>
                </c:pt>
                <c:pt idx="8501">
                  <c:v>5.0894101952771997</c:v>
                </c:pt>
                <c:pt idx="8502">
                  <c:v>6.0100293631448665</c:v>
                </c:pt>
                <c:pt idx="8503">
                  <c:v>5.9338840230283223</c:v>
                </c:pt>
                <c:pt idx="8504">
                  <c:v>5.9480451451567413</c:v>
                </c:pt>
                <c:pt idx="8505">
                  <c:v>5.0253019955808664</c:v>
                </c:pt>
                <c:pt idx="8506">
                  <c:v>6.0494572754017053</c:v>
                </c:pt>
                <c:pt idx="8507">
                  <c:v>7.1222097946486871</c:v>
                </c:pt>
                <c:pt idx="8508">
                  <c:v>5.9829561160198166</c:v>
                </c:pt>
                <c:pt idx="8509">
                  <c:v>5.1580939563460904</c:v>
                </c:pt>
                <c:pt idx="8510">
                  <c:v>5.9887823372651461</c:v>
                </c:pt>
                <c:pt idx="8511">
                  <c:v>4.8725516509146294</c:v>
                </c:pt>
                <c:pt idx="8512">
                  <c:v>4.9569866934828175</c:v>
                </c:pt>
                <c:pt idx="8513">
                  <c:v>5.1396920501312273</c:v>
                </c:pt>
                <c:pt idx="8514">
                  <c:v>5.7491350238568799</c:v>
                </c:pt>
                <c:pt idx="8515">
                  <c:v>5.8316753543084872</c:v>
                </c:pt>
                <c:pt idx="8516">
                  <c:v>5.0139568398412244</c:v>
                </c:pt>
                <c:pt idx="8517">
                  <c:v>5.9483319156801349</c:v>
                </c:pt>
                <c:pt idx="8518">
                  <c:v>5.0520403027584102</c:v>
                </c:pt>
                <c:pt idx="8519">
                  <c:v>5.9394605026246916</c:v>
                </c:pt>
                <c:pt idx="8520">
                  <c:v>5.8122286082138315</c:v>
                </c:pt>
                <c:pt idx="8521">
                  <c:v>5.1053903529855784</c:v>
                </c:pt>
                <c:pt idx="8522">
                  <c:v>5.88093680910346</c:v>
                </c:pt>
                <c:pt idx="8523">
                  <c:v>5.9436708520492232</c:v>
                </c:pt>
                <c:pt idx="8524">
                  <c:v>5.0166028619299121</c:v>
                </c:pt>
                <c:pt idx="8525">
                  <c:v>6.0750062573110943</c:v>
                </c:pt>
                <c:pt idx="8526">
                  <c:v>6.2196592686157999</c:v>
                </c:pt>
                <c:pt idx="8527">
                  <c:v>4.9125818249519391</c:v>
                </c:pt>
                <c:pt idx="8528">
                  <c:v>5.7757698626418783</c:v>
                </c:pt>
                <c:pt idx="8529">
                  <c:v>6.0608404896367079</c:v>
                </c:pt>
                <c:pt idx="8530">
                  <c:v>4.7927533100535715</c:v>
                </c:pt>
                <c:pt idx="8531">
                  <c:v>5.9031604303762384</c:v>
                </c:pt>
                <c:pt idx="8532">
                  <c:v>5.9574479208324247</c:v>
                </c:pt>
                <c:pt idx="8533">
                  <c:v>6.1574503379014285</c:v>
                </c:pt>
                <c:pt idx="8534">
                  <c:v>6.0606048711841209</c:v>
                </c:pt>
                <c:pt idx="8535">
                  <c:v>4.9533925321028613</c:v>
                </c:pt>
                <c:pt idx="8536">
                  <c:v>6.1022201325218486</c:v>
                </c:pt>
                <c:pt idx="8537">
                  <c:v>5.9449770259181278</c:v>
                </c:pt>
                <c:pt idx="8538">
                  <c:v>5.9560696057632425</c:v>
                </c:pt>
                <c:pt idx="8539">
                  <c:v>6.0123837565117757</c:v>
                </c:pt>
                <c:pt idx="8540">
                  <c:v>6.0404503470295925</c:v>
                </c:pt>
                <c:pt idx="8541">
                  <c:v>5.0311850150327979</c:v>
                </c:pt>
                <c:pt idx="8542">
                  <c:v>4.8491887394080715</c:v>
                </c:pt>
                <c:pt idx="8543">
                  <c:v>4.8641093543547393</c:v>
                </c:pt>
                <c:pt idx="8544">
                  <c:v>5.0680399102313398</c:v>
                </c:pt>
                <c:pt idx="8545">
                  <c:v>5.0205058813279742</c:v>
                </c:pt>
                <c:pt idx="8546">
                  <c:v>5.1412044160518153</c:v>
                </c:pt>
                <c:pt idx="8547">
                  <c:v>6.9891059872612127</c:v>
                </c:pt>
                <c:pt idx="8548">
                  <c:v>4.7801500537714041</c:v>
                </c:pt>
                <c:pt idx="8549">
                  <c:v>5.9210586381306953</c:v>
                </c:pt>
                <c:pt idx="8550">
                  <c:v>4.8638144609490226</c:v>
                </c:pt>
                <c:pt idx="8551">
                  <c:v>6.0002482985687422</c:v>
                </c:pt>
                <c:pt idx="8552">
                  <c:v>4.8210883674399492</c:v>
                </c:pt>
                <c:pt idx="8553">
                  <c:v>5.9901104151713014</c:v>
                </c:pt>
                <c:pt idx="8554">
                  <c:v>5.9613952605016634</c:v>
                </c:pt>
                <c:pt idx="8555">
                  <c:v>5.9388808969937132</c:v>
                </c:pt>
                <c:pt idx="8556">
                  <c:v>6.0982607688891086</c:v>
                </c:pt>
                <c:pt idx="8557">
                  <c:v>5.0449442335643857</c:v>
                </c:pt>
                <c:pt idx="8558">
                  <c:v>6.0180041620698255</c:v>
                </c:pt>
                <c:pt idx="8559">
                  <c:v>6.929556398547299</c:v>
                </c:pt>
                <c:pt idx="8560">
                  <c:v>6.8875017197644999</c:v>
                </c:pt>
                <c:pt idx="8561">
                  <c:v>5.9047900510768034</c:v>
                </c:pt>
                <c:pt idx="8562">
                  <c:v>5.9487223407979677</c:v>
                </c:pt>
                <c:pt idx="8563">
                  <c:v>5.7826124510860231</c:v>
                </c:pt>
                <c:pt idx="8564">
                  <c:v>6.0989019644425948</c:v>
                </c:pt>
                <c:pt idx="8565">
                  <c:v>5.7743466377492929</c:v>
                </c:pt>
                <c:pt idx="8566">
                  <c:v>5.1585015571284378</c:v>
                </c:pt>
                <c:pt idx="8567">
                  <c:v>7.0375009328504845</c:v>
                </c:pt>
                <c:pt idx="8568">
                  <c:v>6.0289355628872823</c:v>
                </c:pt>
                <c:pt idx="8569">
                  <c:v>5.017452815858797</c:v>
                </c:pt>
                <c:pt idx="8570">
                  <c:v>6.9290530411709792</c:v>
                </c:pt>
                <c:pt idx="8571">
                  <c:v>5.8184739555928324</c:v>
                </c:pt>
                <c:pt idx="8572">
                  <c:v>5.9809417238868141</c:v>
                </c:pt>
                <c:pt idx="8573">
                  <c:v>6.992131138200353</c:v>
                </c:pt>
                <c:pt idx="8574">
                  <c:v>6.9407033552503181</c:v>
                </c:pt>
                <c:pt idx="8575">
                  <c:v>4.8624676122513586</c:v>
                </c:pt>
                <c:pt idx="8576">
                  <c:v>5.9378672015740301</c:v>
                </c:pt>
                <c:pt idx="8577">
                  <c:v>4.9511479679543617</c:v>
                </c:pt>
                <c:pt idx="8578">
                  <c:v>5.9286127924321299</c:v>
                </c:pt>
                <c:pt idx="8579">
                  <c:v>5.9710268131083311</c:v>
                </c:pt>
                <c:pt idx="8580">
                  <c:v>6.0184441062303442</c:v>
                </c:pt>
                <c:pt idx="8581">
                  <c:v>4.9185985105511421</c:v>
                </c:pt>
                <c:pt idx="8582">
                  <c:v>5.0014592926313179</c:v>
                </c:pt>
                <c:pt idx="8583">
                  <c:v>5.9964212121604978</c:v>
                </c:pt>
                <c:pt idx="8584">
                  <c:v>5.1077308589513892</c:v>
                </c:pt>
                <c:pt idx="8585">
                  <c:v>4.900700139080798</c:v>
                </c:pt>
                <c:pt idx="8586">
                  <c:v>5.9230946453366222</c:v>
                </c:pt>
                <c:pt idx="8587">
                  <c:v>4.9326291169248186</c:v>
                </c:pt>
                <c:pt idx="8588">
                  <c:v>5.9503585484285137</c:v>
                </c:pt>
                <c:pt idx="8589">
                  <c:v>4.9339476640000699</c:v>
                </c:pt>
                <c:pt idx="8590">
                  <c:v>4.8793195426325209</c:v>
                </c:pt>
                <c:pt idx="8591">
                  <c:v>4.8313362975865504</c:v>
                </c:pt>
                <c:pt idx="8592">
                  <c:v>6.0233387591728356</c:v>
                </c:pt>
                <c:pt idx="8593">
                  <c:v>5.9771513796506435</c:v>
                </c:pt>
                <c:pt idx="8594">
                  <c:v>6.1422134121900349</c:v>
                </c:pt>
                <c:pt idx="8595">
                  <c:v>6.0671391626813991</c:v>
                </c:pt>
                <c:pt idx="8596">
                  <c:v>5.8238988564443597</c:v>
                </c:pt>
                <c:pt idx="8597">
                  <c:v>5.9535872782915407</c:v>
                </c:pt>
                <c:pt idx="8598">
                  <c:v>4.8916242614744094</c:v>
                </c:pt>
                <c:pt idx="8599">
                  <c:v>5.0683839218903897</c:v>
                </c:pt>
                <c:pt idx="8600">
                  <c:v>5.0886610095048415</c:v>
                </c:pt>
                <c:pt idx="8601">
                  <c:v>5.868133008005251</c:v>
                </c:pt>
                <c:pt idx="8602">
                  <c:v>4.8752089656322797</c:v>
                </c:pt>
                <c:pt idx="8603">
                  <c:v>4.9801703881267514</c:v>
                </c:pt>
                <c:pt idx="8604">
                  <c:v>5.047379651504845</c:v>
                </c:pt>
                <c:pt idx="8605">
                  <c:v>5.9541885259007961</c:v>
                </c:pt>
                <c:pt idx="8606">
                  <c:v>6.0847925033940298</c:v>
                </c:pt>
                <c:pt idx="8607">
                  <c:v>6.1556174026480823</c:v>
                </c:pt>
                <c:pt idx="8608">
                  <c:v>5.9962602955619992</c:v>
                </c:pt>
                <c:pt idx="8609">
                  <c:v>4.7409337947665042</c:v>
                </c:pt>
                <c:pt idx="8610">
                  <c:v>5.0173343509421207</c:v>
                </c:pt>
                <c:pt idx="8611">
                  <c:v>5.9509534591893782</c:v>
                </c:pt>
                <c:pt idx="8612">
                  <c:v>6.0307781490331331</c:v>
                </c:pt>
                <c:pt idx="8613">
                  <c:v>6.1385520830172489</c:v>
                </c:pt>
                <c:pt idx="8614">
                  <c:v>6.0843995555632828</c:v>
                </c:pt>
                <c:pt idx="8615">
                  <c:v>4.9893033416304355</c:v>
                </c:pt>
                <c:pt idx="8616">
                  <c:v>5.993210090426266</c:v>
                </c:pt>
                <c:pt idx="8617">
                  <c:v>5.8275630116927291</c:v>
                </c:pt>
                <c:pt idx="8618">
                  <c:v>6.0822023407569867</c:v>
                </c:pt>
                <c:pt idx="8619">
                  <c:v>6.2093786217615614</c:v>
                </c:pt>
                <c:pt idx="8620">
                  <c:v>6.0873942007253579</c:v>
                </c:pt>
                <c:pt idx="8621">
                  <c:v>5.958363090853493</c:v>
                </c:pt>
                <c:pt idx="8622">
                  <c:v>6.1819297956984451</c:v>
                </c:pt>
                <c:pt idx="8623">
                  <c:v>5.1545246526787514</c:v>
                </c:pt>
                <c:pt idx="8624">
                  <c:v>6.1228947717505156</c:v>
                </c:pt>
                <c:pt idx="8625">
                  <c:v>3.8705533601701667</c:v>
                </c:pt>
                <c:pt idx="8626">
                  <c:v>5.8907487949490349</c:v>
                </c:pt>
                <c:pt idx="8627">
                  <c:v>3.9581518476929074</c:v>
                </c:pt>
                <c:pt idx="8628">
                  <c:v>4.9973305855970596</c:v>
                </c:pt>
                <c:pt idx="8629">
                  <c:v>4.8562839530065007</c:v>
                </c:pt>
                <c:pt idx="8630">
                  <c:v>6.0342497392589376</c:v>
                </c:pt>
                <c:pt idx="8631">
                  <c:v>5.1444344364263968</c:v>
                </c:pt>
                <c:pt idx="8632">
                  <c:v>5.0135507553576337</c:v>
                </c:pt>
                <c:pt idx="8633">
                  <c:v>5.0184820779842703</c:v>
                </c:pt>
                <c:pt idx="8634">
                  <c:v>5.95528005533897</c:v>
                </c:pt>
                <c:pt idx="8635">
                  <c:v>5.1872344375186108</c:v>
                </c:pt>
                <c:pt idx="8636">
                  <c:v>5.95584709534839</c:v>
                </c:pt>
                <c:pt idx="8637">
                  <c:v>5.9773375249643577</c:v>
                </c:pt>
                <c:pt idx="8638">
                  <c:v>4.9987895675907552</c:v>
                </c:pt>
                <c:pt idx="8639">
                  <c:v>5.0554859135195276</c:v>
                </c:pt>
                <c:pt idx="8640">
                  <c:v>5.1284486106839378</c:v>
                </c:pt>
                <c:pt idx="8641">
                  <c:v>5.9187635528354097</c:v>
                </c:pt>
                <c:pt idx="8642">
                  <c:v>6.0401102575647414</c:v>
                </c:pt>
                <c:pt idx="8643">
                  <c:v>6.2382700098573434</c:v>
                </c:pt>
                <c:pt idx="8644">
                  <c:v>5.9483781355933045</c:v>
                </c:pt>
                <c:pt idx="8645">
                  <c:v>5.92315099886223</c:v>
                </c:pt>
                <c:pt idx="8646">
                  <c:v>6.0536298071858869</c:v>
                </c:pt>
                <c:pt idx="8647">
                  <c:v>4.925184013996037</c:v>
                </c:pt>
                <c:pt idx="8648">
                  <c:v>6.1382335739421396</c:v>
                </c:pt>
                <c:pt idx="8649">
                  <c:v>5.9769882454314143</c:v>
                </c:pt>
                <c:pt idx="8650">
                  <c:v>5.2120347337745265</c:v>
                </c:pt>
                <c:pt idx="8651">
                  <c:v>5.7997625271751474</c:v>
                </c:pt>
                <c:pt idx="8652">
                  <c:v>6.1054279427430345</c:v>
                </c:pt>
                <c:pt idx="8653">
                  <c:v>5.9907758332111962</c:v>
                </c:pt>
                <c:pt idx="8654">
                  <c:v>5.019051008754766</c:v>
                </c:pt>
                <c:pt idx="8655">
                  <c:v>5.0440730930592315</c:v>
                </c:pt>
                <c:pt idx="8656">
                  <c:v>4.9065353737814483</c:v>
                </c:pt>
                <c:pt idx="8657">
                  <c:v>6.0416410880671947</c:v>
                </c:pt>
                <c:pt idx="8658">
                  <c:v>6.0350703922922149</c:v>
                </c:pt>
                <c:pt idx="8659">
                  <c:v>4.9333776203696651</c:v>
                </c:pt>
                <c:pt idx="8660">
                  <c:v>6.2218547562967386</c:v>
                </c:pt>
                <c:pt idx="8661">
                  <c:v>6.0414465260995218</c:v>
                </c:pt>
                <c:pt idx="8662">
                  <c:v>6.0488575517084575</c:v>
                </c:pt>
                <c:pt idx="8663">
                  <c:v>6.0075321424498371</c:v>
                </c:pt>
                <c:pt idx="8664">
                  <c:v>4.9850299860935241</c:v>
                </c:pt>
                <c:pt idx="8665">
                  <c:v>7.07876628249217</c:v>
                </c:pt>
                <c:pt idx="8666">
                  <c:v>5.8820148425571208</c:v>
                </c:pt>
                <c:pt idx="8667">
                  <c:v>6.0431323023552652</c:v>
                </c:pt>
                <c:pt idx="8668">
                  <c:v>5.9143244638126538</c:v>
                </c:pt>
                <c:pt idx="8669">
                  <c:v>6.9478175409705658</c:v>
                </c:pt>
                <c:pt idx="8670">
                  <c:v>6.0543076176858506</c:v>
                </c:pt>
                <c:pt idx="8671">
                  <c:v>5.8653789420236375</c:v>
                </c:pt>
                <c:pt idx="8672">
                  <c:v>5.0893853893104053</c:v>
                </c:pt>
                <c:pt idx="8673">
                  <c:v>5.9073699102402371</c:v>
                </c:pt>
                <c:pt idx="8674">
                  <c:v>4.953087101344833</c:v>
                </c:pt>
                <c:pt idx="8675">
                  <c:v>5.8887192381777806</c:v>
                </c:pt>
                <c:pt idx="8676">
                  <c:v>5.8742626206037682</c:v>
                </c:pt>
                <c:pt idx="8677">
                  <c:v>6.0596234434833969</c:v>
                </c:pt>
                <c:pt idx="8678">
                  <c:v>6.0926463908066228</c:v>
                </c:pt>
                <c:pt idx="8679">
                  <c:v>4.9139183759319272</c:v>
                </c:pt>
                <c:pt idx="8680">
                  <c:v>4.8092725837128043</c:v>
                </c:pt>
                <c:pt idx="8681">
                  <c:v>5.9250031964894827</c:v>
                </c:pt>
                <c:pt idx="8682">
                  <c:v>7.2536942339240156</c:v>
                </c:pt>
                <c:pt idx="8683">
                  <c:v>5.8946551710303803</c:v>
                </c:pt>
                <c:pt idx="8684">
                  <c:v>6.0057955267584582</c:v>
                </c:pt>
                <c:pt idx="8685">
                  <c:v>6.0374484794512151</c:v>
                </c:pt>
                <c:pt idx="8686">
                  <c:v>5.0164125271849951</c:v>
                </c:pt>
                <c:pt idx="8687">
                  <c:v>4.8747725650489082</c:v>
                </c:pt>
                <c:pt idx="8688">
                  <c:v>5.0111548548642428</c:v>
                </c:pt>
                <c:pt idx="8689">
                  <c:v>6.0677613747007477</c:v>
                </c:pt>
                <c:pt idx="8690">
                  <c:v>6.0849809899102691</c:v>
                </c:pt>
                <c:pt idx="8691">
                  <c:v>6.0138145481798766</c:v>
                </c:pt>
                <c:pt idx="8692">
                  <c:v>5.0262065874220339</c:v>
                </c:pt>
                <c:pt idx="8693">
                  <c:v>6.0483182215904439</c:v>
                </c:pt>
                <c:pt idx="8694">
                  <c:v>5.8648152414103825</c:v>
                </c:pt>
                <c:pt idx="8695">
                  <c:v>6.0426848768789707</c:v>
                </c:pt>
                <c:pt idx="8696">
                  <c:v>5.9911409596000977</c:v>
                </c:pt>
                <c:pt idx="8697">
                  <c:v>4.8909034080435969</c:v>
                </c:pt>
                <c:pt idx="8698">
                  <c:v>5.9474943011356602</c:v>
                </c:pt>
                <c:pt idx="8699">
                  <c:v>4.9930257470703516</c:v>
                </c:pt>
                <c:pt idx="8700">
                  <c:v>6.0156267277643183</c:v>
                </c:pt>
                <c:pt idx="8701">
                  <c:v>4.8875072912373918</c:v>
                </c:pt>
                <c:pt idx="8702">
                  <c:v>5.9779436582639915</c:v>
                </c:pt>
                <c:pt idx="8703">
                  <c:v>5.8418072274701096</c:v>
                </c:pt>
                <c:pt idx="8704">
                  <c:v>5.0669583857191967</c:v>
                </c:pt>
                <c:pt idx="8705">
                  <c:v>4.9924745732745981</c:v>
                </c:pt>
                <c:pt idx="8706">
                  <c:v>6.0969154508043495</c:v>
                </c:pt>
                <c:pt idx="8707">
                  <c:v>5.0988492490616215</c:v>
                </c:pt>
                <c:pt idx="8708">
                  <c:v>5.8918431829983273</c:v>
                </c:pt>
                <c:pt idx="8709">
                  <c:v>5.8337357658711886</c:v>
                </c:pt>
                <c:pt idx="8710">
                  <c:v>5.9424382532099731</c:v>
                </c:pt>
                <c:pt idx="8711">
                  <c:v>5.8910263641353255</c:v>
                </c:pt>
                <c:pt idx="8712">
                  <c:v>6.8254504818670556</c:v>
                </c:pt>
                <c:pt idx="8713">
                  <c:v>7.0788322979188747</c:v>
                </c:pt>
                <c:pt idx="8714">
                  <c:v>4.8840959805100219</c:v>
                </c:pt>
                <c:pt idx="8715">
                  <c:v>4.8771433669937148</c:v>
                </c:pt>
                <c:pt idx="8716">
                  <c:v>5.1111986753938536</c:v>
                </c:pt>
                <c:pt idx="8717">
                  <c:v>4.8296682959213983</c:v>
                </c:pt>
                <c:pt idx="8718">
                  <c:v>5.019887631716152</c:v>
                </c:pt>
                <c:pt idx="8719">
                  <c:v>5.862446686844585</c:v>
                </c:pt>
                <c:pt idx="8720">
                  <c:v>5.2247968901342245</c:v>
                </c:pt>
                <c:pt idx="8721">
                  <c:v>5.9803025499358462</c:v>
                </c:pt>
                <c:pt idx="8722">
                  <c:v>5.9979240286093365</c:v>
                </c:pt>
                <c:pt idx="8723">
                  <c:v>5.0025799080902074</c:v>
                </c:pt>
                <c:pt idx="8724">
                  <c:v>5.0287215180118991</c:v>
                </c:pt>
                <c:pt idx="8725">
                  <c:v>6.0740758187940278</c:v>
                </c:pt>
                <c:pt idx="8726">
                  <c:v>5.9899739486462433</c:v>
                </c:pt>
                <c:pt idx="8727">
                  <c:v>6.0811982517110525</c:v>
                </c:pt>
                <c:pt idx="8728">
                  <c:v>6.0828060194702402</c:v>
                </c:pt>
                <c:pt idx="8729">
                  <c:v>4.9520715600068401</c:v>
                </c:pt>
                <c:pt idx="8730">
                  <c:v>5.0866395580895656</c:v>
                </c:pt>
                <c:pt idx="8731">
                  <c:v>4.7938340760952682</c:v>
                </c:pt>
                <c:pt idx="8732">
                  <c:v>5.2833510162991093</c:v>
                </c:pt>
                <c:pt idx="8733">
                  <c:v>4.9470115734526239</c:v>
                </c:pt>
                <c:pt idx="8734">
                  <c:v>6.7908593530327686</c:v>
                </c:pt>
                <c:pt idx="8735">
                  <c:v>5.9405080109278892</c:v>
                </c:pt>
                <c:pt idx="8736">
                  <c:v>5.089007320914579</c:v>
                </c:pt>
                <c:pt idx="8737">
                  <c:v>6.0019491325629222</c:v>
                </c:pt>
                <c:pt idx="8738">
                  <c:v>4.989596858800553</c:v>
                </c:pt>
                <c:pt idx="8739">
                  <c:v>5.0301678715493656</c:v>
                </c:pt>
                <c:pt idx="8740">
                  <c:v>4.9767511993538145</c:v>
                </c:pt>
                <c:pt idx="8741">
                  <c:v>6.0474088616342714</c:v>
                </c:pt>
                <c:pt idx="8742">
                  <c:v>6.042191388702947</c:v>
                </c:pt>
                <c:pt idx="8743">
                  <c:v>5.9217643426612669</c:v>
                </c:pt>
                <c:pt idx="8744">
                  <c:v>6.1419457391407812</c:v>
                </c:pt>
                <c:pt idx="8745">
                  <c:v>5.0444963002974266</c:v>
                </c:pt>
                <c:pt idx="8746">
                  <c:v>5.9306631129215663</c:v>
                </c:pt>
                <c:pt idx="8747">
                  <c:v>5.9132623569798906</c:v>
                </c:pt>
                <c:pt idx="8748">
                  <c:v>4.9852756042166204</c:v>
                </c:pt>
                <c:pt idx="8749">
                  <c:v>5.8714622415564017</c:v>
                </c:pt>
                <c:pt idx="8750">
                  <c:v>6.2289211797650363</c:v>
                </c:pt>
                <c:pt idx="8751">
                  <c:v>5.9844654473586605</c:v>
                </c:pt>
                <c:pt idx="8752">
                  <c:v>5.9291255170167769</c:v>
                </c:pt>
                <c:pt idx="8753">
                  <c:v>5.8813900876621865</c:v>
                </c:pt>
                <c:pt idx="8754">
                  <c:v>5.1219609232308816</c:v>
                </c:pt>
                <c:pt idx="8755">
                  <c:v>4.9453285543364212</c:v>
                </c:pt>
                <c:pt idx="8756">
                  <c:v>6.0189080672336663</c:v>
                </c:pt>
                <c:pt idx="8757">
                  <c:v>5.9421789078271683</c:v>
                </c:pt>
                <c:pt idx="8758">
                  <c:v>4.8970356979421732</c:v>
                </c:pt>
                <c:pt idx="8759">
                  <c:v>6.8773255983059194</c:v>
                </c:pt>
                <c:pt idx="8760">
                  <c:v>5.9695040710112135</c:v>
                </c:pt>
                <c:pt idx="8761">
                  <c:v>6.14962817211428</c:v>
                </c:pt>
                <c:pt idx="8762">
                  <c:v>4.9819399076926256</c:v>
                </c:pt>
                <c:pt idx="8763">
                  <c:v>5.9652062325366852</c:v>
                </c:pt>
                <c:pt idx="8764">
                  <c:v>5.1624853106710216</c:v>
                </c:pt>
                <c:pt idx="8765">
                  <c:v>4.8096400088246662</c:v>
                </c:pt>
                <c:pt idx="8766">
                  <c:v>3.9514521768821487</c:v>
                </c:pt>
                <c:pt idx="8767">
                  <c:v>5.9764553667764062</c:v>
                </c:pt>
                <c:pt idx="8768">
                  <c:v>4.8735824614327798</c:v>
                </c:pt>
                <c:pt idx="8769">
                  <c:v>4.9811409956019279</c:v>
                </c:pt>
                <c:pt idx="8770">
                  <c:v>6.1105470334615504</c:v>
                </c:pt>
                <c:pt idx="8771">
                  <c:v>3.9865194874625054</c:v>
                </c:pt>
                <c:pt idx="8772">
                  <c:v>6.0771009281107959</c:v>
                </c:pt>
                <c:pt idx="8773">
                  <c:v>5.9516119829768446</c:v>
                </c:pt>
                <c:pt idx="8774">
                  <c:v>5.9055736914106527</c:v>
                </c:pt>
                <c:pt idx="8775">
                  <c:v>4.8780950864683756</c:v>
                </c:pt>
                <c:pt idx="8776">
                  <c:v>5.9083301562604822</c:v>
                </c:pt>
                <c:pt idx="8777">
                  <c:v>4.9785285323346633</c:v>
                </c:pt>
                <c:pt idx="8778">
                  <c:v>6.0024123375132055</c:v>
                </c:pt>
                <c:pt idx="8779">
                  <c:v>5.0007987432760297</c:v>
                </c:pt>
                <c:pt idx="8780">
                  <c:v>5.0235542967704463</c:v>
                </c:pt>
                <c:pt idx="8781">
                  <c:v>5.0163850502131515</c:v>
                </c:pt>
                <c:pt idx="8782">
                  <c:v>4.9655277212367244</c:v>
                </c:pt>
                <c:pt idx="8783">
                  <c:v>4.9767737484589576</c:v>
                </c:pt>
                <c:pt idx="8784">
                  <c:v>5.0433075986582923</c:v>
                </c:pt>
                <c:pt idx="8785">
                  <c:v>5.8762778967960312</c:v>
                </c:pt>
                <c:pt idx="8786">
                  <c:v>5.9488403023061478</c:v>
                </c:pt>
                <c:pt idx="8787">
                  <c:v>5.9338354125328818</c:v>
                </c:pt>
                <c:pt idx="8788">
                  <c:v>4.8764244429576964</c:v>
                </c:pt>
                <c:pt idx="8789">
                  <c:v>6.0174951945037423</c:v>
                </c:pt>
                <c:pt idx="8790">
                  <c:v>5.0000816012209848</c:v>
                </c:pt>
                <c:pt idx="8791">
                  <c:v>4.9472260941439004</c:v>
                </c:pt>
                <c:pt idx="8792">
                  <c:v>4.9847135017627426</c:v>
                </c:pt>
                <c:pt idx="8793">
                  <c:v>5.9794540487672752</c:v>
                </c:pt>
                <c:pt idx="8794">
                  <c:v>4.9555663833733785</c:v>
                </c:pt>
                <c:pt idx="8795">
                  <c:v>5.1570674385942503</c:v>
                </c:pt>
                <c:pt idx="8796">
                  <c:v>5.9055361495689134</c:v>
                </c:pt>
                <c:pt idx="8797">
                  <c:v>5.9442846102463056</c:v>
                </c:pt>
                <c:pt idx="8798">
                  <c:v>6.9097718034336326</c:v>
                </c:pt>
                <c:pt idx="8799">
                  <c:v>4.9738850458537387</c:v>
                </c:pt>
                <c:pt idx="8800">
                  <c:v>7.1488123260203196</c:v>
                </c:pt>
                <c:pt idx="8801">
                  <c:v>5.0148110286032859</c:v>
                </c:pt>
                <c:pt idx="8802">
                  <c:v>4.7627589891861382</c:v>
                </c:pt>
                <c:pt idx="8803">
                  <c:v>5.9389342226757691</c:v>
                </c:pt>
                <c:pt idx="8804">
                  <c:v>4.8427389233569231</c:v>
                </c:pt>
                <c:pt idx="8805">
                  <c:v>4.9874695707112124</c:v>
                </c:pt>
                <c:pt idx="8806">
                  <c:v>5.9324702887995802</c:v>
                </c:pt>
                <c:pt idx="8807">
                  <c:v>5.0338899394662651</c:v>
                </c:pt>
                <c:pt idx="8808">
                  <c:v>5.9986535814607365</c:v>
                </c:pt>
                <c:pt idx="8809">
                  <c:v>6.1318777859512812</c:v>
                </c:pt>
                <c:pt idx="8810">
                  <c:v>5.9113853998333861</c:v>
                </c:pt>
                <c:pt idx="8811">
                  <c:v>5.9756755897666007</c:v>
                </c:pt>
                <c:pt idx="8812">
                  <c:v>5.0792780832426736</c:v>
                </c:pt>
                <c:pt idx="8813">
                  <c:v>6.0417599916649998</c:v>
                </c:pt>
                <c:pt idx="8814">
                  <c:v>5.9030703183784317</c:v>
                </c:pt>
                <c:pt idx="8815">
                  <c:v>5.9503422492765594</c:v>
                </c:pt>
                <c:pt idx="8816">
                  <c:v>5.9384910991733841</c:v>
                </c:pt>
                <c:pt idx="8817">
                  <c:v>5.9851732681532752</c:v>
                </c:pt>
                <c:pt idx="8818">
                  <c:v>5.8637308186117476</c:v>
                </c:pt>
                <c:pt idx="8819">
                  <c:v>4.922462289270964</c:v>
                </c:pt>
                <c:pt idx="8820">
                  <c:v>5.9461232716342538</c:v>
                </c:pt>
                <c:pt idx="8821">
                  <c:v>5.9451500578962282</c:v>
                </c:pt>
                <c:pt idx="8822">
                  <c:v>5.7756854112952611</c:v>
                </c:pt>
                <c:pt idx="8823">
                  <c:v>6.0291624010067375</c:v>
                </c:pt>
                <c:pt idx="8824">
                  <c:v>4.9488761957890652</c:v>
                </c:pt>
                <c:pt idx="8825">
                  <c:v>5.0855262493617781</c:v>
                </c:pt>
                <c:pt idx="8826">
                  <c:v>5.0451390423789997</c:v>
                </c:pt>
                <c:pt idx="8827">
                  <c:v>6.0047467570540194</c:v>
                </c:pt>
                <c:pt idx="8828">
                  <c:v>6.9903749377734536</c:v>
                </c:pt>
                <c:pt idx="8829">
                  <c:v>5.8148885545374212</c:v>
                </c:pt>
                <c:pt idx="8830">
                  <c:v>6.0845163487578064</c:v>
                </c:pt>
                <c:pt idx="8831">
                  <c:v>7.1001252439315081</c:v>
                </c:pt>
                <c:pt idx="8832">
                  <c:v>6.0516677752430432</c:v>
                </c:pt>
                <c:pt idx="8833">
                  <c:v>6.1290077042783286</c:v>
                </c:pt>
                <c:pt idx="8834">
                  <c:v>4.9170744596975871</c:v>
                </c:pt>
                <c:pt idx="8835">
                  <c:v>6.9003431249069545</c:v>
                </c:pt>
                <c:pt idx="8836">
                  <c:v>6.1169456663574486</c:v>
                </c:pt>
                <c:pt idx="8837">
                  <c:v>6.1249253306071383</c:v>
                </c:pt>
                <c:pt idx="8838">
                  <c:v>7.0413649460190939</c:v>
                </c:pt>
                <c:pt idx="8839">
                  <c:v>5.9176359818301174</c:v>
                </c:pt>
                <c:pt idx="8840">
                  <c:v>6.089222413825742</c:v>
                </c:pt>
                <c:pt idx="8841">
                  <c:v>5.8516917490334928</c:v>
                </c:pt>
                <c:pt idx="8842">
                  <c:v>6.0952017437767987</c:v>
                </c:pt>
                <c:pt idx="8843">
                  <c:v>5.1423333258721833</c:v>
                </c:pt>
                <c:pt idx="8844">
                  <c:v>5.8512696556928345</c:v>
                </c:pt>
                <c:pt idx="8845">
                  <c:v>5.882040853108915</c:v>
                </c:pt>
                <c:pt idx="8846">
                  <c:v>6.0113743019529791</c:v>
                </c:pt>
                <c:pt idx="8847">
                  <c:v>7.1677972693278003</c:v>
                </c:pt>
                <c:pt idx="8848">
                  <c:v>6.0858193514792021</c:v>
                </c:pt>
                <c:pt idx="8849">
                  <c:v>5.9959371319028687</c:v>
                </c:pt>
                <c:pt idx="8850">
                  <c:v>6.1362992403759202</c:v>
                </c:pt>
                <c:pt idx="8851">
                  <c:v>6.0727792889163057</c:v>
                </c:pt>
                <c:pt idx="8852">
                  <c:v>6.0340127166132822</c:v>
                </c:pt>
                <c:pt idx="8853">
                  <c:v>5.0145953690920022</c:v>
                </c:pt>
                <c:pt idx="8854">
                  <c:v>5.9196259243851905</c:v>
                </c:pt>
                <c:pt idx="8855">
                  <c:v>6.0544734907731277</c:v>
                </c:pt>
                <c:pt idx="8856">
                  <c:v>5.124451745858984</c:v>
                </c:pt>
                <c:pt idx="8857">
                  <c:v>6.014734416683674</c:v>
                </c:pt>
                <c:pt idx="8858">
                  <c:v>4.9173580279498914</c:v>
                </c:pt>
                <c:pt idx="8859">
                  <c:v>6.0415012241262946</c:v>
                </c:pt>
                <c:pt idx="8860">
                  <c:v>4.9768691952928492</c:v>
                </c:pt>
                <c:pt idx="8861">
                  <c:v>7.1094124461742298</c:v>
                </c:pt>
                <c:pt idx="8862">
                  <c:v>6.0115464950537891</c:v>
                </c:pt>
                <c:pt idx="8863">
                  <c:v>5.9488530065759528</c:v>
                </c:pt>
                <c:pt idx="8864">
                  <c:v>5.9719063917193056</c:v>
                </c:pt>
                <c:pt idx="8865">
                  <c:v>6.0007478693205263</c:v>
                </c:pt>
                <c:pt idx="8866">
                  <c:v>6.0748896904432792</c:v>
                </c:pt>
                <c:pt idx="8867">
                  <c:v>5.0222456969876017</c:v>
                </c:pt>
                <c:pt idx="8868">
                  <c:v>6.8259541991913437</c:v>
                </c:pt>
                <c:pt idx="8869">
                  <c:v>6.0773187723593116</c:v>
                </c:pt>
                <c:pt idx="8870">
                  <c:v>4.9841907464099071</c:v>
                </c:pt>
                <c:pt idx="8871">
                  <c:v>6.0557252123173209</c:v>
                </c:pt>
                <c:pt idx="8872">
                  <c:v>6.1143733224437753</c:v>
                </c:pt>
                <c:pt idx="8873">
                  <c:v>4.8852015096540535</c:v>
                </c:pt>
                <c:pt idx="8874">
                  <c:v>4.9744113984696527</c:v>
                </c:pt>
                <c:pt idx="8875">
                  <c:v>5.0247380749300392</c:v>
                </c:pt>
                <c:pt idx="8876">
                  <c:v>5.9536660448212482</c:v>
                </c:pt>
                <c:pt idx="8877">
                  <c:v>3.7731593052021335</c:v>
                </c:pt>
                <c:pt idx="8878">
                  <c:v>4.9492856658062232</c:v>
                </c:pt>
                <c:pt idx="8879">
                  <c:v>5.884511727460505</c:v>
                </c:pt>
                <c:pt idx="8880">
                  <c:v>4.7732695634732556</c:v>
                </c:pt>
                <c:pt idx="8881">
                  <c:v>4.9495460049118289</c:v>
                </c:pt>
                <c:pt idx="8882">
                  <c:v>5.814169670771097</c:v>
                </c:pt>
                <c:pt idx="8883">
                  <c:v>5.9851635269746177</c:v>
                </c:pt>
                <c:pt idx="8884">
                  <c:v>4.970005070806347</c:v>
                </c:pt>
                <c:pt idx="8885">
                  <c:v>5.9119887568425469</c:v>
                </c:pt>
                <c:pt idx="8886">
                  <c:v>4.9879619844308252</c:v>
                </c:pt>
                <c:pt idx="8887">
                  <c:v>6.0527584674740016</c:v>
                </c:pt>
                <c:pt idx="8888">
                  <c:v>4.9205074383091683</c:v>
                </c:pt>
                <c:pt idx="8889">
                  <c:v>4.9759109246056052</c:v>
                </c:pt>
                <c:pt idx="8890">
                  <c:v>5.8594945212769058</c:v>
                </c:pt>
                <c:pt idx="8891">
                  <c:v>5.9117052231665994</c:v>
                </c:pt>
                <c:pt idx="8892">
                  <c:v>5.2553529260331162</c:v>
                </c:pt>
                <c:pt idx="8893">
                  <c:v>4.9295466371667898</c:v>
                </c:pt>
                <c:pt idx="8894">
                  <c:v>5.9730704102502115</c:v>
                </c:pt>
                <c:pt idx="8895">
                  <c:v>5.9826044478001572</c:v>
                </c:pt>
                <c:pt idx="8896">
                  <c:v>5.9517455366520293</c:v>
                </c:pt>
                <c:pt idx="8897">
                  <c:v>4.925274551524085</c:v>
                </c:pt>
                <c:pt idx="8898">
                  <c:v>4.9215410302816576</c:v>
                </c:pt>
                <c:pt idx="8899">
                  <c:v>4.9782052922835902</c:v>
                </c:pt>
                <c:pt idx="8900">
                  <c:v>4.9896483017292157</c:v>
                </c:pt>
                <c:pt idx="8901">
                  <c:v>5.9592144528115885</c:v>
                </c:pt>
                <c:pt idx="8902">
                  <c:v>6.035931663320584</c:v>
                </c:pt>
                <c:pt idx="8903">
                  <c:v>5.0228795905736101</c:v>
                </c:pt>
                <c:pt idx="8904">
                  <c:v>5.8966881716815447</c:v>
                </c:pt>
                <c:pt idx="8905">
                  <c:v>5.0178998583234646</c:v>
                </c:pt>
                <c:pt idx="8906">
                  <c:v>5.0627986192284027</c:v>
                </c:pt>
                <c:pt idx="8907">
                  <c:v>5.1012396160681384</c:v>
                </c:pt>
                <c:pt idx="8908">
                  <c:v>5.0463285239472269</c:v>
                </c:pt>
                <c:pt idx="8909">
                  <c:v>5.0445349397702639</c:v>
                </c:pt>
                <c:pt idx="8910">
                  <c:v>5.8944307538211484</c:v>
                </c:pt>
                <c:pt idx="8911">
                  <c:v>6.1581320380736431</c:v>
                </c:pt>
                <c:pt idx="8912">
                  <c:v>5.2511537652572819</c:v>
                </c:pt>
                <c:pt idx="8913">
                  <c:v>4.8242575522521296</c:v>
                </c:pt>
                <c:pt idx="8914">
                  <c:v>5.8844403282262912</c:v>
                </c:pt>
                <c:pt idx="8915">
                  <c:v>6.0948884255675333</c:v>
                </c:pt>
                <c:pt idx="8916">
                  <c:v>5.7591658185665198</c:v>
                </c:pt>
                <c:pt idx="8917">
                  <c:v>4.8849090525621168</c:v>
                </c:pt>
                <c:pt idx="8918">
                  <c:v>3.0417316075435705</c:v>
                </c:pt>
                <c:pt idx="8919">
                  <c:v>5.9155937964026037</c:v>
                </c:pt>
                <c:pt idx="8920">
                  <c:v>7.0560297629184454</c:v>
                </c:pt>
                <c:pt idx="8921">
                  <c:v>6.006894109819461</c:v>
                </c:pt>
                <c:pt idx="8922">
                  <c:v>5.9991079180186855</c:v>
                </c:pt>
                <c:pt idx="8923">
                  <c:v>6.8546107272963903</c:v>
                </c:pt>
                <c:pt idx="8924">
                  <c:v>5.9567277552288882</c:v>
                </c:pt>
                <c:pt idx="8925">
                  <c:v>4.9636753677941634</c:v>
                </c:pt>
                <c:pt idx="8926">
                  <c:v>4.953499612636624</c:v>
                </c:pt>
                <c:pt idx="8927">
                  <c:v>4.9335018957274865</c:v>
                </c:pt>
                <c:pt idx="8928">
                  <c:v>5.0489298055190321</c:v>
                </c:pt>
                <c:pt idx="8929">
                  <c:v>5.9308697973986915</c:v>
                </c:pt>
                <c:pt idx="8930">
                  <c:v>5.0141776845996597</c:v>
                </c:pt>
                <c:pt idx="8931">
                  <c:v>4.8832758697018877</c:v>
                </c:pt>
                <c:pt idx="8932">
                  <c:v>5.9573317958476819</c:v>
                </c:pt>
                <c:pt idx="8933">
                  <c:v>5.0916821519332673</c:v>
                </c:pt>
                <c:pt idx="8934">
                  <c:v>6.077790826378223</c:v>
                </c:pt>
                <c:pt idx="8935">
                  <c:v>6.088469353147727</c:v>
                </c:pt>
                <c:pt idx="8936">
                  <c:v>5.1312443981569595</c:v>
                </c:pt>
                <c:pt idx="8937">
                  <c:v>6.908360984075931</c:v>
                </c:pt>
                <c:pt idx="8938">
                  <c:v>6.9531523397983506</c:v>
                </c:pt>
                <c:pt idx="8939">
                  <c:v>7.031109680654378</c:v>
                </c:pt>
                <c:pt idx="8940">
                  <c:v>4.970705741918235</c:v>
                </c:pt>
                <c:pt idx="8941">
                  <c:v>5.925304502303673</c:v>
                </c:pt>
                <c:pt idx="8942">
                  <c:v>7.1378900332705477</c:v>
                </c:pt>
                <c:pt idx="8943">
                  <c:v>4.871879160956599</c:v>
                </c:pt>
                <c:pt idx="8944">
                  <c:v>5.7625875140566398</c:v>
                </c:pt>
                <c:pt idx="8945">
                  <c:v>5.0070813390570255</c:v>
                </c:pt>
                <c:pt idx="8946">
                  <c:v>6.0725648131232042</c:v>
                </c:pt>
                <c:pt idx="8947">
                  <c:v>6.1183700265981154</c:v>
                </c:pt>
                <c:pt idx="8948">
                  <c:v>5.9322675028883234</c:v>
                </c:pt>
                <c:pt idx="8949">
                  <c:v>4.9907387755483468</c:v>
                </c:pt>
                <c:pt idx="8950">
                  <c:v>4.9770265191051344</c:v>
                </c:pt>
                <c:pt idx="8951">
                  <c:v>4.9599199481932157</c:v>
                </c:pt>
                <c:pt idx="8952">
                  <c:v>6.0781585824865072</c:v>
                </c:pt>
                <c:pt idx="8953">
                  <c:v>5.9886525263207773</c:v>
                </c:pt>
                <c:pt idx="8954">
                  <c:v>5.0054920277589812</c:v>
                </c:pt>
                <c:pt idx="8955">
                  <c:v>4.9281136613426462</c:v>
                </c:pt>
                <c:pt idx="8956">
                  <c:v>7.0821504197658163</c:v>
                </c:pt>
                <c:pt idx="8957">
                  <c:v>4.966216283814199</c:v>
                </c:pt>
                <c:pt idx="8958">
                  <c:v>6.0128557944968781</c:v>
                </c:pt>
                <c:pt idx="8959">
                  <c:v>6.0674141852877455</c:v>
                </c:pt>
                <c:pt idx="8960">
                  <c:v>6.0513251425568271</c:v>
                </c:pt>
                <c:pt idx="8961">
                  <c:v>4.8671015293472628</c:v>
                </c:pt>
                <c:pt idx="8962">
                  <c:v>5.9464276931719198</c:v>
                </c:pt>
                <c:pt idx="8963">
                  <c:v>6.0368601487682714</c:v>
                </c:pt>
                <c:pt idx="8964">
                  <c:v>6.8832039055174983</c:v>
                </c:pt>
                <c:pt idx="8965">
                  <c:v>6.0159543404029563</c:v>
                </c:pt>
                <c:pt idx="8966">
                  <c:v>6.0140475133775464</c:v>
                </c:pt>
                <c:pt idx="8967">
                  <c:v>5.9888633133187623</c:v>
                </c:pt>
                <c:pt idx="8968">
                  <c:v>5.0715904250828094</c:v>
                </c:pt>
                <c:pt idx="8969">
                  <c:v>4.7838591717886541</c:v>
                </c:pt>
                <c:pt idx="8970">
                  <c:v>4.9851545340666847</c:v>
                </c:pt>
                <c:pt idx="8971">
                  <c:v>6.1115158433812891</c:v>
                </c:pt>
                <c:pt idx="8972">
                  <c:v>4.9679927744243342</c:v>
                </c:pt>
                <c:pt idx="8973">
                  <c:v>5.0658166108632496</c:v>
                </c:pt>
                <c:pt idx="8974">
                  <c:v>6.0549210265657107</c:v>
                </c:pt>
                <c:pt idx="8975">
                  <c:v>5.2183820477416072</c:v>
                </c:pt>
                <c:pt idx="8976">
                  <c:v>4.9688148387822553</c:v>
                </c:pt>
                <c:pt idx="8977">
                  <c:v>5.0146088687342187</c:v>
                </c:pt>
                <c:pt idx="8978">
                  <c:v>4.9268473372481898</c:v>
                </c:pt>
                <c:pt idx="8979">
                  <c:v>5.1842334780188404</c:v>
                </c:pt>
                <c:pt idx="8980">
                  <c:v>5.1669405561357902</c:v>
                </c:pt>
                <c:pt idx="8981">
                  <c:v>5.9047229703102442</c:v>
                </c:pt>
                <c:pt idx="8982">
                  <c:v>5.0368588159101018</c:v>
                </c:pt>
                <c:pt idx="8983">
                  <c:v>4.866310833770715</c:v>
                </c:pt>
                <c:pt idx="8984">
                  <c:v>4.9372099392479072</c:v>
                </c:pt>
                <c:pt idx="8985">
                  <c:v>5.9365202584549257</c:v>
                </c:pt>
                <c:pt idx="8986">
                  <c:v>4.9714217584653326</c:v>
                </c:pt>
                <c:pt idx="8987">
                  <c:v>5.8505629590717536</c:v>
                </c:pt>
                <c:pt idx="8988">
                  <c:v>5.7993490591359187</c:v>
                </c:pt>
                <c:pt idx="8989">
                  <c:v>5.0344144154934822</c:v>
                </c:pt>
                <c:pt idx="8990">
                  <c:v>5.1957573503055823</c:v>
                </c:pt>
                <c:pt idx="8991">
                  <c:v>4.9399661670928481</c:v>
                </c:pt>
                <c:pt idx="8992">
                  <c:v>4.8953702538380561</c:v>
                </c:pt>
                <c:pt idx="8993">
                  <c:v>4.6775585619286071</c:v>
                </c:pt>
                <c:pt idx="8994">
                  <c:v>4.9320172951500529</c:v>
                </c:pt>
                <c:pt idx="8995">
                  <c:v>4.802303891449915</c:v>
                </c:pt>
                <c:pt idx="8996">
                  <c:v>6.8009559177307848</c:v>
                </c:pt>
                <c:pt idx="8997">
                  <c:v>5.0163778197024298</c:v>
                </c:pt>
                <c:pt idx="8998">
                  <c:v>5.1460270807241573</c:v>
                </c:pt>
                <c:pt idx="8999">
                  <c:v>5.0056660372278987</c:v>
                </c:pt>
                <c:pt idx="9000">
                  <c:v>4.9334224068064279</c:v>
                </c:pt>
                <c:pt idx="9001">
                  <c:v>6.0135375786594389</c:v>
                </c:pt>
                <c:pt idx="9002">
                  <c:v>5.1038324170688378</c:v>
                </c:pt>
                <c:pt idx="9003">
                  <c:v>5.843749744533242</c:v>
                </c:pt>
                <c:pt idx="9004">
                  <c:v>5.0593684138652772</c:v>
                </c:pt>
                <c:pt idx="9005">
                  <c:v>5.0138448025433684</c:v>
                </c:pt>
                <c:pt idx="9006">
                  <c:v>5.0222467990364361</c:v>
                </c:pt>
                <c:pt idx="9007">
                  <c:v>5.0278446683251401</c:v>
                </c:pt>
                <c:pt idx="9008">
                  <c:v>4.8642642547152368</c:v>
                </c:pt>
                <c:pt idx="9009">
                  <c:v>5.126455350658973</c:v>
                </c:pt>
                <c:pt idx="9010">
                  <c:v>6.1348318419311143</c:v>
                </c:pt>
                <c:pt idx="9011">
                  <c:v>4.9308025172380754</c:v>
                </c:pt>
                <c:pt idx="9012">
                  <c:v>6.8756577081345363</c:v>
                </c:pt>
                <c:pt idx="9013">
                  <c:v>5.1872827418810195</c:v>
                </c:pt>
                <c:pt idx="9014">
                  <c:v>6.0149443642299003</c:v>
                </c:pt>
                <c:pt idx="9015">
                  <c:v>5.0438475982134987</c:v>
                </c:pt>
                <c:pt idx="9016">
                  <c:v>5.0538219235693722</c:v>
                </c:pt>
                <c:pt idx="9017">
                  <c:v>4.972951820749242</c:v>
                </c:pt>
                <c:pt idx="9018">
                  <c:v>5.0531168595450948</c:v>
                </c:pt>
                <c:pt idx="9019">
                  <c:v>5.113972343779519</c:v>
                </c:pt>
                <c:pt idx="9020">
                  <c:v>4.9418308381639724</c:v>
                </c:pt>
                <c:pt idx="9021">
                  <c:v>5.0444206134694003</c:v>
                </c:pt>
                <c:pt idx="9022">
                  <c:v>5.2286875612549863</c:v>
                </c:pt>
                <c:pt idx="9023">
                  <c:v>4.9662796145772559</c:v>
                </c:pt>
                <c:pt idx="9024">
                  <c:v>5.0700505712137804</c:v>
                </c:pt>
                <c:pt idx="9025">
                  <c:v>5.0740813838675054</c:v>
                </c:pt>
                <c:pt idx="9026">
                  <c:v>5.9120551457661854</c:v>
                </c:pt>
                <c:pt idx="9027">
                  <c:v>5.0125742331782179</c:v>
                </c:pt>
                <c:pt idx="9028">
                  <c:v>4.7846506853315818</c:v>
                </c:pt>
                <c:pt idx="9029">
                  <c:v>4.9877166534443615</c:v>
                </c:pt>
                <c:pt idx="9030">
                  <c:v>4.995518972837405</c:v>
                </c:pt>
                <c:pt idx="9031">
                  <c:v>4.8762032765782557</c:v>
                </c:pt>
                <c:pt idx="9032">
                  <c:v>5.985164294584882</c:v>
                </c:pt>
                <c:pt idx="9033">
                  <c:v>5.0062172228331763</c:v>
                </c:pt>
                <c:pt idx="9034">
                  <c:v>5.0913322377432761</c:v>
                </c:pt>
                <c:pt idx="9035">
                  <c:v>6.2546835679391179</c:v>
                </c:pt>
                <c:pt idx="9036">
                  <c:v>6.1320827950556671</c:v>
                </c:pt>
                <c:pt idx="9037">
                  <c:v>6.0648055256201712</c:v>
                </c:pt>
                <c:pt idx="9038">
                  <c:v>5.0011358926228304</c:v>
                </c:pt>
                <c:pt idx="9039">
                  <c:v>5.090930156361698</c:v>
                </c:pt>
                <c:pt idx="9040">
                  <c:v>5.8141814271804275</c:v>
                </c:pt>
                <c:pt idx="9041">
                  <c:v>5.9627561989716709</c:v>
                </c:pt>
                <c:pt idx="9042">
                  <c:v>4.9434419848715896</c:v>
                </c:pt>
                <c:pt idx="9043">
                  <c:v>4.9494354692197566</c:v>
                </c:pt>
                <c:pt idx="9044">
                  <c:v>5.1122014574526817</c:v>
                </c:pt>
                <c:pt idx="9045">
                  <c:v>4.8444645521952658</c:v>
                </c:pt>
                <c:pt idx="9046">
                  <c:v>4.82308773173565</c:v>
                </c:pt>
                <c:pt idx="9047">
                  <c:v>5.1114208028368591</c:v>
                </c:pt>
                <c:pt idx="9048">
                  <c:v>4.9512571886083059</c:v>
                </c:pt>
                <c:pt idx="9049">
                  <c:v>4.9708532253387991</c:v>
                </c:pt>
                <c:pt idx="9050">
                  <c:v>4.9186155783103587</c:v>
                </c:pt>
                <c:pt idx="9051">
                  <c:v>5.0621793921328049</c:v>
                </c:pt>
                <c:pt idx="9052">
                  <c:v>4.8449230744175598</c:v>
                </c:pt>
                <c:pt idx="9053">
                  <c:v>6.9863987734773056</c:v>
                </c:pt>
                <c:pt idx="9054">
                  <c:v>5.9107260202850815</c:v>
                </c:pt>
                <c:pt idx="9055">
                  <c:v>5.0504381579523514</c:v>
                </c:pt>
                <c:pt idx="9056">
                  <c:v>5.9370638802187283</c:v>
                </c:pt>
                <c:pt idx="9057">
                  <c:v>5.8175574540674493</c:v>
                </c:pt>
                <c:pt idx="9058">
                  <c:v>5.056170894139048</c:v>
                </c:pt>
                <c:pt idx="9059">
                  <c:v>6.1520483186118753</c:v>
                </c:pt>
                <c:pt idx="9060">
                  <c:v>4.952193307054638</c:v>
                </c:pt>
                <c:pt idx="9061">
                  <c:v>5.0775135616007798</c:v>
                </c:pt>
                <c:pt idx="9062">
                  <c:v>4.9708561112120249</c:v>
                </c:pt>
                <c:pt idx="9063">
                  <c:v>6.0553434519526981</c:v>
                </c:pt>
                <c:pt idx="9064">
                  <c:v>5.1421498147087759</c:v>
                </c:pt>
                <c:pt idx="9065">
                  <c:v>6.0127188651160184</c:v>
                </c:pt>
                <c:pt idx="9066">
                  <c:v>5.0310793888232412</c:v>
                </c:pt>
                <c:pt idx="9067">
                  <c:v>4.8932323340180996</c:v>
                </c:pt>
                <c:pt idx="9068">
                  <c:v>5.0085968412863613</c:v>
                </c:pt>
                <c:pt idx="9069">
                  <c:v>5.9812771971881453</c:v>
                </c:pt>
                <c:pt idx="9070">
                  <c:v>4.9923524632232805</c:v>
                </c:pt>
                <c:pt idx="9071">
                  <c:v>4.96072218856634</c:v>
                </c:pt>
                <c:pt idx="9072">
                  <c:v>4.914160248334797</c:v>
                </c:pt>
                <c:pt idx="9073">
                  <c:v>4.9534865665024173</c:v>
                </c:pt>
                <c:pt idx="9074">
                  <c:v>5.8048641592293695</c:v>
                </c:pt>
                <c:pt idx="9075">
                  <c:v>5.0309259672310791</c:v>
                </c:pt>
                <c:pt idx="9076">
                  <c:v>4.9833753179317908</c:v>
                </c:pt>
                <c:pt idx="9077">
                  <c:v>5.0799698937812723</c:v>
                </c:pt>
                <c:pt idx="9078">
                  <c:v>5.0734148681805431</c:v>
                </c:pt>
                <c:pt idx="9079">
                  <c:v>6.0132168659631438</c:v>
                </c:pt>
                <c:pt idx="9080">
                  <c:v>6.1210316809146574</c:v>
                </c:pt>
                <c:pt idx="9081">
                  <c:v>5.0015280122231136</c:v>
                </c:pt>
                <c:pt idx="9082">
                  <c:v>5.0506538132393546</c:v>
                </c:pt>
                <c:pt idx="9083">
                  <c:v>5.1641262276463573</c:v>
                </c:pt>
                <c:pt idx="9084">
                  <c:v>5.8292945680320836</c:v>
                </c:pt>
                <c:pt idx="9085">
                  <c:v>5.1780246043882894</c:v>
                </c:pt>
                <c:pt idx="9086">
                  <c:v>5.8533717881315726</c:v>
                </c:pt>
                <c:pt idx="9087">
                  <c:v>5.0902328997372397</c:v>
                </c:pt>
                <c:pt idx="9088">
                  <c:v>5.0045804096432009</c:v>
                </c:pt>
                <c:pt idx="9089">
                  <c:v>4.935289204451224</c:v>
                </c:pt>
                <c:pt idx="9090">
                  <c:v>5.0846843161435427</c:v>
                </c:pt>
                <c:pt idx="9091">
                  <c:v>4.8942804559051369</c:v>
                </c:pt>
                <c:pt idx="9092">
                  <c:v>7.0327068253092602</c:v>
                </c:pt>
                <c:pt idx="9093">
                  <c:v>4.7734727163345019</c:v>
                </c:pt>
                <c:pt idx="9094">
                  <c:v>5.0604883374296028</c:v>
                </c:pt>
                <c:pt idx="9095">
                  <c:v>5.0574523655353607</c:v>
                </c:pt>
                <c:pt idx="9096">
                  <c:v>4.9990918877053447</c:v>
                </c:pt>
                <c:pt idx="9097">
                  <c:v>6.0894869564088951</c:v>
                </c:pt>
                <c:pt idx="9098">
                  <c:v>4.9707311072177269</c:v>
                </c:pt>
                <c:pt idx="9099">
                  <c:v>5.0884044981790906</c:v>
                </c:pt>
                <c:pt idx="9100">
                  <c:v>5.0013721861734464</c:v>
                </c:pt>
                <c:pt idx="9101">
                  <c:v>4.9359515392109792</c:v>
                </c:pt>
                <c:pt idx="9102">
                  <c:v>4.9602377567926519</c:v>
                </c:pt>
                <c:pt idx="9103">
                  <c:v>1.9652324905492513</c:v>
                </c:pt>
                <c:pt idx="9104">
                  <c:v>5.1492463928666972</c:v>
                </c:pt>
                <c:pt idx="9105">
                  <c:v>4.8965504043605268</c:v>
                </c:pt>
                <c:pt idx="9106">
                  <c:v>4.841921163900305</c:v>
                </c:pt>
                <c:pt idx="9107">
                  <c:v>5.0523765311961881</c:v>
                </c:pt>
                <c:pt idx="9108">
                  <c:v>6.0069974876502883</c:v>
                </c:pt>
                <c:pt idx="9109">
                  <c:v>6.0897969628800865</c:v>
                </c:pt>
                <c:pt idx="9110">
                  <c:v>4.8954345403447048</c:v>
                </c:pt>
                <c:pt idx="9111">
                  <c:v>5.0281560771016212</c:v>
                </c:pt>
                <c:pt idx="9112">
                  <c:v>4.9753767388466228</c:v>
                </c:pt>
                <c:pt idx="9113">
                  <c:v>4.9207892369803767</c:v>
                </c:pt>
                <c:pt idx="9114">
                  <c:v>5.074798942273909</c:v>
                </c:pt>
                <c:pt idx="9115">
                  <c:v>5.0060972133688209</c:v>
                </c:pt>
                <c:pt idx="9116">
                  <c:v>6.977639197093449</c:v>
                </c:pt>
                <c:pt idx="9117">
                  <c:v>4.8575126087877631</c:v>
                </c:pt>
                <c:pt idx="9118">
                  <c:v>4.9052867594186056</c:v>
                </c:pt>
                <c:pt idx="9119">
                  <c:v>5.1983405559553111</c:v>
                </c:pt>
                <c:pt idx="9120">
                  <c:v>6.0502863015253983</c:v>
                </c:pt>
                <c:pt idx="9121">
                  <c:v>5.944601635701793</c:v>
                </c:pt>
                <c:pt idx="9122">
                  <c:v>5.0579272497359469</c:v>
                </c:pt>
                <c:pt idx="9123">
                  <c:v>5.0933023876333516</c:v>
                </c:pt>
                <c:pt idx="9124">
                  <c:v>5.8157698364019668</c:v>
                </c:pt>
                <c:pt idx="9125">
                  <c:v>5.8673176689382176</c:v>
                </c:pt>
                <c:pt idx="9126">
                  <c:v>6.0654129035411515</c:v>
                </c:pt>
                <c:pt idx="9127">
                  <c:v>4.9413663250039912</c:v>
                </c:pt>
                <c:pt idx="9128">
                  <c:v>5.760665379055796</c:v>
                </c:pt>
                <c:pt idx="9129">
                  <c:v>5.1137298849021207</c:v>
                </c:pt>
                <c:pt idx="9130">
                  <c:v>5.0264623851151002</c:v>
                </c:pt>
                <c:pt idx="9131">
                  <c:v>4.8083903968351889</c:v>
                </c:pt>
                <c:pt idx="9132">
                  <c:v>4.8286850546943674</c:v>
                </c:pt>
                <c:pt idx="9133">
                  <c:v>5.1116872800569535</c:v>
                </c:pt>
                <c:pt idx="9134">
                  <c:v>5.1846179459948738</c:v>
                </c:pt>
                <c:pt idx="9135">
                  <c:v>4.979039547728477</c:v>
                </c:pt>
                <c:pt idx="9136">
                  <c:v>5.0463275338221729</c:v>
                </c:pt>
                <c:pt idx="9137">
                  <c:v>4.8864945143453342</c:v>
                </c:pt>
                <c:pt idx="9138">
                  <c:v>4.9197428142090409</c:v>
                </c:pt>
                <c:pt idx="9139">
                  <c:v>4.907203483343678</c:v>
                </c:pt>
                <c:pt idx="9140">
                  <c:v>5.92474083414454</c:v>
                </c:pt>
                <c:pt idx="9141">
                  <c:v>4.8827660657244225</c:v>
                </c:pt>
                <c:pt idx="9142">
                  <c:v>5.0257380647780865</c:v>
                </c:pt>
                <c:pt idx="9143">
                  <c:v>5.0543116663814445</c:v>
                </c:pt>
                <c:pt idx="9144">
                  <c:v>4.9336444719230128</c:v>
                </c:pt>
                <c:pt idx="9145">
                  <c:v>5.0409888858238041</c:v>
                </c:pt>
                <c:pt idx="9146">
                  <c:v>5.0181683811498603</c:v>
                </c:pt>
                <c:pt idx="9147">
                  <c:v>4.9881011456871169</c:v>
                </c:pt>
                <c:pt idx="9148">
                  <c:v>5.84338472061917</c:v>
                </c:pt>
                <c:pt idx="9149">
                  <c:v>6.9053624408949004</c:v>
                </c:pt>
                <c:pt idx="9150">
                  <c:v>5.1521105505146565</c:v>
                </c:pt>
                <c:pt idx="9151">
                  <c:v>4.9743464365385472</c:v>
                </c:pt>
                <c:pt idx="9152">
                  <c:v>5.1758905144281577</c:v>
                </c:pt>
                <c:pt idx="9153">
                  <c:v>5.8768191125167961</c:v>
                </c:pt>
                <c:pt idx="9154">
                  <c:v>5.0629539412248885</c:v>
                </c:pt>
                <c:pt idx="9155">
                  <c:v>5.9201216911733523</c:v>
                </c:pt>
                <c:pt idx="9156">
                  <c:v>4.8696771751663874</c:v>
                </c:pt>
                <c:pt idx="9157">
                  <c:v>5.0352212334509927</c:v>
                </c:pt>
                <c:pt idx="9158">
                  <c:v>5.0132644302007563</c:v>
                </c:pt>
                <c:pt idx="9159">
                  <c:v>6.1984064753421535</c:v>
                </c:pt>
                <c:pt idx="9160">
                  <c:v>4.879153099411818</c:v>
                </c:pt>
                <c:pt idx="9161">
                  <c:v>6.0035390011039631</c:v>
                </c:pt>
                <c:pt idx="9162">
                  <c:v>4.9515427052223551</c:v>
                </c:pt>
                <c:pt idx="9163">
                  <c:v>5.9990862108375849</c:v>
                </c:pt>
                <c:pt idx="9164">
                  <c:v>5.2007991399967572</c:v>
                </c:pt>
                <c:pt idx="9165">
                  <c:v>5.9074067937875636</c:v>
                </c:pt>
                <c:pt idx="9166">
                  <c:v>4.9851560298913205</c:v>
                </c:pt>
                <c:pt idx="9167">
                  <c:v>4.94726079576317</c:v>
                </c:pt>
                <c:pt idx="9168">
                  <c:v>4.8950929397927521</c:v>
                </c:pt>
                <c:pt idx="9169">
                  <c:v>6.1149383055710604</c:v>
                </c:pt>
                <c:pt idx="9170">
                  <c:v>4.8913588059881867</c:v>
                </c:pt>
                <c:pt idx="9171">
                  <c:v>6.1748124125736359</c:v>
                </c:pt>
                <c:pt idx="9172">
                  <c:v>6.062689892108188</c:v>
                </c:pt>
                <c:pt idx="9173">
                  <c:v>5.0114209979104647</c:v>
                </c:pt>
                <c:pt idx="9174">
                  <c:v>5.0704786609995338</c:v>
                </c:pt>
                <c:pt idx="9175">
                  <c:v>4.9060871799719221</c:v>
                </c:pt>
                <c:pt idx="9176">
                  <c:v>5.9384727398874571</c:v>
                </c:pt>
                <c:pt idx="9177">
                  <c:v>5.0754239647808594</c:v>
                </c:pt>
                <c:pt idx="9178">
                  <c:v>5.0243823576799782</c:v>
                </c:pt>
                <c:pt idx="9179">
                  <c:v>6.0346073214375675</c:v>
                </c:pt>
                <c:pt idx="9180">
                  <c:v>4.7615624388540461</c:v>
                </c:pt>
                <c:pt idx="9181">
                  <c:v>5.0290265160631789</c:v>
                </c:pt>
                <c:pt idx="9182">
                  <c:v>5.1339793659797808</c:v>
                </c:pt>
                <c:pt idx="9183">
                  <c:v>4.7651943548694424</c:v>
                </c:pt>
                <c:pt idx="9184">
                  <c:v>5.1022664215451599</c:v>
                </c:pt>
                <c:pt idx="9185">
                  <c:v>4.9982969107851432</c:v>
                </c:pt>
                <c:pt idx="9186">
                  <c:v>4.9312089789805604</c:v>
                </c:pt>
                <c:pt idx="9187">
                  <c:v>4.9830559722730587</c:v>
                </c:pt>
                <c:pt idx="9188">
                  <c:v>5.9744943196736946</c:v>
                </c:pt>
                <c:pt idx="9189">
                  <c:v>5.0559170998016745</c:v>
                </c:pt>
                <c:pt idx="9190">
                  <c:v>5.0421694339940926</c:v>
                </c:pt>
                <c:pt idx="9191">
                  <c:v>5.9317977086735452</c:v>
                </c:pt>
                <c:pt idx="9192">
                  <c:v>5.126891680598761</c:v>
                </c:pt>
                <c:pt idx="9193">
                  <c:v>4.9558255811045244</c:v>
                </c:pt>
                <c:pt idx="9194">
                  <c:v>4.9534695957059149</c:v>
                </c:pt>
                <c:pt idx="9195">
                  <c:v>5.113319833569463</c:v>
                </c:pt>
                <c:pt idx="9196">
                  <c:v>5.0095782607350348</c:v>
                </c:pt>
                <c:pt idx="9197">
                  <c:v>5.1512414851574073</c:v>
                </c:pt>
                <c:pt idx="9198">
                  <c:v>5.8936674514187635</c:v>
                </c:pt>
                <c:pt idx="9199">
                  <c:v>4.8226268317207035</c:v>
                </c:pt>
                <c:pt idx="9200">
                  <c:v>6.0877862815040764</c:v>
                </c:pt>
                <c:pt idx="9201">
                  <c:v>5.0267086265376433</c:v>
                </c:pt>
                <c:pt idx="9202">
                  <c:v>5.9003344195845431</c:v>
                </c:pt>
                <c:pt idx="9203">
                  <c:v>5.1518422722197244</c:v>
                </c:pt>
                <c:pt idx="9204">
                  <c:v>4.9044825743566056</c:v>
                </c:pt>
                <c:pt idx="9205">
                  <c:v>5.0534883502141996</c:v>
                </c:pt>
                <c:pt idx="9206">
                  <c:v>4.9952376099281137</c:v>
                </c:pt>
                <c:pt idx="9207">
                  <c:v>4.8278242128620139</c:v>
                </c:pt>
                <c:pt idx="9208">
                  <c:v>5.9904413116034423</c:v>
                </c:pt>
                <c:pt idx="9209">
                  <c:v>5.9523237396859416</c:v>
                </c:pt>
                <c:pt idx="9210">
                  <c:v>4.9202484952031851</c:v>
                </c:pt>
                <c:pt idx="9211">
                  <c:v>4.9098074214841532</c:v>
                </c:pt>
                <c:pt idx="9212">
                  <c:v>4.995320640586951</c:v>
                </c:pt>
                <c:pt idx="9213">
                  <c:v>5.1953761932819473</c:v>
                </c:pt>
                <c:pt idx="9214">
                  <c:v>4.9551814937108647</c:v>
                </c:pt>
                <c:pt idx="9215">
                  <c:v>6.0959400523193095</c:v>
                </c:pt>
                <c:pt idx="9216">
                  <c:v>5.0505126156424298</c:v>
                </c:pt>
                <c:pt idx="9217">
                  <c:v>6.7982535747578767</c:v>
                </c:pt>
                <c:pt idx="9218">
                  <c:v>4.936130507289489</c:v>
                </c:pt>
                <c:pt idx="9219">
                  <c:v>4.9711533956331424</c:v>
                </c:pt>
                <c:pt idx="9220">
                  <c:v>5.8913825521629635</c:v>
                </c:pt>
                <c:pt idx="9221">
                  <c:v>6.123990644657197</c:v>
                </c:pt>
                <c:pt idx="9222">
                  <c:v>5.9430967567856507</c:v>
                </c:pt>
                <c:pt idx="9223">
                  <c:v>4.9159177774891889</c:v>
                </c:pt>
                <c:pt idx="9224">
                  <c:v>6.9783491697306932</c:v>
                </c:pt>
                <c:pt idx="9225">
                  <c:v>6.819923528556636</c:v>
                </c:pt>
                <c:pt idx="9226">
                  <c:v>7.0264837542498224</c:v>
                </c:pt>
                <c:pt idx="9227">
                  <c:v>7.2212306922641485</c:v>
                </c:pt>
                <c:pt idx="9228">
                  <c:v>7.1322964877669977</c:v>
                </c:pt>
                <c:pt idx="9229">
                  <c:v>4.8988286640818606</c:v>
                </c:pt>
                <c:pt idx="9230">
                  <c:v>5.965990876840519</c:v>
                </c:pt>
                <c:pt idx="9231">
                  <c:v>6.0824284241729822</c:v>
                </c:pt>
                <c:pt idx="9232">
                  <c:v>5.9609466760512833</c:v>
                </c:pt>
                <c:pt idx="9233">
                  <c:v>4.9358463559301686</c:v>
                </c:pt>
                <c:pt idx="9234">
                  <c:v>4.9217866956964205</c:v>
                </c:pt>
                <c:pt idx="9235">
                  <c:v>4.9910345686094129</c:v>
                </c:pt>
                <c:pt idx="9236">
                  <c:v>4.9351293307671256</c:v>
                </c:pt>
                <c:pt idx="9237">
                  <c:v>6.0525613689525581</c:v>
                </c:pt>
                <c:pt idx="9238">
                  <c:v>5.013396047052562</c:v>
                </c:pt>
                <c:pt idx="9239">
                  <c:v>5.9534417781258133</c:v>
                </c:pt>
                <c:pt idx="9240">
                  <c:v>6.0782418826407891</c:v>
                </c:pt>
                <c:pt idx="9241">
                  <c:v>7.0098061898427888</c:v>
                </c:pt>
                <c:pt idx="9242">
                  <c:v>5.0931413774104639</c:v>
                </c:pt>
                <c:pt idx="9243">
                  <c:v>5.9916275678218067</c:v>
                </c:pt>
                <c:pt idx="9244">
                  <c:v>5.8558648692676467</c:v>
                </c:pt>
                <c:pt idx="9245">
                  <c:v>6.9118542929523468</c:v>
                </c:pt>
                <c:pt idx="9246">
                  <c:v>6.9151547689088293</c:v>
                </c:pt>
                <c:pt idx="9247">
                  <c:v>5.9070295668716364</c:v>
                </c:pt>
                <c:pt idx="9248">
                  <c:v>5.0124381250185097</c:v>
                </c:pt>
                <c:pt idx="9249">
                  <c:v>4.9680217720442208</c:v>
                </c:pt>
                <c:pt idx="9250">
                  <c:v>6.0253115372761048</c:v>
                </c:pt>
                <c:pt idx="9251">
                  <c:v>4.8629252302789272</c:v>
                </c:pt>
                <c:pt idx="9252">
                  <c:v>6.0356097553294363</c:v>
                </c:pt>
                <c:pt idx="9253">
                  <c:v>5.0908928267038069</c:v>
                </c:pt>
                <c:pt idx="9254">
                  <c:v>6.072088852437366</c:v>
                </c:pt>
                <c:pt idx="9255">
                  <c:v>5.9960255142441632</c:v>
                </c:pt>
                <c:pt idx="9256">
                  <c:v>5.0631769648584868</c:v>
                </c:pt>
                <c:pt idx="9257">
                  <c:v>5.9947852361991023</c:v>
                </c:pt>
                <c:pt idx="9258">
                  <c:v>4.963343986983217</c:v>
                </c:pt>
                <c:pt idx="9259">
                  <c:v>5.9781614497780691</c:v>
                </c:pt>
                <c:pt idx="9260">
                  <c:v>5.9599792322023806</c:v>
                </c:pt>
                <c:pt idx="9261">
                  <c:v>5.0916873136110246</c:v>
                </c:pt>
                <c:pt idx="9262">
                  <c:v>6.0592801844267186</c:v>
                </c:pt>
                <c:pt idx="9263">
                  <c:v>4.9795048786606344</c:v>
                </c:pt>
                <c:pt idx="9264">
                  <c:v>4.936060745339506</c:v>
                </c:pt>
                <c:pt idx="9265">
                  <c:v>5.9842640098709321</c:v>
                </c:pt>
                <c:pt idx="9266">
                  <c:v>4.9561866085004649</c:v>
                </c:pt>
                <c:pt idx="9267">
                  <c:v>5.0068345151649769</c:v>
                </c:pt>
                <c:pt idx="9268">
                  <c:v>5.0698343379115398</c:v>
                </c:pt>
                <c:pt idx="9269">
                  <c:v>6.0475735499901253</c:v>
                </c:pt>
                <c:pt idx="9270">
                  <c:v>5.9195521539601765</c:v>
                </c:pt>
                <c:pt idx="9271">
                  <c:v>6.0678515603030245</c:v>
                </c:pt>
                <c:pt idx="9272">
                  <c:v>5.9659507944502748</c:v>
                </c:pt>
                <c:pt idx="9273">
                  <c:v>5.8113259909408503</c:v>
                </c:pt>
                <c:pt idx="9274">
                  <c:v>6.16223996310001</c:v>
                </c:pt>
                <c:pt idx="9275">
                  <c:v>6.1303773471199818</c:v>
                </c:pt>
                <c:pt idx="9276">
                  <c:v>4.8988540399343492</c:v>
                </c:pt>
                <c:pt idx="9277">
                  <c:v>6.0126380948792963</c:v>
                </c:pt>
                <c:pt idx="9278">
                  <c:v>5.9775322815971892</c:v>
                </c:pt>
                <c:pt idx="9279">
                  <c:v>6.0189517776498791</c:v>
                </c:pt>
                <c:pt idx="9280">
                  <c:v>6.0001003367741044</c:v>
                </c:pt>
                <c:pt idx="9281">
                  <c:v>6.091878978186763</c:v>
                </c:pt>
                <c:pt idx="9282">
                  <c:v>5.966725334998773</c:v>
                </c:pt>
                <c:pt idx="9283">
                  <c:v>5.8922503633546492</c:v>
                </c:pt>
                <c:pt idx="9284">
                  <c:v>5.1142940431340733</c:v>
                </c:pt>
                <c:pt idx="9285">
                  <c:v>5.9708040850066677</c:v>
                </c:pt>
                <c:pt idx="9286">
                  <c:v>5.932390177549383</c:v>
                </c:pt>
                <c:pt idx="9287">
                  <c:v>5.0478620677842221</c:v>
                </c:pt>
                <c:pt idx="9288">
                  <c:v>4.911727142565633</c:v>
                </c:pt>
                <c:pt idx="9289">
                  <c:v>4.7877877261274264</c:v>
                </c:pt>
                <c:pt idx="9290">
                  <c:v>3.0443314972664393</c:v>
                </c:pt>
                <c:pt idx="9291">
                  <c:v>4.9588591502023647</c:v>
                </c:pt>
                <c:pt idx="9292">
                  <c:v>6.0835641850051818</c:v>
                </c:pt>
                <c:pt idx="9293">
                  <c:v>6.0096906112777724</c:v>
                </c:pt>
                <c:pt idx="9294">
                  <c:v>5.0121563897600403</c:v>
                </c:pt>
                <c:pt idx="9295">
                  <c:v>5.0145371174536519</c:v>
                </c:pt>
                <c:pt idx="9296">
                  <c:v>4.9699383488170223</c:v>
                </c:pt>
                <c:pt idx="9297">
                  <c:v>5.9919446152186477</c:v>
                </c:pt>
                <c:pt idx="9298">
                  <c:v>5.0206349491492386</c:v>
                </c:pt>
                <c:pt idx="9299">
                  <c:v>6.16518012835727</c:v>
                </c:pt>
                <c:pt idx="9300">
                  <c:v>5.0438277438935604</c:v>
                </c:pt>
                <c:pt idx="9301">
                  <c:v>6.0467713359918793</c:v>
                </c:pt>
                <c:pt idx="9302">
                  <c:v>5.9937724442437128</c:v>
                </c:pt>
                <c:pt idx="9303">
                  <c:v>6.1409783950244954</c:v>
                </c:pt>
                <c:pt idx="9304">
                  <c:v>5.6491192386771996</c:v>
                </c:pt>
                <c:pt idx="9305">
                  <c:v>4.9796963064816291</c:v>
                </c:pt>
                <c:pt idx="9306">
                  <c:v>4.9712182293008924</c:v>
                </c:pt>
                <c:pt idx="9307">
                  <c:v>6.1097622266031415</c:v>
                </c:pt>
                <c:pt idx="9308">
                  <c:v>4.9880672713242848</c:v>
                </c:pt>
                <c:pt idx="9309">
                  <c:v>6.066688142145618</c:v>
                </c:pt>
                <c:pt idx="9310">
                  <c:v>6.0155734585662097</c:v>
                </c:pt>
                <c:pt idx="9311">
                  <c:v>4.974341323964528</c:v>
                </c:pt>
                <c:pt idx="9312">
                  <c:v>5.1110488558643299</c:v>
                </c:pt>
                <c:pt idx="9313">
                  <c:v>5.8734960506337037</c:v>
                </c:pt>
                <c:pt idx="9314">
                  <c:v>6.0590733059181536</c:v>
                </c:pt>
                <c:pt idx="9315">
                  <c:v>5.8781416755201166</c:v>
                </c:pt>
                <c:pt idx="9316">
                  <c:v>6.0775595411943337</c:v>
                </c:pt>
                <c:pt idx="9317">
                  <c:v>4.9817427254534259</c:v>
                </c:pt>
                <c:pt idx="9318">
                  <c:v>6.0850642948938019</c:v>
                </c:pt>
                <c:pt idx="9319">
                  <c:v>6.0222462006700068</c:v>
                </c:pt>
                <c:pt idx="9320">
                  <c:v>7.1687699124276172</c:v>
                </c:pt>
                <c:pt idx="9321">
                  <c:v>5.0180026259660941</c:v>
                </c:pt>
                <c:pt idx="9322">
                  <c:v>5.8997947166241573</c:v>
                </c:pt>
                <c:pt idx="9323">
                  <c:v>5.1592475641045077</c:v>
                </c:pt>
                <c:pt idx="9324">
                  <c:v>5.727322212867838</c:v>
                </c:pt>
                <c:pt idx="9325">
                  <c:v>5.8266527225218541</c:v>
                </c:pt>
                <c:pt idx="9326">
                  <c:v>5.962107935359402</c:v>
                </c:pt>
                <c:pt idx="9327">
                  <c:v>6.0301380242274298</c:v>
                </c:pt>
                <c:pt idx="9328">
                  <c:v>5.0383019303533771</c:v>
                </c:pt>
                <c:pt idx="9329">
                  <c:v>6.0006152040786045</c:v>
                </c:pt>
                <c:pt idx="9330">
                  <c:v>5.1640539197581772</c:v>
                </c:pt>
                <c:pt idx="9331">
                  <c:v>6.1230434043385014</c:v>
                </c:pt>
                <c:pt idx="9332">
                  <c:v>4.859172498576819</c:v>
                </c:pt>
                <c:pt idx="9333">
                  <c:v>5.043285583949638</c:v>
                </c:pt>
                <c:pt idx="9334">
                  <c:v>5.0609657403461457</c:v>
                </c:pt>
                <c:pt idx="9335">
                  <c:v>6.0029110910060881</c:v>
                </c:pt>
                <c:pt idx="9336">
                  <c:v>6.0484794124253849</c:v>
                </c:pt>
                <c:pt idx="9337">
                  <c:v>5.0251730416899161</c:v>
                </c:pt>
                <c:pt idx="9338">
                  <c:v>6.1497489374420784</c:v>
                </c:pt>
                <c:pt idx="9339">
                  <c:v>4.9762685987647854</c:v>
                </c:pt>
                <c:pt idx="9340">
                  <c:v>5.0460297381213683</c:v>
                </c:pt>
                <c:pt idx="9341">
                  <c:v>4.8542853845834495</c:v>
                </c:pt>
                <c:pt idx="9342">
                  <c:v>5.9186971137192748</c:v>
                </c:pt>
                <c:pt idx="9343">
                  <c:v>7.1483610124072907</c:v>
                </c:pt>
                <c:pt idx="9344">
                  <c:v>5.017957366621749</c:v>
                </c:pt>
                <c:pt idx="9345">
                  <c:v>4.7582987384084054</c:v>
                </c:pt>
                <c:pt idx="9346">
                  <c:v>6.0295654235924658</c:v>
                </c:pt>
                <c:pt idx="9347">
                  <c:v>5.7924074729920614</c:v>
                </c:pt>
                <c:pt idx="9348">
                  <c:v>5.9927749906925296</c:v>
                </c:pt>
                <c:pt idx="9349">
                  <c:v>5.8865165230790906</c:v>
                </c:pt>
                <c:pt idx="9350">
                  <c:v>4.94992660829468</c:v>
                </c:pt>
                <c:pt idx="9351">
                  <c:v>5.1197853878263286</c:v>
                </c:pt>
                <c:pt idx="9352">
                  <c:v>4.998841033835248</c:v>
                </c:pt>
                <c:pt idx="9353">
                  <c:v>5.0086743802374549</c:v>
                </c:pt>
                <c:pt idx="9354">
                  <c:v>6.1244157789363234</c:v>
                </c:pt>
                <c:pt idx="9355">
                  <c:v>5.1619185383863364</c:v>
                </c:pt>
                <c:pt idx="9356">
                  <c:v>5.9748696037015314</c:v>
                </c:pt>
                <c:pt idx="9357">
                  <c:v>4.8319114053278902</c:v>
                </c:pt>
                <c:pt idx="9358">
                  <c:v>5.9032899980647784</c:v>
                </c:pt>
                <c:pt idx="9359">
                  <c:v>5.8093534641060636</c:v>
                </c:pt>
                <c:pt idx="9360">
                  <c:v>4.944420542490926</c:v>
                </c:pt>
                <c:pt idx="9361">
                  <c:v>4.974677621236741</c:v>
                </c:pt>
                <c:pt idx="9362">
                  <c:v>4.8860908503037326</c:v>
                </c:pt>
                <c:pt idx="9363">
                  <c:v>6.0462331014621133</c:v>
                </c:pt>
                <c:pt idx="9364">
                  <c:v>5.0131079295283403</c:v>
                </c:pt>
                <c:pt idx="9365">
                  <c:v>6.0472718834396648</c:v>
                </c:pt>
                <c:pt idx="9366">
                  <c:v>6.0178916151250714</c:v>
                </c:pt>
                <c:pt idx="9367">
                  <c:v>6.0985532431870997</c:v>
                </c:pt>
                <c:pt idx="9368">
                  <c:v>4.8497371364222293</c:v>
                </c:pt>
                <c:pt idx="9369">
                  <c:v>6.0306701118930741</c:v>
                </c:pt>
                <c:pt idx="9370">
                  <c:v>5.9628739728676772</c:v>
                </c:pt>
                <c:pt idx="9371">
                  <c:v>6.0866893236125019</c:v>
                </c:pt>
                <c:pt idx="9372">
                  <c:v>5.9849181822143542</c:v>
                </c:pt>
                <c:pt idx="9373">
                  <c:v>4.9432408516162099</c:v>
                </c:pt>
                <c:pt idx="9374">
                  <c:v>6.0073377403504562</c:v>
                </c:pt>
                <c:pt idx="9375">
                  <c:v>6.0795396587704325</c:v>
                </c:pt>
                <c:pt idx="9376">
                  <c:v>6.1988770399375381</c:v>
                </c:pt>
                <c:pt idx="9377">
                  <c:v>6.0936963421642165</c:v>
                </c:pt>
                <c:pt idx="9378">
                  <c:v>4.8766912464783259</c:v>
                </c:pt>
                <c:pt idx="9379">
                  <c:v>5.9210685562259293</c:v>
                </c:pt>
                <c:pt idx="9380">
                  <c:v>5.1468580075658856</c:v>
                </c:pt>
                <c:pt idx="9381">
                  <c:v>5.965437065317408</c:v>
                </c:pt>
                <c:pt idx="9382">
                  <c:v>5.8618327808661093</c:v>
                </c:pt>
                <c:pt idx="9383">
                  <c:v>6.0497089474108074</c:v>
                </c:pt>
                <c:pt idx="9384">
                  <c:v>5.8650465033693004</c:v>
                </c:pt>
                <c:pt idx="9385">
                  <c:v>4.9683421827614431</c:v>
                </c:pt>
                <c:pt idx="9386">
                  <c:v>6.0728867447576418</c:v>
                </c:pt>
                <c:pt idx="9387">
                  <c:v>5.9356576243735297</c:v>
                </c:pt>
                <c:pt idx="9388">
                  <c:v>5.892678259132917</c:v>
                </c:pt>
                <c:pt idx="9389">
                  <c:v>5.8870703990364346</c:v>
                </c:pt>
                <c:pt idx="9390">
                  <c:v>5.9812977516656813</c:v>
                </c:pt>
                <c:pt idx="9391">
                  <c:v>5.901371914502092</c:v>
                </c:pt>
                <c:pt idx="9392">
                  <c:v>5.9681184937314509</c:v>
                </c:pt>
                <c:pt idx="9393">
                  <c:v>5.1186195165358841</c:v>
                </c:pt>
                <c:pt idx="9394">
                  <c:v>6.13898026270373</c:v>
                </c:pt>
                <c:pt idx="9395">
                  <c:v>4.7873028217763958</c:v>
                </c:pt>
                <c:pt idx="9396">
                  <c:v>6.2240051873877942</c:v>
                </c:pt>
                <c:pt idx="9397">
                  <c:v>5.8730968818372613</c:v>
                </c:pt>
                <c:pt idx="9398">
                  <c:v>5.0951585610164836</c:v>
                </c:pt>
                <c:pt idx="9399">
                  <c:v>5.8445149400155625</c:v>
                </c:pt>
                <c:pt idx="9400">
                  <c:v>6.0672876701054239</c:v>
                </c:pt>
                <c:pt idx="9401">
                  <c:v>5.0025126943448619</c:v>
                </c:pt>
                <c:pt idx="9402">
                  <c:v>4.9275183963600995</c:v>
                </c:pt>
                <c:pt idx="9403">
                  <c:v>4.8414837230563572</c:v>
                </c:pt>
                <c:pt idx="9404">
                  <c:v>6.0354399938147134</c:v>
                </c:pt>
                <c:pt idx="9405">
                  <c:v>4.9242730873797687</c:v>
                </c:pt>
                <c:pt idx="9406">
                  <c:v>5.9692869501716102</c:v>
                </c:pt>
                <c:pt idx="9407">
                  <c:v>5.9081937323020357</c:v>
                </c:pt>
                <c:pt idx="9408">
                  <c:v>5.9881026818480887</c:v>
                </c:pt>
                <c:pt idx="9409">
                  <c:v>5.8626028930436629</c:v>
                </c:pt>
                <c:pt idx="9410">
                  <c:v>6.0726634212009776</c:v>
                </c:pt>
                <c:pt idx="9411">
                  <c:v>6.1008279470899494</c:v>
                </c:pt>
                <c:pt idx="9412">
                  <c:v>4.0983157321662453</c:v>
                </c:pt>
                <c:pt idx="9413">
                  <c:v>5.9241351602033134</c:v>
                </c:pt>
                <c:pt idx="9414">
                  <c:v>5.8522406191495548</c:v>
                </c:pt>
                <c:pt idx="9415">
                  <c:v>5.9292274945862697</c:v>
                </c:pt>
                <c:pt idx="9416">
                  <c:v>6.02459365493156</c:v>
                </c:pt>
                <c:pt idx="9417">
                  <c:v>4.9998318882748789</c:v>
                </c:pt>
                <c:pt idx="9418">
                  <c:v>5.9548801623229517</c:v>
                </c:pt>
                <c:pt idx="9419">
                  <c:v>5.0523177803060886</c:v>
                </c:pt>
                <c:pt idx="9420">
                  <c:v>5.9862928999208602</c:v>
                </c:pt>
                <c:pt idx="9421">
                  <c:v>6.1331476221448185</c:v>
                </c:pt>
                <c:pt idx="9422">
                  <c:v>6.1735851685575733</c:v>
                </c:pt>
                <c:pt idx="9423">
                  <c:v>6.0271286245625406</c:v>
                </c:pt>
                <c:pt idx="9424">
                  <c:v>6.0155762882011059</c:v>
                </c:pt>
                <c:pt idx="9425">
                  <c:v>6.1017216095410927</c:v>
                </c:pt>
                <c:pt idx="9426">
                  <c:v>6.188951324438662</c:v>
                </c:pt>
                <c:pt idx="9427">
                  <c:v>6.0239966096851738</c:v>
                </c:pt>
                <c:pt idx="9428">
                  <c:v>5.9555689637590232</c:v>
                </c:pt>
                <c:pt idx="9429">
                  <c:v>5.8562496868889387</c:v>
                </c:pt>
                <c:pt idx="9430">
                  <c:v>6.0483466838639339</c:v>
                </c:pt>
                <c:pt idx="9431">
                  <c:v>6.0192772795212939</c:v>
                </c:pt>
                <c:pt idx="9432">
                  <c:v>4.9777883743836515</c:v>
                </c:pt>
                <c:pt idx="9433">
                  <c:v>5.9586354891367979</c:v>
                </c:pt>
                <c:pt idx="9434">
                  <c:v>4.8361223390696884</c:v>
                </c:pt>
                <c:pt idx="9435">
                  <c:v>6.084970608438236</c:v>
                </c:pt>
                <c:pt idx="9436">
                  <c:v>5.8865146361122456</c:v>
                </c:pt>
                <c:pt idx="9437">
                  <c:v>6.1051929144906421</c:v>
                </c:pt>
                <c:pt idx="9438">
                  <c:v>5.9919165395456293</c:v>
                </c:pt>
                <c:pt idx="9439">
                  <c:v>4.9418020001555263</c:v>
                </c:pt>
                <c:pt idx="9440">
                  <c:v>4.9934960320644031</c:v>
                </c:pt>
                <c:pt idx="9441">
                  <c:v>4.8294048293705547</c:v>
                </c:pt>
                <c:pt idx="9442">
                  <c:v>5.9986397389417094</c:v>
                </c:pt>
                <c:pt idx="9443">
                  <c:v>4.9224710384517003</c:v>
                </c:pt>
                <c:pt idx="9444">
                  <c:v>4.983526642317563</c:v>
                </c:pt>
                <c:pt idx="9445">
                  <c:v>5.9023068263653631</c:v>
                </c:pt>
                <c:pt idx="9446">
                  <c:v>4.9509595686726096</c:v>
                </c:pt>
                <c:pt idx="9447">
                  <c:v>5.0406878847988121</c:v>
                </c:pt>
                <c:pt idx="9448">
                  <c:v>3.944428474241636</c:v>
                </c:pt>
                <c:pt idx="9449">
                  <c:v>4.8772675652542263</c:v>
                </c:pt>
                <c:pt idx="9450">
                  <c:v>5.0295985202303886</c:v>
                </c:pt>
                <c:pt idx="9451">
                  <c:v>5.991222960522026</c:v>
                </c:pt>
                <c:pt idx="9452">
                  <c:v>5.0238572087070175</c:v>
                </c:pt>
                <c:pt idx="9453">
                  <c:v>5.0039022052323521</c:v>
                </c:pt>
                <c:pt idx="9454">
                  <c:v>4.9105575625197364</c:v>
                </c:pt>
                <c:pt idx="9455">
                  <c:v>5.8844446975979068</c:v>
                </c:pt>
                <c:pt idx="9456">
                  <c:v>4.8682911275439258</c:v>
                </c:pt>
                <c:pt idx="9457">
                  <c:v>5.9168272364416641</c:v>
                </c:pt>
                <c:pt idx="9458">
                  <c:v>4.9781474785323772</c:v>
                </c:pt>
                <c:pt idx="9459">
                  <c:v>5.9187901304447603</c:v>
                </c:pt>
                <c:pt idx="9460">
                  <c:v>6.0824664752011763</c:v>
                </c:pt>
                <c:pt idx="9461">
                  <c:v>5.9701615462900461</c:v>
                </c:pt>
                <c:pt idx="9462">
                  <c:v>5.0633526791567514</c:v>
                </c:pt>
                <c:pt idx="9463">
                  <c:v>5.9859817763603003</c:v>
                </c:pt>
                <c:pt idx="9464">
                  <c:v>5.9327644301687847</c:v>
                </c:pt>
                <c:pt idx="9465">
                  <c:v>6.0193959178871701</c:v>
                </c:pt>
                <c:pt idx="9466">
                  <c:v>6.0480152408495238</c:v>
                </c:pt>
                <c:pt idx="9467">
                  <c:v>5.892620758566526</c:v>
                </c:pt>
                <c:pt idx="9468">
                  <c:v>4.9593261160462561</c:v>
                </c:pt>
                <c:pt idx="9469">
                  <c:v>5.0339024383377788</c:v>
                </c:pt>
                <c:pt idx="9470">
                  <c:v>6.9747470096034236</c:v>
                </c:pt>
                <c:pt idx="9471">
                  <c:v>6.1797834135758647</c:v>
                </c:pt>
                <c:pt idx="9472">
                  <c:v>6.055744862128547</c:v>
                </c:pt>
                <c:pt idx="9473">
                  <c:v>6.0702325482102601</c:v>
                </c:pt>
                <c:pt idx="9474">
                  <c:v>5.8720201799542799</c:v>
                </c:pt>
                <c:pt idx="9475">
                  <c:v>4.9212887463236585</c:v>
                </c:pt>
                <c:pt idx="9476">
                  <c:v>6.017745833084013</c:v>
                </c:pt>
                <c:pt idx="9477">
                  <c:v>5.8728716965703809</c:v>
                </c:pt>
                <c:pt idx="9478">
                  <c:v>4.9279353180752077</c:v>
                </c:pt>
                <c:pt idx="9479">
                  <c:v>5.896823810916457</c:v>
                </c:pt>
                <c:pt idx="9480">
                  <c:v>6.0209592050873892</c:v>
                </c:pt>
                <c:pt idx="9481">
                  <c:v>5.9425130241092994</c:v>
                </c:pt>
                <c:pt idx="9482">
                  <c:v>5.9970219417556097</c:v>
                </c:pt>
                <c:pt idx="9483">
                  <c:v>5.902975406976962</c:v>
                </c:pt>
                <c:pt idx="9484">
                  <c:v>6.0990103927841703</c:v>
                </c:pt>
                <c:pt idx="9485">
                  <c:v>5.9441090785823079</c:v>
                </c:pt>
                <c:pt idx="9486">
                  <c:v>4.8407165206106928</c:v>
                </c:pt>
                <c:pt idx="9487">
                  <c:v>5.8464847263406474</c:v>
                </c:pt>
                <c:pt idx="9488">
                  <c:v>6.0594434816779108</c:v>
                </c:pt>
                <c:pt idx="9489">
                  <c:v>5.8783215463549947</c:v>
                </c:pt>
                <c:pt idx="9490">
                  <c:v>4.8961706261176055</c:v>
                </c:pt>
                <c:pt idx="9491">
                  <c:v>5.9057774491675739</c:v>
                </c:pt>
                <c:pt idx="9492">
                  <c:v>4.8025896814363724</c:v>
                </c:pt>
                <c:pt idx="9493">
                  <c:v>4.9605271352716533</c:v>
                </c:pt>
                <c:pt idx="9494">
                  <c:v>5.0511146312201767</c:v>
                </c:pt>
                <c:pt idx="9495">
                  <c:v>4.9346550413121095</c:v>
                </c:pt>
                <c:pt idx="9496">
                  <c:v>4.9327605489555388</c:v>
                </c:pt>
                <c:pt idx="9497">
                  <c:v>5.995718074989469</c:v>
                </c:pt>
                <c:pt idx="9498">
                  <c:v>4.8849067093701732</c:v>
                </c:pt>
                <c:pt idx="9499">
                  <c:v>6.0365754923650128</c:v>
                </c:pt>
                <c:pt idx="9500">
                  <c:v>6.036800925990633</c:v>
                </c:pt>
                <c:pt idx="9501">
                  <c:v>4.8747267807066983</c:v>
                </c:pt>
                <c:pt idx="9502">
                  <c:v>4.9687127977523851</c:v>
                </c:pt>
                <c:pt idx="9503">
                  <c:v>5.0656815788410166</c:v>
                </c:pt>
                <c:pt idx="9504">
                  <c:v>6.0707220437024736</c:v>
                </c:pt>
                <c:pt idx="9505">
                  <c:v>5.9145971954181391</c:v>
                </c:pt>
                <c:pt idx="9506">
                  <c:v>5.0557517526136913</c:v>
                </c:pt>
                <c:pt idx="9507">
                  <c:v>5.959431969825232</c:v>
                </c:pt>
                <c:pt idx="9508">
                  <c:v>6.1848700086664126</c:v>
                </c:pt>
                <c:pt idx="9509">
                  <c:v>5.8667082503699151</c:v>
                </c:pt>
                <c:pt idx="9510">
                  <c:v>5.9181852003688293</c:v>
                </c:pt>
                <c:pt idx="9511">
                  <c:v>6.029076446819098</c:v>
                </c:pt>
                <c:pt idx="9512">
                  <c:v>6.1525325908279527</c:v>
                </c:pt>
                <c:pt idx="9513">
                  <c:v>5.8120550246068374</c:v>
                </c:pt>
                <c:pt idx="9514">
                  <c:v>4.8883970020390972</c:v>
                </c:pt>
                <c:pt idx="9515">
                  <c:v>6.0520354051160901</c:v>
                </c:pt>
                <c:pt idx="9516">
                  <c:v>4.9525113715187654</c:v>
                </c:pt>
                <c:pt idx="9517">
                  <c:v>6.0195973518185513</c:v>
                </c:pt>
                <c:pt idx="9518">
                  <c:v>5.9278846115272668</c:v>
                </c:pt>
                <c:pt idx="9519">
                  <c:v>5.1073301320138889</c:v>
                </c:pt>
                <c:pt idx="9520">
                  <c:v>4.9514607373193558</c:v>
                </c:pt>
                <c:pt idx="9521">
                  <c:v>5.7958484302220246</c:v>
                </c:pt>
                <c:pt idx="9522">
                  <c:v>5.045074540983264</c:v>
                </c:pt>
                <c:pt idx="9523">
                  <c:v>5.9652220770019806</c:v>
                </c:pt>
                <c:pt idx="9524">
                  <c:v>6.8501535741504789</c:v>
                </c:pt>
                <c:pt idx="9525">
                  <c:v>4.9898074275078157</c:v>
                </c:pt>
                <c:pt idx="9526">
                  <c:v>5.7628364470026261</c:v>
                </c:pt>
                <c:pt idx="9527">
                  <c:v>6.1535345874946374</c:v>
                </c:pt>
                <c:pt idx="9528">
                  <c:v>6.0573829297901893</c:v>
                </c:pt>
                <c:pt idx="9529">
                  <c:v>4.9881826378371406</c:v>
                </c:pt>
                <c:pt idx="9530">
                  <c:v>5.8905518022422259</c:v>
                </c:pt>
                <c:pt idx="9531">
                  <c:v>5.0367077371156883</c:v>
                </c:pt>
                <c:pt idx="9532">
                  <c:v>7.0388162323667567</c:v>
                </c:pt>
                <c:pt idx="9533">
                  <c:v>5.0281821866617369</c:v>
                </c:pt>
                <c:pt idx="9534">
                  <c:v>5.9448166602648591</c:v>
                </c:pt>
                <c:pt idx="9535">
                  <c:v>5.9798737756582199</c:v>
                </c:pt>
                <c:pt idx="9536">
                  <c:v>5.9033784679259913</c:v>
                </c:pt>
                <c:pt idx="9537">
                  <c:v>5.096351254112875</c:v>
                </c:pt>
                <c:pt idx="9538">
                  <c:v>6.0933889978036397</c:v>
                </c:pt>
                <c:pt idx="9539">
                  <c:v>6.0084276076294509</c:v>
                </c:pt>
                <c:pt idx="9540">
                  <c:v>6.1027717353372566</c:v>
                </c:pt>
                <c:pt idx="9541">
                  <c:v>5.9182599619453331</c:v>
                </c:pt>
                <c:pt idx="9542">
                  <c:v>6.0926164225820596</c:v>
                </c:pt>
                <c:pt idx="9543">
                  <c:v>6.0553965528202784</c:v>
                </c:pt>
                <c:pt idx="9544">
                  <c:v>4.9478018430459301</c:v>
                </c:pt>
                <c:pt idx="9545">
                  <c:v>4.958013815038858</c:v>
                </c:pt>
                <c:pt idx="9546">
                  <c:v>6.0062655402069467</c:v>
                </c:pt>
                <c:pt idx="9547">
                  <c:v>5.0830315078096611</c:v>
                </c:pt>
                <c:pt idx="9548">
                  <c:v>5.0241491775903544</c:v>
                </c:pt>
                <c:pt idx="9549">
                  <c:v>5.1764396542500366</c:v>
                </c:pt>
                <c:pt idx="9550">
                  <c:v>4.9761973238424728</c:v>
                </c:pt>
                <c:pt idx="9551">
                  <c:v>5.9069100976152944</c:v>
                </c:pt>
                <c:pt idx="9552">
                  <c:v>5.9872119891897846</c:v>
                </c:pt>
                <c:pt idx="9553">
                  <c:v>5.9545142207918174</c:v>
                </c:pt>
                <c:pt idx="9554">
                  <c:v>4.9129931260762216</c:v>
                </c:pt>
                <c:pt idx="9555">
                  <c:v>6.1074368603974589</c:v>
                </c:pt>
                <c:pt idx="9556">
                  <c:v>5.9868174790355839</c:v>
                </c:pt>
                <c:pt idx="9557">
                  <c:v>5.0625852847246193</c:v>
                </c:pt>
                <c:pt idx="9558">
                  <c:v>5.7997029589732678</c:v>
                </c:pt>
                <c:pt idx="9559">
                  <c:v>6.2164413936191032</c:v>
                </c:pt>
                <c:pt idx="9560">
                  <c:v>5.9769658218791397</c:v>
                </c:pt>
                <c:pt idx="9561">
                  <c:v>5.9307619361838153</c:v>
                </c:pt>
                <c:pt idx="9562">
                  <c:v>4.9730491138721389</c:v>
                </c:pt>
                <c:pt idx="9563">
                  <c:v>4.9367022279817441</c:v>
                </c:pt>
                <c:pt idx="9564">
                  <c:v>5.0604217405147311</c:v>
                </c:pt>
                <c:pt idx="9565">
                  <c:v>5.0752902489179421</c:v>
                </c:pt>
                <c:pt idx="9566">
                  <c:v>5.1079800478202282</c:v>
                </c:pt>
                <c:pt idx="9567">
                  <c:v>5.89585502920177</c:v>
                </c:pt>
                <c:pt idx="9568">
                  <c:v>5.9695042476128801</c:v>
                </c:pt>
                <c:pt idx="9569">
                  <c:v>4.8964764606295352</c:v>
                </c:pt>
                <c:pt idx="9570">
                  <c:v>5.8916186481867463</c:v>
                </c:pt>
                <c:pt idx="9571">
                  <c:v>5.1131915397386347</c:v>
                </c:pt>
                <c:pt idx="9572">
                  <c:v>7.2229033074165399</c:v>
                </c:pt>
                <c:pt idx="9573">
                  <c:v>4.9106854274989482</c:v>
                </c:pt>
                <c:pt idx="9574">
                  <c:v>5.959324814907494</c:v>
                </c:pt>
                <c:pt idx="9575">
                  <c:v>4.9173301765921025</c:v>
                </c:pt>
                <c:pt idx="9576">
                  <c:v>4.9281158798215232</c:v>
                </c:pt>
                <c:pt idx="9577">
                  <c:v>4.909810509952</c:v>
                </c:pt>
                <c:pt idx="9578">
                  <c:v>7.0499919844381411</c:v>
                </c:pt>
                <c:pt idx="9579">
                  <c:v>5.0346564740789335</c:v>
                </c:pt>
                <c:pt idx="9580">
                  <c:v>6.1680101060219474</c:v>
                </c:pt>
                <c:pt idx="9581">
                  <c:v>5.9869562134549374</c:v>
                </c:pt>
                <c:pt idx="9582">
                  <c:v>6.0944634497838654</c:v>
                </c:pt>
                <c:pt idx="9583">
                  <c:v>6.9416236674722462</c:v>
                </c:pt>
                <c:pt idx="9584">
                  <c:v>4.97809365948733</c:v>
                </c:pt>
                <c:pt idx="9585">
                  <c:v>6.0954520406739379</c:v>
                </c:pt>
                <c:pt idx="9586">
                  <c:v>5.1100323107031294</c:v>
                </c:pt>
                <c:pt idx="9587">
                  <c:v>4.875755286559782</c:v>
                </c:pt>
                <c:pt idx="9588">
                  <c:v>5.8645507332857765</c:v>
                </c:pt>
                <c:pt idx="9589">
                  <c:v>5.01134876832859</c:v>
                </c:pt>
                <c:pt idx="9590">
                  <c:v>4.9742169755061223</c:v>
                </c:pt>
                <c:pt idx="9591">
                  <c:v>4.9620506980466565</c:v>
                </c:pt>
                <c:pt idx="9592">
                  <c:v>4.8840745922839881</c:v>
                </c:pt>
                <c:pt idx="9593">
                  <c:v>4.8623253758850637</c:v>
                </c:pt>
                <c:pt idx="9594">
                  <c:v>5.9833208523981991</c:v>
                </c:pt>
                <c:pt idx="9595">
                  <c:v>4.8695541658142636</c:v>
                </c:pt>
                <c:pt idx="9596">
                  <c:v>4.9914489563769466</c:v>
                </c:pt>
                <c:pt idx="9597">
                  <c:v>5.9811449277498223</c:v>
                </c:pt>
                <c:pt idx="9598">
                  <c:v>5.9081567296161142</c:v>
                </c:pt>
                <c:pt idx="9599">
                  <c:v>6.0175823616327779</c:v>
                </c:pt>
                <c:pt idx="9600">
                  <c:v>5.198288968779508</c:v>
                </c:pt>
                <c:pt idx="9601">
                  <c:v>5.9712063654737317</c:v>
                </c:pt>
                <c:pt idx="9602">
                  <c:v>4.874666919640207</c:v>
                </c:pt>
                <c:pt idx="9603">
                  <c:v>5.0032475080935175</c:v>
                </c:pt>
                <c:pt idx="9604">
                  <c:v>5.191302973350588</c:v>
                </c:pt>
                <c:pt idx="9605">
                  <c:v>5.0671235851823093</c:v>
                </c:pt>
                <c:pt idx="9606">
                  <c:v>4.9608257349717055</c:v>
                </c:pt>
                <c:pt idx="9607">
                  <c:v>5.0771694301651884</c:v>
                </c:pt>
                <c:pt idx="9608">
                  <c:v>4.8773849698088254</c:v>
                </c:pt>
                <c:pt idx="9609">
                  <c:v>4.9341681318047375</c:v>
                </c:pt>
                <c:pt idx="9610">
                  <c:v>5.0470357347558075</c:v>
                </c:pt>
                <c:pt idx="9611">
                  <c:v>4.8803171246007571</c:v>
                </c:pt>
                <c:pt idx="9612">
                  <c:v>5.112508657072194</c:v>
                </c:pt>
                <c:pt idx="9613">
                  <c:v>6.0291298731421072</c:v>
                </c:pt>
                <c:pt idx="9614">
                  <c:v>6.0241011098763098</c:v>
                </c:pt>
                <c:pt idx="9615">
                  <c:v>4.8495104004409519</c:v>
                </c:pt>
                <c:pt idx="9616">
                  <c:v>4.8871614835024308</c:v>
                </c:pt>
                <c:pt idx="9617">
                  <c:v>5.1776936437651377</c:v>
                </c:pt>
                <c:pt idx="9618">
                  <c:v>6.037606003225978</c:v>
                </c:pt>
                <c:pt idx="9619">
                  <c:v>4.8898458086883165</c:v>
                </c:pt>
                <c:pt idx="9620">
                  <c:v>4.9679402881939128</c:v>
                </c:pt>
                <c:pt idx="9621">
                  <c:v>5.0942904879141482</c:v>
                </c:pt>
                <c:pt idx="9622">
                  <c:v>4.9860132981996319</c:v>
                </c:pt>
                <c:pt idx="9623">
                  <c:v>5.0565758450491884</c:v>
                </c:pt>
                <c:pt idx="9624">
                  <c:v>6.1440686774613367</c:v>
                </c:pt>
                <c:pt idx="9625">
                  <c:v>5.1052179101774673</c:v>
                </c:pt>
                <c:pt idx="9626">
                  <c:v>5.0491589518300533</c:v>
                </c:pt>
                <c:pt idx="9627">
                  <c:v>6.0123750036703036</c:v>
                </c:pt>
                <c:pt idx="9628">
                  <c:v>5.9902753861395981</c:v>
                </c:pt>
                <c:pt idx="9629">
                  <c:v>5.0886321256411993</c:v>
                </c:pt>
                <c:pt idx="9630">
                  <c:v>5.0313347782381364</c:v>
                </c:pt>
                <c:pt idx="9631">
                  <c:v>4.9124803058950981</c:v>
                </c:pt>
                <c:pt idx="9632">
                  <c:v>5.8976866242423487</c:v>
                </c:pt>
                <c:pt idx="9633">
                  <c:v>4.84761627809341</c:v>
                </c:pt>
                <c:pt idx="9634">
                  <c:v>4.8368340005499189</c:v>
                </c:pt>
                <c:pt idx="9635">
                  <c:v>5.984731997634622</c:v>
                </c:pt>
                <c:pt idx="9636">
                  <c:v>5.027724739599571</c:v>
                </c:pt>
                <c:pt idx="9637">
                  <c:v>4.1744310563943348</c:v>
                </c:pt>
                <c:pt idx="9638">
                  <c:v>3.9577292662010719</c:v>
                </c:pt>
                <c:pt idx="9639">
                  <c:v>6.0538970922257382</c:v>
                </c:pt>
                <c:pt idx="9640">
                  <c:v>4.903450830490339</c:v>
                </c:pt>
                <c:pt idx="9641">
                  <c:v>4.994189037171644</c:v>
                </c:pt>
                <c:pt idx="9642">
                  <c:v>5.0419981816805945</c:v>
                </c:pt>
                <c:pt idx="9643">
                  <c:v>6.0184929020275142</c:v>
                </c:pt>
                <c:pt idx="9644">
                  <c:v>6.0637274459309394</c:v>
                </c:pt>
                <c:pt idx="9645">
                  <c:v>5.0896405031641239</c:v>
                </c:pt>
                <c:pt idx="9646">
                  <c:v>6.0233967340870986</c:v>
                </c:pt>
                <c:pt idx="9647">
                  <c:v>5.1479324297306404</c:v>
                </c:pt>
                <c:pt idx="9648">
                  <c:v>4.9212749323737688</c:v>
                </c:pt>
                <c:pt idx="9649">
                  <c:v>4.9469616738614901</c:v>
                </c:pt>
                <c:pt idx="9650">
                  <c:v>4.9782707544500981</c:v>
                </c:pt>
                <c:pt idx="9651">
                  <c:v>5.2141645271826125</c:v>
                </c:pt>
                <c:pt idx="9652">
                  <c:v>6.9150795760375052</c:v>
                </c:pt>
                <c:pt idx="9653">
                  <c:v>5.9233506948836965</c:v>
                </c:pt>
                <c:pt idx="9654">
                  <c:v>4.8308054961409264</c:v>
                </c:pt>
                <c:pt idx="9655">
                  <c:v>6.112296889014071</c:v>
                </c:pt>
                <c:pt idx="9656">
                  <c:v>5.1404447643174871</c:v>
                </c:pt>
                <c:pt idx="9657">
                  <c:v>5.9721518245532135</c:v>
                </c:pt>
                <c:pt idx="9658">
                  <c:v>6.0877577865688375</c:v>
                </c:pt>
                <c:pt idx="9659">
                  <c:v>4.9153412271179153</c:v>
                </c:pt>
                <c:pt idx="9660">
                  <c:v>5.9907629328919318</c:v>
                </c:pt>
                <c:pt idx="9661">
                  <c:v>6.1488159384079548</c:v>
                </c:pt>
                <c:pt idx="9662">
                  <c:v>5.1659263377292293</c:v>
                </c:pt>
                <c:pt idx="9663">
                  <c:v>6.0667229014591664</c:v>
                </c:pt>
                <c:pt idx="9664">
                  <c:v>6.0836614166439951</c:v>
                </c:pt>
                <c:pt idx="9665">
                  <c:v>4.9253316826150408</c:v>
                </c:pt>
                <c:pt idx="9666">
                  <c:v>5.0768624288872024</c:v>
                </c:pt>
                <c:pt idx="9667">
                  <c:v>5.0346494847623173</c:v>
                </c:pt>
                <c:pt idx="9668">
                  <c:v>5.9704368783994832</c:v>
                </c:pt>
                <c:pt idx="9669">
                  <c:v>4.8174365782958191</c:v>
                </c:pt>
                <c:pt idx="9670">
                  <c:v>5.212637437375089</c:v>
                </c:pt>
                <c:pt idx="9671">
                  <c:v>5.9046818436135906</c:v>
                </c:pt>
                <c:pt idx="9672">
                  <c:v>4.9884676219646504</c:v>
                </c:pt>
                <c:pt idx="9673">
                  <c:v>6.0268604177681304</c:v>
                </c:pt>
                <c:pt idx="9674">
                  <c:v>5.8700013399919868</c:v>
                </c:pt>
                <c:pt idx="9675">
                  <c:v>6.1494510769544801</c:v>
                </c:pt>
                <c:pt idx="9676">
                  <c:v>6.0549535218244337</c:v>
                </c:pt>
                <c:pt idx="9677">
                  <c:v>5.9608687769394839</c:v>
                </c:pt>
                <c:pt idx="9678">
                  <c:v>5.948865511527166</c:v>
                </c:pt>
                <c:pt idx="9679">
                  <c:v>6.0563991640296857</c:v>
                </c:pt>
                <c:pt idx="9680">
                  <c:v>5.0618195095464946</c:v>
                </c:pt>
                <c:pt idx="9681">
                  <c:v>5.895462981265621</c:v>
                </c:pt>
                <c:pt idx="9682">
                  <c:v>4.0023356133864905</c:v>
                </c:pt>
                <c:pt idx="9683">
                  <c:v>4.0195888370899899</c:v>
                </c:pt>
                <c:pt idx="9684">
                  <c:v>6.8932439663567182</c:v>
                </c:pt>
                <c:pt idx="9685">
                  <c:v>5.9319840812289222</c:v>
                </c:pt>
                <c:pt idx="9686">
                  <c:v>6.0106733027640455</c:v>
                </c:pt>
                <c:pt idx="9687">
                  <c:v>5.9732357913415415</c:v>
                </c:pt>
                <c:pt idx="9688">
                  <c:v>6.1314103404013949</c:v>
                </c:pt>
                <c:pt idx="9689">
                  <c:v>5.9153728966973906</c:v>
                </c:pt>
                <c:pt idx="9690">
                  <c:v>6.2025711188714698</c:v>
                </c:pt>
                <c:pt idx="9691">
                  <c:v>5.8519443906149879</c:v>
                </c:pt>
                <c:pt idx="9692">
                  <c:v>6.1657510797163253</c:v>
                </c:pt>
                <c:pt idx="9693">
                  <c:v>5.1447120220490348</c:v>
                </c:pt>
                <c:pt idx="9694">
                  <c:v>5.0017707735617076</c:v>
                </c:pt>
                <c:pt idx="9695">
                  <c:v>5.1266142085281796</c:v>
                </c:pt>
                <c:pt idx="9696">
                  <c:v>4.9671457049824514</c:v>
                </c:pt>
                <c:pt idx="9697">
                  <c:v>5.0594448625168651</c:v>
                </c:pt>
                <c:pt idx="9698">
                  <c:v>4.8632927151421601</c:v>
                </c:pt>
                <c:pt idx="9699">
                  <c:v>5.9010825379645961</c:v>
                </c:pt>
                <c:pt idx="9700">
                  <c:v>5.001750966358073</c:v>
                </c:pt>
                <c:pt idx="9701">
                  <c:v>6.0402284179155439</c:v>
                </c:pt>
                <c:pt idx="9702">
                  <c:v>5.9830160766646543</c:v>
                </c:pt>
                <c:pt idx="9703">
                  <c:v>5.8424753190606129</c:v>
                </c:pt>
                <c:pt idx="9704">
                  <c:v>6.069950807879736</c:v>
                </c:pt>
                <c:pt idx="9705">
                  <c:v>6.0391263157196171</c:v>
                </c:pt>
                <c:pt idx="9706">
                  <c:v>6.0564201690562127</c:v>
                </c:pt>
                <c:pt idx="9707">
                  <c:v>5.0321259255561213</c:v>
                </c:pt>
                <c:pt idx="9708">
                  <c:v>4.0307375105215568</c:v>
                </c:pt>
                <c:pt idx="9709">
                  <c:v>4.8137673704146149</c:v>
                </c:pt>
                <c:pt idx="9710">
                  <c:v>5.9062480380493172</c:v>
                </c:pt>
                <c:pt idx="9711">
                  <c:v>5.1590251931376132</c:v>
                </c:pt>
                <c:pt idx="9712">
                  <c:v>5.9915768043177611</c:v>
                </c:pt>
                <c:pt idx="9713">
                  <c:v>5.9535546918861106</c:v>
                </c:pt>
                <c:pt idx="9714">
                  <c:v>5.9741507033697818</c:v>
                </c:pt>
                <c:pt idx="9715">
                  <c:v>6.0071455592914047</c:v>
                </c:pt>
                <c:pt idx="9716">
                  <c:v>2.910928797674746</c:v>
                </c:pt>
                <c:pt idx="9717">
                  <c:v>5.8545744685034675</c:v>
                </c:pt>
                <c:pt idx="9718">
                  <c:v>5.9939939577005674</c:v>
                </c:pt>
                <c:pt idx="9719">
                  <c:v>2.9094285139093632</c:v>
                </c:pt>
                <c:pt idx="9720">
                  <c:v>5.1022514293502459</c:v>
                </c:pt>
                <c:pt idx="9721">
                  <c:v>2.9703911315938614</c:v>
                </c:pt>
                <c:pt idx="9722">
                  <c:v>5.0450301965538467</c:v>
                </c:pt>
                <c:pt idx="9723">
                  <c:v>5.9875685542552928</c:v>
                </c:pt>
                <c:pt idx="9724">
                  <c:v>5.9322766514047212</c:v>
                </c:pt>
                <c:pt idx="9725">
                  <c:v>5.9382197137468946</c:v>
                </c:pt>
                <c:pt idx="9726">
                  <c:v>4.9375824157219146</c:v>
                </c:pt>
                <c:pt idx="9727">
                  <c:v>4.8856599388567332</c:v>
                </c:pt>
                <c:pt idx="9728">
                  <c:v>5.9735814021808373</c:v>
                </c:pt>
                <c:pt idx="9729">
                  <c:v>6.0663845087494552</c:v>
                </c:pt>
                <c:pt idx="9730">
                  <c:v>6.9092863659930241</c:v>
                </c:pt>
                <c:pt idx="9731">
                  <c:v>5.9505231250166597</c:v>
                </c:pt>
                <c:pt idx="9732">
                  <c:v>5.9630228614957552</c:v>
                </c:pt>
                <c:pt idx="9733">
                  <c:v>4.9484497463167596</c:v>
                </c:pt>
                <c:pt idx="9734">
                  <c:v>5.1166721484342945</c:v>
                </c:pt>
                <c:pt idx="9735">
                  <c:v>6.24630205695372</c:v>
                </c:pt>
                <c:pt idx="9736">
                  <c:v>4.9571740434828504</c:v>
                </c:pt>
                <c:pt idx="9737">
                  <c:v>5.9670102431938732</c:v>
                </c:pt>
                <c:pt idx="9738">
                  <c:v>6.0629113960026375</c:v>
                </c:pt>
                <c:pt idx="9739">
                  <c:v>6.0154910043138257</c:v>
                </c:pt>
                <c:pt idx="9740">
                  <c:v>6.0621850351185094</c:v>
                </c:pt>
                <c:pt idx="9741">
                  <c:v>5.9293206374421992</c:v>
                </c:pt>
                <c:pt idx="9742">
                  <c:v>5.9942309630383832</c:v>
                </c:pt>
                <c:pt idx="9743">
                  <c:v>6.8795675695445606</c:v>
                </c:pt>
                <c:pt idx="9744">
                  <c:v>6.0254596542420078</c:v>
                </c:pt>
                <c:pt idx="9745">
                  <c:v>6.0277643444637219</c:v>
                </c:pt>
                <c:pt idx="9746">
                  <c:v>5.9505226522633841</c:v>
                </c:pt>
                <c:pt idx="9747">
                  <c:v>6.0401224733741383</c:v>
                </c:pt>
                <c:pt idx="9748">
                  <c:v>5.0256835848171102</c:v>
                </c:pt>
                <c:pt idx="9749">
                  <c:v>4.9072874591944631</c:v>
                </c:pt>
                <c:pt idx="9750">
                  <c:v>4.8281322478726798</c:v>
                </c:pt>
                <c:pt idx="9751">
                  <c:v>6.1047456188203046</c:v>
                </c:pt>
                <c:pt idx="9752">
                  <c:v>5.0662739683800462</c:v>
                </c:pt>
                <c:pt idx="9753">
                  <c:v>5.087634730296803</c:v>
                </c:pt>
                <c:pt idx="9754">
                  <c:v>1.9318062446772142</c:v>
                </c:pt>
                <c:pt idx="9755">
                  <c:v>1.9606230070228625</c:v>
                </c:pt>
                <c:pt idx="9756">
                  <c:v>6.0218019749832177</c:v>
                </c:pt>
                <c:pt idx="9757">
                  <c:v>5.0144398548965166</c:v>
                </c:pt>
                <c:pt idx="9758">
                  <c:v>5.0871416233646904</c:v>
                </c:pt>
                <c:pt idx="9759">
                  <c:v>5.0024939107788811</c:v>
                </c:pt>
                <c:pt idx="9760">
                  <c:v>5.0325478315521313</c:v>
                </c:pt>
                <c:pt idx="9761">
                  <c:v>6.1428066109479307</c:v>
                </c:pt>
                <c:pt idx="9762">
                  <c:v>5.8764656030808284</c:v>
                </c:pt>
                <c:pt idx="9763">
                  <c:v>4.8256747870335932</c:v>
                </c:pt>
                <c:pt idx="9764">
                  <c:v>5.8732703808195392</c:v>
                </c:pt>
                <c:pt idx="9765">
                  <c:v>6.0765664350321851</c:v>
                </c:pt>
                <c:pt idx="9766">
                  <c:v>6.9280002187633194</c:v>
                </c:pt>
                <c:pt idx="9767">
                  <c:v>5.9583949927576425</c:v>
                </c:pt>
                <c:pt idx="9768">
                  <c:v>5.0469478070828515</c:v>
                </c:pt>
                <c:pt idx="9769">
                  <c:v>6.0455423603405762</c:v>
                </c:pt>
                <c:pt idx="9770">
                  <c:v>5.931844452027188</c:v>
                </c:pt>
                <c:pt idx="9771">
                  <c:v>6.0635631804431753</c:v>
                </c:pt>
                <c:pt idx="9772">
                  <c:v>6.0921419761633739</c:v>
                </c:pt>
                <c:pt idx="9773">
                  <c:v>5.9314542139130557</c:v>
                </c:pt>
                <c:pt idx="9774">
                  <c:v>6.0511470707270858</c:v>
                </c:pt>
                <c:pt idx="9775">
                  <c:v>5.980303433427606</c:v>
                </c:pt>
                <c:pt idx="9776">
                  <c:v>6.2146487476230359</c:v>
                </c:pt>
                <c:pt idx="9777">
                  <c:v>5.9994325056539299</c:v>
                </c:pt>
                <c:pt idx="9778">
                  <c:v>4.8369598595527599</c:v>
                </c:pt>
                <c:pt idx="9779">
                  <c:v>3.0798320571685172</c:v>
                </c:pt>
                <c:pt idx="9780">
                  <c:v>6.1223342654138149</c:v>
                </c:pt>
                <c:pt idx="9781">
                  <c:v>6.0319020264165752</c:v>
                </c:pt>
                <c:pt idx="9782">
                  <c:v>5.9828905367394878</c:v>
                </c:pt>
                <c:pt idx="9783">
                  <c:v>5.0001101872250047</c:v>
                </c:pt>
                <c:pt idx="9784">
                  <c:v>5.023035920134828</c:v>
                </c:pt>
                <c:pt idx="9785">
                  <c:v>5.9090265810320286</c:v>
                </c:pt>
                <c:pt idx="9786">
                  <c:v>6.1523296822791345</c:v>
                </c:pt>
                <c:pt idx="9787">
                  <c:v>6.0188021656956554</c:v>
                </c:pt>
                <c:pt idx="9788">
                  <c:v>5.9596734903953781</c:v>
                </c:pt>
                <c:pt idx="9789">
                  <c:v>5.8996267807317402</c:v>
                </c:pt>
                <c:pt idx="9790">
                  <c:v>5.1008272776409074</c:v>
                </c:pt>
                <c:pt idx="9791">
                  <c:v>5.9922937094435316</c:v>
                </c:pt>
                <c:pt idx="9792">
                  <c:v>5.9749488014842767</c:v>
                </c:pt>
                <c:pt idx="9793">
                  <c:v>5.6959144752045718</c:v>
                </c:pt>
                <c:pt idx="9794">
                  <c:v>5.8755152082816249</c:v>
                </c:pt>
                <c:pt idx="9795">
                  <c:v>6.1311238247973012</c:v>
                </c:pt>
                <c:pt idx="9796">
                  <c:v>6.1733875071755699</c:v>
                </c:pt>
                <c:pt idx="9797">
                  <c:v>6.0888786413494458</c:v>
                </c:pt>
                <c:pt idx="9798">
                  <c:v>5.9360178171359212</c:v>
                </c:pt>
                <c:pt idx="9799">
                  <c:v>5.9857854339549865</c:v>
                </c:pt>
                <c:pt idx="9800">
                  <c:v>5.8215118859532851</c:v>
                </c:pt>
                <c:pt idx="9801">
                  <c:v>4.8976600751388748</c:v>
                </c:pt>
                <c:pt idx="9802">
                  <c:v>6.0775666525805008</c:v>
                </c:pt>
                <c:pt idx="9803">
                  <c:v>5.8794327093285021</c:v>
                </c:pt>
                <c:pt idx="9804">
                  <c:v>6.1230797876485319</c:v>
                </c:pt>
                <c:pt idx="9805">
                  <c:v>6.0898244579866381</c:v>
                </c:pt>
                <c:pt idx="9806">
                  <c:v>6.1292865334461153</c:v>
                </c:pt>
                <c:pt idx="9807">
                  <c:v>6.8912665204084602</c:v>
                </c:pt>
                <c:pt idx="9808">
                  <c:v>4.9953563705557782</c:v>
                </c:pt>
                <c:pt idx="9809">
                  <c:v>6.1182209975938511</c:v>
                </c:pt>
                <c:pt idx="9810">
                  <c:v>4.9081860045229933</c:v>
                </c:pt>
                <c:pt idx="9811">
                  <c:v>5.9255479884870734</c:v>
                </c:pt>
                <c:pt idx="9812">
                  <c:v>6.1390118427808602</c:v>
                </c:pt>
                <c:pt idx="9813">
                  <c:v>2.9826318074555243</c:v>
                </c:pt>
                <c:pt idx="9814">
                  <c:v>6.0547081412299466</c:v>
                </c:pt>
                <c:pt idx="9815">
                  <c:v>4.9572762579147689</c:v>
                </c:pt>
                <c:pt idx="9816">
                  <c:v>5.9239390985265521</c:v>
                </c:pt>
                <c:pt idx="9817">
                  <c:v>5.7519619650314375</c:v>
                </c:pt>
                <c:pt idx="9818">
                  <c:v>6.2028820949355854</c:v>
                </c:pt>
                <c:pt idx="9819">
                  <c:v>5.0341353079234468</c:v>
                </c:pt>
                <c:pt idx="9820">
                  <c:v>6.1165638239583835</c:v>
                </c:pt>
                <c:pt idx="9821">
                  <c:v>5.9158527929723279</c:v>
                </c:pt>
                <c:pt idx="9822">
                  <c:v>5.1532778430541644</c:v>
                </c:pt>
                <c:pt idx="9823">
                  <c:v>5.9132037800151194</c:v>
                </c:pt>
                <c:pt idx="9824">
                  <c:v>6.0577015148612752</c:v>
                </c:pt>
                <c:pt idx="9825">
                  <c:v>6.1453218422314411</c:v>
                </c:pt>
                <c:pt idx="9826">
                  <c:v>5.8780441119279692</c:v>
                </c:pt>
                <c:pt idx="9827">
                  <c:v>5.0898211600746697</c:v>
                </c:pt>
                <c:pt idx="9828">
                  <c:v>4.7578697175007987</c:v>
                </c:pt>
                <c:pt idx="9829">
                  <c:v>5.8773914584027871</c:v>
                </c:pt>
                <c:pt idx="9830">
                  <c:v>4.9777544546879096</c:v>
                </c:pt>
                <c:pt idx="9831">
                  <c:v>7.0603775218910076</c:v>
                </c:pt>
                <c:pt idx="9832">
                  <c:v>4.9617571172863748</c:v>
                </c:pt>
                <c:pt idx="9833">
                  <c:v>4.7690818886301356</c:v>
                </c:pt>
                <c:pt idx="9834">
                  <c:v>5.0639666662545793</c:v>
                </c:pt>
                <c:pt idx="9835">
                  <c:v>5.9103073297297062</c:v>
                </c:pt>
                <c:pt idx="9836">
                  <c:v>4.901511774064395</c:v>
                </c:pt>
                <c:pt idx="9837">
                  <c:v>7.0478195845428226</c:v>
                </c:pt>
                <c:pt idx="9838">
                  <c:v>4.930654162940038</c:v>
                </c:pt>
                <c:pt idx="9839">
                  <c:v>6.0668582663435471</c:v>
                </c:pt>
                <c:pt idx="9840">
                  <c:v>5.1105253233302355</c:v>
                </c:pt>
                <c:pt idx="9841">
                  <c:v>4.886845324659534</c:v>
                </c:pt>
                <c:pt idx="9842">
                  <c:v>6.0761143650216303</c:v>
                </c:pt>
                <c:pt idx="9843">
                  <c:v>5.0043806633124257</c:v>
                </c:pt>
                <c:pt idx="9844">
                  <c:v>5.9221493277888788</c:v>
                </c:pt>
                <c:pt idx="9845">
                  <c:v>6.0307008428962954</c:v>
                </c:pt>
                <c:pt idx="9846">
                  <c:v>5.8562687437954972</c:v>
                </c:pt>
                <c:pt idx="9847">
                  <c:v>6.0480594746899259</c:v>
                </c:pt>
                <c:pt idx="9848">
                  <c:v>4.9466330381816705</c:v>
                </c:pt>
                <c:pt idx="9849">
                  <c:v>4.9796149380853851</c:v>
                </c:pt>
                <c:pt idx="9850">
                  <c:v>7.1569132313230632</c:v>
                </c:pt>
                <c:pt idx="9851">
                  <c:v>6.1128923051166444</c:v>
                </c:pt>
                <c:pt idx="9852">
                  <c:v>5.9502125667408468</c:v>
                </c:pt>
                <c:pt idx="9853">
                  <c:v>6.9157423045193456</c:v>
                </c:pt>
                <c:pt idx="9854">
                  <c:v>6.9264494554276048</c:v>
                </c:pt>
                <c:pt idx="9855">
                  <c:v>6.9091649133176594</c:v>
                </c:pt>
                <c:pt idx="9856">
                  <c:v>6.9731635292180085</c:v>
                </c:pt>
                <c:pt idx="9857">
                  <c:v>5.9602560536960709</c:v>
                </c:pt>
                <c:pt idx="9858">
                  <c:v>5.8376070096843327</c:v>
                </c:pt>
                <c:pt idx="9859">
                  <c:v>5.8861478829984346</c:v>
                </c:pt>
                <c:pt idx="9860">
                  <c:v>5.0835980224713211</c:v>
                </c:pt>
                <c:pt idx="9861">
                  <c:v>5.1322022267834848</c:v>
                </c:pt>
                <c:pt idx="9862">
                  <c:v>6.0010725437122074</c:v>
                </c:pt>
                <c:pt idx="9863">
                  <c:v>5.9783307431523101</c:v>
                </c:pt>
                <c:pt idx="9864">
                  <c:v>5.9980960179940821</c:v>
                </c:pt>
                <c:pt idx="9865">
                  <c:v>4.9468422950320692</c:v>
                </c:pt>
                <c:pt idx="9866">
                  <c:v>6.0147770726931267</c:v>
                </c:pt>
                <c:pt idx="9867">
                  <c:v>4.9097460768546517</c:v>
                </c:pt>
                <c:pt idx="9868">
                  <c:v>5.9039257171991046</c:v>
                </c:pt>
                <c:pt idx="9869">
                  <c:v>4.9909912885026273</c:v>
                </c:pt>
                <c:pt idx="9870">
                  <c:v>5.0146535424597509</c:v>
                </c:pt>
                <c:pt idx="9871">
                  <c:v>4.8131717474255886</c:v>
                </c:pt>
                <c:pt idx="9872">
                  <c:v>4.9633790287625539</c:v>
                </c:pt>
                <c:pt idx="9873">
                  <c:v>6.1142431012842033</c:v>
                </c:pt>
                <c:pt idx="9874">
                  <c:v>5.8763244752015567</c:v>
                </c:pt>
                <c:pt idx="9875">
                  <c:v>5.8388364499165624</c:v>
                </c:pt>
                <c:pt idx="9876">
                  <c:v>7.1046301498941418</c:v>
                </c:pt>
                <c:pt idx="9877">
                  <c:v>5.972548886359677</c:v>
                </c:pt>
                <c:pt idx="9878">
                  <c:v>6.048342722955474</c:v>
                </c:pt>
                <c:pt idx="9879">
                  <c:v>4.952522066866865</c:v>
                </c:pt>
                <c:pt idx="9880">
                  <c:v>4.9826683350540755</c:v>
                </c:pt>
                <c:pt idx="9881">
                  <c:v>5.9652673508392766</c:v>
                </c:pt>
                <c:pt idx="9882">
                  <c:v>5.9038698168317065</c:v>
                </c:pt>
                <c:pt idx="9883">
                  <c:v>6.1661174485551102</c:v>
                </c:pt>
                <c:pt idx="9884">
                  <c:v>5.8415401171338734</c:v>
                </c:pt>
                <c:pt idx="9885">
                  <c:v>5.189513837903946</c:v>
                </c:pt>
                <c:pt idx="9886">
                  <c:v>4.9751596529537609</c:v>
                </c:pt>
                <c:pt idx="9887">
                  <c:v>4.9729990429220194</c:v>
                </c:pt>
                <c:pt idx="9888">
                  <c:v>6.033076171140495</c:v>
                </c:pt>
                <c:pt idx="9889">
                  <c:v>5.1867645153668782</c:v>
                </c:pt>
                <c:pt idx="9890">
                  <c:v>6.0933615467137585</c:v>
                </c:pt>
                <c:pt idx="9891">
                  <c:v>6.9854275616051389</c:v>
                </c:pt>
                <c:pt idx="9892">
                  <c:v>4.9292678848736813</c:v>
                </c:pt>
                <c:pt idx="9893">
                  <c:v>5.0570349784204716</c:v>
                </c:pt>
                <c:pt idx="9894">
                  <c:v>5.0815593482239043</c:v>
                </c:pt>
                <c:pt idx="9895">
                  <c:v>4.9745899041734241</c:v>
                </c:pt>
                <c:pt idx="9896">
                  <c:v>5.8484542620734272</c:v>
                </c:pt>
                <c:pt idx="9897">
                  <c:v>5.0704523026256743</c:v>
                </c:pt>
                <c:pt idx="9898">
                  <c:v>5.8501077406930158</c:v>
                </c:pt>
                <c:pt idx="9899">
                  <c:v>5.94381934475597</c:v>
                </c:pt>
                <c:pt idx="9900">
                  <c:v>5.8401427567092767</c:v>
                </c:pt>
                <c:pt idx="9901">
                  <c:v>5.9379981793782184</c:v>
                </c:pt>
                <c:pt idx="9902">
                  <c:v>5.0708863194891443</c:v>
                </c:pt>
                <c:pt idx="9903">
                  <c:v>7.0468587245942826</c:v>
                </c:pt>
                <c:pt idx="9904">
                  <c:v>6.1204474927619978</c:v>
                </c:pt>
                <c:pt idx="9905">
                  <c:v>5.1401935672982422</c:v>
                </c:pt>
                <c:pt idx="9906">
                  <c:v>6.0195897854286899</c:v>
                </c:pt>
                <c:pt idx="9907">
                  <c:v>6.1245479774535339</c:v>
                </c:pt>
                <c:pt idx="9908">
                  <c:v>6.0486172548601651</c:v>
                </c:pt>
                <c:pt idx="9909">
                  <c:v>5.9802819735128514</c:v>
                </c:pt>
                <c:pt idx="9910">
                  <c:v>5.9876721478100725</c:v>
                </c:pt>
                <c:pt idx="9911">
                  <c:v>5.1201448859329064</c:v>
                </c:pt>
                <c:pt idx="9912">
                  <c:v>6.0198362413420554</c:v>
                </c:pt>
                <c:pt idx="9913">
                  <c:v>4.8232398819467361</c:v>
                </c:pt>
                <c:pt idx="9914">
                  <c:v>5.1415626600558548</c:v>
                </c:pt>
                <c:pt idx="9915">
                  <c:v>5.9887194735764631</c:v>
                </c:pt>
                <c:pt idx="9916">
                  <c:v>6.0792648328848351</c:v>
                </c:pt>
                <c:pt idx="9917">
                  <c:v>5.0925233680534925</c:v>
                </c:pt>
                <c:pt idx="9918">
                  <c:v>6.0702390286045373</c:v>
                </c:pt>
                <c:pt idx="9919">
                  <c:v>5.091668885905074</c:v>
                </c:pt>
                <c:pt idx="9920">
                  <c:v>5.0533998866209799</c:v>
                </c:pt>
                <c:pt idx="9921">
                  <c:v>4.9228771326102292</c:v>
                </c:pt>
                <c:pt idx="9922">
                  <c:v>5.0348827184673581</c:v>
                </c:pt>
                <c:pt idx="9923">
                  <c:v>5.2065220017705176</c:v>
                </c:pt>
                <c:pt idx="9924">
                  <c:v>5.9837435915548545</c:v>
                </c:pt>
                <c:pt idx="9925">
                  <c:v>5.9591819017650929</c:v>
                </c:pt>
                <c:pt idx="9926">
                  <c:v>4.9813898059429418</c:v>
                </c:pt>
                <c:pt idx="9927">
                  <c:v>6.7686933016470752</c:v>
                </c:pt>
                <c:pt idx="9928">
                  <c:v>5.9704769121431402</c:v>
                </c:pt>
                <c:pt idx="9929">
                  <c:v>5.9113674201641144</c:v>
                </c:pt>
                <c:pt idx="9930">
                  <c:v>7.009221592286897</c:v>
                </c:pt>
                <c:pt idx="9931">
                  <c:v>5.9280901741758036</c:v>
                </c:pt>
                <c:pt idx="9932">
                  <c:v>5.9184490170138151</c:v>
                </c:pt>
                <c:pt idx="9933">
                  <c:v>2.9649255073497107</c:v>
                </c:pt>
                <c:pt idx="9934">
                  <c:v>4.8453341003813684</c:v>
                </c:pt>
                <c:pt idx="9935">
                  <c:v>7.0495626251881349</c:v>
                </c:pt>
                <c:pt idx="9936">
                  <c:v>6.0988111205618063</c:v>
                </c:pt>
                <c:pt idx="9937">
                  <c:v>5.0043633950320174</c:v>
                </c:pt>
                <c:pt idx="9938">
                  <c:v>6.0134680903197468</c:v>
                </c:pt>
                <c:pt idx="9939">
                  <c:v>6.06222635590371</c:v>
                </c:pt>
                <c:pt idx="9940">
                  <c:v>7.0287566569185556</c:v>
                </c:pt>
                <c:pt idx="9941">
                  <c:v>7.008107956215107</c:v>
                </c:pt>
                <c:pt idx="9942">
                  <c:v>6.0892440918914774</c:v>
                </c:pt>
                <c:pt idx="9943">
                  <c:v>6.9323446248942471</c:v>
                </c:pt>
                <c:pt idx="9944">
                  <c:v>7.0769539138889535</c:v>
                </c:pt>
                <c:pt idx="9945">
                  <c:v>7.0606503132671667</c:v>
                </c:pt>
                <c:pt idx="9946">
                  <c:v>5.8694864719419364</c:v>
                </c:pt>
                <c:pt idx="9947">
                  <c:v>7.0689149509979643</c:v>
                </c:pt>
                <c:pt idx="9948">
                  <c:v>5.9187280736941243</c:v>
                </c:pt>
                <c:pt idx="9949">
                  <c:v>6.2195795508622815</c:v>
                </c:pt>
                <c:pt idx="9950">
                  <c:v>6.1140034589582468</c:v>
                </c:pt>
                <c:pt idx="9951">
                  <c:v>5.9860451192893969</c:v>
                </c:pt>
                <c:pt idx="9952">
                  <c:v>7.2148351896278271</c:v>
                </c:pt>
                <c:pt idx="9953">
                  <c:v>5.9346359860952269</c:v>
                </c:pt>
                <c:pt idx="9954">
                  <c:v>6.0775195380544247</c:v>
                </c:pt>
                <c:pt idx="9955">
                  <c:v>6.0817824321797413</c:v>
                </c:pt>
                <c:pt idx="9956">
                  <c:v>4.985405455999615</c:v>
                </c:pt>
                <c:pt idx="9957">
                  <c:v>6.0558110974774078</c:v>
                </c:pt>
                <c:pt idx="9958">
                  <c:v>6.0640618032481148</c:v>
                </c:pt>
                <c:pt idx="9959">
                  <c:v>5.0327922233456084</c:v>
                </c:pt>
                <c:pt idx="9960">
                  <c:v>4.8799047712171983</c:v>
                </c:pt>
                <c:pt idx="9961">
                  <c:v>5.8827142839585873</c:v>
                </c:pt>
                <c:pt idx="9962">
                  <c:v>7.1667314834160321</c:v>
                </c:pt>
                <c:pt idx="9963">
                  <c:v>6.0379292017036938</c:v>
                </c:pt>
                <c:pt idx="9964">
                  <c:v>3.9866178189481358</c:v>
                </c:pt>
                <c:pt idx="9965">
                  <c:v>6.017945931698522</c:v>
                </c:pt>
                <c:pt idx="9966">
                  <c:v>4.7930521464638041</c:v>
                </c:pt>
                <c:pt idx="9967">
                  <c:v>5.0280860640985532</c:v>
                </c:pt>
                <c:pt idx="9968">
                  <c:v>5.9107031771321301</c:v>
                </c:pt>
                <c:pt idx="9969">
                  <c:v>5.8619317161076561</c:v>
                </c:pt>
                <c:pt idx="9970">
                  <c:v>5.9057238368453744</c:v>
                </c:pt>
                <c:pt idx="9971">
                  <c:v>5.0448960433264762</c:v>
                </c:pt>
                <c:pt idx="9972">
                  <c:v>5.9203921558111841</c:v>
                </c:pt>
                <c:pt idx="9973">
                  <c:v>5.0609740598687054</c:v>
                </c:pt>
                <c:pt idx="9974">
                  <c:v>4.8062870700343794</c:v>
                </c:pt>
                <c:pt idx="9975">
                  <c:v>6.1836530558304617</c:v>
                </c:pt>
                <c:pt idx="9976">
                  <c:v>5.945332464714471</c:v>
                </c:pt>
                <c:pt idx="9977">
                  <c:v>5.9826591401860973</c:v>
                </c:pt>
                <c:pt idx="9978">
                  <c:v>5.8208818503719391</c:v>
                </c:pt>
                <c:pt idx="9979">
                  <c:v>4.7935964672882463</c:v>
                </c:pt>
                <c:pt idx="9980">
                  <c:v>5.0166442628072607</c:v>
                </c:pt>
                <c:pt idx="9981">
                  <c:v>7.1083400936942862</c:v>
                </c:pt>
                <c:pt idx="9982">
                  <c:v>6.0119678026741337</c:v>
                </c:pt>
                <c:pt idx="9983">
                  <c:v>4.9376097970428035</c:v>
                </c:pt>
                <c:pt idx="9984">
                  <c:v>6.0155524599628301</c:v>
                </c:pt>
                <c:pt idx="9985">
                  <c:v>4.8479288065266495</c:v>
                </c:pt>
                <c:pt idx="9986">
                  <c:v>5.8362538804783473</c:v>
                </c:pt>
                <c:pt idx="9987">
                  <c:v>5.0259264632241303</c:v>
                </c:pt>
                <c:pt idx="9988">
                  <c:v>4.799564993284565</c:v>
                </c:pt>
                <c:pt idx="9989">
                  <c:v>6.1198152819650558</c:v>
                </c:pt>
                <c:pt idx="9990">
                  <c:v>5.6169416928589255</c:v>
                </c:pt>
                <c:pt idx="9991">
                  <c:v>5.8898736550241617</c:v>
                </c:pt>
                <c:pt idx="9992">
                  <c:v>6.0667497014022107</c:v>
                </c:pt>
                <c:pt idx="9993">
                  <c:v>6.1337927630409501</c:v>
                </c:pt>
                <c:pt idx="9994">
                  <c:v>6.0855696743894558</c:v>
                </c:pt>
                <c:pt idx="9995">
                  <c:v>3.1908145412575264</c:v>
                </c:pt>
                <c:pt idx="9996">
                  <c:v>6.1772623401370668</c:v>
                </c:pt>
                <c:pt idx="9997">
                  <c:v>5.0780316735745474</c:v>
                </c:pt>
                <c:pt idx="9998">
                  <c:v>5.8781182371865794</c:v>
                </c:pt>
                <c:pt idx="9999">
                  <c:v>5.9363665325225909</c:v>
                </c:pt>
                <c:pt idx="10000">
                  <c:v>5.0808584126229865</c:v>
                </c:pt>
                <c:pt idx="10001">
                  <c:v>7.0900745858192069</c:v>
                </c:pt>
                <c:pt idx="10002">
                  <c:v>5.0909051977990867</c:v>
                </c:pt>
                <c:pt idx="10003">
                  <c:v>4.9664969742296794</c:v>
                </c:pt>
                <c:pt idx="10004">
                  <c:v>4.9657386890544712</c:v>
                </c:pt>
                <c:pt idx="10005">
                  <c:v>5.8663040370734132</c:v>
                </c:pt>
                <c:pt idx="10006">
                  <c:v>5.967652696996316</c:v>
                </c:pt>
                <c:pt idx="10007">
                  <c:v>5.9048239936226539</c:v>
                </c:pt>
                <c:pt idx="10008">
                  <c:v>6.0021809300005247</c:v>
                </c:pt>
                <c:pt idx="10009">
                  <c:v>6.2491629465409284</c:v>
                </c:pt>
                <c:pt idx="10010">
                  <c:v>6.0481894575655071</c:v>
                </c:pt>
                <c:pt idx="10011">
                  <c:v>7.0462024036923241</c:v>
                </c:pt>
                <c:pt idx="10012">
                  <c:v>7.0801742120688074</c:v>
                </c:pt>
                <c:pt idx="10013">
                  <c:v>6.0418515068407137</c:v>
                </c:pt>
                <c:pt idx="10014">
                  <c:v>6.1603466346300229</c:v>
                </c:pt>
                <c:pt idx="10015">
                  <c:v>4.0371857045636466</c:v>
                </c:pt>
                <c:pt idx="10016">
                  <c:v>5.8747183908183418</c:v>
                </c:pt>
                <c:pt idx="10017">
                  <c:v>4.9976802208051305</c:v>
                </c:pt>
                <c:pt idx="10018">
                  <c:v>5.9745786101329825</c:v>
                </c:pt>
                <c:pt idx="10019">
                  <c:v>4.8849136884146462</c:v>
                </c:pt>
                <c:pt idx="10020">
                  <c:v>6.041522988335509</c:v>
                </c:pt>
                <c:pt idx="10021">
                  <c:v>4.9939188175227835</c:v>
                </c:pt>
                <c:pt idx="10022">
                  <c:v>5.9699367689240805</c:v>
                </c:pt>
                <c:pt idx="10023">
                  <c:v>6.1068128676914766</c:v>
                </c:pt>
                <c:pt idx="10024">
                  <c:v>4.9611362718870051</c:v>
                </c:pt>
                <c:pt idx="10025">
                  <c:v>5.9475661868546883</c:v>
                </c:pt>
                <c:pt idx="10026">
                  <c:v>5.0025560353984222</c:v>
                </c:pt>
                <c:pt idx="10027">
                  <c:v>4.9797826387936368</c:v>
                </c:pt>
                <c:pt idx="10028">
                  <c:v>4.8500792269550654</c:v>
                </c:pt>
                <c:pt idx="10029">
                  <c:v>4.9446624622398501</c:v>
                </c:pt>
                <c:pt idx="10030">
                  <c:v>4.961190834764067</c:v>
                </c:pt>
                <c:pt idx="10031">
                  <c:v>4.6982688529750058</c:v>
                </c:pt>
                <c:pt idx="10032">
                  <c:v>5.9288851994724237</c:v>
                </c:pt>
                <c:pt idx="10033">
                  <c:v>6.0346426285074468</c:v>
                </c:pt>
                <c:pt idx="10034">
                  <c:v>5.0123750830661731</c:v>
                </c:pt>
                <c:pt idx="10035">
                  <c:v>6.1360767193862875</c:v>
                </c:pt>
                <c:pt idx="10036">
                  <c:v>5.9108655702214152</c:v>
                </c:pt>
                <c:pt idx="10037">
                  <c:v>4.9299398154828804</c:v>
                </c:pt>
                <c:pt idx="10038">
                  <c:v>5.9767216348388761</c:v>
                </c:pt>
                <c:pt idx="10039">
                  <c:v>6.0568485612141965</c:v>
                </c:pt>
                <c:pt idx="10040">
                  <c:v>4.9968929148418235</c:v>
                </c:pt>
                <c:pt idx="10041">
                  <c:v>6.0298734770212725</c:v>
                </c:pt>
                <c:pt idx="10042">
                  <c:v>4.8902672578702955</c:v>
                </c:pt>
                <c:pt idx="10043">
                  <c:v>5.1149758862392227</c:v>
                </c:pt>
                <c:pt idx="10044">
                  <c:v>4.928225006967268</c:v>
                </c:pt>
                <c:pt idx="10045">
                  <c:v>6.0209236698992861</c:v>
                </c:pt>
                <c:pt idx="10046">
                  <c:v>5.9379944133785063</c:v>
                </c:pt>
                <c:pt idx="10047">
                  <c:v>6.0365841943326988</c:v>
                </c:pt>
                <c:pt idx="10048">
                  <c:v>5.9186748343334967</c:v>
                </c:pt>
                <c:pt idx="10049">
                  <c:v>5.9848749391547598</c:v>
                </c:pt>
                <c:pt idx="10050">
                  <c:v>5.9885297924196284</c:v>
                </c:pt>
                <c:pt idx="10051">
                  <c:v>6.1148583681292115</c:v>
                </c:pt>
                <c:pt idx="10052">
                  <c:v>6.0693591964010558</c:v>
                </c:pt>
                <c:pt idx="10053">
                  <c:v>5.9006643505720788</c:v>
                </c:pt>
                <c:pt idx="10054">
                  <c:v>3.9259055474764768</c:v>
                </c:pt>
                <c:pt idx="10055">
                  <c:v>4.0689298915164231</c:v>
                </c:pt>
                <c:pt idx="10056">
                  <c:v>6.0532288863690455</c:v>
                </c:pt>
                <c:pt idx="10057">
                  <c:v>6.1332404679317154</c:v>
                </c:pt>
                <c:pt idx="10058">
                  <c:v>6.1199311509648346</c:v>
                </c:pt>
                <c:pt idx="10059">
                  <c:v>5.0423651701493473</c:v>
                </c:pt>
                <c:pt idx="10060">
                  <c:v>6.07597657436785</c:v>
                </c:pt>
                <c:pt idx="10061">
                  <c:v>5.0668468002964602</c:v>
                </c:pt>
                <c:pt idx="10062">
                  <c:v>4.9140837931016765</c:v>
                </c:pt>
                <c:pt idx="10063">
                  <c:v>5.9787283185719673</c:v>
                </c:pt>
                <c:pt idx="10064">
                  <c:v>5.0919810068831968</c:v>
                </c:pt>
                <c:pt idx="10065">
                  <c:v>4.9348380251385979</c:v>
                </c:pt>
                <c:pt idx="10066">
                  <c:v>6.0543779076096076</c:v>
                </c:pt>
                <c:pt idx="10067">
                  <c:v>4.972040098009578</c:v>
                </c:pt>
                <c:pt idx="10068">
                  <c:v>5.9207265090099046</c:v>
                </c:pt>
                <c:pt idx="10069">
                  <c:v>5.027879570092721</c:v>
                </c:pt>
                <c:pt idx="10070">
                  <c:v>4.8971491212648326</c:v>
                </c:pt>
                <c:pt idx="10071">
                  <c:v>6.1660673677659013</c:v>
                </c:pt>
                <c:pt idx="10072">
                  <c:v>5.9350071483226206</c:v>
                </c:pt>
                <c:pt idx="10073">
                  <c:v>5.1052442974725931</c:v>
                </c:pt>
                <c:pt idx="10074">
                  <c:v>5.0441848900684052</c:v>
                </c:pt>
                <c:pt idx="10075">
                  <c:v>6.1432107087445393</c:v>
                </c:pt>
                <c:pt idx="10076">
                  <c:v>5.9421360488959971</c:v>
                </c:pt>
                <c:pt idx="10077">
                  <c:v>5.8787387936503563</c:v>
                </c:pt>
                <c:pt idx="10078">
                  <c:v>5.0446123925194097</c:v>
                </c:pt>
                <c:pt idx="10079">
                  <c:v>6.1027135646240289</c:v>
                </c:pt>
                <c:pt idx="10080">
                  <c:v>5.8795420982884261</c:v>
                </c:pt>
                <c:pt idx="10081">
                  <c:v>5.9998690137810424</c:v>
                </c:pt>
                <c:pt idx="10082">
                  <c:v>4.9835528313246042</c:v>
                </c:pt>
                <c:pt idx="10083">
                  <c:v>5.0209097646377066</c:v>
                </c:pt>
                <c:pt idx="10084">
                  <c:v>6.0757183237323691</c:v>
                </c:pt>
                <c:pt idx="10085">
                  <c:v>6.0739533209631151</c:v>
                </c:pt>
                <c:pt idx="10086">
                  <c:v>5.868763212145014</c:v>
                </c:pt>
                <c:pt idx="10087">
                  <c:v>5.068972030697136</c:v>
                </c:pt>
                <c:pt idx="10088">
                  <c:v>5.9211916022915592</c:v>
                </c:pt>
                <c:pt idx="10089">
                  <c:v>6.0761859552141582</c:v>
                </c:pt>
                <c:pt idx="10090">
                  <c:v>4.9992367477290607</c:v>
                </c:pt>
                <c:pt idx="10091">
                  <c:v>5.8278888914487386</c:v>
                </c:pt>
                <c:pt idx="10092">
                  <c:v>6.064147588857784</c:v>
                </c:pt>
                <c:pt idx="10093">
                  <c:v>6.1422954407554373</c:v>
                </c:pt>
                <c:pt idx="10094">
                  <c:v>5.9055344609716274</c:v>
                </c:pt>
                <c:pt idx="10095">
                  <c:v>6.0443335972853784</c:v>
                </c:pt>
                <c:pt idx="10096">
                  <c:v>6.0401693990254843</c:v>
                </c:pt>
                <c:pt idx="10097">
                  <c:v>6.0853397652750223</c:v>
                </c:pt>
                <c:pt idx="10098">
                  <c:v>5.1155617224670502</c:v>
                </c:pt>
                <c:pt idx="10099">
                  <c:v>4.9993178925560438</c:v>
                </c:pt>
                <c:pt idx="10100">
                  <c:v>5.9418381998127954</c:v>
                </c:pt>
                <c:pt idx="10101">
                  <c:v>4.8691569055930559</c:v>
                </c:pt>
                <c:pt idx="10102">
                  <c:v>5.9849547322042573</c:v>
                </c:pt>
                <c:pt idx="10103">
                  <c:v>6.1386142353364708</c:v>
                </c:pt>
                <c:pt idx="10104">
                  <c:v>4.8836180784508985</c:v>
                </c:pt>
                <c:pt idx="10105">
                  <c:v>4.0327561585699545</c:v>
                </c:pt>
                <c:pt idx="10106">
                  <c:v>4.9880608409691618</c:v>
                </c:pt>
                <c:pt idx="10107">
                  <c:v>5.9180698912400933</c:v>
                </c:pt>
                <c:pt idx="10108">
                  <c:v>4.8309438264072773</c:v>
                </c:pt>
                <c:pt idx="10109">
                  <c:v>5.0990927205565812</c:v>
                </c:pt>
                <c:pt idx="10110">
                  <c:v>6.0442465670798686</c:v>
                </c:pt>
                <c:pt idx="10111">
                  <c:v>4.9995841539464516</c:v>
                </c:pt>
                <c:pt idx="10112">
                  <c:v>5.210368752037418</c:v>
                </c:pt>
                <c:pt idx="10113">
                  <c:v>5.6384333350631746</c:v>
                </c:pt>
                <c:pt idx="10114">
                  <c:v>4.8888773609341794</c:v>
                </c:pt>
                <c:pt idx="10115">
                  <c:v>6.0995576478429356</c:v>
                </c:pt>
                <c:pt idx="10116">
                  <c:v>5.9060808610781255</c:v>
                </c:pt>
                <c:pt idx="10117">
                  <c:v>5.8934394399043137</c:v>
                </c:pt>
                <c:pt idx="10118">
                  <c:v>5.0488683989552054</c:v>
                </c:pt>
                <c:pt idx="10119">
                  <c:v>5.2658874384098553</c:v>
                </c:pt>
                <c:pt idx="10120">
                  <c:v>4.9979114000040701</c:v>
                </c:pt>
                <c:pt idx="10121">
                  <c:v>5.9441523592555745</c:v>
                </c:pt>
                <c:pt idx="10122">
                  <c:v>6.1440352572387873</c:v>
                </c:pt>
                <c:pt idx="10123">
                  <c:v>6.1165539147622203</c:v>
                </c:pt>
                <c:pt idx="10124">
                  <c:v>4.941962220291769</c:v>
                </c:pt>
                <c:pt idx="10125">
                  <c:v>6.3244007163582605</c:v>
                </c:pt>
                <c:pt idx="10126">
                  <c:v>5.0215981489326031</c:v>
                </c:pt>
                <c:pt idx="10127">
                  <c:v>6.1224859035968215</c:v>
                </c:pt>
                <c:pt idx="10128">
                  <c:v>5.9802940002695903</c:v>
                </c:pt>
                <c:pt idx="10129">
                  <c:v>5.8014143173258965</c:v>
                </c:pt>
                <c:pt idx="10130">
                  <c:v>5.0256106887663821</c:v>
                </c:pt>
                <c:pt idx="10131">
                  <c:v>6.0531735302495662</c:v>
                </c:pt>
                <c:pt idx="10132">
                  <c:v>5.9158917686411119</c:v>
                </c:pt>
                <c:pt idx="10133">
                  <c:v>6.1337849553678456</c:v>
                </c:pt>
                <c:pt idx="10134">
                  <c:v>5.8935300330179485</c:v>
                </c:pt>
                <c:pt idx="10135">
                  <c:v>5.1160238185528222</c:v>
                </c:pt>
                <c:pt idx="10136">
                  <c:v>5.962045090774347</c:v>
                </c:pt>
                <c:pt idx="10137">
                  <c:v>5.9295622471551344</c:v>
                </c:pt>
                <c:pt idx="10138">
                  <c:v>6.2111500737390859</c:v>
                </c:pt>
                <c:pt idx="10139">
                  <c:v>6.0773862602345901</c:v>
                </c:pt>
                <c:pt idx="10140">
                  <c:v>5.918305641261064</c:v>
                </c:pt>
                <c:pt idx="10141">
                  <c:v>4.8957833020101127</c:v>
                </c:pt>
                <c:pt idx="10142">
                  <c:v>5.958013805071559</c:v>
                </c:pt>
                <c:pt idx="10143">
                  <c:v>5.9620225815309231</c:v>
                </c:pt>
                <c:pt idx="10144">
                  <c:v>5.9054683282802483</c:v>
                </c:pt>
                <c:pt idx="10145">
                  <c:v>6.0652546616665948</c:v>
                </c:pt>
                <c:pt idx="10146">
                  <c:v>5.8996698600809889</c:v>
                </c:pt>
                <c:pt idx="10147">
                  <c:v>6.1212827265745622</c:v>
                </c:pt>
                <c:pt idx="10148">
                  <c:v>6.0562038288241222</c:v>
                </c:pt>
                <c:pt idx="10149">
                  <c:v>4.9659465362898603</c:v>
                </c:pt>
                <c:pt idx="10150">
                  <c:v>6.0496821983571287</c:v>
                </c:pt>
                <c:pt idx="10151">
                  <c:v>5.9385423671956099</c:v>
                </c:pt>
                <c:pt idx="10152">
                  <c:v>6.1573795976789469</c:v>
                </c:pt>
                <c:pt idx="10153">
                  <c:v>6.1445682376186443</c:v>
                </c:pt>
                <c:pt idx="10154">
                  <c:v>6.0002716569403365</c:v>
                </c:pt>
                <c:pt idx="10155">
                  <c:v>4.9710853291414727</c:v>
                </c:pt>
                <c:pt idx="10156">
                  <c:v>5.9314610847512066</c:v>
                </c:pt>
                <c:pt idx="10157">
                  <c:v>5.0184346583364823</c:v>
                </c:pt>
                <c:pt idx="10158">
                  <c:v>5.0987078992085619</c:v>
                </c:pt>
                <c:pt idx="10159">
                  <c:v>5.055862778961604</c:v>
                </c:pt>
                <c:pt idx="10160">
                  <c:v>6.1607777842427041</c:v>
                </c:pt>
                <c:pt idx="10161">
                  <c:v>5.8680124266265432</c:v>
                </c:pt>
                <c:pt idx="10162">
                  <c:v>6.1398683069933506</c:v>
                </c:pt>
                <c:pt idx="10163">
                  <c:v>5.1662092366552326</c:v>
                </c:pt>
                <c:pt idx="10164">
                  <c:v>5.0448941388171278</c:v>
                </c:pt>
                <c:pt idx="10165">
                  <c:v>5.0006592271257686</c:v>
                </c:pt>
                <c:pt idx="10166">
                  <c:v>6.0301260396347667</c:v>
                </c:pt>
                <c:pt idx="10167">
                  <c:v>5.9371318332332343</c:v>
                </c:pt>
                <c:pt idx="10168">
                  <c:v>5.9717171263116224</c:v>
                </c:pt>
                <c:pt idx="10169">
                  <c:v>5.0274691511528751</c:v>
                </c:pt>
                <c:pt idx="10170">
                  <c:v>5.9920671864962847</c:v>
                </c:pt>
                <c:pt idx="10171">
                  <c:v>4.9904828522559992</c:v>
                </c:pt>
                <c:pt idx="10172">
                  <c:v>5.8034074563484399</c:v>
                </c:pt>
                <c:pt idx="10173">
                  <c:v>5.1101708808010295</c:v>
                </c:pt>
                <c:pt idx="10174">
                  <c:v>5.9963627233780326</c:v>
                </c:pt>
                <c:pt idx="10175">
                  <c:v>5.9837595050144659</c:v>
                </c:pt>
                <c:pt idx="10176">
                  <c:v>6.0811610516497208</c:v>
                </c:pt>
                <c:pt idx="10177">
                  <c:v>4.8565088772922387</c:v>
                </c:pt>
                <c:pt idx="10178">
                  <c:v>6.0274145697273065</c:v>
                </c:pt>
                <c:pt idx="10179">
                  <c:v>5.0804442514435308</c:v>
                </c:pt>
                <c:pt idx="10180">
                  <c:v>5.935654983413218</c:v>
                </c:pt>
                <c:pt idx="10181">
                  <c:v>5.7941874828588205</c:v>
                </c:pt>
                <c:pt idx="10182">
                  <c:v>7.0698192426026507</c:v>
                </c:pt>
                <c:pt idx="10183">
                  <c:v>4.8154297932175938</c:v>
                </c:pt>
                <c:pt idx="10184">
                  <c:v>4.6961537118565984</c:v>
                </c:pt>
                <c:pt idx="10185">
                  <c:v>5.9248970021510452</c:v>
                </c:pt>
                <c:pt idx="10186">
                  <c:v>5.9236159621185136</c:v>
                </c:pt>
                <c:pt idx="10187">
                  <c:v>6.9097689617105305</c:v>
                </c:pt>
                <c:pt idx="10188">
                  <c:v>5.0774166238954495</c:v>
                </c:pt>
                <c:pt idx="10189">
                  <c:v>4.9977516506772783</c:v>
                </c:pt>
                <c:pt idx="10190">
                  <c:v>4.0103290929034134</c:v>
                </c:pt>
                <c:pt idx="10191">
                  <c:v>4.9746239165967756</c:v>
                </c:pt>
                <c:pt idx="10192">
                  <c:v>6.0662959307254365</c:v>
                </c:pt>
                <c:pt idx="10193">
                  <c:v>5.8478957258113029</c:v>
                </c:pt>
                <c:pt idx="10194">
                  <c:v>5.9010153404709023</c:v>
                </c:pt>
                <c:pt idx="10195">
                  <c:v>6.1207589262258155</c:v>
                </c:pt>
                <c:pt idx="10196">
                  <c:v>5.1374095274086651</c:v>
                </c:pt>
                <c:pt idx="10197">
                  <c:v>4.989471163755371</c:v>
                </c:pt>
                <c:pt idx="10198">
                  <c:v>6.0688812213537027</c:v>
                </c:pt>
                <c:pt idx="10199">
                  <c:v>5.0056524415571788</c:v>
                </c:pt>
                <c:pt idx="10200">
                  <c:v>5.9124834718967065</c:v>
                </c:pt>
                <c:pt idx="10201">
                  <c:v>4.8900015606792362</c:v>
                </c:pt>
                <c:pt idx="10202">
                  <c:v>5.976890317386947</c:v>
                </c:pt>
                <c:pt idx="10203">
                  <c:v>6.1130804645550674</c:v>
                </c:pt>
                <c:pt idx="10204">
                  <c:v>4.9657748506795372</c:v>
                </c:pt>
                <c:pt idx="10205">
                  <c:v>7.2008410679181223</c:v>
                </c:pt>
                <c:pt idx="10206">
                  <c:v>6.0339271992630508</c:v>
                </c:pt>
                <c:pt idx="10207">
                  <c:v>5.972515874447172</c:v>
                </c:pt>
                <c:pt idx="10208">
                  <c:v>6.187744962276561</c:v>
                </c:pt>
                <c:pt idx="10209">
                  <c:v>6.0271015822479121</c:v>
                </c:pt>
                <c:pt idx="10210">
                  <c:v>6.0463246662702597</c:v>
                </c:pt>
                <c:pt idx="10211">
                  <c:v>6.1458864633291936</c:v>
                </c:pt>
                <c:pt idx="10212">
                  <c:v>5.8023135512237074</c:v>
                </c:pt>
                <c:pt idx="10213">
                  <c:v>6.8707561496933387</c:v>
                </c:pt>
                <c:pt idx="10214">
                  <c:v>5.8397852631015557</c:v>
                </c:pt>
                <c:pt idx="10215">
                  <c:v>6.1349234434746274</c:v>
                </c:pt>
                <c:pt idx="10216">
                  <c:v>6.0187351435097174</c:v>
                </c:pt>
                <c:pt idx="10217">
                  <c:v>5.9110382573539413</c:v>
                </c:pt>
                <c:pt idx="10218">
                  <c:v>3.9827345155077634</c:v>
                </c:pt>
                <c:pt idx="10219">
                  <c:v>6.0054334487267411</c:v>
                </c:pt>
                <c:pt idx="10220">
                  <c:v>6.1070330454806854</c:v>
                </c:pt>
                <c:pt idx="10221">
                  <c:v>5.100749438150368</c:v>
                </c:pt>
                <c:pt idx="10222">
                  <c:v>6.9520114975030625</c:v>
                </c:pt>
                <c:pt idx="10223">
                  <c:v>5.9349986737564393</c:v>
                </c:pt>
                <c:pt idx="10224">
                  <c:v>4.9190802430513445</c:v>
                </c:pt>
                <c:pt idx="10225">
                  <c:v>5.9067757198227655</c:v>
                </c:pt>
                <c:pt idx="10226">
                  <c:v>4.9843450339489825</c:v>
                </c:pt>
                <c:pt idx="10227">
                  <c:v>5.9656274310523125</c:v>
                </c:pt>
                <c:pt idx="10228">
                  <c:v>4.9560425719428967</c:v>
                </c:pt>
                <c:pt idx="10229">
                  <c:v>5.9001390221489149</c:v>
                </c:pt>
                <c:pt idx="10230">
                  <c:v>6.0743573840674516</c:v>
                </c:pt>
                <c:pt idx="10231">
                  <c:v>4.997530314975295</c:v>
                </c:pt>
                <c:pt idx="10232">
                  <c:v>5.9008974804770862</c:v>
                </c:pt>
                <c:pt idx="10233">
                  <c:v>6.1989648477635688</c:v>
                </c:pt>
                <c:pt idx="10234">
                  <c:v>6.0591067211941185</c:v>
                </c:pt>
                <c:pt idx="10235">
                  <c:v>5.9332150254692122</c:v>
                </c:pt>
                <c:pt idx="10236">
                  <c:v>5.0861583237969308</c:v>
                </c:pt>
                <c:pt idx="10237">
                  <c:v>6.1284148883493499</c:v>
                </c:pt>
                <c:pt idx="10238">
                  <c:v>5.9330006567828706</c:v>
                </c:pt>
                <c:pt idx="10239">
                  <c:v>5.9500876516607955</c:v>
                </c:pt>
                <c:pt idx="10240">
                  <c:v>6.2873966502633749</c:v>
                </c:pt>
                <c:pt idx="10241">
                  <c:v>5.9432188613967067</c:v>
                </c:pt>
                <c:pt idx="10242">
                  <c:v>5.0266931197963949</c:v>
                </c:pt>
                <c:pt idx="10243">
                  <c:v>4.8834563549532115</c:v>
                </c:pt>
                <c:pt idx="10244">
                  <c:v>4.7720821696258335</c:v>
                </c:pt>
                <c:pt idx="10245">
                  <c:v>5.1087683900230703</c:v>
                </c:pt>
                <c:pt idx="10246">
                  <c:v>4.9724908887291974</c:v>
                </c:pt>
                <c:pt idx="10247">
                  <c:v>6.0316392069841918</c:v>
                </c:pt>
                <c:pt idx="10248">
                  <c:v>3.9859885773260171</c:v>
                </c:pt>
                <c:pt idx="10249">
                  <c:v>4.8780335806028985</c:v>
                </c:pt>
                <c:pt idx="10250">
                  <c:v>5.0660218222585289</c:v>
                </c:pt>
                <c:pt idx="10251">
                  <c:v>4.8981850802972788</c:v>
                </c:pt>
                <c:pt idx="10252">
                  <c:v>4.8833192969767598</c:v>
                </c:pt>
                <c:pt idx="10253">
                  <c:v>6.1217062249262639</c:v>
                </c:pt>
                <c:pt idx="10254">
                  <c:v>6.0586600883995798</c:v>
                </c:pt>
                <c:pt idx="10255">
                  <c:v>5.0540770129965535</c:v>
                </c:pt>
                <c:pt idx="10256">
                  <c:v>6.0226821743643848</c:v>
                </c:pt>
                <c:pt idx="10257">
                  <c:v>5.9837071891710645</c:v>
                </c:pt>
                <c:pt idx="10258">
                  <c:v>5.1078209702364381</c:v>
                </c:pt>
                <c:pt idx="10259">
                  <c:v>4.9962298029263472</c:v>
                </c:pt>
                <c:pt idx="10260">
                  <c:v>5.191400169893166</c:v>
                </c:pt>
                <c:pt idx="10261">
                  <c:v>7.0790732509587819</c:v>
                </c:pt>
                <c:pt idx="10262">
                  <c:v>6.1102951788814854</c:v>
                </c:pt>
                <c:pt idx="10263">
                  <c:v>6.3954622226750875</c:v>
                </c:pt>
                <c:pt idx="10264">
                  <c:v>5.9531627988705349</c:v>
                </c:pt>
                <c:pt idx="10265">
                  <c:v>4.9467246990184988</c:v>
                </c:pt>
                <c:pt idx="10266">
                  <c:v>4.8799653476445988</c:v>
                </c:pt>
                <c:pt idx="10267">
                  <c:v>4.9291799526117659</c:v>
                </c:pt>
                <c:pt idx="10268">
                  <c:v>4.935932715168005</c:v>
                </c:pt>
                <c:pt idx="10269">
                  <c:v>5.8851293763287309</c:v>
                </c:pt>
                <c:pt idx="10270">
                  <c:v>5.8881206191932733</c:v>
                </c:pt>
                <c:pt idx="10271">
                  <c:v>5.9853142163323954</c:v>
                </c:pt>
                <c:pt idx="10272">
                  <c:v>5.7949774213656031</c:v>
                </c:pt>
                <c:pt idx="10273">
                  <c:v>4.7938095140872958</c:v>
                </c:pt>
                <c:pt idx="10274">
                  <c:v>5.9016606672974108</c:v>
                </c:pt>
                <c:pt idx="10275">
                  <c:v>5.9181984325331687</c:v>
                </c:pt>
                <c:pt idx="10276">
                  <c:v>4.9541132836946611</c:v>
                </c:pt>
                <c:pt idx="10277">
                  <c:v>6.0410258815867488</c:v>
                </c:pt>
                <c:pt idx="10278">
                  <c:v>5.9153518122289555</c:v>
                </c:pt>
                <c:pt idx="10279">
                  <c:v>4.9741759102324936</c:v>
                </c:pt>
                <c:pt idx="10280">
                  <c:v>6.0357100736744682</c:v>
                </c:pt>
                <c:pt idx="10281">
                  <c:v>4.9476387868517957</c:v>
                </c:pt>
                <c:pt idx="10282">
                  <c:v>6.0323671252489435</c:v>
                </c:pt>
                <c:pt idx="10283">
                  <c:v>6.2213664307074206</c:v>
                </c:pt>
                <c:pt idx="10284">
                  <c:v>6.0958851446290083</c:v>
                </c:pt>
                <c:pt idx="10285">
                  <c:v>4.9887258036987392</c:v>
                </c:pt>
                <c:pt idx="10286">
                  <c:v>5.0855812098252891</c:v>
                </c:pt>
                <c:pt idx="10287">
                  <c:v>5.8816302887148844</c:v>
                </c:pt>
                <c:pt idx="10288">
                  <c:v>6.1219798455851642</c:v>
                </c:pt>
                <c:pt idx="10289">
                  <c:v>5.9638185104442671</c:v>
                </c:pt>
                <c:pt idx="10290">
                  <c:v>5.9080682932627884</c:v>
                </c:pt>
                <c:pt idx="10291">
                  <c:v>5.9680892295626942</c:v>
                </c:pt>
                <c:pt idx="10292">
                  <c:v>6.0138838878138019</c:v>
                </c:pt>
                <c:pt idx="10293">
                  <c:v>6.1428684006904417</c:v>
                </c:pt>
                <c:pt idx="10294">
                  <c:v>5.162718629816557</c:v>
                </c:pt>
                <c:pt idx="10295">
                  <c:v>6.082718812890902</c:v>
                </c:pt>
                <c:pt idx="10296">
                  <c:v>5.8829541276069941</c:v>
                </c:pt>
                <c:pt idx="10297">
                  <c:v>5.8666787338890574</c:v>
                </c:pt>
                <c:pt idx="10298">
                  <c:v>5.9887133337436413</c:v>
                </c:pt>
                <c:pt idx="10299">
                  <c:v>3.9708677954420137</c:v>
                </c:pt>
                <c:pt idx="10300">
                  <c:v>6.2409091505132093</c:v>
                </c:pt>
                <c:pt idx="10301">
                  <c:v>5.1909569067847539</c:v>
                </c:pt>
                <c:pt idx="10302">
                  <c:v>6.2880587353844319</c:v>
                </c:pt>
                <c:pt idx="10303">
                  <c:v>6.0400835960273431</c:v>
                </c:pt>
                <c:pt idx="10304">
                  <c:v>5.240898387532007</c:v>
                </c:pt>
                <c:pt idx="10305">
                  <c:v>5.0723751917454498</c:v>
                </c:pt>
                <c:pt idx="10306">
                  <c:v>4.9549087509496497</c:v>
                </c:pt>
                <c:pt idx="10307">
                  <c:v>6.0376964473713466</c:v>
                </c:pt>
                <c:pt idx="10308">
                  <c:v>4.9174513116330019</c:v>
                </c:pt>
                <c:pt idx="10309">
                  <c:v>5.9927882625194293</c:v>
                </c:pt>
                <c:pt idx="10310">
                  <c:v>5.9029027005469787</c:v>
                </c:pt>
                <c:pt idx="10311">
                  <c:v>5.0333448146088315</c:v>
                </c:pt>
                <c:pt idx="10312">
                  <c:v>5.8580084062297209</c:v>
                </c:pt>
                <c:pt idx="10313">
                  <c:v>6.0476240976564739</c:v>
                </c:pt>
                <c:pt idx="10314">
                  <c:v>5.8037952513060107</c:v>
                </c:pt>
                <c:pt idx="10315">
                  <c:v>3.1546531519755061</c:v>
                </c:pt>
                <c:pt idx="10316">
                  <c:v>3.0351372820323337</c:v>
                </c:pt>
                <c:pt idx="10317">
                  <c:v>5.9226737381753258</c:v>
                </c:pt>
                <c:pt idx="10318">
                  <c:v>2.967362238667314</c:v>
                </c:pt>
                <c:pt idx="10319">
                  <c:v>5.0530407340766734</c:v>
                </c:pt>
                <c:pt idx="10320">
                  <c:v>6.0405243773451724</c:v>
                </c:pt>
                <c:pt idx="10321">
                  <c:v>5.8980060144327195</c:v>
                </c:pt>
                <c:pt idx="10322">
                  <c:v>5.1357037191077115</c:v>
                </c:pt>
                <c:pt idx="10323">
                  <c:v>5.9773694703227411</c:v>
                </c:pt>
                <c:pt idx="10324">
                  <c:v>5.9839124862007722</c:v>
                </c:pt>
                <c:pt idx="10325">
                  <c:v>5.0489099198447818</c:v>
                </c:pt>
                <c:pt idx="10326">
                  <c:v>5.2192411853559966</c:v>
                </c:pt>
                <c:pt idx="10327">
                  <c:v>6.0499306038010126</c:v>
                </c:pt>
                <c:pt idx="10328">
                  <c:v>4.8498894376021919</c:v>
                </c:pt>
                <c:pt idx="10329">
                  <c:v>6.0957230187688829</c:v>
                </c:pt>
                <c:pt idx="10330">
                  <c:v>5.0622099033798733</c:v>
                </c:pt>
                <c:pt idx="10331">
                  <c:v>6.1154997518210061</c:v>
                </c:pt>
                <c:pt idx="10332">
                  <c:v>4.8571360421238818</c:v>
                </c:pt>
                <c:pt idx="10333">
                  <c:v>6.061045308305772</c:v>
                </c:pt>
                <c:pt idx="10334">
                  <c:v>6.1046707198439538</c:v>
                </c:pt>
                <c:pt idx="10335">
                  <c:v>6.1212828163103943</c:v>
                </c:pt>
                <c:pt idx="10336">
                  <c:v>5.075525307130123</c:v>
                </c:pt>
                <c:pt idx="10337">
                  <c:v>5.9070618535995632</c:v>
                </c:pt>
                <c:pt idx="10338">
                  <c:v>6.0937857379971563</c:v>
                </c:pt>
                <c:pt idx="10339">
                  <c:v>6.0701715123424602</c:v>
                </c:pt>
                <c:pt idx="10340">
                  <c:v>5.0893662971787439</c:v>
                </c:pt>
                <c:pt idx="10341">
                  <c:v>5.9901094851620993</c:v>
                </c:pt>
                <c:pt idx="10342">
                  <c:v>6.0545141364044941</c:v>
                </c:pt>
                <c:pt idx="10343">
                  <c:v>5.1920198596009763</c:v>
                </c:pt>
                <c:pt idx="10344">
                  <c:v>7.0699668935731861</c:v>
                </c:pt>
                <c:pt idx="10345">
                  <c:v>6.0262435478944392</c:v>
                </c:pt>
                <c:pt idx="10346">
                  <c:v>5.1308710542319345</c:v>
                </c:pt>
                <c:pt idx="10347">
                  <c:v>6.0018498002672267</c:v>
                </c:pt>
                <c:pt idx="10348">
                  <c:v>5.8544450814474613</c:v>
                </c:pt>
                <c:pt idx="10349">
                  <c:v>5.8636207572472996</c:v>
                </c:pt>
                <c:pt idx="10350">
                  <c:v>4.9858334720357158</c:v>
                </c:pt>
                <c:pt idx="10351">
                  <c:v>5.8619951874377199</c:v>
                </c:pt>
                <c:pt idx="10352">
                  <c:v>5.9067425901521329</c:v>
                </c:pt>
                <c:pt idx="10353">
                  <c:v>5.9433196794317027</c:v>
                </c:pt>
                <c:pt idx="10354">
                  <c:v>5.0093759730883081</c:v>
                </c:pt>
                <c:pt idx="10355">
                  <c:v>5.1170243619942806</c:v>
                </c:pt>
                <c:pt idx="10356">
                  <c:v>4.9519673574964207</c:v>
                </c:pt>
                <c:pt idx="10357">
                  <c:v>5.0428550588664809</c:v>
                </c:pt>
                <c:pt idx="10358">
                  <c:v>4.9764087715981518</c:v>
                </c:pt>
                <c:pt idx="10359">
                  <c:v>5.9614120534340032</c:v>
                </c:pt>
                <c:pt idx="10360">
                  <c:v>6.1363401392809713</c:v>
                </c:pt>
                <c:pt idx="10361">
                  <c:v>5.039232219175859</c:v>
                </c:pt>
                <c:pt idx="10362">
                  <c:v>7.1273820349781305</c:v>
                </c:pt>
                <c:pt idx="10363">
                  <c:v>5.0419055118160028</c:v>
                </c:pt>
                <c:pt idx="10364">
                  <c:v>4.8835320305985697</c:v>
                </c:pt>
                <c:pt idx="10365">
                  <c:v>6.0146435112399734</c:v>
                </c:pt>
                <c:pt idx="10366">
                  <c:v>7.1185472701633872</c:v>
                </c:pt>
                <c:pt idx="10367">
                  <c:v>4.9362379962183258</c:v>
                </c:pt>
                <c:pt idx="10368">
                  <c:v>6.0007888897492521</c:v>
                </c:pt>
                <c:pt idx="10369">
                  <c:v>6.1459060866363346</c:v>
                </c:pt>
                <c:pt idx="10370">
                  <c:v>6.0027647283859888</c:v>
                </c:pt>
                <c:pt idx="10371">
                  <c:v>3.9709692327323411</c:v>
                </c:pt>
                <c:pt idx="10372">
                  <c:v>4.001013342853839</c:v>
                </c:pt>
                <c:pt idx="10373">
                  <c:v>6.0452652708686569</c:v>
                </c:pt>
                <c:pt idx="10374">
                  <c:v>3.9174531511422188</c:v>
                </c:pt>
                <c:pt idx="10375">
                  <c:v>3.9726893817722528</c:v>
                </c:pt>
                <c:pt idx="10376">
                  <c:v>6.0635948011433296</c:v>
                </c:pt>
                <c:pt idx="10377">
                  <c:v>1.842097849600475</c:v>
                </c:pt>
                <c:pt idx="10378">
                  <c:v>6.01660735341967</c:v>
                </c:pt>
                <c:pt idx="10379">
                  <c:v>5.0869538039743309</c:v>
                </c:pt>
                <c:pt idx="10380">
                  <c:v>5.8969081777342662</c:v>
                </c:pt>
                <c:pt idx="10381">
                  <c:v>5.9943126800354971</c:v>
                </c:pt>
                <c:pt idx="10382">
                  <c:v>5.9564540208805816</c:v>
                </c:pt>
                <c:pt idx="10383">
                  <c:v>6.0240988302220044</c:v>
                </c:pt>
                <c:pt idx="10384">
                  <c:v>5.9789537190207618</c:v>
                </c:pt>
                <c:pt idx="10385">
                  <c:v>6.0011748841059909</c:v>
                </c:pt>
                <c:pt idx="10386">
                  <c:v>5.8569775198447669</c:v>
                </c:pt>
                <c:pt idx="10387">
                  <c:v>5.9273445014036268</c:v>
                </c:pt>
                <c:pt idx="10388">
                  <c:v>6.1239295791616861</c:v>
                </c:pt>
                <c:pt idx="10389">
                  <c:v>6.0837354918123721</c:v>
                </c:pt>
                <c:pt idx="10390">
                  <c:v>6.0623275508491172</c:v>
                </c:pt>
                <c:pt idx="10391">
                  <c:v>5.0351862301228092</c:v>
                </c:pt>
                <c:pt idx="10392">
                  <c:v>6.1276653953185365</c:v>
                </c:pt>
                <c:pt idx="10393">
                  <c:v>5.9362326729284041</c:v>
                </c:pt>
                <c:pt idx="10394">
                  <c:v>5.833532680553577</c:v>
                </c:pt>
                <c:pt idx="10395">
                  <c:v>5.8579446020835668</c:v>
                </c:pt>
                <c:pt idx="10396">
                  <c:v>5.0878474814776382</c:v>
                </c:pt>
                <c:pt idx="10397">
                  <c:v>6.044309815165243</c:v>
                </c:pt>
                <c:pt idx="10398">
                  <c:v>5.0012245636681065</c:v>
                </c:pt>
                <c:pt idx="10399">
                  <c:v>6.2841551130861895</c:v>
                </c:pt>
                <c:pt idx="10400">
                  <c:v>4.1623970912685557</c:v>
                </c:pt>
                <c:pt idx="10401">
                  <c:v>4.8937368108405668</c:v>
                </c:pt>
                <c:pt idx="10402">
                  <c:v>5.9968883674721249</c:v>
                </c:pt>
                <c:pt idx="10403">
                  <c:v>5.9409044013180434</c:v>
                </c:pt>
                <c:pt idx="10404">
                  <c:v>6.0137768762197874</c:v>
                </c:pt>
                <c:pt idx="10405">
                  <c:v>6.1554093404325414</c:v>
                </c:pt>
                <c:pt idx="10406">
                  <c:v>4.9826231293081173</c:v>
                </c:pt>
                <c:pt idx="10407">
                  <c:v>6.1315476540262166</c:v>
                </c:pt>
                <c:pt idx="10408">
                  <c:v>5.9175436894700075</c:v>
                </c:pt>
                <c:pt idx="10409">
                  <c:v>5.1068629789442967</c:v>
                </c:pt>
                <c:pt idx="10410">
                  <c:v>4.8154953910282963</c:v>
                </c:pt>
                <c:pt idx="10411">
                  <c:v>6.1155766177682054</c:v>
                </c:pt>
                <c:pt idx="10412">
                  <c:v>5.0264130601178403</c:v>
                </c:pt>
                <c:pt idx="10413">
                  <c:v>4.8138835441840211</c:v>
                </c:pt>
                <c:pt idx="10414">
                  <c:v>7.0748699597417328</c:v>
                </c:pt>
                <c:pt idx="10415">
                  <c:v>5.9589303811137659</c:v>
                </c:pt>
                <c:pt idx="10416">
                  <c:v>6.0584521781097793</c:v>
                </c:pt>
                <c:pt idx="10417">
                  <c:v>5.879940937127742</c:v>
                </c:pt>
                <c:pt idx="10418">
                  <c:v>5.9916511302686679</c:v>
                </c:pt>
                <c:pt idx="10419">
                  <c:v>6.9800062156431384</c:v>
                </c:pt>
                <c:pt idx="10420">
                  <c:v>6.0606402541913038</c:v>
                </c:pt>
                <c:pt idx="10421">
                  <c:v>5.0167566407244149</c:v>
                </c:pt>
                <c:pt idx="10422">
                  <c:v>4.9208530453408468</c:v>
                </c:pt>
                <c:pt idx="10423">
                  <c:v>6.1244537712042675</c:v>
                </c:pt>
                <c:pt idx="10424">
                  <c:v>5.9830188475384549</c:v>
                </c:pt>
                <c:pt idx="10425">
                  <c:v>4.9981413832262218</c:v>
                </c:pt>
                <c:pt idx="10426">
                  <c:v>5.9057373913458049</c:v>
                </c:pt>
                <c:pt idx="10427">
                  <c:v>6.0545796941393926</c:v>
                </c:pt>
                <c:pt idx="10428">
                  <c:v>5.9871777896163758</c:v>
                </c:pt>
                <c:pt idx="10429">
                  <c:v>6.1557562796657788</c:v>
                </c:pt>
                <c:pt idx="10430">
                  <c:v>6.0600198642240448</c:v>
                </c:pt>
                <c:pt idx="10431">
                  <c:v>6.1657451158973435</c:v>
                </c:pt>
                <c:pt idx="10432">
                  <c:v>6.0758782496498513</c:v>
                </c:pt>
                <c:pt idx="10433">
                  <c:v>5.0458071426033486</c:v>
                </c:pt>
                <c:pt idx="10434">
                  <c:v>6.1388181314009556</c:v>
                </c:pt>
                <c:pt idx="10435">
                  <c:v>5.9982160012644705</c:v>
                </c:pt>
                <c:pt idx="10436">
                  <c:v>5.9673610634824827</c:v>
                </c:pt>
                <c:pt idx="10437">
                  <c:v>6.0380606496511797</c:v>
                </c:pt>
                <c:pt idx="10438">
                  <c:v>5.1687925990355188</c:v>
                </c:pt>
                <c:pt idx="10439">
                  <c:v>5.9371132218123641</c:v>
                </c:pt>
                <c:pt idx="10440">
                  <c:v>6.0341072702099874</c:v>
                </c:pt>
                <c:pt idx="10441">
                  <c:v>6.9715420035289801</c:v>
                </c:pt>
                <c:pt idx="10442">
                  <c:v>4.9441062351032157</c:v>
                </c:pt>
                <c:pt idx="10443">
                  <c:v>5.9699874995167495</c:v>
                </c:pt>
                <c:pt idx="10444">
                  <c:v>5.1118498316878496</c:v>
                </c:pt>
                <c:pt idx="10445">
                  <c:v>5.0627730450827775</c:v>
                </c:pt>
                <c:pt idx="10446">
                  <c:v>4.961430605831568</c:v>
                </c:pt>
                <c:pt idx="10447">
                  <c:v>5.9976146631836675</c:v>
                </c:pt>
                <c:pt idx="10448">
                  <c:v>5.1352967443579889</c:v>
                </c:pt>
                <c:pt idx="10449">
                  <c:v>4.9331684072082931</c:v>
                </c:pt>
                <c:pt idx="10450">
                  <c:v>5.9196532502632477</c:v>
                </c:pt>
                <c:pt idx="10451">
                  <c:v>5.9881577925013802</c:v>
                </c:pt>
                <c:pt idx="10452">
                  <c:v>6.0197026145514334</c:v>
                </c:pt>
                <c:pt idx="10453">
                  <c:v>6.0566867849388668</c:v>
                </c:pt>
                <c:pt idx="10454">
                  <c:v>6.1230150582598313</c:v>
                </c:pt>
                <c:pt idx="10455">
                  <c:v>5.7555061661725437</c:v>
                </c:pt>
                <c:pt idx="10456">
                  <c:v>5.8687350514542453</c:v>
                </c:pt>
                <c:pt idx="10457">
                  <c:v>6.0132195811463811</c:v>
                </c:pt>
                <c:pt idx="10458">
                  <c:v>6.14248124701958</c:v>
                </c:pt>
                <c:pt idx="10459">
                  <c:v>5.9335615748880528</c:v>
                </c:pt>
                <c:pt idx="10460">
                  <c:v>5.9835357379734733</c:v>
                </c:pt>
                <c:pt idx="10461">
                  <c:v>5.9397542344662035</c:v>
                </c:pt>
                <c:pt idx="10462">
                  <c:v>6.0842756688598216</c:v>
                </c:pt>
                <c:pt idx="10463">
                  <c:v>5.9418391957177503</c:v>
                </c:pt>
                <c:pt idx="10464">
                  <c:v>5.9425444049818328</c:v>
                </c:pt>
                <c:pt idx="10465">
                  <c:v>4.8405389236858722</c:v>
                </c:pt>
                <c:pt idx="10466">
                  <c:v>7.1172580942021595</c:v>
                </c:pt>
                <c:pt idx="10467">
                  <c:v>6.0377211951503993</c:v>
                </c:pt>
                <c:pt idx="10468">
                  <c:v>4.8913321674274464</c:v>
                </c:pt>
                <c:pt idx="10469">
                  <c:v>6.0605966049688975</c:v>
                </c:pt>
                <c:pt idx="10470">
                  <c:v>5.868088443735461</c:v>
                </c:pt>
                <c:pt idx="10471">
                  <c:v>5.9573609283677804</c:v>
                </c:pt>
                <c:pt idx="10472">
                  <c:v>6.0885296219444669</c:v>
                </c:pt>
                <c:pt idx="10473">
                  <c:v>4.9221647789902478</c:v>
                </c:pt>
                <c:pt idx="10474">
                  <c:v>5.0248245523645938</c:v>
                </c:pt>
                <c:pt idx="10475">
                  <c:v>5.0886698329027311</c:v>
                </c:pt>
                <c:pt idx="10476">
                  <c:v>5.8736787931586996</c:v>
                </c:pt>
                <c:pt idx="10477">
                  <c:v>5.0379793810276698</c:v>
                </c:pt>
                <c:pt idx="10478">
                  <c:v>4.7865114781506808</c:v>
                </c:pt>
                <c:pt idx="10479">
                  <c:v>6.0428671056341212</c:v>
                </c:pt>
                <c:pt idx="10480">
                  <c:v>6.0232290726488449</c:v>
                </c:pt>
                <c:pt idx="10481">
                  <c:v>5.9085983373306119</c:v>
                </c:pt>
                <c:pt idx="10482">
                  <c:v>6.0723773496339284</c:v>
                </c:pt>
                <c:pt idx="10483">
                  <c:v>4.9363162968127794</c:v>
                </c:pt>
                <c:pt idx="10484">
                  <c:v>3.9486216246861336</c:v>
                </c:pt>
                <c:pt idx="10485">
                  <c:v>5.0247283716999345</c:v>
                </c:pt>
                <c:pt idx="10486">
                  <c:v>4.9045690172325651</c:v>
                </c:pt>
                <c:pt idx="10487">
                  <c:v>5.0453042186816388</c:v>
                </c:pt>
                <c:pt idx="10488">
                  <c:v>5.0424143137690685</c:v>
                </c:pt>
                <c:pt idx="10489">
                  <c:v>4.9151774897354992</c:v>
                </c:pt>
                <c:pt idx="10490">
                  <c:v>4.8839588260613835</c:v>
                </c:pt>
                <c:pt idx="10491">
                  <c:v>5.0880837680087598</c:v>
                </c:pt>
                <c:pt idx="10492">
                  <c:v>7.0485085728763961</c:v>
                </c:pt>
                <c:pt idx="10493">
                  <c:v>4.9380640632176895</c:v>
                </c:pt>
                <c:pt idx="10494">
                  <c:v>6.0739724150234062</c:v>
                </c:pt>
                <c:pt idx="10495">
                  <c:v>7.1225605232732594</c:v>
                </c:pt>
                <c:pt idx="10496">
                  <c:v>5.9189252846860283</c:v>
                </c:pt>
                <c:pt idx="10497">
                  <c:v>6.105613542937002</c:v>
                </c:pt>
                <c:pt idx="10498">
                  <c:v>6.0411243894897311</c:v>
                </c:pt>
                <c:pt idx="10499">
                  <c:v>5.006579423397608</c:v>
                </c:pt>
                <c:pt idx="10500">
                  <c:v>6.090556504607247</c:v>
                </c:pt>
                <c:pt idx="10501">
                  <c:v>4.9989661059783197</c:v>
                </c:pt>
                <c:pt idx="10502">
                  <c:v>6.0476052829754687</c:v>
                </c:pt>
                <c:pt idx="10503">
                  <c:v>5.2354110287026092</c:v>
                </c:pt>
                <c:pt idx="10504">
                  <c:v>5.9240705663199043</c:v>
                </c:pt>
                <c:pt idx="10505">
                  <c:v>5.1648896374110658</c:v>
                </c:pt>
                <c:pt idx="10506">
                  <c:v>6.0325985072084345</c:v>
                </c:pt>
                <c:pt idx="10507">
                  <c:v>6.0043534683325701</c:v>
                </c:pt>
                <c:pt idx="10508">
                  <c:v>6.2104388222473501</c:v>
                </c:pt>
                <c:pt idx="10509">
                  <c:v>5.0108983205983382</c:v>
                </c:pt>
                <c:pt idx="10510">
                  <c:v>4.9983798257494536</c:v>
                </c:pt>
                <c:pt idx="10511">
                  <c:v>6.1870594589888883</c:v>
                </c:pt>
                <c:pt idx="10512">
                  <c:v>5.2162317996041647</c:v>
                </c:pt>
                <c:pt idx="10513">
                  <c:v>5.9401254859045958</c:v>
                </c:pt>
                <c:pt idx="10514">
                  <c:v>5.0965983740880869</c:v>
                </c:pt>
                <c:pt idx="10515">
                  <c:v>4.9777972615748629</c:v>
                </c:pt>
                <c:pt idx="10516">
                  <c:v>5.1725324921697133</c:v>
                </c:pt>
                <c:pt idx="10517">
                  <c:v>5.953501933995093</c:v>
                </c:pt>
                <c:pt idx="10518">
                  <c:v>6.1042508864131229</c:v>
                </c:pt>
                <c:pt idx="10519">
                  <c:v>6.0479356275100589</c:v>
                </c:pt>
                <c:pt idx="10520">
                  <c:v>5.0426393803464586</c:v>
                </c:pt>
                <c:pt idx="10521">
                  <c:v>7.0699582207617189</c:v>
                </c:pt>
                <c:pt idx="10522">
                  <c:v>6.1123787846071922</c:v>
                </c:pt>
                <c:pt idx="10523">
                  <c:v>6.999536478317375</c:v>
                </c:pt>
                <c:pt idx="10524">
                  <c:v>4.9914616353629624</c:v>
                </c:pt>
                <c:pt idx="10525">
                  <c:v>6.0542949573861931</c:v>
                </c:pt>
                <c:pt idx="10526">
                  <c:v>5.9473189744689767</c:v>
                </c:pt>
                <c:pt idx="10527">
                  <c:v>6.0355550799329833</c:v>
                </c:pt>
                <c:pt idx="10528">
                  <c:v>6.1757598625156289</c:v>
                </c:pt>
                <c:pt idx="10529">
                  <c:v>5.8216658372869112</c:v>
                </c:pt>
                <c:pt idx="10530">
                  <c:v>6.0762564912353625</c:v>
                </c:pt>
                <c:pt idx="10531">
                  <c:v>6.1377156812982978</c:v>
                </c:pt>
                <c:pt idx="10532">
                  <c:v>6.1334315276681464</c:v>
                </c:pt>
                <c:pt idx="10533">
                  <c:v>5.9312051217140374</c:v>
                </c:pt>
                <c:pt idx="10534">
                  <c:v>5.9533003704130349</c:v>
                </c:pt>
                <c:pt idx="10535">
                  <c:v>6.0403646923084811</c:v>
                </c:pt>
                <c:pt idx="10536">
                  <c:v>5.9797093373598695</c:v>
                </c:pt>
                <c:pt idx="10537">
                  <c:v>5.9278799964221749</c:v>
                </c:pt>
                <c:pt idx="10538">
                  <c:v>6.1834191782905723</c:v>
                </c:pt>
                <c:pt idx="10539">
                  <c:v>6.2800139844826335</c:v>
                </c:pt>
                <c:pt idx="10540">
                  <c:v>4.9520013769325093</c:v>
                </c:pt>
                <c:pt idx="10541">
                  <c:v>7.1951437630022737</c:v>
                </c:pt>
                <c:pt idx="10542">
                  <c:v>6.1434192626576056</c:v>
                </c:pt>
                <c:pt idx="10543">
                  <c:v>5.0124907540432577</c:v>
                </c:pt>
                <c:pt idx="10544">
                  <c:v>5.0426252741863244</c:v>
                </c:pt>
                <c:pt idx="10545">
                  <c:v>6.065348819854556</c:v>
                </c:pt>
                <c:pt idx="10546">
                  <c:v>4.9572871274091455</c:v>
                </c:pt>
                <c:pt idx="10547">
                  <c:v>4.9986117991357162</c:v>
                </c:pt>
                <c:pt idx="10548">
                  <c:v>4.0947362339139142</c:v>
                </c:pt>
                <c:pt idx="10549">
                  <c:v>4.961102736520437</c:v>
                </c:pt>
                <c:pt idx="10550">
                  <c:v>6.0556784731047646</c:v>
                </c:pt>
                <c:pt idx="10551">
                  <c:v>5.0717918998425331</c:v>
                </c:pt>
                <c:pt idx="10552">
                  <c:v>4.90162616563632</c:v>
                </c:pt>
                <c:pt idx="10553">
                  <c:v>5.9969062147209975</c:v>
                </c:pt>
                <c:pt idx="10554">
                  <c:v>5.946511469856409</c:v>
                </c:pt>
                <c:pt idx="10555">
                  <c:v>5.1084301556876044</c:v>
                </c:pt>
                <c:pt idx="10556">
                  <c:v>5.9210134029018331</c:v>
                </c:pt>
                <c:pt idx="10557">
                  <c:v>6.1070958270494344</c:v>
                </c:pt>
                <c:pt idx="10558">
                  <c:v>6.9613427760838729</c:v>
                </c:pt>
                <c:pt idx="10559">
                  <c:v>6.0490099518472551</c:v>
                </c:pt>
                <c:pt idx="10560">
                  <c:v>4.9509839665998427</c:v>
                </c:pt>
                <c:pt idx="10561">
                  <c:v>6.0907432853277506</c:v>
                </c:pt>
                <c:pt idx="10562">
                  <c:v>5.9272298051246439</c:v>
                </c:pt>
                <c:pt idx="10563">
                  <c:v>4.9145204015084891</c:v>
                </c:pt>
                <c:pt idx="10564">
                  <c:v>5.1135484687685526</c:v>
                </c:pt>
                <c:pt idx="10565">
                  <c:v>5.9435904935021187</c:v>
                </c:pt>
                <c:pt idx="10566">
                  <c:v>5.9059843828608933</c:v>
                </c:pt>
                <c:pt idx="10567">
                  <c:v>5.1240615786628005</c:v>
                </c:pt>
                <c:pt idx="10568">
                  <c:v>4.9298641159387211</c:v>
                </c:pt>
                <c:pt idx="10569">
                  <c:v>4.9252570453359601</c:v>
                </c:pt>
                <c:pt idx="10570">
                  <c:v>5.9924077013492481</c:v>
                </c:pt>
                <c:pt idx="10571">
                  <c:v>6.9213444724072701</c:v>
                </c:pt>
                <c:pt idx="10572">
                  <c:v>6.0218611543448954</c:v>
                </c:pt>
                <c:pt idx="10573">
                  <c:v>5.9048635009007251</c:v>
                </c:pt>
                <c:pt idx="10574">
                  <c:v>5.9019222243040206</c:v>
                </c:pt>
                <c:pt idx="10575">
                  <c:v>5.9716324055296992</c:v>
                </c:pt>
                <c:pt idx="10576">
                  <c:v>5.9684481577951276</c:v>
                </c:pt>
                <c:pt idx="10577">
                  <c:v>4.9316633105260532</c:v>
                </c:pt>
                <c:pt idx="10578">
                  <c:v>6.1909350642411276</c:v>
                </c:pt>
                <c:pt idx="10579">
                  <c:v>7.0932670005970069</c:v>
                </c:pt>
                <c:pt idx="10580">
                  <c:v>6.2591697004001858</c:v>
                </c:pt>
                <c:pt idx="10581">
                  <c:v>7.0475104648861162</c:v>
                </c:pt>
                <c:pt idx="10582">
                  <c:v>6.9096807129347591</c:v>
                </c:pt>
                <c:pt idx="10583">
                  <c:v>6.1319146281729422</c:v>
                </c:pt>
                <c:pt idx="10584">
                  <c:v>6.8746522106946184</c:v>
                </c:pt>
                <c:pt idx="10585">
                  <c:v>3.8184611846911847</c:v>
                </c:pt>
                <c:pt idx="10586">
                  <c:v>6.0364890786615835</c:v>
                </c:pt>
                <c:pt idx="10587">
                  <c:v>7.210197237728635</c:v>
                </c:pt>
                <c:pt idx="10588">
                  <c:v>6.015816394061356</c:v>
                </c:pt>
                <c:pt idx="10589">
                  <c:v>5.9695549046577376</c:v>
                </c:pt>
                <c:pt idx="10590">
                  <c:v>5.0345129081093472</c:v>
                </c:pt>
                <c:pt idx="10591">
                  <c:v>5.7786856507105897</c:v>
                </c:pt>
                <c:pt idx="10592">
                  <c:v>6.1392907012419622</c:v>
                </c:pt>
                <c:pt idx="10593">
                  <c:v>4.1399151652882082</c:v>
                </c:pt>
                <c:pt idx="10594">
                  <c:v>6.1794577308838017</c:v>
                </c:pt>
                <c:pt idx="10595">
                  <c:v>5.9827460317608798</c:v>
                </c:pt>
                <c:pt idx="10596">
                  <c:v>6.043957131103892</c:v>
                </c:pt>
                <c:pt idx="10597">
                  <c:v>6.086530568717115</c:v>
                </c:pt>
                <c:pt idx="10598">
                  <c:v>6.072212751988558</c:v>
                </c:pt>
                <c:pt idx="10599">
                  <c:v>5.9887702479860945</c:v>
                </c:pt>
                <c:pt idx="10600">
                  <c:v>7.1980863359553826</c:v>
                </c:pt>
                <c:pt idx="10601">
                  <c:v>6.1228490667905859</c:v>
                </c:pt>
                <c:pt idx="10602">
                  <c:v>6.2987597345341264</c:v>
                </c:pt>
                <c:pt idx="10603">
                  <c:v>5.9229243083786596</c:v>
                </c:pt>
                <c:pt idx="10604">
                  <c:v>5.8096933745848229</c:v>
                </c:pt>
                <c:pt idx="10605">
                  <c:v>6.1192050915377809</c:v>
                </c:pt>
                <c:pt idx="10606">
                  <c:v>6.0327703881114596</c:v>
                </c:pt>
                <c:pt idx="10607">
                  <c:v>5.0222280247323825</c:v>
                </c:pt>
                <c:pt idx="10608">
                  <c:v>6.0667199583331319</c:v>
                </c:pt>
                <c:pt idx="10609">
                  <c:v>5.9428204202995767</c:v>
                </c:pt>
                <c:pt idx="10610">
                  <c:v>5.9305783289733114</c:v>
                </c:pt>
                <c:pt idx="10611">
                  <c:v>5.8334320468618444</c:v>
                </c:pt>
                <c:pt idx="10612">
                  <c:v>5.9172633756356099</c:v>
                </c:pt>
                <c:pt idx="10613">
                  <c:v>6.0119504346674919</c:v>
                </c:pt>
                <c:pt idx="10614">
                  <c:v>6.141912412121024</c:v>
                </c:pt>
                <c:pt idx="10615">
                  <c:v>5.9580289145368877</c:v>
                </c:pt>
                <c:pt idx="10616">
                  <c:v>7.0764797161909714</c:v>
                </c:pt>
                <c:pt idx="10617">
                  <c:v>4.9641455176723346</c:v>
                </c:pt>
                <c:pt idx="10618">
                  <c:v>6.1314533274194147</c:v>
                </c:pt>
                <c:pt idx="10619">
                  <c:v>6.0981719196615947</c:v>
                </c:pt>
                <c:pt idx="10620">
                  <c:v>6.1361937976411127</c:v>
                </c:pt>
                <c:pt idx="10621">
                  <c:v>5.8641912033328953</c:v>
                </c:pt>
                <c:pt idx="10622">
                  <c:v>6.112905039366094</c:v>
                </c:pt>
                <c:pt idx="10623">
                  <c:v>4.8858004036587959</c:v>
                </c:pt>
                <c:pt idx="10624">
                  <c:v>6.0071839489043555</c:v>
                </c:pt>
                <c:pt idx="10625">
                  <c:v>6.0744912100022033</c:v>
                </c:pt>
                <c:pt idx="10626">
                  <c:v>6.0353114717138663</c:v>
                </c:pt>
                <c:pt idx="10627">
                  <c:v>5.943288844279655</c:v>
                </c:pt>
                <c:pt idx="10628">
                  <c:v>5.9720031304577308</c:v>
                </c:pt>
                <c:pt idx="10629">
                  <c:v>5.9080299747713276</c:v>
                </c:pt>
                <c:pt idx="10630">
                  <c:v>5.9461737079604973</c:v>
                </c:pt>
                <c:pt idx="10631">
                  <c:v>6.1030113267924522</c:v>
                </c:pt>
                <c:pt idx="10632">
                  <c:v>6.0730477942629566</c:v>
                </c:pt>
                <c:pt idx="10633">
                  <c:v>7.0934938682185633</c:v>
                </c:pt>
                <c:pt idx="10634">
                  <c:v>4.9095724442374955</c:v>
                </c:pt>
                <c:pt idx="10635">
                  <c:v>6.1241561251015693</c:v>
                </c:pt>
                <c:pt idx="10636">
                  <c:v>5.8834161246500916</c:v>
                </c:pt>
                <c:pt idx="10637">
                  <c:v>6.0573048726692216</c:v>
                </c:pt>
                <c:pt idx="10638">
                  <c:v>5.9037643534095858</c:v>
                </c:pt>
                <c:pt idx="10639">
                  <c:v>5.9392713465030447</c:v>
                </c:pt>
                <c:pt idx="10640">
                  <c:v>6.9499185954348235</c:v>
                </c:pt>
                <c:pt idx="10641">
                  <c:v>5.8754828284694245</c:v>
                </c:pt>
                <c:pt idx="10642">
                  <c:v>5.9813044588384523</c:v>
                </c:pt>
                <c:pt idx="10643">
                  <c:v>5.959061281820607</c:v>
                </c:pt>
                <c:pt idx="10644">
                  <c:v>5.9640232455291109</c:v>
                </c:pt>
                <c:pt idx="10645">
                  <c:v>5.9331769209105545</c:v>
                </c:pt>
                <c:pt idx="10646">
                  <c:v>5.9399496807491756</c:v>
                </c:pt>
                <c:pt idx="10647">
                  <c:v>6.1434407407260681</c:v>
                </c:pt>
                <c:pt idx="10648">
                  <c:v>6.0950492792198014</c:v>
                </c:pt>
                <c:pt idx="10649">
                  <c:v>6.057108053595762</c:v>
                </c:pt>
                <c:pt idx="10650">
                  <c:v>5.0305609484533313</c:v>
                </c:pt>
                <c:pt idx="10651">
                  <c:v>6.09916028562506</c:v>
                </c:pt>
                <c:pt idx="10652">
                  <c:v>5.7980216893155179</c:v>
                </c:pt>
                <c:pt idx="10653">
                  <c:v>5.9480408428146765</c:v>
                </c:pt>
                <c:pt idx="10654">
                  <c:v>5.8940931004560868</c:v>
                </c:pt>
                <c:pt idx="10655">
                  <c:v>6.9732310927058982</c:v>
                </c:pt>
                <c:pt idx="10656">
                  <c:v>5.9585038628979383</c:v>
                </c:pt>
                <c:pt idx="10657">
                  <c:v>5.8746931589036988</c:v>
                </c:pt>
                <c:pt idx="10658">
                  <c:v>5.0678404639745507</c:v>
                </c:pt>
                <c:pt idx="10659">
                  <c:v>6.1210693009386858</c:v>
                </c:pt>
                <c:pt idx="10660">
                  <c:v>5.9490328597711812</c:v>
                </c:pt>
                <c:pt idx="10661">
                  <c:v>6.0902318727492055</c:v>
                </c:pt>
                <c:pt idx="10662">
                  <c:v>4.9658519721403138</c:v>
                </c:pt>
                <c:pt idx="10663">
                  <c:v>6.2060248896343282</c:v>
                </c:pt>
                <c:pt idx="10664">
                  <c:v>3.9826272924559514</c:v>
                </c:pt>
                <c:pt idx="10665">
                  <c:v>7.0061381111511123</c:v>
                </c:pt>
                <c:pt idx="10666">
                  <c:v>6.9660047535693437</c:v>
                </c:pt>
                <c:pt idx="10667">
                  <c:v>6.0579906081099884</c:v>
                </c:pt>
                <c:pt idx="10668">
                  <c:v>5.9678275509465335</c:v>
                </c:pt>
                <c:pt idx="10669">
                  <c:v>6.0178196411924469</c:v>
                </c:pt>
                <c:pt idx="10670">
                  <c:v>6.0793862430200285</c:v>
                </c:pt>
                <c:pt idx="10671">
                  <c:v>5.8967682214081405</c:v>
                </c:pt>
                <c:pt idx="10672">
                  <c:v>6.1505574848919782</c:v>
                </c:pt>
                <c:pt idx="10673">
                  <c:v>5.7619453734082633</c:v>
                </c:pt>
                <c:pt idx="10674">
                  <c:v>5.9778989679442756</c:v>
                </c:pt>
                <c:pt idx="10675">
                  <c:v>5.9051974222851138</c:v>
                </c:pt>
                <c:pt idx="10676">
                  <c:v>5.2044578094288756</c:v>
                </c:pt>
                <c:pt idx="10677">
                  <c:v>5.9251664963507178</c:v>
                </c:pt>
                <c:pt idx="10678">
                  <c:v>6.0214503665310337</c:v>
                </c:pt>
                <c:pt idx="10679">
                  <c:v>5.963094731619635</c:v>
                </c:pt>
                <c:pt idx="10680">
                  <c:v>5.9051404310543161</c:v>
                </c:pt>
                <c:pt idx="10681">
                  <c:v>6.1192501840841071</c:v>
                </c:pt>
                <c:pt idx="10682">
                  <c:v>6.0691075849577079</c:v>
                </c:pt>
                <c:pt idx="10683">
                  <c:v>5.8940889020076153</c:v>
                </c:pt>
                <c:pt idx="10684">
                  <c:v>5.2162913768589236</c:v>
                </c:pt>
                <c:pt idx="10685">
                  <c:v>5.9764940258823041</c:v>
                </c:pt>
                <c:pt idx="10686">
                  <c:v>6.0806766530123406</c:v>
                </c:pt>
                <c:pt idx="10687">
                  <c:v>5.9367202254450495</c:v>
                </c:pt>
                <c:pt idx="10688">
                  <c:v>5.7564363839923338</c:v>
                </c:pt>
                <c:pt idx="10689">
                  <c:v>6.1911875496259148</c:v>
                </c:pt>
                <c:pt idx="10690">
                  <c:v>5.7751930015944755</c:v>
                </c:pt>
                <c:pt idx="10691">
                  <c:v>6.0422442727265127</c:v>
                </c:pt>
                <c:pt idx="10692">
                  <c:v>5.8568248551340849</c:v>
                </c:pt>
                <c:pt idx="10693">
                  <c:v>6.0027603419108067</c:v>
                </c:pt>
                <c:pt idx="10694">
                  <c:v>6.0207294235945135</c:v>
                </c:pt>
                <c:pt idx="10695">
                  <c:v>6.0059172789479964</c:v>
                </c:pt>
                <c:pt idx="10696">
                  <c:v>5.9109199416115867</c:v>
                </c:pt>
                <c:pt idx="10697">
                  <c:v>5.9161020894620027</c:v>
                </c:pt>
                <c:pt idx="10698">
                  <c:v>5.9231171651892733</c:v>
                </c:pt>
                <c:pt idx="10699">
                  <c:v>6.1072557021270724</c:v>
                </c:pt>
                <c:pt idx="10700">
                  <c:v>5.0414440137616081</c:v>
                </c:pt>
                <c:pt idx="10701">
                  <c:v>5.911284838047294</c:v>
                </c:pt>
                <c:pt idx="10702">
                  <c:v>6.1133775921334816</c:v>
                </c:pt>
                <c:pt idx="10703">
                  <c:v>5.950883891208135</c:v>
                </c:pt>
                <c:pt idx="10704">
                  <c:v>6.0807812610818273</c:v>
                </c:pt>
                <c:pt idx="10705">
                  <c:v>4.9516644163116563</c:v>
                </c:pt>
                <c:pt idx="10706">
                  <c:v>5.9414961756580498</c:v>
                </c:pt>
                <c:pt idx="10707">
                  <c:v>5.0828192470106801</c:v>
                </c:pt>
                <c:pt idx="10708">
                  <c:v>5.1471920972558074</c:v>
                </c:pt>
                <c:pt idx="10709">
                  <c:v>5.820369093128809</c:v>
                </c:pt>
                <c:pt idx="10710">
                  <c:v>5.9743273178691947</c:v>
                </c:pt>
                <c:pt idx="10711">
                  <c:v>6.1599580851407962</c:v>
                </c:pt>
                <c:pt idx="10712">
                  <c:v>5.8762551973304742</c:v>
                </c:pt>
                <c:pt idx="10713">
                  <c:v>5.1233280782957396</c:v>
                </c:pt>
                <c:pt idx="10714">
                  <c:v>5.0904164108736927</c:v>
                </c:pt>
                <c:pt idx="10715">
                  <c:v>4.8575146434491883</c:v>
                </c:pt>
                <c:pt idx="10716">
                  <c:v>6.0315382939131181</c:v>
                </c:pt>
                <c:pt idx="10717">
                  <c:v>6.2109839730214365</c:v>
                </c:pt>
                <c:pt idx="10718">
                  <c:v>5.9516622285715481</c:v>
                </c:pt>
                <c:pt idx="10719">
                  <c:v>4.8159130177012068</c:v>
                </c:pt>
                <c:pt idx="10720">
                  <c:v>5.8948202367940166</c:v>
                </c:pt>
                <c:pt idx="10721">
                  <c:v>7.144895961794969</c:v>
                </c:pt>
                <c:pt idx="10722">
                  <c:v>5.912537525585611</c:v>
                </c:pt>
                <c:pt idx="10723">
                  <c:v>5.9449550842411636</c:v>
                </c:pt>
                <c:pt idx="10724">
                  <c:v>4.9679226191451464</c:v>
                </c:pt>
                <c:pt idx="10725">
                  <c:v>4.8192399950828388</c:v>
                </c:pt>
                <c:pt idx="10726">
                  <c:v>5.1170303524946537</c:v>
                </c:pt>
                <c:pt idx="10727">
                  <c:v>4.8427527434004833</c:v>
                </c:pt>
                <c:pt idx="10728">
                  <c:v>6.9855788294721339</c:v>
                </c:pt>
                <c:pt idx="10729">
                  <c:v>6.8943660671541904</c:v>
                </c:pt>
                <c:pt idx="10730">
                  <c:v>4.9354756758703591</c:v>
                </c:pt>
                <c:pt idx="10731">
                  <c:v>5.1359765373736899</c:v>
                </c:pt>
                <c:pt idx="10732">
                  <c:v>4.2387691433860777</c:v>
                </c:pt>
                <c:pt idx="10733">
                  <c:v>6.1887099112606592</c:v>
                </c:pt>
                <c:pt idx="10734">
                  <c:v>5.1052211297304595</c:v>
                </c:pt>
                <c:pt idx="10735">
                  <c:v>6.2141497623904716</c:v>
                </c:pt>
                <c:pt idx="10736">
                  <c:v>5.0376532054817327</c:v>
                </c:pt>
                <c:pt idx="10737">
                  <c:v>7.0924040209009585</c:v>
                </c:pt>
                <c:pt idx="10738">
                  <c:v>6.0608410806425166</c:v>
                </c:pt>
                <c:pt idx="10739">
                  <c:v>4.8983240974581967</c:v>
                </c:pt>
                <c:pt idx="10740">
                  <c:v>6.1036297156926906</c:v>
                </c:pt>
                <c:pt idx="10741">
                  <c:v>6.0128599085108112</c:v>
                </c:pt>
                <c:pt idx="10742">
                  <c:v>5.8587368857909583</c:v>
                </c:pt>
                <c:pt idx="10743">
                  <c:v>5.9554892328934894</c:v>
                </c:pt>
                <c:pt idx="10744">
                  <c:v>5.891547716903724</c:v>
                </c:pt>
                <c:pt idx="10745">
                  <c:v>5.9655465572984481</c:v>
                </c:pt>
                <c:pt idx="10746">
                  <c:v>6.1439857519175369</c:v>
                </c:pt>
                <c:pt idx="10747">
                  <c:v>4.9040896220763663</c:v>
                </c:pt>
                <c:pt idx="10748">
                  <c:v>4.9047786261943864</c:v>
                </c:pt>
                <c:pt idx="10749">
                  <c:v>6.0850422194796208</c:v>
                </c:pt>
                <c:pt idx="10750">
                  <c:v>5.8946662296475534</c:v>
                </c:pt>
                <c:pt idx="10751">
                  <c:v>5.8097268048912998</c:v>
                </c:pt>
                <c:pt idx="10752">
                  <c:v>5.2591817013474103</c:v>
                </c:pt>
                <c:pt idx="10753">
                  <c:v>5.8719481110332117</c:v>
                </c:pt>
                <c:pt idx="10754">
                  <c:v>6.1517976704977286</c:v>
                </c:pt>
                <c:pt idx="10755">
                  <c:v>3.8949335234146929</c:v>
                </c:pt>
                <c:pt idx="10756">
                  <c:v>5.9365672854001641</c:v>
                </c:pt>
                <c:pt idx="10757">
                  <c:v>5.0019171259007749</c:v>
                </c:pt>
                <c:pt idx="10758">
                  <c:v>6.0541603917199343</c:v>
                </c:pt>
                <c:pt idx="10759">
                  <c:v>4.9491173551649466</c:v>
                </c:pt>
                <c:pt idx="10760">
                  <c:v>5.0300944142030026</c:v>
                </c:pt>
                <c:pt idx="10761">
                  <c:v>6.0537337042540029</c:v>
                </c:pt>
                <c:pt idx="10762">
                  <c:v>5.9567896469839567</c:v>
                </c:pt>
                <c:pt idx="10763">
                  <c:v>5.8730185491408831</c:v>
                </c:pt>
                <c:pt idx="10764">
                  <c:v>6.1498181445179156</c:v>
                </c:pt>
                <c:pt idx="10765">
                  <c:v>6.0626402771362837</c:v>
                </c:pt>
                <c:pt idx="10766">
                  <c:v>5.1337028860644756</c:v>
                </c:pt>
                <c:pt idx="10767">
                  <c:v>5.0031115012522784</c:v>
                </c:pt>
                <c:pt idx="10768">
                  <c:v>6.1000965512804388</c:v>
                </c:pt>
                <c:pt idx="10769">
                  <c:v>4.9957638650343661</c:v>
                </c:pt>
                <c:pt idx="10770">
                  <c:v>6.0712615577121696</c:v>
                </c:pt>
                <c:pt idx="10771">
                  <c:v>4.0041919356863218</c:v>
                </c:pt>
                <c:pt idx="10772">
                  <c:v>4.1087253507865533</c:v>
                </c:pt>
                <c:pt idx="10773">
                  <c:v>4.9215676231966077</c:v>
                </c:pt>
                <c:pt idx="10774">
                  <c:v>5.8919585789779108</c:v>
                </c:pt>
                <c:pt idx="10775">
                  <c:v>6.062937512398622</c:v>
                </c:pt>
                <c:pt idx="10776">
                  <c:v>4.0665246551211922</c:v>
                </c:pt>
                <c:pt idx="10777">
                  <c:v>5.9604398087155701</c:v>
                </c:pt>
                <c:pt idx="10778">
                  <c:v>6.0715494296352359</c:v>
                </c:pt>
                <c:pt idx="10779">
                  <c:v>4.7939250422549247</c:v>
                </c:pt>
                <c:pt idx="10780">
                  <c:v>4.9749081706423066</c:v>
                </c:pt>
                <c:pt idx="10781">
                  <c:v>3.9201020046978892</c:v>
                </c:pt>
                <c:pt idx="10782">
                  <c:v>5.0775047172573222</c:v>
                </c:pt>
                <c:pt idx="10783">
                  <c:v>4.8735615442041942</c:v>
                </c:pt>
                <c:pt idx="10784">
                  <c:v>5.9852214889929707</c:v>
                </c:pt>
                <c:pt idx="10785">
                  <c:v>5.9123457370320001</c:v>
                </c:pt>
                <c:pt idx="10786">
                  <c:v>4.8274184212549072</c:v>
                </c:pt>
                <c:pt idx="10787">
                  <c:v>5.0268340188611873</c:v>
                </c:pt>
                <c:pt idx="10788">
                  <c:v>5.954347946153316</c:v>
                </c:pt>
                <c:pt idx="10789">
                  <c:v>4.843432627691894</c:v>
                </c:pt>
                <c:pt idx="10790">
                  <c:v>5.9740549664038198</c:v>
                </c:pt>
                <c:pt idx="10791">
                  <c:v>7.0918399366671263</c:v>
                </c:pt>
                <c:pt idx="10792">
                  <c:v>4.95670711263777</c:v>
                </c:pt>
                <c:pt idx="10793">
                  <c:v>7.1493092139444432</c:v>
                </c:pt>
                <c:pt idx="10794">
                  <c:v>7.076675625839921</c:v>
                </c:pt>
                <c:pt idx="10795">
                  <c:v>6.0940019864898431</c:v>
                </c:pt>
                <c:pt idx="10796">
                  <c:v>6.1224278946037405</c:v>
                </c:pt>
                <c:pt idx="10797">
                  <c:v>5.9859441093351426</c:v>
                </c:pt>
                <c:pt idx="10798">
                  <c:v>5.0972306794006057</c:v>
                </c:pt>
                <c:pt idx="10799">
                  <c:v>5.9290353552932338</c:v>
                </c:pt>
                <c:pt idx="10800">
                  <c:v>6.1042992490928611</c:v>
                </c:pt>
                <c:pt idx="10801">
                  <c:v>4.8491738005121015</c:v>
                </c:pt>
                <c:pt idx="10802">
                  <c:v>5.058477963097026</c:v>
                </c:pt>
                <c:pt idx="10803">
                  <c:v>4.8512469869335542</c:v>
                </c:pt>
                <c:pt idx="10804">
                  <c:v>5.9078080503493355</c:v>
                </c:pt>
                <c:pt idx="10805">
                  <c:v>5.961013076162013</c:v>
                </c:pt>
                <c:pt idx="10806">
                  <c:v>5.0464219700671551</c:v>
                </c:pt>
                <c:pt idx="10807">
                  <c:v>5.9101748623585335</c:v>
                </c:pt>
                <c:pt idx="10808">
                  <c:v>5.832002418792487</c:v>
                </c:pt>
                <c:pt idx="10809">
                  <c:v>5.0681394896302887</c:v>
                </c:pt>
                <c:pt idx="10810">
                  <c:v>4.8803715238401324</c:v>
                </c:pt>
                <c:pt idx="10811">
                  <c:v>5.9907289086432565</c:v>
                </c:pt>
                <c:pt idx="10812">
                  <c:v>3.9471634790893875</c:v>
                </c:pt>
                <c:pt idx="10813">
                  <c:v>5.0291510515634146</c:v>
                </c:pt>
                <c:pt idx="10814">
                  <c:v>6.1100959438094318</c:v>
                </c:pt>
                <c:pt idx="10815">
                  <c:v>5.8704908562830971</c:v>
                </c:pt>
                <c:pt idx="10816">
                  <c:v>6.8460412204095569</c:v>
                </c:pt>
                <c:pt idx="10817">
                  <c:v>5.0083143930327294</c:v>
                </c:pt>
                <c:pt idx="10818">
                  <c:v>7.0672561648723065</c:v>
                </c:pt>
                <c:pt idx="10819">
                  <c:v>4.9551955392303837</c:v>
                </c:pt>
                <c:pt idx="10820">
                  <c:v>6.0707897564560183</c:v>
                </c:pt>
                <c:pt idx="10821">
                  <c:v>5.084344049603887</c:v>
                </c:pt>
                <c:pt idx="10822">
                  <c:v>6.1074895664582014</c:v>
                </c:pt>
                <c:pt idx="10823">
                  <c:v>6.0185818257652128</c:v>
                </c:pt>
                <c:pt idx="10824">
                  <c:v>4.974412659013832</c:v>
                </c:pt>
                <c:pt idx="10825">
                  <c:v>5.0355943169983668</c:v>
                </c:pt>
                <c:pt idx="10826">
                  <c:v>5.9948966214843074</c:v>
                </c:pt>
                <c:pt idx="10827">
                  <c:v>6.9730110178379618</c:v>
                </c:pt>
                <c:pt idx="10828">
                  <c:v>5.2049435934799639</c:v>
                </c:pt>
                <c:pt idx="10829">
                  <c:v>5.0376162744865356</c:v>
                </c:pt>
                <c:pt idx="10830">
                  <c:v>4.9931294088286204</c:v>
                </c:pt>
                <c:pt idx="10831">
                  <c:v>4.8886329355568847</c:v>
                </c:pt>
                <c:pt idx="10832">
                  <c:v>6.0026455476462566</c:v>
                </c:pt>
                <c:pt idx="10833">
                  <c:v>5.1045571690279665</c:v>
                </c:pt>
                <c:pt idx="10834">
                  <c:v>5.944935334415101</c:v>
                </c:pt>
                <c:pt idx="10835">
                  <c:v>4.9002575382775895</c:v>
                </c:pt>
                <c:pt idx="10836">
                  <c:v>6.1203176930893397</c:v>
                </c:pt>
                <c:pt idx="10837">
                  <c:v>5.0002860794435735</c:v>
                </c:pt>
                <c:pt idx="10838">
                  <c:v>5.8890787467206174</c:v>
                </c:pt>
                <c:pt idx="10839">
                  <c:v>6.0697851695014782</c:v>
                </c:pt>
                <c:pt idx="10840">
                  <c:v>6.0338830805711785</c:v>
                </c:pt>
                <c:pt idx="10841">
                  <c:v>7.0875762248793972</c:v>
                </c:pt>
                <c:pt idx="10842">
                  <c:v>7.1200374769302615</c:v>
                </c:pt>
                <c:pt idx="10843">
                  <c:v>7.1196741613365662</c:v>
                </c:pt>
                <c:pt idx="10844">
                  <c:v>5.0804734034981172</c:v>
                </c:pt>
                <c:pt idx="10845">
                  <c:v>5.0956549490515695</c:v>
                </c:pt>
                <c:pt idx="10846">
                  <c:v>4.9227488875608918</c:v>
                </c:pt>
                <c:pt idx="10847">
                  <c:v>5.148601657352434</c:v>
                </c:pt>
                <c:pt idx="10848">
                  <c:v>5.0153879592108961</c:v>
                </c:pt>
                <c:pt idx="10849">
                  <c:v>4.6793480769077958</c:v>
                </c:pt>
                <c:pt idx="10850">
                  <c:v>4.8671093305779065</c:v>
                </c:pt>
                <c:pt idx="10851">
                  <c:v>5.1871442457638084</c:v>
                </c:pt>
                <c:pt idx="10852">
                  <c:v>4.9257397240820717</c:v>
                </c:pt>
                <c:pt idx="10853">
                  <c:v>5.0676171782749337</c:v>
                </c:pt>
                <c:pt idx="10854">
                  <c:v>5.9704337087680308</c:v>
                </c:pt>
                <c:pt idx="10855">
                  <c:v>4.8520649227548454</c:v>
                </c:pt>
                <c:pt idx="10856">
                  <c:v>5.0956712753843494</c:v>
                </c:pt>
                <c:pt idx="10857">
                  <c:v>6.9314248817719806</c:v>
                </c:pt>
                <c:pt idx="10858">
                  <c:v>5.9187451489613983</c:v>
                </c:pt>
                <c:pt idx="10859">
                  <c:v>4.8887271649869151</c:v>
                </c:pt>
                <c:pt idx="10860">
                  <c:v>5.0637877258467281</c:v>
                </c:pt>
                <c:pt idx="10861">
                  <c:v>5.0356347714520222</c:v>
                </c:pt>
                <c:pt idx="10862">
                  <c:v>5.9319184129052918</c:v>
                </c:pt>
                <c:pt idx="10863">
                  <c:v>4.965509422835062</c:v>
                </c:pt>
                <c:pt idx="10864">
                  <c:v>4.1579575083068141</c:v>
                </c:pt>
                <c:pt idx="10865">
                  <c:v>5.003728835153038</c:v>
                </c:pt>
                <c:pt idx="10866">
                  <c:v>6.971683125753505</c:v>
                </c:pt>
                <c:pt idx="10867">
                  <c:v>5.0772059403853262</c:v>
                </c:pt>
                <c:pt idx="10868">
                  <c:v>5.9312664308561338</c:v>
                </c:pt>
                <c:pt idx="10869">
                  <c:v>4.912967072844717</c:v>
                </c:pt>
                <c:pt idx="10870">
                  <c:v>5.9721474011569384</c:v>
                </c:pt>
                <c:pt idx="10871">
                  <c:v>4.9120142822135318</c:v>
                </c:pt>
                <c:pt idx="10872">
                  <c:v>4.8833406760582818</c:v>
                </c:pt>
                <c:pt idx="10873">
                  <c:v>4.9519081466733894</c:v>
                </c:pt>
                <c:pt idx="10874">
                  <c:v>5.8922715629527698</c:v>
                </c:pt>
                <c:pt idx="10875">
                  <c:v>5.0622854147388336</c:v>
                </c:pt>
                <c:pt idx="10876">
                  <c:v>5.1937535999523234</c:v>
                </c:pt>
                <c:pt idx="10877">
                  <c:v>4.9622265542545723</c:v>
                </c:pt>
                <c:pt idx="10878">
                  <c:v>7.0805717202273506</c:v>
                </c:pt>
                <c:pt idx="10879">
                  <c:v>5.0188270335075691</c:v>
                </c:pt>
                <c:pt idx="10880">
                  <c:v>5.0007517411429081</c:v>
                </c:pt>
                <c:pt idx="10881">
                  <c:v>6.0318518189279322</c:v>
                </c:pt>
                <c:pt idx="10882">
                  <c:v>6.0288700638380917</c:v>
                </c:pt>
                <c:pt idx="10883">
                  <c:v>6.1259923325440697</c:v>
                </c:pt>
                <c:pt idx="10884">
                  <c:v>4.9184762703544509</c:v>
                </c:pt>
                <c:pt idx="10885">
                  <c:v>5.9578388856339419</c:v>
                </c:pt>
                <c:pt idx="10886">
                  <c:v>5.9131021178346277</c:v>
                </c:pt>
                <c:pt idx="10887">
                  <c:v>4.8302998668265742</c:v>
                </c:pt>
                <c:pt idx="10888">
                  <c:v>6.1276413904201386</c:v>
                </c:pt>
                <c:pt idx="10889">
                  <c:v>4.9990398701243324</c:v>
                </c:pt>
                <c:pt idx="10890">
                  <c:v>4.8301257097097672</c:v>
                </c:pt>
                <c:pt idx="10891">
                  <c:v>5.1600957161188967</c:v>
                </c:pt>
                <c:pt idx="10892">
                  <c:v>6.0916617988251289</c:v>
                </c:pt>
                <c:pt idx="10893">
                  <c:v>6.0617802617226841</c:v>
                </c:pt>
                <c:pt idx="10894">
                  <c:v>4.9173669294420943</c:v>
                </c:pt>
                <c:pt idx="10895">
                  <c:v>6.0385062634450861</c:v>
                </c:pt>
                <c:pt idx="10896">
                  <c:v>6.1179626767254005</c:v>
                </c:pt>
                <c:pt idx="10897">
                  <c:v>5.0333886019025096</c:v>
                </c:pt>
                <c:pt idx="10898">
                  <c:v>5.8690874101068733</c:v>
                </c:pt>
                <c:pt idx="10899">
                  <c:v>5.1204963538487567</c:v>
                </c:pt>
                <c:pt idx="10900">
                  <c:v>6.0016720105286705</c:v>
                </c:pt>
                <c:pt idx="10901">
                  <c:v>5.1692737149678178</c:v>
                </c:pt>
                <c:pt idx="10902">
                  <c:v>5.9140618757220835</c:v>
                </c:pt>
                <c:pt idx="10903">
                  <c:v>5.0060739071989069</c:v>
                </c:pt>
                <c:pt idx="10904">
                  <c:v>5.9996844519911008</c:v>
                </c:pt>
                <c:pt idx="10905">
                  <c:v>5.9294421071846397</c:v>
                </c:pt>
                <c:pt idx="10906">
                  <c:v>5.9990224958337475</c:v>
                </c:pt>
                <c:pt idx="10907">
                  <c:v>6.0368175554371017</c:v>
                </c:pt>
                <c:pt idx="10908">
                  <c:v>5.9622943255450149</c:v>
                </c:pt>
                <c:pt idx="10909">
                  <c:v>4.8854890633020052</c:v>
                </c:pt>
                <c:pt idx="10910">
                  <c:v>5.0077114424402192</c:v>
                </c:pt>
                <c:pt idx="10911">
                  <c:v>5.2026563422022116</c:v>
                </c:pt>
                <c:pt idx="10912">
                  <c:v>6.0495692406507606</c:v>
                </c:pt>
                <c:pt idx="10913">
                  <c:v>6.1253513250142051</c:v>
                </c:pt>
                <c:pt idx="10914">
                  <c:v>5.9886620938858517</c:v>
                </c:pt>
                <c:pt idx="10915">
                  <c:v>6.0820557336281622</c:v>
                </c:pt>
                <c:pt idx="10916">
                  <c:v>4.8970190469725612</c:v>
                </c:pt>
                <c:pt idx="10917">
                  <c:v>5.0562363009425679</c:v>
                </c:pt>
                <c:pt idx="10918">
                  <c:v>5.9927377483311446</c:v>
                </c:pt>
                <c:pt idx="10919">
                  <c:v>5.0044687832800889</c:v>
                </c:pt>
                <c:pt idx="10920">
                  <c:v>5.1481382081015692</c:v>
                </c:pt>
                <c:pt idx="10921">
                  <c:v>6.048620691964409</c:v>
                </c:pt>
                <c:pt idx="10922">
                  <c:v>6.13930375962277</c:v>
                </c:pt>
                <c:pt idx="10923">
                  <c:v>6.0197349180876811</c:v>
                </c:pt>
                <c:pt idx="10924">
                  <c:v>5.9627874826274576</c:v>
                </c:pt>
                <c:pt idx="10925">
                  <c:v>4.9397731326441807</c:v>
                </c:pt>
                <c:pt idx="10926">
                  <c:v>5.1071277529811754</c:v>
                </c:pt>
                <c:pt idx="10927">
                  <c:v>4.8712420811380044</c:v>
                </c:pt>
                <c:pt idx="10928">
                  <c:v>5.9137146099874984</c:v>
                </c:pt>
                <c:pt idx="10929">
                  <c:v>5.9533432430520641</c:v>
                </c:pt>
                <c:pt idx="10930">
                  <c:v>5.9674589284173685</c:v>
                </c:pt>
                <c:pt idx="10931">
                  <c:v>5.0292149405233779</c:v>
                </c:pt>
                <c:pt idx="10932">
                  <c:v>5.9874158320367163</c:v>
                </c:pt>
                <c:pt idx="10933">
                  <c:v>5.1604415721099146</c:v>
                </c:pt>
                <c:pt idx="10934">
                  <c:v>5.0364999002710089</c:v>
                </c:pt>
                <c:pt idx="10935">
                  <c:v>4.9146359713584644</c:v>
                </c:pt>
                <c:pt idx="10936">
                  <c:v>5.0831010496584605</c:v>
                </c:pt>
                <c:pt idx="10937">
                  <c:v>5.8934203609390439</c:v>
                </c:pt>
                <c:pt idx="10938">
                  <c:v>6.0137331609210563</c:v>
                </c:pt>
                <c:pt idx="10939">
                  <c:v>5.0772401468211479</c:v>
                </c:pt>
                <c:pt idx="10940">
                  <c:v>4.8624419571623578</c:v>
                </c:pt>
                <c:pt idx="10941">
                  <c:v>6.0336198400639587</c:v>
                </c:pt>
                <c:pt idx="10942">
                  <c:v>5.0248651381664908</c:v>
                </c:pt>
                <c:pt idx="10943">
                  <c:v>6.1187425914971056</c:v>
                </c:pt>
                <c:pt idx="10944">
                  <c:v>5.9845830585461677</c:v>
                </c:pt>
                <c:pt idx="10945">
                  <c:v>5.0125367933133971</c:v>
                </c:pt>
                <c:pt idx="10946">
                  <c:v>5.9335537121137696</c:v>
                </c:pt>
                <c:pt idx="10947">
                  <c:v>4.9450106486557655</c:v>
                </c:pt>
                <c:pt idx="10948">
                  <c:v>6.0186693340316229</c:v>
                </c:pt>
                <c:pt idx="10949">
                  <c:v>5.8246258896823822</c:v>
                </c:pt>
                <c:pt idx="10950">
                  <c:v>6.0087160544135623</c:v>
                </c:pt>
                <c:pt idx="10951">
                  <c:v>6.0434784196568661</c:v>
                </c:pt>
                <c:pt idx="10952">
                  <c:v>5.8676247276837898</c:v>
                </c:pt>
                <c:pt idx="10953">
                  <c:v>5.9077554290511483</c:v>
                </c:pt>
                <c:pt idx="10954">
                  <c:v>5.9707107391980987</c:v>
                </c:pt>
                <c:pt idx="10955">
                  <c:v>5.0159939497665738</c:v>
                </c:pt>
                <c:pt idx="10956">
                  <c:v>6.1094446476445281</c:v>
                </c:pt>
                <c:pt idx="10957">
                  <c:v>5.8991191476686371</c:v>
                </c:pt>
                <c:pt idx="10958">
                  <c:v>3.9544182596572583</c:v>
                </c:pt>
                <c:pt idx="10959">
                  <c:v>4.9607381227519838</c:v>
                </c:pt>
                <c:pt idx="10960">
                  <c:v>5.8817780289333639</c:v>
                </c:pt>
                <c:pt idx="10961">
                  <c:v>6.0202561311380496</c:v>
                </c:pt>
                <c:pt idx="10962">
                  <c:v>4.988255505435566</c:v>
                </c:pt>
                <c:pt idx="10963">
                  <c:v>6.1677843924951157</c:v>
                </c:pt>
                <c:pt idx="10964">
                  <c:v>5.970436890028628</c:v>
                </c:pt>
                <c:pt idx="10965">
                  <c:v>2.9088993955288043</c:v>
                </c:pt>
                <c:pt idx="10966">
                  <c:v>2.9175281913896454</c:v>
                </c:pt>
                <c:pt idx="10967">
                  <c:v>3.100032174455996</c:v>
                </c:pt>
                <c:pt idx="10968">
                  <c:v>3.0073745956357976</c:v>
                </c:pt>
                <c:pt idx="10969">
                  <c:v>3.0276358807940742</c:v>
                </c:pt>
                <c:pt idx="10970">
                  <c:v>5.1295432475030687</c:v>
                </c:pt>
                <c:pt idx="10971">
                  <c:v>5.1008368079002961</c:v>
                </c:pt>
                <c:pt idx="10972">
                  <c:v>5.1060271759178324</c:v>
                </c:pt>
                <c:pt idx="10973">
                  <c:v>4.955573018375194</c:v>
                </c:pt>
                <c:pt idx="10974">
                  <c:v>4.9303325663065607</c:v>
                </c:pt>
                <c:pt idx="10975">
                  <c:v>4.9780475566909708</c:v>
                </c:pt>
                <c:pt idx="10976">
                  <c:v>5.0251498437826845</c:v>
                </c:pt>
                <c:pt idx="10977">
                  <c:v>6.0508164771304651</c:v>
                </c:pt>
                <c:pt idx="10978">
                  <c:v>5.8686304314954594</c:v>
                </c:pt>
                <c:pt idx="10979">
                  <c:v>6.0468653286490159</c:v>
                </c:pt>
                <c:pt idx="10980">
                  <c:v>6.0427664395687124</c:v>
                </c:pt>
                <c:pt idx="10981">
                  <c:v>6.944042280302904</c:v>
                </c:pt>
                <c:pt idx="10982">
                  <c:v>6.0705665961358273</c:v>
                </c:pt>
                <c:pt idx="10983">
                  <c:v>4.9979985979621047</c:v>
                </c:pt>
                <c:pt idx="10984">
                  <c:v>5.9816451017837524</c:v>
                </c:pt>
                <c:pt idx="10985">
                  <c:v>4.9599226432437034</c:v>
                </c:pt>
                <c:pt idx="10986">
                  <c:v>5.9695472649088188</c:v>
                </c:pt>
                <c:pt idx="10987">
                  <c:v>7.1261601602212057</c:v>
                </c:pt>
                <c:pt idx="10988">
                  <c:v>6.0996830791613972</c:v>
                </c:pt>
                <c:pt idx="10989">
                  <c:v>6.1563045471767959</c:v>
                </c:pt>
                <c:pt idx="10990">
                  <c:v>6.1104026590063878</c:v>
                </c:pt>
                <c:pt idx="10991">
                  <c:v>6.2257786553321459</c:v>
                </c:pt>
                <c:pt idx="10992">
                  <c:v>6.0730471065600105</c:v>
                </c:pt>
                <c:pt idx="10993">
                  <c:v>5.0655890912665118</c:v>
                </c:pt>
                <c:pt idx="10994">
                  <c:v>4.9893282559424765</c:v>
                </c:pt>
                <c:pt idx="10995">
                  <c:v>5.9542477531249514</c:v>
                </c:pt>
                <c:pt idx="10996">
                  <c:v>5.9688998564534002</c:v>
                </c:pt>
                <c:pt idx="10997">
                  <c:v>6.0426915132313175</c:v>
                </c:pt>
                <c:pt idx="10998">
                  <c:v>6.0691915527146092</c:v>
                </c:pt>
                <c:pt idx="10999">
                  <c:v>6.0248876144457784</c:v>
                </c:pt>
                <c:pt idx="11000">
                  <c:v>6.1893366206187563</c:v>
                </c:pt>
                <c:pt idx="11001">
                  <c:v>4.9265000975628848</c:v>
                </c:pt>
                <c:pt idx="11002">
                  <c:v>5.9047212940389286</c:v>
                </c:pt>
                <c:pt idx="11003">
                  <c:v>5.8184813808031262</c:v>
                </c:pt>
                <c:pt idx="11004">
                  <c:v>4.9148390959892891</c:v>
                </c:pt>
                <c:pt idx="11005">
                  <c:v>5.9410175188510532</c:v>
                </c:pt>
                <c:pt idx="11006">
                  <c:v>4.9076011422818286</c:v>
                </c:pt>
                <c:pt idx="11007">
                  <c:v>5.8915578679816258</c:v>
                </c:pt>
                <c:pt idx="11008">
                  <c:v>6.0754214640016118</c:v>
                </c:pt>
                <c:pt idx="11009">
                  <c:v>5.9887954710995341</c:v>
                </c:pt>
                <c:pt idx="11010">
                  <c:v>5.1046554277976988</c:v>
                </c:pt>
                <c:pt idx="11011">
                  <c:v>5.025191327273232</c:v>
                </c:pt>
                <c:pt idx="11012">
                  <c:v>4.9590163814434547</c:v>
                </c:pt>
                <c:pt idx="11013">
                  <c:v>6.0403457695099938</c:v>
                </c:pt>
                <c:pt idx="11014">
                  <c:v>5.0968459081941893</c:v>
                </c:pt>
                <c:pt idx="11015">
                  <c:v>5.9374790818343</c:v>
                </c:pt>
                <c:pt idx="11016">
                  <c:v>5.1239634816586657</c:v>
                </c:pt>
                <c:pt idx="11017">
                  <c:v>6.8529069821370516</c:v>
                </c:pt>
                <c:pt idx="11018">
                  <c:v>5.9935722072487616</c:v>
                </c:pt>
                <c:pt idx="11019">
                  <c:v>5.9379217648316098</c:v>
                </c:pt>
                <c:pt idx="11020">
                  <c:v>5.0879366796511896</c:v>
                </c:pt>
                <c:pt idx="11021">
                  <c:v>4.9738979430412229</c:v>
                </c:pt>
                <c:pt idx="11022">
                  <c:v>6.1479417434281212</c:v>
                </c:pt>
                <c:pt idx="11023">
                  <c:v>5.8559914358592939</c:v>
                </c:pt>
                <c:pt idx="11024">
                  <c:v>5.0344183522763579</c:v>
                </c:pt>
                <c:pt idx="11025">
                  <c:v>5.9424658817763447</c:v>
                </c:pt>
                <c:pt idx="11026">
                  <c:v>6.1245048267050217</c:v>
                </c:pt>
                <c:pt idx="11027">
                  <c:v>5.0792578039536211</c:v>
                </c:pt>
                <c:pt idx="11028">
                  <c:v>5.8825508148380292</c:v>
                </c:pt>
                <c:pt idx="11029">
                  <c:v>5.9326927754654815</c:v>
                </c:pt>
                <c:pt idx="11030">
                  <c:v>4.86680716506085</c:v>
                </c:pt>
                <c:pt idx="11031">
                  <c:v>6.0565897133526123</c:v>
                </c:pt>
                <c:pt idx="11032">
                  <c:v>6.013763171106028</c:v>
                </c:pt>
                <c:pt idx="11033">
                  <c:v>6.1618732206659388</c:v>
                </c:pt>
                <c:pt idx="11034">
                  <c:v>5.9507899631568915</c:v>
                </c:pt>
                <c:pt idx="11035">
                  <c:v>4.9710833934522114</c:v>
                </c:pt>
                <c:pt idx="11036">
                  <c:v>5.9537763173810534</c:v>
                </c:pt>
                <c:pt idx="11037">
                  <c:v>6.009927870144276</c:v>
                </c:pt>
                <c:pt idx="11038">
                  <c:v>5.9718076725246405</c:v>
                </c:pt>
                <c:pt idx="11039">
                  <c:v>6.0536620034666546</c:v>
                </c:pt>
                <c:pt idx="11040">
                  <c:v>5.9612822486270431</c:v>
                </c:pt>
                <c:pt idx="11041">
                  <c:v>5.9610728606100238</c:v>
                </c:pt>
                <c:pt idx="11042">
                  <c:v>5.9634767488744078</c:v>
                </c:pt>
                <c:pt idx="11043">
                  <c:v>5.9727003386730804</c:v>
                </c:pt>
                <c:pt idx="11044">
                  <c:v>6.015922055305496</c:v>
                </c:pt>
                <c:pt idx="11045">
                  <c:v>6.1263172989058301</c:v>
                </c:pt>
                <c:pt idx="11046">
                  <c:v>6.0516616940670547</c:v>
                </c:pt>
                <c:pt idx="11047">
                  <c:v>6.1570201813018866</c:v>
                </c:pt>
                <c:pt idx="11048">
                  <c:v>5.1470373511520044</c:v>
                </c:pt>
                <c:pt idx="11049">
                  <c:v>4.8923048131581526</c:v>
                </c:pt>
                <c:pt idx="11050">
                  <c:v>6.0248442897910151</c:v>
                </c:pt>
                <c:pt idx="11051">
                  <c:v>6.0023749231329875</c:v>
                </c:pt>
                <c:pt idx="11052">
                  <c:v>6.0222741615951403</c:v>
                </c:pt>
                <c:pt idx="11053">
                  <c:v>4.0496776296526162</c:v>
                </c:pt>
                <c:pt idx="11054">
                  <c:v>5.9378358259402884</c:v>
                </c:pt>
                <c:pt idx="11055">
                  <c:v>5.8927864775398344</c:v>
                </c:pt>
                <c:pt idx="11056">
                  <c:v>5.0188110825829977</c:v>
                </c:pt>
                <c:pt idx="11057">
                  <c:v>5.8165284627360059</c:v>
                </c:pt>
                <c:pt idx="11058">
                  <c:v>6.0502220282351038</c:v>
                </c:pt>
                <c:pt idx="11059">
                  <c:v>5.9953976499717285</c:v>
                </c:pt>
                <c:pt idx="11060">
                  <c:v>4.7403522116148578</c:v>
                </c:pt>
                <c:pt idx="11061">
                  <c:v>5.7473500847859942</c:v>
                </c:pt>
                <c:pt idx="11062">
                  <c:v>4.7279340106929899</c:v>
                </c:pt>
                <c:pt idx="11063">
                  <c:v>5.9935753710489621</c:v>
                </c:pt>
                <c:pt idx="11064">
                  <c:v>5.0709389761332693</c:v>
                </c:pt>
                <c:pt idx="11065">
                  <c:v>5.8780059055768472</c:v>
                </c:pt>
                <c:pt idx="11066">
                  <c:v>4.9503696983007472</c:v>
                </c:pt>
                <c:pt idx="11067">
                  <c:v>5.9267011600055577</c:v>
                </c:pt>
                <c:pt idx="11068">
                  <c:v>5.9011774163922226</c:v>
                </c:pt>
                <c:pt idx="11069">
                  <c:v>5.1943466541792978</c:v>
                </c:pt>
                <c:pt idx="11070">
                  <c:v>6.0313233966541233</c:v>
                </c:pt>
                <c:pt idx="11071">
                  <c:v>5.1844514553441181</c:v>
                </c:pt>
                <c:pt idx="11072">
                  <c:v>6.0618886089737627</c:v>
                </c:pt>
                <c:pt idx="11073">
                  <c:v>5.915017610184659</c:v>
                </c:pt>
                <c:pt idx="11074">
                  <c:v>5.1179126737311753</c:v>
                </c:pt>
                <c:pt idx="11075">
                  <c:v>5.8933942231650773</c:v>
                </c:pt>
                <c:pt idx="11076">
                  <c:v>5.9929363037606969</c:v>
                </c:pt>
                <c:pt idx="11077">
                  <c:v>5.7708445771730075</c:v>
                </c:pt>
                <c:pt idx="11078">
                  <c:v>4.9793121165313474</c:v>
                </c:pt>
                <c:pt idx="11079">
                  <c:v>5.9456366821758673</c:v>
                </c:pt>
                <c:pt idx="11080">
                  <c:v>6.2067846378393927</c:v>
                </c:pt>
                <c:pt idx="11081">
                  <c:v>4.8550700858805067</c:v>
                </c:pt>
                <c:pt idx="11082">
                  <c:v>5.9645746569018927</c:v>
                </c:pt>
                <c:pt idx="11083">
                  <c:v>5.1212552527145148</c:v>
                </c:pt>
                <c:pt idx="11084">
                  <c:v>6.0556227439035464</c:v>
                </c:pt>
                <c:pt idx="11085">
                  <c:v>5.9970780453026222</c:v>
                </c:pt>
                <c:pt idx="11086">
                  <c:v>5.0773194409942297</c:v>
                </c:pt>
                <c:pt idx="11087">
                  <c:v>5.8045643147175889</c:v>
                </c:pt>
                <c:pt idx="11088">
                  <c:v>5.9038807364388406</c:v>
                </c:pt>
                <c:pt idx="11089">
                  <c:v>6.0605868065617061</c:v>
                </c:pt>
                <c:pt idx="11090">
                  <c:v>5.8627191176056286</c:v>
                </c:pt>
                <c:pt idx="11091">
                  <c:v>5.9977722835774676</c:v>
                </c:pt>
                <c:pt idx="11092">
                  <c:v>6.051173382821454</c:v>
                </c:pt>
                <c:pt idx="11093">
                  <c:v>6.0488620766390779</c:v>
                </c:pt>
                <c:pt idx="11094">
                  <c:v>7.1568882657113422</c:v>
                </c:pt>
                <c:pt idx="11095">
                  <c:v>6.0046954358869238</c:v>
                </c:pt>
                <c:pt idx="11096">
                  <c:v>6.0959056032169121</c:v>
                </c:pt>
                <c:pt idx="11097">
                  <c:v>6.1506986452258925</c:v>
                </c:pt>
                <c:pt idx="11098">
                  <c:v>6.0016694023997266</c:v>
                </c:pt>
                <c:pt idx="11099">
                  <c:v>6.0444798846922483</c:v>
                </c:pt>
                <c:pt idx="11100">
                  <c:v>5.9423921405927498</c:v>
                </c:pt>
                <c:pt idx="11101">
                  <c:v>6.058687765333862</c:v>
                </c:pt>
                <c:pt idx="11102">
                  <c:v>6.1705790630748449</c:v>
                </c:pt>
                <c:pt idx="11103">
                  <c:v>6.1358548279600598</c:v>
                </c:pt>
                <c:pt idx="11104">
                  <c:v>5.8805079892220995</c:v>
                </c:pt>
                <c:pt idx="11105">
                  <c:v>6.0438623369477549</c:v>
                </c:pt>
                <c:pt idx="11106">
                  <c:v>5.880670968412165</c:v>
                </c:pt>
                <c:pt idx="11107">
                  <c:v>6.0134153392557481</c:v>
                </c:pt>
                <c:pt idx="11108">
                  <c:v>6.2519802089882743</c:v>
                </c:pt>
                <c:pt idx="11109">
                  <c:v>6.1369441793148551</c:v>
                </c:pt>
                <c:pt idx="11110">
                  <c:v>5.9297834548563202</c:v>
                </c:pt>
                <c:pt idx="11111">
                  <c:v>5.9905932928368815</c:v>
                </c:pt>
                <c:pt idx="11112">
                  <c:v>6.0582039852915059</c:v>
                </c:pt>
                <c:pt idx="11113">
                  <c:v>4.0851117410109499</c:v>
                </c:pt>
                <c:pt idx="11114">
                  <c:v>6.1190322981406489</c:v>
                </c:pt>
                <c:pt idx="11115">
                  <c:v>5.8103789934372667</c:v>
                </c:pt>
                <c:pt idx="11116">
                  <c:v>5.8894370388230577</c:v>
                </c:pt>
                <c:pt idx="11117">
                  <c:v>6.1008801749667994</c:v>
                </c:pt>
                <c:pt idx="11118">
                  <c:v>5.9700522875237976</c:v>
                </c:pt>
                <c:pt idx="11119">
                  <c:v>5.1399605698289728</c:v>
                </c:pt>
                <c:pt idx="11120">
                  <c:v>6.0250847401523151</c:v>
                </c:pt>
                <c:pt idx="11121">
                  <c:v>6.0766383969692397</c:v>
                </c:pt>
                <c:pt idx="11122">
                  <c:v>5.0937564367387367</c:v>
                </c:pt>
                <c:pt idx="11123">
                  <c:v>3.9248131211994473</c:v>
                </c:pt>
                <c:pt idx="11124">
                  <c:v>5.9357617038402486</c:v>
                </c:pt>
                <c:pt idx="11125">
                  <c:v>6.1627115224153926</c:v>
                </c:pt>
                <c:pt idx="11126">
                  <c:v>6.0806026410782499</c:v>
                </c:pt>
                <c:pt idx="11127">
                  <c:v>6.073905365544892</c:v>
                </c:pt>
                <c:pt idx="11128">
                  <c:v>5.0663337212722803</c:v>
                </c:pt>
                <c:pt idx="11129">
                  <c:v>5.9882138369100062</c:v>
                </c:pt>
                <c:pt idx="11130">
                  <c:v>6.0392941211558862</c:v>
                </c:pt>
                <c:pt idx="11131">
                  <c:v>6.9582472627432708</c:v>
                </c:pt>
                <c:pt idx="11132">
                  <c:v>6.9826008087131637</c:v>
                </c:pt>
                <c:pt idx="11133">
                  <c:v>6.2324841473118022</c:v>
                </c:pt>
                <c:pt idx="11134">
                  <c:v>5.9408962378866006</c:v>
                </c:pt>
                <c:pt idx="11135">
                  <c:v>6.0635665903695024</c:v>
                </c:pt>
                <c:pt idx="11136">
                  <c:v>6.9408243625404946</c:v>
                </c:pt>
                <c:pt idx="11137">
                  <c:v>6.0258558458307423</c:v>
                </c:pt>
                <c:pt idx="11138">
                  <c:v>1.8247528341917081</c:v>
                </c:pt>
                <c:pt idx="11139">
                  <c:v>2.0065941031787022</c:v>
                </c:pt>
                <c:pt idx="11140">
                  <c:v>6.0488690000426617</c:v>
                </c:pt>
                <c:pt idx="11141">
                  <c:v>1.897755836365451</c:v>
                </c:pt>
                <c:pt idx="11142">
                  <c:v>6.0846925134459271</c:v>
                </c:pt>
                <c:pt idx="11143">
                  <c:v>5.979802095878072</c:v>
                </c:pt>
                <c:pt idx="11144">
                  <c:v>5.9748740415616357</c:v>
                </c:pt>
                <c:pt idx="11145">
                  <c:v>5.9176444064964793</c:v>
                </c:pt>
                <c:pt idx="11146">
                  <c:v>6.0325951515336742</c:v>
                </c:pt>
                <c:pt idx="11147">
                  <c:v>5.8746829952560864</c:v>
                </c:pt>
                <c:pt idx="11148">
                  <c:v>6.2867535132379802</c:v>
                </c:pt>
                <c:pt idx="11149">
                  <c:v>6.0426905060754867</c:v>
                </c:pt>
                <c:pt idx="11150">
                  <c:v>5.9773730463430832</c:v>
                </c:pt>
                <c:pt idx="11151">
                  <c:v>5.9973797103363911</c:v>
                </c:pt>
                <c:pt idx="11152">
                  <c:v>5.95346989355492</c:v>
                </c:pt>
                <c:pt idx="11153">
                  <c:v>5.0310437499599159</c:v>
                </c:pt>
                <c:pt idx="11154">
                  <c:v>5.9432066958368761</c:v>
                </c:pt>
                <c:pt idx="11155">
                  <c:v>7.0229751048044431</c:v>
                </c:pt>
                <c:pt idx="11156">
                  <c:v>5.9869420151811781</c:v>
                </c:pt>
                <c:pt idx="11157">
                  <c:v>6.0535696406992248</c:v>
                </c:pt>
                <c:pt idx="11158">
                  <c:v>5.967825755512175</c:v>
                </c:pt>
                <c:pt idx="11159">
                  <c:v>5.9254979160878962</c:v>
                </c:pt>
                <c:pt idx="11160">
                  <c:v>4.9356012264057201</c:v>
                </c:pt>
                <c:pt idx="11161">
                  <c:v>4.8665565470430119</c:v>
                </c:pt>
                <c:pt idx="11162">
                  <c:v>6.0125073805477811</c:v>
                </c:pt>
                <c:pt idx="11163">
                  <c:v>4.9586263776176152</c:v>
                </c:pt>
                <c:pt idx="11164">
                  <c:v>6.0750828394978145</c:v>
                </c:pt>
                <c:pt idx="11165">
                  <c:v>5.8544647690106002</c:v>
                </c:pt>
                <c:pt idx="11166">
                  <c:v>5.0949828797038359</c:v>
                </c:pt>
                <c:pt idx="11167">
                  <c:v>5.8564756272642722</c:v>
                </c:pt>
                <c:pt idx="11168">
                  <c:v>6.9436191195629835</c:v>
                </c:pt>
                <c:pt idx="11169">
                  <c:v>5.8516846862828791</c:v>
                </c:pt>
                <c:pt idx="11170">
                  <c:v>5.8781760403432779</c:v>
                </c:pt>
                <c:pt idx="11171">
                  <c:v>6.0870410540308626</c:v>
                </c:pt>
                <c:pt idx="11172">
                  <c:v>6.2695637526182386</c:v>
                </c:pt>
                <c:pt idx="11173">
                  <c:v>6.2202258158513795</c:v>
                </c:pt>
                <c:pt idx="11174">
                  <c:v>6.0374835394667086</c:v>
                </c:pt>
                <c:pt idx="11175">
                  <c:v>5.85239938281783</c:v>
                </c:pt>
                <c:pt idx="11176">
                  <c:v>6.9454203728767938</c:v>
                </c:pt>
                <c:pt idx="11177">
                  <c:v>5.8608830692446201</c:v>
                </c:pt>
                <c:pt idx="11178">
                  <c:v>4.8722189594372116</c:v>
                </c:pt>
                <c:pt idx="11179">
                  <c:v>5.9918605223436741</c:v>
                </c:pt>
                <c:pt idx="11180">
                  <c:v>6.0173555856243954</c:v>
                </c:pt>
                <c:pt idx="11181">
                  <c:v>5.8554686681630548</c:v>
                </c:pt>
                <c:pt idx="11182">
                  <c:v>6.0261553117905438</c:v>
                </c:pt>
                <c:pt idx="11183">
                  <c:v>6.0899492981110201</c:v>
                </c:pt>
                <c:pt idx="11184">
                  <c:v>5.9986873561139999</c:v>
                </c:pt>
                <c:pt idx="11185">
                  <c:v>6.0454659640446646</c:v>
                </c:pt>
                <c:pt idx="11186">
                  <c:v>6.0775985832940025</c:v>
                </c:pt>
                <c:pt idx="11187">
                  <c:v>5.9169276553820662</c:v>
                </c:pt>
                <c:pt idx="11188">
                  <c:v>3.1965787535498125</c:v>
                </c:pt>
                <c:pt idx="11189">
                  <c:v>5.8592096721351856</c:v>
                </c:pt>
                <c:pt idx="11190">
                  <c:v>5.8983500432377625</c:v>
                </c:pt>
                <c:pt idx="11191">
                  <c:v>5.8580076212887118</c:v>
                </c:pt>
                <c:pt idx="11192">
                  <c:v>5.1191946003098563</c:v>
                </c:pt>
                <c:pt idx="11193">
                  <c:v>6.2328934988232065</c:v>
                </c:pt>
                <c:pt idx="11194">
                  <c:v>5.9625353361522375</c:v>
                </c:pt>
                <c:pt idx="11195">
                  <c:v>5.9509274603747233</c:v>
                </c:pt>
                <c:pt idx="11196">
                  <c:v>5.9949537933449291</c:v>
                </c:pt>
                <c:pt idx="11197">
                  <c:v>6.0459110878263704</c:v>
                </c:pt>
                <c:pt idx="11198">
                  <c:v>5.7903273600484395</c:v>
                </c:pt>
                <c:pt idx="11199">
                  <c:v>6.0234079850104179</c:v>
                </c:pt>
                <c:pt idx="11200">
                  <c:v>5.931037031608982</c:v>
                </c:pt>
                <c:pt idx="11201">
                  <c:v>5.9676379439787475</c:v>
                </c:pt>
                <c:pt idx="11202">
                  <c:v>6.222943591290111</c:v>
                </c:pt>
                <c:pt idx="11203">
                  <c:v>6.0322524279157728</c:v>
                </c:pt>
                <c:pt idx="11204">
                  <c:v>6.1327447403806135</c:v>
                </c:pt>
                <c:pt idx="11205">
                  <c:v>5.9767163441508702</c:v>
                </c:pt>
                <c:pt idx="11206">
                  <c:v>7.0169109623175414</c:v>
                </c:pt>
                <c:pt idx="11207">
                  <c:v>6.1250489856410395</c:v>
                </c:pt>
                <c:pt idx="11208">
                  <c:v>6.1288461319074035</c:v>
                </c:pt>
                <c:pt idx="11209">
                  <c:v>5.0341787941537683</c:v>
                </c:pt>
                <c:pt idx="11210">
                  <c:v>5.0279428342164403</c:v>
                </c:pt>
                <c:pt idx="11211">
                  <c:v>5.1363926632843677</c:v>
                </c:pt>
                <c:pt idx="11212">
                  <c:v>4.9836270454407572</c:v>
                </c:pt>
                <c:pt idx="11213">
                  <c:v>3.9356400033138574</c:v>
                </c:pt>
                <c:pt idx="11214">
                  <c:v>3.8727526330003634</c:v>
                </c:pt>
                <c:pt idx="11215">
                  <c:v>6.2082531715766658</c:v>
                </c:pt>
                <c:pt idx="11216">
                  <c:v>6.1352763724819139</c:v>
                </c:pt>
                <c:pt idx="11217">
                  <c:v>6.0347449144651382</c:v>
                </c:pt>
                <c:pt idx="11218">
                  <c:v>3.8534934010443673</c:v>
                </c:pt>
                <c:pt idx="11219">
                  <c:v>3.883101788286099</c:v>
                </c:pt>
                <c:pt idx="11220">
                  <c:v>4.1019260112272322</c:v>
                </c:pt>
                <c:pt idx="11221">
                  <c:v>6.00882170073357</c:v>
                </c:pt>
                <c:pt idx="11222">
                  <c:v>5.9688081158291242</c:v>
                </c:pt>
                <c:pt idx="11223">
                  <c:v>4.9799006543744273</c:v>
                </c:pt>
                <c:pt idx="11224">
                  <c:v>6.0178067468526848</c:v>
                </c:pt>
                <c:pt idx="11225">
                  <c:v>5.9916662090750501</c:v>
                </c:pt>
                <c:pt idx="11226">
                  <c:v>6.0094088695981061</c:v>
                </c:pt>
                <c:pt idx="11227">
                  <c:v>6.0389426155992574</c:v>
                </c:pt>
                <c:pt idx="11228">
                  <c:v>5.9868942136299177</c:v>
                </c:pt>
                <c:pt idx="11229">
                  <c:v>3.8580857035667533</c:v>
                </c:pt>
                <c:pt idx="11230">
                  <c:v>4.0006430429597808</c:v>
                </c:pt>
                <c:pt idx="11231">
                  <c:v>4.0026573522947064</c:v>
                </c:pt>
                <c:pt idx="11232">
                  <c:v>3.9887648554752646</c:v>
                </c:pt>
                <c:pt idx="11233">
                  <c:v>3.8925763804134448</c:v>
                </c:pt>
                <c:pt idx="11234">
                  <c:v>6.0108199747400386</c:v>
                </c:pt>
                <c:pt idx="11235">
                  <c:v>6.1688766388338099</c:v>
                </c:pt>
                <c:pt idx="11236">
                  <c:v>2.0375824134319735</c:v>
                </c:pt>
                <c:pt idx="11237">
                  <c:v>5.0609443627037027</c:v>
                </c:pt>
                <c:pt idx="11238">
                  <c:v>5.0775050080428139</c:v>
                </c:pt>
                <c:pt idx="11239">
                  <c:v>6.0324057881407347</c:v>
                </c:pt>
                <c:pt idx="11240">
                  <c:v>5.9279859585123038</c:v>
                </c:pt>
                <c:pt idx="11241">
                  <c:v>5.9233650757420113</c:v>
                </c:pt>
                <c:pt idx="11242">
                  <c:v>5.1089470933378029</c:v>
                </c:pt>
                <c:pt idx="11243">
                  <c:v>5.1423929827647097</c:v>
                </c:pt>
                <c:pt idx="11244">
                  <c:v>5.9235264552887097</c:v>
                </c:pt>
                <c:pt idx="11245">
                  <c:v>6.13231627906202</c:v>
                </c:pt>
                <c:pt idx="11246">
                  <c:v>5.9207363570648219</c:v>
                </c:pt>
                <c:pt idx="11247">
                  <c:v>6.8540074753443632</c:v>
                </c:pt>
                <c:pt idx="11248">
                  <c:v>5.9081949898126886</c:v>
                </c:pt>
                <c:pt idx="11249">
                  <c:v>5.09281754164991</c:v>
                </c:pt>
                <c:pt idx="11250">
                  <c:v>4.9894777122237954</c:v>
                </c:pt>
                <c:pt idx="11251">
                  <c:v>6.0270135475783135</c:v>
                </c:pt>
                <c:pt idx="11252">
                  <c:v>4.9297638180803949</c:v>
                </c:pt>
                <c:pt idx="11253">
                  <c:v>6.0163615908002317</c:v>
                </c:pt>
                <c:pt idx="11254">
                  <c:v>5.0713557909543647</c:v>
                </c:pt>
                <c:pt idx="11255">
                  <c:v>5.9364264983664583</c:v>
                </c:pt>
                <c:pt idx="11256">
                  <c:v>6.0068321403309826</c:v>
                </c:pt>
                <c:pt idx="11257">
                  <c:v>6.0153232298018358</c:v>
                </c:pt>
                <c:pt idx="11258">
                  <c:v>4.9612789862749951</c:v>
                </c:pt>
                <c:pt idx="11259">
                  <c:v>6.0248399411210247</c:v>
                </c:pt>
                <c:pt idx="11260">
                  <c:v>6.0138837653716948</c:v>
                </c:pt>
                <c:pt idx="11261">
                  <c:v>6.0410206460391578</c:v>
                </c:pt>
                <c:pt idx="11262">
                  <c:v>4.9104555691165404</c:v>
                </c:pt>
                <c:pt idx="11263">
                  <c:v>7.108884191419147</c:v>
                </c:pt>
                <c:pt idx="11264">
                  <c:v>5.8384128713165975</c:v>
                </c:pt>
                <c:pt idx="11265">
                  <c:v>4.9471659967916102</c:v>
                </c:pt>
                <c:pt idx="11266">
                  <c:v>5.9907807180979313</c:v>
                </c:pt>
                <c:pt idx="11267">
                  <c:v>4.8330222078268585</c:v>
                </c:pt>
                <c:pt idx="11268">
                  <c:v>5.9038585937272412</c:v>
                </c:pt>
                <c:pt idx="11269">
                  <c:v>5.9360741177339333</c:v>
                </c:pt>
                <c:pt idx="11270">
                  <c:v>6.1325806459039445</c:v>
                </c:pt>
                <c:pt idx="11271">
                  <c:v>5.8385611144080194</c:v>
                </c:pt>
                <c:pt idx="11272">
                  <c:v>5.9575576606921228</c:v>
                </c:pt>
                <c:pt idx="11273">
                  <c:v>5.0162444794377361</c:v>
                </c:pt>
                <c:pt idx="11274">
                  <c:v>5.0674212754148815</c:v>
                </c:pt>
                <c:pt idx="11275">
                  <c:v>5.0662891966861086</c:v>
                </c:pt>
                <c:pt idx="11276">
                  <c:v>4.8572613659248676</c:v>
                </c:pt>
                <c:pt idx="11277">
                  <c:v>6.0609011389087897</c:v>
                </c:pt>
                <c:pt idx="11278">
                  <c:v>4.8161206365992317</c:v>
                </c:pt>
                <c:pt idx="11279">
                  <c:v>5.7781277982619832</c:v>
                </c:pt>
                <c:pt idx="11280">
                  <c:v>6.0033071318896996</c:v>
                </c:pt>
                <c:pt idx="11281">
                  <c:v>6.1186607962474433</c:v>
                </c:pt>
                <c:pt idx="11282">
                  <c:v>5.9573837001886778</c:v>
                </c:pt>
                <c:pt idx="11283">
                  <c:v>6.0276270385645354</c:v>
                </c:pt>
                <c:pt idx="11284">
                  <c:v>6.0337131994912019</c:v>
                </c:pt>
                <c:pt idx="11285">
                  <c:v>6.0967316821726376</c:v>
                </c:pt>
                <c:pt idx="11286">
                  <c:v>4.8646265739298657</c:v>
                </c:pt>
                <c:pt idx="11287">
                  <c:v>5.1881041327507429</c:v>
                </c:pt>
                <c:pt idx="11288">
                  <c:v>5.1424424778771609</c:v>
                </c:pt>
                <c:pt idx="11289">
                  <c:v>5.9656457783207761</c:v>
                </c:pt>
                <c:pt idx="11290">
                  <c:v>4.7971288715426503</c:v>
                </c:pt>
                <c:pt idx="11291">
                  <c:v>6.0334229548921172</c:v>
                </c:pt>
                <c:pt idx="11292">
                  <c:v>6.0517016685062393</c:v>
                </c:pt>
                <c:pt idx="11293">
                  <c:v>5.9807727426684529</c:v>
                </c:pt>
                <c:pt idx="11294">
                  <c:v>5.0863721240743942</c:v>
                </c:pt>
                <c:pt idx="11295">
                  <c:v>5.9521234139243768</c:v>
                </c:pt>
                <c:pt idx="11296">
                  <c:v>6.2191274855971495</c:v>
                </c:pt>
                <c:pt idx="11297">
                  <c:v>6.004853503288933</c:v>
                </c:pt>
                <c:pt idx="11298">
                  <c:v>6.0783860133156749</c:v>
                </c:pt>
                <c:pt idx="11299">
                  <c:v>6.0151206950381733</c:v>
                </c:pt>
                <c:pt idx="11300">
                  <c:v>5.8771753823361923</c:v>
                </c:pt>
                <c:pt idx="11301">
                  <c:v>5.9290741288728119</c:v>
                </c:pt>
                <c:pt idx="11302">
                  <c:v>6.0026462735721182</c:v>
                </c:pt>
                <c:pt idx="11303">
                  <c:v>5.961697027718099</c:v>
                </c:pt>
                <c:pt idx="11304">
                  <c:v>5.008719660948028</c:v>
                </c:pt>
                <c:pt idx="11305">
                  <c:v>5.0107429139534609</c:v>
                </c:pt>
                <c:pt idx="11306">
                  <c:v>5.8952368612422097</c:v>
                </c:pt>
                <c:pt idx="11307">
                  <c:v>4.8649378453050893</c:v>
                </c:pt>
                <c:pt idx="11308">
                  <c:v>5.2267341074732236</c:v>
                </c:pt>
                <c:pt idx="11309">
                  <c:v>4.9760056777301145</c:v>
                </c:pt>
                <c:pt idx="11310">
                  <c:v>5.1330339593868226</c:v>
                </c:pt>
                <c:pt idx="11311">
                  <c:v>5.8021395231295854</c:v>
                </c:pt>
                <c:pt idx="11312">
                  <c:v>5.9189552962361782</c:v>
                </c:pt>
                <c:pt idx="11313">
                  <c:v>5.9416668529187548</c:v>
                </c:pt>
                <c:pt idx="11314">
                  <c:v>4.9941912225523124</c:v>
                </c:pt>
                <c:pt idx="11315">
                  <c:v>4.9681747733462673</c:v>
                </c:pt>
                <c:pt idx="11316">
                  <c:v>6.0253406864444932</c:v>
                </c:pt>
                <c:pt idx="11317">
                  <c:v>5.8936281460963897</c:v>
                </c:pt>
                <c:pt idx="11318">
                  <c:v>5.7931529541285265</c:v>
                </c:pt>
                <c:pt idx="11319">
                  <c:v>5.0671365179603987</c:v>
                </c:pt>
                <c:pt idx="11320">
                  <c:v>4.9414967049650329</c:v>
                </c:pt>
                <c:pt idx="11321">
                  <c:v>5.0262875813813057</c:v>
                </c:pt>
                <c:pt idx="11322">
                  <c:v>4.9866531318582457</c:v>
                </c:pt>
                <c:pt idx="11323">
                  <c:v>6.1053682958239026</c:v>
                </c:pt>
                <c:pt idx="11324">
                  <c:v>5.8179070418145731</c:v>
                </c:pt>
                <c:pt idx="11325">
                  <c:v>6.0947276630156217</c:v>
                </c:pt>
                <c:pt idx="11326">
                  <c:v>5.1363252007178399</c:v>
                </c:pt>
                <c:pt idx="11327">
                  <c:v>4.9682763596492512</c:v>
                </c:pt>
                <c:pt idx="11328">
                  <c:v>5.0471280062908015</c:v>
                </c:pt>
                <c:pt idx="11329">
                  <c:v>6.0315759703822431</c:v>
                </c:pt>
                <c:pt idx="11330">
                  <c:v>5.8926273169250116</c:v>
                </c:pt>
                <c:pt idx="11331">
                  <c:v>5.9772271971175321</c:v>
                </c:pt>
                <c:pt idx="11332">
                  <c:v>5.0917250684261903</c:v>
                </c:pt>
                <c:pt idx="11333">
                  <c:v>5.0077773920559991</c:v>
                </c:pt>
                <c:pt idx="11334">
                  <c:v>6.1061949390772012</c:v>
                </c:pt>
                <c:pt idx="11335">
                  <c:v>4.9755112495880223</c:v>
                </c:pt>
                <c:pt idx="11336">
                  <c:v>5.979652224453865</c:v>
                </c:pt>
                <c:pt idx="11337">
                  <c:v>2.85179803421281</c:v>
                </c:pt>
                <c:pt idx="11338">
                  <c:v>4.8984522458386888</c:v>
                </c:pt>
                <c:pt idx="11339">
                  <c:v>6.0610034717507384</c:v>
                </c:pt>
                <c:pt idx="11340">
                  <c:v>5.0201921776637484</c:v>
                </c:pt>
                <c:pt idx="11341">
                  <c:v>5.8505119488147246</c:v>
                </c:pt>
                <c:pt idx="11342">
                  <c:v>5.7940135438558382</c:v>
                </c:pt>
                <c:pt idx="11343">
                  <c:v>4.8993286992579836</c:v>
                </c:pt>
                <c:pt idx="11344">
                  <c:v>4.9665225010104992</c:v>
                </c:pt>
                <c:pt idx="11345">
                  <c:v>6.0906612626158028</c:v>
                </c:pt>
                <c:pt idx="11346">
                  <c:v>6.1690883361250863</c:v>
                </c:pt>
                <c:pt idx="11347">
                  <c:v>5.9033160669335984</c:v>
                </c:pt>
                <c:pt idx="11348">
                  <c:v>4.8689137872865569</c:v>
                </c:pt>
                <c:pt idx="11349">
                  <c:v>5.0918555614001191</c:v>
                </c:pt>
                <c:pt idx="11350">
                  <c:v>5.9912073556886325</c:v>
                </c:pt>
                <c:pt idx="11351">
                  <c:v>5.8295808978585431</c:v>
                </c:pt>
                <c:pt idx="11352">
                  <c:v>6.1146854320173389</c:v>
                </c:pt>
                <c:pt idx="11353">
                  <c:v>6.2277765737102015</c:v>
                </c:pt>
                <c:pt idx="11354">
                  <c:v>6.0449001478406856</c:v>
                </c:pt>
                <c:pt idx="11355">
                  <c:v>4.9850006017294239</c:v>
                </c:pt>
                <c:pt idx="11356">
                  <c:v>5.915587452957257</c:v>
                </c:pt>
                <c:pt idx="11357">
                  <c:v>5.0457567332550326</c:v>
                </c:pt>
                <c:pt idx="11358">
                  <c:v>6.1382431383586002</c:v>
                </c:pt>
                <c:pt idx="11359">
                  <c:v>6.0259662541290293</c:v>
                </c:pt>
                <c:pt idx="11360">
                  <c:v>6.1788637775147421</c:v>
                </c:pt>
                <c:pt idx="11361">
                  <c:v>3.9849819246345208</c:v>
                </c:pt>
                <c:pt idx="11362">
                  <c:v>4.0566634509001052</c:v>
                </c:pt>
                <c:pt idx="11363">
                  <c:v>4.9780747577794973</c:v>
                </c:pt>
                <c:pt idx="11364">
                  <c:v>5.8404271311878091</c:v>
                </c:pt>
                <c:pt idx="11365">
                  <c:v>6.0142255434640273</c:v>
                </c:pt>
                <c:pt idx="11366">
                  <c:v>6.1037990509460673</c:v>
                </c:pt>
                <c:pt idx="11367">
                  <c:v>5.1349878151088264</c:v>
                </c:pt>
                <c:pt idx="11368">
                  <c:v>6.0495857111385352</c:v>
                </c:pt>
                <c:pt idx="11369">
                  <c:v>6.0813537229103751</c:v>
                </c:pt>
                <c:pt idx="11370">
                  <c:v>6.0448069233767594</c:v>
                </c:pt>
                <c:pt idx="11371">
                  <c:v>6.0234391854941327</c:v>
                </c:pt>
                <c:pt idx="11372">
                  <c:v>4.8243250481615387</c:v>
                </c:pt>
                <c:pt idx="11373">
                  <c:v>5.0427691181696099</c:v>
                </c:pt>
                <c:pt idx="11374">
                  <c:v>5.9942093191773358</c:v>
                </c:pt>
                <c:pt idx="11375">
                  <c:v>6.0404423928649198</c:v>
                </c:pt>
                <c:pt idx="11376">
                  <c:v>5.8565913504114357</c:v>
                </c:pt>
                <c:pt idx="11377">
                  <c:v>6.0850442065905881</c:v>
                </c:pt>
                <c:pt idx="11378">
                  <c:v>5.7546833171635363</c:v>
                </c:pt>
                <c:pt idx="11379">
                  <c:v>6.9014195472276194</c:v>
                </c:pt>
                <c:pt idx="11380">
                  <c:v>5.1324029635427024</c:v>
                </c:pt>
                <c:pt idx="11381">
                  <c:v>6.9337104209365714</c:v>
                </c:pt>
                <c:pt idx="11382">
                  <c:v>5.7715715787923436</c:v>
                </c:pt>
                <c:pt idx="11383">
                  <c:v>6.0898920969382164</c:v>
                </c:pt>
                <c:pt idx="11384">
                  <c:v>5.8969566724229106</c:v>
                </c:pt>
                <c:pt idx="11385">
                  <c:v>5.7835374264981096</c:v>
                </c:pt>
                <c:pt idx="11386">
                  <c:v>6.9809473975315948</c:v>
                </c:pt>
                <c:pt idx="11387">
                  <c:v>6.0118867857363965</c:v>
                </c:pt>
                <c:pt idx="11388">
                  <c:v>7.0300569578226364</c:v>
                </c:pt>
                <c:pt idx="11389">
                  <c:v>7.1609822480270724</c:v>
                </c:pt>
                <c:pt idx="11390">
                  <c:v>6.1595782246967161</c:v>
                </c:pt>
                <c:pt idx="11391">
                  <c:v>5.9495210865104395</c:v>
                </c:pt>
                <c:pt idx="11392">
                  <c:v>4.862754410356616</c:v>
                </c:pt>
                <c:pt idx="11393">
                  <c:v>6.0866392360210551</c:v>
                </c:pt>
                <c:pt idx="11394">
                  <c:v>5.9956387534751316</c:v>
                </c:pt>
                <c:pt idx="11395">
                  <c:v>6.1929776947942647</c:v>
                </c:pt>
                <c:pt idx="11396">
                  <c:v>4.9601757406434261</c:v>
                </c:pt>
                <c:pt idx="11397">
                  <c:v>4.9215026394678958</c:v>
                </c:pt>
                <c:pt idx="11398">
                  <c:v>5.7550289128996166</c:v>
                </c:pt>
                <c:pt idx="11399">
                  <c:v>6.0568041675700668</c:v>
                </c:pt>
                <c:pt idx="11400">
                  <c:v>6.1542785838057839</c:v>
                </c:pt>
                <c:pt idx="11401">
                  <c:v>6.024072513822011</c:v>
                </c:pt>
                <c:pt idx="11402">
                  <c:v>5.1056471056355912</c:v>
                </c:pt>
                <c:pt idx="11403">
                  <c:v>5.8846132065346994</c:v>
                </c:pt>
                <c:pt idx="11404">
                  <c:v>6.0070042539284936</c:v>
                </c:pt>
                <c:pt idx="11405">
                  <c:v>6.0054666794517342</c:v>
                </c:pt>
                <c:pt idx="11406">
                  <c:v>5.036652471601081</c:v>
                </c:pt>
                <c:pt idx="11407">
                  <c:v>5.0575992125294604</c:v>
                </c:pt>
                <c:pt idx="11408">
                  <c:v>5.8808308752694636</c:v>
                </c:pt>
                <c:pt idx="11409">
                  <c:v>6.1062082445614116</c:v>
                </c:pt>
                <c:pt idx="11410">
                  <c:v>5.8291801395844853</c:v>
                </c:pt>
                <c:pt idx="11411">
                  <c:v>6.0246339036365102</c:v>
                </c:pt>
                <c:pt idx="11412">
                  <c:v>5.1137556780073341</c:v>
                </c:pt>
                <c:pt idx="11413">
                  <c:v>5.8460612194199593</c:v>
                </c:pt>
                <c:pt idx="11414">
                  <c:v>4.9864000605049128</c:v>
                </c:pt>
                <c:pt idx="11415">
                  <c:v>5.9643419861995639</c:v>
                </c:pt>
                <c:pt idx="11416">
                  <c:v>7.0485521729279954</c:v>
                </c:pt>
                <c:pt idx="11417">
                  <c:v>5.0618894132682</c:v>
                </c:pt>
                <c:pt idx="11418">
                  <c:v>6.1121622369719786</c:v>
                </c:pt>
                <c:pt idx="11419">
                  <c:v>5.9541570911462092</c:v>
                </c:pt>
                <c:pt idx="11420">
                  <c:v>5.9687931816030613</c:v>
                </c:pt>
                <c:pt idx="11421">
                  <c:v>6.0282191172608375</c:v>
                </c:pt>
                <c:pt idx="11422">
                  <c:v>6.1181376018041913</c:v>
                </c:pt>
                <c:pt idx="11423">
                  <c:v>5.0276177115732086</c:v>
                </c:pt>
                <c:pt idx="11424">
                  <c:v>7.1166395507755809</c:v>
                </c:pt>
                <c:pt idx="11425">
                  <c:v>5.954834887937583</c:v>
                </c:pt>
                <c:pt idx="11426">
                  <c:v>6.2386799338909631</c:v>
                </c:pt>
                <c:pt idx="11427">
                  <c:v>5.0022273852146002</c:v>
                </c:pt>
                <c:pt idx="11428">
                  <c:v>7.0364433507777058</c:v>
                </c:pt>
                <c:pt idx="11429">
                  <c:v>5.8672252692074203</c:v>
                </c:pt>
                <c:pt idx="11430">
                  <c:v>5.7510997237962584</c:v>
                </c:pt>
                <c:pt idx="11431">
                  <c:v>5.0903674194199242</c:v>
                </c:pt>
                <c:pt idx="11432">
                  <c:v>6.9557531082725443</c:v>
                </c:pt>
                <c:pt idx="11433">
                  <c:v>6.8199208317325821</c:v>
                </c:pt>
                <c:pt idx="11434">
                  <c:v>5.940961033154359</c:v>
                </c:pt>
                <c:pt idx="11435">
                  <c:v>7.2162224045766816</c:v>
                </c:pt>
                <c:pt idx="11436">
                  <c:v>7.0104314543823492</c:v>
                </c:pt>
                <c:pt idx="11437">
                  <c:v>5.0098021720874462</c:v>
                </c:pt>
                <c:pt idx="11438">
                  <c:v>5.9056875508225382</c:v>
                </c:pt>
                <c:pt idx="11439">
                  <c:v>5.8584410366061199</c:v>
                </c:pt>
                <c:pt idx="11440">
                  <c:v>5.9031425331936891</c:v>
                </c:pt>
                <c:pt idx="11441">
                  <c:v>5.9645005897390186</c:v>
                </c:pt>
                <c:pt idx="11442">
                  <c:v>5.9211840745291742</c:v>
                </c:pt>
                <c:pt idx="11443">
                  <c:v>5.8938443372735865</c:v>
                </c:pt>
                <c:pt idx="11444">
                  <c:v>5.0871222300186965</c:v>
                </c:pt>
                <c:pt idx="11445">
                  <c:v>6.081471970536672</c:v>
                </c:pt>
                <c:pt idx="11446">
                  <c:v>6.0480796175381837</c:v>
                </c:pt>
                <c:pt idx="11447">
                  <c:v>5.0824710779731594</c:v>
                </c:pt>
                <c:pt idx="11448">
                  <c:v>5.8155546264448992</c:v>
                </c:pt>
                <c:pt idx="11449">
                  <c:v>5.9554660080270683</c:v>
                </c:pt>
                <c:pt idx="11450">
                  <c:v>5.8632378750005154</c:v>
                </c:pt>
                <c:pt idx="11451">
                  <c:v>6.1085342506797957</c:v>
                </c:pt>
                <c:pt idx="11452">
                  <c:v>5.0049822425977002</c:v>
                </c:pt>
                <c:pt idx="11453">
                  <c:v>6.1083438660830129</c:v>
                </c:pt>
                <c:pt idx="11454">
                  <c:v>5.0395263797784215</c:v>
                </c:pt>
                <c:pt idx="11455">
                  <c:v>4.9713648696071964</c:v>
                </c:pt>
                <c:pt idx="11456">
                  <c:v>5.010771743962664</c:v>
                </c:pt>
                <c:pt idx="11457">
                  <c:v>5.8437609057331841</c:v>
                </c:pt>
                <c:pt idx="11458">
                  <c:v>3.8865077689159628</c:v>
                </c:pt>
                <c:pt idx="11459">
                  <c:v>3.9821982049454352</c:v>
                </c:pt>
                <c:pt idx="11460">
                  <c:v>5.9522427362332744</c:v>
                </c:pt>
                <c:pt idx="11461">
                  <c:v>6.7544310473430533</c:v>
                </c:pt>
                <c:pt idx="11462">
                  <c:v>6.8807851618339111</c:v>
                </c:pt>
                <c:pt idx="11463">
                  <c:v>6.9841653228196732</c:v>
                </c:pt>
                <c:pt idx="11464">
                  <c:v>6.0397795282492863</c:v>
                </c:pt>
                <c:pt idx="11465">
                  <c:v>5.8505572272123159</c:v>
                </c:pt>
                <c:pt idx="11466">
                  <c:v>6.0103071240481549</c:v>
                </c:pt>
                <c:pt idx="11467">
                  <c:v>6.0484968142871187</c:v>
                </c:pt>
                <c:pt idx="11468">
                  <c:v>4.9716868612648577</c:v>
                </c:pt>
                <c:pt idx="11469">
                  <c:v>5.1710274153451836</c:v>
                </c:pt>
                <c:pt idx="11470">
                  <c:v>5.88153399605239</c:v>
                </c:pt>
                <c:pt idx="11471">
                  <c:v>6.0422626770568391</c:v>
                </c:pt>
                <c:pt idx="11472">
                  <c:v>4.942307348809301</c:v>
                </c:pt>
                <c:pt idx="11473">
                  <c:v>5.9689822752993287</c:v>
                </c:pt>
                <c:pt idx="11474">
                  <c:v>4.0961652663540802</c:v>
                </c:pt>
                <c:pt idx="11475">
                  <c:v>5.9823678234371203</c:v>
                </c:pt>
                <c:pt idx="11476">
                  <c:v>5.0877351527750045</c:v>
                </c:pt>
                <c:pt idx="11477">
                  <c:v>5.9743415804383471</c:v>
                </c:pt>
                <c:pt idx="11478">
                  <c:v>5.7766832399895272</c:v>
                </c:pt>
                <c:pt idx="11479">
                  <c:v>4.9715614820466776</c:v>
                </c:pt>
                <c:pt idx="11480">
                  <c:v>6.9159454451422189</c:v>
                </c:pt>
                <c:pt idx="11481">
                  <c:v>4.903965990803794</c:v>
                </c:pt>
                <c:pt idx="11482">
                  <c:v>5.8368733981787431</c:v>
                </c:pt>
                <c:pt idx="11483">
                  <c:v>4.9469785464837095</c:v>
                </c:pt>
                <c:pt idx="11484">
                  <c:v>5.1611255610512012</c:v>
                </c:pt>
                <c:pt idx="11485">
                  <c:v>6.0979382751205105</c:v>
                </c:pt>
                <c:pt idx="11486">
                  <c:v>6.0982083164683747</c:v>
                </c:pt>
                <c:pt idx="11487">
                  <c:v>5.1186812313758958</c:v>
                </c:pt>
                <c:pt idx="11488">
                  <c:v>4.9775514791276754</c:v>
                </c:pt>
                <c:pt idx="11489">
                  <c:v>5.9714148296756084</c:v>
                </c:pt>
                <c:pt idx="11490">
                  <c:v>6.0618707532095311</c:v>
                </c:pt>
                <c:pt idx="11491">
                  <c:v>6.0919092980391794</c:v>
                </c:pt>
                <c:pt idx="11492">
                  <c:v>6.0193590945963038</c:v>
                </c:pt>
                <c:pt idx="11493">
                  <c:v>5.921766038555746</c:v>
                </c:pt>
                <c:pt idx="11494">
                  <c:v>5.987524462433135</c:v>
                </c:pt>
                <c:pt idx="11495">
                  <c:v>5.8832821103273503</c:v>
                </c:pt>
                <c:pt idx="11496">
                  <c:v>5.8428313196912107</c:v>
                </c:pt>
                <c:pt idx="11497">
                  <c:v>6.0020817798302879</c:v>
                </c:pt>
                <c:pt idx="11498">
                  <c:v>5.0024090118100268</c:v>
                </c:pt>
                <c:pt idx="11499">
                  <c:v>5.9139638411496804</c:v>
                </c:pt>
                <c:pt idx="11500">
                  <c:v>7.0450348435591117</c:v>
                </c:pt>
                <c:pt idx="11501">
                  <c:v>5.8164065305261632</c:v>
                </c:pt>
                <c:pt idx="11502">
                  <c:v>6.837134050232045</c:v>
                </c:pt>
                <c:pt idx="11503">
                  <c:v>6.0770158361078295</c:v>
                </c:pt>
                <c:pt idx="11504">
                  <c:v>4.8884400699774302</c:v>
                </c:pt>
                <c:pt idx="11505">
                  <c:v>5.9034172458415659</c:v>
                </c:pt>
                <c:pt idx="11506">
                  <c:v>4.907967367838034</c:v>
                </c:pt>
                <c:pt idx="11507">
                  <c:v>5.9032611925079079</c:v>
                </c:pt>
                <c:pt idx="11508">
                  <c:v>6.0283326453340802</c:v>
                </c:pt>
                <c:pt idx="11509">
                  <c:v>5.9665957616617531</c:v>
                </c:pt>
                <c:pt idx="11510">
                  <c:v>5.8360512629653032</c:v>
                </c:pt>
                <c:pt idx="11511">
                  <c:v>4.0551179615859629</c:v>
                </c:pt>
                <c:pt idx="11512">
                  <c:v>4.079556135186114</c:v>
                </c:pt>
                <c:pt idx="11513">
                  <c:v>5.1626137199463145</c:v>
                </c:pt>
                <c:pt idx="11514">
                  <c:v>5.9910011534032206</c:v>
                </c:pt>
                <c:pt idx="11515">
                  <c:v>5.1771000709585238</c:v>
                </c:pt>
                <c:pt idx="11516">
                  <c:v>6.0753505994591732</c:v>
                </c:pt>
                <c:pt idx="11517">
                  <c:v>4.9254909011807539</c:v>
                </c:pt>
                <c:pt idx="11518">
                  <c:v>6.1235055021924216</c:v>
                </c:pt>
                <c:pt idx="11519">
                  <c:v>6.1148654545722954</c:v>
                </c:pt>
                <c:pt idx="11520">
                  <c:v>5.9800604687100609</c:v>
                </c:pt>
                <c:pt idx="11521">
                  <c:v>5.0625568972295252</c:v>
                </c:pt>
                <c:pt idx="11522">
                  <c:v>5.0875857485413762</c:v>
                </c:pt>
                <c:pt idx="11523">
                  <c:v>5.9636362830360827</c:v>
                </c:pt>
                <c:pt idx="11524">
                  <c:v>5.9030348167345847</c:v>
                </c:pt>
                <c:pt idx="11525">
                  <c:v>6.0927203586265701</c:v>
                </c:pt>
                <c:pt idx="11526">
                  <c:v>5.9084569461267735</c:v>
                </c:pt>
                <c:pt idx="11527">
                  <c:v>5.0179915411218667</c:v>
                </c:pt>
                <c:pt idx="11528">
                  <c:v>4.8803949912643105</c:v>
                </c:pt>
                <c:pt idx="11529">
                  <c:v>5.9508678867749234</c:v>
                </c:pt>
                <c:pt idx="11530">
                  <c:v>4.9398054700682339</c:v>
                </c:pt>
                <c:pt idx="11531">
                  <c:v>6.19098811676424</c:v>
                </c:pt>
                <c:pt idx="11532">
                  <c:v>6.0121087411503433</c:v>
                </c:pt>
                <c:pt idx="11533">
                  <c:v>5.9338217457659663</c:v>
                </c:pt>
                <c:pt idx="11534">
                  <c:v>6.1099848320759778</c:v>
                </c:pt>
                <c:pt idx="11535">
                  <c:v>6.1457296238074717</c:v>
                </c:pt>
                <c:pt idx="11536">
                  <c:v>5.8466429391234822</c:v>
                </c:pt>
                <c:pt idx="11537">
                  <c:v>5.8742946187325611</c:v>
                </c:pt>
                <c:pt idx="11538">
                  <c:v>8.0671490381665212</c:v>
                </c:pt>
                <c:pt idx="11539">
                  <c:v>6.2368120651856618</c:v>
                </c:pt>
                <c:pt idx="11540">
                  <c:v>6.0024994402253595</c:v>
                </c:pt>
                <c:pt idx="11541">
                  <c:v>6.099361554944581</c:v>
                </c:pt>
                <c:pt idx="11542">
                  <c:v>6.0234575069366478</c:v>
                </c:pt>
                <c:pt idx="11543">
                  <c:v>6.1148799124800099</c:v>
                </c:pt>
                <c:pt idx="11544">
                  <c:v>5.9096101415297531</c:v>
                </c:pt>
                <c:pt idx="11545">
                  <c:v>5.0338761527177489</c:v>
                </c:pt>
                <c:pt idx="11546">
                  <c:v>5.1427598099884948</c:v>
                </c:pt>
                <c:pt idx="11547">
                  <c:v>5.9277713037250104</c:v>
                </c:pt>
                <c:pt idx="11548">
                  <c:v>6.1494391212189203</c:v>
                </c:pt>
                <c:pt idx="11549">
                  <c:v>7.1025231015718973</c:v>
                </c:pt>
                <c:pt idx="11550">
                  <c:v>6.1380291879897735</c:v>
                </c:pt>
                <c:pt idx="11551">
                  <c:v>5.9680937116729416</c:v>
                </c:pt>
                <c:pt idx="11552">
                  <c:v>5.9699899200498159</c:v>
                </c:pt>
                <c:pt idx="11553">
                  <c:v>7.0341170516461355</c:v>
                </c:pt>
                <c:pt idx="11554">
                  <c:v>4.9950314577155295</c:v>
                </c:pt>
                <c:pt idx="11555">
                  <c:v>6.9263637467098276</c:v>
                </c:pt>
                <c:pt idx="11556">
                  <c:v>4.8739156136099062</c:v>
                </c:pt>
                <c:pt idx="11557">
                  <c:v>7.0012082534932274</c:v>
                </c:pt>
                <c:pt idx="11558">
                  <c:v>6.91656437770515</c:v>
                </c:pt>
                <c:pt idx="11559">
                  <c:v>6.9333788585170826</c:v>
                </c:pt>
                <c:pt idx="11560">
                  <c:v>7.0615502123854768</c:v>
                </c:pt>
                <c:pt idx="11561">
                  <c:v>6.8606770403212884</c:v>
                </c:pt>
                <c:pt idx="11562">
                  <c:v>5.9550840568579568</c:v>
                </c:pt>
                <c:pt idx="11563">
                  <c:v>4.9705194906820145</c:v>
                </c:pt>
                <c:pt idx="11564">
                  <c:v>5.971629171657538</c:v>
                </c:pt>
                <c:pt idx="11565">
                  <c:v>4.8336488087836189</c:v>
                </c:pt>
                <c:pt idx="11566">
                  <c:v>6.2438331760521528</c:v>
                </c:pt>
                <c:pt idx="11567">
                  <c:v>6.0226480626421113</c:v>
                </c:pt>
                <c:pt idx="11568">
                  <c:v>4.871932862736128</c:v>
                </c:pt>
                <c:pt idx="11569">
                  <c:v>5.0049181335023851</c:v>
                </c:pt>
                <c:pt idx="11570">
                  <c:v>5.9938868961564022</c:v>
                </c:pt>
                <c:pt idx="11571">
                  <c:v>6.0313483334258491</c:v>
                </c:pt>
                <c:pt idx="11572">
                  <c:v>5.9290036160229347</c:v>
                </c:pt>
                <c:pt idx="11573">
                  <c:v>5.9708003314469025</c:v>
                </c:pt>
                <c:pt idx="11574">
                  <c:v>5.8425845417899742</c:v>
                </c:pt>
                <c:pt idx="11575">
                  <c:v>5.9769244397609969</c:v>
                </c:pt>
                <c:pt idx="11576">
                  <c:v>6.0526317648870958</c:v>
                </c:pt>
                <c:pt idx="11577">
                  <c:v>7.1575795978619174</c:v>
                </c:pt>
                <c:pt idx="11578">
                  <c:v>5.9043463891489498</c:v>
                </c:pt>
                <c:pt idx="11579">
                  <c:v>5.9066904910768248</c:v>
                </c:pt>
                <c:pt idx="11580">
                  <c:v>5.8470900258690035</c:v>
                </c:pt>
                <c:pt idx="11581">
                  <c:v>5.7990048890768788</c:v>
                </c:pt>
                <c:pt idx="11582">
                  <c:v>5.8081035792494671</c:v>
                </c:pt>
                <c:pt idx="11583">
                  <c:v>6.9676677131520766</c:v>
                </c:pt>
                <c:pt idx="11584">
                  <c:v>5.0322286816737298</c:v>
                </c:pt>
                <c:pt idx="11585">
                  <c:v>6.0366266249508307</c:v>
                </c:pt>
                <c:pt idx="11586">
                  <c:v>6.0034942190016798</c:v>
                </c:pt>
                <c:pt idx="11587">
                  <c:v>6.1972998760972873</c:v>
                </c:pt>
                <c:pt idx="11588">
                  <c:v>6.0107210893026366</c:v>
                </c:pt>
                <c:pt idx="11589">
                  <c:v>5.9552417459818123</c:v>
                </c:pt>
                <c:pt idx="11590">
                  <c:v>6.0169595003365144</c:v>
                </c:pt>
                <c:pt idx="11591">
                  <c:v>5.8645661876867505</c:v>
                </c:pt>
                <c:pt idx="11592">
                  <c:v>6.0404655065782986</c:v>
                </c:pt>
                <c:pt idx="11593">
                  <c:v>5.9441838570188033</c:v>
                </c:pt>
                <c:pt idx="11594">
                  <c:v>5.8816936567833684</c:v>
                </c:pt>
                <c:pt idx="11595">
                  <c:v>4.8438569123253723</c:v>
                </c:pt>
                <c:pt idx="11596">
                  <c:v>5.959397635995729</c:v>
                </c:pt>
                <c:pt idx="11597">
                  <c:v>5.9945068909918282</c:v>
                </c:pt>
                <c:pt idx="11598">
                  <c:v>4.9750725896783905</c:v>
                </c:pt>
                <c:pt idx="11599">
                  <c:v>5.2343511771446414</c:v>
                </c:pt>
                <c:pt idx="11600">
                  <c:v>5.8948964305829987</c:v>
                </c:pt>
                <c:pt idx="11601">
                  <c:v>6.0811958068306451</c:v>
                </c:pt>
                <c:pt idx="11602">
                  <c:v>6.0339110402502483</c:v>
                </c:pt>
                <c:pt idx="11603">
                  <c:v>4.9310437831026501</c:v>
                </c:pt>
                <c:pt idx="11604">
                  <c:v>6.0673699924056272</c:v>
                </c:pt>
                <c:pt idx="11605">
                  <c:v>4.7926934290176488</c:v>
                </c:pt>
                <c:pt idx="11606">
                  <c:v>5.0306991146636388</c:v>
                </c:pt>
                <c:pt idx="11607">
                  <c:v>3.9474748804788837</c:v>
                </c:pt>
                <c:pt idx="11608">
                  <c:v>4.8516605973192819</c:v>
                </c:pt>
                <c:pt idx="11609">
                  <c:v>5.9501376574829337</c:v>
                </c:pt>
                <c:pt idx="11610">
                  <c:v>5.1406797971544194</c:v>
                </c:pt>
                <c:pt idx="11611">
                  <c:v>4.9063647199576064</c:v>
                </c:pt>
                <c:pt idx="11612">
                  <c:v>5.9643473918149548</c:v>
                </c:pt>
                <c:pt idx="11613">
                  <c:v>6.0030758804715116</c:v>
                </c:pt>
                <c:pt idx="11614">
                  <c:v>6.0144188390744411</c:v>
                </c:pt>
                <c:pt idx="11615">
                  <c:v>6.0022002828743304</c:v>
                </c:pt>
                <c:pt idx="11616">
                  <c:v>5.9927345811502004</c:v>
                </c:pt>
                <c:pt idx="11617">
                  <c:v>5.8544236796879137</c:v>
                </c:pt>
                <c:pt idx="11618">
                  <c:v>4.9080374922952856</c:v>
                </c:pt>
                <c:pt idx="11619">
                  <c:v>5.9689669792204612</c:v>
                </c:pt>
                <c:pt idx="11620">
                  <c:v>6.063498431681567</c:v>
                </c:pt>
                <c:pt idx="11621">
                  <c:v>5.0746811804703915</c:v>
                </c:pt>
                <c:pt idx="11622">
                  <c:v>6.0122888106929899</c:v>
                </c:pt>
                <c:pt idx="11623">
                  <c:v>5.1411296141951901</c:v>
                </c:pt>
                <c:pt idx="11624">
                  <c:v>5.0004015473407559</c:v>
                </c:pt>
                <c:pt idx="11625">
                  <c:v>4.9265559849516487</c:v>
                </c:pt>
                <c:pt idx="11626">
                  <c:v>5.9420680778853701</c:v>
                </c:pt>
                <c:pt idx="11627">
                  <c:v>7.0488880518661947</c:v>
                </c:pt>
                <c:pt idx="11628">
                  <c:v>5.097736651582272</c:v>
                </c:pt>
                <c:pt idx="11629">
                  <c:v>5.88573920579391</c:v>
                </c:pt>
                <c:pt idx="11630">
                  <c:v>7.1177986430085003</c:v>
                </c:pt>
                <c:pt idx="11631">
                  <c:v>6.138146740079832</c:v>
                </c:pt>
                <c:pt idx="11632">
                  <c:v>5.0355497050629756</c:v>
                </c:pt>
                <c:pt idx="11633">
                  <c:v>5.0312424038456527</c:v>
                </c:pt>
                <c:pt idx="11634">
                  <c:v>6.0758603269342544</c:v>
                </c:pt>
                <c:pt idx="11635">
                  <c:v>6.1676655428018012</c:v>
                </c:pt>
                <c:pt idx="11636">
                  <c:v>6.0905933590951173</c:v>
                </c:pt>
                <c:pt idx="11637">
                  <c:v>5.8342106020437754</c:v>
                </c:pt>
                <c:pt idx="11638">
                  <c:v>5.0233023330679529</c:v>
                </c:pt>
                <c:pt idx="11639">
                  <c:v>6.0381484370849074</c:v>
                </c:pt>
                <c:pt idx="11640">
                  <c:v>6.0815932435044839</c:v>
                </c:pt>
                <c:pt idx="11641">
                  <c:v>6.0883921509660901</c:v>
                </c:pt>
                <c:pt idx="11642">
                  <c:v>5.0858741436843014</c:v>
                </c:pt>
                <c:pt idx="11643">
                  <c:v>4.9235049077960253</c:v>
                </c:pt>
                <c:pt idx="11644">
                  <c:v>6.0283244619495955</c:v>
                </c:pt>
                <c:pt idx="11645">
                  <c:v>6.1994150378681896</c:v>
                </c:pt>
                <c:pt idx="11646">
                  <c:v>5.985078265288962</c:v>
                </c:pt>
                <c:pt idx="11647">
                  <c:v>5.9132768723833466</c:v>
                </c:pt>
                <c:pt idx="11648">
                  <c:v>6.0935184699602187</c:v>
                </c:pt>
                <c:pt idx="11649">
                  <c:v>5.921979662267316</c:v>
                </c:pt>
                <c:pt idx="11650">
                  <c:v>6.0526727073340512</c:v>
                </c:pt>
                <c:pt idx="11651">
                  <c:v>5.0452731578178271</c:v>
                </c:pt>
                <c:pt idx="11652">
                  <c:v>5.9232864695637586</c:v>
                </c:pt>
                <c:pt idx="11653">
                  <c:v>5.9106933615731307</c:v>
                </c:pt>
                <c:pt idx="11654">
                  <c:v>4.6752069447082141</c:v>
                </c:pt>
                <c:pt idx="11655">
                  <c:v>5.0686532070868919</c:v>
                </c:pt>
                <c:pt idx="11656">
                  <c:v>5.918652535153047</c:v>
                </c:pt>
                <c:pt idx="11657">
                  <c:v>5.8893473577148123</c:v>
                </c:pt>
                <c:pt idx="11658">
                  <c:v>6.1067520426721513</c:v>
                </c:pt>
                <c:pt idx="11659">
                  <c:v>7.0395590517741597</c:v>
                </c:pt>
                <c:pt idx="11660">
                  <c:v>4.9110626561405395</c:v>
                </c:pt>
                <c:pt idx="11661">
                  <c:v>6.0169768319672059</c:v>
                </c:pt>
                <c:pt idx="11662">
                  <c:v>5.00540269418227</c:v>
                </c:pt>
                <c:pt idx="11663">
                  <c:v>5.132106509706575</c:v>
                </c:pt>
                <c:pt idx="11664">
                  <c:v>5.0847900268495128</c:v>
                </c:pt>
                <c:pt idx="11665">
                  <c:v>4.9311211876147567</c:v>
                </c:pt>
                <c:pt idx="11666">
                  <c:v>5.935573339763363</c:v>
                </c:pt>
                <c:pt idx="11667">
                  <c:v>6.0564185475891925</c:v>
                </c:pt>
                <c:pt idx="11668">
                  <c:v>6.0493526651155252</c:v>
                </c:pt>
                <c:pt idx="11669">
                  <c:v>4.8849135532144849</c:v>
                </c:pt>
                <c:pt idx="11670">
                  <c:v>5.8400129483729879</c:v>
                </c:pt>
                <c:pt idx="11671">
                  <c:v>6.0676669804447156</c:v>
                </c:pt>
                <c:pt idx="11672">
                  <c:v>5.0232603609186537</c:v>
                </c:pt>
                <c:pt idx="11673">
                  <c:v>5.9811532717759572</c:v>
                </c:pt>
                <c:pt idx="11674">
                  <c:v>4.8778653769156612</c:v>
                </c:pt>
                <c:pt idx="11675">
                  <c:v>5.961589805803948</c:v>
                </c:pt>
                <c:pt idx="11676">
                  <c:v>6.0387356895596485</c:v>
                </c:pt>
                <c:pt idx="11677">
                  <c:v>5.8977668681432602</c:v>
                </c:pt>
                <c:pt idx="11678">
                  <c:v>7.1029430993006102</c:v>
                </c:pt>
                <c:pt idx="11679">
                  <c:v>5.8702111653156743</c:v>
                </c:pt>
                <c:pt idx="11680">
                  <c:v>6.0009257935944929</c:v>
                </c:pt>
                <c:pt idx="11681">
                  <c:v>6.0080314039235816</c:v>
                </c:pt>
                <c:pt idx="11682">
                  <c:v>5.8103952325879487</c:v>
                </c:pt>
                <c:pt idx="11683">
                  <c:v>6.0237581537772229</c:v>
                </c:pt>
                <c:pt idx="11684">
                  <c:v>6.1004099963191445</c:v>
                </c:pt>
                <c:pt idx="11685">
                  <c:v>4.9200333981708555</c:v>
                </c:pt>
                <c:pt idx="11686">
                  <c:v>5.9333738945618695</c:v>
                </c:pt>
                <c:pt idx="11687">
                  <c:v>6.1461945536658975</c:v>
                </c:pt>
                <c:pt idx="11688">
                  <c:v>6.0534703884257626</c:v>
                </c:pt>
                <c:pt idx="11689">
                  <c:v>6.0025765543822267</c:v>
                </c:pt>
                <c:pt idx="11690">
                  <c:v>6.1323417698094662</c:v>
                </c:pt>
                <c:pt idx="11691">
                  <c:v>7.0960828972569905</c:v>
                </c:pt>
                <c:pt idx="11692">
                  <c:v>6.0609425680776434</c:v>
                </c:pt>
                <c:pt idx="11693">
                  <c:v>6.0199197485055933</c:v>
                </c:pt>
                <c:pt idx="11694">
                  <c:v>5.9640336802447891</c:v>
                </c:pt>
                <c:pt idx="11695">
                  <c:v>5.9512937421522132</c:v>
                </c:pt>
                <c:pt idx="11696">
                  <c:v>6.0539480278966877</c:v>
                </c:pt>
                <c:pt idx="11697">
                  <c:v>5.0524704350076703</c:v>
                </c:pt>
                <c:pt idx="11698">
                  <c:v>6.0169060725468864</c:v>
                </c:pt>
                <c:pt idx="11699">
                  <c:v>6.0486824858459558</c:v>
                </c:pt>
                <c:pt idx="11700">
                  <c:v>5.9939199466646675</c:v>
                </c:pt>
                <c:pt idx="11701">
                  <c:v>5.9602998537823959</c:v>
                </c:pt>
                <c:pt idx="11702">
                  <c:v>5.913195710981733</c:v>
                </c:pt>
                <c:pt idx="11703">
                  <c:v>6.0494843427374416</c:v>
                </c:pt>
                <c:pt idx="11704">
                  <c:v>4.9842264182091984</c:v>
                </c:pt>
                <c:pt idx="11705">
                  <c:v>6.0015826217702228</c:v>
                </c:pt>
                <c:pt idx="11706">
                  <c:v>5.0323755244207513</c:v>
                </c:pt>
                <c:pt idx="11707">
                  <c:v>6.0749895945802308</c:v>
                </c:pt>
                <c:pt idx="11708">
                  <c:v>6.0903450133667114</c:v>
                </c:pt>
                <c:pt idx="11709">
                  <c:v>5.8617648919937961</c:v>
                </c:pt>
                <c:pt idx="11710">
                  <c:v>6.0274757662482212</c:v>
                </c:pt>
                <c:pt idx="11711">
                  <c:v>5.8980713691989175</c:v>
                </c:pt>
                <c:pt idx="11712">
                  <c:v>4.8746140986595377</c:v>
                </c:pt>
                <c:pt idx="11713">
                  <c:v>5.9983558544930053</c:v>
                </c:pt>
                <c:pt idx="11714">
                  <c:v>5.9283092560920023</c:v>
                </c:pt>
                <c:pt idx="11715">
                  <c:v>4.8306087697629039</c:v>
                </c:pt>
                <c:pt idx="11716">
                  <c:v>5.8621898490075219</c:v>
                </c:pt>
                <c:pt idx="11717">
                  <c:v>5.8760118181436081</c:v>
                </c:pt>
                <c:pt idx="11718">
                  <c:v>6.0890355761592438</c:v>
                </c:pt>
                <c:pt idx="11719">
                  <c:v>6.0417538443130452</c:v>
                </c:pt>
                <c:pt idx="11720">
                  <c:v>6.0075811122173004</c:v>
                </c:pt>
                <c:pt idx="11721">
                  <c:v>6.1185367654822151</c:v>
                </c:pt>
                <c:pt idx="11722">
                  <c:v>5.9773407785579611</c:v>
                </c:pt>
                <c:pt idx="11723">
                  <c:v>6.1128591470766835</c:v>
                </c:pt>
                <c:pt idx="11724">
                  <c:v>5.9002899384714933</c:v>
                </c:pt>
                <c:pt idx="11725">
                  <c:v>6.03363749252585</c:v>
                </c:pt>
                <c:pt idx="11726">
                  <c:v>6.0452517991566035</c:v>
                </c:pt>
                <c:pt idx="11727">
                  <c:v>4.0369391271770514</c:v>
                </c:pt>
                <c:pt idx="11728">
                  <c:v>6.016734544393656</c:v>
                </c:pt>
                <c:pt idx="11729">
                  <c:v>6.1357075858394259</c:v>
                </c:pt>
                <c:pt idx="11730">
                  <c:v>5.0440982888165751</c:v>
                </c:pt>
                <c:pt idx="11731">
                  <c:v>5.823721945418983</c:v>
                </c:pt>
                <c:pt idx="11732">
                  <c:v>6.8225580976905551</c:v>
                </c:pt>
                <c:pt idx="11733">
                  <c:v>5.8833305512161944</c:v>
                </c:pt>
                <c:pt idx="11734">
                  <c:v>6.8293695460634307</c:v>
                </c:pt>
                <c:pt idx="11735">
                  <c:v>6.0218570331141699</c:v>
                </c:pt>
                <c:pt idx="11736">
                  <c:v>7.0940080499011353</c:v>
                </c:pt>
                <c:pt idx="11737">
                  <c:v>5.9290637184067645</c:v>
                </c:pt>
                <c:pt idx="11738">
                  <c:v>5.9635318794872436</c:v>
                </c:pt>
                <c:pt idx="11739">
                  <c:v>5.0635677462407989</c:v>
                </c:pt>
                <c:pt idx="11740">
                  <c:v>4.8492897186639388</c:v>
                </c:pt>
                <c:pt idx="11741">
                  <c:v>4.9689432225064785</c:v>
                </c:pt>
                <c:pt idx="11742">
                  <c:v>5.9877212192193792</c:v>
                </c:pt>
                <c:pt idx="11743">
                  <c:v>5.861921647785822</c:v>
                </c:pt>
                <c:pt idx="11744">
                  <c:v>5.1032814436699407</c:v>
                </c:pt>
                <c:pt idx="11745">
                  <c:v>6.9836778404395083</c:v>
                </c:pt>
                <c:pt idx="11746">
                  <c:v>7.0675159176212796</c:v>
                </c:pt>
                <c:pt idx="11747">
                  <c:v>7.0047830930425752</c:v>
                </c:pt>
                <c:pt idx="11748">
                  <c:v>6.0456282114885598</c:v>
                </c:pt>
                <c:pt idx="11749">
                  <c:v>5.9316260593122463</c:v>
                </c:pt>
                <c:pt idx="11750">
                  <c:v>5.9361498796416265</c:v>
                </c:pt>
                <c:pt idx="11751">
                  <c:v>5.9488576210378437</c:v>
                </c:pt>
                <c:pt idx="11752">
                  <c:v>5.9619289463681993</c:v>
                </c:pt>
                <c:pt idx="11753">
                  <c:v>4.9490488747344079</c:v>
                </c:pt>
                <c:pt idx="11754">
                  <c:v>7.0337467307061967</c:v>
                </c:pt>
                <c:pt idx="11755">
                  <c:v>5.9189730631435413</c:v>
                </c:pt>
                <c:pt idx="11756">
                  <c:v>5.9093732516236184</c:v>
                </c:pt>
                <c:pt idx="11757">
                  <c:v>5.933987136680118</c:v>
                </c:pt>
                <c:pt idx="11758">
                  <c:v>5.8851624877856388</c:v>
                </c:pt>
                <c:pt idx="11759">
                  <c:v>6.1013720173907968</c:v>
                </c:pt>
                <c:pt idx="11760">
                  <c:v>6.9754013882631014</c:v>
                </c:pt>
                <c:pt idx="11761">
                  <c:v>6.1048867797480399</c:v>
                </c:pt>
                <c:pt idx="11762">
                  <c:v>4.0951744828579013</c:v>
                </c:pt>
                <c:pt idx="11763">
                  <c:v>5.9858506424292957</c:v>
                </c:pt>
                <c:pt idx="11764">
                  <c:v>7.0395322628906385</c:v>
                </c:pt>
                <c:pt idx="11765">
                  <c:v>5.8832034104166135</c:v>
                </c:pt>
                <c:pt idx="11766">
                  <c:v>5.8915464328212561</c:v>
                </c:pt>
                <c:pt idx="11767">
                  <c:v>3.864761295197773</c:v>
                </c:pt>
                <c:pt idx="11768">
                  <c:v>6.0795786278703678</c:v>
                </c:pt>
                <c:pt idx="11769">
                  <c:v>5.9873840687788489</c:v>
                </c:pt>
                <c:pt idx="11770">
                  <c:v>6.0717293977340834</c:v>
                </c:pt>
                <c:pt idx="11771">
                  <c:v>3.0394526699067814</c:v>
                </c:pt>
                <c:pt idx="11772">
                  <c:v>5.8631776640274378</c:v>
                </c:pt>
                <c:pt idx="11773">
                  <c:v>6.0211326615040335</c:v>
                </c:pt>
                <c:pt idx="11774">
                  <c:v>5.9593817912284752</c:v>
                </c:pt>
                <c:pt idx="11775">
                  <c:v>5.9812355677677331</c:v>
                </c:pt>
                <c:pt idx="11776">
                  <c:v>5.943920759891081</c:v>
                </c:pt>
                <c:pt idx="11777">
                  <c:v>5.9709205104207772</c:v>
                </c:pt>
                <c:pt idx="11778">
                  <c:v>6.1801679413014181</c:v>
                </c:pt>
                <c:pt idx="11779">
                  <c:v>6.2488609942084929</c:v>
                </c:pt>
                <c:pt idx="11780">
                  <c:v>6.2288075289979528</c:v>
                </c:pt>
                <c:pt idx="11781">
                  <c:v>6.0160281738495636</c:v>
                </c:pt>
                <c:pt idx="11782">
                  <c:v>5.1380874537106429</c:v>
                </c:pt>
                <c:pt idx="11783">
                  <c:v>5.900294578149393</c:v>
                </c:pt>
                <c:pt idx="11784">
                  <c:v>4.9044963132413839</c:v>
                </c:pt>
                <c:pt idx="11785">
                  <c:v>5.8102399748891989</c:v>
                </c:pt>
                <c:pt idx="11786">
                  <c:v>5.8778650993304726</c:v>
                </c:pt>
                <c:pt idx="11787">
                  <c:v>6.9057126324550371</c:v>
                </c:pt>
                <c:pt idx="11788">
                  <c:v>5.0416648542077453</c:v>
                </c:pt>
                <c:pt idx="11789">
                  <c:v>5.0169609172649867</c:v>
                </c:pt>
                <c:pt idx="11790">
                  <c:v>4.8754765369874633</c:v>
                </c:pt>
                <c:pt idx="11791">
                  <c:v>6.0768638416031253</c:v>
                </c:pt>
                <c:pt idx="11792">
                  <c:v>6.0821766501879395</c:v>
                </c:pt>
                <c:pt idx="11793">
                  <c:v>5.8642058172550966</c:v>
                </c:pt>
                <c:pt idx="11794">
                  <c:v>6.9370818800050857</c:v>
                </c:pt>
                <c:pt idx="11795">
                  <c:v>6.1169356010702192</c:v>
                </c:pt>
                <c:pt idx="11796">
                  <c:v>5.9448735833180644</c:v>
                </c:pt>
                <c:pt idx="11797">
                  <c:v>3.9644924522792784</c:v>
                </c:pt>
                <c:pt idx="11798">
                  <c:v>4.9051491491585972</c:v>
                </c:pt>
                <c:pt idx="11799">
                  <c:v>4.9944203506390128</c:v>
                </c:pt>
                <c:pt idx="11800">
                  <c:v>3.9879414160667119</c:v>
                </c:pt>
                <c:pt idx="11801">
                  <c:v>4.0772846325811205</c:v>
                </c:pt>
                <c:pt idx="11802">
                  <c:v>6.1627804349425359</c:v>
                </c:pt>
                <c:pt idx="11803">
                  <c:v>4.9638953631423552</c:v>
                </c:pt>
                <c:pt idx="11804">
                  <c:v>6.8062294813483586</c:v>
                </c:pt>
                <c:pt idx="11805">
                  <c:v>6.1113968565130738</c:v>
                </c:pt>
                <c:pt idx="11806">
                  <c:v>6.9337891400156124</c:v>
                </c:pt>
                <c:pt idx="11807">
                  <c:v>5.1906490985326998</c:v>
                </c:pt>
                <c:pt idx="11808">
                  <c:v>4.9428238739645796</c:v>
                </c:pt>
                <c:pt idx="11809">
                  <c:v>6.1242336033744218</c:v>
                </c:pt>
                <c:pt idx="11810">
                  <c:v>5.9937534500813445</c:v>
                </c:pt>
                <c:pt idx="11811">
                  <c:v>4.9715210184430791</c:v>
                </c:pt>
                <c:pt idx="11812">
                  <c:v>5.9812122578139792</c:v>
                </c:pt>
                <c:pt idx="11813">
                  <c:v>5.9082527863359182</c:v>
                </c:pt>
                <c:pt idx="11814">
                  <c:v>6.0612433670377559</c:v>
                </c:pt>
                <c:pt idx="11815">
                  <c:v>5.9898244109300904</c:v>
                </c:pt>
                <c:pt idx="11816">
                  <c:v>5.8848106458182921</c:v>
                </c:pt>
                <c:pt idx="11817">
                  <c:v>5.9518253132866761</c:v>
                </c:pt>
                <c:pt idx="11818">
                  <c:v>5.046317311654116</c:v>
                </c:pt>
                <c:pt idx="11819">
                  <c:v>4.9731108248138067</c:v>
                </c:pt>
                <c:pt idx="11820">
                  <c:v>5.8515485327518908</c:v>
                </c:pt>
                <c:pt idx="11821">
                  <c:v>5.0892276644754739</c:v>
                </c:pt>
                <c:pt idx="11822">
                  <c:v>4.9473803099097378</c:v>
                </c:pt>
                <c:pt idx="11823">
                  <c:v>5.1458859667952046</c:v>
                </c:pt>
                <c:pt idx="11824">
                  <c:v>5.9571969195418131</c:v>
                </c:pt>
                <c:pt idx="11825">
                  <c:v>4.9887096739877768</c:v>
                </c:pt>
                <c:pt idx="11826">
                  <c:v>6.01544616709712</c:v>
                </c:pt>
                <c:pt idx="11827">
                  <c:v>5.846677430356654</c:v>
                </c:pt>
                <c:pt idx="11828">
                  <c:v>6.0447224888368023</c:v>
                </c:pt>
                <c:pt idx="11829">
                  <c:v>5.0174033313515762</c:v>
                </c:pt>
                <c:pt idx="11830">
                  <c:v>4.9246695271645118</c:v>
                </c:pt>
                <c:pt idx="11831">
                  <c:v>5.1786369717866059</c:v>
                </c:pt>
                <c:pt idx="11832">
                  <c:v>5.9403229613190014</c:v>
                </c:pt>
                <c:pt idx="11833">
                  <c:v>5.1697949703118589</c:v>
                </c:pt>
                <c:pt idx="11834">
                  <c:v>5.0592223504700566</c:v>
                </c:pt>
                <c:pt idx="11835">
                  <c:v>4.9209687970041287</c:v>
                </c:pt>
                <c:pt idx="11836">
                  <c:v>5.88294122878421</c:v>
                </c:pt>
                <c:pt idx="11837">
                  <c:v>4.8964871505008176</c:v>
                </c:pt>
                <c:pt idx="11838">
                  <c:v>6.1952984310198023</c:v>
                </c:pt>
                <c:pt idx="11839">
                  <c:v>5.1445084973261146</c:v>
                </c:pt>
                <c:pt idx="11840">
                  <c:v>5.0678663146292227</c:v>
                </c:pt>
                <c:pt idx="11841">
                  <c:v>6.09935941708709</c:v>
                </c:pt>
                <c:pt idx="11842">
                  <c:v>5.0701272483432955</c:v>
                </c:pt>
                <c:pt idx="11843">
                  <c:v>4.904073460991861</c:v>
                </c:pt>
                <c:pt idx="11844">
                  <c:v>5.0088184993115306</c:v>
                </c:pt>
                <c:pt idx="11845">
                  <c:v>4.7252032513158868</c:v>
                </c:pt>
                <c:pt idx="11846">
                  <c:v>6.8932110189089704</c:v>
                </c:pt>
                <c:pt idx="11847">
                  <c:v>6.1289584015906566</c:v>
                </c:pt>
                <c:pt idx="11848">
                  <c:v>4.9919373294005762</c:v>
                </c:pt>
                <c:pt idx="11849">
                  <c:v>5.1051916105851687</c:v>
                </c:pt>
                <c:pt idx="11850">
                  <c:v>4.9936646897755645</c:v>
                </c:pt>
                <c:pt idx="11851">
                  <c:v>4.9809082456924774</c:v>
                </c:pt>
                <c:pt idx="11852">
                  <c:v>5.0840201248744163</c:v>
                </c:pt>
                <c:pt idx="11853">
                  <c:v>5.0560125425706834</c:v>
                </c:pt>
                <c:pt idx="11854">
                  <c:v>5.0250767905360361</c:v>
                </c:pt>
                <c:pt idx="11855">
                  <c:v>5.1677609802728508</c:v>
                </c:pt>
                <c:pt idx="11856">
                  <c:v>4.7708661101847589</c:v>
                </c:pt>
                <c:pt idx="11857">
                  <c:v>5.0701873667091695</c:v>
                </c:pt>
                <c:pt idx="11858">
                  <c:v>4.8263373867640063</c:v>
                </c:pt>
                <c:pt idx="11859">
                  <c:v>6.0627246409508597</c:v>
                </c:pt>
                <c:pt idx="11860">
                  <c:v>5.2234091810808536</c:v>
                </c:pt>
                <c:pt idx="11861">
                  <c:v>5.1087605325441077</c:v>
                </c:pt>
                <c:pt idx="11862">
                  <c:v>5.0422714326529521</c:v>
                </c:pt>
                <c:pt idx="11863">
                  <c:v>5.0401049466740657</c:v>
                </c:pt>
                <c:pt idx="11864">
                  <c:v>6.0431774061634105</c:v>
                </c:pt>
                <c:pt idx="11865">
                  <c:v>5.9829632780530142</c:v>
                </c:pt>
                <c:pt idx="11866">
                  <c:v>4.9469192064528436</c:v>
                </c:pt>
                <c:pt idx="11867">
                  <c:v>4.744913409428543</c:v>
                </c:pt>
                <c:pt idx="11868">
                  <c:v>6.0266226250270218</c:v>
                </c:pt>
                <c:pt idx="11869">
                  <c:v>4.928702665841592</c:v>
                </c:pt>
                <c:pt idx="11870">
                  <c:v>5.9665215261232252</c:v>
                </c:pt>
                <c:pt idx="11871">
                  <c:v>4.9793222964663615</c:v>
                </c:pt>
                <c:pt idx="11872">
                  <c:v>3.9877048630674206</c:v>
                </c:pt>
                <c:pt idx="11873">
                  <c:v>6.8868136501610913</c:v>
                </c:pt>
                <c:pt idx="11874">
                  <c:v>6.0028824103922149</c:v>
                </c:pt>
                <c:pt idx="11875">
                  <c:v>4.9223626779284206</c:v>
                </c:pt>
                <c:pt idx="11876">
                  <c:v>5.094847024427331</c:v>
                </c:pt>
                <c:pt idx="11877">
                  <c:v>5.26715547008763</c:v>
                </c:pt>
                <c:pt idx="11878">
                  <c:v>4.9214410243181259</c:v>
                </c:pt>
                <c:pt idx="11879">
                  <c:v>4.9618157566666854</c:v>
                </c:pt>
                <c:pt idx="11880">
                  <c:v>6.0693690250935521</c:v>
                </c:pt>
                <c:pt idx="11881">
                  <c:v>5.8601634049911295</c:v>
                </c:pt>
                <c:pt idx="11882">
                  <c:v>5.8738296531210414</c:v>
                </c:pt>
                <c:pt idx="11883">
                  <c:v>5.1637537427800355</c:v>
                </c:pt>
                <c:pt idx="11884">
                  <c:v>4.9233460932104771</c:v>
                </c:pt>
                <c:pt idx="11885">
                  <c:v>5.9926525644936763</c:v>
                </c:pt>
                <c:pt idx="11886">
                  <c:v>5.0371892596210266</c:v>
                </c:pt>
                <c:pt idx="11887">
                  <c:v>6.1153115069979433</c:v>
                </c:pt>
                <c:pt idx="11888">
                  <c:v>6.0951532609762387</c:v>
                </c:pt>
                <c:pt idx="11889">
                  <c:v>6.034040314717604</c:v>
                </c:pt>
                <c:pt idx="11890">
                  <c:v>5.0226774144529163</c:v>
                </c:pt>
                <c:pt idx="11891">
                  <c:v>7.0330189980257725</c:v>
                </c:pt>
                <c:pt idx="11892">
                  <c:v>6.1439958218088089</c:v>
                </c:pt>
                <c:pt idx="11893">
                  <c:v>5.8171631695098469</c:v>
                </c:pt>
                <c:pt idx="11894">
                  <c:v>5.1183948310710097</c:v>
                </c:pt>
                <c:pt idx="11895">
                  <c:v>5.9062145185027086</c:v>
                </c:pt>
                <c:pt idx="11896">
                  <c:v>5.9829192177929755</c:v>
                </c:pt>
                <c:pt idx="11897">
                  <c:v>5.968078030054226</c:v>
                </c:pt>
                <c:pt idx="11898">
                  <c:v>5.9709161424629595</c:v>
                </c:pt>
                <c:pt idx="11899">
                  <c:v>6.1026559571691585</c:v>
                </c:pt>
                <c:pt idx="11900">
                  <c:v>4.9182654079452153</c:v>
                </c:pt>
                <c:pt idx="11901">
                  <c:v>4.9495862786819194</c:v>
                </c:pt>
                <c:pt idx="11902">
                  <c:v>6.0821164850874849</c:v>
                </c:pt>
                <c:pt idx="11903">
                  <c:v>5.0818770685303249</c:v>
                </c:pt>
                <c:pt idx="11904">
                  <c:v>5.9774122059917509</c:v>
                </c:pt>
                <c:pt idx="11905">
                  <c:v>6.9434267330297708</c:v>
                </c:pt>
                <c:pt idx="11906">
                  <c:v>6.058791506234428</c:v>
                </c:pt>
                <c:pt idx="11907">
                  <c:v>5.0910253731319939</c:v>
                </c:pt>
                <c:pt idx="11908">
                  <c:v>5.1122013242810915</c:v>
                </c:pt>
                <c:pt idx="11909">
                  <c:v>5.9544249278013703</c:v>
                </c:pt>
                <c:pt idx="11910">
                  <c:v>7.0390936968643913</c:v>
                </c:pt>
                <c:pt idx="11911">
                  <c:v>5.9992044069181478</c:v>
                </c:pt>
                <c:pt idx="11912">
                  <c:v>5.8854678112709582</c:v>
                </c:pt>
                <c:pt idx="11913">
                  <c:v>5.9464011671217385</c:v>
                </c:pt>
                <c:pt idx="11914">
                  <c:v>5.8874213045628112</c:v>
                </c:pt>
                <c:pt idx="11915">
                  <c:v>6.1269789985233256</c:v>
                </c:pt>
                <c:pt idx="11916">
                  <c:v>6.1921780394753236</c:v>
                </c:pt>
                <c:pt idx="11917">
                  <c:v>7.1007951323187743</c:v>
                </c:pt>
                <c:pt idx="11918">
                  <c:v>6.1388443722984833</c:v>
                </c:pt>
                <c:pt idx="11919">
                  <c:v>4.9946491485265634</c:v>
                </c:pt>
                <c:pt idx="11920">
                  <c:v>6.0232184549068721</c:v>
                </c:pt>
                <c:pt idx="11921">
                  <c:v>6.1222009246743294</c:v>
                </c:pt>
                <c:pt idx="11922">
                  <c:v>5.0387691724524677</c:v>
                </c:pt>
                <c:pt idx="11923">
                  <c:v>5.975378521538965</c:v>
                </c:pt>
                <c:pt idx="11924">
                  <c:v>4.9301167181864107</c:v>
                </c:pt>
                <c:pt idx="11925">
                  <c:v>6.8751539317845358</c:v>
                </c:pt>
                <c:pt idx="11926">
                  <c:v>6.0245093303076303</c:v>
                </c:pt>
                <c:pt idx="11927">
                  <c:v>7.0866984401186395</c:v>
                </c:pt>
                <c:pt idx="11928">
                  <c:v>6.9934250036907608</c:v>
                </c:pt>
                <c:pt idx="11929">
                  <c:v>5.9424825419820424</c:v>
                </c:pt>
                <c:pt idx="11930">
                  <c:v>6.0251870738451787</c:v>
                </c:pt>
                <c:pt idx="11931">
                  <c:v>6.0838994648832418</c:v>
                </c:pt>
                <c:pt idx="11932">
                  <c:v>4.981423155387156</c:v>
                </c:pt>
                <c:pt idx="11933">
                  <c:v>6.1533633242673496</c:v>
                </c:pt>
                <c:pt idx="11934">
                  <c:v>5.9608792437049569</c:v>
                </c:pt>
                <c:pt idx="11935">
                  <c:v>6.0254847284058473</c:v>
                </c:pt>
                <c:pt idx="11936">
                  <c:v>5.9764691209112009</c:v>
                </c:pt>
                <c:pt idx="11937">
                  <c:v>5.0286030249430489</c:v>
                </c:pt>
                <c:pt idx="11938">
                  <c:v>5.9547814295757542</c:v>
                </c:pt>
                <c:pt idx="11939">
                  <c:v>6.1623339247015538</c:v>
                </c:pt>
                <c:pt idx="11940">
                  <c:v>6.1838989473385526</c:v>
                </c:pt>
                <c:pt idx="11941">
                  <c:v>5.0770319307837983</c:v>
                </c:pt>
                <c:pt idx="11942">
                  <c:v>4.9196948101657298</c:v>
                </c:pt>
                <c:pt idx="11943">
                  <c:v>6.0480578845933879</c:v>
                </c:pt>
                <c:pt idx="11944">
                  <c:v>6.0234622948571159</c:v>
                </c:pt>
                <c:pt idx="11945">
                  <c:v>5.9711267094927303</c:v>
                </c:pt>
                <c:pt idx="11946">
                  <c:v>6.1783026493445696</c:v>
                </c:pt>
                <c:pt idx="11947">
                  <c:v>6.0926319320108719</c:v>
                </c:pt>
                <c:pt idx="11948">
                  <c:v>4.9221042167405464</c:v>
                </c:pt>
                <c:pt idx="11949">
                  <c:v>6.9465226428781</c:v>
                </c:pt>
                <c:pt idx="11950">
                  <c:v>5.9058796466818295</c:v>
                </c:pt>
                <c:pt idx="11951">
                  <c:v>5.9956696521193704</c:v>
                </c:pt>
                <c:pt idx="11952">
                  <c:v>5.9379686216746634</c:v>
                </c:pt>
                <c:pt idx="11953">
                  <c:v>5.9574778413855576</c:v>
                </c:pt>
                <c:pt idx="11954">
                  <c:v>6.1857731915567653</c:v>
                </c:pt>
                <c:pt idx="11955">
                  <c:v>4.8718196579695405</c:v>
                </c:pt>
                <c:pt idx="11956">
                  <c:v>5.8352806428637765</c:v>
                </c:pt>
                <c:pt idx="11957">
                  <c:v>5.9893983885304491</c:v>
                </c:pt>
                <c:pt idx="11958">
                  <c:v>6.0381073447044926</c:v>
                </c:pt>
                <c:pt idx="11959">
                  <c:v>6.0828689585788638</c:v>
                </c:pt>
                <c:pt idx="11960">
                  <c:v>5.9272371246942068</c:v>
                </c:pt>
                <c:pt idx="11961">
                  <c:v>6.0265849767184987</c:v>
                </c:pt>
                <c:pt idx="11962">
                  <c:v>5.8775676435572892</c:v>
                </c:pt>
                <c:pt idx="11963">
                  <c:v>6.1941081878993698</c:v>
                </c:pt>
                <c:pt idx="11964">
                  <c:v>5.9684391108953401</c:v>
                </c:pt>
                <c:pt idx="11965">
                  <c:v>5.9383571306051071</c:v>
                </c:pt>
                <c:pt idx="11966">
                  <c:v>6.0981326494281731</c:v>
                </c:pt>
                <c:pt idx="11967">
                  <c:v>6.0613206089880434</c:v>
                </c:pt>
                <c:pt idx="11968">
                  <c:v>5.9011820898922744</c:v>
                </c:pt>
                <c:pt idx="11969">
                  <c:v>6.1653980075441348</c:v>
                </c:pt>
                <c:pt idx="11970">
                  <c:v>5.9306624735158069</c:v>
                </c:pt>
                <c:pt idx="11971">
                  <c:v>5.6423887198257496</c:v>
                </c:pt>
                <c:pt idx="11972">
                  <c:v>6.0418629012668079</c:v>
                </c:pt>
                <c:pt idx="11973">
                  <c:v>5.0392407680635163</c:v>
                </c:pt>
                <c:pt idx="11974">
                  <c:v>5.9719820596293118</c:v>
                </c:pt>
                <c:pt idx="11975">
                  <c:v>7.1302799666098737</c:v>
                </c:pt>
                <c:pt idx="11976">
                  <c:v>4.8784414309716562</c:v>
                </c:pt>
                <c:pt idx="11977">
                  <c:v>3.2056488128511993</c:v>
                </c:pt>
                <c:pt idx="11978">
                  <c:v>7.0735102699908827</c:v>
                </c:pt>
                <c:pt idx="11979">
                  <c:v>5.0482164209719977</c:v>
                </c:pt>
                <c:pt idx="11980">
                  <c:v>6.1077738150992262</c:v>
                </c:pt>
                <c:pt idx="11981">
                  <c:v>5.920326071253581</c:v>
                </c:pt>
                <c:pt idx="11982">
                  <c:v>6.0026733374430217</c:v>
                </c:pt>
                <c:pt idx="11983">
                  <c:v>5.0821092363698401</c:v>
                </c:pt>
                <c:pt idx="11984">
                  <c:v>5.8970118798578479</c:v>
                </c:pt>
                <c:pt idx="11985">
                  <c:v>6.1388124417337453</c:v>
                </c:pt>
                <c:pt idx="11986">
                  <c:v>4.8778782694720064</c:v>
                </c:pt>
                <c:pt idx="11987">
                  <c:v>6.1720114863657427</c:v>
                </c:pt>
                <c:pt idx="11988">
                  <c:v>5.1043398995126577</c:v>
                </c:pt>
                <c:pt idx="11989">
                  <c:v>5.972300737826842</c:v>
                </c:pt>
                <c:pt idx="11990">
                  <c:v>6.0850746657490165</c:v>
                </c:pt>
                <c:pt idx="11991">
                  <c:v>6.001401721180482</c:v>
                </c:pt>
                <c:pt idx="11992">
                  <c:v>5.9100146183902629</c:v>
                </c:pt>
                <c:pt idx="11993">
                  <c:v>5.9026301804207222</c:v>
                </c:pt>
                <c:pt idx="11994">
                  <c:v>6.1157524747792067</c:v>
                </c:pt>
                <c:pt idx="11995">
                  <c:v>7.2235029835414286</c:v>
                </c:pt>
                <c:pt idx="11996">
                  <c:v>5.8981497915216172</c:v>
                </c:pt>
                <c:pt idx="11997">
                  <c:v>5.8240288641997573</c:v>
                </c:pt>
                <c:pt idx="11998">
                  <c:v>6.0071681004163535</c:v>
                </c:pt>
                <c:pt idx="11999">
                  <c:v>4.7117547192954818</c:v>
                </c:pt>
                <c:pt idx="12000">
                  <c:v>5.8237453736400688</c:v>
                </c:pt>
                <c:pt idx="12001">
                  <c:v>6.0290330549312818</c:v>
                </c:pt>
                <c:pt idx="12002">
                  <c:v>6.0968292666082773</c:v>
                </c:pt>
                <c:pt idx="12003">
                  <c:v>3.0612001731802465</c:v>
                </c:pt>
                <c:pt idx="12004">
                  <c:v>6.2388374261448796</c:v>
                </c:pt>
                <c:pt idx="12005">
                  <c:v>5.9152589825257404</c:v>
                </c:pt>
                <c:pt idx="12006">
                  <c:v>5.2108171971378434</c:v>
                </c:pt>
                <c:pt idx="12007">
                  <c:v>7.1338780613975548</c:v>
                </c:pt>
                <c:pt idx="12008">
                  <c:v>6.9338223143742717</c:v>
                </c:pt>
                <c:pt idx="12009">
                  <c:v>5.9349019445733173</c:v>
                </c:pt>
                <c:pt idx="12010">
                  <c:v>7.0563272978206859</c:v>
                </c:pt>
                <c:pt idx="12011">
                  <c:v>5.984983486760667</c:v>
                </c:pt>
                <c:pt idx="12012">
                  <c:v>7.0314776789303215</c:v>
                </c:pt>
                <c:pt idx="12013">
                  <c:v>5.9918981044529867</c:v>
                </c:pt>
                <c:pt idx="12014">
                  <c:v>5.9325666942531194</c:v>
                </c:pt>
                <c:pt idx="12015">
                  <c:v>5.9283099450392429</c:v>
                </c:pt>
                <c:pt idx="12016">
                  <c:v>5.859877163496038</c:v>
                </c:pt>
                <c:pt idx="12017">
                  <c:v>6.9684830551554366</c:v>
                </c:pt>
                <c:pt idx="12018">
                  <c:v>6.0065609868179575</c:v>
                </c:pt>
                <c:pt idx="12019">
                  <c:v>7.1049650146513121</c:v>
                </c:pt>
                <c:pt idx="12020">
                  <c:v>4.953307977356574</c:v>
                </c:pt>
                <c:pt idx="12021">
                  <c:v>5.134874223753326</c:v>
                </c:pt>
                <c:pt idx="12022">
                  <c:v>6.0572654883080643</c:v>
                </c:pt>
                <c:pt idx="12023">
                  <c:v>6.2014186741411654</c:v>
                </c:pt>
                <c:pt idx="12024">
                  <c:v>6.0719317493123546</c:v>
                </c:pt>
                <c:pt idx="12025">
                  <c:v>5.9481853530996647</c:v>
                </c:pt>
                <c:pt idx="12026">
                  <c:v>6.1018185533904203</c:v>
                </c:pt>
                <c:pt idx="12027">
                  <c:v>5.862418068814419</c:v>
                </c:pt>
                <c:pt idx="12028">
                  <c:v>5.062541742905716</c:v>
                </c:pt>
                <c:pt idx="12029">
                  <c:v>6.0936446177676249</c:v>
                </c:pt>
                <c:pt idx="12030">
                  <c:v>5.041216021333601</c:v>
                </c:pt>
                <c:pt idx="12031">
                  <c:v>5.7991153956858206</c:v>
                </c:pt>
                <c:pt idx="12032">
                  <c:v>5.9754834142788527</c:v>
                </c:pt>
                <c:pt idx="12033">
                  <c:v>6.0194474837181353</c:v>
                </c:pt>
                <c:pt idx="12034">
                  <c:v>5.9783965111405983</c:v>
                </c:pt>
                <c:pt idx="12035">
                  <c:v>5.782659177811138</c:v>
                </c:pt>
                <c:pt idx="12036">
                  <c:v>5.9680151835334074</c:v>
                </c:pt>
                <c:pt idx="12037">
                  <c:v>5.9088423430950217</c:v>
                </c:pt>
                <c:pt idx="12038">
                  <c:v>6.0337988136785627</c:v>
                </c:pt>
                <c:pt idx="12039">
                  <c:v>6.0897474676878849</c:v>
                </c:pt>
                <c:pt idx="12040">
                  <c:v>6.2358088102235465</c:v>
                </c:pt>
                <c:pt idx="12041">
                  <c:v>6.0013352194369416</c:v>
                </c:pt>
                <c:pt idx="12042">
                  <c:v>6.1722247593325648</c:v>
                </c:pt>
                <c:pt idx="12043">
                  <c:v>5.0108240608732029</c:v>
                </c:pt>
                <c:pt idx="12044">
                  <c:v>5.8477728623704941</c:v>
                </c:pt>
                <c:pt idx="12045">
                  <c:v>6.033973707887899</c:v>
                </c:pt>
                <c:pt idx="12046">
                  <c:v>5.968987610330009</c:v>
                </c:pt>
                <c:pt idx="12047">
                  <c:v>6.0943615905025679</c:v>
                </c:pt>
                <c:pt idx="12048">
                  <c:v>6.0131560593084608</c:v>
                </c:pt>
                <c:pt idx="12049">
                  <c:v>5.034520410168188</c:v>
                </c:pt>
                <c:pt idx="12050">
                  <c:v>5.1236426579655543</c:v>
                </c:pt>
                <c:pt idx="12051">
                  <c:v>4.9058884743159901</c:v>
                </c:pt>
                <c:pt idx="12052">
                  <c:v>7.0875429860371737</c:v>
                </c:pt>
                <c:pt idx="12053">
                  <c:v>5.0944119813432618</c:v>
                </c:pt>
                <c:pt idx="12054">
                  <c:v>6.0685433750809237</c:v>
                </c:pt>
                <c:pt idx="12055">
                  <c:v>4.9280869059848822</c:v>
                </c:pt>
                <c:pt idx="12056">
                  <c:v>7.0274243615303957</c:v>
                </c:pt>
                <c:pt idx="12057">
                  <c:v>6.1369904227805847</c:v>
                </c:pt>
                <c:pt idx="12058">
                  <c:v>5.8728888118351517</c:v>
                </c:pt>
                <c:pt idx="12059">
                  <c:v>5.0373496865055314</c:v>
                </c:pt>
                <c:pt idx="12060">
                  <c:v>6.9273050929930644</c:v>
                </c:pt>
                <c:pt idx="12061">
                  <c:v>5.0956083162759276</c:v>
                </c:pt>
                <c:pt idx="12062">
                  <c:v>5.9771853977931286</c:v>
                </c:pt>
                <c:pt idx="12063">
                  <c:v>5.1277845177703583</c:v>
                </c:pt>
                <c:pt idx="12064">
                  <c:v>4.9785517023397921</c:v>
                </c:pt>
                <c:pt idx="12065">
                  <c:v>5.9424137616192354</c:v>
                </c:pt>
                <c:pt idx="12066">
                  <c:v>5.1401494773193797</c:v>
                </c:pt>
                <c:pt idx="12067">
                  <c:v>5.9752120009392158</c:v>
                </c:pt>
                <c:pt idx="12068">
                  <c:v>5.9053902100213538</c:v>
                </c:pt>
                <c:pt idx="12069">
                  <c:v>6.9356591408166244</c:v>
                </c:pt>
                <c:pt idx="12070">
                  <c:v>7.0319915222511922</c:v>
                </c:pt>
                <c:pt idx="12071">
                  <c:v>6.9536920153852151</c:v>
                </c:pt>
                <c:pt idx="12072">
                  <c:v>6.1185947864887016</c:v>
                </c:pt>
                <c:pt idx="12073">
                  <c:v>5.9671223951837975</c:v>
                </c:pt>
                <c:pt idx="12074">
                  <c:v>6.0261657016969394</c:v>
                </c:pt>
                <c:pt idx="12075">
                  <c:v>6.0071066501963832</c:v>
                </c:pt>
                <c:pt idx="12076">
                  <c:v>6.060194920394756</c:v>
                </c:pt>
                <c:pt idx="12077">
                  <c:v>6.0552780411152076</c:v>
                </c:pt>
                <c:pt idx="12078">
                  <c:v>5.9259826128666422</c:v>
                </c:pt>
                <c:pt idx="12079">
                  <c:v>5.9374614455192969</c:v>
                </c:pt>
                <c:pt idx="12080">
                  <c:v>6.0261078515854676</c:v>
                </c:pt>
                <c:pt idx="12081">
                  <c:v>5.9963807248542036</c:v>
                </c:pt>
                <c:pt idx="12082">
                  <c:v>6.9220029052454226</c:v>
                </c:pt>
                <c:pt idx="12083">
                  <c:v>5.9666729831386522</c:v>
                </c:pt>
                <c:pt idx="12084">
                  <c:v>4.856821228900551</c:v>
                </c:pt>
                <c:pt idx="12085">
                  <c:v>5.1033182123943046</c:v>
                </c:pt>
                <c:pt idx="12086">
                  <c:v>5.9930364987094826</c:v>
                </c:pt>
                <c:pt idx="12087">
                  <c:v>5.9547135806765548</c:v>
                </c:pt>
                <c:pt idx="12088">
                  <c:v>5.9213347125572575</c:v>
                </c:pt>
                <c:pt idx="12089">
                  <c:v>6.1654705021909662</c:v>
                </c:pt>
                <c:pt idx="12090">
                  <c:v>6.0077268422909018</c:v>
                </c:pt>
                <c:pt idx="12091">
                  <c:v>4.9873468131750274</c:v>
                </c:pt>
                <c:pt idx="12092">
                  <c:v>5.9990060079947165</c:v>
                </c:pt>
                <c:pt idx="12093">
                  <c:v>6.0200892116655194</c:v>
                </c:pt>
                <c:pt idx="12094">
                  <c:v>6.9914388719208711</c:v>
                </c:pt>
                <c:pt idx="12095">
                  <c:v>5.9287008236703436</c:v>
                </c:pt>
                <c:pt idx="12096">
                  <c:v>5.8227754079807665</c:v>
                </c:pt>
                <c:pt idx="12097">
                  <c:v>5.9721772576576981</c:v>
                </c:pt>
                <c:pt idx="12098">
                  <c:v>6.1472192987334964</c:v>
                </c:pt>
                <c:pt idx="12099">
                  <c:v>5.1131851432621982</c:v>
                </c:pt>
                <c:pt idx="12100">
                  <c:v>6.0091487571411042</c:v>
                </c:pt>
                <c:pt idx="12101">
                  <c:v>7.0349079037341786</c:v>
                </c:pt>
                <c:pt idx="12102">
                  <c:v>5.1506686929571011</c:v>
                </c:pt>
                <c:pt idx="12103">
                  <c:v>6.1255707738025631</c:v>
                </c:pt>
                <c:pt idx="12104">
                  <c:v>7.0273533593743656</c:v>
                </c:pt>
                <c:pt idx="12105">
                  <c:v>7.1091703171752432</c:v>
                </c:pt>
                <c:pt idx="12106">
                  <c:v>4.9279437033442202</c:v>
                </c:pt>
                <c:pt idx="12107">
                  <c:v>6.0684595008856661</c:v>
                </c:pt>
                <c:pt idx="12108">
                  <c:v>6.0624748518993776</c:v>
                </c:pt>
                <c:pt idx="12109">
                  <c:v>6.0366811457622571</c:v>
                </c:pt>
                <c:pt idx="12110">
                  <c:v>4.8707610775286696</c:v>
                </c:pt>
                <c:pt idx="12111">
                  <c:v>5.9280631105982087</c:v>
                </c:pt>
                <c:pt idx="12112">
                  <c:v>5.9331301946488333</c:v>
                </c:pt>
                <c:pt idx="12113">
                  <c:v>6.0572968566455492</c:v>
                </c:pt>
                <c:pt idx="12114">
                  <c:v>6.0717429024552327</c:v>
                </c:pt>
                <c:pt idx="12115">
                  <c:v>6.0230024832961302</c:v>
                </c:pt>
                <c:pt idx="12116">
                  <c:v>7.0582311723573765</c:v>
                </c:pt>
                <c:pt idx="12117">
                  <c:v>7.1627096391531362</c:v>
                </c:pt>
                <c:pt idx="12118">
                  <c:v>7.083016924554995</c:v>
                </c:pt>
                <c:pt idx="12119">
                  <c:v>5.8584393566432382</c:v>
                </c:pt>
                <c:pt idx="12120">
                  <c:v>7.0836208245624936</c:v>
                </c:pt>
                <c:pt idx="12121">
                  <c:v>6.0598265711310439</c:v>
                </c:pt>
                <c:pt idx="12122">
                  <c:v>5.9977577619792823</c:v>
                </c:pt>
                <c:pt idx="12123">
                  <c:v>6.0416049957485276</c:v>
                </c:pt>
                <c:pt idx="12124">
                  <c:v>5.9489305738931701</c:v>
                </c:pt>
                <c:pt idx="12125">
                  <c:v>7.0818273852954938</c:v>
                </c:pt>
                <c:pt idx="12126">
                  <c:v>7.1709392438869664</c:v>
                </c:pt>
                <c:pt idx="12127">
                  <c:v>6.006271093577916</c:v>
                </c:pt>
                <c:pt idx="12128">
                  <c:v>5.8858093229324497</c:v>
                </c:pt>
                <c:pt idx="12129">
                  <c:v>5.9515586650893573</c:v>
                </c:pt>
                <c:pt idx="12130">
                  <c:v>6.9389297696731482</c:v>
                </c:pt>
                <c:pt idx="12131">
                  <c:v>7.0399650472137116</c:v>
                </c:pt>
                <c:pt idx="12132">
                  <c:v>7.0045944697896818</c:v>
                </c:pt>
                <c:pt idx="12133">
                  <c:v>4.9717533706563675</c:v>
                </c:pt>
                <c:pt idx="12134">
                  <c:v>4.8266781759010735</c:v>
                </c:pt>
                <c:pt idx="12135">
                  <c:v>6.8653263019624768</c:v>
                </c:pt>
                <c:pt idx="12136">
                  <c:v>5.9234300153551942</c:v>
                </c:pt>
                <c:pt idx="12137">
                  <c:v>7.0220160732790875</c:v>
                </c:pt>
                <c:pt idx="12138">
                  <c:v>6.9258392537881308</c:v>
                </c:pt>
                <c:pt idx="12139">
                  <c:v>5.9617096975468122</c:v>
                </c:pt>
                <c:pt idx="12140">
                  <c:v>6.007346684444105</c:v>
                </c:pt>
                <c:pt idx="12141">
                  <c:v>6.0005631270799631</c:v>
                </c:pt>
                <c:pt idx="12142">
                  <c:v>6.0703275303930679</c:v>
                </c:pt>
                <c:pt idx="12143">
                  <c:v>4.8928095342699889</c:v>
                </c:pt>
                <c:pt idx="12144">
                  <c:v>7.0545431098550395</c:v>
                </c:pt>
                <c:pt idx="12145">
                  <c:v>6.8647288847669694</c:v>
                </c:pt>
                <c:pt idx="12146">
                  <c:v>5.9072216036479723</c:v>
                </c:pt>
                <c:pt idx="12147">
                  <c:v>4.756835356098871</c:v>
                </c:pt>
                <c:pt idx="12148">
                  <c:v>6.0789303393379654</c:v>
                </c:pt>
                <c:pt idx="12149">
                  <c:v>5.8986208039834143</c:v>
                </c:pt>
                <c:pt idx="12150">
                  <c:v>5.2578150035793216</c:v>
                </c:pt>
                <c:pt idx="12151">
                  <c:v>5.9795868003761061</c:v>
                </c:pt>
                <c:pt idx="12152">
                  <c:v>5.06265289602098</c:v>
                </c:pt>
                <c:pt idx="12153">
                  <c:v>5.0802536836443073</c:v>
                </c:pt>
                <c:pt idx="12154">
                  <c:v>5.0865245572315461</c:v>
                </c:pt>
                <c:pt idx="12155">
                  <c:v>6.9649097608412323</c:v>
                </c:pt>
                <c:pt idx="12156">
                  <c:v>4.9000874973498583</c:v>
                </c:pt>
                <c:pt idx="12157">
                  <c:v>6.0663056705024712</c:v>
                </c:pt>
                <c:pt idx="12158">
                  <c:v>4.0380600015376755</c:v>
                </c:pt>
                <c:pt idx="12159">
                  <c:v>6.0301616068637998</c:v>
                </c:pt>
                <c:pt idx="12160">
                  <c:v>5.0476529779410173</c:v>
                </c:pt>
                <c:pt idx="12161">
                  <c:v>5.9805904111383157</c:v>
                </c:pt>
                <c:pt idx="12162">
                  <c:v>5.1518558981566507</c:v>
                </c:pt>
                <c:pt idx="12163">
                  <c:v>7.0464825634439947</c:v>
                </c:pt>
                <c:pt idx="12164">
                  <c:v>7.0022287306241457</c:v>
                </c:pt>
                <c:pt idx="12165">
                  <c:v>6.1544173204461998</c:v>
                </c:pt>
                <c:pt idx="12166">
                  <c:v>5.9225070891825027</c:v>
                </c:pt>
                <c:pt idx="12167">
                  <c:v>4.9719455190931408</c:v>
                </c:pt>
                <c:pt idx="12168">
                  <c:v>5.0158075896739911</c:v>
                </c:pt>
                <c:pt idx="12169">
                  <c:v>5.8457708367660777</c:v>
                </c:pt>
                <c:pt idx="12170">
                  <c:v>5.0229849062921836</c:v>
                </c:pt>
                <c:pt idx="12171">
                  <c:v>6.1658900191277652</c:v>
                </c:pt>
                <c:pt idx="12172">
                  <c:v>6.068294300377346</c:v>
                </c:pt>
                <c:pt idx="12173">
                  <c:v>5.9350513361815578</c:v>
                </c:pt>
                <c:pt idx="12174">
                  <c:v>6.06487195733704</c:v>
                </c:pt>
                <c:pt idx="12175">
                  <c:v>6.0828843662380869</c:v>
                </c:pt>
                <c:pt idx="12176">
                  <c:v>5.8558115739462924</c:v>
                </c:pt>
                <c:pt idx="12177">
                  <c:v>5.8208616558469624</c:v>
                </c:pt>
                <c:pt idx="12178">
                  <c:v>5.9887129395078817</c:v>
                </c:pt>
                <c:pt idx="12179">
                  <c:v>5.9382598813551972</c:v>
                </c:pt>
                <c:pt idx="12180">
                  <c:v>6.2735380154101579</c:v>
                </c:pt>
                <c:pt idx="12181">
                  <c:v>6.1110473898783058</c:v>
                </c:pt>
                <c:pt idx="12182">
                  <c:v>6.8547814299125802</c:v>
                </c:pt>
                <c:pt idx="12183">
                  <c:v>5.9619548887966083</c:v>
                </c:pt>
                <c:pt idx="12184">
                  <c:v>4.9590690606576926</c:v>
                </c:pt>
                <c:pt idx="12185">
                  <c:v>6.8411327959807995</c:v>
                </c:pt>
                <c:pt idx="12186">
                  <c:v>5.9651089214994073</c:v>
                </c:pt>
                <c:pt idx="12187">
                  <c:v>6.0836778017369202</c:v>
                </c:pt>
                <c:pt idx="12188">
                  <c:v>5.8298022570921733</c:v>
                </c:pt>
                <c:pt idx="12189">
                  <c:v>5.0285769389498176</c:v>
                </c:pt>
                <c:pt idx="12190">
                  <c:v>5.9445962736503812</c:v>
                </c:pt>
                <c:pt idx="12191">
                  <c:v>6.790209606505929</c:v>
                </c:pt>
                <c:pt idx="12192">
                  <c:v>5.9255813859419337</c:v>
                </c:pt>
                <c:pt idx="12193">
                  <c:v>5.9618576129097409</c:v>
                </c:pt>
                <c:pt idx="12194">
                  <c:v>4.9519507716256479</c:v>
                </c:pt>
                <c:pt idx="12195">
                  <c:v>6.8849222671967576</c:v>
                </c:pt>
                <c:pt idx="12196">
                  <c:v>7.0931838932246505</c:v>
                </c:pt>
                <c:pt idx="12197">
                  <c:v>7.1011894664230226</c:v>
                </c:pt>
                <c:pt idx="12198">
                  <c:v>7.0650566523176437</c:v>
                </c:pt>
                <c:pt idx="12199">
                  <c:v>4.9812594205417744</c:v>
                </c:pt>
                <c:pt idx="12200">
                  <c:v>6.0334350313176577</c:v>
                </c:pt>
                <c:pt idx="12201">
                  <c:v>7.1600899736422354</c:v>
                </c:pt>
                <c:pt idx="12202">
                  <c:v>6.0395099695633139</c:v>
                </c:pt>
                <c:pt idx="12203">
                  <c:v>6.8897853237426974</c:v>
                </c:pt>
                <c:pt idx="12204">
                  <c:v>5.8080294341256709</c:v>
                </c:pt>
                <c:pt idx="12205">
                  <c:v>6.0118704528749909</c:v>
                </c:pt>
                <c:pt idx="12206">
                  <c:v>7.0416620399758383</c:v>
                </c:pt>
                <c:pt idx="12207">
                  <c:v>5.9253958675578762</c:v>
                </c:pt>
                <c:pt idx="12208">
                  <c:v>5.1237255274681752</c:v>
                </c:pt>
                <c:pt idx="12209">
                  <c:v>5.8149123851302811</c:v>
                </c:pt>
                <c:pt idx="12210">
                  <c:v>5.9970127225548415</c:v>
                </c:pt>
                <c:pt idx="12211">
                  <c:v>6.0190919543447245</c:v>
                </c:pt>
                <c:pt idx="12212">
                  <c:v>6.1170856655289896</c:v>
                </c:pt>
                <c:pt idx="12213">
                  <c:v>5.0344039695338392</c:v>
                </c:pt>
                <c:pt idx="12214">
                  <c:v>6.1248631170081422</c:v>
                </c:pt>
                <c:pt idx="12215">
                  <c:v>5.973847719925093</c:v>
                </c:pt>
                <c:pt idx="12216">
                  <c:v>6.137588000459294</c:v>
                </c:pt>
                <c:pt idx="12217">
                  <c:v>5.0524407744595186</c:v>
                </c:pt>
                <c:pt idx="12218">
                  <c:v>5.9476563897725425</c:v>
                </c:pt>
                <c:pt idx="12219">
                  <c:v>5.9340087127915888</c:v>
                </c:pt>
                <c:pt idx="12220">
                  <c:v>5.8408091894548013</c:v>
                </c:pt>
                <c:pt idx="12221">
                  <c:v>7.0477661089771688</c:v>
                </c:pt>
                <c:pt idx="12222">
                  <c:v>6.8474648660088784</c:v>
                </c:pt>
                <c:pt idx="12223">
                  <c:v>6.9999192637103693</c:v>
                </c:pt>
                <c:pt idx="12224">
                  <c:v>5.8619270726835326</c:v>
                </c:pt>
                <c:pt idx="12225">
                  <c:v>6.0137603000596824</c:v>
                </c:pt>
                <c:pt idx="12226">
                  <c:v>6.0880839553415083</c:v>
                </c:pt>
                <c:pt idx="12227">
                  <c:v>5.0475194725414312</c:v>
                </c:pt>
                <c:pt idx="12228">
                  <c:v>6.0215633115545248</c:v>
                </c:pt>
                <c:pt idx="12229">
                  <c:v>5.1581631193681261</c:v>
                </c:pt>
                <c:pt idx="12230">
                  <c:v>5.9474107259923139</c:v>
                </c:pt>
                <c:pt idx="12231">
                  <c:v>5.790091181325665</c:v>
                </c:pt>
                <c:pt idx="12232">
                  <c:v>6.1969049921523851</c:v>
                </c:pt>
                <c:pt idx="12233">
                  <c:v>6.077067682413988</c:v>
                </c:pt>
                <c:pt idx="12234">
                  <c:v>6.1015485071795146</c:v>
                </c:pt>
                <c:pt idx="12235">
                  <c:v>5.143368878094587</c:v>
                </c:pt>
                <c:pt idx="12236">
                  <c:v>5.9947932967870683</c:v>
                </c:pt>
                <c:pt idx="12237">
                  <c:v>6.0061142729267365</c:v>
                </c:pt>
                <c:pt idx="12238">
                  <c:v>5.991223825983603</c:v>
                </c:pt>
                <c:pt idx="12239">
                  <c:v>5.015402848136806</c:v>
                </c:pt>
                <c:pt idx="12240">
                  <c:v>5.8041557541726903</c:v>
                </c:pt>
                <c:pt idx="12241">
                  <c:v>5.0959153502629793</c:v>
                </c:pt>
                <c:pt idx="12242">
                  <c:v>5.8039082378063647</c:v>
                </c:pt>
                <c:pt idx="12243">
                  <c:v>5.9544259196827198</c:v>
                </c:pt>
                <c:pt idx="12244">
                  <c:v>8.9697964181873981</c:v>
                </c:pt>
                <c:pt idx="12245">
                  <c:v>8.0327085564418592</c:v>
                </c:pt>
                <c:pt idx="12246">
                  <c:v>4.9344589320427339</c:v>
                </c:pt>
                <c:pt idx="12247">
                  <c:v>6.0593985968063633</c:v>
                </c:pt>
                <c:pt idx="12248">
                  <c:v>1.9369471503582578</c:v>
                </c:pt>
                <c:pt idx="12249">
                  <c:v>5.8785046067998685</c:v>
                </c:pt>
                <c:pt idx="12250">
                  <c:v>5.8559691373964373</c:v>
                </c:pt>
                <c:pt idx="12251">
                  <c:v>5.9853679929706161</c:v>
                </c:pt>
                <c:pt idx="12252">
                  <c:v>5.8321638481219917</c:v>
                </c:pt>
                <c:pt idx="12253">
                  <c:v>5.9787339113470654</c:v>
                </c:pt>
                <c:pt idx="12254">
                  <c:v>6.0571547129514069</c:v>
                </c:pt>
                <c:pt idx="12255">
                  <c:v>6.0850660221061164</c:v>
                </c:pt>
                <c:pt idx="12256">
                  <c:v>5.7494972888722629</c:v>
                </c:pt>
                <c:pt idx="12257">
                  <c:v>5.0051082241391089</c:v>
                </c:pt>
                <c:pt idx="12258">
                  <c:v>6.9878823571347368</c:v>
                </c:pt>
                <c:pt idx="12259">
                  <c:v>5.975148670319725</c:v>
                </c:pt>
                <c:pt idx="12260">
                  <c:v>6.9835031546415749</c:v>
                </c:pt>
                <c:pt idx="12261">
                  <c:v>6.1097537775329229</c:v>
                </c:pt>
                <c:pt idx="12262">
                  <c:v>3.0978333897477532</c:v>
                </c:pt>
                <c:pt idx="12263">
                  <c:v>6.0493386463201162</c:v>
                </c:pt>
                <c:pt idx="12264">
                  <c:v>5.7684594748408919</c:v>
                </c:pt>
                <c:pt idx="12265">
                  <c:v>4.8620110512472507</c:v>
                </c:pt>
                <c:pt idx="12266">
                  <c:v>6.1171974212552689</c:v>
                </c:pt>
                <c:pt idx="12267">
                  <c:v>5.958866779336863</c:v>
                </c:pt>
                <c:pt idx="12268">
                  <c:v>4.8732561734563102</c:v>
                </c:pt>
                <c:pt idx="12269">
                  <c:v>5.0612767937649661</c:v>
                </c:pt>
                <c:pt idx="12270">
                  <c:v>5.9998241432845481</c:v>
                </c:pt>
                <c:pt idx="12271">
                  <c:v>4.8625736123723309</c:v>
                </c:pt>
                <c:pt idx="12272">
                  <c:v>6.020248583097537</c:v>
                </c:pt>
                <c:pt idx="12273">
                  <c:v>5.1194927266030756</c:v>
                </c:pt>
                <c:pt idx="12274">
                  <c:v>6.219820283232778</c:v>
                </c:pt>
                <c:pt idx="12275">
                  <c:v>5.0962522731779023</c:v>
                </c:pt>
                <c:pt idx="12276">
                  <c:v>4.8870757107827867</c:v>
                </c:pt>
                <c:pt idx="12277">
                  <c:v>6.0922160434778014</c:v>
                </c:pt>
                <c:pt idx="12278">
                  <c:v>5.0228766643857705</c:v>
                </c:pt>
                <c:pt idx="12279">
                  <c:v>5.9596683633989542</c:v>
                </c:pt>
                <c:pt idx="12280">
                  <c:v>5.9391291095543375</c:v>
                </c:pt>
                <c:pt idx="12281">
                  <c:v>5.0634108391916612</c:v>
                </c:pt>
                <c:pt idx="12282">
                  <c:v>7.1116165130467053</c:v>
                </c:pt>
                <c:pt idx="12283">
                  <c:v>5.0018967508273144</c:v>
                </c:pt>
                <c:pt idx="12284">
                  <c:v>5.9711941704912741</c:v>
                </c:pt>
                <c:pt idx="12285">
                  <c:v>5.0275657494490078</c:v>
                </c:pt>
                <c:pt idx="12286">
                  <c:v>6.1757670756444565</c:v>
                </c:pt>
                <c:pt idx="12287">
                  <c:v>6.0466869087593986</c:v>
                </c:pt>
                <c:pt idx="12288">
                  <c:v>6.090300167919815</c:v>
                </c:pt>
                <c:pt idx="12289">
                  <c:v>4.9686644158087194</c:v>
                </c:pt>
                <c:pt idx="12290">
                  <c:v>5.8893347966009637</c:v>
                </c:pt>
                <c:pt idx="12291">
                  <c:v>5.9936170845282124</c:v>
                </c:pt>
                <c:pt idx="12292">
                  <c:v>6.9091013117841031</c:v>
                </c:pt>
                <c:pt idx="12293">
                  <c:v>6.7417075635927315</c:v>
                </c:pt>
                <c:pt idx="12294">
                  <c:v>6.0174852280666347</c:v>
                </c:pt>
                <c:pt idx="12295">
                  <c:v>7.1062044201979795</c:v>
                </c:pt>
                <c:pt idx="12296">
                  <c:v>5.9933992272838559</c:v>
                </c:pt>
                <c:pt idx="12297">
                  <c:v>4.777302052541021</c:v>
                </c:pt>
                <c:pt idx="12298">
                  <c:v>5.8681049069772966</c:v>
                </c:pt>
                <c:pt idx="12299">
                  <c:v>5.9673711290265965</c:v>
                </c:pt>
                <c:pt idx="12300">
                  <c:v>5.897958969271536</c:v>
                </c:pt>
                <c:pt idx="12301">
                  <c:v>5.0828388867958854</c:v>
                </c:pt>
                <c:pt idx="12302">
                  <c:v>5.9071168700511167</c:v>
                </c:pt>
                <c:pt idx="12303">
                  <c:v>6.9200953484680845</c:v>
                </c:pt>
                <c:pt idx="12304">
                  <c:v>6.9751928856479282</c:v>
                </c:pt>
                <c:pt idx="12305">
                  <c:v>4.9922789810519621</c:v>
                </c:pt>
                <c:pt idx="12306">
                  <c:v>4.9559688136118787</c:v>
                </c:pt>
                <c:pt idx="12307">
                  <c:v>7.1414785011041788</c:v>
                </c:pt>
                <c:pt idx="12308">
                  <c:v>3.8186399037625778</c:v>
                </c:pt>
                <c:pt idx="12309">
                  <c:v>6.2083630930905498</c:v>
                </c:pt>
                <c:pt idx="12310">
                  <c:v>7.0192547137384711</c:v>
                </c:pt>
                <c:pt idx="12311">
                  <c:v>6.9891707276067487</c:v>
                </c:pt>
                <c:pt idx="12312">
                  <c:v>5.8570218525886162</c:v>
                </c:pt>
                <c:pt idx="12313">
                  <c:v>5.0634564150630457</c:v>
                </c:pt>
                <c:pt idx="12314">
                  <c:v>5.8789527817448972</c:v>
                </c:pt>
                <c:pt idx="12315">
                  <c:v>5.9339788885420468</c:v>
                </c:pt>
                <c:pt idx="12316">
                  <c:v>5.0393853381827913</c:v>
                </c:pt>
                <c:pt idx="12317">
                  <c:v>5.9592633245556073</c:v>
                </c:pt>
                <c:pt idx="12318">
                  <c:v>5.1202836796287245</c:v>
                </c:pt>
                <c:pt idx="12319">
                  <c:v>6.0479919437258411</c:v>
                </c:pt>
                <c:pt idx="12320">
                  <c:v>5.0075060588772544</c:v>
                </c:pt>
                <c:pt idx="12321">
                  <c:v>5.1848955912170576</c:v>
                </c:pt>
                <c:pt idx="12322">
                  <c:v>5.0642954412111845</c:v>
                </c:pt>
                <c:pt idx="12323">
                  <c:v>6.8987887664402834</c:v>
                </c:pt>
                <c:pt idx="12324">
                  <c:v>4.9116047575540396</c:v>
                </c:pt>
                <c:pt idx="12325">
                  <c:v>5.002423110305287</c:v>
                </c:pt>
                <c:pt idx="12326">
                  <c:v>5.1399859180145739</c:v>
                </c:pt>
                <c:pt idx="12327">
                  <c:v>5.0858363155121165</c:v>
                </c:pt>
                <c:pt idx="12328">
                  <c:v>6.0135189843913812</c:v>
                </c:pt>
                <c:pt idx="12329">
                  <c:v>4.9959232005116485</c:v>
                </c:pt>
                <c:pt idx="12330">
                  <c:v>5.9280280264670973</c:v>
                </c:pt>
                <c:pt idx="12331">
                  <c:v>4.8683197736206862</c:v>
                </c:pt>
                <c:pt idx="12332">
                  <c:v>5.0242818941648153</c:v>
                </c:pt>
                <c:pt idx="12333">
                  <c:v>5.0033055123421146</c:v>
                </c:pt>
                <c:pt idx="12334">
                  <c:v>6.0268423260209758</c:v>
                </c:pt>
                <c:pt idx="12335">
                  <c:v>5.0280330247633929</c:v>
                </c:pt>
                <c:pt idx="12336">
                  <c:v>5.3183378979566474</c:v>
                </c:pt>
                <c:pt idx="12337">
                  <c:v>4.9082061476020336</c:v>
                </c:pt>
                <c:pt idx="12338">
                  <c:v>4.851402618837759</c:v>
                </c:pt>
                <c:pt idx="12339">
                  <c:v>5.8912917542920376</c:v>
                </c:pt>
                <c:pt idx="12340">
                  <c:v>4.9523704473599066</c:v>
                </c:pt>
                <c:pt idx="12341">
                  <c:v>6.0170897304388857</c:v>
                </c:pt>
                <c:pt idx="12342">
                  <c:v>4.804206151904963</c:v>
                </c:pt>
                <c:pt idx="12343">
                  <c:v>6.0129499545422478</c:v>
                </c:pt>
                <c:pt idx="12344">
                  <c:v>4.9883721754583448</c:v>
                </c:pt>
                <c:pt idx="12345">
                  <c:v>7.0996820051636913</c:v>
                </c:pt>
                <c:pt idx="12346">
                  <c:v>5.9746314472981119</c:v>
                </c:pt>
                <c:pt idx="12347">
                  <c:v>5.0017324470976279</c:v>
                </c:pt>
                <c:pt idx="12348">
                  <c:v>4.1981168016853925</c:v>
                </c:pt>
                <c:pt idx="12349">
                  <c:v>6.124653731773587</c:v>
                </c:pt>
                <c:pt idx="12350">
                  <c:v>6.0140874550958934</c:v>
                </c:pt>
                <c:pt idx="12351">
                  <c:v>5.0166976553968752</c:v>
                </c:pt>
                <c:pt idx="12352">
                  <c:v>6.0975407928351375</c:v>
                </c:pt>
                <c:pt idx="12353">
                  <c:v>5.879272019711931</c:v>
                </c:pt>
                <c:pt idx="12354">
                  <c:v>6.2479484844326443</c:v>
                </c:pt>
                <c:pt idx="12355">
                  <c:v>6.0033623575380215</c:v>
                </c:pt>
                <c:pt idx="12356">
                  <c:v>6.0974092693720481</c:v>
                </c:pt>
                <c:pt idx="12357">
                  <c:v>6.0327838525557373</c:v>
                </c:pt>
                <c:pt idx="12358">
                  <c:v>6.0225066501306985</c:v>
                </c:pt>
                <c:pt idx="12359">
                  <c:v>5.1058538524096271</c:v>
                </c:pt>
                <c:pt idx="12360">
                  <c:v>4.9208119564868031</c:v>
                </c:pt>
                <c:pt idx="12361">
                  <c:v>5.1981074837677141</c:v>
                </c:pt>
                <c:pt idx="12362">
                  <c:v>5.0199067993409399</c:v>
                </c:pt>
                <c:pt idx="12363">
                  <c:v>5.0778023718654683</c:v>
                </c:pt>
                <c:pt idx="12364">
                  <c:v>6.0024932440738095</c:v>
                </c:pt>
                <c:pt idx="12365">
                  <c:v>5.0180238004589466</c:v>
                </c:pt>
                <c:pt idx="12366">
                  <c:v>6.0431528106325212</c:v>
                </c:pt>
                <c:pt idx="12367">
                  <c:v>6.0272941587928335</c:v>
                </c:pt>
                <c:pt idx="12368">
                  <c:v>5.8850185161792385</c:v>
                </c:pt>
                <c:pt idx="12369">
                  <c:v>5.9963141522678978</c:v>
                </c:pt>
                <c:pt idx="12370">
                  <c:v>6.0386362091673176</c:v>
                </c:pt>
                <c:pt idx="12371">
                  <c:v>5.9051101448748344</c:v>
                </c:pt>
                <c:pt idx="12372">
                  <c:v>5.1526174079907516</c:v>
                </c:pt>
                <c:pt idx="12373">
                  <c:v>6.1465264522958822</c:v>
                </c:pt>
                <c:pt idx="12374">
                  <c:v>5.9603325241000116</c:v>
                </c:pt>
                <c:pt idx="12375">
                  <c:v>4.9957224428232783</c:v>
                </c:pt>
                <c:pt idx="12376">
                  <c:v>5.8482790120143004</c:v>
                </c:pt>
                <c:pt idx="12377">
                  <c:v>4.9385480652099689</c:v>
                </c:pt>
                <c:pt idx="12378">
                  <c:v>5.9763986325793859</c:v>
                </c:pt>
                <c:pt idx="12379">
                  <c:v>6.0520601196750654</c:v>
                </c:pt>
                <c:pt idx="12380">
                  <c:v>7.1069613757301626</c:v>
                </c:pt>
                <c:pt idx="12381">
                  <c:v>5.0068926707346142</c:v>
                </c:pt>
                <c:pt idx="12382">
                  <c:v>6.0263142831136882</c:v>
                </c:pt>
                <c:pt idx="12383">
                  <c:v>5.984989434329461</c:v>
                </c:pt>
                <c:pt idx="12384">
                  <c:v>6.0236589831550624</c:v>
                </c:pt>
                <c:pt idx="12385">
                  <c:v>6.0655918780057654</c:v>
                </c:pt>
                <c:pt idx="12386">
                  <c:v>6.9578662324070537</c:v>
                </c:pt>
                <c:pt idx="12387">
                  <c:v>5.9981034745063795</c:v>
                </c:pt>
                <c:pt idx="12388">
                  <c:v>6.9445883179823813</c:v>
                </c:pt>
                <c:pt idx="12389">
                  <c:v>5.8698540800718861</c:v>
                </c:pt>
                <c:pt idx="12390">
                  <c:v>6.1359989570357962</c:v>
                </c:pt>
                <c:pt idx="12391">
                  <c:v>5.9567679891124659</c:v>
                </c:pt>
                <c:pt idx="12392">
                  <c:v>4.8334318355260599</c:v>
                </c:pt>
                <c:pt idx="12393">
                  <c:v>6.8444216249541112</c:v>
                </c:pt>
                <c:pt idx="12394">
                  <c:v>6.018963244347054</c:v>
                </c:pt>
                <c:pt idx="12395">
                  <c:v>6.0380304480649389</c:v>
                </c:pt>
                <c:pt idx="12396">
                  <c:v>6.9213604863486333</c:v>
                </c:pt>
                <c:pt idx="12397">
                  <c:v>5.9584260901135968</c:v>
                </c:pt>
                <c:pt idx="12398">
                  <c:v>6.0111142396596948</c:v>
                </c:pt>
                <c:pt idx="12399">
                  <c:v>4.8435305267248392</c:v>
                </c:pt>
                <c:pt idx="12400">
                  <c:v>5.9883404000983287</c:v>
                </c:pt>
                <c:pt idx="12401">
                  <c:v>5.8247419149032584</c:v>
                </c:pt>
                <c:pt idx="12402">
                  <c:v>5.9082399799507304</c:v>
                </c:pt>
                <c:pt idx="12403">
                  <c:v>5.9660905013998855</c:v>
                </c:pt>
                <c:pt idx="12404">
                  <c:v>7.032496402379194</c:v>
                </c:pt>
                <c:pt idx="12405">
                  <c:v>5.9735864064307949</c:v>
                </c:pt>
                <c:pt idx="12406">
                  <c:v>6.9715724023164336</c:v>
                </c:pt>
                <c:pt idx="12407">
                  <c:v>6.0764756371132718</c:v>
                </c:pt>
                <c:pt idx="12408">
                  <c:v>6.0215945279159522</c:v>
                </c:pt>
                <c:pt idx="12409">
                  <c:v>4.9493748356535701</c:v>
                </c:pt>
                <c:pt idx="12410">
                  <c:v>5.8941440970709902</c:v>
                </c:pt>
                <c:pt idx="12411">
                  <c:v>6.1437097792289865</c:v>
                </c:pt>
                <c:pt idx="12412">
                  <c:v>6.1426867924105819</c:v>
                </c:pt>
                <c:pt idx="12413">
                  <c:v>6.0168249700843175</c:v>
                </c:pt>
                <c:pt idx="12414">
                  <c:v>6.0629232743246844</c:v>
                </c:pt>
                <c:pt idx="12415">
                  <c:v>6.0535033744676321</c:v>
                </c:pt>
                <c:pt idx="12416">
                  <c:v>6.0580487112256129</c:v>
                </c:pt>
                <c:pt idx="12417">
                  <c:v>5.7662145259117024</c:v>
                </c:pt>
                <c:pt idx="12418">
                  <c:v>6.131084846700622</c:v>
                </c:pt>
                <c:pt idx="12419">
                  <c:v>5.8711834840976111</c:v>
                </c:pt>
                <c:pt idx="12420">
                  <c:v>7.0677205881458347</c:v>
                </c:pt>
                <c:pt idx="12421">
                  <c:v>6.0259738804093725</c:v>
                </c:pt>
                <c:pt idx="12422">
                  <c:v>5.9094912257137695</c:v>
                </c:pt>
                <c:pt idx="12423">
                  <c:v>5.8567226232068794</c:v>
                </c:pt>
                <c:pt idx="12424">
                  <c:v>6.1275615223941138</c:v>
                </c:pt>
                <c:pt idx="12425">
                  <c:v>5.9700291983964489</c:v>
                </c:pt>
                <c:pt idx="12426">
                  <c:v>5.8757550733487349</c:v>
                </c:pt>
                <c:pt idx="12427">
                  <c:v>6.0238955785364254</c:v>
                </c:pt>
                <c:pt idx="12428">
                  <c:v>6.8593787374901227</c:v>
                </c:pt>
                <c:pt idx="12429">
                  <c:v>6.0022244570501631</c:v>
                </c:pt>
                <c:pt idx="12430">
                  <c:v>7.1869129293068728</c:v>
                </c:pt>
                <c:pt idx="12431">
                  <c:v>5.8958324824606558</c:v>
                </c:pt>
                <c:pt idx="12432">
                  <c:v>6.0741282445414519</c:v>
                </c:pt>
                <c:pt idx="12433">
                  <c:v>5.825252297726685</c:v>
                </c:pt>
                <c:pt idx="12434">
                  <c:v>5.0855530740869481</c:v>
                </c:pt>
                <c:pt idx="12435">
                  <c:v>3.8269730225027225</c:v>
                </c:pt>
                <c:pt idx="12436">
                  <c:v>6.0678095234678739</c:v>
                </c:pt>
                <c:pt idx="12437">
                  <c:v>4.1756300779893341</c:v>
                </c:pt>
                <c:pt idx="12438">
                  <c:v>5.9112141512277709</c:v>
                </c:pt>
                <c:pt idx="12439">
                  <c:v>6.0948923086311195</c:v>
                </c:pt>
                <c:pt idx="12440">
                  <c:v>5.1256538909121234</c:v>
                </c:pt>
                <c:pt idx="12441">
                  <c:v>6.0810546802003671</c:v>
                </c:pt>
                <c:pt idx="12442">
                  <c:v>4.0795317467708765</c:v>
                </c:pt>
                <c:pt idx="12443">
                  <c:v>6.050066713136248</c:v>
                </c:pt>
                <c:pt idx="12444">
                  <c:v>6.0775429022280676</c:v>
                </c:pt>
                <c:pt idx="12445">
                  <c:v>6.0220228506930287</c:v>
                </c:pt>
                <c:pt idx="12446">
                  <c:v>6.1116734405239468</c:v>
                </c:pt>
                <c:pt idx="12447">
                  <c:v>7.0359037564182092</c:v>
                </c:pt>
                <c:pt idx="12448">
                  <c:v>4.8417474555848914</c:v>
                </c:pt>
                <c:pt idx="12449">
                  <c:v>6.205809831771707</c:v>
                </c:pt>
                <c:pt idx="12450">
                  <c:v>7.0677875264616583</c:v>
                </c:pt>
                <c:pt idx="12451">
                  <c:v>5.9346433587132399</c:v>
                </c:pt>
                <c:pt idx="12452">
                  <c:v>5.018100837800926</c:v>
                </c:pt>
                <c:pt idx="12453">
                  <c:v>6.0757487553870879</c:v>
                </c:pt>
                <c:pt idx="12454">
                  <c:v>6.06170407715544</c:v>
                </c:pt>
                <c:pt idx="12455">
                  <c:v>6.0500880466007665</c:v>
                </c:pt>
                <c:pt idx="12456">
                  <c:v>5.990543945346559</c:v>
                </c:pt>
                <c:pt idx="12457">
                  <c:v>3.8404232916354863</c:v>
                </c:pt>
                <c:pt idx="12458">
                  <c:v>6.9079131313399573</c:v>
                </c:pt>
                <c:pt idx="12459">
                  <c:v>5.9970751259004258</c:v>
                </c:pt>
                <c:pt idx="12460">
                  <c:v>6.9595786925820962</c:v>
                </c:pt>
                <c:pt idx="12461">
                  <c:v>6.1267719536005405</c:v>
                </c:pt>
                <c:pt idx="12462">
                  <c:v>4.8655516512264008</c:v>
                </c:pt>
                <c:pt idx="12463">
                  <c:v>5.9854568875558831</c:v>
                </c:pt>
                <c:pt idx="12464">
                  <c:v>5.9192379401195394</c:v>
                </c:pt>
                <c:pt idx="12465">
                  <c:v>5.9642565371848901</c:v>
                </c:pt>
                <c:pt idx="12466">
                  <c:v>7.2506500577139015</c:v>
                </c:pt>
                <c:pt idx="12467">
                  <c:v>5.981351942958776</c:v>
                </c:pt>
                <c:pt idx="12468">
                  <c:v>5.0143956607034035</c:v>
                </c:pt>
                <c:pt idx="12469">
                  <c:v>6.9843231967671464</c:v>
                </c:pt>
                <c:pt idx="12470">
                  <c:v>5.0503812545813958</c:v>
                </c:pt>
                <c:pt idx="12471">
                  <c:v>4.9370131918513929</c:v>
                </c:pt>
                <c:pt idx="12472">
                  <c:v>5.9315808380246819</c:v>
                </c:pt>
                <c:pt idx="12473">
                  <c:v>5.9450560557607037</c:v>
                </c:pt>
                <c:pt idx="12474">
                  <c:v>6.9842800642512426</c:v>
                </c:pt>
                <c:pt idx="12475">
                  <c:v>6.9620292719386994</c:v>
                </c:pt>
                <c:pt idx="12476">
                  <c:v>6.0870061011120562</c:v>
                </c:pt>
                <c:pt idx="12477">
                  <c:v>4.9536406278191745</c:v>
                </c:pt>
                <c:pt idx="12478">
                  <c:v>5.9772186023648741</c:v>
                </c:pt>
                <c:pt idx="12479">
                  <c:v>6.9315125071804111</c:v>
                </c:pt>
                <c:pt idx="12480">
                  <c:v>6.0847438775694824</c:v>
                </c:pt>
                <c:pt idx="12481">
                  <c:v>5.9726849031352156</c:v>
                </c:pt>
                <c:pt idx="12482">
                  <c:v>7.0942791212587295</c:v>
                </c:pt>
                <c:pt idx="12483">
                  <c:v>6.9301045142268096</c:v>
                </c:pt>
                <c:pt idx="12484">
                  <c:v>4.9603410520520992</c:v>
                </c:pt>
                <c:pt idx="12485">
                  <c:v>5.9159489532764189</c:v>
                </c:pt>
                <c:pt idx="12486">
                  <c:v>7.0573888721046574</c:v>
                </c:pt>
                <c:pt idx="12487">
                  <c:v>5.9069732564007253</c:v>
                </c:pt>
                <c:pt idx="12488">
                  <c:v>4.9909118611068637</c:v>
                </c:pt>
                <c:pt idx="12489">
                  <c:v>4.8657084333300729</c:v>
                </c:pt>
                <c:pt idx="12490">
                  <c:v>7.1383629276669502</c:v>
                </c:pt>
                <c:pt idx="12491">
                  <c:v>5.9700854820467173</c:v>
                </c:pt>
                <c:pt idx="12492">
                  <c:v>5.9333495261469427</c:v>
                </c:pt>
                <c:pt idx="12493">
                  <c:v>6.9836965705761784</c:v>
                </c:pt>
                <c:pt idx="12494">
                  <c:v>6.0201124368195789</c:v>
                </c:pt>
                <c:pt idx="12495">
                  <c:v>7.0187883969785014</c:v>
                </c:pt>
                <c:pt idx="12496">
                  <c:v>6.1348928208380489</c:v>
                </c:pt>
                <c:pt idx="12497">
                  <c:v>5.8162807930870599</c:v>
                </c:pt>
                <c:pt idx="12498">
                  <c:v>7.0977451739077448</c:v>
                </c:pt>
                <c:pt idx="12499">
                  <c:v>6.1112436907175089</c:v>
                </c:pt>
                <c:pt idx="12500">
                  <c:v>7.0341902754338372</c:v>
                </c:pt>
                <c:pt idx="12501">
                  <c:v>7.0717192205019526</c:v>
                </c:pt>
                <c:pt idx="12502">
                  <c:v>6.9888494295636141</c:v>
                </c:pt>
                <c:pt idx="12503">
                  <c:v>5.9488457455572936</c:v>
                </c:pt>
                <c:pt idx="12504">
                  <c:v>6.8926288128118705</c:v>
                </c:pt>
                <c:pt idx="12505">
                  <c:v>6.7914553202174535</c:v>
                </c:pt>
                <c:pt idx="12506">
                  <c:v>6.9291520150946821</c:v>
                </c:pt>
                <c:pt idx="12507">
                  <c:v>5.9970985038957636</c:v>
                </c:pt>
                <c:pt idx="12508">
                  <c:v>6.1049183312270401</c:v>
                </c:pt>
                <c:pt idx="12509">
                  <c:v>3.9263915675200498</c:v>
                </c:pt>
                <c:pt idx="12510">
                  <c:v>6.0337959120350781</c:v>
                </c:pt>
                <c:pt idx="12511">
                  <c:v>6.8895703700418647</c:v>
                </c:pt>
                <c:pt idx="12512">
                  <c:v>7.1621296140667488</c:v>
                </c:pt>
                <c:pt idx="12513">
                  <c:v>6.9996457502806342</c:v>
                </c:pt>
                <c:pt idx="12514">
                  <c:v>3.0533032506038471</c:v>
                </c:pt>
                <c:pt idx="12515">
                  <c:v>6.1417582254162131</c:v>
                </c:pt>
                <c:pt idx="12516">
                  <c:v>7.0449373209042241</c:v>
                </c:pt>
                <c:pt idx="12517">
                  <c:v>6.9521504808440655</c:v>
                </c:pt>
                <c:pt idx="12518">
                  <c:v>5.0183721449420862</c:v>
                </c:pt>
                <c:pt idx="12519">
                  <c:v>6.0781998100523777</c:v>
                </c:pt>
                <c:pt idx="12520">
                  <c:v>5.951734599251929</c:v>
                </c:pt>
                <c:pt idx="12521">
                  <c:v>6.0560543707897958</c:v>
                </c:pt>
                <c:pt idx="12522">
                  <c:v>4.8561330856166993</c:v>
                </c:pt>
                <c:pt idx="12523">
                  <c:v>5.9345603951306929</c:v>
                </c:pt>
                <c:pt idx="12524">
                  <c:v>6.7978689691471468</c:v>
                </c:pt>
                <c:pt idx="12525">
                  <c:v>6.0625436628862897</c:v>
                </c:pt>
                <c:pt idx="12526">
                  <c:v>4.9827217773634604</c:v>
                </c:pt>
                <c:pt idx="12527">
                  <c:v>6.0304847131003747</c:v>
                </c:pt>
                <c:pt idx="12528">
                  <c:v>5.8650973291304567</c:v>
                </c:pt>
                <c:pt idx="12529">
                  <c:v>5.0700090580334694</c:v>
                </c:pt>
                <c:pt idx="12530">
                  <c:v>5.8726949925297216</c:v>
                </c:pt>
                <c:pt idx="12531">
                  <c:v>5.0330976817454465</c:v>
                </c:pt>
                <c:pt idx="12532">
                  <c:v>5.0407771863918605</c:v>
                </c:pt>
                <c:pt idx="12533">
                  <c:v>6.1104729271173044</c:v>
                </c:pt>
                <c:pt idx="12534">
                  <c:v>5.9106466146923822</c:v>
                </c:pt>
                <c:pt idx="12535">
                  <c:v>6.1608241847917808</c:v>
                </c:pt>
                <c:pt idx="12536">
                  <c:v>6.053590674879036</c:v>
                </c:pt>
                <c:pt idx="12537">
                  <c:v>6.9282250794592386</c:v>
                </c:pt>
                <c:pt idx="12538">
                  <c:v>6.0769938977058642</c:v>
                </c:pt>
                <c:pt idx="12539">
                  <c:v>5.8905298693693116</c:v>
                </c:pt>
                <c:pt idx="12540">
                  <c:v>6.0059675197137379</c:v>
                </c:pt>
                <c:pt idx="12541">
                  <c:v>6.0945529847674083</c:v>
                </c:pt>
                <c:pt idx="12542">
                  <c:v>1.9444771351321299</c:v>
                </c:pt>
                <c:pt idx="12543">
                  <c:v>5.8366687187289923</c:v>
                </c:pt>
                <c:pt idx="12544">
                  <c:v>6.3239402387660668</c:v>
                </c:pt>
                <c:pt idx="12545">
                  <c:v>6.9774121344182944</c:v>
                </c:pt>
                <c:pt idx="12546">
                  <c:v>5.0667000266821436</c:v>
                </c:pt>
                <c:pt idx="12547">
                  <c:v>5.9626460912327595</c:v>
                </c:pt>
                <c:pt idx="12548">
                  <c:v>7.1693857186145395</c:v>
                </c:pt>
                <c:pt idx="12549">
                  <c:v>6.0277078134265585</c:v>
                </c:pt>
                <c:pt idx="12550">
                  <c:v>6.0962296961757048</c:v>
                </c:pt>
                <c:pt idx="12551">
                  <c:v>5.8800630745036582</c:v>
                </c:pt>
                <c:pt idx="12552">
                  <c:v>6.1372102193592921</c:v>
                </c:pt>
                <c:pt idx="12553">
                  <c:v>6.8764704747095093</c:v>
                </c:pt>
                <c:pt idx="12554">
                  <c:v>2.1861048549222044</c:v>
                </c:pt>
                <c:pt idx="12555">
                  <c:v>5.9952060671323588</c:v>
                </c:pt>
                <c:pt idx="12556">
                  <c:v>6.0193470672033076</c:v>
                </c:pt>
                <c:pt idx="12557">
                  <c:v>4.9791072779773966</c:v>
                </c:pt>
                <c:pt idx="12558">
                  <c:v>5.9737174766364207</c:v>
                </c:pt>
                <c:pt idx="12559">
                  <c:v>6.1195493719708294</c:v>
                </c:pt>
                <c:pt idx="12560">
                  <c:v>5.8956641511202061</c:v>
                </c:pt>
                <c:pt idx="12561">
                  <c:v>5.8325529377932384</c:v>
                </c:pt>
                <c:pt idx="12562">
                  <c:v>6.0621872556309091</c:v>
                </c:pt>
                <c:pt idx="12563">
                  <c:v>5.8561129542094719</c:v>
                </c:pt>
                <c:pt idx="12564">
                  <c:v>6.2943603292040136</c:v>
                </c:pt>
                <c:pt idx="12565">
                  <c:v>6.0034051585482171</c:v>
                </c:pt>
                <c:pt idx="12566">
                  <c:v>6.1559974934685027</c:v>
                </c:pt>
                <c:pt idx="12567">
                  <c:v>5.8672310118208362</c:v>
                </c:pt>
                <c:pt idx="12568">
                  <c:v>5.9401591770838706</c:v>
                </c:pt>
                <c:pt idx="12569">
                  <c:v>5.963079742083278</c:v>
                </c:pt>
                <c:pt idx="12570">
                  <c:v>5.0078945950724485</c:v>
                </c:pt>
                <c:pt idx="12571">
                  <c:v>6.0177430336588911</c:v>
                </c:pt>
                <c:pt idx="12572">
                  <c:v>4.880816111180037</c:v>
                </c:pt>
                <c:pt idx="12573">
                  <c:v>6.0248796949304477</c:v>
                </c:pt>
                <c:pt idx="12574">
                  <c:v>5.0280860738682147</c:v>
                </c:pt>
                <c:pt idx="12575">
                  <c:v>6.9729959159643364</c:v>
                </c:pt>
                <c:pt idx="12576">
                  <c:v>5.9896893789371788</c:v>
                </c:pt>
                <c:pt idx="12577">
                  <c:v>6.0906777505212988</c:v>
                </c:pt>
                <c:pt idx="12578">
                  <c:v>6.7371432976861314</c:v>
                </c:pt>
                <c:pt idx="12579">
                  <c:v>5.9307173656251528</c:v>
                </c:pt>
                <c:pt idx="12580">
                  <c:v>6.1708736857354864</c:v>
                </c:pt>
                <c:pt idx="12581">
                  <c:v>5.886813209769536</c:v>
                </c:pt>
                <c:pt idx="12582">
                  <c:v>5.9363015073802483</c:v>
                </c:pt>
                <c:pt idx="12583">
                  <c:v>6.0676692180464959</c:v>
                </c:pt>
                <c:pt idx="12584">
                  <c:v>5.9195732702292894</c:v>
                </c:pt>
                <c:pt idx="12585">
                  <c:v>5.8612206181971001</c:v>
                </c:pt>
                <c:pt idx="12586">
                  <c:v>5.8386580435757454</c:v>
                </c:pt>
                <c:pt idx="12587">
                  <c:v>6.0149330780596779</c:v>
                </c:pt>
                <c:pt idx="12588">
                  <c:v>6.0162980490043898</c:v>
                </c:pt>
                <c:pt idx="12589">
                  <c:v>6.0559946862119078</c:v>
                </c:pt>
                <c:pt idx="12590">
                  <c:v>5.7993783812223958</c:v>
                </c:pt>
                <c:pt idx="12591">
                  <c:v>6.9525935120704085</c:v>
                </c:pt>
                <c:pt idx="12592">
                  <c:v>4.0752358930515822</c:v>
                </c:pt>
                <c:pt idx="12593">
                  <c:v>5.8467269325469031</c:v>
                </c:pt>
                <c:pt idx="12594">
                  <c:v>5.9021736357879888</c:v>
                </c:pt>
                <c:pt idx="12595">
                  <c:v>6.0787814333319101</c:v>
                </c:pt>
                <c:pt idx="12596">
                  <c:v>6.1103340432458522</c:v>
                </c:pt>
                <c:pt idx="12597">
                  <c:v>6.1158979986223452</c:v>
                </c:pt>
                <c:pt idx="12598">
                  <c:v>5.9546514695331938</c:v>
                </c:pt>
                <c:pt idx="12599">
                  <c:v>5.9387889620214356</c:v>
                </c:pt>
                <c:pt idx="12600">
                  <c:v>5.8591793943855697</c:v>
                </c:pt>
                <c:pt idx="12601">
                  <c:v>5.9755095795865341</c:v>
                </c:pt>
                <c:pt idx="12602">
                  <c:v>5.8776707030901427</c:v>
                </c:pt>
                <c:pt idx="12603">
                  <c:v>6.139659592453194</c:v>
                </c:pt>
                <c:pt idx="12604">
                  <c:v>6.9618562786093001</c:v>
                </c:pt>
                <c:pt idx="12605">
                  <c:v>5.9980262127018298</c:v>
                </c:pt>
                <c:pt idx="12606">
                  <c:v>6.0449834867042682</c:v>
                </c:pt>
                <c:pt idx="12607">
                  <c:v>6.9241699756238244</c:v>
                </c:pt>
                <c:pt idx="12608">
                  <c:v>6.0626676041726437</c:v>
                </c:pt>
                <c:pt idx="12609">
                  <c:v>5.8310983186727077</c:v>
                </c:pt>
                <c:pt idx="12610">
                  <c:v>5.8499801302425558</c:v>
                </c:pt>
                <c:pt idx="12611">
                  <c:v>5.8863490289588665</c:v>
                </c:pt>
                <c:pt idx="12612">
                  <c:v>6.1936783741300587</c:v>
                </c:pt>
                <c:pt idx="12613">
                  <c:v>5.9932773660295178</c:v>
                </c:pt>
                <c:pt idx="12614">
                  <c:v>6.0080804099803986</c:v>
                </c:pt>
                <c:pt idx="12615">
                  <c:v>6.0561149795766509</c:v>
                </c:pt>
                <c:pt idx="12616">
                  <c:v>6.1358861914006777</c:v>
                </c:pt>
                <c:pt idx="12617">
                  <c:v>5.8826563055667709</c:v>
                </c:pt>
                <c:pt idx="12618">
                  <c:v>6.0204089434773467</c:v>
                </c:pt>
                <c:pt idx="12619">
                  <c:v>6.1203960890602129</c:v>
                </c:pt>
                <c:pt idx="12620">
                  <c:v>6.6696032514314787</c:v>
                </c:pt>
                <c:pt idx="12621">
                  <c:v>6.0822771785007106</c:v>
                </c:pt>
                <c:pt idx="12622">
                  <c:v>6.1773772275438308</c:v>
                </c:pt>
                <c:pt idx="12623">
                  <c:v>6.7976880761366356</c:v>
                </c:pt>
                <c:pt idx="12624">
                  <c:v>3.0269737410496664</c:v>
                </c:pt>
                <c:pt idx="12625">
                  <c:v>7.0786278353117726</c:v>
                </c:pt>
                <c:pt idx="12626">
                  <c:v>6.1515952184995637</c:v>
                </c:pt>
                <c:pt idx="12627">
                  <c:v>7.0265679740663947</c:v>
                </c:pt>
                <c:pt idx="12628">
                  <c:v>5.997413032325615</c:v>
                </c:pt>
                <c:pt idx="12629">
                  <c:v>5.8477492433427978</c:v>
                </c:pt>
                <c:pt idx="12630">
                  <c:v>6.0285402314796848</c:v>
                </c:pt>
                <c:pt idx="12631">
                  <c:v>5.8869408892892601</c:v>
                </c:pt>
                <c:pt idx="12632">
                  <c:v>6.0192069697734629</c:v>
                </c:pt>
                <c:pt idx="12633">
                  <c:v>6.0950656526248608</c:v>
                </c:pt>
                <c:pt idx="12634">
                  <c:v>5.8895283755333745</c:v>
                </c:pt>
                <c:pt idx="12635">
                  <c:v>6.1067655015510747</c:v>
                </c:pt>
                <c:pt idx="12636">
                  <c:v>6.0438264812721165</c:v>
                </c:pt>
                <c:pt idx="12637">
                  <c:v>6.0919549088735314</c:v>
                </c:pt>
                <c:pt idx="12638">
                  <c:v>6.1128436437886009</c:v>
                </c:pt>
                <c:pt idx="12639">
                  <c:v>6.0371399707814559</c:v>
                </c:pt>
                <c:pt idx="12640">
                  <c:v>6.154492464412364</c:v>
                </c:pt>
                <c:pt idx="12641">
                  <c:v>5.9552051720499311</c:v>
                </c:pt>
                <c:pt idx="12642">
                  <c:v>6.0676362667105428</c:v>
                </c:pt>
                <c:pt idx="12643">
                  <c:v>5.9802761376342213</c:v>
                </c:pt>
                <c:pt idx="12644">
                  <c:v>5.0629710207567724</c:v>
                </c:pt>
                <c:pt idx="12645">
                  <c:v>6.1565268765005046</c:v>
                </c:pt>
                <c:pt idx="12646">
                  <c:v>6.0303720260529543</c:v>
                </c:pt>
                <c:pt idx="12647">
                  <c:v>6.9732326524726664</c:v>
                </c:pt>
                <c:pt idx="12648">
                  <c:v>6.9356138594164145</c:v>
                </c:pt>
                <c:pt idx="12649">
                  <c:v>5.8663647406681454</c:v>
                </c:pt>
                <c:pt idx="12650">
                  <c:v>6.1123683699984701</c:v>
                </c:pt>
                <c:pt idx="12651">
                  <c:v>5.0002850993163523</c:v>
                </c:pt>
                <c:pt idx="12652">
                  <c:v>4.017703542072744</c:v>
                </c:pt>
                <c:pt idx="12653">
                  <c:v>3.9222297218111644</c:v>
                </c:pt>
                <c:pt idx="12654">
                  <c:v>5.897116104167238</c:v>
                </c:pt>
                <c:pt idx="12655">
                  <c:v>7.1644864234994179</c:v>
                </c:pt>
                <c:pt idx="12656">
                  <c:v>5.0736765198485765</c:v>
                </c:pt>
                <c:pt idx="12657">
                  <c:v>6.0452188367573312</c:v>
                </c:pt>
                <c:pt idx="12658">
                  <c:v>6.0642173820719432</c:v>
                </c:pt>
                <c:pt idx="12659">
                  <c:v>5.004812211522875</c:v>
                </c:pt>
                <c:pt idx="12660">
                  <c:v>5.0918384348814021</c:v>
                </c:pt>
                <c:pt idx="12661">
                  <c:v>5.9177658302905156</c:v>
                </c:pt>
                <c:pt idx="12662">
                  <c:v>4.9452411259560112</c:v>
                </c:pt>
                <c:pt idx="12663">
                  <c:v>6.1157249052648259</c:v>
                </c:pt>
                <c:pt idx="12664">
                  <c:v>6.0320558279728518</c:v>
                </c:pt>
                <c:pt idx="12665">
                  <c:v>4.9386415199736415</c:v>
                </c:pt>
                <c:pt idx="12666">
                  <c:v>5.943723422475558</c:v>
                </c:pt>
                <c:pt idx="12667">
                  <c:v>7.0692576016358393</c:v>
                </c:pt>
                <c:pt idx="12668">
                  <c:v>5.9673659061460951</c:v>
                </c:pt>
                <c:pt idx="12669">
                  <c:v>6.9755155566703078</c:v>
                </c:pt>
                <c:pt idx="12670">
                  <c:v>4.872169731235295</c:v>
                </c:pt>
                <c:pt idx="12671">
                  <c:v>4.9348931735159116</c:v>
                </c:pt>
                <c:pt idx="12672">
                  <c:v>5.98026771911948</c:v>
                </c:pt>
                <c:pt idx="12673">
                  <c:v>6.0657782694687015</c:v>
                </c:pt>
                <c:pt idx="12674">
                  <c:v>5.1181897551515405</c:v>
                </c:pt>
                <c:pt idx="12675">
                  <c:v>6.0734669709654598</c:v>
                </c:pt>
                <c:pt idx="12676">
                  <c:v>6.122984246826654</c:v>
                </c:pt>
                <c:pt idx="12677">
                  <c:v>5.9095423077091827</c:v>
                </c:pt>
                <c:pt idx="12678">
                  <c:v>5.8793470802112244</c:v>
                </c:pt>
                <c:pt idx="12679">
                  <c:v>7.0437350373457059</c:v>
                </c:pt>
                <c:pt idx="12680">
                  <c:v>7.0381617188990084</c:v>
                </c:pt>
                <c:pt idx="12681">
                  <c:v>7.0991960712011331</c:v>
                </c:pt>
                <c:pt idx="12682">
                  <c:v>6.9624281280167439</c:v>
                </c:pt>
                <c:pt idx="12683">
                  <c:v>5.9278897500334917</c:v>
                </c:pt>
                <c:pt idx="12684">
                  <c:v>7.0345319739540066</c:v>
                </c:pt>
                <c:pt idx="12685">
                  <c:v>5.8477395404025527</c:v>
                </c:pt>
                <c:pt idx="12686">
                  <c:v>6.045866667913141</c:v>
                </c:pt>
                <c:pt idx="12687">
                  <c:v>6.1226534169492286</c:v>
                </c:pt>
                <c:pt idx="12688">
                  <c:v>6.0669669113346716</c:v>
                </c:pt>
                <c:pt idx="12689">
                  <c:v>6.0147184640897402</c:v>
                </c:pt>
                <c:pt idx="12690">
                  <c:v>5.9301001082011844</c:v>
                </c:pt>
                <c:pt idx="12691">
                  <c:v>4.9953426413430577</c:v>
                </c:pt>
                <c:pt idx="12692">
                  <c:v>6.0414879231445004</c:v>
                </c:pt>
                <c:pt idx="12693">
                  <c:v>5.8123329304592035</c:v>
                </c:pt>
                <c:pt idx="12694">
                  <c:v>5.8971475962533715</c:v>
                </c:pt>
                <c:pt idx="12695">
                  <c:v>6.0662297363024829</c:v>
                </c:pt>
                <c:pt idx="12696">
                  <c:v>6.1654970849832829</c:v>
                </c:pt>
                <c:pt idx="12697">
                  <c:v>5.9447833852030838</c:v>
                </c:pt>
                <c:pt idx="12698">
                  <c:v>5.8826305017787091</c:v>
                </c:pt>
                <c:pt idx="12699">
                  <c:v>6.0269533795047847</c:v>
                </c:pt>
                <c:pt idx="12700">
                  <c:v>5.0018401228886198</c:v>
                </c:pt>
                <c:pt idx="12701">
                  <c:v>5.9782955394904276</c:v>
                </c:pt>
                <c:pt idx="12702">
                  <c:v>7.0073104870721847</c:v>
                </c:pt>
                <c:pt idx="12703">
                  <c:v>5.9278119851193658</c:v>
                </c:pt>
                <c:pt idx="12704">
                  <c:v>5.9665642055665602</c:v>
                </c:pt>
                <c:pt idx="12705">
                  <c:v>4.9075114761661673</c:v>
                </c:pt>
                <c:pt idx="12706">
                  <c:v>5.909836848397406</c:v>
                </c:pt>
                <c:pt idx="12707">
                  <c:v>6.0658854310799306</c:v>
                </c:pt>
                <c:pt idx="12708">
                  <c:v>5.92431434971689</c:v>
                </c:pt>
                <c:pt idx="12709">
                  <c:v>6.9600979619186019</c:v>
                </c:pt>
                <c:pt idx="12710">
                  <c:v>6.0032700582475407</c:v>
                </c:pt>
                <c:pt idx="12711">
                  <c:v>6.0032907406223925</c:v>
                </c:pt>
                <c:pt idx="12712">
                  <c:v>5.981100064189766</c:v>
                </c:pt>
                <c:pt idx="12713">
                  <c:v>6.1168398569443081</c:v>
                </c:pt>
                <c:pt idx="12714">
                  <c:v>6.1409091196987982</c:v>
                </c:pt>
                <c:pt idx="12715">
                  <c:v>5.0956300513233641</c:v>
                </c:pt>
                <c:pt idx="12716">
                  <c:v>5.9069240284394722</c:v>
                </c:pt>
                <c:pt idx="12717">
                  <c:v>5.9178110068597336</c:v>
                </c:pt>
                <c:pt idx="12718">
                  <c:v>6.1184839803740774</c:v>
                </c:pt>
                <c:pt idx="12719">
                  <c:v>4.9602749504803603</c:v>
                </c:pt>
                <c:pt idx="12720">
                  <c:v>6.0513757172422222</c:v>
                </c:pt>
                <c:pt idx="12721">
                  <c:v>7.0095139871802559</c:v>
                </c:pt>
                <c:pt idx="12722">
                  <c:v>6.1212141911846141</c:v>
                </c:pt>
                <c:pt idx="12723">
                  <c:v>6.0434613865304279</c:v>
                </c:pt>
                <c:pt idx="12724">
                  <c:v>6.2425671952820636</c:v>
                </c:pt>
                <c:pt idx="12725">
                  <c:v>5.9933474644265274</c:v>
                </c:pt>
                <c:pt idx="12726">
                  <c:v>6.1564388002791191</c:v>
                </c:pt>
                <c:pt idx="12727">
                  <c:v>5.9765162997110437</c:v>
                </c:pt>
                <c:pt idx="12728">
                  <c:v>5.8855668449705689</c:v>
                </c:pt>
                <c:pt idx="12729">
                  <c:v>4.9642499126818933</c:v>
                </c:pt>
                <c:pt idx="12730">
                  <c:v>5.9558573667155343</c:v>
                </c:pt>
                <c:pt idx="12731">
                  <c:v>4.98092200326158</c:v>
                </c:pt>
                <c:pt idx="12732">
                  <c:v>5.966704583612791</c:v>
                </c:pt>
                <c:pt idx="12733">
                  <c:v>5.9901220799074322</c:v>
                </c:pt>
                <c:pt idx="12734">
                  <c:v>6.8212082305006057</c:v>
                </c:pt>
                <c:pt idx="12735">
                  <c:v>7.0856398215784262</c:v>
                </c:pt>
                <c:pt idx="12736">
                  <c:v>6.0785845575424737</c:v>
                </c:pt>
                <c:pt idx="12737">
                  <c:v>5.9205312248677311</c:v>
                </c:pt>
                <c:pt idx="12738">
                  <c:v>5.9144728955654369</c:v>
                </c:pt>
                <c:pt idx="12739">
                  <c:v>5.1557007073720289</c:v>
                </c:pt>
                <c:pt idx="12740">
                  <c:v>5.9381023629031215</c:v>
                </c:pt>
                <c:pt idx="12741">
                  <c:v>4.950810167906849</c:v>
                </c:pt>
                <c:pt idx="12742">
                  <c:v>5.0714360400085674</c:v>
                </c:pt>
                <c:pt idx="12743">
                  <c:v>7.0220584742693983</c:v>
                </c:pt>
                <c:pt idx="12744">
                  <c:v>6.9980034800454467</c:v>
                </c:pt>
                <c:pt idx="12745">
                  <c:v>6.02117315151611</c:v>
                </c:pt>
                <c:pt idx="12746">
                  <c:v>6.9796919597653488</c:v>
                </c:pt>
                <c:pt idx="12747">
                  <c:v>7.1336064069370462</c:v>
                </c:pt>
                <c:pt idx="12748">
                  <c:v>6.8884272099769541</c:v>
                </c:pt>
                <c:pt idx="12749">
                  <c:v>6.9515230876181731</c:v>
                </c:pt>
                <c:pt idx="12750">
                  <c:v>6.9698944480456761</c:v>
                </c:pt>
                <c:pt idx="12751">
                  <c:v>7.0686429074129187</c:v>
                </c:pt>
                <c:pt idx="12752">
                  <c:v>7.0092899210714075</c:v>
                </c:pt>
                <c:pt idx="12753">
                  <c:v>7.2744873771048759</c:v>
                </c:pt>
                <c:pt idx="12754">
                  <c:v>6.8842889263865077</c:v>
                </c:pt>
                <c:pt idx="12755">
                  <c:v>5.8529685288440945</c:v>
                </c:pt>
                <c:pt idx="12756">
                  <c:v>6.9517086587037884</c:v>
                </c:pt>
                <c:pt idx="12757">
                  <c:v>7.0469805339227705</c:v>
                </c:pt>
                <c:pt idx="12758">
                  <c:v>7.114554895741497</c:v>
                </c:pt>
                <c:pt idx="12759">
                  <c:v>5.8752798840788447</c:v>
                </c:pt>
                <c:pt idx="12760">
                  <c:v>6.0288352178063462</c:v>
                </c:pt>
                <c:pt idx="12761">
                  <c:v>5.9992018317878841</c:v>
                </c:pt>
                <c:pt idx="12762">
                  <c:v>6.0266974342793471</c:v>
                </c:pt>
                <c:pt idx="12763">
                  <c:v>5.9108510877631417</c:v>
                </c:pt>
                <c:pt idx="12764">
                  <c:v>5.9662823117987296</c:v>
                </c:pt>
                <c:pt idx="12765">
                  <c:v>6.0915908222989721</c:v>
                </c:pt>
                <c:pt idx="12766">
                  <c:v>6.9781544671389684</c:v>
                </c:pt>
                <c:pt idx="12767">
                  <c:v>6.1798004408642448</c:v>
                </c:pt>
                <c:pt idx="12768">
                  <c:v>6.0951969260187884</c:v>
                </c:pt>
                <c:pt idx="12769">
                  <c:v>7.1103645483307236</c:v>
                </c:pt>
                <c:pt idx="12770">
                  <c:v>7.0324330885037156</c:v>
                </c:pt>
                <c:pt idx="12771">
                  <c:v>7.0302636432224537</c:v>
                </c:pt>
                <c:pt idx="12772">
                  <c:v>6.0654251960924208</c:v>
                </c:pt>
                <c:pt idx="12773">
                  <c:v>6.0363187141294112</c:v>
                </c:pt>
                <c:pt idx="12774">
                  <c:v>6.1054469097795243</c:v>
                </c:pt>
                <c:pt idx="12775">
                  <c:v>6.031885339559107</c:v>
                </c:pt>
                <c:pt idx="12776">
                  <c:v>5.881049122110805</c:v>
                </c:pt>
                <c:pt idx="12777">
                  <c:v>5.8887265747529591</c:v>
                </c:pt>
                <c:pt idx="12778">
                  <c:v>6.0476084896886757</c:v>
                </c:pt>
                <c:pt idx="12779">
                  <c:v>5.8720614776830313</c:v>
                </c:pt>
                <c:pt idx="12780">
                  <c:v>5.9093272371334447</c:v>
                </c:pt>
                <c:pt idx="12781">
                  <c:v>6.1441252723004611</c:v>
                </c:pt>
                <c:pt idx="12782">
                  <c:v>6.1099758532925206</c:v>
                </c:pt>
                <c:pt idx="12783">
                  <c:v>2.0411116702457424</c:v>
                </c:pt>
                <c:pt idx="12784">
                  <c:v>6.0500886304544634</c:v>
                </c:pt>
                <c:pt idx="12785">
                  <c:v>5.1031398678356998</c:v>
                </c:pt>
                <c:pt idx="12786">
                  <c:v>5.9119358251722085</c:v>
                </c:pt>
                <c:pt idx="12787">
                  <c:v>6.1012497036310167</c:v>
                </c:pt>
                <c:pt idx="12788">
                  <c:v>6.146766909442662</c:v>
                </c:pt>
                <c:pt idx="12789">
                  <c:v>6.0630490178036327</c:v>
                </c:pt>
                <c:pt idx="12790">
                  <c:v>4.8321730625174446</c:v>
                </c:pt>
                <c:pt idx="12791">
                  <c:v>5.9218735974627235</c:v>
                </c:pt>
                <c:pt idx="12792">
                  <c:v>6.035662566220509</c:v>
                </c:pt>
                <c:pt idx="12793">
                  <c:v>6.0701931659291288</c:v>
                </c:pt>
                <c:pt idx="12794">
                  <c:v>3.848765604355096</c:v>
                </c:pt>
                <c:pt idx="12795">
                  <c:v>5.9207605191169348</c:v>
                </c:pt>
                <c:pt idx="12796">
                  <c:v>6.0903474920863312</c:v>
                </c:pt>
                <c:pt idx="12797">
                  <c:v>6.1782833384995621</c:v>
                </c:pt>
                <c:pt idx="12798">
                  <c:v>5.0775831112698349</c:v>
                </c:pt>
                <c:pt idx="12799">
                  <c:v>5.9886771101556491</c:v>
                </c:pt>
                <c:pt idx="12800">
                  <c:v>5.916032756320317</c:v>
                </c:pt>
                <c:pt idx="12801">
                  <c:v>5.8196259924563334</c:v>
                </c:pt>
                <c:pt idx="12802">
                  <c:v>4.7336306456651451</c:v>
                </c:pt>
                <c:pt idx="12803">
                  <c:v>5.0150009191970115</c:v>
                </c:pt>
                <c:pt idx="12804">
                  <c:v>6.0037259452576155</c:v>
                </c:pt>
                <c:pt idx="12805">
                  <c:v>6.0717146864960831</c:v>
                </c:pt>
                <c:pt idx="12806">
                  <c:v>6.0640871174890272</c:v>
                </c:pt>
                <c:pt idx="12807">
                  <c:v>5.9009567681430317</c:v>
                </c:pt>
                <c:pt idx="12808">
                  <c:v>6.113474328964176</c:v>
                </c:pt>
                <c:pt idx="12809">
                  <c:v>6.059356482717166</c:v>
                </c:pt>
                <c:pt idx="12810">
                  <c:v>4.9597903788854865</c:v>
                </c:pt>
                <c:pt idx="12811">
                  <c:v>7.0542394100695045</c:v>
                </c:pt>
                <c:pt idx="12812">
                  <c:v>6.9756497565842999</c:v>
                </c:pt>
                <c:pt idx="12813">
                  <c:v>5.8943201843005522</c:v>
                </c:pt>
                <c:pt idx="12814">
                  <c:v>6.1130375196960536</c:v>
                </c:pt>
                <c:pt idx="12815">
                  <c:v>5.8301192130626962</c:v>
                </c:pt>
                <c:pt idx="12816">
                  <c:v>5.9299282410733625</c:v>
                </c:pt>
                <c:pt idx="12817">
                  <c:v>5.9794995681696186</c:v>
                </c:pt>
                <c:pt idx="12818">
                  <c:v>4.9672367098364951</c:v>
                </c:pt>
                <c:pt idx="12819">
                  <c:v>4.8402973953555462</c:v>
                </c:pt>
                <c:pt idx="12820">
                  <c:v>6.9010292665158914</c:v>
                </c:pt>
                <c:pt idx="12821">
                  <c:v>7.187252563607017</c:v>
                </c:pt>
                <c:pt idx="12822">
                  <c:v>5.1838625322080354</c:v>
                </c:pt>
                <c:pt idx="12823">
                  <c:v>6.0296363449029027</c:v>
                </c:pt>
                <c:pt idx="12824">
                  <c:v>5.8895804175791104</c:v>
                </c:pt>
                <c:pt idx="12825">
                  <c:v>5.0055953629993528</c:v>
                </c:pt>
                <c:pt idx="12826">
                  <c:v>5.8522117981517594</c:v>
                </c:pt>
                <c:pt idx="12827">
                  <c:v>5.9213297481881702</c:v>
                </c:pt>
                <c:pt idx="12828">
                  <c:v>6.0800845024673125</c:v>
                </c:pt>
                <c:pt idx="12829">
                  <c:v>6.1530754789016111</c:v>
                </c:pt>
                <c:pt idx="12830">
                  <c:v>5.046865502258763</c:v>
                </c:pt>
                <c:pt idx="12831">
                  <c:v>4.8927468318458276</c:v>
                </c:pt>
                <c:pt idx="12832">
                  <c:v>5.8841455651724832</c:v>
                </c:pt>
                <c:pt idx="12833">
                  <c:v>5.9683086855502818</c:v>
                </c:pt>
                <c:pt idx="12834">
                  <c:v>4.9225428274064198</c:v>
                </c:pt>
                <c:pt idx="12835">
                  <c:v>6.9230837221116914</c:v>
                </c:pt>
                <c:pt idx="12836">
                  <c:v>6.9118515492166424</c:v>
                </c:pt>
                <c:pt idx="12837">
                  <c:v>5.011453051649486</c:v>
                </c:pt>
                <c:pt idx="12838">
                  <c:v>7.1143028644922497</c:v>
                </c:pt>
                <c:pt idx="12839">
                  <c:v>6.9710229135618507</c:v>
                </c:pt>
                <c:pt idx="12840">
                  <c:v>4.9145861357720184</c:v>
                </c:pt>
                <c:pt idx="12841">
                  <c:v>6.9803493692950926</c:v>
                </c:pt>
                <c:pt idx="12842">
                  <c:v>6.01408302337442</c:v>
                </c:pt>
                <c:pt idx="12843">
                  <c:v>6.1322008216394108</c:v>
                </c:pt>
                <c:pt idx="12844">
                  <c:v>5.0164811130104665</c:v>
                </c:pt>
                <c:pt idx="12845">
                  <c:v>7.0918289421444243</c:v>
                </c:pt>
                <c:pt idx="12846">
                  <c:v>4.9251359714067542</c:v>
                </c:pt>
                <c:pt idx="12847">
                  <c:v>5.9532978929206184</c:v>
                </c:pt>
                <c:pt idx="12848">
                  <c:v>5.9414113048041859</c:v>
                </c:pt>
                <c:pt idx="12849">
                  <c:v>5.9484167694495724</c:v>
                </c:pt>
                <c:pt idx="12850">
                  <c:v>5.8812269870491312</c:v>
                </c:pt>
                <c:pt idx="12851">
                  <c:v>5.8974517102901443</c:v>
                </c:pt>
                <c:pt idx="12852">
                  <c:v>5.9542420186868519</c:v>
                </c:pt>
                <c:pt idx="12853">
                  <c:v>6.0903906432201191</c:v>
                </c:pt>
                <c:pt idx="12854">
                  <c:v>4.0399411286139335</c:v>
                </c:pt>
                <c:pt idx="12855">
                  <c:v>2.9281401492276387</c:v>
                </c:pt>
                <c:pt idx="12856">
                  <c:v>5.8592813485686577</c:v>
                </c:pt>
                <c:pt idx="12857">
                  <c:v>5.9005240259403093</c:v>
                </c:pt>
                <c:pt idx="12858">
                  <c:v>5.0703922372214425</c:v>
                </c:pt>
                <c:pt idx="12859">
                  <c:v>5.9943096239866165</c:v>
                </c:pt>
                <c:pt idx="12860">
                  <c:v>4.848654815405018</c:v>
                </c:pt>
                <c:pt idx="12861">
                  <c:v>6.0361903690146894</c:v>
                </c:pt>
                <c:pt idx="12862">
                  <c:v>5.0569591387576889</c:v>
                </c:pt>
                <c:pt idx="12863">
                  <c:v>4.9498250788375149</c:v>
                </c:pt>
                <c:pt idx="12864">
                  <c:v>4.9537318561505641</c:v>
                </c:pt>
                <c:pt idx="12865">
                  <c:v>5.0885224554238899</c:v>
                </c:pt>
                <c:pt idx="12866">
                  <c:v>5.0121411079236875</c:v>
                </c:pt>
                <c:pt idx="12867">
                  <c:v>6.0287986045493147</c:v>
                </c:pt>
                <c:pt idx="12868">
                  <c:v>7.0615967741493613</c:v>
                </c:pt>
                <c:pt idx="12869">
                  <c:v>4.9523468243485915</c:v>
                </c:pt>
                <c:pt idx="12870">
                  <c:v>6.202174912958017</c:v>
                </c:pt>
                <c:pt idx="12871">
                  <c:v>5.9388729886422551</c:v>
                </c:pt>
                <c:pt idx="12872">
                  <c:v>5.8772094684034402</c:v>
                </c:pt>
                <c:pt idx="12873">
                  <c:v>5.0070822397337116</c:v>
                </c:pt>
                <c:pt idx="12874">
                  <c:v>5.0220208344001946</c:v>
                </c:pt>
                <c:pt idx="12875">
                  <c:v>5.0255280873532362</c:v>
                </c:pt>
                <c:pt idx="12876">
                  <c:v>5.9230622201616203</c:v>
                </c:pt>
                <c:pt idx="12877">
                  <c:v>5.0140521183150932</c:v>
                </c:pt>
                <c:pt idx="12878">
                  <c:v>5.9078344069212783</c:v>
                </c:pt>
                <c:pt idx="12879">
                  <c:v>5.869655159500315</c:v>
                </c:pt>
                <c:pt idx="12880">
                  <c:v>6.117287688056753</c:v>
                </c:pt>
                <c:pt idx="12881">
                  <c:v>9.0449240105679909</c:v>
                </c:pt>
                <c:pt idx="12882">
                  <c:v>6.0431729281061033</c:v>
                </c:pt>
                <c:pt idx="12883">
                  <c:v>3.9935901267655614</c:v>
                </c:pt>
                <c:pt idx="12884">
                  <c:v>5.7882856494349086</c:v>
                </c:pt>
                <c:pt idx="12885">
                  <c:v>7.1275211836454071</c:v>
                </c:pt>
                <c:pt idx="12886">
                  <c:v>7.0455750898627967</c:v>
                </c:pt>
                <c:pt idx="12887">
                  <c:v>5.9125098944978145</c:v>
                </c:pt>
                <c:pt idx="12888">
                  <c:v>5.8327997293939102</c:v>
                </c:pt>
                <c:pt idx="12889">
                  <c:v>4.8362247594034518</c:v>
                </c:pt>
                <c:pt idx="12890">
                  <c:v>7.0482565947881657</c:v>
                </c:pt>
                <c:pt idx="12891">
                  <c:v>6.0185297245985732</c:v>
                </c:pt>
                <c:pt idx="12892">
                  <c:v>4.9697718256937815</c:v>
                </c:pt>
                <c:pt idx="12893">
                  <c:v>5.924633671233682</c:v>
                </c:pt>
                <c:pt idx="12894">
                  <c:v>4.9982759934781011</c:v>
                </c:pt>
                <c:pt idx="12895">
                  <c:v>6.8496627549674853</c:v>
                </c:pt>
                <c:pt idx="12896">
                  <c:v>6.020840344412818</c:v>
                </c:pt>
                <c:pt idx="12897">
                  <c:v>6.0048891489217668</c:v>
                </c:pt>
                <c:pt idx="12898">
                  <c:v>5.8656442944021183</c:v>
                </c:pt>
                <c:pt idx="12899">
                  <c:v>6.169584686257358</c:v>
                </c:pt>
                <c:pt idx="12900">
                  <c:v>6.9834741262756133</c:v>
                </c:pt>
                <c:pt idx="12901">
                  <c:v>5.8570814867493066</c:v>
                </c:pt>
                <c:pt idx="12902">
                  <c:v>7.1567651859778261</c:v>
                </c:pt>
                <c:pt idx="12903">
                  <c:v>5.8355165490004328</c:v>
                </c:pt>
                <c:pt idx="12904">
                  <c:v>5.0584735644717336</c:v>
                </c:pt>
                <c:pt idx="12905">
                  <c:v>5.9972088128806931</c:v>
                </c:pt>
                <c:pt idx="12906">
                  <c:v>5.9737813719367576</c:v>
                </c:pt>
                <c:pt idx="12907">
                  <c:v>6.07639760007046</c:v>
                </c:pt>
                <c:pt idx="12908">
                  <c:v>6.024970998391491</c:v>
                </c:pt>
                <c:pt idx="12909">
                  <c:v>6.0519281752899268</c:v>
                </c:pt>
                <c:pt idx="12910">
                  <c:v>9.1281917455379293</c:v>
                </c:pt>
                <c:pt idx="12911">
                  <c:v>5.9099024977769039</c:v>
                </c:pt>
                <c:pt idx="12912">
                  <c:v>5.9806966056732351</c:v>
                </c:pt>
                <c:pt idx="12913">
                  <c:v>6.953299529223214</c:v>
                </c:pt>
                <c:pt idx="12914">
                  <c:v>4.9014291046749792</c:v>
                </c:pt>
                <c:pt idx="12915">
                  <c:v>6.9193499529556002</c:v>
                </c:pt>
                <c:pt idx="12916">
                  <c:v>3.906069628371001</c:v>
                </c:pt>
                <c:pt idx="12917">
                  <c:v>6.0784591530381773</c:v>
                </c:pt>
                <c:pt idx="12918">
                  <c:v>6.0837880070051771</c:v>
                </c:pt>
                <c:pt idx="12919">
                  <c:v>4.1652740031689621</c:v>
                </c:pt>
                <c:pt idx="12920">
                  <c:v>5.9541304270465556</c:v>
                </c:pt>
                <c:pt idx="12921">
                  <c:v>6.9595987621587616</c:v>
                </c:pt>
                <c:pt idx="12922">
                  <c:v>5.9890735066229954</c:v>
                </c:pt>
                <c:pt idx="12923">
                  <c:v>6.048981761237842</c:v>
                </c:pt>
                <c:pt idx="12924">
                  <c:v>6.1607698157626123</c:v>
                </c:pt>
                <c:pt idx="12925">
                  <c:v>6.9399283065298212</c:v>
                </c:pt>
                <c:pt idx="12926">
                  <c:v>7.0185448643518589</c:v>
                </c:pt>
                <c:pt idx="12927">
                  <c:v>6.0300636961778862</c:v>
                </c:pt>
                <c:pt idx="12928">
                  <c:v>7.8899505866676813</c:v>
                </c:pt>
                <c:pt idx="12929">
                  <c:v>4.2873586785438365</c:v>
                </c:pt>
                <c:pt idx="12930">
                  <c:v>4.065252983590228</c:v>
                </c:pt>
                <c:pt idx="12931">
                  <c:v>3.9368257098590198</c:v>
                </c:pt>
                <c:pt idx="12932">
                  <c:v>6.1627363326608551</c:v>
                </c:pt>
                <c:pt idx="12933">
                  <c:v>3.9721912786418181</c:v>
                </c:pt>
                <c:pt idx="12934">
                  <c:v>6.9655497501138912</c:v>
                </c:pt>
                <c:pt idx="12935">
                  <c:v>7.0754733171881528</c:v>
                </c:pt>
                <c:pt idx="12936">
                  <c:v>6.9442828129696146</c:v>
                </c:pt>
                <c:pt idx="12937">
                  <c:v>4.1307914303332467</c:v>
                </c:pt>
                <c:pt idx="12938">
                  <c:v>3.8769352766369987</c:v>
                </c:pt>
                <c:pt idx="12939">
                  <c:v>5.9160122312229797</c:v>
                </c:pt>
                <c:pt idx="12940">
                  <c:v>5.9684764299769837</c:v>
                </c:pt>
                <c:pt idx="12941">
                  <c:v>6.2418958711224874</c:v>
                </c:pt>
                <c:pt idx="12942">
                  <c:v>7.0363719865584304</c:v>
                </c:pt>
                <c:pt idx="12943">
                  <c:v>4.8728133585746898</c:v>
                </c:pt>
                <c:pt idx="12944">
                  <c:v>5.9983861347653802</c:v>
                </c:pt>
                <c:pt idx="12945">
                  <c:v>6.8327938134362585</c:v>
                </c:pt>
                <c:pt idx="12946">
                  <c:v>2.0604309912966232</c:v>
                </c:pt>
                <c:pt idx="12947">
                  <c:v>5.9846071204397076</c:v>
                </c:pt>
                <c:pt idx="12948">
                  <c:v>4.871791124196009</c:v>
                </c:pt>
                <c:pt idx="12949">
                  <c:v>7.0529706404731876</c:v>
                </c:pt>
                <c:pt idx="12950">
                  <c:v>4.9575750999648243</c:v>
                </c:pt>
                <c:pt idx="12951">
                  <c:v>6.8713571806149067</c:v>
                </c:pt>
                <c:pt idx="12952">
                  <c:v>4.9039528379740984</c:v>
                </c:pt>
                <c:pt idx="12953">
                  <c:v>5.9690903463969223</c:v>
                </c:pt>
                <c:pt idx="12954">
                  <c:v>6.0168537813891332</c:v>
                </c:pt>
                <c:pt idx="12955">
                  <c:v>5.155317282117899</c:v>
                </c:pt>
                <c:pt idx="12956">
                  <c:v>4.9674628114884403</c:v>
                </c:pt>
                <c:pt idx="12957">
                  <c:v>5.938870155672606</c:v>
                </c:pt>
                <c:pt idx="12958">
                  <c:v>6.112416801626793</c:v>
                </c:pt>
                <c:pt idx="12959">
                  <c:v>4.932060235210753</c:v>
                </c:pt>
                <c:pt idx="12960">
                  <c:v>5.9749051794587</c:v>
                </c:pt>
                <c:pt idx="12961">
                  <c:v>5.1197759576353947</c:v>
                </c:pt>
                <c:pt idx="12962">
                  <c:v>6.0848947055077138</c:v>
                </c:pt>
                <c:pt idx="12963">
                  <c:v>7.1480641456314853</c:v>
                </c:pt>
                <c:pt idx="12964">
                  <c:v>5.0084232931765706</c:v>
                </c:pt>
                <c:pt idx="12965">
                  <c:v>5.9531802356159442</c:v>
                </c:pt>
                <c:pt idx="12966">
                  <c:v>4.9026826210676244</c:v>
                </c:pt>
                <c:pt idx="12967">
                  <c:v>4.8775003674406792</c:v>
                </c:pt>
                <c:pt idx="12968">
                  <c:v>4.8914703400706658</c:v>
                </c:pt>
                <c:pt idx="12969">
                  <c:v>5.8352450960807056</c:v>
                </c:pt>
                <c:pt idx="12970">
                  <c:v>4.8569313905935472</c:v>
                </c:pt>
                <c:pt idx="12971">
                  <c:v>6.8667943129736058</c:v>
                </c:pt>
                <c:pt idx="12972">
                  <c:v>5.7745955707604768</c:v>
                </c:pt>
                <c:pt idx="12973">
                  <c:v>6.1451751837600934</c:v>
                </c:pt>
                <c:pt idx="12974">
                  <c:v>4.9098740438195341</c:v>
                </c:pt>
                <c:pt idx="12975">
                  <c:v>3.0422621697778602</c:v>
                </c:pt>
                <c:pt idx="12976">
                  <c:v>6.035026644441893</c:v>
                </c:pt>
                <c:pt idx="12977">
                  <c:v>6.2475244359270503</c:v>
                </c:pt>
                <c:pt idx="12978">
                  <c:v>3.9391700489101233</c:v>
                </c:pt>
                <c:pt idx="12979">
                  <c:v>5.9169982514809227</c:v>
                </c:pt>
                <c:pt idx="12980">
                  <c:v>5.0041016928918722</c:v>
                </c:pt>
                <c:pt idx="12981">
                  <c:v>6.0887817035994996</c:v>
                </c:pt>
                <c:pt idx="12982">
                  <c:v>4.0656279740641192</c:v>
                </c:pt>
                <c:pt idx="12983">
                  <c:v>6.0434743878365538</c:v>
                </c:pt>
                <c:pt idx="12984">
                  <c:v>3.9141584293681775</c:v>
                </c:pt>
                <c:pt idx="12985">
                  <c:v>6.0913195486303371</c:v>
                </c:pt>
                <c:pt idx="12986">
                  <c:v>5.0464105285868373</c:v>
                </c:pt>
                <c:pt idx="12987">
                  <c:v>4.8756253165323171</c:v>
                </c:pt>
                <c:pt idx="12988">
                  <c:v>5.0111739994273305</c:v>
                </c:pt>
                <c:pt idx="12989">
                  <c:v>4.9883825313343229</c:v>
                </c:pt>
                <c:pt idx="12990">
                  <c:v>4.9849135260101347</c:v>
                </c:pt>
                <c:pt idx="12991">
                  <c:v>5.904504475267963</c:v>
                </c:pt>
                <c:pt idx="12992">
                  <c:v>4.817727909677445</c:v>
                </c:pt>
                <c:pt idx="12993">
                  <c:v>4.0694466899976449</c:v>
                </c:pt>
                <c:pt idx="12994">
                  <c:v>5.2487266069455547</c:v>
                </c:pt>
                <c:pt idx="12995">
                  <c:v>5.9067674445390042</c:v>
                </c:pt>
                <c:pt idx="12996">
                  <c:v>5.8797901067857365</c:v>
                </c:pt>
                <c:pt idx="12997">
                  <c:v>6.9235097227302438</c:v>
                </c:pt>
                <c:pt idx="12998">
                  <c:v>6.9563374959010575</c:v>
                </c:pt>
                <c:pt idx="12999">
                  <c:v>3.1337168436135756</c:v>
                </c:pt>
                <c:pt idx="13000">
                  <c:v>4.2744983259940392</c:v>
                </c:pt>
                <c:pt idx="13001">
                  <c:v>6.9613608845628612</c:v>
                </c:pt>
                <c:pt idx="13002">
                  <c:v>3.9727720120926984</c:v>
                </c:pt>
                <c:pt idx="13003">
                  <c:v>2.9999366087733077</c:v>
                </c:pt>
                <c:pt idx="13004">
                  <c:v>6.1616665215075042</c:v>
                </c:pt>
                <c:pt idx="13005">
                  <c:v>5.0133699362281199</c:v>
                </c:pt>
                <c:pt idx="13006">
                  <c:v>6.0060055172056135</c:v>
                </c:pt>
                <c:pt idx="13007">
                  <c:v>5.9110886086289449</c:v>
                </c:pt>
                <c:pt idx="13008">
                  <c:v>7.1240769936327784</c:v>
                </c:pt>
                <c:pt idx="13009">
                  <c:v>7.0338911636757953</c:v>
                </c:pt>
                <c:pt idx="13010">
                  <c:v>5.9151217530753843</c:v>
                </c:pt>
                <c:pt idx="13011">
                  <c:v>6.9114050632545467</c:v>
                </c:pt>
                <c:pt idx="13012">
                  <c:v>5.0776697392168568</c:v>
                </c:pt>
                <c:pt idx="13013">
                  <c:v>5.954949220048487</c:v>
                </c:pt>
                <c:pt idx="13014">
                  <c:v>5.8838756240795638</c:v>
                </c:pt>
                <c:pt idx="13015">
                  <c:v>5.0233410703068042</c:v>
                </c:pt>
                <c:pt idx="13016">
                  <c:v>7.9305516023115121</c:v>
                </c:pt>
                <c:pt idx="13017">
                  <c:v>5.0346771964621535</c:v>
                </c:pt>
                <c:pt idx="13018">
                  <c:v>6.1397204856747392</c:v>
                </c:pt>
                <c:pt idx="13019">
                  <c:v>7.1035798748719383</c:v>
                </c:pt>
                <c:pt idx="13020">
                  <c:v>5.9987052763483595</c:v>
                </c:pt>
                <c:pt idx="13021">
                  <c:v>7.0356393132613197</c:v>
                </c:pt>
                <c:pt idx="13022">
                  <c:v>2.9877402415856777</c:v>
                </c:pt>
                <c:pt idx="13023">
                  <c:v>2.9927817229751934</c:v>
                </c:pt>
                <c:pt idx="13024">
                  <c:v>6.0678893115153612</c:v>
                </c:pt>
                <c:pt idx="13025">
                  <c:v>3.0311397522508257</c:v>
                </c:pt>
                <c:pt idx="13026">
                  <c:v>5.0526035713069763</c:v>
                </c:pt>
                <c:pt idx="13027">
                  <c:v>5.0592100019276334</c:v>
                </c:pt>
                <c:pt idx="13028">
                  <c:v>6.0521412545019437</c:v>
                </c:pt>
                <c:pt idx="13029">
                  <c:v>7.0359304813654333</c:v>
                </c:pt>
                <c:pt idx="13030">
                  <c:v>4.8637341774992606</c:v>
                </c:pt>
                <c:pt idx="13031">
                  <c:v>7.0173994333300627</c:v>
                </c:pt>
                <c:pt idx="13032">
                  <c:v>3.0058190361483166</c:v>
                </c:pt>
                <c:pt idx="13033">
                  <c:v>4.9257655810675098</c:v>
                </c:pt>
                <c:pt idx="13034">
                  <c:v>6.0427861907019995</c:v>
                </c:pt>
                <c:pt idx="13035">
                  <c:v>6.9478215303365358</c:v>
                </c:pt>
                <c:pt idx="13036">
                  <c:v>5.1848036842148844</c:v>
                </c:pt>
                <c:pt idx="13037">
                  <c:v>2.0297000293494101</c:v>
                </c:pt>
                <c:pt idx="13038">
                  <c:v>4.9698589347474158</c:v>
                </c:pt>
                <c:pt idx="13039">
                  <c:v>6.0272936135539048</c:v>
                </c:pt>
                <c:pt idx="13040">
                  <c:v>8.02833359353113</c:v>
                </c:pt>
                <c:pt idx="13041">
                  <c:v>8.0289330266707637</c:v>
                </c:pt>
                <c:pt idx="13042">
                  <c:v>8.096038379773308</c:v>
                </c:pt>
                <c:pt idx="13043">
                  <c:v>8.0226374381105572</c:v>
                </c:pt>
                <c:pt idx="13044">
                  <c:v>7.9791864977780858</c:v>
                </c:pt>
                <c:pt idx="13045">
                  <c:v>5.9720061969252702</c:v>
                </c:pt>
                <c:pt idx="13046">
                  <c:v>6.0786666265607812</c:v>
                </c:pt>
                <c:pt idx="13047">
                  <c:v>5.9519201935610866</c:v>
                </c:pt>
                <c:pt idx="13048">
                  <c:v>5.9159762710620978</c:v>
                </c:pt>
                <c:pt idx="13049">
                  <c:v>7.115247403510315</c:v>
                </c:pt>
                <c:pt idx="13050">
                  <c:v>6.8952952268375061</c:v>
                </c:pt>
                <c:pt idx="13051">
                  <c:v>7.0222937623964867</c:v>
                </c:pt>
                <c:pt idx="13052">
                  <c:v>6.1639082769587787</c:v>
                </c:pt>
                <c:pt idx="13053">
                  <c:v>6.8913050406479277</c:v>
                </c:pt>
                <c:pt idx="13054">
                  <c:v>7.02197325591123</c:v>
                </c:pt>
                <c:pt idx="13055">
                  <c:v>3.9967825833492965</c:v>
                </c:pt>
                <c:pt idx="13056">
                  <c:v>5.0175739963299746</c:v>
                </c:pt>
                <c:pt idx="13057">
                  <c:v>3.8771865793336775</c:v>
                </c:pt>
                <c:pt idx="13058">
                  <c:v>5.9559768048808763</c:v>
                </c:pt>
                <c:pt idx="13059">
                  <c:v>5.9036136368231276</c:v>
                </c:pt>
                <c:pt idx="13060">
                  <c:v>7.0531412311597075</c:v>
                </c:pt>
                <c:pt idx="13061">
                  <c:v>6.8906431080914992</c:v>
                </c:pt>
                <c:pt idx="13062">
                  <c:v>5.9738345966711464</c:v>
                </c:pt>
                <c:pt idx="13063">
                  <c:v>4.9417148419643429</c:v>
                </c:pt>
                <c:pt idx="13064">
                  <c:v>7.077049533041758</c:v>
                </c:pt>
                <c:pt idx="13065">
                  <c:v>3.9639264590526837</c:v>
                </c:pt>
                <c:pt idx="13066">
                  <c:v>6.9211564355071209</c:v>
                </c:pt>
                <c:pt idx="13067">
                  <c:v>4.9732353419603044</c:v>
                </c:pt>
                <c:pt idx="13068">
                  <c:v>5.0025083250848965</c:v>
                </c:pt>
                <c:pt idx="13069">
                  <c:v>7.0969143951824121</c:v>
                </c:pt>
                <c:pt idx="13070">
                  <c:v>4.8692088612812876</c:v>
                </c:pt>
                <c:pt idx="13071">
                  <c:v>5.1043530288091565</c:v>
                </c:pt>
                <c:pt idx="13072">
                  <c:v>5.0276593994277974</c:v>
                </c:pt>
                <c:pt idx="13073">
                  <c:v>6.9371997964985752</c:v>
                </c:pt>
                <c:pt idx="13074">
                  <c:v>4.9676769299709163</c:v>
                </c:pt>
                <c:pt idx="13075">
                  <c:v>7.0383912737638612</c:v>
                </c:pt>
                <c:pt idx="13076">
                  <c:v>7.0059404557840601</c:v>
                </c:pt>
                <c:pt idx="13077">
                  <c:v>3.9667851694152656</c:v>
                </c:pt>
                <c:pt idx="13078">
                  <c:v>7.9598965873155487</c:v>
                </c:pt>
                <c:pt idx="13079">
                  <c:v>6.9151993678374861</c:v>
                </c:pt>
                <c:pt idx="13080">
                  <c:v>4.0978510674826119</c:v>
                </c:pt>
              </c:numCache>
            </c:numRef>
          </c:yVal>
          <c:smooth val="0"/>
          <c:extLst>
            <c:ext xmlns:c16="http://schemas.microsoft.com/office/drawing/2014/chart" uri="{C3380CC4-5D6E-409C-BE32-E72D297353CC}">
              <c16:uniqueId val="{00000001-CB98-46CC-B7E4-0466270B0873}"/>
            </c:ext>
          </c:extLst>
        </c:ser>
        <c:ser>
          <c:idx val="2"/>
          <c:order val="2"/>
          <c:tx>
            <c:strRef>
              <c:f>'power_generator-2024-09-23T (2)'!$X$1</c:f>
              <c:strCache>
                <c:ptCount val="1"/>
                <c:pt idx="0">
                  <c:v>Natural Gas</c:v>
                </c:pt>
              </c:strCache>
            </c:strRef>
          </c:tx>
          <c:spPr>
            <a:ln w="38100" cap="rnd">
              <a:noFill/>
              <a:round/>
            </a:ln>
            <a:effectLst/>
          </c:spPr>
          <c:marker>
            <c:symbol val="square"/>
            <c:size val="5"/>
            <c:spPr>
              <a:solidFill>
                <a:srgbClr val="FC5B2C">
                  <a:alpha val="25000"/>
                </a:srgbClr>
              </a:solidFill>
              <a:ln w="12700">
                <a:solidFill>
                  <a:srgbClr val="FC5B2C"/>
                </a:solidFill>
              </a:ln>
              <a:effectLst/>
            </c:spPr>
          </c:marker>
          <c:xVal>
            <c:numRef>
              <c:f>'power_generator-2024-09-23T (2)'!$X$2:$X$13082</c:f>
              <c:numCache>
                <c:formatCode>0.00</c:formatCode>
                <c:ptCount val="13081"/>
                <c:pt idx="0">
                  <c:v>#N/A</c:v>
                </c:pt>
                <c:pt idx="1">
                  <c:v>#N/A</c:v>
                </c:pt>
                <c:pt idx="2">
                  <c:v>#N/A</c:v>
                </c:pt>
                <c:pt idx="3">
                  <c:v>#N/A</c:v>
                </c:pt>
                <c:pt idx="4">
                  <c:v>#N/A</c:v>
                </c:pt>
                <c:pt idx="5">
                  <c:v>#N/A</c:v>
                </c:pt>
                <c:pt idx="6">
                  <c:v>#N/A</c:v>
                </c:pt>
                <c:pt idx="7">
                  <c:v>#N/A</c:v>
                </c:pt>
                <c:pt idx="8">
                  <c:v>0.13698630136986301</c:v>
                </c:pt>
                <c:pt idx="9">
                  <c:v>#N/A</c:v>
                </c:pt>
                <c:pt idx="10">
                  <c:v>0.16712328767123288</c:v>
                </c:pt>
                <c:pt idx="11">
                  <c:v>0.16712328767123288</c:v>
                </c:pt>
                <c:pt idx="12">
                  <c:v>#N/A</c:v>
                </c:pt>
                <c:pt idx="13">
                  <c:v>0.17534246575342466</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0.19726027397260273</c:v>
                </c:pt>
                <c:pt idx="30">
                  <c:v>#N/A</c:v>
                </c:pt>
                <c:pt idx="31">
                  <c:v>#N/A</c:v>
                </c:pt>
                <c:pt idx="32">
                  <c:v>0.19726027397260273</c:v>
                </c:pt>
                <c:pt idx="33">
                  <c:v>#N/A</c:v>
                </c:pt>
                <c:pt idx="34">
                  <c:v>#N/A</c:v>
                </c:pt>
                <c:pt idx="35">
                  <c:v>#N/A</c:v>
                </c:pt>
                <c:pt idx="36">
                  <c:v>#N/A</c:v>
                </c:pt>
                <c:pt idx="37">
                  <c:v>#N/A</c:v>
                </c:pt>
                <c:pt idx="38">
                  <c:v>#N/A</c:v>
                </c:pt>
                <c:pt idx="39">
                  <c:v>0.19726027397260273</c:v>
                </c:pt>
                <c:pt idx="40">
                  <c:v>#N/A</c:v>
                </c:pt>
                <c:pt idx="41">
                  <c:v>#N/A</c:v>
                </c:pt>
                <c:pt idx="42">
                  <c:v>#N/A</c:v>
                </c:pt>
                <c:pt idx="43">
                  <c:v>#N/A</c:v>
                </c:pt>
                <c:pt idx="44">
                  <c:v>0.19726027397260273</c:v>
                </c:pt>
                <c:pt idx="45">
                  <c:v>#N/A</c:v>
                </c:pt>
                <c:pt idx="46">
                  <c:v>#N/A</c:v>
                </c:pt>
                <c:pt idx="47">
                  <c:v>#N/A</c:v>
                </c:pt>
                <c:pt idx="48">
                  <c:v>0.19726027397260273</c:v>
                </c:pt>
                <c:pt idx="49">
                  <c:v>#N/A</c:v>
                </c:pt>
                <c:pt idx="50">
                  <c:v>#N/A</c:v>
                </c:pt>
                <c:pt idx="51">
                  <c:v>#N/A</c:v>
                </c:pt>
                <c:pt idx="52">
                  <c:v>#N/A</c:v>
                </c:pt>
                <c:pt idx="53">
                  <c:v>0.25479452054794521</c:v>
                </c:pt>
                <c:pt idx="54">
                  <c:v>#N/A</c:v>
                </c:pt>
                <c:pt idx="55">
                  <c:v>#N/A</c:v>
                </c:pt>
                <c:pt idx="56">
                  <c:v>#N/A</c:v>
                </c:pt>
                <c:pt idx="57">
                  <c:v>#N/A</c:v>
                </c:pt>
                <c:pt idx="58">
                  <c:v>#N/A</c:v>
                </c:pt>
                <c:pt idx="59">
                  <c:v>0.25479452054794521</c:v>
                </c:pt>
                <c:pt idx="60">
                  <c:v>#N/A</c:v>
                </c:pt>
                <c:pt idx="61">
                  <c:v>0.25479452054794521</c:v>
                </c:pt>
                <c:pt idx="62">
                  <c:v>#N/A</c:v>
                </c:pt>
                <c:pt idx="63">
                  <c:v>#N/A</c:v>
                </c:pt>
                <c:pt idx="64">
                  <c:v>#N/A</c:v>
                </c:pt>
                <c:pt idx="65">
                  <c:v>#N/A</c:v>
                </c:pt>
                <c:pt idx="66">
                  <c:v>#N/A</c:v>
                </c:pt>
                <c:pt idx="67">
                  <c:v>#N/A</c:v>
                </c:pt>
                <c:pt idx="68">
                  <c:v>#N/A</c:v>
                </c:pt>
                <c:pt idx="69">
                  <c:v>#N/A</c:v>
                </c:pt>
                <c:pt idx="70">
                  <c:v>#N/A</c:v>
                </c:pt>
                <c:pt idx="71">
                  <c:v>#N/A</c:v>
                </c:pt>
                <c:pt idx="72">
                  <c:v>#N/A</c:v>
                </c:pt>
                <c:pt idx="73">
                  <c:v>#N/A</c:v>
                </c:pt>
                <c:pt idx="74">
                  <c:v>#N/A</c:v>
                </c:pt>
                <c:pt idx="75">
                  <c:v>#N/A</c:v>
                </c:pt>
                <c:pt idx="76">
                  <c:v>#N/A</c:v>
                </c:pt>
                <c:pt idx="77">
                  <c:v>#N/A</c:v>
                </c:pt>
                <c:pt idx="78">
                  <c:v>#N/A</c:v>
                </c:pt>
                <c:pt idx="79">
                  <c:v>#N/A</c:v>
                </c:pt>
                <c:pt idx="80">
                  <c:v>#N/A</c:v>
                </c:pt>
                <c:pt idx="81">
                  <c:v>#N/A</c:v>
                </c:pt>
                <c:pt idx="82">
                  <c:v>#N/A</c:v>
                </c:pt>
                <c:pt idx="83">
                  <c:v>#N/A</c:v>
                </c:pt>
                <c:pt idx="84">
                  <c:v>#N/A</c:v>
                </c:pt>
                <c:pt idx="85">
                  <c:v>#N/A</c:v>
                </c:pt>
                <c:pt idx="86">
                  <c:v>#N/A</c:v>
                </c:pt>
                <c:pt idx="87">
                  <c:v>#N/A</c:v>
                </c:pt>
                <c:pt idx="88">
                  <c:v>#N/A</c:v>
                </c:pt>
                <c:pt idx="89">
                  <c:v>#N/A</c:v>
                </c:pt>
                <c:pt idx="90">
                  <c:v>#N/A</c:v>
                </c:pt>
                <c:pt idx="91">
                  <c:v>#N/A</c:v>
                </c:pt>
                <c:pt idx="92">
                  <c:v>#N/A</c:v>
                </c:pt>
                <c:pt idx="93">
                  <c:v>#N/A</c:v>
                </c:pt>
                <c:pt idx="94">
                  <c:v>#N/A</c:v>
                </c:pt>
                <c:pt idx="95">
                  <c:v>#N/A</c:v>
                </c:pt>
                <c:pt idx="96">
                  <c:v>#N/A</c:v>
                </c:pt>
                <c:pt idx="97">
                  <c:v>#N/A</c:v>
                </c:pt>
                <c:pt idx="98">
                  <c:v>#N/A</c:v>
                </c:pt>
                <c:pt idx="99">
                  <c:v>#N/A</c:v>
                </c:pt>
                <c:pt idx="100">
                  <c:v>#N/A</c:v>
                </c:pt>
                <c:pt idx="101">
                  <c:v>#N/A</c:v>
                </c:pt>
                <c:pt idx="102">
                  <c:v>#N/A</c:v>
                </c:pt>
                <c:pt idx="103">
                  <c:v>#N/A</c:v>
                </c:pt>
                <c:pt idx="104">
                  <c:v>#N/A</c:v>
                </c:pt>
                <c:pt idx="105">
                  <c:v>#N/A</c:v>
                </c:pt>
                <c:pt idx="106">
                  <c:v>#N/A</c:v>
                </c:pt>
                <c:pt idx="107">
                  <c:v>#N/A</c:v>
                </c:pt>
                <c:pt idx="108">
                  <c:v>#N/A</c:v>
                </c:pt>
                <c:pt idx="109">
                  <c:v>#N/A</c:v>
                </c:pt>
                <c:pt idx="110">
                  <c:v>#N/A</c:v>
                </c:pt>
                <c:pt idx="111">
                  <c:v>#N/A</c:v>
                </c:pt>
                <c:pt idx="112">
                  <c:v>#N/A</c:v>
                </c:pt>
                <c:pt idx="113">
                  <c:v>#N/A</c:v>
                </c:pt>
                <c:pt idx="114">
                  <c:v>#N/A</c:v>
                </c:pt>
                <c:pt idx="115">
                  <c:v>#N/A</c:v>
                </c:pt>
                <c:pt idx="116">
                  <c:v>0.32054794520547947</c:v>
                </c:pt>
                <c:pt idx="117">
                  <c:v>#N/A</c:v>
                </c:pt>
                <c:pt idx="118">
                  <c:v>0.32054794520547947</c:v>
                </c:pt>
                <c:pt idx="119">
                  <c:v>#N/A</c:v>
                </c:pt>
                <c:pt idx="120">
                  <c:v>#N/A</c:v>
                </c:pt>
                <c:pt idx="121">
                  <c:v>#N/A</c:v>
                </c:pt>
                <c:pt idx="122">
                  <c:v>#N/A</c:v>
                </c:pt>
                <c:pt idx="123">
                  <c:v>#N/A</c:v>
                </c:pt>
                <c:pt idx="124">
                  <c:v>#N/A</c:v>
                </c:pt>
                <c:pt idx="125">
                  <c:v>#N/A</c:v>
                </c:pt>
                <c:pt idx="126">
                  <c:v>#N/A</c:v>
                </c:pt>
                <c:pt idx="127">
                  <c:v>#N/A</c:v>
                </c:pt>
                <c:pt idx="128">
                  <c:v>#N/A</c:v>
                </c:pt>
                <c:pt idx="129">
                  <c:v>#N/A</c:v>
                </c:pt>
                <c:pt idx="130">
                  <c:v>#N/A</c:v>
                </c:pt>
                <c:pt idx="131">
                  <c:v>#N/A</c:v>
                </c:pt>
                <c:pt idx="132">
                  <c:v>0.32602739726027397</c:v>
                </c:pt>
                <c:pt idx="133">
                  <c:v>#N/A</c:v>
                </c:pt>
                <c:pt idx="134">
                  <c:v>0.32602739726027397</c:v>
                </c:pt>
                <c:pt idx="135">
                  <c:v>#N/A</c:v>
                </c:pt>
                <c:pt idx="136">
                  <c:v>#N/A</c:v>
                </c:pt>
                <c:pt idx="137">
                  <c:v>#N/A</c:v>
                </c:pt>
                <c:pt idx="138">
                  <c:v>#N/A</c:v>
                </c:pt>
                <c:pt idx="139">
                  <c:v>#N/A</c:v>
                </c:pt>
                <c:pt idx="140">
                  <c:v>#N/A</c:v>
                </c:pt>
                <c:pt idx="141">
                  <c:v>#N/A</c:v>
                </c:pt>
                <c:pt idx="142">
                  <c:v>#N/A</c:v>
                </c:pt>
                <c:pt idx="143">
                  <c:v>#N/A</c:v>
                </c:pt>
                <c:pt idx="144">
                  <c:v>#N/A</c:v>
                </c:pt>
                <c:pt idx="145">
                  <c:v>#N/A</c:v>
                </c:pt>
                <c:pt idx="146">
                  <c:v>#N/A</c:v>
                </c:pt>
                <c:pt idx="147">
                  <c:v>#N/A</c:v>
                </c:pt>
                <c:pt idx="148">
                  <c:v>#N/A</c:v>
                </c:pt>
                <c:pt idx="149">
                  <c:v>#N/A</c:v>
                </c:pt>
                <c:pt idx="150">
                  <c:v>#N/A</c:v>
                </c:pt>
                <c:pt idx="151">
                  <c:v>#N/A</c:v>
                </c:pt>
                <c:pt idx="152">
                  <c:v>0.33972602739726027</c:v>
                </c:pt>
                <c:pt idx="153">
                  <c:v>#N/A</c:v>
                </c:pt>
                <c:pt idx="154">
                  <c:v>#N/A</c:v>
                </c:pt>
                <c:pt idx="155">
                  <c:v>#N/A</c:v>
                </c:pt>
                <c:pt idx="156">
                  <c:v>0.33972602739726027</c:v>
                </c:pt>
                <c:pt idx="157">
                  <c:v>0.33972602739726027</c:v>
                </c:pt>
                <c:pt idx="158">
                  <c:v>0.34246575342465752</c:v>
                </c:pt>
                <c:pt idx="159">
                  <c:v>#N/A</c:v>
                </c:pt>
                <c:pt idx="160">
                  <c:v>#N/A</c:v>
                </c:pt>
                <c:pt idx="161">
                  <c:v>0.34246575342465752</c:v>
                </c:pt>
                <c:pt idx="162">
                  <c:v>#N/A</c:v>
                </c:pt>
                <c:pt idx="163">
                  <c:v>#N/A</c:v>
                </c:pt>
                <c:pt idx="164">
                  <c:v>#N/A</c:v>
                </c:pt>
                <c:pt idx="165">
                  <c:v>#N/A</c:v>
                </c:pt>
                <c:pt idx="166">
                  <c:v>#N/A</c:v>
                </c:pt>
                <c:pt idx="167">
                  <c:v>#N/A</c:v>
                </c:pt>
                <c:pt idx="168">
                  <c:v>#N/A</c:v>
                </c:pt>
                <c:pt idx="169">
                  <c:v>#N/A</c:v>
                </c:pt>
                <c:pt idx="170">
                  <c:v>#N/A</c:v>
                </c:pt>
                <c:pt idx="171">
                  <c:v>#N/A</c:v>
                </c:pt>
                <c:pt idx="172">
                  <c:v>#N/A</c:v>
                </c:pt>
                <c:pt idx="173">
                  <c:v>#N/A</c:v>
                </c:pt>
                <c:pt idx="174">
                  <c:v>#N/A</c:v>
                </c:pt>
                <c:pt idx="175">
                  <c:v>#N/A</c:v>
                </c:pt>
                <c:pt idx="176">
                  <c:v>#N/A</c:v>
                </c:pt>
                <c:pt idx="177">
                  <c:v>#N/A</c:v>
                </c:pt>
                <c:pt idx="178">
                  <c:v>#N/A</c:v>
                </c:pt>
                <c:pt idx="179">
                  <c:v>#N/A</c:v>
                </c:pt>
                <c:pt idx="180">
                  <c:v>#N/A</c:v>
                </c:pt>
                <c:pt idx="181">
                  <c:v>#N/A</c:v>
                </c:pt>
                <c:pt idx="182">
                  <c:v>#N/A</c:v>
                </c:pt>
                <c:pt idx="183">
                  <c:v>#N/A</c:v>
                </c:pt>
                <c:pt idx="184">
                  <c:v>#N/A</c:v>
                </c:pt>
                <c:pt idx="185">
                  <c:v>#N/A</c:v>
                </c:pt>
                <c:pt idx="186">
                  <c:v>#N/A</c:v>
                </c:pt>
                <c:pt idx="187">
                  <c:v>#N/A</c:v>
                </c:pt>
                <c:pt idx="188">
                  <c:v>#N/A</c:v>
                </c:pt>
                <c:pt idx="189">
                  <c:v>#N/A</c:v>
                </c:pt>
                <c:pt idx="190">
                  <c:v>#N/A</c:v>
                </c:pt>
                <c:pt idx="191">
                  <c:v>#N/A</c:v>
                </c:pt>
                <c:pt idx="192">
                  <c:v>#N/A</c:v>
                </c:pt>
                <c:pt idx="193">
                  <c:v>#N/A</c:v>
                </c:pt>
                <c:pt idx="194">
                  <c:v>0.34794520547945207</c:v>
                </c:pt>
                <c:pt idx="195">
                  <c:v>#N/A</c:v>
                </c:pt>
                <c:pt idx="196">
                  <c:v>#N/A</c:v>
                </c:pt>
                <c:pt idx="197">
                  <c:v>#N/A</c:v>
                </c:pt>
                <c:pt idx="198">
                  <c:v>#N/A</c:v>
                </c:pt>
                <c:pt idx="199">
                  <c:v>#N/A</c:v>
                </c:pt>
                <c:pt idx="200">
                  <c:v>#N/A</c:v>
                </c:pt>
                <c:pt idx="201">
                  <c:v>#N/A</c:v>
                </c:pt>
                <c:pt idx="202">
                  <c:v>#N/A</c:v>
                </c:pt>
                <c:pt idx="203">
                  <c:v>#N/A</c:v>
                </c:pt>
                <c:pt idx="204">
                  <c:v>#N/A</c:v>
                </c:pt>
                <c:pt idx="205">
                  <c:v>#N/A</c:v>
                </c:pt>
                <c:pt idx="206">
                  <c:v>#N/A</c:v>
                </c:pt>
                <c:pt idx="207">
                  <c:v>#N/A</c:v>
                </c:pt>
                <c:pt idx="208">
                  <c:v>#N/A</c:v>
                </c:pt>
                <c:pt idx="209">
                  <c:v>#N/A</c:v>
                </c:pt>
                <c:pt idx="210">
                  <c:v>#N/A</c:v>
                </c:pt>
                <c:pt idx="211">
                  <c:v>#N/A</c:v>
                </c:pt>
                <c:pt idx="212">
                  <c:v>#N/A</c:v>
                </c:pt>
                <c:pt idx="213">
                  <c:v>#N/A</c:v>
                </c:pt>
                <c:pt idx="214">
                  <c:v>#N/A</c:v>
                </c:pt>
                <c:pt idx="215">
                  <c:v>#N/A</c:v>
                </c:pt>
                <c:pt idx="216">
                  <c:v>#N/A</c:v>
                </c:pt>
                <c:pt idx="217">
                  <c:v>#N/A</c:v>
                </c:pt>
                <c:pt idx="218">
                  <c:v>#N/A</c:v>
                </c:pt>
                <c:pt idx="219">
                  <c:v>#N/A</c:v>
                </c:pt>
                <c:pt idx="220">
                  <c:v>#N/A</c:v>
                </c:pt>
                <c:pt idx="221">
                  <c:v>#N/A</c:v>
                </c:pt>
                <c:pt idx="222">
                  <c:v>#N/A</c:v>
                </c:pt>
                <c:pt idx="223">
                  <c:v>#N/A</c:v>
                </c:pt>
                <c:pt idx="224">
                  <c:v>#N/A</c:v>
                </c:pt>
                <c:pt idx="225">
                  <c:v>#N/A</c:v>
                </c:pt>
                <c:pt idx="226">
                  <c:v>#N/A</c:v>
                </c:pt>
                <c:pt idx="227">
                  <c:v>#N/A</c:v>
                </c:pt>
                <c:pt idx="228">
                  <c:v>#N/A</c:v>
                </c:pt>
                <c:pt idx="229">
                  <c:v>#N/A</c:v>
                </c:pt>
                <c:pt idx="230">
                  <c:v>#N/A</c:v>
                </c:pt>
                <c:pt idx="231">
                  <c:v>#N/A</c:v>
                </c:pt>
                <c:pt idx="232">
                  <c:v>#N/A</c:v>
                </c:pt>
                <c:pt idx="233">
                  <c:v>#N/A</c:v>
                </c:pt>
                <c:pt idx="234">
                  <c:v>#N/A</c:v>
                </c:pt>
                <c:pt idx="235">
                  <c:v>#N/A</c:v>
                </c:pt>
                <c:pt idx="236">
                  <c:v>#N/A</c:v>
                </c:pt>
                <c:pt idx="237">
                  <c:v>#N/A</c:v>
                </c:pt>
                <c:pt idx="238">
                  <c:v>#N/A</c:v>
                </c:pt>
                <c:pt idx="239">
                  <c:v>#N/A</c:v>
                </c:pt>
                <c:pt idx="240">
                  <c:v>#N/A</c:v>
                </c:pt>
                <c:pt idx="241">
                  <c:v>#N/A</c:v>
                </c:pt>
                <c:pt idx="242">
                  <c:v>#N/A</c:v>
                </c:pt>
                <c:pt idx="243">
                  <c:v>#N/A</c:v>
                </c:pt>
                <c:pt idx="244">
                  <c:v>#N/A</c:v>
                </c:pt>
                <c:pt idx="245">
                  <c:v>#N/A</c:v>
                </c:pt>
                <c:pt idx="246">
                  <c:v>#N/A</c:v>
                </c:pt>
                <c:pt idx="247">
                  <c:v>#N/A</c:v>
                </c:pt>
                <c:pt idx="248">
                  <c:v>#N/A</c:v>
                </c:pt>
                <c:pt idx="249">
                  <c:v>#N/A</c:v>
                </c:pt>
                <c:pt idx="250">
                  <c:v>#N/A</c:v>
                </c:pt>
                <c:pt idx="251">
                  <c:v>#N/A</c:v>
                </c:pt>
                <c:pt idx="252">
                  <c:v>#N/A</c:v>
                </c:pt>
                <c:pt idx="253">
                  <c:v>#N/A</c:v>
                </c:pt>
                <c:pt idx="254">
                  <c:v>#N/A</c:v>
                </c:pt>
                <c:pt idx="255">
                  <c:v>#N/A</c:v>
                </c:pt>
                <c:pt idx="256">
                  <c:v>#N/A</c:v>
                </c:pt>
                <c:pt idx="257">
                  <c:v>#N/A</c:v>
                </c:pt>
                <c:pt idx="258">
                  <c:v>#N/A</c:v>
                </c:pt>
                <c:pt idx="259">
                  <c:v>#N/A</c:v>
                </c:pt>
                <c:pt idx="260">
                  <c:v>#N/A</c:v>
                </c:pt>
                <c:pt idx="261">
                  <c:v>#N/A</c:v>
                </c:pt>
                <c:pt idx="262">
                  <c:v>#N/A</c:v>
                </c:pt>
                <c:pt idx="263">
                  <c:v>#N/A</c:v>
                </c:pt>
                <c:pt idx="264">
                  <c:v>#N/A</c:v>
                </c:pt>
                <c:pt idx="265">
                  <c:v>#N/A</c:v>
                </c:pt>
                <c:pt idx="266">
                  <c:v>#N/A</c:v>
                </c:pt>
                <c:pt idx="267">
                  <c:v>#N/A</c:v>
                </c:pt>
                <c:pt idx="268">
                  <c:v>#N/A</c:v>
                </c:pt>
                <c:pt idx="269">
                  <c:v>#N/A</c:v>
                </c:pt>
                <c:pt idx="270">
                  <c:v>#N/A</c:v>
                </c:pt>
                <c:pt idx="271">
                  <c:v>#N/A</c:v>
                </c:pt>
                <c:pt idx="272">
                  <c:v>#N/A</c:v>
                </c:pt>
                <c:pt idx="273">
                  <c:v>#N/A</c:v>
                </c:pt>
                <c:pt idx="274">
                  <c:v>#N/A</c:v>
                </c:pt>
                <c:pt idx="275">
                  <c:v>#N/A</c:v>
                </c:pt>
                <c:pt idx="276">
                  <c:v>0.38356164383561642</c:v>
                </c:pt>
                <c:pt idx="277">
                  <c:v>#N/A</c:v>
                </c:pt>
                <c:pt idx="278">
                  <c:v>#N/A</c:v>
                </c:pt>
                <c:pt idx="279">
                  <c:v>#N/A</c:v>
                </c:pt>
                <c:pt idx="280">
                  <c:v>#N/A</c:v>
                </c:pt>
                <c:pt idx="281">
                  <c:v>#N/A</c:v>
                </c:pt>
                <c:pt idx="282">
                  <c:v>#N/A</c:v>
                </c:pt>
                <c:pt idx="283">
                  <c:v>#N/A</c:v>
                </c:pt>
                <c:pt idx="284">
                  <c:v>#N/A</c:v>
                </c:pt>
                <c:pt idx="285">
                  <c:v>#N/A</c:v>
                </c:pt>
                <c:pt idx="286">
                  <c:v>#N/A</c:v>
                </c:pt>
                <c:pt idx="287">
                  <c:v>#N/A</c:v>
                </c:pt>
                <c:pt idx="288">
                  <c:v>#N/A</c:v>
                </c:pt>
                <c:pt idx="289">
                  <c:v>0.38356164383561642</c:v>
                </c:pt>
                <c:pt idx="290">
                  <c:v>#N/A</c:v>
                </c:pt>
                <c:pt idx="291">
                  <c:v>#N/A</c:v>
                </c:pt>
                <c:pt idx="292">
                  <c:v>#N/A</c:v>
                </c:pt>
                <c:pt idx="293">
                  <c:v>#N/A</c:v>
                </c:pt>
                <c:pt idx="294">
                  <c:v>#N/A</c:v>
                </c:pt>
                <c:pt idx="295">
                  <c:v>#N/A</c:v>
                </c:pt>
                <c:pt idx="296">
                  <c:v>#N/A</c:v>
                </c:pt>
                <c:pt idx="297">
                  <c:v>#N/A</c:v>
                </c:pt>
                <c:pt idx="298">
                  <c:v>0.38356164383561642</c:v>
                </c:pt>
                <c:pt idx="299">
                  <c:v>#N/A</c:v>
                </c:pt>
                <c:pt idx="300">
                  <c:v>#N/A</c:v>
                </c:pt>
                <c:pt idx="301">
                  <c:v>#N/A</c:v>
                </c:pt>
                <c:pt idx="302">
                  <c:v>#N/A</c:v>
                </c:pt>
                <c:pt idx="303">
                  <c:v>#N/A</c:v>
                </c:pt>
                <c:pt idx="304">
                  <c:v>#N/A</c:v>
                </c:pt>
                <c:pt idx="305">
                  <c:v>#N/A</c:v>
                </c:pt>
                <c:pt idx="306">
                  <c:v>#N/A</c:v>
                </c:pt>
                <c:pt idx="307">
                  <c:v>#N/A</c:v>
                </c:pt>
                <c:pt idx="308">
                  <c:v>#N/A</c:v>
                </c:pt>
                <c:pt idx="309">
                  <c:v>0.38356164383561642</c:v>
                </c:pt>
                <c:pt idx="310">
                  <c:v>#N/A</c:v>
                </c:pt>
                <c:pt idx="311">
                  <c:v>#N/A</c:v>
                </c:pt>
                <c:pt idx="312">
                  <c:v>#N/A</c:v>
                </c:pt>
                <c:pt idx="313">
                  <c:v>#N/A</c:v>
                </c:pt>
                <c:pt idx="314">
                  <c:v>#N/A</c:v>
                </c:pt>
                <c:pt idx="315">
                  <c:v>#N/A</c:v>
                </c:pt>
                <c:pt idx="316">
                  <c:v>0.38356164383561642</c:v>
                </c:pt>
                <c:pt idx="317">
                  <c:v>#N/A</c:v>
                </c:pt>
                <c:pt idx="318">
                  <c:v>#N/A</c:v>
                </c:pt>
                <c:pt idx="319">
                  <c:v>#N/A</c:v>
                </c:pt>
                <c:pt idx="320">
                  <c:v>#N/A</c:v>
                </c:pt>
                <c:pt idx="321">
                  <c:v>#N/A</c:v>
                </c:pt>
                <c:pt idx="322">
                  <c:v>#N/A</c:v>
                </c:pt>
                <c:pt idx="323">
                  <c:v>#N/A</c:v>
                </c:pt>
                <c:pt idx="324">
                  <c:v>#N/A</c:v>
                </c:pt>
                <c:pt idx="325">
                  <c:v>#N/A</c:v>
                </c:pt>
                <c:pt idx="326">
                  <c:v>#N/A</c:v>
                </c:pt>
                <c:pt idx="327">
                  <c:v>#N/A</c:v>
                </c:pt>
                <c:pt idx="328">
                  <c:v>0.38356164383561642</c:v>
                </c:pt>
                <c:pt idx="329">
                  <c:v>#N/A</c:v>
                </c:pt>
                <c:pt idx="330">
                  <c:v>#N/A</c:v>
                </c:pt>
                <c:pt idx="331">
                  <c:v>#N/A</c:v>
                </c:pt>
                <c:pt idx="332">
                  <c:v>#N/A</c:v>
                </c:pt>
                <c:pt idx="333">
                  <c:v>#N/A</c:v>
                </c:pt>
                <c:pt idx="334">
                  <c:v>#N/A</c:v>
                </c:pt>
                <c:pt idx="335">
                  <c:v>#N/A</c:v>
                </c:pt>
                <c:pt idx="336">
                  <c:v>#N/A</c:v>
                </c:pt>
                <c:pt idx="337">
                  <c:v>#N/A</c:v>
                </c:pt>
                <c:pt idx="338">
                  <c:v>#N/A</c:v>
                </c:pt>
                <c:pt idx="339">
                  <c:v>#N/A</c:v>
                </c:pt>
                <c:pt idx="340">
                  <c:v>#N/A</c:v>
                </c:pt>
                <c:pt idx="341">
                  <c:v>#N/A</c:v>
                </c:pt>
                <c:pt idx="342">
                  <c:v>#N/A</c:v>
                </c:pt>
                <c:pt idx="343">
                  <c:v>#N/A</c:v>
                </c:pt>
                <c:pt idx="344">
                  <c:v>#N/A</c:v>
                </c:pt>
                <c:pt idx="345">
                  <c:v>#N/A</c:v>
                </c:pt>
                <c:pt idx="346">
                  <c:v>#N/A</c:v>
                </c:pt>
                <c:pt idx="347">
                  <c:v>#N/A</c:v>
                </c:pt>
                <c:pt idx="348">
                  <c:v>#N/A</c:v>
                </c:pt>
                <c:pt idx="349">
                  <c:v>#N/A</c:v>
                </c:pt>
                <c:pt idx="350">
                  <c:v>#N/A</c:v>
                </c:pt>
                <c:pt idx="351">
                  <c:v>#N/A</c:v>
                </c:pt>
                <c:pt idx="352">
                  <c:v>#N/A</c:v>
                </c:pt>
                <c:pt idx="353">
                  <c:v>#N/A</c:v>
                </c:pt>
                <c:pt idx="354">
                  <c:v>#N/A</c:v>
                </c:pt>
                <c:pt idx="355">
                  <c:v>#N/A</c:v>
                </c:pt>
                <c:pt idx="356">
                  <c:v>#N/A</c:v>
                </c:pt>
                <c:pt idx="357">
                  <c:v>#N/A</c:v>
                </c:pt>
                <c:pt idx="358">
                  <c:v>#N/A</c:v>
                </c:pt>
                <c:pt idx="359">
                  <c:v>#N/A</c:v>
                </c:pt>
                <c:pt idx="360">
                  <c:v>#N/A</c:v>
                </c:pt>
                <c:pt idx="361">
                  <c:v>#N/A</c:v>
                </c:pt>
                <c:pt idx="362">
                  <c:v>#N/A</c:v>
                </c:pt>
                <c:pt idx="363">
                  <c:v>#N/A</c:v>
                </c:pt>
                <c:pt idx="364">
                  <c:v>#N/A</c:v>
                </c:pt>
                <c:pt idx="365">
                  <c:v>#N/A</c:v>
                </c:pt>
                <c:pt idx="366">
                  <c:v>#N/A</c:v>
                </c:pt>
                <c:pt idx="367">
                  <c:v>#N/A</c:v>
                </c:pt>
                <c:pt idx="368">
                  <c:v>#N/A</c:v>
                </c:pt>
                <c:pt idx="369">
                  <c:v>#N/A</c:v>
                </c:pt>
                <c:pt idx="370">
                  <c:v>#N/A</c:v>
                </c:pt>
                <c:pt idx="371">
                  <c:v>#N/A</c:v>
                </c:pt>
                <c:pt idx="372">
                  <c:v>#N/A</c:v>
                </c:pt>
                <c:pt idx="373">
                  <c:v>#N/A</c:v>
                </c:pt>
                <c:pt idx="374">
                  <c:v>#N/A</c:v>
                </c:pt>
                <c:pt idx="375">
                  <c:v>#N/A</c:v>
                </c:pt>
                <c:pt idx="376">
                  <c:v>#N/A</c:v>
                </c:pt>
                <c:pt idx="377">
                  <c:v>#N/A</c:v>
                </c:pt>
                <c:pt idx="378">
                  <c:v>#N/A</c:v>
                </c:pt>
                <c:pt idx="379">
                  <c:v>#N/A</c:v>
                </c:pt>
                <c:pt idx="380">
                  <c:v>#N/A</c:v>
                </c:pt>
                <c:pt idx="381">
                  <c:v>#N/A</c:v>
                </c:pt>
                <c:pt idx="382">
                  <c:v>#N/A</c:v>
                </c:pt>
                <c:pt idx="383">
                  <c:v>#N/A</c:v>
                </c:pt>
                <c:pt idx="384">
                  <c:v>#N/A</c:v>
                </c:pt>
                <c:pt idx="385">
                  <c:v>#N/A</c:v>
                </c:pt>
                <c:pt idx="386">
                  <c:v>#N/A</c:v>
                </c:pt>
                <c:pt idx="387">
                  <c:v>#N/A</c:v>
                </c:pt>
                <c:pt idx="388">
                  <c:v>#N/A</c:v>
                </c:pt>
                <c:pt idx="389">
                  <c:v>#N/A</c:v>
                </c:pt>
                <c:pt idx="390">
                  <c:v>#N/A</c:v>
                </c:pt>
                <c:pt idx="391">
                  <c:v>#N/A</c:v>
                </c:pt>
                <c:pt idx="392">
                  <c:v>#N/A</c:v>
                </c:pt>
                <c:pt idx="393">
                  <c:v>#N/A</c:v>
                </c:pt>
                <c:pt idx="394">
                  <c:v>#N/A</c:v>
                </c:pt>
                <c:pt idx="395">
                  <c:v>#N/A</c:v>
                </c:pt>
                <c:pt idx="396">
                  <c:v>#N/A</c:v>
                </c:pt>
                <c:pt idx="397">
                  <c:v>#N/A</c:v>
                </c:pt>
                <c:pt idx="398">
                  <c:v>#N/A</c:v>
                </c:pt>
                <c:pt idx="399">
                  <c:v>#N/A</c:v>
                </c:pt>
                <c:pt idx="400">
                  <c:v>#N/A</c:v>
                </c:pt>
                <c:pt idx="401">
                  <c:v>#N/A</c:v>
                </c:pt>
                <c:pt idx="402">
                  <c:v>#N/A</c:v>
                </c:pt>
                <c:pt idx="403">
                  <c:v>#N/A</c:v>
                </c:pt>
                <c:pt idx="404">
                  <c:v>#N/A</c:v>
                </c:pt>
                <c:pt idx="405">
                  <c:v>0.38904109589041097</c:v>
                </c:pt>
                <c:pt idx="406">
                  <c:v>0.38904109589041097</c:v>
                </c:pt>
                <c:pt idx="407">
                  <c:v>#N/A</c:v>
                </c:pt>
                <c:pt idx="408">
                  <c:v>#N/A</c:v>
                </c:pt>
                <c:pt idx="409">
                  <c:v>#N/A</c:v>
                </c:pt>
                <c:pt idx="410">
                  <c:v>#N/A</c:v>
                </c:pt>
                <c:pt idx="411">
                  <c:v>#N/A</c:v>
                </c:pt>
                <c:pt idx="412">
                  <c:v>#N/A</c:v>
                </c:pt>
                <c:pt idx="413">
                  <c:v>#N/A</c:v>
                </c:pt>
                <c:pt idx="414">
                  <c:v>#N/A</c:v>
                </c:pt>
                <c:pt idx="415">
                  <c:v>#N/A</c:v>
                </c:pt>
                <c:pt idx="416">
                  <c:v>#N/A</c:v>
                </c:pt>
                <c:pt idx="417">
                  <c:v>#N/A</c:v>
                </c:pt>
                <c:pt idx="418">
                  <c:v>#N/A</c:v>
                </c:pt>
                <c:pt idx="419">
                  <c:v>#N/A</c:v>
                </c:pt>
                <c:pt idx="420">
                  <c:v>#N/A</c:v>
                </c:pt>
                <c:pt idx="421">
                  <c:v>#N/A</c:v>
                </c:pt>
                <c:pt idx="422">
                  <c:v>#N/A</c:v>
                </c:pt>
                <c:pt idx="423">
                  <c:v>#N/A</c:v>
                </c:pt>
                <c:pt idx="424">
                  <c:v>#N/A</c:v>
                </c:pt>
                <c:pt idx="425">
                  <c:v>#N/A</c:v>
                </c:pt>
                <c:pt idx="426">
                  <c:v>#N/A</c:v>
                </c:pt>
                <c:pt idx="427">
                  <c:v>#N/A</c:v>
                </c:pt>
                <c:pt idx="428">
                  <c:v>#N/A</c:v>
                </c:pt>
                <c:pt idx="429">
                  <c:v>#N/A</c:v>
                </c:pt>
                <c:pt idx="430">
                  <c:v>#N/A</c:v>
                </c:pt>
                <c:pt idx="431">
                  <c:v>#N/A</c:v>
                </c:pt>
                <c:pt idx="432">
                  <c:v>#N/A</c:v>
                </c:pt>
                <c:pt idx="433">
                  <c:v>#N/A</c:v>
                </c:pt>
                <c:pt idx="434">
                  <c:v>#N/A</c:v>
                </c:pt>
                <c:pt idx="435">
                  <c:v>#N/A</c:v>
                </c:pt>
                <c:pt idx="436">
                  <c:v>#N/A</c:v>
                </c:pt>
                <c:pt idx="437">
                  <c:v>#N/A</c:v>
                </c:pt>
                <c:pt idx="438">
                  <c:v>#N/A</c:v>
                </c:pt>
                <c:pt idx="439">
                  <c:v>#N/A</c:v>
                </c:pt>
                <c:pt idx="440">
                  <c:v>#N/A</c:v>
                </c:pt>
                <c:pt idx="441">
                  <c:v>#N/A</c:v>
                </c:pt>
                <c:pt idx="442">
                  <c:v>#N/A</c:v>
                </c:pt>
                <c:pt idx="443">
                  <c:v>#N/A</c:v>
                </c:pt>
                <c:pt idx="444">
                  <c:v>#N/A</c:v>
                </c:pt>
                <c:pt idx="445">
                  <c:v>#N/A</c:v>
                </c:pt>
                <c:pt idx="446">
                  <c:v>#N/A</c:v>
                </c:pt>
                <c:pt idx="447">
                  <c:v>#N/A</c:v>
                </c:pt>
                <c:pt idx="448">
                  <c:v>#N/A</c:v>
                </c:pt>
                <c:pt idx="449">
                  <c:v>#N/A</c:v>
                </c:pt>
                <c:pt idx="450">
                  <c:v>#N/A</c:v>
                </c:pt>
                <c:pt idx="451">
                  <c:v>#N/A</c:v>
                </c:pt>
                <c:pt idx="452">
                  <c:v>#N/A</c:v>
                </c:pt>
                <c:pt idx="453">
                  <c:v>#N/A</c:v>
                </c:pt>
                <c:pt idx="454">
                  <c:v>#N/A</c:v>
                </c:pt>
                <c:pt idx="455">
                  <c:v>#N/A</c:v>
                </c:pt>
                <c:pt idx="456">
                  <c:v>#N/A</c:v>
                </c:pt>
                <c:pt idx="457">
                  <c:v>#N/A</c:v>
                </c:pt>
                <c:pt idx="458">
                  <c:v>#N/A</c:v>
                </c:pt>
                <c:pt idx="459">
                  <c:v>#N/A</c:v>
                </c:pt>
                <c:pt idx="460">
                  <c:v>#N/A</c:v>
                </c:pt>
                <c:pt idx="461">
                  <c:v>#N/A</c:v>
                </c:pt>
                <c:pt idx="462">
                  <c:v>#N/A</c:v>
                </c:pt>
                <c:pt idx="463">
                  <c:v>#N/A</c:v>
                </c:pt>
                <c:pt idx="464">
                  <c:v>#N/A</c:v>
                </c:pt>
                <c:pt idx="465">
                  <c:v>#N/A</c:v>
                </c:pt>
                <c:pt idx="466">
                  <c:v>#N/A</c:v>
                </c:pt>
                <c:pt idx="467">
                  <c:v>#N/A</c:v>
                </c:pt>
                <c:pt idx="468">
                  <c:v>#N/A</c:v>
                </c:pt>
                <c:pt idx="469">
                  <c:v>#N/A</c:v>
                </c:pt>
                <c:pt idx="470">
                  <c:v>#N/A</c:v>
                </c:pt>
                <c:pt idx="471">
                  <c:v>#N/A</c:v>
                </c:pt>
                <c:pt idx="472">
                  <c:v>#N/A</c:v>
                </c:pt>
                <c:pt idx="473">
                  <c:v>#N/A</c:v>
                </c:pt>
                <c:pt idx="474">
                  <c:v>#N/A</c:v>
                </c:pt>
                <c:pt idx="475">
                  <c:v>#N/A</c:v>
                </c:pt>
                <c:pt idx="476">
                  <c:v>#N/A</c:v>
                </c:pt>
                <c:pt idx="477">
                  <c:v>#N/A</c:v>
                </c:pt>
                <c:pt idx="478">
                  <c:v>#N/A</c:v>
                </c:pt>
                <c:pt idx="479">
                  <c:v>#N/A</c:v>
                </c:pt>
                <c:pt idx="480">
                  <c:v>#N/A</c:v>
                </c:pt>
                <c:pt idx="481">
                  <c:v>#N/A</c:v>
                </c:pt>
                <c:pt idx="482">
                  <c:v>0.41643835616438357</c:v>
                </c:pt>
                <c:pt idx="483">
                  <c:v>#N/A</c:v>
                </c:pt>
                <c:pt idx="484">
                  <c:v>#N/A</c:v>
                </c:pt>
                <c:pt idx="485">
                  <c:v>#N/A</c:v>
                </c:pt>
                <c:pt idx="486">
                  <c:v>#N/A</c:v>
                </c:pt>
                <c:pt idx="487">
                  <c:v>#N/A</c:v>
                </c:pt>
                <c:pt idx="488">
                  <c:v>#N/A</c:v>
                </c:pt>
                <c:pt idx="489">
                  <c:v>0.42191780821917807</c:v>
                </c:pt>
                <c:pt idx="490">
                  <c:v>#N/A</c:v>
                </c:pt>
                <c:pt idx="491">
                  <c:v>#N/A</c:v>
                </c:pt>
                <c:pt idx="492">
                  <c:v>#N/A</c:v>
                </c:pt>
                <c:pt idx="493">
                  <c:v>#N/A</c:v>
                </c:pt>
                <c:pt idx="494">
                  <c:v>#N/A</c:v>
                </c:pt>
                <c:pt idx="495">
                  <c:v>#N/A</c:v>
                </c:pt>
                <c:pt idx="496">
                  <c:v>#N/A</c:v>
                </c:pt>
                <c:pt idx="497">
                  <c:v>#N/A</c:v>
                </c:pt>
                <c:pt idx="498">
                  <c:v>#N/A</c:v>
                </c:pt>
                <c:pt idx="499">
                  <c:v>#N/A</c:v>
                </c:pt>
                <c:pt idx="500">
                  <c:v>#N/A</c:v>
                </c:pt>
                <c:pt idx="501">
                  <c:v>#N/A</c:v>
                </c:pt>
                <c:pt idx="502">
                  <c:v>#N/A</c:v>
                </c:pt>
                <c:pt idx="503">
                  <c:v>#N/A</c:v>
                </c:pt>
                <c:pt idx="504">
                  <c:v>#N/A</c:v>
                </c:pt>
                <c:pt idx="505">
                  <c:v>#N/A</c:v>
                </c:pt>
                <c:pt idx="506">
                  <c:v>#N/A</c:v>
                </c:pt>
                <c:pt idx="507">
                  <c:v>#N/A</c:v>
                </c:pt>
                <c:pt idx="508">
                  <c:v>#N/A</c:v>
                </c:pt>
                <c:pt idx="509">
                  <c:v>#N/A</c:v>
                </c:pt>
                <c:pt idx="510">
                  <c:v>#N/A</c:v>
                </c:pt>
                <c:pt idx="511">
                  <c:v>#N/A</c:v>
                </c:pt>
                <c:pt idx="512">
                  <c:v>#N/A</c:v>
                </c:pt>
                <c:pt idx="513">
                  <c:v>#N/A</c:v>
                </c:pt>
                <c:pt idx="514">
                  <c:v>#N/A</c:v>
                </c:pt>
                <c:pt idx="515">
                  <c:v>#N/A</c:v>
                </c:pt>
                <c:pt idx="516">
                  <c:v>#N/A</c:v>
                </c:pt>
                <c:pt idx="517">
                  <c:v>#N/A</c:v>
                </c:pt>
                <c:pt idx="518">
                  <c:v>#N/A</c:v>
                </c:pt>
                <c:pt idx="519">
                  <c:v>0.43835616438356162</c:v>
                </c:pt>
                <c:pt idx="520">
                  <c:v>#N/A</c:v>
                </c:pt>
                <c:pt idx="521">
                  <c:v>#N/A</c:v>
                </c:pt>
                <c:pt idx="522">
                  <c:v>#N/A</c:v>
                </c:pt>
                <c:pt idx="523">
                  <c:v>#N/A</c:v>
                </c:pt>
                <c:pt idx="524">
                  <c:v>#N/A</c:v>
                </c:pt>
                <c:pt idx="525">
                  <c:v>#N/A</c:v>
                </c:pt>
                <c:pt idx="526">
                  <c:v>#N/A</c:v>
                </c:pt>
                <c:pt idx="527">
                  <c:v>#N/A</c:v>
                </c:pt>
                <c:pt idx="528">
                  <c:v>#N/A</c:v>
                </c:pt>
                <c:pt idx="529">
                  <c:v>#N/A</c:v>
                </c:pt>
                <c:pt idx="530">
                  <c:v>#N/A</c:v>
                </c:pt>
                <c:pt idx="531">
                  <c:v>#N/A</c:v>
                </c:pt>
                <c:pt idx="532">
                  <c:v>#N/A</c:v>
                </c:pt>
                <c:pt idx="533">
                  <c:v>#N/A</c:v>
                </c:pt>
                <c:pt idx="534">
                  <c:v>#N/A</c:v>
                </c:pt>
                <c:pt idx="535">
                  <c:v>#N/A</c:v>
                </c:pt>
                <c:pt idx="536">
                  <c:v>#N/A</c:v>
                </c:pt>
                <c:pt idx="537">
                  <c:v>#N/A</c:v>
                </c:pt>
                <c:pt idx="538">
                  <c:v>#N/A</c:v>
                </c:pt>
                <c:pt idx="539">
                  <c:v>#N/A</c:v>
                </c:pt>
                <c:pt idx="540">
                  <c:v>#N/A</c:v>
                </c:pt>
                <c:pt idx="541">
                  <c:v>#N/A</c:v>
                </c:pt>
                <c:pt idx="542">
                  <c:v>#N/A</c:v>
                </c:pt>
                <c:pt idx="543">
                  <c:v>#N/A</c:v>
                </c:pt>
                <c:pt idx="544">
                  <c:v>#N/A</c:v>
                </c:pt>
                <c:pt idx="545">
                  <c:v>#N/A</c:v>
                </c:pt>
                <c:pt idx="546">
                  <c:v>#N/A</c:v>
                </c:pt>
                <c:pt idx="547">
                  <c:v>#N/A</c:v>
                </c:pt>
                <c:pt idx="548">
                  <c:v>#N/A</c:v>
                </c:pt>
                <c:pt idx="549">
                  <c:v>#N/A</c:v>
                </c:pt>
                <c:pt idx="550">
                  <c:v>#N/A</c:v>
                </c:pt>
                <c:pt idx="551">
                  <c:v>#N/A</c:v>
                </c:pt>
                <c:pt idx="552">
                  <c:v>#N/A</c:v>
                </c:pt>
                <c:pt idx="553">
                  <c:v>#N/A</c:v>
                </c:pt>
                <c:pt idx="554">
                  <c:v>#N/A</c:v>
                </c:pt>
                <c:pt idx="555">
                  <c:v>#N/A</c:v>
                </c:pt>
                <c:pt idx="556">
                  <c:v>0.45753424657534247</c:v>
                </c:pt>
                <c:pt idx="557">
                  <c:v>#N/A</c:v>
                </c:pt>
                <c:pt idx="558">
                  <c:v>#N/A</c:v>
                </c:pt>
                <c:pt idx="559">
                  <c:v>#N/A</c:v>
                </c:pt>
                <c:pt idx="560">
                  <c:v>#N/A</c:v>
                </c:pt>
                <c:pt idx="561">
                  <c:v>#N/A</c:v>
                </c:pt>
                <c:pt idx="562">
                  <c:v>#N/A</c:v>
                </c:pt>
                <c:pt idx="563">
                  <c:v>#N/A</c:v>
                </c:pt>
                <c:pt idx="564">
                  <c:v>#N/A</c:v>
                </c:pt>
                <c:pt idx="565">
                  <c:v>#N/A</c:v>
                </c:pt>
                <c:pt idx="566">
                  <c:v>#N/A</c:v>
                </c:pt>
                <c:pt idx="567">
                  <c:v>#N/A</c:v>
                </c:pt>
                <c:pt idx="568">
                  <c:v>#N/A</c:v>
                </c:pt>
                <c:pt idx="569">
                  <c:v>#N/A</c:v>
                </c:pt>
                <c:pt idx="570">
                  <c:v>#N/A</c:v>
                </c:pt>
                <c:pt idx="571">
                  <c:v>#N/A</c:v>
                </c:pt>
                <c:pt idx="572">
                  <c:v>#N/A</c:v>
                </c:pt>
                <c:pt idx="573">
                  <c:v>#N/A</c:v>
                </c:pt>
                <c:pt idx="574">
                  <c:v>#N/A</c:v>
                </c:pt>
                <c:pt idx="575">
                  <c:v>#N/A</c:v>
                </c:pt>
                <c:pt idx="576">
                  <c:v>#N/A</c:v>
                </c:pt>
                <c:pt idx="577">
                  <c:v>#N/A</c:v>
                </c:pt>
                <c:pt idx="578">
                  <c:v>#N/A</c:v>
                </c:pt>
                <c:pt idx="579">
                  <c:v>#N/A</c:v>
                </c:pt>
                <c:pt idx="580">
                  <c:v>#N/A</c:v>
                </c:pt>
                <c:pt idx="581">
                  <c:v>#N/A</c:v>
                </c:pt>
                <c:pt idx="582">
                  <c:v>#N/A</c:v>
                </c:pt>
                <c:pt idx="583">
                  <c:v>#N/A</c:v>
                </c:pt>
                <c:pt idx="584">
                  <c:v>#N/A</c:v>
                </c:pt>
                <c:pt idx="585">
                  <c:v>#N/A</c:v>
                </c:pt>
                <c:pt idx="586">
                  <c:v>#N/A</c:v>
                </c:pt>
                <c:pt idx="587">
                  <c:v>#N/A</c:v>
                </c:pt>
                <c:pt idx="588">
                  <c:v>#N/A</c:v>
                </c:pt>
                <c:pt idx="589">
                  <c:v>#N/A</c:v>
                </c:pt>
                <c:pt idx="590">
                  <c:v>#N/A</c:v>
                </c:pt>
                <c:pt idx="591">
                  <c:v>#N/A</c:v>
                </c:pt>
                <c:pt idx="592">
                  <c:v>#N/A</c:v>
                </c:pt>
                <c:pt idx="593">
                  <c:v>#N/A</c:v>
                </c:pt>
                <c:pt idx="594">
                  <c:v>#N/A</c:v>
                </c:pt>
                <c:pt idx="595">
                  <c:v>0.45753424657534247</c:v>
                </c:pt>
                <c:pt idx="596">
                  <c:v>#N/A</c:v>
                </c:pt>
                <c:pt idx="597">
                  <c:v>#N/A</c:v>
                </c:pt>
                <c:pt idx="598">
                  <c:v>#N/A</c:v>
                </c:pt>
                <c:pt idx="599">
                  <c:v>#N/A</c:v>
                </c:pt>
                <c:pt idx="600">
                  <c:v>#N/A</c:v>
                </c:pt>
                <c:pt idx="601">
                  <c:v>#N/A</c:v>
                </c:pt>
                <c:pt idx="602">
                  <c:v>#N/A</c:v>
                </c:pt>
                <c:pt idx="603">
                  <c:v>#N/A</c:v>
                </c:pt>
                <c:pt idx="604">
                  <c:v>#N/A</c:v>
                </c:pt>
                <c:pt idx="605">
                  <c:v>#N/A</c:v>
                </c:pt>
                <c:pt idx="606">
                  <c:v>#N/A</c:v>
                </c:pt>
                <c:pt idx="607">
                  <c:v>#N/A</c:v>
                </c:pt>
                <c:pt idx="608">
                  <c:v>#N/A</c:v>
                </c:pt>
                <c:pt idx="609">
                  <c:v>#N/A</c:v>
                </c:pt>
                <c:pt idx="610">
                  <c:v>#N/A</c:v>
                </c:pt>
                <c:pt idx="611">
                  <c:v>#N/A</c:v>
                </c:pt>
                <c:pt idx="612">
                  <c:v>#N/A</c:v>
                </c:pt>
                <c:pt idx="613">
                  <c:v>#N/A</c:v>
                </c:pt>
                <c:pt idx="614">
                  <c:v>#N/A</c:v>
                </c:pt>
                <c:pt idx="615">
                  <c:v>#N/A</c:v>
                </c:pt>
                <c:pt idx="616">
                  <c:v>#N/A</c:v>
                </c:pt>
                <c:pt idx="617">
                  <c:v>#N/A</c:v>
                </c:pt>
                <c:pt idx="618">
                  <c:v>#N/A</c:v>
                </c:pt>
                <c:pt idx="619">
                  <c:v>#N/A</c:v>
                </c:pt>
                <c:pt idx="620">
                  <c:v>#N/A</c:v>
                </c:pt>
                <c:pt idx="621">
                  <c:v>#N/A</c:v>
                </c:pt>
                <c:pt idx="622">
                  <c:v>#N/A</c:v>
                </c:pt>
                <c:pt idx="623">
                  <c:v>#N/A</c:v>
                </c:pt>
                <c:pt idx="624">
                  <c:v>#N/A</c:v>
                </c:pt>
                <c:pt idx="625">
                  <c:v>#N/A</c:v>
                </c:pt>
                <c:pt idx="626">
                  <c:v>#N/A</c:v>
                </c:pt>
                <c:pt idx="627">
                  <c:v>#N/A</c:v>
                </c:pt>
                <c:pt idx="628">
                  <c:v>#N/A</c:v>
                </c:pt>
                <c:pt idx="629">
                  <c:v>#N/A</c:v>
                </c:pt>
                <c:pt idx="630">
                  <c:v>#N/A</c:v>
                </c:pt>
                <c:pt idx="631">
                  <c:v>#N/A</c:v>
                </c:pt>
                <c:pt idx="632">
                  <c:v>#N/A</c:v>
                </c:pt>
                <c:pt idx="633">
                  <c:v>#N/A</c:v>
                </c:pt>
                <c:pt idx="634">
                  <c:v>#N/A</c:v>
                </c:pt>
                <c:pt idx="635">
                  <c:v>#N/A</c:v>
                </c:pt>
                <c:pt idx="636">
                  <c:v>#N/A</c:v>
                </c:pt>
                <c:pt idx="637">
                  <c:v>#N/A</c:v>
                </c:pt>
                <c:pt idx="638">
                  <c:v>#N/A</c:v>
                </c:pt>
                <c:pt idx="639">
                  <c:v>#N/A</c:v>
                </c:pt>
                <c:pt idx="640">
                  <c:v>#N/A</c:v>
                </c:pt>
                <c:pt idx="641">
                  <c:v>#N/A</c:v>
                </c:pt>
                <c:pt idx="642">
                  <c:v>#N/A</c:v>
                </c:pt>
                <c:pt idx="643">
                  <c:v>#N/A</c:v>
                </c:pt>
                <c:pt idx="644">
                  <c:v>#N/A</c:v>
                </c:pt>
                <c:pt idx="645">
                  <c:v>#N/A</c:v>
                </c:pt>
                <c:pt idx="646">
                  <c:v>#N/A</c:v>
                </c:pt>
                <c:pt idx="647">
                  <c:v>#N/A</c:v>
                </c:pt>
                <c:pt idx="648">
                  <c:v>#N/A</c:v>
                </c:pt>
                <c:pt idx="649">
                  <c:v>#N/A</c:v>
                </c:pt>
                <c:pt idx="650">
                  <c:v>#N/A</c:v>
                </c:pt>
                <c:pt idx="651">
                  <c:v>#N/A</c:v>
                </c:pt>
                <c:pt idx="652">
                  <c:v>#N/A</c:v>
                </c:pt>
                <c:pt idx="653">
                  <c:v>#N/A</c:v>
                </c:pt>
                <c:pt idx="654">
                  <c:v>#N/A</c:v>
                </c:pt>
                <c:pt idx="655">
                  <c:v>#N/A</c:v>
                </c:pt>
                <c:pt idx="656">
                  <c:v>#N/A</c:v>
                </c:pt>
                <c:pt idx="657">
                  <c:v>#N/A</c:v>
                </c:pt>
                <c:pt idx="658">
                  <c:v>#N/A</c:v>
                </c:pt>
                <c:pt idx="659">
                  <c:v>#N/A</c:v>
                </c:pt>
                <c:pt idx="660">
                  <c:v>#N/A</c:v>
                </c:pt>
                <c:pt idx="661">
                  <c:v>#N/A</c:v>
                </c:pt>
                <c:pt idx="662">
                  <c:v>#N/A</c:v>
                </c:pt>
                <c:pt idx="663">
                  <c:v>#N/A</c:v>
                </c:pt>
                <c:pt idx="664">
                  <c:v>#N/A</c:v>
                </c:pt>
                <c:pt idx="665">
                  <c:v>#N/A</c:v>
                </c:pt>
                <c:pt idx="666">
                  <c:v>#N/A</c:v>
                </c:pt>
                <c:pt idx="667">
                  <c:v>#N/A</c:v>
                </c:pt>
                <c:pt idx="668">
                  <c:v>#N/A</c:v>
                </c:pt>
                <c:pt idx="669">
                  <c:v>#N/A</c:v>
                </c:pt>
                <c:pt idx="670">
                  <c:v>#N/A</c:v>
                </c:pt>
                <c:pt idx="671">
                  <c:v>#N/A</c:v>
                </c:pt>
                <c:pt idx="672">
                  <c:v>0.45753424657534247</c:v>
                </c:pt>
                <c:pt idx="673">
                  <c:v>#N/A</c:v>
                </c:pt>
                <c:pt idx="674">
                  <c:v>#N/A</c:v>
                </c:pt>
                <c:pt idx="675">
                  <c:v>#N/A</c:v>
                </c:pt>
                <c:pt idx="676">
                  <c:v>#N/A</c:v>
                </c:pt>
                <c:pt idx="677">
                  <c:v>#N/A</c:v>
                </c:pt>
                <c:pt idx="678">
                  <c:v>#N/A</c:v>
                </c:pt>
                <c:pt idx="679">
                  <c:v>#N/A</c:v>
                </c:pt>
                <c:pt idx="680">
                  <c:v>#N/A</c:v>
                </c:pt>
                <c:pt idx="681">
                  <c:v>#N/A</c:v>
                </c:pt>
                <c:pt idx="682">
                  <c:v>#N/A</c:v>
                </c:pt>
                <c:pt idx="683">
                  <c:v>#N/A</c:v>
                </c:pt>
                <c:pt idx="684">
                  <c:v>#N/A</c:v>
                </c:pt>
                <c:pt idx="685">
                  <c:v>#N/A</c:v>
                </c:pt>
                <c:pt idx="686">
                  <c:v>#N/A</c:v>
                </c:pt>
                <c:pt idx="687">
                  <c:v>0.45753424657534247</c:v>
                </c:pt>
                <c:pt idx="688">
                  <c:v>#N/A</c:v>
                </c:pt>
                <c:pt idx="689">
                  <c:v>#N/A</c:v>
                </c:pt>
                <c:pt idx="690">
                  <c:v>#N/A</c:v>
                </c:pt>
                <c:pt idx="691">
                  <c:v>#N/A</c:v>
                </c:pt>
                <c:pt idx="692">
                  <c:v>#N/A</c:v>
                </c:pt>
                <c:pt idx="693">
                  <c:v>#N/A</c:v>
                </c:pt>
                <c:pt idx="694">
                  <c:v>#N/A</c:v>
                </c:pt>
                <c:pt idx="695">
                  <c:v>#N/A</c:v>
                </c:pt>
                <c:pt idx="696">
                  <c:v>#N/A</c:v>
                </c:pt>
                <c:pt idx="697">
                  <c:v>#N/A</c:v>
                </c:pt>
                <c:pt idx="698">
                  <c:v>#N/A</c:v>
                </c:pt>
                <c:pt idx="699">
                  <c:v>#N/A</c:v>
                </c:pt>
                <c:pt idx="700">
                  <c:v>#N/A</c:v>
                </c:pt>
                <c:pt idx="701">
                  <c:v>#N/A</c:v>
                </c:pt>
                <c:pt idx="702">
                  <c:v>#N/A</c:v>
                </c:pt>
                <c:pt idx="703">
                  <c:v>#N/A</c:v>
                </c:pt>
                <c:pt idx="704">
                  <c:v>#N/A</c:v>
                </c:pt>
                <c:pt idx="705">
                  <c:v>#N/A</c:v>
                </c:pt>
                <c:pt idx="706">
                  <c:v>#N/A</c:v>
                </c:pt>
                <c:pt idx="707">
                  <c:v>#N/A</c:v>
                </c:pt>
                <c:pt idx="708">
                  <c:v>0.45753424657534247</c:v>
                </c:pt>
                <c:pt idx="709">
                  <c:v>#N/A</c:v>
                </c:pt>
                <c:pt idx="710">
                  <c:v>#N/A</c:v>
                </c:pt>
                <c:pt idx="711">
                  <c:v>#N/A</c:v>
                </c:pt>
                <c:pt idx="712">
                  <c:v>#N/A</c:v>
                </c:pt>
                <c:pt idx="713">
                  <c:v>#N/A</c:v>
                </c:pt>
                <c:pt idx="714">
                  <c:v>#N/A</c:v>
                </c:pt>
                <c:pt idx="715">
                  <c:v>#N/A</c:v>
                </c:pt>
                <c:pt idx="716">
                  <c:v>#N/A</c:v>
                </c:pt>
                <c:pt idx="717">
                  <c:v>#N/A</c:v>
                </c:pt>
                <c:pt idx="718">
                  <c:v>#N/A</c:v>
                </c:pt>
                <c:pt idx="719">
                  <c:v>#N/A</c:v>
                </c:pt>
                <c:pt idx="720">
                  <c:v>#N/A</c:v>
                </c:pt>
                <c:pt idx="721">
                  <c:v>#N/A</c:v>
                </c:pt>
                <c:pt idx="722">
                  <c:v>#N/A</c:v>
                </c:pt>
                <c:pt idx="723">
                  <c:v>#N/A</c:v>
                </c:pt>
                <c:pt idx="724">
                  <c:v>#N/A</c:v>
                </c:pt>
                <c:pt idx="725">
                  <c:v>#N/A</c:v>
                </c:pt>
                <c:pt idx="726">
                  <c:v>#N/A</c:v>
                </c:pt>
                <c:pt idx="727">
                  <c:v>#N/A</c:v>
                </c:pt>
                <c:pt idx="728">
                  <c:v>#N/A</c:v>
                </c:pt>
                <c:pt idx="729">
                  <c:v>#N/A</c:v>
                </c:pt>
                <c:pt idx="730">
                  <c:v>#N/A</c:v>
                </c:pt>
                <c:pt idx="731">
                  <c:v>#N/A</c:v>
                </c:pt>
                <c:pt idx="732">
                  <c:v>#N/A</c:v>
                </c:pt>
                <c:pt idx="733">
                  <c:v>0.45753424657534247</c:v>
                </c:pt>
                <c:pt idx="734">
                  <c:v>#N/A</c:v>
                </c:pt>
                <c:pt idx="735">
                  <c:v>#N/A</c:v>
                </c:pt>
                <c:pt idx="736">
                  <c:v>#N/A</c:v>
                </c:pt>
                <c:pt idx="737">
                  <c:v>#N/A</c:v>
                </c:pt>
                <c:pt idx="738">
                  <c:v>#N/A</c:v>
                </c:pt>
                <c:pt idx="739">
                  <c:v>#N/A</c:v>
                </c:pt>
                <c:pt idx="740">
                  <c:v>#N/A</c:v>
                </c:pt>
                <c:pt idx="741">
                  <c:v>#N/A</c:v>
                </c:pt>
                <c:pt idx="742">
                  <c:v>0.46027397260273972</c:v>
                </c:pt>
                <c:pt idx="743">
                  <c:v>0.46027397260273972</c:v>
                </c:pt>
                <c:pt idx="744">
                  <c:v>#N/A</c:v>
                </c:pt>
                <c:pt idx="745">
                  <c:v>#N/A</c:v>
                </c:pt>
                <c:pt idx="746">
                  <c:v>0.46027397260273972</c:v>
                </c:pt>
                <c:pt idx="747">
                  <c:v>#N/A</c:v>
                </c:pt>
                <c:pt idx="748">
                  <c:v>#N/A</c:v>
                </c:pt>
                <c:pt idx="749">
                  <c:v>#N/A</c:v>
                </c:pt>
                <c:pt idx="750">
                  <c:v>0.46027397260273972</c:v>
                </c:pt>
                <c:pt idx="751">
                  <c:v>#N/A</c:v>
                </c:pt>
                <c:pt idx="752">
                  <c:v>#N/A</c:v>
                </c:pt>
                <c:pt idx="753">
                  <c:v>0.46027397260273972</c:v>
                </c:pt>
                <c:pt idx="754">
                  <c:v>#N/A</c:v>
                </c:pt>
                <c:pt idx="755">
                  <c:v>#N/A</c:v>
                </c:pt>
                <c:pt idx="756">
                  <c:v>#N/A</c:v>
                </c:pt>
                <c:pt idx="757">
                  <c:v>#N/A</c:v>
                </c:pt>
                <c:pt idx="758">
                  <c:v>#N/A</c:v>
                </c:pt>
                <c:pt idx="759">
                  <c:v>#N/A</c:v>
                </c:pt>
                <c:pt idx="760">
                  <c:v>#N/A</c:v>
                </c:pt>
                <c:pt idx="761">
                  <c:v>#N/A</c:v>
                </c:pt>
                <c:pt idx="762">
                  <c:v>#N/A</c:v>
                </c:pt>
                <c:pt idx="763">
                  <c:v>#N/A</c:v>
                </c:pt>
                <c:pt idx="764">
                  <c:v>#N/A</c:v>
                </c:pt>
                <c:pt idx="765">
                  <c:v>#N/A</c:v>
                </c:pt>
                <c:pt idx="766">
                  <c:v>0.46027397260273972</c:v>
                </c:pt>
                <c:pt idx="767">
                  <c:v>#N/A</c:v>
                </c:pt>
                <c:pt idx="768">
                  <c:v>#N/A</c:v>
                </c:pt>
                <c:pt idx="769">
                  <c:v>#N/A</c:v>
                </c:pt>
                <c:pt idx="770">
                  <c:v>#N/A</c:v>
                </c:pt>
                <c:pt idx="771">
                  <c:v>#N/A</c:v>
                </c:pt>
                <c:pt idx="772">
                  <c:v>#N/A</c:v>
                </c:pt>
                <c:pt idx="773">
                  <c:v>#N/A</c:v>
                </c:pt>
                <c:pt idx="774">
                  <c:v>#N/A</c:v>
                </c:pt>
                <c:pt idx="775">
                  <c:v>#N/A</c:v>
                </c:pt>
                <c:pt idx="776">
                  <c:v>#N/A</c:v>
                </c:pt>
                <c:pt idx="777">
                  <c:v>#N/A</c:v>
                </c:pt>
                <c:pt idx="778">
                  <c:v>#N/A</c:v>
                </c:pt>
                <c:pt idx="779">
                  <c:v>#N/A</c:v>
                </c:pt>
                <c:pt idx="780">
                  <c:v>#N/A</c:v>
                </c:pt>
                <c:pt idx="781">
                  <c:v>#N/A</c:v>
                </c:pt>
                <c:pt idx="782">
                  <c:v>#N/A</c:v>
                </c:pt>
                <c:pt idx="783">
                  <c:v>0.46027397260273972</c:v>
                </c:pt>
                <c:pt idx="784">
                  <c:v>#N/A</c:v>
                </c:pt>
                <c:pt idx="785">
                  <c:v>#N/A</c:v>
                </c:pt>
                <c:pt idx="786">
                  <c:v>#N/A</c:v>
                </c:pt>
                <c:pt idx="787">
                  <c:v>#N/A</c:v>
                </c:pt>
                <c:pt idx="788">
                  <c:v>#N/A</c:v>
                </c:pt>
                <c:pt idx="789">
                  <c:v>#N/A</c:v>
                </c:pt>
                <c:pt idx="790">
                  <c:v>0.46027397260273972</c:v>
                </c:pt>
                <c:pt idx="791">
                  <c:v>#N/A</c:v>
                </c:pt>
                <c:pt idx="792">
                  <c:v>#N/A</c:v>
                </c:pt>
                <c:pt idx="793">
                  <c:v>#N/A</c:v>
                </c:pt>
                <c:pt idx="794">
                  <c:v>#N/A</c:v>
                </c:pt>
                <c:pt idx="795">
                  <c:v>#N/A</c:v>
                </c:pt>
                <c:pt idx="796">
                  <c:v>#N/A</c:v>
                </c:pt>
                <c:pt idx="797">
                  <c:v>0.46027397260273972</c:v>
                </c:pt>
                <c:pt idx="798">
                  <c:v>#N/A</c:v>
                </c:pt>
                <c:pt idx="799">
                  <c:v>#N/A</c:v>
                </c:pt>
                <c:pt idx="800">
                  <c:v>#N/A</c:v>
                </c:pt>
                <c:pt idx="801">
                  <c:v>#N/A</c:v>
                </c:pt>
                <c:pt idx="802">
                  <c:v>#N/A</c:v>
                </c:pt>
                <c:pt idx="803">
                  <c:v>#N/A</c:v>
                </c:pt>
                <c:pt idx="804">
                  <c:v>#N/A</c:v>
                </c:pt>
                <c:pt idx="805">
                  <c:v>#N/A</c:v>
                </c:pt>
                <c:pt idx="806">
                  <c:v>#N/A</c:v>
                </c:pt>
                <c:pt idx="807">
                  <c:v>#N/A</c:v>
                </c:pt>
                <c:pt idx="808">
                  <c:v>#N/A</c:v>
                </c:pt>
                <c:pt idx="809">
                  <c:v>#N/A</c:v>
                </c:pt>
                <c:pt idx="810">
                  <c:v>#N/A</c:v>
                </c:pt>
                <c:pt idx="811">
                  <c:v>#N/A</c:v>
                </c:pt>
                <c:pt idx="812">
                  <c:v>0.46027397260273972</c:v>
                </c:pt>
                <c:pt idx="813">
                  <c:v>#N/A</c:v>
                </c:pt>
                <c:pt idx="814">
                  <c:v>#N/A</c:v>
                </c:pt>
                <c:pt idx="815">
                  <c:v>#N/A</c:v>
                </c:pt>
                <c:pt idx="816">
                  <c:v>#N/A</c:v>
                </c:pt>
                <c:pt idx="817">
                  <c:v>#N/A</c:v>
                </c:pt>
                <c:pt idx="818">
                  <c:v>#N/A</c:v>
                </c:pt>
                <c:pt idx="819">
                  <c:v>#N/A</c:v>
                </c:pt>
                <c:pt idx="820">
                  <c:v>#N/A</c:v>
                </c:pt>
                <c:pt idx="821">
                  <c:v>#N/A</c:v>
                </c:pt>
                <c:pt idx="822">
                  <c:v>#N/A</c:v>
                </c:pt>
                <c:pt idx="823">
                  <c:v>#N/A</c:v>
                </c:pt>
                <c:pt idx="824">
                  <c:v>#N/A</c:v>
                </c:pt>
                <c:pt idx="825">
                  <c:v>#N/A</c:v>
                </c:pt>
                <c:pt idx="826">
                  <c:v>#N/A</c:v>
                </c:pt>
                <c:pt idx="827">
                  <c:v>#N/A</c:v>
                </c:pt>
                <c:pt idx="828">
                  <c:v>#N/A</c:v>
                </c:pt>
                <c:pt idx="829">
                  <c:v>#N/A</c:v>
                </c:pt>
                <c:pt idx="830">
                  <c:v>#N/A</c:v>
                </c:pt>
                <c:pt idx="831">
                  <c:v>#N/A</c:v>
                </c:pt>
                <c:pt idx="832">
                  <c:v>#N/A</c:v>
                </c:pt>
                <c:pt idx="833">
                  <c:v>#N/A</c:v>
                </c:pt>
                <c:pt idx="834">
                  <c:v>#N/A</c:v>
                </c:pt>
                <c:pt idx="835">
                  <c:v>#N/A</c:v>
                </c:pt>
                <c:pt idx="836">
                  <c:v>#N/A</c:v>
                </c:pt>
                <c:pt idx="837">
                  <c:v>#N/A</c:v>
                </c:pt>
                <c:pt idx="838">
                  <c:v>#N/A</c:v>
                </c:pt>
                <c:pt idx="839">
                  <c:v>#N/A</c:v>
                </c:pt>
                <c:pt idx="840">
                  <c:v>#N/A</c:v>
                </c:pt>
                <c:pt idx="841">
                  <c:v>#N/A</c:v>
                </c:pt>
                <c:pt idx="842">
                  <c:v>#N/A</c:v>
                </c:pt>
                <c:pt idx="843">
                  <c:v>#N/A</c:v>
                </c:pt>
                <c:pt idx="844">
                  <c:v>#N/A</c:v>
                </c:pt>
                <c:pt idx="845">
                  <c:v>0.46027397260273972</c:v>
                </c:pt>
                <c:pt idx="846">
                  <c:v>#N/A</c:v>
                </c:pt>
                <c:pt idx="847">
                  <c:v>#N/A</c:v>
                </c:pt>
                <c:pt idx="848">
                  <c:v>#N/A</c:v>
                </c:pt>
                <c:pt idx="849">
                  <c:v>#N/A</c:v>
                </c:pt>
                <c:pt idx="850">
                  <c:v>0.46027397260273972</c:v>
                </c:pt>
                <c:pt idx="851">
                  <c:v>#N/A</c:v>
                </c:pt>
                <c:pt idx="852">
                  <c:v>#N/A</c:v>
                </c:pt>
                <c:pt idx="853">
                  <c:v>#N/A</c:v>
                </c:pt>
                <c:pt idx="854">
                  <c:v>#N/A</c:v>
                </c:pt>
                <c:pt idx="855">
                  <c:v>#N/A</c:v>
                </c:pt>
                <c:pt idx="856">
                  <c:v>#N/A</c:v>
                </c:pt>
                <c:pt idx="857">
                  <c:v>0.46027397260273972</c:v>
                </c:pt>
                <c:pt idx="858">
                  <c:v>#N/A</c:v>
                </c:pt>
                <c:pt idx="859">
                  <c:v>#N/A</c:v>
                </c:pt>
                <c:pt idx="860">
                  <c:v>#N/A</c:v>
                </c:pt>
                <c:pt idx="861">
                  <c:v>#N/A</c:v>
                </c:pt>
                <c:pt idx="862">
                  <c:v>#N/A</c:v>
                </c:pt>
                <c:pt idx="863">
                  <c:v>#N/A</c:v>
                </c:pt>
                <c:pt idx="864">
                  <c:v>#N/A</c:v>
                </c:pt>
                <c:pt idx="865">
                  <c:v>#N/A</c:v>
                </c:pt>
                <c:pt idx="866">
                  <c:v>#N/A</c:v>
                </c:pt>
                <c:pt idx="867">
                  <c:v>#N/A</c:v>
                </c:pt>
                <c:pt idx="868">
                  <c:v>#N/A</c:v>
                </c:pt>
                <c:pt idx="869">
                  <c:v>0.46027397260273972</c:v>
                </c:pt>
                <c:pt idx="870">
                  <c:v>#N/A</c:v>
                </c:pt>
                <c:pt idx="871">
                  <c:v>#N/A</c:v>
                </c:pt>
                <c:pt idx="872">
                  <c:v>#N/A</c:v>
                </c:pt>
                <c:pt idx="873">
                  <c:v>#N/A</c:v>
                </c:pt>
                <c:pt idx="874">
                  <c:v>#N/A</c:v>
                </c:pt>
                <c:pt idx="875">
                  <c:v>#N/A</c:v>
                </c:pt>
                <c:pt idx="876">
                  <c:v>#N/A</c:v>
                </c:pt>
                <c:pt idx="877">
                  <c:v>#N/A</c:v>
                </c:pt>
                <c:pt idx="878">
                  <c:v>#N/A</c:v>
                </c:pt>
                <c:pt idx="879">
                  <c:v>#N/A</c:v>
                </c:pt>
                <c:pt idx="880">
                  <c:v>#N/A</c:v>
                </c:pt>
                <c:pt idx="881">
                  <c:v>#N/A</c:v>
                </c:pt>
                <c:pt idx="882">
                  <c:v>#N/A</c:v>
                </c:pt>
                <c:pt idx="883">
                  <c:v>#N/A</c:v>
                </c:pt>
                <c:pt idx="884">
                  <c:v>#N/A</c:v>
                </c:pt>
                <c:pt idx="885">
                  <c:v>#N/A</c:v>
                </c:pt>
                <c:pt idx="886">
                  <c:v>#N/A</c:v>
                </c:pt>
                <c:pt idx="887">
                  <c:v>#N/A</c:v>
                </c:pt>
                <c:pt idx="888">
                  <c:v>#N/A</c:v>
                </c:pt>
                <c:pt idx="889">
                  <c:v>#N/A</c:v>
                </c:pt>
                <c:pt idx="890">
                  <c:v>0.46027397260273972</c:v>
                </c:pt>
                <c:pt idx="891">
                  <c:v>#N/A</c:v>
                </c:pt>
                <c:pt idx="892">
                  <c:v>#N/A</c:v>
                </c:pt>
                <c:pt idx="893">
                  <c:v>#N/A</c:v>
                </c:pt>
                <c:pt idx="894">
                  <c:v>0.46027397260273972</c:v>
                </c:pt>
                <c:pt idx="895">
                  <c:v>#N/A</c:v>
                </c:pt>
                <c:pt idx="896">
                  <c:v>#N/A</c:v>
                </c:pt>
                <c:pt idx="897">
                  <c:v>#N/A</c:v>
                </c:pt>
                <c:pt idx="898">
                  <c:v>#N/A</c:v>
                </c:pt>
                <c:pt idx="899">
                  <c:v>#N/A</c:v>
                </c:pt>
                <c:pt idx="900">
                  <c:v>#N/A</c:v>
                </c:pt>
                <c:pt idx="901">
                  <c:v>#N/A</c:v>
                </c:pt>
                <c:pt idx="902">
                  <c:v>#N/A</c:v>
                </c:pt>
                <c:pt idx="903">
                  <c:v>#N/A</c:v>
                </c:pt>
                <c:pt idx="904">
                  <c:v>#N/A</c:v>
                </c:pt>
                <c:pt idx="905">
                  <c:v>#N/A</c:v>
                </c:pt>
                <c:pt idx="906">
                  <c:v>#N/A</c:v>
                </c:pt>
                <c:pt idx="907">
                  <c:v>#N/A</c:v>
                </c:pt>
                <c:pt idx="908">
                  <c:v>#N/A</c:v>
                </c:pt>
                <c:pt idx="909">
                  <c:v>#N/A</c:v>
                </c:pt>
                <c:pt idx="910">
                  <c:v>#N/A</c:v>
                </c:pt>
                <c:pt idx="911">
                  <c:v>#N/A</c:v>
                </c:pt>
                <c:pt idx="912">
                  <c:v>#N/A</c:v>
                </c:pt>
                <c:pt idx="913">
                  <c:v>#N/A</c:v>
                </c:pt>
                <c:pt idx="914">
                  <c:v>#N/A</c:v>
                </c:pt>
                <c:pt idx="915">
                  <c:v>#N/A</c:v>
                </c:pt>
                <c:pt idx="916">
                  <c:v>#N/A</c:v>
                </c:pt>
                <c:pt idx="917">
                  <c:v>#N/A</c:v>
                </c:pt>
                <c:pt idx="918">
                  <c:v>#N/A</c:v>
                </c:pt>
                <c:pt idx="919">
                  <c:v>#N/A</c:v>
                </c:pt>
                <c:pt idx="920">
                  <c:v>#N/A</c:v>
                </c:pt>
                <c:pt idx="921">
                  <c:v>#N/A</c:v>
                </c:pt>
                <c:pt idx="922">
                  <c:v>#N/A</c:v>
                </c:pt>
                <c:pt idx="923">
                  <c:v>#N/A</c:v>
                </c:pt>
                <c:pt idx="924">
                  <c:v>#N/A</c:v>
                </c:pt>
                <c:pt idx="925">
                  <c:v>#N/A</c:v>
                </c:pt>
                <c:pt idx="926">
                  <c:v>#N/A</c:v>
                </c:pt>
                <c:pt idx="927">
                  <c:v>#N/A</c:v>
                </c:pt>
                <c:pt idx="928">
                  <c:v>#N/A</c:v>
                </c:pt>
                <c:pt idx="929">
                  <c:v>#N/A</c:v>
                </c:pt>
                <c:pt idx="930">
                  <c:v>#N/A</c:v>
                </c:pt>
                <c:pt idx="931">
                  <c:v>#N/A</c:v>
                </c:pt>
                <c:pt idx="932">
                  <c:v>#N/A</c:v>
                </c:pt>
                <c:pt idx="933">
                  <c:v>#N/A</c:v>
                </c:pt>
                <c:pt idx="934">
                  <c:v>#N/A</c:v>
                </c:pt>
                <c:pt idx="935">
                  <c:v>#N/A</c:v>
                </c:pt>
                <c:pt idx="936">
                  <c:v>#N/A</c:v>
                </c:pt>
                <c:pt idx="937">
                  <c:v>#N/A</c:v>
                </c:pt>
                <c:pt idx="938">
                  <c:v>#N/A</c:v>
                </c:pt>
                <c:pt idx="939">
                  <c:v>#N/A</c:v>
                </c:pt>
                <c:pt idx="940">
                  <c:v>#N/A</c:v>
                </c:pt>
                <c:pt idx="941">
                  <c:v>#N/A</c:v>
                </c:pt>
                <c:pt idx="942">
                  <c:v>#N/A</c:v>
                </c:pt>
                <c:pt idx="943">
                  <c:v>#N/A</c:v>
                </c:pt>
                <c:pt idx="944">
                  <c:v>#N/A</c:v>
                </c:pt>
                <c:pt idx="945">
                  <c:v>#N/A</c:v>
                </c:pt>
                <c:pt idx="946">
                  <c:v>#N/A</c:v>
                </c:pt>
                <c:pt idx="947">
                  <c:v>#N/A</c:v>
                </c:pt>
                <c:pt idx="948">
                  <c:v>#N/A</c:v>
                </c:pt>
                <c:pt idx="949">
                  <c:v>#N/A</c:v>
                </c:pt>
                <c:pt idx="950">
                  <c:v>#N/A</c:v>
                </c:pt>
                <c:pt idx="951">
                  <c:v>#N/A</c:v>
                </c:pt>
                <c:pt idx="952">
                  <c:v>#N/A</c:v>
                </c:pt>
                <c:pt idx="953">
                  <c:v>#N/A</c:v>
                </c:pt>
                <c:pt idx="954">
                  <c:v>#N/A</c:v>
                </c:pt>
                <c:pt idx="955">
                  <c:v>#N/A</c:v>
                </c:pt>
                <c:pt idx="956">
                  <c:v>#N/A</c:v>
                </c:pt>
                <c:pt idx="957">
                  <c:v>#N/A</c:v>
                </c:pt>
                <c:pt idx="958">
                  <c:v>#N/A</c:v>
                </c:pt>
                <c:pt idx="959">
                  <c:v>#N/A</c:v>
                </c:pt>
                <c:pt idx="960">
                  <c:v>#N/A</c:v>
                </c:pt>
                <c:pt idx="961">
                  <c:v>#N/A</c:v>
                </c:pt>
                <c:pt idx="962">
                  <c:v>#N/A</c:v>
                </c:pt>
                <c:pt idx="963">
                  <c:v>#N/A</c:v>
                </c:pt>
                <c:pt idx="964">
                  <c:v>#N/A</c:v>
                </c:pt>
                <c:pt idx="965">
                  <c:v>#N/A</c:v>
                </c:pt>
                <c:pt idx="966">
                  <c:v>#N/A</c:v>
                </c:pt>
                <c:pt idx="967">
                  <c:v>#N/A</c:v>
                </c:pt>
                <c:pt idx="968">
                  <c:v>#N/A</c:v>
                </c:pt>
                <c:pt idx="969">
                  <c:v>#N/A</c:v>
                </c:pt>
                <c:pt idx="970">
                  <c:v>#N/A</c:v>
                </c:pt>
                <c:pt idx="971">
                  <c:v>#N/A</c:v>
                </c:pt>
                <c:pt idx="972">
                  <c:v>#N/A</c:v>
                </c:pt>
                <c:pt idx="973">
                  <c:v>#N/A</c:v>
                </c:pt>
                <c:pt idx="974">
                  <c:v>#N/A</c:v>
                </c:pt>
                <c:pt idx="975">
                  <c:v>#N/A</c:v>
                </c:pt>
                <c:pt idx="976">
                  <c:v>#N/A</c:v>
                </c:pt>
                <c:pt idx="977">
                  <c:v>#N/A</c:v>
                </c:pt>
                <c:pt idx="978">
                  <c:v>#N/A</c:v>
                </c:pt>
                <c:pt idx="979">
                  <c:v>#N/A</c:v>
                </c:pt>
                <c:pt idx="980">
                  <c:v>#N/A</c:v>
                </c:pt>
                <c:pt idx="981">
                  <c:v>#N/A</c:v>
                </c:pt>
                <c:pt idx="982">
                  <c:v>#N/A</c:v>
                </c:pt>
                <c:pt idx="983">
                  <c:v>#N/A</c:v>
                </c:pt>
                <c:pt idx="984">
                  <c:v>#N/A</c:v>
                </c:pt>
                <c:pt idx="985">
                  <c:v>#N/A</c:v>
                </c:pt>
                <c:pt idx="986">
                  <c:v>#N/A</c:v>
                </c:pt>
                <c:pt idx="987">
                  <c:v>#N/A</c:v>
                </c:pt>
                <c:pt idx="988">
                  <c:v>#N/A</c:v>
                </c:pt>
                <c:pt idx="989">
                  <c:v>#N/A</c:v>
                </c:pt>
                <c:pt idx="990">
                  <c:v>#N/A</c:v>
                </c:pt>
                <c:pt idx="991">
                  <c:v>#N/A</c:v>
                </c:pt>
                <c:pt idx="992">
                  <c:v>#N/A</c:v>
                </c:pt>
                <c:pt idx="993">
                  <c:v>#N/A</c:v>
                </c:pt>
                <c:pt idx="994">
                  <c:v>#N/A</c:v>
                </c:pt>
                <c:pt idx="995">
                  <c:v>#N/A</c:v>
                </c:pt>
                <c:pt idx="996">
                  <c:v>#N/A</c:v>
                </c:pt>
                <c:pt idx="997">
                  <c:v>#N/A</c:v>
                </c:pt>
                <c:pt idx="998">
                  <c:v>#N/A</c:v>
                </c:pt>
                <c:pt idx="999">
                  <c:v>#N/A</c:v>
                </c:pt>
                <c:pt idx="1000">
                  <c:v>#N/A</c:v>
                </c:pt>
                <c:pt idx="1001">
                  <c:v>#N/A</c:v>
                </c:pt>
                <c:pt idx="1002">
                  <c:v>#N/A</c:v>
                </c:pt>
                <c:pt idx="1003">
                  <c:v>#N/A</c:v>
                </c:pt>
                <c:pt idx="1004">
                  <c:v>#N/A</c:v>
                </c:pt>
                <c:pt idx="1005">
                  <c:v>#N/A</c:v>
                </c:pt>
                <c:pt idx="1006">
                  <c:v>#N/A</c:v>
                </c:pt>
                <c:pt idx="1007">
                  <c:v>#N/A</c:v>
                </c:pt>
                <c:pt idx="1008">
                  <c:v>#N/A</c:v>
                </c:pt>
                <c:pt idx="1009">
                  <c:v>#N/A</c:v>
                </c:pt>
                <c:pt idx="1010">
                  <c:v>#N/A</c:v>
                </c:pt>
                <c:pt idx="1011">
                  <c:v>#N/A</c:v>
                </c:pt>
                <c:pt idx="1012">
                  <c:v>#N/A</c:v>
                </c:pt>
                <c:pt idx="1013">
                  <c:v>#N/A</c:v>
                </c:pt>
                <c:pt idx="1014">
                  <c:v>#N/A</c:v>
                </c:pt>
                <c:pt idx="1015">
                  <c:v>#N/A</c:v>
                </c:pt>
                <c:pt idx="1016">
                  <c:v>#N/A</c:v>
                </c:pt>
                <c:pt idx="1017">
                  <c:v>#N/A</c:v>
                </c:pt>
                <c:pt idx="1018">
                  <c:v>#N/A</c:v>
                </c:pt>
                <c:pt idx="1019">
                  <c:v>#N/A</c:v>
                </c:pt>
                <c:pt idx="1020">
                  <c:v>#N/A</c:v>
                </c:pt>
                <c:pt idx="1021">
                  <c:v>#N/A</c:v>
                </c:pt>
                <c:pt idx="1022">
                  <c:v>#N/A</c:v>
                </c:pt>
                <c:pt idx="1023">
                  <c:v>#N/A</c:v>
                </c:pt>
                <c:pt idx="1024">
                  <c:v>#N/A</c:v>
                </c:pt>
                <c:pt idx="1025">
                  <c:v>#N/A</c:v>
                </c:pt>
                <c:pt idx="1026">
                  <c:v>#N/A</c:v>
                </c:pt>
                <c:pt idx="1027">
                  <c:v>#N/A</c:v>
                </c:pt>
                <c:pt idx="1028">
                  <c:v>#N/A</c:v>
                </c:pt>
                <c:pt idx="1029">
                  <c:v>#N/A</c:v>
                </c:pt>
                <c:pt idx="1030">
                  <c:v>#N/A</c:v>
                </c:pt>
                <c:pt idx="1031">
                  <c:v>#N/A</c:v>
                </c:pt>
                <c:pt idx="1032">
                  <c:v>#N/A</c:v>
                </c:pt>
                <c:pt idx="1033">
                  <c:v>#N/A</c:v>
                </c:pt>
                <c:pt idx="1034">
                  <c:v>#N/A</c:v>
                </c:pt>
                <c:pt idx="1035">
                  <c:v>#N/A</c:v>
                </c:pt>
                <c:pt idx="1036">
                  <c:v>#N/A</c:v>
                </c:pt>
                <c:pt idx="1037">
                  <c:v>#N/A</c:v>
                </c:pt>
                <c:pt idx="1038">
                  <c:v>#N/A</c:v>
                </c:pt>
                <c:pt idx="1039">
                  <c:v>#N/A</c:v>
                </c:pt>
                <c:pt idx="1040">
                  <c:v>#N/A</c:v>
                </c:pt>
                <c:pt idx="1041">
                  <c:v>#N/A</c:v>
                </c:pt>
                <c:pt idx="1042">
                  <c:v>#N/A</c:v>
                </c:pt>
                <c:pt idx="1043">
                  <c:v>#N/A</c:v>
                </c:pt>
                <c:pt idx="1044">
                  <c:v>#N/A</c:v>
                </c:pt>
                <c:pt idx="1045">
                  <c:v>#N/A</c:v>
                </c:pt>
                <c:pt idx="1046">
                  <c:v>#N/A</c:v>
                </c:pt>
                <c:pt idx="1047">
                  <c:v>#N/A</c:v>
                </c:pt>
                <c:pt idx="1048">
                  <c:v>#N/A</c:v>
                </c:pt>
                <c:pt idx="1049">
                  <c:v>#N/A</c:v>
                </c:pt>
                <c:pt idx="1050">
                  <c:v>#N/A</c:v>
                </c:pt>
                <c:pt idx="1051">
                  <c:v>#N/A</c:v>
                </c:pt>
                <c:pt idx="1052">
                  <c:v>#N/A</c:v>
                </c:pt>
                <c:pt idx="1053">
                  <c:v>#N/A</c:v>
                </c:pt>
                <c:pt idx="1054">
                  <c:v>#N/A</c:v>
                </c:pt>
                <c:pt idx="1055">
                  <c:v>#N/A</c:v>
                </c:pt>
                <c:pt idx="1056">
                  <c:v>#N/A</c:v>
                </c:pt>
                <c:pt idx="1057">
                  <c:v>#N/A</c:v>
                </c:pt>
                <c:pt idx="1058">
                  <c:v>#N/A</c:v>
                </c:pt>
                <c:pt idx="1059">
                  <c:v>#N/A</c:v>
                </c:pt>
                <c:pt idx="1060">
                  <c:v>#N/A</c:v>
                </c:pt>
                <c:pt idx="1061">
                  <c:v>#N/A</c:v>
                </c:pt>
                <c:pt idx="1062">
                  <c:v>#N/A</c:v>
                </c:pt>
                <c:pt idx="1063">
                  <c:v>#N/A</c:v>
                </c:pt>
                <c:pt idx="1064">
                  <c:v>#N/A</c:v>
                </c:pt>
                <c:pt idx="1065">
                  <c:v>#N/A</c:v>
                </c:pt>
                <c:pt idx="1066">
                  <c:v>#N/A</c:v>
                </c:pt>
                <c:pt idx="1067">
                  <c:v>#N/A</c:v>
                </c:pt>
                <c:pt idx="1068">
                  <c:v>#N/A</c:v>
                </c:pt>
                <c:pt idx="1069">
                  <c:v>#N/A</c:v>
                </c:pt>
                <c:pt idx="1070">
                  <c:v>#N/A</c:v>
                </c:pt>
                <c:pt idx="1071">
                  <c:v>#N/A</c:v>
                </c:pt>
                <c:pt idx="1072">
                  <c:v>#N/A</c:v>
                </c:pt>
                <c:pt idx="1073">
                  <c:v>#N/A</c:v>
                </c:pt>
                <c:pt idx="1074">
                  <c:v>#N/A</c:v>
                </c:pt>
                <c:pt idx="1075">
                  <c:v>#N/A</c:v>
                </c:pt>
                <c:pt idx="1076">
                  <c:v>#N/A</c:v>
                </c:pt>
                <c:pt idx="1077">
                  <c:v>#N/A</c:v>
                </c:pt>
                <c:pt idx="1078">
                  <c:v>#N/A</c:v>
                </c:pt>
                <c:pt idx="1079">
                  <c:v>#N/A</c:v>
                </c:pt>
                <c:pt idx="1080">
                  <c:v>#N/A</c:v>
                </c:pt>
                <c:pt idx="1081">
                  <c:v>#N/A</c:v>
                </c:pt>
                <c:pt idx="1082">
                  <c:v>#N/A</c:v>
                </c:pt>
                <c:pt idx="1083">
                  <c:v>#N/A</c:v>
                </c:pt>
                <c:pt idx="1084">
                  <c:v>#N/A</c:v>
                </c:pt>
                <c:pt idx="1085">
                  <c:v>#N/A</c:v>
                </c:pt>
                <c:pt idx="1086">
                  <c:v>#N/A</c:v>
                </c:pt>
                <c:pt idx="1087">
                  <c:v>#N/A</c:v>
                </c:pt>
                <c:pt idx="1088">
                  <c:v>0.47671232876712327</c:v>
                </c:pt>
                <c:pt idx="1089">
                  <c:v>#N/A</c:v>
                </c:pt>
                <c:pt idx="1090">
                  <c:v>0.47671232876712327</c:v>
                </c:pt>
                <c:pt idx="1091">
                  <c:v>#N/A</c:v>
                </c:pt>
                <c:pt idx="1092">
                  <c:v>#N/A</c:v>
                </c:pt>
                <c:pt idx="1093">
                  <c:v>0.47671232876712327</c:v>
                </c:pt>
                <c:pt idx="1094">
                  <c:v>#N/A</c:v>
                </c:pt>
                <c:pt idx="1095">
                  <c:v>#N/A</c:v>
                </c:pt>
                <c:pt idx="1096">
                  <c:v>#N/A</c:v>
                </c:pt>
                <c:pt idx="1097">
                  <c:v>#N/A</c:v>
                </c:pt>
                <c:pt idx="1098">
                  <c:v>#N/A</c:v>
                </c:pt>
                <c:pt idx="1099">
                  <c:v>#N/A</c:v>
                </c:pt>
                <c:pt idx="1100">
                  <c:v>#N/A</c:v>
                </c:pt>
                <c:pt idx="1101">
                  <c:v>#N/A</c:v>
                </c:pt>
                <c:pt idx="1102">
                  <c:v>#N/A</c:v>
                </c:pt>
                <c:pt idx="1103">
                  <c:v>#N/A</c:v>
                </c:pt>
                <c:pt idx="1104">
                  <c:v>#N/A</c:v>
                </c:pt>
                <c:pt idx="1105">
                  <c:v>#N/A</c:v>
                </c:pt>
                <c:pt idx="1106">
                  <c:v>#N/A</c:v>
                </c:pt>
                <c:pt idx="1107">
                  <c:v>#N/A</c:v>
                </c:pt>
                <c:pt idx="1108">
                  <c:v>#N/A</c:v>
                </c:pt>
                <c:pt idx="1109">
                  <c:v>#N/A</c:v>
                </c:pt>
                <c:pt idx="1110">
                  <c:v>#N/A</c:v>
                </c:pt>
                <c:pt idx="1111">
                  <c:v>#N/A</c:v>
                </c:pt>
                <c:pt idx="1112">
                  <c:v>#N/A</c:v>
                </c:pt>
                <c:pt idx="1113">
                  <c:v>#N/A</c:v>
                </c:pt>
                <c:pt idx="1114">
                  <c:v>#N/A</c:v>
                </c:pt>
                <c:pt idx="1115">
                  <c:v>#N/A</c:v>
                </c:pt>
                <c:pt idx="1116">
                  <c:v>0.48219178082191783</c:v>
                </c:pt>
                <c:pt idx="1117">
                  <c:v>#N/A</c:v>
                </c:pt>
                <c:pt idx="1118">
                  <c:v>#N/A</c:v>
                </c:pt>
                <c:pt idx="1119">
                  <c:v>#N/A</c:v>
                </c:pt>
                <c:pt idx="1120">
                  <c:v>#N/A</c:v>
                </c:pt>
                <c:pt idx="1121">
                  <c:v>#N/A</c:v>
                </c:pt>
                <c:pt idx="1122">
                  <c:v>#N/A</c:v>
                </c:pt>
                <c:pt idx="1123">
                  <c:v>#N/A</c:v>
                </c:pt>
                <c:pt idx="1124">
                  <c:v>#N/A</c:v>
                </c:pt>
                <c:pt idx="1125">
                  <c:v>#N/A</c:v>
                </c:pt>
                <c:pt idx="1126">
                  <c:v>#N/A</c:v>
                </c:pt>
                <c:pt idx="1127">
                  <c:v>#N/A</c:v>
                </c:pt>
                <c:pt idx="1128">
                  <c:v>#N/A</c:v>
                </c:pt>
                <c:pt idx="1129">
                  <c:v>#N/A</c:v>
                </c:pt>
                <c:pt idx="1130">
                  <c:v>#N/A</c:v>
                </c:pt>
                <c:pt idx="1131">
                  <c:v>#N/A</c:v>
                </c:pt>
                <c:pt idx="1132">
                  <c:v>#N/A</c:v>
                </c:pt>
                <c:pt idx="1133">
                  <c:v>#N/A</c:v>
                </c:pt>
                <c:pt idx="1134">
                  <c:v>#N/A</c:v>
                </c:pt>
                <c:pt idx="1135">
                  <c:v>#N/A</c:v>
                </c:pt>
                <c:pt idx="1136">
                  <c:v>#N/A</c:v>
                </c:pt>
                <c:pt idx="1137">
                  <c:v>#N/A</c:v>
                </c:pt>
                <c:pt idx="1138">
                  <c:v>#N/A</c:v>
                </c:pt>
                <c:pt idx="1139">
                  <c:v>#N/A</c:v>
                </c:pt>
                <c:pt idx="1140">
                  <c:v>#N/A</c:v>
                </c:pt>
                <c:pt idx="1141">
                  <c:v>#N/A</c:v>
                </c:pt>
                <c:pt idx="1142">
                  <c:v>#N/A</c:v>
                </c:pt>
                <c:pt idx="1143">
                  <c:v>#N/A</c:v>
                </c:pt>
                <c:pt idx="1144">
                  <c:v>#N/A</c:v>
                </c:pt>
                <c:pt idx="1145">
                  <c:v>#N/A</c:v>
                </c:pt>
                <c:pt idx="1146">
                  <c:v>#N/A</c:v>
                </c:pt>
                <c:pt idx="1147">
                  <c:v>#N/A</c:v>
                </c:pt>
                <c:pt idx="1148">
                  <c:v>#N/A</c:v>
                </c:pt>
                <c:pt idx="1149">
                  <c:v>#N/A</c:v>
                </c:pt>
                <c:pt idx="1150">
                  <c:v>#N/A</c:v>
                </c:pt>
                <c:pt idx="1151">
                  <c:v>#N/A</c:v>
                </c:pt>
                <c:pt idx="1152">
                  <c:v>#N/A</c:v>
                </c:pt>
                <c:pt idx="1153">
                  <c:v>#N/A</c:v>
                </c:pt>
                <c:pt idx="1154">
                  <c:v>#N/A</c:v>
                </c:pt>
                <c:pt idx="1155">
                  <c:v>#N/A</c:v>
                </c:pt>
                <c:pt idx="1156">
                  <c:v>#N/A</c:v>
                </c:pt>
                <c:pt idx="1157">
                  <c:v>#N/A</c:v>
                </c:pt>
                <c:pt idx="1158">
                  <c:v>#N/A</c:v>
                </c:pt>
                <c:pt idx="1159">
                  <c:v>#N/A</c:v>
                </c:pt>
                <c:pt idx="1160">
                  <c:v>#N/A</c:v>
                </c:pt>
                <c:pt idx="1161">
                  <c:v>#N/A</c:v>
                </c:pt>
                <c:pt idx="1162">
                  <c:v>#N/A</c:v>
                </c:pt>
                <c:pt idx="1163">
                  <c:v>#N/A</c:v>
                </c:pt>
                <c:pt idx="1164">
                  <c:v>#N/A</c:v>
                </c:pt>
                <c:pt idx="1165">
                  <c:v>#N/A</c:v>
                </c:pt>
                <c:pt idx="1166">
                  <c:v>#N/A</c:v>
                </c:pt>
                <c:pt idx="1167">
                  <c:v>#N/A</c:v>
                </c:pt>
                <c:pt idx="1168">
                  <c:v>#N/A</c:v>
                </c:pt>
                <c:pt idx="1169">
                  <c:v>#N/A</c:v>
                </c:pt>
                <c:pt idx="1170">
                  <c:v>#N/A</c:v>
                </c:pt>
                <c:pt idx="1171">
                  <c:v>#N/A</c:v>
                </c:pt>
                <c:pt idx="1172">
                  <c:v>#N/A</c:v>
                </c:pt>
                <c:pt idx="1173">
                  <c:v>#N/A</c:v>
                </c:pt>
                <c:pt idx="1174">
                  <c:v>#N/A</c:v>
                </c:pt>
                <c:pt idx="1175">
                  <c:v>#N/A</c:v>
                </c:pt>
                <c:pt idx="1176">
                  <c:v>#N/A</c:v>
                </c:pt>
                <c:pt idx="1177">
                  <c:v>#N/A</c:v>
                </c:pt>
                <c:pt idx="1178">
                  <c:v>#N/A</c:v>
                </c:pt>
                <c:pt idx="1179">
                  <c:v>#N/A</c:v>
                </c:pt>
                <c:pt idx="1180">
                  <c:v>#N/A</c:v>
                </c:pt>
                <c:pt idx="1181">
                  <c:v>#N/A</c:v>
                </c:pt>
                <c:pt idx="1182">
                  <c:v>#N/A</c:v>
                </c:pt>
                <c:pt idx="1183">
                  <c:v>#N/A</c:v>
                </c:pt>
                <c:pt idx="1184">
                  <c:v>#N/A</c:v>
                </c:pt>
                <c:pt idx="1185">
                  <c:v>#N/A</c:v>
                </c:pt>
                <c:pt idx="1186">
                  <c:v>#N/A</c:v>
                </c:pt>
                <c:pt idx="1187">
                  <c:v>#N/A</c:v>
                </c:pt>
                <c:pt idx="1188">
                  <c:v>#N/A</c:v>
                </c:pt>
                <c:pt idx="1189">
                  <c:v>#N/A</c:v>
                </c:pt>
                <c:pt idx="1190">
                  <c:v>#N/A</c:v>
                </c:pt>
                <c:pt idx="1191">
                  <c:v>#N/A</c:v>
                </c:pt>
                <c:pt idx="1192">
                  <c:v>#N/A</c:v>
                </c:pt>
                <c:pt idx="1193">
                  <c:v>#N/A</c:v>
                </c:pt>
                <c:pt idx="1194">
                  <c:v>#N/A</c:v>
                </c:pt>
                <c:pt idx="1195">
                  <c:v>#N/A</c:v>
                </c:pt>
                <c:pt idx="1196">
                  <c:v>#N/A</c:v>
                </c:pt>
                <c:pt idx="1197">
                  <c:v>#N/A</c:v>
                </c:pt>
                <c:pt idx="1198">
                  <c:v>#N/A</c:v>
                </c:pt>
                <c:pt idx="1199">
                  <c:v>#N/A</c:v>
                </c:pt>
                <c:pt idx="1200">
                  <c:v>#N/A</c:v>
                </c:pt>
                <c:pt idx="1201">
                  <c:v>#N/A</c:v>
                </c:pt>
                <c:pt idx="1202">
                  <c:v>#N/A</c:v>
                </c:pt>
                <c:pt idx="1203">
                  <c:v>#N/A</c:v>
                </c:pt>
                <c:pt idx="1204">
                  <c:v>#N/A</c:v>
                </c:pt>
                <c:pt idx="1205">
                  <c:v>#N/A</c:v>
                </c:pt>
                <c:pt idx="1206">
                  <c:v>#N/A</c:v>
                </c:pt>
                <c:pt idx="1207">
                  <c:v>#N/A</c:v>
                </c:pt>
                <c:pt idx="1208">
                  <c:v>#N/A</c:v>
                </c:pt>
                <c:pt idx="1209">
                  <c:v>#N/A</c:v>
                </c:pt>
                <c:pt idx="1210">
                  <c:v>#N/A</c:v>
                </c:pt>
                <c:pt idx="1211">
                  <c:v>#N/A</c:v>
                </c:pt>
                <c:pt idx="1212">
                  <c:v>#N/A</c:v>
                </c:pt>
                <c:pt idx="1213">
                  <c:v>#N/A</c:v>
                </c:pt>
                <c:pt idx="1214">
                  <c:v>#N/A</c:v>
                </c:pt>
                <c:pt idx="1215">
                  <c:v>#N/A</c:v>
                </c:pt>
                <c:pt idx="1216">
                  <c:v>#N/A</c:v>
                </c:pt>
                <c:pt idx="1217">
                  <c:v>#N/A</c:v>
                </c:pt>
                <c:pt idx="1218">
                  <c:v>#N/A</c:v>
                </c:pt>
                <c:pt idx="1219">
                  <c:v>#N/A</c:v>
                </c:pt>
                <c:pt idx="1220">
                  <c:v>#N/A</c:v>
                </c:pt>
                <c:pt idx="1221">
                  <c:v>#N/A</c:v>
                </c:pt>
                <c:pt idx="1222">
                  <c:v>#N/A</c:v>
                </c:pt>
                <c:pt idx="1223">
                  <c:v>#N/A</c:v>
                </c:pt>
                <c:pt idx="1224">
                  <c:v>#N/A</c:v>
                </c:pt>
                <c:pt idx="1225">
                  <c:v>#N/A</c:v>
                </c:pt>
                <c:pt idx="1226">
                  <c:v>#N/A</c:v>
                </c:pt>
                <c:pt idx="1227">
                  <c:v>#N/A</c:v>
                </c:pt>
                <c:pt idx="1228">
                  <c:v>#N/A</c:v>
                </c:pt>
                <c:pt idx="1229">
                  <c:v>#N/A</c:v>
                </c:pt>
                <c:pt idx="1230">
                  <c:v>#N/A</c:v>
                </c:pt>
                <c:pt idx="1231">
                  <c:v>#N/A</c:v>
                </c:pt>
                <c:pt idx="1232">
                  <c:v>#N/A</c:v>
                </c:pt>
                <c:pt idx="1233">
                  <c:v>#N/A</c:v>
                </c:pt>
                <c:pt idx="1234">
                  <c:v>#N/A</c:v>
                </c:pt>
                <c:pt idx="1235">
                  <c:v>#N/A</c:v>
                </c:pt>
                <c:pt idx="1236">
                  <c:v>#N/A</c:v>
                </c:pt>
                <c:pt idx="1237">
                  <c:v>#N/A</c:v>
                </c:pt>
                <c:pt idx="1238">
                  <c:v>#N/A</c:v>
                </c:pt>
                <c:pt idx="1239">
                  <c:v>#N/A</c:v>
                </c:pt>
                <c:pt idx="1240">
                  <c:v>#N/A</c:v>
                </c:pt>
                <c:pt idx="1241">
                  <c:v>#N/A</c:v>
                </c:pt>
                <c:pt idx="1242">
                  <c:v>#N/A</c:v>
                </c:pt>
                <c:pt idx="1243">
                  <c:v>#N/A</c:v>
                </c:pt>
                <c:pt idx="1244">
                  <c:v>#N/A</c:v>
                </c:pt>
                <c:pt idx="1245">
                  <c:v>#N/A</c:v>
                </c:pt>
                <c:pt idx="1246">
                  <c:v>#N/A</c:v>
                </c:pt>
                <c:pt idx="1247">
                  <c:v>#N/A</c:v>
                </c:pt>
                <c:pt idx="1248">
                  <c:v>#N/A</c:v>
                </c:pt>
                <c:pt idx="1249">
                  <c:v>#N/A</c:v>
                </c:pt>
                <c:pt idx="1250">
                  <c:v>#N/A</c:v>
                </c:pt>
                <c:pt idx="1251">
                  <c:v>#N/A</c:v>
                </c:pt>
                <c:pt idx="1252">
                  <c:v>#N/A</c:v>
                </c:pt>
                <c:pt idx="1253">
                  <c:v>#N/A</c:v>
                </c:pt>
                <c:pt idx="1254">
                  <c:v>#N/A</c:v>
                </c:pt>
                <c:pt idx="1255">
                  <c:v>#N/A</c:v>
                </c:pt>
                <c:pt idx="1256">
                  <c:v>#N/A</c:v>
                </c:pt>
                <c:pt idx="1257">
                  <c:v>#N/A</c:v>
                </c:pt>
                <c:pt idx="1258">
                  <c:v>#N/A</c:v>
                </c:pt>
                <c:pt idx="1259">
                  <c:v>#N/A</c:v>
                </c:pt>
                <c:pt idx="1260">
                  <c:v>#N/A</c:v>
                </c:pt>
                <c:pt idx="1261">
                  <c:v>#N/A</c:v>
                </c:pt>
                <c:pt idx="1262">
                  <c:v>#N/A</c:v>
                </c:pt>
                <c:pt idx="1263">
                  <c:v>#N/A</c:v>
                </c:pt>
                <c:pt idx="1264">
                  <c:v>0.53150684931506853</c:v>
                </c:pt>
                <c:pt idx="1265">
                  <c:v>#N/A</c:v>
                </c:pt>
                <c:pt idx="1266">
                  <c:v>#N/A</c:v>
                </c:pt>
                <c:pt idx="1267">
                  <c:v>#N/A</c:v>
                </c:pt>
                <c:pt idx="1268">
                  <c:v>#N/A</c:v>
                </c:pt>
                <c:pt idx="1269">
                  <c:v>#N/A</c:v>
                </c:pt>
                <c:pt idx="1270">
                  <c:v>#N/A</c:v>
                </c:pt>
                <c:pt idx="1271">
                  <c:v>#N/A</c:v>
                </c:pt>
                <c:pt idx="1272">
                  <c:v>#N/A</c:v>
                </c:pt>
                <c:pt idx="1273">
                  <c:v>#N/A</c:v>
                </c:pt>
                <c:pt idx="1274">
                  <c:v>#N/A</c:v>
                </c:pt>
                <c:pt idx="1275">
                  <c:v>#N/A</c:v>
                </c:pt>
                <c:pt idx="1276">
                  <c:v>#N/A</c:v>
                </c:pt>
                <c:pt idx="1277">
                  <c:v>#N/A</c:v>
                </c:pt>
                <c:pt idx="1278">
                  <c:v>#N/A</c:v>
                </c:pt>
                <c:pt idx="1279">
                  <c:v>#N/A</c:v>
                </c:pt>
                <c:pt idx="1280">
                  <c:v>#N/A</c:v>
                </c:pt>
                <c:pt idx="1281">
                  <c:v>#N/A</c:v>
                </c:pt>
                <c:pt idx="1282">
                  <c:v>#N/A</c:v>
                </c:pt>
                <c:pt idx="1283">
                  <c:v>#N/A</c:v>
                </c:pt>
                <c:pt idx="1284">
                  <c:v>#N/A</c:v>
                </c:pt>
                <c:pt idx="1285">
                  <c:v>#N/A</c:v>
                </c:pt>
                <c:pt idx="1286">
                  <c:v>#N/A</c:v>
                </c:pt>
                <c:pt idx="1287">
                  <c:v>#N/A</c:v>
                </c:pt>
                <c:pt idx="1288">
                  <c:v>#N/A</c:v>
                </c:pt>
                <c:pt idx="1289">
                  <c:v>#N/A</c:v>
                </c:pt>
                <c:pt idx="1290">
                  <c:v>0.54246575342465753</c:v>
                </c:pt>
                <c:pt idx="1291">
                  <c:v>#N/A</c:v>
                </c:pt>
                <c:pt idx="1292">
                  <c:v>#N/A</c:v>
                </c:pt>
                <c:pt idx="1293">
                  <c:v>#N/A</c:v>
                </c:pt>
                <c:pt idx="1294">
                  <c:v>#N/A</c:v>
                </c:pt>
                <c:pt idx="1295">
                  <c:v>#N/A</c:v>
                </c:pt>
                <c:pt idx="1296">
                  <c:v>#N/A</c:v>
                </c:pt>
                <c:pt idx="1297">
                  <c:v>0.54246575342465753</c:v>
                </c:pt>
                <c:pt idx="1298">
                  <c:v>#N/A</c:v>
                </c:pt>
                <c:pt idx="1299">
                  <c:v>0.54246575342465753</c:v>
                </c:pt>
                <c:pt idx="1300">
                  <c:v>#N/A</c:v>
                </c:pt>
                <c:pt idx="1301">
                  <c:v>0.54246575342465753</c:v>
                </c:pt>
                <c:pt idx="1302">
                  <c:v>#N/A</c:v>
                </c:pt>
                <c:pt idx="1303">
                  <c:v>#N/A</c:v>
                </c:pt>
                <c:pt idx="1304">
                  <c:v>0.54246575342465753</c:v>
                </c:pt>
                <c:pt idx="1305">
                  <c:v>0.54246575342465753</c:v>
                </c:pt>
                <c:pt idx="1306">
                  <c:v>#N/A</c:v>
                </c:pt>
                <c:pt idx="1307">
                  <c:v>#N/A</c:v>
                </c:pt>
                <c:pt idx="1308">
                  <c:v>0.54246575342465753</c:v>
                </c:pt>
                <c:pt idx="1309">
                  <c:v>0.54246575342465753</c:v>
                </c:pt>
                <c:pt idx="1310">
                  <c:v>#N/A</c:v>
                </c:pt>
                <c:pt idx="1311">
                  <c:v>0.54246575342465753</c:v>
                </c:pt>
                <c:pt idx="1312">
                  <c:v>0.54246575342465753</c:v>
                </c:pt>
                <c:pt idx="1313">
                  <c:v>#N/A</c:v>
                </c:pt>
                <c:pt idx="1314">
                  <c:v>0.55068493150684927</c:v>
                </c:pt>
                <c:pt idx="1315">
                  <c:v>#N/A</c:v>
                </c:pt>
                <c:pt idx="1316">
                  <c:v>#N/A</c:v>
                </c:pt>
                <c:pt idx="1317">
                  <c:v>#N/A</c:v>
                </c:pt>
                <c:pt idx="1318">
                  <c:v>#N/A</c:v>
                </c:pt>
                <c:pt idx="1319">
                  <c:v>#N/A</c:v>
                </c:pt>
                <c:pt idx="1320">
                  <c:v>#N/A</c:v>
                </c:pt>
                <c:pt idx="1321">
                  <c:v>#N/A</c:v>
                </c:pt>
                <c:pt idx="1322">
                  <c:v>#N/A</c:v>
                </c:pt>
                <c:pt idx="1323">
                  <c:v>#N/A</c:v>
                </c:pt>
                <c:pt idx="1324">
                  <c:v>#N/A</c:v>
                </c:pt>
                <c:pt idx="1325">
                  <c:v>#N/A</c:v>
                </c:pt>
                <c:pt idx="1326">
                  <c:v>#N/A</c:v>
                </c:pt>
                <c:pt idx="1327">
                  <c:v>#N/A</c:v>
                </c:pt>
                <c:pt idx="1328">
                  <c:v>#N/A</c:v>
                </c:pt>
                <c:pt idx="1329">
                  <c:v>#N/A</c:v>
                </c:pt>
                <c:pt idx="1330">
                  <c:v>#N/A</c:v>
                </c:pt>
                <c:pt idx="1331">
                  <c:v>#N/A</c:v>
                </c:pt>
                <c:pt idx="1332">
                  <c:v>#N/A</c:v>
                </c:pt>
                <c:pt idx="1333">
                  <c:v>#N/A</c:v>
                </c:pt>
                <c:pt idx="1334">
                  <c:v>#N/A</c:v>
                </c:pt>
                <c:pt idx="1335">
                  <c:v>#N/A</c:v>
                </c:pt>
                <c:pt idx="1336">
                  <c:v>#N/A</c:v>
                </c:pt>
                <c:pt idx="1337">
                  <c:v>#N/A</c:v>
                </c:pt>
                <c:pt idx="1338">
                  <c:v>#N/A</c:v>
                </c:pt>
                <c:pt idx="1339">
                  <c:v>#N/A</c:v>
                </c:pt>
                <c:pt idx="1340">
                  <c:v>#N/A</c:v>
                </c:pt>
                <c:pt idx="1341">
                  <c:v>#N/A</c:v>
                </c:pt>
                <c:pt idx="1342">
                  <c:v>#N/A</c:v>
                </c:pt>
                <c:pt idx="1343">
                  <c:v>#N/A</c:v>
                </c:pt>
                <c:pt idx="1344">
                  <c:v>#N/A</c:v>
                </c:pt>
                <c:pt idx="1345">
                  <c:v>#N/A</c:v>
                </c:pt>
                <c:pt idx="1346">
                  <c:v>#N/A</c:v>
                </c:pt>
                <c:pt idx="1347">
                  <c:v>#N/A</c:v>
                </c:pt>
                <c:pt idx="1348">
                  <c:v>#N/A</c:v>
                </c:pt>
                <c:pt idx="1349">
                  <c:v>#N/A</c:v>
                </c:pt>
                <c:pt idx="1350">
                  <c:v>#N/A</c:v>
                </c:pt>
                <c:pt idx="1351">
                  <c:v>#N/A</c:v>
                </c:pt>
                <c:pt idx="1352">
                  <c:v>#N/A</c:v>
                </c:pt>
                <c:pt idx="1353">
                  <c:v>#N/A</c:v>
                </c:pt>
                <c:pt idx="1354">
                  <c:v>#N/A</c:v>
                </c:pt>
                <c:pt idx="1355">
                  <c:v>#N/A</c:v>
                </c:pt>
                <c:pt idx="1356">
                  <c:v>#N/A</c:v>
                </c:pt>
                <c:pt idx="1357">
                  <c:v>#N/A</c:v>
                </c:pt>
                <c:pt idx="1358">
                  <c:v>#N/A</c:v>
                </c:pt>
                <c:pt idx="1359">
                  <c:v>#N/A</c:v>
                </c:pt>
                <c:pt idx="1360">
                  <c:v>#N/A</c:v>
                </c:pt>
                <c:pt idx="1361">
                  <c:v>#N/A</c:v>
                </c:pt>
                <c:pt idx="1362">
                  <c:v>#N/A</c:v>
                </c:pt>
                <c:pt idx="1363">
                  <c:v>#N/A</c:v>
                </c:pt>
                <c:pt idx="1364">
                  <c:v>#N/A</c:v>
                </c:pt>
                <c:pt idx="1365">
                  <c:v>#N/A</c:v>
                </c:pt>
                <c:pt idx="1366">
                  <c:v>#N/A</c:v>
                </c:pt>
                <c:pt idx="1367">
                  <c:v>#N/A</c:v>
                </c:pt>
                <c:pt idx="1368">
                  <c:v>#N/A</c:v>
                </c:pt>
                <c:pt idx="1369">
                  <c:v>#N/A</c:v>
                </c:pt>
                <c:pt idx="1370">
                  <c:v>#N/A</c:v>
                </c:pt>
                <c:pt idx="1371">
                  <c:v>#N/A</c:v>
                </c:pt>
                <c:pt idx="1372">
                  <c:v>#N/A</c:v>
                </c:pt>
                <c:pt idx="1373">
                  <c:v>#N/A</c:v>
                </c:pt>
                <c:pt idx="1374">
                  <c:v>0.63287671232876708</c:v>
                </c:pt>
                <c:pt idx="1375">
                  <c:v>#N/A</c:v>
                </c:pt>
                <c:pt idx="1376">
                  <c:v>#N/A</c:v>
                </c:pt>
                <c:pt idx="1377">
                  <c:v>#N/A</c:v>
                </c:pt>
                <c:pt idx="1378">
                  <c:v>#N/A</c:v>
                </c:pt>
                <c:pt idx="1379">
                  <c:v>#N/A</c:v>
                </c:pt>
                <c:pt idx="1380">
                  <c:v>#N/A</c:v>
                </c:pt>
                <c:pt idx="1381">
                  <c:v>#N/A</c:v>
                </c:pt>
                <c:pt idx="1382">
                  <c:v>#N/A</c:v>
                </c:pt>
                <c:pt idx="1383">
                  <c:v>#N/A</c:v>
                </c:pt>
                <c:pt idx="1384">
                  <c:v>#N/A</c:v>
                </c:pt>
                <c:pt idx="1385">
                  <c:v>#N/A</c:v>
                </c:pt>
                <c:pt idx="1386">
                  <c:v>#N/A</c:v>
                </c:pt>
                <c:pt idx="1387">
                  <c:v>0.65205479452054793</c:v>
                </c:pt>
                <c:pt idx="1388">
                  <c:v>#N/A</c:v>
                </c:pt>
                <c:pt idx="1389">
                  <c:v>#N/A</c:v>
                </c:pt>
                <c:pt idx="1390">
                  <c:v>#N/A</c:v>
                </c:pt>
                <c:pt idx="1391">
                  <c:v>#N/A</c:v>
                </c:pt>
                <c:pt idx="1392">
                  <c:v>#N/A</c:v>
                </c:pt>
                <c:pt idx="1393">
                  <c:v>#N/A</c:v>
                </c:pt>
                <c:pt idx="1394">
                  <c:v>#N/A</c:v>
                </c:pt>
                <c:pt idx="1395">
                  <c:v>#N/A</c:v>
                </c:pt>
                <c:pt idx="1396">
                  <c:v>#N/A</c:v>
                </c:pt>
                <c:pt idx="1397">
                  <c:v>#N/A</c:v>
                </c:pt>
                <c:pt idx="1398">
                  <c:v>#N/A</c:v>
                </c:pt>
                <c:pt idx="1399">
                  <c:v>#N/A</c:v>
                </c:pt>
                <c:pt idx="1400">
                  <c:v>#N/A</c:v>
                </c:pt>
                <c:pt idx="1401">
                  <c:v>#N/A</c:v>
                </c:pt>
                <c:pt idx="1402">
                  <c:v>#N/A</c:v>
                </c:pt>
                <c:pt idx="1403">
                  <c:v>#N/A</c:v>
                </c:pt>
                <c:pt idx="1404">
                  <c:v>#N/A</c:v>
                </c:pt>
                <c:pt idx="1405">
                  <c:v>#N/A</c:v>
                </c:pt>
                <c:pt idx="1406">
                  <c:v>#N/A</c:v>
                </c:pt>
                <c:pt idx="1407">
                  <c:v>#N/A</c:v>
                </c:pt>
                <c:pt idx="1408">
                  <c:v>#N/A</c:v>
                </c:pt>
                <c:pt idx="1409">
                  <c:v>#N/A</c:v>
                </c:pt>
                <c:pt idx="1410">
                  <c:v>#N/A</c:v>
                </c:pt>
                <c:pt idx="1411">
                  <c:v>#N/A</c:v>
                </c:pt>
                <c:pt idx="1412">
                  <c:v>#N/A</c:v>
                </c:pt>
                <c:pt idx="1413">
                  <c:v>#N/A</c:v>
                </c:pt>
                <c:pt idx="1414">
                  <c:v>#N/A</c:v>
                </c:pt>
                <c:pt idx="1415">
                  <c:v>#N/A</c:v>
                </c:pt>
                <c:pt idx="1416">
                  <c:v>#N/A</c:v>
                </c:pt>
                <c:pt idx="1417">
                  <c:v>#N/A</c:v>
                </c:pt>
                <c:pt idx="1418">
                  <c:v>#N/A</c:v>
                </c:pt>
                <c:pt idx="1419">
                  <c:v>#N/A</c:v>
                </c:pt>
                <c:pt idx="1420">
                  <c:v>#N/A</c:v>
                </c:pt>
                <c:pt idx="1421">
                  <c:v>#N/A</c:v>
                </c:pt>
                <c:pt idx="1422">
                  <c:v>#N/A</c:v>
                </c:pt>
                <c:pt idx="1423">
                  <c:v>#N/A</c:v>
                </c:pt>
                <c:pt idx="1424">
                  <c:v>#N/A</c:v>
                </c:pt>
                <c:pt idx="1425">
                  <c:v>0.65753424657534243</c:v>
                </c:pt>
                <c:pt idx="1426">
                  <c:v>#N/A</c:v>
                </c:pt>
                <c:pt idx="1427">
                  <c:v>#N/A</c:v>
                </c:pt>
                <c:pt idx="1428">
                  <c:v>#N/A</c:v>
                </c:pt>
                <c:pt idx="1429">
                  <c:v>0.66575342465753429</c:v>
                </c:pt>
                <c:pt idx="1430">
                  <c:v>#N/A</c:v>
                </c:pt>
                <c:pt idx="1431">
                  <c:v>#N/A</c:v>
                </c:pt>
                <c:pt idx="1432">
                  <c:v>#N/A</c:v>
                </c:pt>
                <c:pt idx="1433">
                  <c:v>#N/A</c:v>
                </c:pt>
                <c:pt idx="1434">
                  <c:v>#N/A</c:v>
                </c:pt>
                <c:pt idx="1435">
                  <c:v>0.66575342465753429</c:v>
                </c:pt>
                <c:pt idx="1436">
                  <c:v>#N/A</c:v>
                </c:pt>
                <c:pt idx="1437">
                  <c:v>#N/A</c:v>
                </c:pt>
                <c:pt idx="1438">
                  <c:v>#N/A</c:v>
                </c:pt>
                <c:pt idx="1439">
                  <c:v>#N/A</c:v>
                </c:pt>
                <c:pt idx="1440">
                  <c:v>#N/A</c:v>
                </c:pt>
                <c:pt idx="1441">
                  <c:v>#N/A</c:v>
                </c:pt>
                <c:pt idx="1442">
                  <c:v>#N/A</c:v>
                </c:pt>
                <c:pt idx="1443">
                  <c:v>#N/A</c:v>
                </c:pt>
                <c:pt idx="1444">
                  <c:v>#N/A</c:v>
                </c:pt>
                <c:pt idx="1445">
                  <c:v>#N/A</c:v>
                </c:pt>
                <c:pt idx="1446">
                  <c:v>#N/A</c:v>
                </c:pt>
                <c:pt idx="1447">
                  <c:v>#N/A</c:v>
                </c:pt>
                <c:pt idx="1448">
                  <c:v>#N/A</c:v>
                </c:pt>
                <c:pt idx="1449">
                  <c:v>#N/A</c:v>
                </c:pt>
                <c:pt idx="1450">
                  <c:v>#N/A</c:v>
                </c:pt>
                <c:pt idx="1451">
                  <c:v>#N/A</c:v>
                </c:pt>
                <c:pt idx="1452">
                  <c:v>#N/A</c:v>
                </c:pt>
                <c:pt idx="1453">
                  <c:v>#N/A</c:v>
                </c:pt>
                <c:pt idx="1454">
                  <c:v>#N/A</c:v>
                </c:pt>
                <c:pt idx="1455">
                  <c:v>#N/A</c:v>
                </c:pt>
                <c:pt idx="1456">
                  <c:v>#N/A</c:v>
                </c:pt>
                <c:pt idx="1457">
                  <c:v>0.67123287671232879</c:v>
                </c:pt>
                <c:pt idx="1458">
                  <c:v>#N/A</c:v>
                </c:pt>
                <c:pt idx="1459">
                  <c:v>0.67123287671232879</c:v>
                </c:pt>
                <c:pt idx="1460">
                  <c:v>#N/A</c:v>
                </c:pt>
                <c:pt idx="1461">
                  <c:v>0.67123287671232879</c:v>
                </c:pt>
                <c:pt idx="1462">
                  <c:v>0.67123287671232879</c:v>
                </c:pt>
                <c:pt idx="1463">
                  <c:v>#N/A</c:v>
                </c:pt>
                <c:pt idx="1464">
                  <c:v>#N/A</c:v>
                </c:pt>
                <c:pt idx="1465">
                  <c:v>#N/A</c:v>
                </c:pt>
                <c:pt idx="1466">
                  <c:v>#N/A</c:v>
                </c:pt>
                <c:pt idx="1467">
                  <c:v>#N/A</c:v>
                </c:pt>
                <c:pt idx="1468">
                  <c:v>#N/A</c:v>
                </c:pt>
                <c:pt idx="1469">
                  <c:v>#N/A</c:v>
                </c:pt>
                <c:pt idx="1470">
                  <c:v>#N/A</c:v>
                </c:pt>
                <c:pt idx="1471">
                  <c:v>#N/A</c:v>
                </c:pt>
                <c:pt idx="1472">
                  <c:v>#N/A</c:v>
                </c:pt>
                <c:pt idx="1473">
                  <c:v>#N/A</c:v>
                </c:pt>
                <c:pt idx="1474">
                  <c:v>#N/A</c:v>
                </c:pt>
                <c:pt idx="1475">
                  <c:v>#N/A</c:v>
                </c:pt>
                <c:pt idx="1476">
                  <c:v>#N/A</c:v>
                </c:pt>
                <c:pt idx="1477">
                  <c:v>#N/A</c:v>
                </c:pt>
                <c:pt idx="1478">
                  <c:v>#N/A</c:v>
                </c:pt>
                <c:pt idx="1479">
                  <c:v>#N/A</c:v>
                </c:pt>
                <c:pt idx="1480">
                  <c:v>#N/A</c:v>
                </c:pt>
                <c:pt idx="1481">
                  <c:v>#N/A</c:v>
                </c:pt>
                <c:pt idx="1482">
                  <c:v>#N/A</c:v>
                </c:pt>
                <c:pt idx="1483">
                  <c:v>#N/A</c:v>
                </c:pt>
                <c:pt idx="1484">
                  <c:v>#N/A</c:v>
                </c:pt>
                <c:pt idx="1485">
                  <c:v>#N/A</c:v>
                </c:pt>
                <c:pt idx="1486">
                  <c:v>#N/A</c:v>
                </c:pt>
                <c:pt idx="1487">
                  <c:v>#N/A</c:v>
                </c:pt>
                <c:pt idx="1488">
                  <c:v>#N/A</c:v>
                </c:pt>
                <c:pt idx="1489">
                  <c:v>#N/A</c:v>
                </c:pt>
                <c:pt idx="1490">
                  <c:v>#N/A</c:v>
                </c:pt>
                <c:pt idx="1491">
                  <c:v>#N/A</c:v>
                </c:pt>
                <c:pt idx="1492">
                  <c:v>#N/A</c:v>
                </c:pt>
                <c:pt idx="1493">
                  <c:v>#N/A</c:v>
                </c:pt>
                <c:pt idx="1494">
                  <c:v>#N/A</c:v>
                </c:pt>
                <c:pt idx="1495">
                  <c:v>#N/A</c:v>
                </c:pt>
                <c:pt idx="1496">
                  <c:v>#N/A</c:v>
                </c:pt>
                <c:pt idx="1497">
                  <c:v>#N/A</c:v>
                </c:pt>
                <c:pt idx="1498">
                  <c:v>#N/A</c:v>
                </c:pt>
                <c:pt idx="1499">
                  <c:v>#N/A</c:v>
                </c:pt>
                <c:pt idx="1500">
                  <c:v>#N/A</c:v>
                </c:pt>
                <c:pt idx="1501">
                  <c:v>#N/A</c:v>
                </c:pt>
                <c:pt idx="1502">
                  <c:v>#N/A</c:v>
                </c:pt>
                <c:pt idx="1503">
                  <c:v>#N/A</c:v>
                </c:pt>
                <c:pt idx="1504">
                  <c:v>#N/A</c:v>
                </c:pt>
                <c:pt idx="1505">
                  <c:v>0.72602739726027399</c:v>
                </c:pt>
                <c:pt idx="1506">
                  <c:v>#N/A</c:v>
                </c:pt>
                <c:pt idx="1507">
                  <c:v>#N/A</c:v>
                </c:pt>
                <c:pt idx="1508">
                  <c:v>0.72602739726027399</c:v>
                </c:pt>
                <c:pt idx="1509">
                  <c:v>#N/A</c:v>
                </c:pt>
                <c:pt idx="1510">
                  <c:v>#N/A</c:v>
                </c:pt>
                <c:pt idx="1511">
                  <c:v>#N/A</c:v>
                </c:pt>
                <c:pt idx="1512">
                  <c:v>#N/A</c:v>
                </c:pt>
                <c:pt idx="1513">
                  <c:v>#N/A</c:v>
                </c:pt>
                <c:pt idx="1514">
                  <c:v>#N/A</c:v>
                </c:pt>
                <c:pt idx="1515">
                  <c:v>#N/A</c:v>
                </c:pt>
                <c:pt idx="1516">
                  <c:v>#N/A</c:v>
                </c:pt>
                <c:pt idx="1517">
                  <c:v>#N/A</c:v>
                </c:pt>
                <c:pt idx="1518">
                  <c:v>#N/A</c:v>
                </c:pt>
                <c:pt idx="1519">
                  <c:v>0.73150684931506849</c:v>
                </c:pt>
                <c:pt idx="1520">
                  <c:v>#N/A</c:v>
                </c:pt>
                <c:pt idx="1521">
                  <c:v>#N/A</c:v>
                </c:pt>
                <c:pt idx="1522">
                  <c:v>#N/A</c:v>
                </c:pt>
                <c:pt idx="1523">
                  <c:v>#N/A</c:v>
                </c:pt>
                <c:pt idx="1524">
                  <c:v>#N/A</c:v>
                </c:pt>
                <c:pt idx="1525">
                  <c:v>#N/A</c:v>
                </c:pt>
                <c:pt idx="1526">
                  <c:v>#N/A</c:v>
                </c:pt>
                <c:pt idx="1527">
                  <c:v>#N/A</c:v>
                </c:pt>
                <c:pt idx="1528">
                  <c:v>#N/A</c:v>
                </c:pt>
                <c:pt idx="1529">
                  <c:v>#N/A</c:v>
                </c:pt>
                <c:pt idx="1530">
                  <c:v>#N/A</c:v>
                </c:pt>
                <c:pt idx="1531">
                  <c:v>#N/A</c:v>
                </c:pt>
                <c:pt idx="1532">
                  <c:v>#N/A</c:v>
                </c:pt>
                <c:pt idx="1533">
                  <c:v>#N/A</c:v>
                </c:pt>
                <c:pt idx="1534">
                  <c:v>#N/A</c:v>
                </c:pt>
                <c:pt idx="1535">
                  <c:v>#N/A</c:v>
                </c:pt>
                <c:pt idx="1536">
                  <c:v>#N/A</c:v>
                </c:pt>
                <c:pt idx="1537">
                  <c:v>#N/A</c:v>
                </c:pt>
                <c:pt idx="1538">
                  <c:v>#N/A</c:v>
                </c:pt>
                <c:pt idx="1539">
                  <c:v>#N/A</c:v>
                </c:pt>
                <c:pt idx="1540">
                  <c:v>#N/A</c:v>
                </c:pt>
                <c:pt idx="1541">
                  <c:v>#N/A</c:v>
                </c:pt>
                <c:pt idx="1542">
                  <c:v>#N/A</c:v>
                </c:pt>
                <c:pt idx="1543">
                  <c:v>#N/A</c:v>
                </c:pt>
                <c:pt idx="1544">
                  <c:v>#N/A</c:v>
                </c:pt>
                <c:pt idx="1545">
                  <c:v>#N/A</c:v>
                </c:pt>
                <c:pt idx="1546">
                  <c:v>#N/A</c:v>
                </c:pt>
                <c:pt idx="1547">
                  <c:v>#N/A</c:v>
                </c:pt>
                <c:pt idx="1548">
                  <c:v>#N/A</c:v>
                </c:pt>
                <c:pt idx="1549">
                  <c:v>#N/A</c:v>
                </c:pt>
                <c:pt idx="1550">
                  <c:v>#N/A</c:v>
                </c:pt>
                <c:pt idx="1551">
                  <c:v>#N/A</c:v>
                </c:pt>
                <c:pt idx="1552">
                  <c:v>#N/A</c:v>
                </c:pt>
                <c:pt idx="1553">
                  <c:v>#N/A</c:v>
                </c:pt>
                <c:pt idx="1554">
                  <c:v>#N/A</c:v>
                </c:pt>
                <c:pt idx="1555">
                  <c:v>#N/A</c:v>
                </c:pt>
                <c:pt idx="1556">
                  <c:v>#N/A</c:v>
                </c:pt>
                <c:pt idx="1557">
                  <c:v>#N/A</c:v>
                </c:pt>
                <c:pt idx="1558">
                  <c:v>#N/A</c:v>
                </c:pt>
                <c:pt idx="1559">
                  <c:v>#N/A</c:v>
                </c:pt>
                <c:pt idx="1560">
                  <c:v>#N/A</c:v>
                </c:pt>
                <c:pt idx="1561">
                  <c:v>#N/A</c:v>
                </c:pt>
                <c:pt idx="1562">
                  <c:v>#N/A</c:v>
                </c:pt>
                <c:pt idx="1563">
                  <c:v>#N/A</c:v>
                </c:pt>
                <c:pt idx="1564">
                  <c:v>#N/A</c:v>
                </c:pt>
                <c:pt idx="1565">
                  <c:v>#N/A</c:v>
                </c:pt>
                <c:pt idx="1566">
                  <c:v>#N/A</c:v>
                </c:pt>
                <c:pt idx="1567">
                  <c:v>#N/A</c:v>
                </c:pt>
                <c:pt idx="1568">
                  <c:v>#N/A</c:v>
                </c:pt>
                <c:pt idx="1569">
                  <c:v>#N/A</c:v>
                </c:pt>
                <c:pt idx="1570">
                  <c:v>#N/A</c:v>
                </c:pt>
                <c:pt idx="1571">
                  <c:v>#N/A</c:v>
                </c:pt>
                <c:pt idx="1572">
                  <c:v>#N/A</c:v>
                </c:pt>
                <c:pt idx="1573">
                  <c:v>#N/A</c:v>
                </c:pt>
                <c:pt idx="1574">
                  <c:v>#N/A</c:v>
                </c:pt>
                <c:pt idx="1575">
                  <c:v>#N/A</c:v>
                </c:pt>
                <c:pt idx="1576">
                  <c:v>#N/A</c:v>
                </c:pt>
                <c:pt idx="1577">
                  <c:v>#N/A</c:v>
                </c:pt>
                <c:pt idx="1578">
                  <c:v>#N/A</c:v>
                </c:pt>
                <c:pt idx="1579">
                  <c:v>#N/A</c:v>
                </c:pt>
                <c:pt idx="1580">
                  <c:v>#N/A</c:v>
                </c:pt>
                <c:pt idx="1581">
                  <c:v>#N/A</c:v>
                </c:pt>
                <c:pt idx="1582">
                  <c:v>#N/A</c:v>
                </c:pt>
                <c:pt idx="1583">
                  <c:v>#N/A</c:v>
                </c:pt>
                <c:pt idx="1584">
                  <c:v>#N/A</c:v>
                </c:pt>
                <c:pt idx="1585">
                  <c:v>#N/A</c:v>
                </c:pt>
                <c:pt idx="1586">
                  <c:v>#N/A</c:v>
                </c:pt>
                <c:pt idx="1587">
                  <c:v>#N/A</c:v>
                </c:pt>
                <c:pt idx="1588">
                  <c:v>#N/A</c:v>
                </c:pt>
                <c:pt idx="1589">
                  <c:v>#N/A</c:v>
                </c:pt>
                <c:pt idx="1590">
                  <c:v>#N/A</c:v>
                </c:pt>
                <c:pt idx="1591">
                  <c:v>#N/A</c:v>
                </c:pt>
                <c:pt idx="1592">
                  <c:v>#N/A</c:v>
                </c:pt>
                <c:pt idx="1593">
                  <c:v>#N/A</c:v>
                </c:pt>
                <c:pt idx="1594">
                  <c:v>#N/A</c:v>
                </c:pt>
                <c:pt idx="1595">
                  <c:v>#N/A</c:v>
                </c:pt>
                <c:pt idx="1596">
                  <c:v>#N/A</c:v>
                </c:pt>
                <c:pt idx="1597">
                  <c:v>#N/A</c:v>
                </c:pt>
                <c:pt idx="1598">
                  <c:v>#N/A</c:v>
                </c:pt>
                <c:pt idx="1599">
                  <c:v>#N/A</c:v>
                </c:pt>
                <c:pt idx="1600">
                  <c:v>#N/A</c:v>
                </c:pt>
                <c:pt idx="1601">
                  <c:v>#N/A</c:v>
                </c:pt>
                <c:pt idx="1602">
                  <c:v>#N/A</c:v>
                </c:pt>
                <c:pt idx="1603">
                  <c:v>#N/A</c:v>
                </c:pt>
                <c:pt idx="1604">
                  <c:v>#N/A</c:v>
                </c:pt>
                <c:pt idx="1605">
                  <c:v>#N/A</c:v>
                </c:pt>
                <c:pt idx="1606">
                  <c:v>#N/A</c:v>
                </c:pt>
                <c:pt idx="1607">
                  <c:v>#N/A</c:v>
                </c:pt>
                <c:pt idx="1608">
                  <c:v>#N/A</c:v>
                </c:pt>
                <c:pt idx="1609">
                  <c:v>#N/A</c:v>
                </c:pt>
                <c:pt idx="1610">
                  <c:v>#N/A</c:v>
                </c:pt>
                <c:pt idx="1611">
                  <c:v>#N/A</c:v>
                </c:pt>
                <c:pt idx="1612">
                  <c:v>#N/A</c:v>
                </c:pt>
                <c:pt idx="1613">
                  <c:v>#N/A</c:v>
                </c:pt>
                <c:pt idx="1614">
                  <c:v>#N/A</c:v>
                </c:pt>
                <c:pt idx="1615">
                  <c:v>#N/A</c:v>
                </c:pt>
                <c:pt idx="1616">
                  <c:v>#N/A</c:v>
                </c:pt>
                <c:pt idx="1617">
                  <c:v>#N/A</c:v>
                </c:pt>
                <c:pt idx="1618">
                  <c:v>#N/A</c:v>
                </c:pt>
                <c:pt idx="1619">
                  <c:v>#N/A</c:v>
                </c:pt>
                <c:pt idx="1620">
                  <c:v>#N/A</c:v>
                </c:pt>
                <c:pt idx="1621">
                  <c:v>#N/A</c:v>
                </c:pt>
                <c:pt idx="1622">
                  <c:v>#N/A</c:v>
                </c:pt>
                <c:pt idx="1623">
                  <c:v>#N/A</c:v>
                </c:pt>
                <c:pt idx="1624">
                  <c:v>#N/A</c:v>
                </c:pt>
                <c:pt idx="1625">
                  <c:v>#N/A</c:v>
                </c:pt>
                <c:pt idx="1626">
                  <c:v>#N/A</c:v>
                </c:pt>
                <c:pt idx="1627">
                  <c:v>#N/A</c:v>
                </c:pt>
                <c:pt idx="1628">
                  <c:v>#N/A</c:v>
                </c:pt>
                <c:pt idx="1629">
                  <c:v>#N/A</c:v>
                </c:pt>
                <c:pt idx="1630">
                  <c:v>#N/A</c:v>
                </c:pt>
                <c:pt idx="1631">
                  <c:v>#N/A</c:v>
                </c:pt>
                <c:pt idx="1632">
                  <c:v>#N/A</c:v>
                </c:pt>
                <c:pt idx="1633">
                  <c:v>#N/A</c:v>
                </c:pt>
                <c:pt idx="1634">
                  <c:v>#N/A</c:v>
                </c:pt>
                <c:pt idx="1635">
                  <c:v>#N/A</c:v>
                </c:pt>
                <c:pt idx="1636">
                  <c:v>#N/A</c:v>
                </c:pt>
                <c:pt idx="1637">
                  <c:v>#N/A</c:v>
                </c:pt>
                <c:pt idx="1638">
                  <c:v>#N/A</c:v>
                </c:pt>
                <c:pt idx="1639">
                  <c:v>#N/A</c:v>
                </c:pt>
                <c:pt idx="1640">
                  <c:v>#N/A</c:v>
                </c:pt>
                <c:pt idx="1641">
                  <c:v>0.78904109589041094</c:v>
                </c:pt>
                <c:pt idx="1642">
                  <c:v>0.78904109589041094</c:v>
                </c:pt>
                <c:pt idx="1643">
                  <c:v>#N/A</c:v>
                </c:pt>
                <c:pt idx="1644">
                  <c:v>0.78904109589041094</c:v>
                </c:pt>
                <c:pt idx="1645">
                  <c:v>#N/A</c:v>
                </c:pt>
                <c:pt idx="1646">
                  <c:v>#N/A</c:v>
                </c:pt>
                <c:pt idx="1647">
                  <c:v>#N/A</c:v>
                </c:pt>
                <c:pt idx="1648">
                  <c:v>#N/A</c:v>
                </c:pt>
                <c:pt idx="1649">
                  <c:v>#N/A</c:v>
                </c:pt>
                <c:pt idx="1650">
                  <c:v>#N/A</c:v>
                </c:pt>
                <c:pt idx="1651">
                  <c:v>#N/A</c:v>
                </c:pt>
                <c:pt idx="1652">
                  <c:v>#N/A</c:v>
                </c:pt>
                <c:pt idx="1653">
                  <c:v>#N/A</c:v>
                </c:pt>
                <c:pt idx="1654">
                  <c:v>#N/A</c:v>
                </c:pt>
                <c:pt idx="1655">
                  <c:v>#N/A</c:v>
                </c:pt>
                <c:pt idx="1656">
                  <c:v>#N/A</c:v>
                </c:pt>
                <c:pt idx="1657">
                  <c:v>#N/A</c:v>
                </c:pt>
                <c:pt idx="1658">
                  <c:v>#N/A</c:v>
                </c:pt>
                <c:pt idx="1659">
                  <c:v>#N/A</c:v>
                </c:pt>
                <c:pt idx="1660">
                  <c:v>#N/A</c:v>
                </c:pt>
                <c:pt idx="1661">
                  <c:v>#N/A</c:v>
                </c:pt>
                <c:pt idx="1662">
                  <c:v>#N/A</c:v>
                </c:pt>
                <c:pt idx="1663">
                  <c:v>#N/A</c:v>
                </c:pt>
                <c:pt idx="1664">
                  <c:v>#N/A</c:v>
                </c:pt>
                <c:pt idx="1665">
                  <c:v>#N/A</c:v>
                </c:pt>
                <c:pt idx="1666">
                  <c:v>#N/A</c:v>
                </c:pt>
                <c:pt idx="1667">
                  <c:v>#N/A</c:v>
                </c:pt>
                <c:pt idx="1668">
                  <c:v>#N/A</c:v>
                </c:pt>
                <c:pt idx="1669">
                  <c:v>#N/A</c:v>
                </c:pt>
                <c:pt idx="1670">
                  <c:v>#N/A</c:v>
                </c:pt>
                <c:pt idx="1671">
                  <c:v>#N/A</c:v>
                </c:pt>
                <c:pt idx="1672">
                  <c:v>#N/A</c:v>
                </c:pt>
                <c:pt idx="1673">
                  <c:v>#N/A</c:v>
                </c:pt>
                <c:pt idx="1674">
                  <c:v>#N/A</c:v>
                </c:pt>
                <c:pt idx="1675">
                  <c:v>#N/A</c:v>
                </c:pt>
                <c:pt idx="1676">
                  <c:v>#N/A</c:v>
                </c:pt>
                <c:pt idx="1677">
                  <c:v>#N/A</c:v>
                </c:pt>
                <c:pt idx="1678">
                  <c:v>#N/A</c:v>
                </c:pt>
                <c:pt idx="1679">
                  <c:v>#N/A</c:v>
                </c:pt>
                <c:pt idx="1680">
                  <c:v>#N/A</c:v>
                </c:pt>
                <c:pt idx="1681">
                  <c:v>#N/A</c:v>
                </c:pt>
                <c:pt idx="1682">
                  <c:v>#N/A</c:v>
                </c:pt>
                <c:pt idx="1683">
                  <c:v>#N/A</c:v>
                </c:pt>
                <c:pt idx="1684">
                  <c:v>#N/A</c:v>
                </c:pt>
                <c:pt idx="1685">
                  <c:v>#N/A</c:v>
                </c:pt>
                <c:pt idx="1686">
                  <c:v>#N/A</c:v>
                </c:pt>
                <c:pt idx="1687">
                  <c:v>#N/A</c:v>
                </c:pt>
                <c:pt idx="1688">
                  <c:v>#N/A</c:v>
                </c:pt>
                <c:pt idx="1689">
                  <c:v>#N/A</c:v>
                </c:pt>
                <c:pt idx="1690">
                  <c:v>#N/A</c:v>
                </c:pt>
                <c:pt idx="1691">
                  <c:v>#N/A</c:v>
                </c:pt>
                <c:pt idx="1692">
                  <c:v>#N/A</c:v>
                </c:pt>
                <c:pt idx="1693">
                  <c:v>#N/A</c:v>
                </c:pt>
                <c:pt idx="1694">
                  <c:v>#N/A</c:v>
                </c:pt>
                <c:pt idx="1695">
                  <c:v>#N/A</c:v>
                </c:pt>
                <c:pt idx="1696">
                  <c:v>#N/A</c:v>
                </c:pt>
                <c:pt idx="1697">
                  <c:v>#N/A</c:v>
                </c:pt>
                <c:pt idx="1698">
                  <c:v>#N/A</c:v>
                </c:pt>
                <c:pt idx="1699">
                  <c:v>#N/A</c:v>
                </c:pt>
                <c:pt idx="1700">
                  <c:v>#N/A</c:v>
                </c:pt>
                <c:pt idx="1701">
                  <c:v>#N/A</c:v>
                </c:pt>
                <c:pt idx="1702">
                  <c:v>#N/A</c:v>
                </c:pt>
                <c:pt idx="1703">
                  <c:v>#N/A</c:v>
                </c:pt>
                <c:pt idx="1704">
                  <c:v>#N/A</c:v>
                </c:pt>
                <c:pt idx="1705">
                  <c:v>#N/A</c:v>
                </c:pt>
                <c:pt idx="1706">
                  <c:v>#N/A</c:v>
                </c:pt>
                <c:pt idx="1707">
                  <c:v>#N/A</c:v>
                </c:pt>
                <c:pt idx="1708">
                  <c:v>#N/A</c:v>
                </c:pt>
                <c:pt idx="1709">
                  <c:v>#N/A</c:v>
                </c:pt>
                <c:pt idx="1710">
                  <c:v>#N/A</c:v>
                </c:pt>
                <c:pt idx="1711">
                  <c:v>#N/A</c:v>
                </c:pt>
                <c:pt idx="1712">
                  <c:v>#N/A</c:v>
                </c:pt>
                <c:pt idx="1713">
                  <c:v>#N/A</c:v>
                </c:pt>
                <c:pt idx="1714">
                  <c:v>#N/A</c:v>
                </c:pt>
                <c:pt idx="1715">
                  <c:v>#N/A</c:v>
                </c:pt>
                <c:pt idx="1716">
                  <c:v>#N/A</c:v>
                </c:pt>
                <c:pt idx="1717">
                  <c:v>#N/A</c:v>
                </c:pt>
                <c:pt idx="1718">
                  <c:v>#N/A</c:v>
                </c:pt>
                <c:pt idx="1719">
                  <c:v>#N/A</c:v>
                </c:pt>
                <c:pt idx="1720">
                  <c:v>#N/A</c:v>
                </c:pt>
                <c:pt idx="1721">
                  <c:v>#N/A</c:v>
                </c:pt>
                <c:pt idx="1722">
                  <c:v>#N/A</c:v>
                </c:pt>
                <c:pt idx="1723">
                  <c:v>#N/A</c:v>
                </c:pt>
                <c:pt idx="1724">
                  <c:v>#N/A</c:v>
                </c:pt>
                <c:pt idx="1725">
                  <c:v>#N/A</c:v>
                </c:pt>
                <c:pt idx="1726">
                  <c:v>#N/A</c:v>
                </c:pt>
                <c:pt idx="1727">
                  <c:v>#N/A</c:v>
                </c:pt>
                <c:pt idx="1728">
                  <c:v>#N/A</c:v>
                </c:pt>
                <c:pt idx="1729">
                  <c:v>#N/A</c:v>
                </c:pt>
                <c:pt idx="1730">
                  <c:v>#N/A</c:v>
                </c:pt>
                <c:pt idx="1731">
                  <c:v>#N/A</c:v>
                </c:pt>
                <c:pt idx="1732">
                  <c:v>#N/A</c:v>
                </c:pt>
                <c:pt idx="1733">
                  <c:v>#N/A</c:v>
                </c:pt>
                <c:pt idx="1734">
                  <c:v>#N/A</c:v>
                </c:pt>
                <c:pt idx="1735">
                  <c:v>#N/A</c:v>
                </c:pt>
                <c:pt idx="1736">
                  <c:v>#N/A</c:v>
                </c:pt>
                <c:pt idx="1737">
                  <c:v>#N/A</c:v>
                </c:pt>
                <c:pt idx="1738">
                  <c:v>#N/A</c:v>
                </c:pt>
                <c:pt idx="1739">
                  <c:v>#N/A</c:v>
                </c:pt>
                <c:pt idx="1740">
                  <c:v>#N/A</c:v>
                </c:pt>
                <c:pt idx="1741">
                  <c:v>#N/A</c:v>
                </c:pt>
                <c:pt idx="1742">
                  <c:v>#N/A</c:v>
                </c:pt>
                <c:pt idx="1743">
                  <c:v>#N/A</c:v>
                </c:pt>
                <c:pt idx="1744">
                  <c:v>#N/A</c:v>
                </c:pt>
                <c:pt idx="1745">
                  <c:v>#N/A</c:v>
                </c:pt>
                <c:pt idx="1746">
                  <c:v>#N/A</c:v>
                </c:pt>
                <c:pt idx="1747">
                  <c:v>#N/A</c:v>
                </c:pt>
                <c:pt idx="1748">
                  <c:v>#N/A</c:v>
                </c:pt>
                <c:pt idx="1749">
                  <c:v>#N/A</c:v>
                </c:pt>
                <c:pt idx="1750">
                  <c:v>#N/A</c:v>
                </c:pt>
                <c:pt idx="1751">
                  <c:v>#N/A</c:v>
                </c:pt>
                <c:pt idx="1752">
                  <c:v>#N/A</c:v>
                </c:pt>
                <c:pt idx="1753">
                  <c:v>#N/A</c:v>
                </c:pt>
                <c:pt idx="1754">
                  <c:v>#N/A</c:v>
                </c:pt>
                <c:pt idx="1755">
                  <c:v>#N/A</c:v>
                </c:pt>
                <c:pt idx="1756">
                  <c:v>#N/A</c:v>
                </c:pt>
                <c:pt idx="1757">
                  <c:v>#N/A</c:v>
                </c:pt>
                <c:pt idx="1758">
                  <c:v>#N/A</c:v>
                </c:pt>
                <c:pt idx="1759">
                  <c:v>#N/A</c:v>
                </c:pt>
                <c:pt idx="1760">
                  <c:v>#N/A</c:v>
                </c:pt>
                <c:pt idx="1761">
                  <c:v>#N/A</c:v>
                </c:pt>
                <c:pt idx="1762">
                  <c:v>#N/A</c:v>
                </c:pt>
                <c:pt idx="1763">
                  <c:v>#N/A</c:v>
                </c:pt>
                <c:pt idx="1764">
                  <c:v>#N/A</c:v>
                </c:pt>
                <c:pt idx="1765">
                  <c:v>#N/A</c:v>
                </c:pt>
                <c:pt idx="1766">
                  <c:v>#N/A</c:v>
                </c:pt>
                <c:pt idx="1767">
                  <c:v>#N/A</c:v>
                </c:pt>
                <c:pt idx="1768">
                  <c:v>#N/A</c:v>
                </c:pt>
                <c:pt idx="1769">
                  <c:v>#N/A</c:v>
                </c:pt>
                <c:pt idx="1770">
                  <c:v>#N/A</c:v>
                </c:pt>
                <c:pt idx="1771">
                  <c:v>#N/A</c:v>
                </c:pt>
                <c:pt idx="1772">
                  <c:v>#N/A</c:v>
                </c:pt>
                <c:pt idx="1773">
                  <c:v>#N/A</c:v>
                </c:pt>
                <c:pt idx="1774">
                  <c:v>#N/A</c:v>
                </c:pt>
                <c:pt idx="1775">
                  <c:v>#N/A</c:v>
                </c:pt>
                <c:pt idx="1776">
                  <c:v>#N/A</c:v>
                </c:pt>
                <c:pt idx="1777">
                  <c:v>#N/A</c:v>
                </c:pt>
                <c:pt idx="1778">
                  <c:v>#N/A</c:v>
                </c:pt>
                <c:pt idx="1779">
                  <c:v>#N/A</c:v>
                </c:pt>
                <c:pt idx="1780">
                  <c:v>#N/A</c:v>
                </c:pt>
                <c:pt idx="1781">
                  <c:v>#N/A</c:v>
                </c:pt>
                <c:pt idx="1782">
                  <c:v>#N/A</c:v>
                </c:pt>
                <c:pt idx="1783">
                  <c:v>#N/A</c:v>
                </c:pt>
                <c:pt idx="1784">
                  <c:v>#N/A</c:v>
                </c:pt>
                <c:pt idx="1785">
                  <c:v>#N/A</c:v>
                </c:pt>
                <c:pt idx="1786">
                  <c:v>#N/A</c:v>
                </c:pt>
                <c:pt idx="1787">
                  <c:v>#N/A</c:v>
                </c:pt>
                <c:pt idx="1788">
                  <c:v>#N/A</c:v>
                </c:pt>
                <c:pt idx="1789">
                  <c:v>#N/A</c:v>
                </c:pt>
                <c:pt idx="1790">
                  <c:v>#N/A</c:v>
                </c:pt>
                <c:pt idx="1791">
                  <c:v>#N/A</c:v>
                </c:pt>
                <c:pt idx="1792">
                  <c:v>#N/A</c:v>
                </c:pt>
                <c:pt idx="1793">
                  <c:v>#N/A</c:v>
                </c:pt>
                <c:pt idx="1794">
                  <c:v>#N/A</c:v>
                </c:pt>
                <c:pt idx="1795">
                  <c:v>#N/A</c:v>
                </c:pt>
                <c:pt idx="1796">
                  <c:v>#N/A</c:v>
                </c:pt>
                <c:pt idx="1797">
                  <c:v>#N/A</c:v>
                </c:pt>
                <c:pt idx="1798">
                  <c:v>#N/A</c:v>
                </c:pt>
                <c:pt idx="1799">
                  <c:v>#N/A</c:v>
                </c:pt>
                <c:pt idx="1800">
                  <c:v>#N/A</c:v>
                </c:pt>
                <c:pt idx="1801">
                  <c:v>#N/A</c:v>
                </c:pt>
                <c:pt idx="1802">
                  <c:v>#N/A</c:v>
                </c:pt>
                <c:pt idx="1803">
                  <c:v>#N/A</c:v>
                </c:pt>
                <c:pt idx="1804">
                  <c:v>#N/A</c:v>
                </c:pt>
                <c:pt idx="1805">
                  <c:v>#N/A</c:v>
                </c:pt>
                <c:pt idx="1806">
                  <c:v>#N/A</c:v>
                </c:pt>
                <c:pt idx="1807">
                  <c:v>#N/A</c:v>
                </c:pt>
                <c:pt idx="1808">
                  <c:v>#N/A</c:v>
                </c:pt>
                <c:pt idx="1809">
                  <c:v>#N/A</c:v>
                </c:pt>
                <c:pt idx="1810">
                  <c:v>#N/A</c:v>
                </c:pt>
                <c:pt idx="1811">
                  <c:v>#N/A</c:v>
                </c:pt>
                <c:pt idx="1812">
                  <c:v>#N/A</c:v>
                </c:pt>
                <c:pt idx="1813">
                  <c:v>#N/A</c:v>
                </c:pt>
                <c:pt idx="1814">
                  <c:v>#N/A</c:v>
                </c:pt>
                <c:pt idx="1815">
                  <c:v>0.87671232876712324</c:v>
                </c:pt>
                <c:pt idx="1816">
                  <c:v>#N/A</c:v>
                </c:pt>
                <c:pt idx="1817">
                  <c:v>#N/A</c:v>
                </c:pt>
                <c:pt idx="1818">
                  <c:v>#N/A</c:v>
                </c:pt>
                <c:pt idx="1819">
                  <c:v>#N/A</c:v>
                </c:pt>
                <c:pt idx="1820">
                  <c:v>#N/A</c:v>
                </c:pt>
                <c:pt idx="1821">
                  <c:v>#N/A</c:v>
                </c:pt>
                <c:pt idx="1822">
                  <c:v>#N/A</c:v>
                </c:pt>
                <c:pt idx="1823">
                  <c:v>#N/A</c:v>
                </c:pt>
                <c:pt idx="1824">
                  <c:v>#N/A</c:v>
                </c:pt>
                <c:pt idx="1825">
                  <c:v>#N/A</c:v>
                </c:pt>
                <c:pt idx="1826">
                  <c:v>#N/A</c:v>
                </c:pt>
                <c:pt idx="1827">
                  <c:v>#N/A</c:v>
                </c:pt>
                <c:pt idx="1828">
                  <c:v>#N/A</c:v>
                </c:pt>
                <c:pt idx="1829">
                  <c:v>#N/A</c:v>
                </c:pt>
                <c:pt idx="1830">
                  <c:v>#N/A</c:v>
                </c:pt>
                <c:pt idx="1831">
                  <c:v>0.8849315068493151</c:v>
                </c:pt>
                <c:pt idx="1832">
                  <c:v>#N/A</c:v>
                </c:pt>
                <c:pt idx="1833">
                  <c:v>#N/A</c:v>
                </c:pt>
                <c:pt idx="1834">
                  <c:v>#N/A</c:v>
                </c:pt>
                <c:pt idx="1835">
                  <c:v>#N/A</c:v>
                </c:pt>
                <c:pt idx="1836">
                  <c:v>#N/A</c:v>
                </c:pt>
                <c:pt idx="1837">
                  <c:v>#N/A</c:v>
                </c:pt>
                <c:pt idx="1838">
                  <c:v>#N/A</c:v>
                </c:pt>
                <c:pt idx="1839">
                  <c:v>0.8849315068493151</c:v>
                </c:pt>
                <c:pt idx="1840">
                  <c:v>#N/A</c:v>
                </c:pt>
                <c:pt idx="1841">
                  <c:v>0.8849315068493151</c:v>
                </c:pt>
                <c:pt idx="1842">
                  <c:v>#N/A</c:v>
                </c:pt>
                <c:pt idx="1843">
                  <c:v>#N/A</c:v>
                </c:pt>
                <c:pt idx="1844">
                  <c:v>#N/A</c:v>
                </c:pt>
                <c:pt idx="1845">
                  <c:v>#N/A</c:v>
                </c:pt>
                <c:pt idx="1846">
                  <c:v>#N/A</c:v>
                </c:pt>
                <c:pt idx="1847">
                  <c:v>#N/A</c:v>
                </c:pt>
                <c:pt idx="1848">
                  <c:v>#N/A</c:v>
                </c:pt>
                <c:pt idx="1849">
                  <c:v>#N/A</c:v>
                </c:pt>
                <c:pt idx="1850">
                  <c:v>#N/A</c:v>
                </c:pt>
                <c:pt idx="1851">
                  <c:v>#N/A</c:v>
                </c:pt>
                <c:pt idx="1852">
                  <c:v>#N/A</c:v>
                </c:pt>
                <c:pt idx="1853">
                  <c:v>#N/A</c:v>
                </c:pt>
                <c:pt idx="1854">
                  <c:v>#N/A</c:v>
                </c:pt>
                <c:pt idx="1855">
                  <c:v>#N/A</c:v>
                </c:pt>
                <c:pt idx="1856">
                  <c:v>#N/A</c:v>
                </c:pt>
                <c:pt idx="1857">
                  <c:v>#N/A</c:v>
                </c:pt>
                <c:pt idx="1858">
                  <c:v>#N/A</c:v>
                </c:pt>
                <c:pt idx="1859">
                  <c:v>#N/A</c:v>
                </c:pt>
                <c:pt idx="1860">
                  <c:v>#N/A</c:v>
                </c:pt>
                <c:pt idx="1861">
                  <c:v>#N/A</c:v>
                </c:pt>
                <c:pt idx="1862">
                  <c:v>#N/A</c:v>
                </c:pt>
                <c:pt idx="1863">
                  <c:v>#N/A</c:v>
                </c:pt>
                <c:pt idx="1864">
                  <c:v>#N/A</c:v>
                </c:pt>
                <c:pt idx="1865">
                  <c:v>#N/A</c:v>
                </c:pt>
                <c:pt idx="1866">
                  <c:v>#N/A</c:v>
                </c:pt>
                <c:pt idx="1867">
                  <c:v>#N/A</c:v>
                </c:pt>
                <c:pt idx="1868">
                  <c:v>#N/A</c:v>
                </c:pt>
                <c:pt idx="1869">
                  <c:v>#N/A</c:v>
                </c:pt>
                <c:pt idx="1870">
                  <c:v>#N/A</c:v>
                </c:pt>
                <c:pt idx="1871">
                  <c:v>#N/A</c:v>
                </c:pt>
                <c:pt idx="1872">
                  <c:v>#N/A</c:v>
                </c:pt>
                <c:pt idx="1873">
                  <c:v>#N/A</c:v>
                </c:pt>
                <c:pt idx="1874">
                  <c:v>#N/A</c:v>
                </c:pt>
                <c:pt idx="1875">
                  <c:v>0.91506849315068495</c:v>
                </c:pt>
                <c:pt idx="1876">
                  <c:v>#N/A</c:v>
                </c:pt>
                <c:pt idx="1877">
                  <c:v>#N/A</c:v>
                </c:pt>
                <c:pt idx="1878">
                  <c:v>#N/A</c:v>
                </c:pt>
                <c:pt idx="1879">
                  <c:v>#N/A</c:v>
                </c:pt>
                <c:pt idx="1880">
                  <c:v>#N/A</c:v>
                </c:pt>
                <c:pt idx="1881">
                  <c:v>#N/A</c:v>
                </c:pt>
                <c:pt idx="1882">
                  <c:v>#N/A</c:v>
                </c:pt>
                <c:pt idx="1883">
                  <c:v>#N/A</c:v>
                </c:pt>
                <c:pt idx="1884">
                  <c:v>#N/A</c:v>
                </c:pt>
                <c:pt idx="1885">
                  <c:v>#N/A</c:v>
                </c:pt>
                <c:pt idx="1886">
                  <c:v>#N/A</c:v>
                </c:pt>
                <c:pt idx="1887">
                  <c:v>#N/A</c:v>
                </c:pt>
                <c:pt idx="1888">
                  <c:v>#N/A</c:v>
                </c:pt>
                <c:pt idx="1889">
                  <c:v>0.92602739726027394</c:v>
                </c:pt>
                <c:pt idx="1890">
                  <c:v>#N/A</c:v>
                </c:pt>
                <c:pt idx="1891">
                  <c:v>#N/A</c:v>
                </c:pt>
                <c:pt idx="1892">
                  <c:v>#N/A</c:v>
                </c:pt>
                <c:pt idx="1893">
                  <c:v>#N/A</c:v>
                </c:pt>
                <c:pt idx="1894">
                  <c:v>#N/A</c:v>
                </c:pt>
                <c:pt idx="1895">
                  <c:v>#N/A</c:v>
                </c:pt>
                <c:pt idx="1896">
                  <c:v>#N/A</c:v>
                </c:pt>
                <c:pt idx="1897">
                  <c:v>#N/A</c:v>
                </c:pt>
                <c:pt idx="1898">
                  <c:v>#N/A</c:v>
                </c:pt>
                <c:pt idx="1899">
                  <c:v>#N/A</c:v>
                </c:pt>
                <c:pt idx="1900">
                  <c:v>#N/A</c:v>
                </c:pt>
                <c:pt idx="1901">
                  <c:v>#N/A</c:v>
                </c:pt>
                <c:pt idx="1902">
                  <c:v>#N/A</c:v>
                </c:pt>
                <c:pt idx="1903">
                  <c:v>#N/A</c:v>
                </c:pt>
                <c:pt idx="1904">
                  <c:v>#N/A</c:v>
                </c:pt>
                <c:pt idx="1905">
                  <c:v>#N/A</c:v>
                </c:pt>
                <c:pt idx="1906">
                  <c:v>#N/A</c:v>
                </c:pt>
                <c:pt idx="1907">
                  <c:v>#N/A</c:v>
                </c:pt>
                <c:pt idx="1908">
                  <c:v>0.9397260273972603</c:v>
                </c:pt>
                <c:pt idx="1909">
                  <c:v>#N/A</c:v>
                </c:pt>
                <c:pt idx="1910">
                  <c:v>#N/A</c:v>
                </c:pt>
                <c:pt idx="1911">
                  <c:v>#N/A</c:v>
                </c:pt>
                <c:pt idx="1912">
                  <c:v>#N/A</c:v>
                </c:pt>
                <c:pt idx="1913">
                  <c:v>#N/A</c:v>
                </c:pt>
                <c:pt idx="1914">
                  <c:v>#N/A</c:v>
                </c:pt>
                <c:pt idx="1915">
                  <c:v>#N/A</c:v>
                </c:pt>
                <c:pt idx="1916">
                  <c:v>#N/A</c:v>
                </c:pt>
                <c:pt idx="1917">
                  <c:v>#N/A</c:v>
                </c:pt>
                <c:pt idx="1918">
                  <c:v>#N/A</c:v>
                </c:pt>
                <c:pt idx="1919">
                  <c:v>#N/A</c:v>
                </c:pt>
                <c:pt idx="1920">
                  <c:v>#N/A</c:v>
                </c:pt>
                <c:pt idx="1921">
                  <c:v>#N/A</c:v>
                </c:pt>
                <c:pt idx="1922">
                  <c:v>#N/A</c:v>
                </c:pt>
                <c:pt idx="1923">
                  <c:v>#N/A</c:v>
                </c:pt>
                <c:pt idx="1924">
                  <c:v>#N/A</c:v>
                </c:pt>
                <c:pt idx="1925">
                  <c:v>#N/A</c:v>
                </c:pt>
                <c:pt idx="1926">
                  <c:v>#N/A</c:v>
                </c:pt>
                <c:pt idx="1927">
                  <c:v>#N/A</c:v>
                </c:pt>
                <c:pt idx="1928">
                  <c:v>#N/A</c:v>
                </c:pt>
                <c:pt idx="1929">
                  <c:v>#N/A</c:v>
                </c:pt>
                <c:pt idx="1930">
                  <c:v>#N/A</c:v>
                </c:pt>
                <c:pt idx="1931">
                  <c:v>#N/A</c:v>
                </c:pt>
                <c:pt idx="1932">
                  <c:v>#N/A</c:v>
                </c:pt>
                <c:pt idx="1933">
                  <c:v>#N/A</c:v>
                </c:pt>
                <c:pt idx="1934">
                  <c:v>#N/A</c:v>
                </c:pt>
                <c:pt idx="1935">
                  <c:v>#N/A</c:v>
                </c:pt>
                <c:pt idx="1936">
                  <c:v>#N/A</c:v>
                </c:pt>
                <c:pt idx="1937">
                  <c:v>#N/A</c:v>
                </c:pt>
                <c:pt idx="1938">
                  <c:v>#N/A</c:v>
                </c:pt>
                <c:pt idx="1939">
                  <c:v>#N/A</c:v>
                </c:pt>
                <c:pt idx="1940">
                  <c:v>#N/A</c:v>
                </c:pt>
                <c:pt idx="1941">
                  <c:v>#N/A</c:v>
                </c:pt>
                <c:pt idx="1942">
                  <c:v>#N/A</c:v>
                </c:pt>
                <c:pt idx="1943">
                  <c:v>#N/A</c:v>
                </c:pt>
                <c:pt idx="1944">
                  <c:v>0.9616438356164384</c:v>
                </c:pt>
                <c:pt idx="1945">
                  <c:v>0.9616438356164384</c:v>
                </c:pt>
                <c:pt idx="1946">
                  <c:v>#N/A</c:v>
                </c:pt>
                <c:pt idx="1947">
                  <c:v>#N/A</c:v>
                </c:pt>
                <c:pt idx="1948">
                  <c:v>#N/A</c:v>
                </c:pt>
                <c:pt idx="1949">
                  <c:v>#N/A</c:v>
                </c:pt>
                <c:pt idx="1950">
                  <c:v>#N/A</c:v>
                </c:pt>
                <c:pt idx="1951">
                  <c:v>#N/A</c:v>
                </c:pt>
                <c:pt idx="1952">
                  <c:v>#N/A</c:v>
                </c:pt>
                <c:pt idx="1953">
                  <c:v>#N/A</c:v>
                </c:pt>
                <c:pt idx="1954">
                  <c:v>#N/A</c:v>
                </c:pt>
                <c:pt idx="1955">
                  <c:v>#N/A</c:v>
                </c:pt>
                <c:pt idx="1956">
                  <c:v>#N/A</c:v>
                </c:pt>
                <c:pt idx="1957">
                  <c:v>#N/A</c:v>
                </c:pt>
                <c:pt idx="1958">
                  <c:v>#N/A</c:v>
                </c:pt>
                <c:pt idx="1959">
                  <c:v>#N/A</c:v>
                </c:pt>
                <c:pt idx="1960">
                  <c:v>#N/A</c:v>
                </c:pt>
                <c:pt idx="1961">
                  <c:v>0.9726027397260274</c:v>
                </c:pt>
                <c:pt idx="1962">
                  <c:v>#N/A</c:v>
                </c:pt>
                <c:pt idx="1963">
                  <c:v>#N/A</c:v>
                </c:pt>
                <c:pt idx="1964">
                  <c:v>#N/A</c:v>
                </c:pt>
                <c:pt idx="1965">
                  <c:v>#N/A</c:v>
                </c:pt>
                <c:pt idx="1966">
                  <c:v>#N/A</c:v>
                </c:pt>
                <c:pt idx="1967">
                  <c:v>#N/A</c:v>
                </c:pt>
                <c:pt idx="1968">
                  <c:v>#N/A</c:v>
                </c:pt>
                <c:pt idx="1969">
                  <c:v>#N/A</c:v>
                </c:pt>
                <c:pt idx="1970">
                  <c:v>#N/A</c:v>
                </c:pt>
                <c:pt idx="1971">
                  <c:v>#N/A</c:v>
                </c:pt>
                <c:pt idx="1972">
                  <c:v>#N/A</c:v>
                </c:pt>
                <c:pt idx="1973">
                  <c:v>#N/A</c:v>
                </c:pt>
                <c:pt idx="1974">
                  <c:v>#N/A</c:v>
                </c:pt>
                <c:pt idx="1975">
                  <c:v>#N/A</c:v>
                </c:pt>
                <c:pt idx="1976">
                  <c:v>#N/A</c:v>
                </c:pt>
                <c:pt idx="1977">
                  <c:v>#N/A</c:v>
                </c:pt>
                <c:pt idx="1978">
                  <c:v>#N/A</c:v>
                </c:pt>
                <c:pt idx="1979">
                  <c:v>#N/A</c:v>
                </c:pt>
                <c:pt idx="1980">
                  <c:v>#N/A</c:v>
                </c:pt>
                <c:pt idx="1981">
                  <c:v>0.9726027397260274</c:v>
                </c:pt>
                <c:pt idx="1982">
                  <c:v>#N/A</c:v>
                </c:pt>
                <c:pt idx="1983">
                  <c:v>#N/A</c:v>
                </c:pt>
                <c:pt idx="1984">
                  <c:v>#N/A</c:v>
                </c:pt>
                <c:pt idx="1985">
                  <c:v>#N/A</c:v>
                </c:pt>
                <c:pt idx="1986">
                  <c:v>#N/A</c:v>
                </c:pt>
                <c:pt idx="1987">
                  <c:v>#N/A</c:v>
                </c:pt>
                <c:pt idx="1988">
                  <c:v>#N/A</c:v>
                </c:pt>
                <c:pt idx="1989">
                  <c:v>#N/A</c:v>
                </c:pt>
                <c:pt idx="1990">
                  <c:v>#N/A</c:v>
                </c:pt>
                <c:pt idx="1991">
                  <c:v>#N/A</c:v>
                </c:pt>
                <c:pt idx="1992">
                  <c:v>#N/A</c:v>
                </c:pt>
                <c:pt idx="1993">
                  <c:v>#N/A</c:v>
                </c:pt>
                <c:pt idx="1994">
                  <c:v>#N/A</c:v>
                </c:pt>
                <c:pt idx="1995">
                  <c:v>#N/A</c:v>
                </c:pt>
                <c:pt idx="1996">
                  <c:v>#N/A</c:v>
                </c:pt>
                <c:pt idx="1997">
                  <c:v>#N/A</c:v>
                </c:pt>
                <c:pt idx="1998">
                  <c:v>#N/A</c:v>
                </c:pt>
                <c:pt idx="1999">
                  <c:v>#N/A</c:v>
                </c:pt>
                <c:pt idx="2000">
                  <c:v>#N/A</c:v>
                </c:pt>
                <c:pt idx="2001">
                  <c:v>#N/A</c:v>
                </c:pt>
                <c:pt idx="2002">
                  <c:v>#N/A</c:v>
                </c:pt>
                <c:pt idx="2003">
                  <c:v>#N/A</c:v>
                </c:pt>
                <c:pt idx="2004">
                  <c:v>#N/A</c:v>
                </c:pt>
                <c:pt idx="2005">
                  <c:v>#N/A</c:v>
                </c:pt>
                <c:pt idx="2006">
                  <c:v>#N/A</c:v>
                </c:pt>
                <c:pt idx="2007">
                  <c:v>#N/A</c:v>
                </c:pt>
                <c:pt idx="2008">
                  <c:v>#N/A</c:v>
                </c:pt>
                <c:pt idx="2009">
                  <c:v>#N/A</c:v>
                </c:pt>
                <c:pt idx="2010">
                  <c:v>#N/A</c:v>
                </c:pt>
                <c:pt idx="2011">
                  <c:v>#N/A</c:v>
                </c:pt>
                <c:pt idx="2012">
                  <c:v>#N/A</c:v>
                </c:pt>
                <c:pt idx="2013">
                  <c:v>#N/A</c:v>
                </c:pt>
                <c:pt idx="2014">
                  <c:v>#N/A</c:v>
                </c:pt>
                <c:pt idx="2015">
                  <c:v>#N/A</c:v>
                </c:pt>
                <c:pt idx="2016">
                  <c:v>#N/A</c:v>
                </c:pt>
                <c:pt idx="2017">
                  <c:v>#N/A</c:v>
                </c:pt>
                <c:pt idx="2018">
                  <c:v>#N/A</c:v>
                </c:pt>
                <c:pt idx="2019">
                  <c:v>#N/A</c:v>
                </c:pt>
                <c:pt idx="2020">
                  <c:v>#N/A</c:v>
                </c:pt>
                <c:pt idx="2021">
                  <c:v>#N/A</c:v>
                </c:pt>
                <c:pt idx="2022">
                  <c:v>#N/A</c:v>
                </c:pt>
                <c:pt idx="2023">
                  <c:v>#N/A</c:v>
                </c:pt>
                <c:pt idx="2024">
                  <c:v>#N/A</c:v>
                </c:pt>
                <c:pt idx="2025">
                  <c:v>#N/A</c:v>
                </c:pt>
                <c:pt idx="2026">
                  <c:v>#N/A</c:v>
                </c:pt>
                <c:pt idx="2027">
                  <c:v>#N/A</c:v>
                </c:pt>
                <c:pt idx="2028">
                  <c:v>#N/A</c:v>
                </c:pt>
                <c:pt idx="2029">
                  <c:v>#N/A</c:v>
                </c:pt>
                <c:pt idx="2030">
                  <c:v>#N/A</c:v>
                </c:pt>
                <c:pt idx="2031">
                  <c:v>#N/A</c:v>
                </c:pt>
                <c:pt idx="2032">
                  <c:v>#N/A</c:v>
                </c:pt>
                <c:pt idx="2033">
                  <c:v>#N/A</c:v>
                </c:pt>
                <c:pt idx="2034">
                  <c:v>#N/A</c:v>
                </c:pt>
                <c:pt idx="2035">
                  <c:v>#N/A</c:v>
                </c:pt>
                <c:pt idx="2036">
                  <c:v>#N/A</c:v>
                </c:pt>
                <c:pt idx="2037">
                  <c:v>#N/A</c:v>
                </c:pt>
                <c:pt idx="2038">
                  <c:v>#N/A</c:v>
                </c:pt>
                <c:pt idx="2039">
                  <c:v>#N/A</c:v>
                </c:pt>
                <c:pt idx="2040">
                  <c:v>#N/A</c:v>
                </c:pt>
                <c:pt idx="2041">
                  <c:v>#N/A</c:v>
                </c:pt>
                <c:pt idx="2042">
                  <c:v>#N/A</c:v>
                </c:pt>
                <c:pt idx="2043">
                  <c:v>#N/A</c:v>
                </c:pt>
                <c:pt idx="2044">
                  <c:v>#N/A</c:v>
                </c:pt>
                <c:pt idx="2045">
                  <c:v>1.0027397260273974</c:v>
                </c:pt>
                <c:pt idx="2046">
                  <c:v>#N/A</c:v>
                </c:pt>
                <c:pt idx="2047">
                  <c:v>#N/A</c:v>
                </c:pt>
                <c:pt idx="2048">
                  <c:v>#N/A</c:v>
                </c:pt>
                <c:pt idx="2049">
                  <c:v>#N/A</c:v>
                </c:pt>
                <c:pt idx="2050">
                  <c:v>#N/A</c:v>
                </c:pt>
                <c:pt idx="2051">
                  <c:v>#N/A</c:v>
                </c:pt>
                <c:pt idx="2052">
                  <c:v>#N/A</c:v>
                </c:pt>
                <c:pt idx="2053">
                  <c:v>#N/A</c:v>
                </c:pt>
                <c:pt idx="2054">
                  <c:v>#N/A</c:v>
                </c:pt>
                <c:pt idx="2055">
                  <c:v>1.0027397260273974</c:v>
                </c:pt>
                <c:pt idx="2056">
                  <c:v>#N/A</c:v>
                </c:pt>
                <c:pt idx="2057">
                  <c:v>#N/A</c:v>
                </c:pt>
                <c:pt idx="2058">
                  <c:v>#N/A</c:v>
                </c:pt>
                <c:pt idx="2059">
                  <c:v>#N/A</c:v>
                </c:pt>
                <c:pt idx="2060">
                  <c:v>#N/A</c:v>
                </c:pt>
                <c:pt idx="2061">
                  <c:v>1.0027397260273974</c:v>
                </c:pt>
                <c:pt idx="2062">
                  <c:v>#N/A</c:v>
                </c:pt>
                <c:pt idx="2063">
                  <c:v>#N/A</c:v>
                </c:pt>
                <c:pt idx="2064">
                  <c:v>#N/A</c:v>
                </c:pt>
                <c:pt idx="2065">
                  <c:v>#N/A</c:v>
                </c:pt>
                <c:pt idx="2066">
                  <c:v>#N/A</c:v>
                </c:pt>
                <c:pt idx="2067">
                  <c:v>#N/A</c:v>
                </c:pt>
                <c:pt idx="2068">
                  <c:v>#N/A</c:v>
                </c:pt>
                <c:pt idx="2069">
                  <c:v>#N/A</c:v>
                </c:pt>
                <c:pt idx="2070">
                  <c:v>#N/A</c:v>
                </c:pt>
                <c:pt idx="2071">
                  <c:v>#N/A</c:v>
                </c:pt>
                <c:pt idx="2072">
                  <c:v>#N/A</c:v>
                </c:pt>
                <c:pt idx="2073">
                  <c:v>#N/A</c:v>
                </c:pt>
                <c:pt idx="2074">
                  <c:v>#N/A</c:v>
                </c:pt>
                <c:pt idx="2075">
                  <c:v>#N/A</c:v>
                </c:pt>
                <c:pt idx="2076">
                  <c:v>#N/A</c:v>
                </c:pt>
                <c:pt idx="2077">
                  <c:v>#N/A</c:v>
                </c:pt>
                <c:pt idx="2078">
                  <c:v>#N/A</c:v>
                </c:pt>
                <c:pt idx="2079">
                  <c:v>#N/A</c:v>
                </c:pt>
                <c:pt idx="2080">
                  <c:v>#N/A</c:v>
                </c:pt>
                <c:pt idx="2081">
                  <c:v>#N/A</c:v>
                </c:pt>
                <c:pt idx="2082">
                  <c:v>#N/A</c:v>
                </c:pt>
                <c:pt idx="2083">
                  <c:v>#N/A</c:v>
                </c:pt>
                <c:pt idx="2084">
                  <c:v>#N/A</c:v>
                </c:pt>
                <c:pt idx="2085">
                  <c:v>#N/A</c:v>
                </c:pt>
                <c:pt idx="2086">
                  <c:v>#N/A</c:v>
                </c:pt>
                <c:pt idx="2087">
                  <c:v>#N/A</c:v>
                </c:pt>
                <c:pt idx="2088">
                  <c:v>#N/A</c:v>
                </c:pt>
                <c:pt idx="2089">
                  <c:v>#N/A</c:v>
                </c:pt>
                <c:pt idx="2090">
                  <c:v>#N/A</c:v>
                </c:pt>
                <c:pt idx="2091">
                  <c:v>#N/A</c:v>
                </c:pt>
                <c:pt idx="2092">
                  <c:v>#N/A</c:v>
                </c:pt>
                <c:pt idx="2093">
                  <c:v>#N/A</c:v>
                </c:pt>
                <c:pt idx="2094">
                  <c:v>#N/A</c:v>
                </c:pt>
                <c:pt idx="2095">
                  <c:v>#N/A</c:v>
                </c:pt>
                <c:pt idx="2096">
                  <c:v>#N/A</c:v>
                </c:pt>
                <c:pt idx="2097">
                  <c:v>#N/A</c:v>
                </c:pt>
                <c:pt idx="2098">
                  <c:v>#N/A</c:v>
                </c:pt>
                <c:pt idx="2099">
                  <c:v>#N/A</c:v>
                </c:pt>
                <c:pt idx="2100">
                  <c:v>#N/A</c:v>
                </c:pt>
                <c:pt idx="2101">
                  <c:v>#N/A</c:v>
                </c:pt>
                <c:pt idx="2102">
                  <c:v>#N/A</c:v>
                </c:pt>
                <c:pt idx="2103">
                  <c:v>#N/A</c:v>
                </c:pt>
                <c:pt idx="2104">
                  <c:v>#N/A</c:v>
                </c:pt>
                <c:pt idx="2105">
                  <c:v>#N/A</c:v>
                </c:pt>
                <c:pt idx="2106">
                  <c:v>#N/A</c:v>
                </c:pt>
                <c:pt idx="2107">
                  <c:v>#N/A</c:v>
                </c:pt>
                <c:pt idx="2108">
                  <c:v>#N/A</c:v>
                </c:pt>
                <c:pt idx="2109">
                  <c:v>#N/A</c:v>
                </c:pt>
                <c:pt idx="2110">
                  <c:v>#N/A</c:v>
                </c:pt>
                <c:pt idx="2111">
                  <c:v>1.0027397260273974</c:v>
                </c:pt>
                <c:pt idx="2112">
                  <c:v>#N/A</c:v>
                </c:pt>
                <c:pt idx="2113">
                  <c:v>#N/A</c:v>
                </c:pt>
                <c:pt idx="2114">
                  <c:v>#N/A</c:v>
                </c:pt>
                <c:pt idx="2115">
                  <c:v>#N/A</c:v>
                </c:pt>
                <c:pt idx="2116">
                  <c:v>#N/A</c:v>
                </c:pt>
                <c:pt idx="2117">
                  <c:v>1.0027397260273974</c:v>
                </c:pt>
                <c:pt idx="2118">
                  <c:v>#N/A</c:v>
                </c:pt>
                <c:pt idx="2119">
                  <c:v>#N/A</c:v>
                </c:pt>
                <c:pt idx="2120">
                  <c:v>#N/A</c:v>
                </c:pt>
                <c:pt idx="2121">
                  <c:v>#N/A</c:v>
                </c:pt>
                <c:pt idx="2122">
                  <c:v>#N/A</c:v>
                </c:pt>
                <c:pt idx="2123">
                  <c:v>1.0027397260273974</c:v>
                </c:pt>
                <c:pt idx="2124">
                  <c:v>#N/A</c:v>
                </c:pt>
                <c:pt idx="2125">
                  <c:v>#N/A</c:v>
                </c:pt>
                <c:pt idx="2126">
                  <c:v>#N/A</c:v>
                </c:pt>
                <c:pt idx="2127">
                  <c:v>#N/A</c:v>
                </c:pt>
                <c:pt idx="2128">
                  <c:v>#N/A</c:v>
                </c:pt>
                <c:pt idx="2129">
                  <c:v>#N/A</c:v>
                </c:pt>
                <c:pt idx="2130">
                  <c:v>#N/A</c:v>
                </c:pt>
                <c:pt idx="2131">
                  <c:v>#N/A</c:v>
                </c:pt>
                <c:pt idx="2132">
                  <c:v>#N/A</c:v>
                </c:pt>
                <c:pt idx="2133">
                  <c:v>#N/A</c:v>
                </c:pt>
                <c:pt idx="2134">
                  <c:v>#N/A</c:v>
                </c:pt>
                <c:pt idx="2135">
                  <c:v>#N/A</c:v>
                </c:pt>
                <c:pt idx="2136">
                  <c:v>#N/A</c:v>
                </c:pt>
                <c:pt idx="2137">
                  <c:v>#N/A</c:v>
                </c:pt>
                <c:pt idx="2138">
                  <c:v>#N/A</c:v>
                </c:pt>
                <c:pt idx="2139">
                  <c:v>#N/A</c:v>
                </c:pt>
                <c:pt idx="2140">
                  <c:v>#N/A</c:v>
                </c:pt>
                <c:pt idx="2141">
                  <c:v>#N/A</c:v>
                </c:pt>
                <c:pt idx="2142">
                  <c:v>#N/A</c:v>
                </c:pt>
                <c:pt idx="2143">
                  <c:v>#N/A</c:v>
                </c:pt>
                <c:pt idx="2144">
                  <c:v>#N/A</c:v>
                </c:pt>
                <c:pt idx="2145">
                  <c:v>#N/A</c:v>
                </c:pt>
                <c:pt idx="2146">
                  <c:v>#N/A</c:v>
                </c:pt>
                <c:pt idx="2147">
                  <c:v>#N/A</c:v>
                </c:pt>
                <c:pt idx="2148">
                  <c:v>#N/A</c:v>
                </c:pt>
                <c:pt idx="2149">
                  <c:v>#N/A</c:v>
                </c:pt>
                <c:pt idx="2150">
                  <c:v>#N/A</c:v>
                </c:pt>
                <c:pt idx="2151">
                  <c:v>#N/A</c:v>
                </c:pt>
                <c:pt idx="2152">
                  <c:v>#N/A</c:v>
                </c:pt>
                <c:pt idx="2153">
                  <c:v>#N/A</c:v>
                </c:pt>
                <c:pt idx="2154">
                  <c:v>#N/A</c:v>
                </c:pt>
                <c:pt idx="2155">
                  <c:v>#N/A</c:v>
                </c:pt>
                <c:pt idx="2156">
                  <c:v>#N/A</c:v>
                </c:pt>
                <c:pt idx="2157">
                  <c:v>#N/A</c:v>
                </c:pt>
                <c:pt idx="2158">
                  <c:v>#N/A</c:v>
                </c:pt>
                <c:pt idx="2159">
                  <c:v>#N/A</c:v>
                </c:pt>
                <c:pt idx="2160">
                  <c:v>#N/A</c:v>
                </c:pt>
                <c:pt idx="2161">
                  <c:v>#N/A</c:v>
                </c:pt>
                <c:pt idx="2162">
                  <c:v>#N/A</c:v>
                </c:pt>
                <c:pt idx="2163">
                  <c:v>#N/A</c:v>
                </c:pt>
                <c:pt idx="2164">
                  <c:v>#N/A</c:v>
                </c:pt>
                <c:pt idx="2165">
                  <c:v>#N/A</c:v>
                </c:pt>
                <c:pt idx="2166">
                  <c:v>#N/A</c:v>
                </c:pt>
                <c:pt idx="2167">
                  <c:v>#N/A</c:v>
                </c:pt>
                <c:pt idx="2168">
                  <c:v>#N/A</c:v>
                </c:pt>
                <c:pt idx="2169">
                  <c:v>#N/A</c:v>
                </c:pt>
                <c:pt idx="2170">
                  <c:v>1.0027397260273974</c:v>
                </c:pt>
                <c:pt idx="2171">
                  <c:v>#N/A</c:v>
                </c:pt>
                <c:pt idx="2172">
                  <c:v>#N/A</c:v>
                </c:pt>
                <c:pt idx="2173">
                  <c:v>#N/A</c:v>
                </c:pt>
                <c:pt idx="2174">
                  <c:v>#N/A</c:v>
                </c:pt>
                <c:pt idx="2175">
                  <c:v>#N/A</c:v>
                </c:pt>
                <c:pt idx="2176">
                  <c:v>#N/A</c:v>
                </c:pt>
                <c:pt idx="2177">
                  <c:v>1.0027397260273974</c:v>
                </c:pt>
                <c:pt idx="2178">
                  <c:v>#N/A</c:v>
                </c:pt>
                <c:pt idx="2179">
                  <c:v>#N/A</c:v>
                </c:pt>
                <c:pt idx="2180">
                  <c:v>#N/A</c:v>
                </c:pt>
                <c:pt idx="2181">
                  <c:v>#N/A</c:v>
                </c:pt>
                <c:pt idx="2182">
                  <c:v>#N/A</c:v>
                </c:pt>
                <c:pt idx="2183">
                  <c:v>#N/A</c:v>
                </c:pt>
                <c:pt idx="2184">
                  <c:v>#N/A</c:v>
                </c:pt>
                <c:pt idx="2185">
                  <c:v>#N/A</c:v>
                </c:pt>
                <c:pt idx="2186">
                  <c:v>#N/A</c:v>
                </c:pt>
                <c:pt idx="2187">
                  <c:v>#N/A</c:v>
                </c:pt>
                <c:pt idx="2188">
                  <c:v>#N/A</c:v>
                </c:pt>
                <c:pt idx="2189">
                  <c:v>#N/A</c:v>
                </c:pt>
                <c:pt idx="2190">
                  <c:v>#N/A</c:v>
                </c:pt>
                <c:pt idx="2191">
                  <c:v>#N/A</c:v>
                </c:pt>
                <c:pt idx="2192">
                  <c:v>#N/A</c:v>
                </c:pt>
                <c:pt idx="2193">
                  <c:v>#N/A</c:v>
                </c:pt>
                <c:pt idx="2194">
                  <c:v>#N/A</c:v>
                </c:pt>
                <c:pt idx="2195">
                  <c:v>#N/A</c:v>
                </c:pt>
                <c:pt idx="2196">
                  <c:v>#N/A</c:v>
                </c:pt>
                <c:pt idx="2197">
                  <c:v>#N/A</c:v>
                </c:pt>
                <c:pt idx="2198">
                  <c:v>#N/A</c:v>
                </c:pt>
                <c:pt idx="2199">
                  <c:v>#N/A</c:v>
                </c:pt>
                <c:pt idx="2200">
                  <c:v>#N/A</c:v>
                </c:pt>
                <c:pt idx="2201">
                  <c:v>#N/A</c:v>
                </c:pt>
                <c:pt idx="2202">
                  <c:v>#N/A</c:v>
                </c:pt>
                <c:pt idx="2203">
                  <c:v>#N/A</c:v>
                </c:pt>
                <c:pt idx="2204">
                  <c:v>#N/A</c:v>
                </c:pt>
                <c:pt idx="2205">
                  <c:v>#N/A</c:v>
                </c:pt>
                <c:pt idx="2206">
                  <c:v>#N/A</c:v>
                </c:pt>
                <c:pt idx="2207">
                  <c:v>#N/A</c:v>
                </c:pt>
                <c:pt idx="2208">
                  <c:v>#N/A</c:v>
                </c:pt>
                <c:pt idx="2209">
                  <c:v>#N/A</c:v>
                </c:pt>
                <c:pt idx="2210">
                  <c:v>#N/A</c:v>
                </c:pt>
                <c:pt idx="2211">
                  <c:v>#N/A</c:v>
                </c:pt>
                <c:pt idx="2212">
                  <c:v>#N/A</c:v>
                </c:pt>
                <c:pt idx="2213">
                  <c:v>#N/A</c:v>
                </c:pt>
                <c:pt idx="2214">
                  <c:v>#N/A</c:v>
                </c:pt>
                <c:pt idx="2215">
                  <c:v>#N/A</c:v>
                </c:pt>
                <c:pt idx="2216">
                  <c:v>#N/A</c:v>
                </c:pt>
                <c:pt idx="2217">
                  <c:v>#N/A</c:v>
                </c:pt>
                <c:pt idx="2218">
                  <c:v>#N/A</c:v>
                </c:pt>
                <c:pt idx="2219">
                  <c:v>#N/A</c:v>
                </c:pt>
                <c:pt idx="2220">
                  <c:v>#N/A</c:v>
                </c:pt>
                <c:pt idx="2221">
                  <c:v>#N/A</c:v>
                </c:pt>
                <c:pt idx="2222">
                  <c:v>#N/A</c:v>
                </c:pt>
                <c:pt idx="2223">
                  <c:v>#N/A</c:v>
                </c:pt>
                <c:pt idx="2224">
                  <c:v>#N/A</c:v>
                </c:pt>
                <c:pt idx="2225">
                  <c:v>#N/A</c:v>
                </c:pt>
                <c:pt idx="2226">
                  <c:v>#N/A</c:v>
                </c:pt>
                <c:pt idx="2227">
                  <c:v>#N/A</c:v>
                </c:pt>
                <c:pt idx="2228">
                  <c:v>#N/A</c:v>
                </c:pt>
                <c:pt idx="2229">
                  <c:v>#N/A</c:v>
                </c:pt>
                <c:pt idx="2230">
                  <c:v>1.0136986301369864</c:v>
                </c:pt>
                <c:pt idx="2231">
                  <c:v>#N/A</c:v>
                </c:pt>
                <c:pt idx="2232">
                  <c:v>#N/A</c:v>
                </c:pt>
                <c:pt idx="2233">
                  <c:v>#N/A</c:v>
                </c:pt>
                <c:pt idx="2234">
                  <c:v>1.0164383561643835</c:v>
                </c:pt>
                <c:pt idx="2235">
                  <c:v>#N/A</c:v>
                </c:pt>
                <c:pt idx="2236">
                  <c:v>#N/A</c:v>
                </c:pt>
                <c:pt idx="2237">
                  <c:v>#N/A</c:v>
                </c:pt>
                <c:pt idx="2238">
                  <c:v>#N/A</c:v>
                </c:pt>
                <c:pt idx="2239">
                  <c:v>#N/A</c:v>
                </c:pt>
                <c:pt idx="2240">
                  <c:v>#N/A</c:v>
                </c:pt>
                <c:pt idx="2241">
                  <c:v>#N/A</c:v>
                </c:pt>
                <c:pt idx="2242">
                  <c:v>#N/A</c:v>
                </c:pt>
                <c:pt idx="2243">
                  <c:v>#N/A</c:v>
                </c:pt>
                <c:pt idx="2244">
                  <c:v>#N/A</c:v>
                </c:pt>
                <c:pt idx="2245">
                  <c:v>#N/A</c:v>
                </c:pt>
                <c:pt idx="2246">
                  <c:v>#N/A</c:v>
                </c:pt>
                <c:pt idx="2247">
                  <c:v>#N/A</c:v>
                </c:pt>
                <c:pt idx="2248">
                  <c:v>#N/A</c:v>
                </c:pt>
                <c:pt idx="2249">
                  <c:v>#N/A</c:v>
                </c:pt>
                <c:pt idx="2250">
                  <c:v>#N/A</c:v>
                </c:pt>
                <c:pt idx="2251">
                  <c:v>#N/A</c:v>
                </c:pt>
                <c:pt idx="2252">
                  <c:v>#N/A</c:v>
                </c:pt>
                <c:pt idx="2253">
                  <c:v>#N/A</c:v>
                </c:pt>
                <c:pt idx="2254">
                  <c:v>#N/A</c:v>
                </c:pt>
                <c:pt idx="2255">
                  <c:v>#N/A</c:v>
                </c:pt>
                <c:pt idx="2256">
                  <c:v>#N/A</c:v>
                </c:pt>
                <c:pt idx="2257">
                  <c:v>#N/A</c:v>
                </c:pt>
                <c:pt idx="2258">
                  <c:v>#N/A</c:v>
                </c:pt>
                <c:pt idx="2259">
                  <c:v>#N/A</c:v>
                </c:pt>
                <c:pt idx="2260">
                  <c:v>#N/A</c:v>
                </c:pt>
                <c:pt idx="2261">
                  <c:v>#N/A</c:v>
                </c:pt>
                <c:pt idx="2262">
                  <c:v>#N/A</c:v>
                </c:pt>
                <c:pt idx="2263">
                  <c:v>#N/A</c:v>
                </c:pt>
                <c:pt idx="2264">
                  <c:v>#N/A</c:v>
                </c:pt>
                <c:pt idx="2265">
                  <c:v>#N/A</c:v>
                </c:pt>
                <c:pt idx="2266">
                  <c:v>#N/A</c:v>
                </c:pt>
                <c:pt idx="2267">
                  <c:v>1.0301369863013699</c:v>
                </c:pt>
                <c:pt idx="2268">
                  <c:v>#N/A</c:v>
                </c:pt>
                <c:pt idx="2269">
                  <c:v>#N/A</c:v>
                </c:pt>
                <c:pt idx="2270">
                  <c:v>#N/A</c:v>
                </c:pt>
                <c:pt idx="2271">
                  <c:v>#N/A</c:v>
                </c:pt>
                <c:pt idx="2272">
                  <c:v>#N/A</c:v>
                </c:pt>
                <c:pt idx="2273">
                  <c:v>#N/A</c:v>
                </c:pt>
                <c:pt idx="2274">
                  <c:v>#N/A</c:v>
                </c:pt>
                <c:pt idx="2275">
                  <c:v>#N/A</c:v>
                </c:pt>
                <c:pt idx="2276">
                  <c:v>#N/A</c:v>
                </c:pt>
                <c:pt idx="2277">
                  <c:v>#N/A</c:v>
                </c:pt>
                <c:pt idx="2278">
                  <c:v>#N/A</c:v>
                </c:pt>
                <c:pt idx="2279">
                  <c:v>#N/A</c:v>
                </c:pt>
                <c:pt idx="2280">
                  <c:v>#N/A</c:v>
                </c:pt>
                <c:pt idx="2281">
                  <c:v>#N/A</c:v>
                </c:pt>
                <c:pt idx="2282">
                  <c:v>#N/A</c:v>
                </c:pt>
                <c:pt idx="2283">
                  <c:v>#N/A</c:v>
                </c:pt>
                <c:pt idx="2284">
                  <c:v>1.0356164383561643</c:v>
                </c:pt>
                <c:pt idx="2285">
                  <c:v>1.0356164383561643</c:v>
                </c:pt>
                <c:pt idx="2286">
                  <c:v>#N/A</c:v>
                </c:pt>
                <c:pt idx="2287">
                  <c:v>#N/A</c:v>
                </c:pt>
                <c:pt idx="2288">
                  <c:v>#N/A</c:v>
                </c:pt>
                <c:pt idx="2289">
                  <c:v>#N/A</c:v>
                </c:pt>
                <c:pt idx="2290">
                  <c:v>#N/A</c:v>
                </c:pt>
                <c:pt idx="2291">
                  <c:v>#N/A</c:v>
                </c:pt>
                <c:pt idx="2292">
                  <c:v>#N/A</c:v>
                </c:pt>
                <c:pt idx="2293">
                  <c:v>#N/A</c:v>
                </c:pt>
                <c:pt idx="2294">
                  <c:v>#N/A</c:v>
                </c:pt>
                <c:pt idx="2295">
                  <c:v>#N/A</c:v>
                </c:pt>
                <c:pt idx="2296">
                  <c:v>#N/A</c:v>
                </c:pt>
                <c:pt idx="2297">
                  <c:v>#N/A</c:v>
                </c:pt>
                <c:pt idx="2298">
                  <c:v>#N/A</c:v>
                </c:pt>
                <c:pt idx="2299">
                  <c:v>#N/A</c:v>
                </c:pt>
                <c:pt idx="2300">
                  <c:v>#N/A</c:v>
                </c:pt>
                <c:pt idx="2301">
                  <c:v>#N/A</c:v>
                </c:pt>
                <c:pt idx="2302">
                  <c:v>#N/A</c:v>
                </c:pt>
                <c:pt idx="2303">
                  <c:v>#N/A</c:v>
                </c:pt>
                <c:pt idx="2304">
                  <c:v>#N/A</c:v>
                </c:pt>
                <c:pt idx="2305">
                  <c:v>#N/A</c:v>
                </c:pt>
                <c:pt idx="2306">
                  <c:v>#N/A</c:v>
                </c:pt>
                <c:pt idx="2307">
                  <c:v>#N/A</c:v>
                </c:pt>
                <c:pt idx="2308">
                  <c:v>#N/A</c:v>
                </c:pt>
                <c:pt idx="2309">
                  <c:v>#N/A</c:v>
                </c:pt>
                <c:pt idx="2310">
                  <c:v>#N/A</c:v>
                </c:pt>
                <c:pt idx="2311">
                  <c:v>#N/A</c:v>
                </c:pt>
                <c:pt idx="2312">
                  <c:v>#N/A</c:v>
                </c:pt>
                <c:pt idx="2313">
                  <c:v>#N/A</c:v>
                </c:pt>
                <c:pt idx="2314">
                  <c:v>#N/A</c:v>
                </c:pt>
                <c:pt idx="2315">
                  <c:v>#N/A</c:v>
                </c:pt>
                <c:pt idx="2316">
                  <c:v>#N/A</c:v>
                </c:pt>
                <c:pt idx="2317">
                  <c:v>#N/A</c:v>
                </c:pt>
                <c:pt idx="2318">
                  <c:v>#N/A</c:v>
                </c:pt>
                <c:pt idx="2319">
                  <c:v>#N/A</c:v>
                </c:pt>
                <c:pt idx="2320">
                  <c:v>#N/A</c:v>
                </c:pt>
                <c:pt idx="2321">
                  <c:v>#N/A</c:v>
                </c:pt>
                <c:pt idx="2322">
                  <c:v>#N/A</c:v>
                </c:pt>
                <c:pt idx="2323">
                  <c:v>#N/A</c:v>
                </c:pt>
                <c:pt idx="2324">
                  <c:v>#N/A</c:v>
                </c:pt>
                <c:pt idx="2325">
                  <c:v>#N/A</c:v>
                </c:pt>
                <c:pt idx="2326">
                  <c:v>#N/A</c:v>
                </c:pt>
                <c:pt idx="2327">
                  <c:v>#N/A</c:v>
                </c:pt>
                <c:pt idx="2328">
                  <c:v>#N/A</c:v>
                </c:pt>
                <c:pt idx="2329">
                  <c:v>#N/A</c:v>
                </c:pt>
                <c:pt idx="2330">
                  <c:v>#N/A</c:v>
                </c:pt>
                <c:pt idx="2331">
                  <c:v>#N/A</c:v>
                </c:pt>
                <c:pt idx="2332">
                  <c:v>#N/A</c:v>
                </c:pt>
                <c:pt idx="2333">
                  <c:v>#N/A</c:v>
                </c:pt>
                <c:pt idx="2334">
                  <c:v>#N/A</c:v>
                </c:pt>
                <c:pt idx="2335">
                  <c:v>#N/A</c:v>
                </c:pt>
                <c:pt idx="2336">
                  <c:v>#N/A</c:v>
                </c:pt>
                <c:pt idx="2337">
                  <c:v>#N/A</c:v>
                </c:pt>
                <c:pt idx="2338">
                  <c:v>#N/A</c:v>
                </c:pt>
                <c:pt idx="2339">
                  <c:v>#N/A</c:v>
                </c:pt>
                <c:pt idx="2340">
                  <c:v>#N/A</c:v>
                </c:pt>
                <c:pt idx="2341">
                  <c:v>#N/A</c:v>
                </c:pt>
                <c:pt idx="2342">
                  <c:v>#N/A</c:v>
                </c:pt>
                <c:pt idx="2343">
                  <c:v>#N/A</c:v>
                </c:pt>
                <c:pt idx="2344">
                  <c:v>#N/A</c:v>
                </c:pt>
                <c:pt idx="2345">
                  <c:v>#N/A</c:v>
                </c:pt>
                <c:pt idx="2346">
                  <c:v>#N/A</c:v>
                </c:pt>
                <c:pt idx="2347">
                  <c:v>#N/A</c:v>
                </c:pt>
                <c:pt idx="2348">
                  <c:v>#N/A</c:v>
                </c:pt>
                <c:pt idx="2349">
                  <c:v>#N/A</c:v>
                </c:pt>
                <c:pt idx="2350">
                  <c:v>#N/A</c:v>
                </c:pt>
                <c:pt idx="2351">
                  <c:v>#N/A</c:v>
                </c:pt>
                <c:pt idx="2352">
                  <c:v>#N/A</c:v>
                </c:pt>
                <c:pt idx="2353">
                  <c:v>#N/A</c:v>
                </c:pt>
                <c:pt idx="2354">
                  <c:v>#N/A</c:v>
                </c:pt>
                <c:pt idx="2355">
                  <c:v>#N/A</c:v>
                </c:pt>
                <c:pt idx="2356">
                  <c:v>#N/A</c:v>
                </c:pt>
                <c:pt idx="2357">
                  <c:v>#N/A</c:v>
                </c:pt>
                <c:pt idx="2358">
                  <c:v>#N/A</c:v>
                </c:pt>
                <c:pt idx="2359">
                  <c:v>#N/A</c:v>
                </c:pt>
                <c:pt idx="2360">
                  <c:v>#N/A</c:v>
                </c:pt>
                <c:pt idx="2361">
                  <c:v>#N/A</c:v>
                </c:pt>
                <c:pt idx="2362">
                  <c:v>#N/A</c:v>
                </c:pt>
                <c:pt idx="2363">
                  <c:v>#N/A</c:v>
                </c:pt>
                <c:pt idx="2364">
                  <c:v>#N/A</c:v>
                </c:pt>
                <c:pt idx="2365">
                  <c:v>#N/A</c:v>
                </c:pt>
                <c:pt idx="2366">
                  <c:v>#N/A</c:v>
                </c:pt>
                <c:pt idx="2367">
                  <c:v>#N/A</c:v>
                </c:pt>
                <c:pt idx="2368">
                  <c:v>#N/A</c:v>
                </c:pt>
                <c:pt idx="2369">
                  <c:v>#N/A</c:v>
                </c:pt>
                <c:pt idx="2370">
                  <c:v>#N/A</c:v>
                </c:pt>
                <c:pt idx="2371">
                  <c:v>#N/A</c:v>
                </c:pt>
                <c:pt idx="2372">
                  <c:v>#N/A</c:v>
                </c:pt>
                <c:pt idx="2373">
                  <c:v>#N/A</c:v>
                </c:pt>
                <c:pt idx="2374">
                  <c:v>#N/A</c:v>
                </c:pt>
                <c:pt idx="2375">
                  <c:v>#N/A</c:v>
                </c:pt>
                <c:pt idx="2376">
                  <c:v>#N/A</c:v>
                </c:pt>
                <c:pt idx="2377">
                  <c:v>#N/A</c:v>
                </c:pt>
                <c:pt idx="2378">
                  <c:v>#N/A</c:v>
                </c:pt>
                <c:pt idx="2379">
                  <c:v>#N/A</c:v>
                </c:pt>
                <c:pt idx="2380">
                  <c:v>#N/A</c:v>
                </c:pt>
                <c:pt idx="2381">
                  <c:v>#N/A</c:v>
                </c:pt>
                <c:pt idx="2382">
                  <c:v>#N/A</c:v>
                </c:pt>
                <c:pt idx="2383">
                  <c:v>#N/A</c:v>
                </c:pt>
                <c:pt idx="2384">
                  <c:v>#N/A</c:v>
                </c:pt>
                <c:pt idx="2385">
                  <c:v>#N/A</c:v>
                </c:pt>
                <c:pt idx="2386">
                  <c:v>#N/A</c:v>
                </c:pt>
                <c:pt idx="2387">
                  <c:v>#N/A</c:v>
                </c:pt>
                <c:pt idx="2388">
                  <c:v>#N/A</c:v>
                </c:pt>
                <c:pt idx="2389">
                  <c:v>#N/A</c:v>
                </c:pt>
                <c:pt idx="2390">
                  <c:v>#N/A</c:v>
                </c:pt>
                <c:pt idx="2391">
                  <c:v>#N/A</c:v>
                </c:pt>
                <c:pt idx="2392">
                  <c:v>#N/A</c:v>
                </c:pt>
                <c:pt idx="2393">
                  <c:v>#N/A</c:v>
                </c:pt>
                <c:pt idx="2394">
                  <c:v>#N/A</c:v>
                </c:pt>
                <c:pt idx="2395">
                  <c:v>#N/A</c:v>
                </c:pt>
                <c:pt idx="2396">
                  <c:v>1.1287671232876713</c:v>
                </c:pt>
                <c:pt idx="2397">
                  <c:v>#N/A</c:v>
                </c:pt>
                <c:pt idx="2398">
                  <c:v>#N/A</c:v>
                </c:pt>
                <c:pt idx="2399">
                  <c:v>#N/A</c:v>
                </c:pt>
                <c:pt idx="2400">
                  <c:v>#N/A</c:v>
                </c:pt>
                <c:pt idx="2401">
                  <c:v>#N/A</c:v>
                </c:pt>
                <c:pt idx="2402">
                  <c:v>#N/A</c:v>
                </c:pt>
                <c:pt idx="2403">
                  <c:v>#N/A</c:v>
                </c:pt>
                <c:pt idx="2404">
                  <c:v>#N/A</c:v>
                </c:pt>
                <c:pt idx="2405">
                  <c:v>#N/A</c:v>
                </c:pt>
                <c:pt idx="2406">
                  <c:v>#N/A</c:v>
                </c:pt>
                <c:pt idx="2407">
                  <c:v>#N/A</c:v>
                </c:pt>
                <c:pt idx="2408">
                  <c:v>#N/A</c:v>
                </c:pt>
                <c:pt idx="2409">
                  <c:v>#N/A</c:v>
                </c:pt>
                <c:pt idx="2410">
                  <c:v>#N/A</c:v>
                </c:pt>
                <c:pt idx="2411">
                  <c:v>#N/A</c:v>
                </c:pt>
                <c:pt idx="2412">
                  <c:v>#N/A</c:v>
                </c:pt>
                <c:pt idx="2413">
                  <c:v>#N/A</c:v>
                </c:pt>
                <c:pt idx="2414">
                  <c:v>1.1452054794520548</c:v>
                </c:pt>
                <c:pt idx="2415">
                  <c:v>1.1452054794520548</c:v>
                </c:pt>
                <c:pt idx="2416">
                  <c:v>1.1452054794520548</c:v>
                </c:pt>
                <c:pt idx="2417">
                  <c:v>#N/A</c:v>
                </c:pt>
                <c:pt idx="2418">
                  <c:v>#N/A</c:v>
                </c:pt>
                <c:pt idx="2419">
                  <c:v>#N/A</c:v>
                </c:pt>
                <c:pt idx="2420">
                  <c:v>#N/A</c:v>
                </c:pt>
                <c:pt idx="2421">
                  <c:v>#N/A</c:v>
                </c:pt>
                <c:pt idx="2422">
                  <c:v>#N/A</c:v>
                </c:pt>
                <c:pt idx="2423">
                  <c:v>#N/A</c:v>
                </c:pt>
                <c:pt idx="2424">
                  <c:v>#N/A</c:v>
                </c:pt>
                <c:pt idx="2425">
                  <c:v>#N/A</c:v>
                </c:pt>
                <c:pt idx="2426">
                  <c:v>#N/A</c:v>
                </c:pt>
                <c:pt idx="2427">
                  <c:v>#N/A</c:v>
                </c:pt>
                <c:pt idx="2428">
                  <c:v>#N/A</c:v>
                </c:pt>
                <c:pt idx="2429">
                  <c:v>#N/A</c:v>
                </c:pt>
                <c:pt idx="2430">
                  <c:v>#N/A</c:v>
                </c:pt>
                <c:pt idx="2431">
                  <c:v>#N/A</c:v>
                </c:pt>
                <c:pt idx="2432">
                  <c:v>#N/A</c:v>
                </c:pt>
                <c:pt idx="2433">
                  <c:v>1.1726027397260275</c:v>
                </c:pt>
                <c:pt idx="2434">
                  <c:v>1.1726027397260275</c:v>
                </c:pt>
                <c:pt idx="2435">
                  <c:v>1.1726027397260275</c:v>
                </c:pt>
                <c:pt idx="2436">
                  <c:v>#N/A</c:v>
                </c:pt>
                <c:pt idx="2437">
                  <c:v>#N/A</c:v>
                </c:pt>
                <c:pt idx="2438">
                  <c:v>#N/A</c:v>
                </c:pt>
                <c:pt idx="2439">
                  <c:v>#N/A</c:v>
                </c:pt>
                <c:pt idx="2440">
                  <c:v>#N/A</c:v>
                </c:pt>
                <c:pt idx="2441">
                  <c:v>#N/A</c:v>
                </c:pt>
                <c:pt idx="2442">
                  <c:v>#N/A</c:v>
                </c:pt>
                <c:pt idx="2443">
                  <c:v>#N/A</c:v>
                </c:pt>
                <c:pt idx="2444">
                  <c:v>#N/A</c:v>
                </c:pt>
                <c:pt idx="2445">
                  <c:v>#N/A</c:v>
                </c:pt>
                <c:pt idx="2446">
                  <c:v>#N/A</c:v>
                </c:pt>
                <c:pt idx="2447">
                  <c:v>#N/A</c:v>
                </c:pt>
                <c:pt idx="2448">
                  <c:v>#N/A</c:v>
                </c:pt>
                <c:pt idx="2449">
                  <c:v>#N/A</c:v>
                </c:pt>
                <c:pt idx="2450">
                  <c:v>#N/A</c:v>
                </c:pt>
                <c:pt idx="2451">
                  <c:v>#N/A</c:v>
                </c:pt>
                <c:pt idx="2452">
                  <c:v>#N/A</c:v>
                </c:pt>
                <c:pt idx="2453">
                  <c:v>#N/A</c:v>
                </c:pt>
                <c:pt idx="2454">
                  <c:v>#N/A</c:v>
                </c:pt>
                <c:pt idx="2455">
                  <c:v>#N/A</c:v>
                </c:pt>
                <c:pt idx="2456">
                  <c:v>#N/A</c:v>
                </c:pt>
                <c:pt idx="2457">
                  <c:v>#N/A</c:v>
                </c:pt>
                <c:pt idx="2458">
                  <c:v>#N/A</c:v>
                </c:pt>
                <c:pt idx="2459">
                  <c:v>#N/A</c:v>
                </c:pt>
                <c:pt idx="2460">
                  <c:v>#N/A</c:v>
                </c:pt>
                <c:pt idx="2461">
                  <c:v>#N/A</c:v>
                </c:pt>
                <c:pt idx="2462">
                  <c:v>#N/A</c:v>
                </c:pt>
                <c:pt idx="2463">
                  <c:v>#N/A</c:v>
                </c:pt>
                <c:pt idx="2464">
                  <c:v>#N/A</c:v>
                </c:pt>
                <c:pt idx="2465">
                  <c:v>#N/A</c:v>
                </c:pt>
                <c:pt idx="2466">
                  <c:v>#N/A</c:v>
                </c:pt>
                <c:pt idx="2467">
                  <c:v>#N/A</c:v>
                </c:pt>
                <c:pt idx="2468">
                  <c:v>#N/A</c:v>
                </c:pt>
                <c:pt idx="2469">
                  <c:v>#N/A</c:v>
                </c:pt>
                <c:pt idx="2470">
                  <c:v>#N/A</c:v>
                </c:pt>
                <c:pt idx="2471">
                  <c:v>#N/A</c:v>
                </c:pt>
                <c:pt idx="2472">
                  <c:v>#N/A</c:v>
                </c:pt>
                <c:pt idx="2473">
                  <c:v>#N/A</c:v>
                </c:pt>
                <c:pt idx="2474">
                  <c:v>#N/A</c:v>
                </c:pt>
                <c:pt idx="2475">
                  <c:v>#N/A</c:v>
                </c:pt>
                <c:pt idx="2476">
                  <c:v>#N/A</c:v>
                </c:pt>
                <c:pt idx="2477">
                  <c:v>#N/A</c:v>
                </c:pt>
                <c:pt idx="2478">
                  <c:v>#N/A</c:v>
                </c:pt>
                <c:pt idx="2479">
                  <c:v>#N/A</c:v>
                </c:pt>
                <c:pt idx="2480">
                  <c:v>#N/A</c:v>
                </c:pt>
                <c:pt idx="2481">
                  <c:v>#N/A</c:v>
                </c:pt>
                <c:pt idx="2482">
                  <c:v>#N/A</c:v>
                </c:pt>
                <c:pt idx="2483">
                  <c:v>#N/A</c:v>
                </c:pt>
                <c:pt idx="2484">
                  <c:v>1.2054794520547945</c:v>
                </c:pt>
                <c:pt idx="2485">
                  <c:v>#N/A</c:v>
                </c:pt>
                <c:pt idx="2486">
                  <c:v>#N/A</c:v>
                </c:pt>
                <c:pt idx="2487">
                  <c:v>1.2054794520547945</c:v>
                </c:pt>
                <c:pt idx="2488">
                  <c:v>#N/A</c:v>
                </c:pt>
                <c:pt idx="2489">
                  <c:v>#N/A</c:v>
                </c:pt>
                <c:pt idx="2490">
                  <c:v>#N/A</c:v>
                </c:pt>
                <c:pt idx="2491">
                  <c:v>#N/A</c:v>
                </c:pt>
                <c:pt idx="2492">
                  <c:v>#N/A</c:v>
                </c:pt>
                <c:pt idx="2493">
                  <c:v>#N/A</c:v>
                </c:pt>
                <c:pt idx="2494">
                  <c:v>#N/A</c:v>
                </c:pt>
                <c:pt idx="2495">
                  <c:v>#N/A</c:v>
                </c:pt>
                <c:pt idx="2496">
                  <c:v>#N/A</c:v>
                </c:pt>
                <c:pt idx="2497">
                  <c:v>#N/A</c:v>
                </c:pt>
                <c:pt idx="2498">
                  <c:v>#N/A</c:v>
                </c:pt>
                <c:pt idx="2499">
                  <c:v>#N/A</c:v>
                </c:pt>
                <c:pt idx="2500">
                  <c:v>#N/A</c:v>
                </c:pt>
                <c:pt idx="2501">
                  <c:v>#N/A</c:v>
                </c:pt>
                <c:pt idx="2502">
                  <c:v>#N/A</c:v>
                </c:pt>
                <c:pt idx="2503">
                  <c:v>#N/A</c:v>
                </c:pt>
                <c:pt idx="2504">
                  <c:v>#N/A</c:v>
                </c:pt>
                <c:pt idx="2505">
                  <c:v>#N/A</c:v>
                </c:pt>
                <c:pt idx="2506">
                  <c:v>#N/A</c:v>
                </c:pt>
                <c:pt idx="2507">
                  <c:v>#N/A</c:v>
                </c:pt>
                <c:pt idx="2508">
                  <c:v>#N/A</c:v>
                </c:pt>
                <c:pt idx="2509">
                  <c:v>#N/A</c:v>
                </c:pt>
                <c:pt idx="2510">
                  <c:v>#N/A</c:v>
                </c:pt>
                <c:pt idx="2511">
                  <c:v>#N/A</c:v>
                </c:pt>
                <c:pt idx="2512">
                  <c:v>#N/A</c:v>
                </c:pt>
                <c:pt idx="2513">
                  <c:v>#N/A</c:v>
                </c:pt>
                <c:pt idx="2514">
                  <c:v>#N/A</c:v>
                </c:pt>
                <c:pt idx="2515">
                  <c:v>#N/A</c:v>
                </c:pt>
                <c:pt idx="2516">
                  <c:v>#N/A</c:v>
                </c:pt>
                <c:pt idx="2517">
                  <c:v>#N/A</c:v>
                </c:pt>
                <c:pt idx="2518">
                  <c:v>#N/A</c:v>
                </c:pt>
                <c:pt idx="2519">
                  <c:v>#N/A</c:v>
                </c:pt>
                <c:pt idx="2520">
                  <c:v>#N/A</c:v>
                </c:pt>
                <c:pt idx="2521">
                  <c:v>#N/A</c:v>
                </c:pt>
                <c:pt idx="2522">
                  <c:v>#N/A</c:v>
                </c:pt>
                <c:pt idx="2523">
                  <c:v>#N/A</c:v>
                </c:pt>
                <c:pt idx="2524">
                  <c:v>#N/A</c:v>
                </c:pt>
                <c:pt idx="2525">
                  <c:v>1.2301369863013698</c:v>
                </c:pt>
                <c:pt idx="2526">
                  <c:v>#N/A</c:v>
                </c:pt>
                <c:pt idx="2527">
                  <c:v>#N/A</c:v>
                </c:pt>
                <c:pt idx="2528">
                  <c:v>#N/A</c:v>
                </c:pt>
                <c:pt idx="2529">
                  <c:v>#N/A</c:v>
                </c:pt>
                <c:pt idx="2530">
                  <c:v>#N/A</c:v>
                </c:pt>
                <c:pt idx="2531">
                  <c:v>#N/A</c:v>
                </c:pt>
                <c:pt idx="2532">
                  <c:v>#N/A</c:v>
                </c:pt>
                <c:pt idx="2533">
                  <c:v>#N/A</c:v>
                </c:pt>
                <c:pt idx="2534">
                  <c:v>#N/A</c:v>
                </c:pt>
                <c:pt idx="2535">
                  <c:v>#N/A</c:v>
                </c:pt>
                <c:pt idx="2536">
                  <c:v>#N/A</c:v>
                </c:pt>
                <c:pt idx="2537">
                  <c:v>#N/A</c:v>
                </c:pt>
                <c:pt idx="2538">
                  <c:v>#N/A</c:v>
                </c:pt>
                <c:pt idx="2539">
                  <c:v>#N/A</c:v>
                </c:pt>
                <c:pt idx="2540">
                  <c:v>#N/A</c:v>
                </c:pt>
                <c:pt idx="2541">
                  <c:v>#N/A</c:v>
                </c:pt>
                <c:pt idx="2542">
                  <c:v>#N/A</c:v>
                </c:pt>
                <c:pt idx="2543">
                  <c:v>#N/A</c:v>
                </c:pt>
                <c:pt idx="2544">
                  <c:v>#N/A</c:v>
                </c:pt>
                <c:pt idx="2545">
                  <c:v>#N/A</c:v>
                </c:pt>
                <c:pt idx="2546">
                  <c:v>#N/A</c:v>
                </c:pt>
                <c:pt idx="2547">
                  <c:v>#N/A</c:v>
                </c:pt>
                <c:pt idx="2548">
                  <c:v>#N/A</c:v>
                </c:pt>
                <c:pt idx="2549">
                  <c:v>#N/A</c:v>
                </c:pt>
                <c:pt idx="2550">
                  <c:v>#N/A</c:v>
                </c:pt>
                <c:pt idx="2551">
                  <c:v>#N/A</c:v>
                </c:pt>
                <c:pt idx="2552">
                  <c:v>#N/A</c:v>
                </c:pt>
                <c:pt idx="2553">
                  <c:v>#N/A</c:v>
                </c:pt>
                <c:pt idx="2554">
                  <c:v>#N/A</c:v>
                </c:pt>
                <c:pt idx="2555">
                  <c:v>#N/A</c:v>
                </c:pt>
                <c:pt idx="2556">
                  <c:v>#N/A</c:v>
                </c:pt>
                <c:pt idx="2557">
                  <c:v>#N/A</c:v>
                </c:pt>
                <c:pt idx="2558">
                  <c:v>#N/A</c:v>
                </c:pt>
                <c:pt idx="2559">
                  <c:v>#N/A</c:v>
                </c:pt>
                <c:pt idx="2560">
                  <c:v>#N/A</c:v>
                </c:pt>
                <c:pt idx="2561">
                  <c:v>#N/A</c:v>
                </c:pt>
                <c:pt idx="2562">
                  <c:v>#N/A</c:v>
                </c:pt>
                <c:pt idx="2563">
                  <c:v>#N/A</c:v>
                </c:pt>
                <c:pt idx="2564">
                  <c:v>#N/A</c:v>
                </c:pt>
                <c:pt idx="2565">
                  <c:v>#N/A</c:v>
                </c:pt>
                <c:pt idx="2566">
                  <c:v>#N/A</c:v>
                </c:pt>
                <c:pt idx="2567">
                  <c:v>#N/A</c:v>
                </c:pt>
                <c:pt idx="2568">
                  <c:v>#N/A</c:v>
                </c:pt>
                <c:pt idx="2569">
                  <c:v>#N/A</c:v>
                </c:pt>
                <c:pt idx="2570">
                  <c:v>#N/A</c:v>
                </c:pt>
                <c:pt idx="2571">
                  <c:v>#N/A</c:v>
                </c:pt>
                <c:pt idx="2572">
                  <c:v>#N/A</c:v>
                </c:pt>
                <c:pt idx="2573">
                  <c:v>#N/A</c:v>
                </c:pt>
                <c:pt idx="2574">
                  <c:v>#N/A</c:v>
                </c:pt>
                <c:pt idx="2575">
                  <c:v>#N/A</c:v>
                </c:pt>
                <c:pt idx="2576">
                  <c:v>#N/A</c:v>
                </c:pt>
                <c:pt idx="2577">
                  <c:v>#N/A</c:v>
                </c:pt>
                <c:pt idx="2578">
                  <c:v>#N/A</c:v>
                </c:pt>
                <c:pt idx="2579">
                  <c:v>#N/A</c:v>
                </c:pt>
                <c:pt idx="2580">
                  <c:v>#N/A</c:v>
                </c:pt>
                <c:pt idx="2581">
                  <c:v>#N/A</c:v>
                </c:pt>
                <c:pt idx="2582">
                  <c:v>#N/A</c:v>
                </c:pt>
                <c:pt idx="2583">
                  <c:v>#N/A</c:v>
                </c:pt>
                <c:pt idx="2584">
                  <c:v>#N/A</c:v>
                </c:pt>
                <c:pt idx="2585">
                  <c:v>#N/A</c:v>
                </c:pt>
                <c:pt idx="2586">
                  <c:v>#N/A</c:v>
                </c:pt>
                <c:pt idx="2587">
                  <c:v>#N/A</c:v>
                </c:pt>
                <c:pt idx="2588">
                  <c:v>#N/A</c:v>
                </c:pt>
                <c:pt idx="2589">
                  <c:v>#N/A</c:v>
                </c:pt>
                <c:pt idx="2590">
                  <c:v>#N/A</c:v>
                </c:pt>
                <c:pt idx="2591">
                  <c:v>#N/A</c:v>
                </c:pt>
                <c:pt idx="2592">
                  <c:v>#N/A</c:v>
                </c:pt>
                <c:pt idx="2593">
                  <c:v>#N/A</c:v>
                </c:pt>
                <c:pt idx="2594">
                  <c:v>#N/A</c:v>
                </c:pt>
                <c:pt idx="2595">
                  <c:v>#N/A</c:v>
                </c:pt>
                <c:pt idx="2596">
                  <c:v>#N/A</c:v>
                </c:pt>
                <c:pt idx="2597">
                  <c:v>#N/A</c:v>
                </c:pt>
                <c:pt idx="2598">
                  <c:v>#N/A</c:v>
                </c:pt>
                <c:pt idx="2599">
                  <c:v>#N/A</c:v>
                </c:pt>
                <c:pt idx="2600">
                  <c:v>#N/A</c:v>
                </c:pt>
                <c:pt idx="2601">
                  <c:v>#N/A</c:v>
                </c:pt>
                <c:pt idx="2602">
                  <c:v>#N/A</c:v>
                </c:pt>
                <c:pt idx="2603">
                  <c:v>#N/A</c:v>
                </c:pt>
                <c:pt idx="2604">
                  <c:v>#N/A</c:v>
                </c:pt>
                <c:pt idx="2605">
                  <c:v>#N/A</c:v>
                </c:pt>
                <c:pt idx="2606">
                  <c:v>#N/A</c:v>
                </c:pt>
                <c:pt idx="2607">
                  <c:v>#N/A</c:v>
                </c:pt>
                <c:pt idx="2608">
                  <c:v>#N/A</c:v>
                </c:pt>
                <c:pt idx="2609">
                  <c:v>#N/A</c:v>
                </c:pt>
                <c:pt idx="2610">
                  <c:v>#N/A</c:v>
                </c:pt>
                <c:pt idx="2611">
                  <c:v>#N/A</c:v>
                </c:pt>
                <c:pt idx="2612">
                  <c:v>#N/A</c:v>
                </c:pt>
                <c:pt idx="2613">
                  <c:v>#N/A</c:v>
                </c:pt>
                <c:pt idx="2614">
                  <c:v>#N/A</c:v>
                </c:pt>
                <c:pt idx="2615">
                  <c:v>#N/A</c:v>
                </c:pt>
                <c:pt idx="2616">
                  <c:v>#N/A</c:v>
                </c:pt>
                <c:pt idx="2617">
                  <c:v>#N/A</c:v>
                </c:pt>
                <c:pt idx="2618">
                  <c:v>#N/A</c:v>
                </c:pt>
                <c:pt idx="2619">
                  <c:v>1.2602739726027397</c:v>
                </c:pt>
                <c:pt idx="2620">
                  <c:v>#N/A</c:v>
                </c:pt>
                <c:pt idx="2621">
                  <c:v>#N/A</c:v>
                </c:pt>
                <c:pt idx="2622">
                  <c:v>#N/A</c:v>
                </c:pt>
                <c:pt idx="2623">
                  <c:v>#N/A</c:v>
                </c:pt>
                <c:pt idx="2624">
                  <c:v>#N/A</c:v>
                </c:pt>
                <c:pt idx="2625">
                  <c:v>#N/A</c:v>
                </c:pt>
                <c:pt idx="2626">
                  <c:v>#N/A</c:v>
                </c:pt>
                <c:pt idx="2627">
                  <c:v>#N/A</c:v>
                </c:pt>
                <c:pt idx="2628">
                  <c:v>#N/A</c:v>
                </c:pt>
                <c:pt idx="2629">
                  <c:v>#N/A</c:v>
                </c:pt>
                <c:pt idx="2630">
                  <c:v>#N/A</c:v>
                </c:pt>
                <c:pt idx="2631">
                  <c:v>#N/A</c:v>
                </c:pt>
                <c:pt idx="2632">
                  <c:v>#N/A</c:v>
                </c:pt>
                <c:pt idx="2633">
                  <c:v>#N/A</c:v>
                </c:pt>
                <c:pt idx="2634">
                  <c:v>#N/A</c:v>
                </c:pt>
                <c:pt idx="2635">
                  <c:v>#N/A</c:v>
                </c:pt>
                <c:pt idx="2636">
                  <c:v>#N/A</c:v>
                </c:pt>
                <c:pt idx="2637">
                  <c:v>#N/A</c:v>
                </c:pt>
                <c:pt idx="2638">
                  <c:v>#N/A</c:v>
                </c:pt>
                <c:pt idx="2639">
                  <c:v>#N/A</c:v>
                </c:pt>
                <c:pt idx="2640">
                  <c:v>#N/A</c:v>
                </c:pt>
                <c:pt idx="2641">
                  <c:v>#N/A</c:v>
                </c:pt>
                <c:pt idx="2642">
                  <c:v>#N/A</c:v>
                </c:pt>
                <c:pt idx="2643">
                  <c:v>#N/A</c:v>
                </c:pt>
                <c:pt idx="2644">
                  <c:v>#N/A</c:v>
                </c:pt>
                <c:pt idx="2645">
                  <c:v>#N/A</c:v>
                </c:pt>
                <c:pt idx="2646">
                  <c:v>#N/A</c:v>
                </c:pt>
                <c:pt idx="2647">
                  <c:v>1.2657534246575342</c:v>
                </c:pt>
                <c:pt idx="2648">
                  <c:v>#N/A</c:v>
                </c:pt>
                <c:pt idx="2649">
                  <c:v>#N/A</c:v>
                </c:pt>
                <c:pt idx="2650">
                  <c:v>#N/A</c:v>
                </c:pt>
                <c:pt idx="2651">
                  <c:v>#N/A</c:v>
                </c:pt>
                <c:pt idx="2652">
                  <c:v>#N/A</c:v>
                </c:pt>
                <c:pt idx="2653">
                  <c:v>#N/A</c:v>
                </c:pt>
                <c:pt idx="2654">
                  <c:v>1.2657534246575342</c:v>
                </c:pt>
                <c:pt idx="2655">
                  <c:v>#N/A</c:v>
                </c:pt>
                <c:pt idx="2656">
                  <c:v>#N/A</c:v>
                </c:pt>
                <c:pt idx="2657">
                  <c:v>#N/A</c:v>
                </c:pt>
                <c:pt idx="2658">
                  <c:v>#N/A</c:v>
                </c:pt>
                <c:pt idx="2659">
                  <c:v>#N/A</c:v>
                </c:pt>
                <c:pt idx="2660">
                  <c:v>1.2657534246575342</c:v>
                </c:pt>
                <c:pt idx="2661">
                  <c:v>#N/A</c:v>
                </c:pt>
                <c:pt idx="2662">
                  <c:v>1.2657534246575342</c:v>
                </c:pt>
                <c:pt idx="2663">
                  <c:v>1.2657534246575342</c:v>
                </c:pt>
                <c:pt idx="2664">
                  <c:v>#N/A</c:v>
                </c:pt>
                <c:pt idx="2665">
                  <c:v>#N/A</c:v>
                </c:pt>
                <c:pt idx="2666">
                  <c:v>#N/A</c:v>
                </c:pt>
                <c:pt idx="2667">
                  <c:v>1.2657534246575342</c:v>
                </c:pt>
                <c:pt idx="2668">
                  <c:v>#N/A</c:v>
                </c:pt>
                <c:pt idx="2669">
                  <c:v>#N/A</c:v>
                </c:pt>
                <c:pt idx="2670">
                  <c:v>#N/A</c:v>
                </c:pt>
                <c:pt idx="2671">
                  <c:v>#N/A</c:v>
                </c:pt>
                <c:pt idx="2672">
                  <c:v>#N/A</c:v>
                </c:pt>
                <c:pt idx="2673">
                  <c:v>#N/A</c:v>
                </c:pt>
                <c:pt idx="2674">
                  <c:v>#N/A</c:v>
                </c:pt>
                <c:pt idx="2675">
                  <c:v>#N/A</c:v>
                </c:pt>
                <c:pt idx="2676">
                  <c:v>#N/A</c:v>
                </c:pt>
                <c:pt idx="2677">
                  <c:v>#N/A</c:v>
                </c:pt>
                <c:pt idx="2678">
                  <c:v>#N/A</c:v>
                </c:pt>
                <c:pt idx="2679">
                  <c:v>#N/A</c:v>
                </c:pt>
                <c:pt idx="2680">
                  <c:v>#N/A</c:v>
                </c:pt>
                <c:pt idx="2681">
                  <c:v>#N/A</c:v>
                </c:pt>
                <c:pt idx="2682">
                  <c:v>#N/A</c:v>
                </c:pt>
                <c:pt idx="2683">
                  <c:v>#N/A</c:v>
                </c:pt>
                <c:pt idx="2684">
                  <c:v>#N/A</c:v>
                </c:pt>
                <c:pt idx="2685">
                  <c:v>1.2684931506849315</c:v>
                </c:pt>
                <c:pt idx="2686">
                  <c:v>#N/A</c:v>
                </c:pt>
                <c:pt idx="2687">
                  <c:v>1.2684931506849315</c:v>
                </c:pt>
                <c:pt idx="2688">
                  <c:v>#N/A</c:v>
                </c:pt>
                <c:pt idx="2689">
                  <c:v>#N/A</c:v>
                </c:pt>
                <c:pt idx="2690">
                  <c:v>#N/A</c:v>
                </c:pt>
                <c:pt idx="2691">
                  <c:v>#N/A</c:v>
                </c:pt>
                <c:pt idx="2692">
                  <c:v>#N/A</c:v>
                </c:pt>
                <c:pt idx="2693">
                  <c:v>#N/A</c:v>
                </c:pt>
                <c:pt idx="2694">
                  <c:v>#N/A</c:v>
                </c:pt>
                <c:pt idx="2695">
                  <c:v>#N/A</c:v>
                </c:pt>
                <c:pt idx="2696">
                  <c:v>#N/A</c:v>
                </c:pt>
                <c:pt idx="2697">
                  <c:v>#N/A</c:v>
                </c:pt>
                <c:pt idx="2698">
                  <c:v>#N/A</c:v>
                </c:pt>
                <c:pt idx="2699">
                  <c:v>#N/A</c:v>
                </c:pt>
                <c:pt idx="2700">
                  <c:v>#N/A</c:v>
                </c:pt>
                <c:pt idx="2701">
                  <c:v>#N/A</c:v>
                </c:pt>
                <c:pt idx="2702">
                  <c:v>#N/A</c:v>
                </c:pt>
                <c:pt idx="2703">
                  <c:v>#N/A</c:v>
                </c:pt>
                <c:pt idx="2704">
                  <c:v>#N/A</c:v>
                </c:pt>
                <c:pt idx="2705">
                  <c:v>#N/A</c:v>
                </c:pt>
                <c:pt idx="2706">
                  <c:v>#N/A</c:v>
                </c:pt>
                <c:pt idx="2707">
                  <c:v>#N/A</c:v>
                </c:pt>
                <c:pt idx="2708">
                  <c:v>#N/A</c:v>
                </c:pt>
                <c:pt idx="2709">
                  <c:v>#N/A</c:v>
                </c:pt>
                <c:pt idx="2710">
                  <c:v>#N/A</c:v>
                </c:pt>
                <c:pt idx="2711">
                  <c:v>#N/A</c:v>
                </c:pt>
                <c:pt idx="2712">
                  <c:v>#N/A</c:v>
                </c:pt>
                <c:pt idx="2713">
                  <c:v>#N/A</c:v>
                </c:pt>
                <c:pt idx="2714">
                  <c:v>#N/A</c:v>
                </c:pt>
                <c:pt idx="2715">
                  <c:v>1.2876712328767124</c:v>
                </c:pt>
                <c:pt idx="2716">
                  <c:v>#N/A</c:v>
                </c:pt>
                <c:pt idx="2717">
                  <c:v>#N/A</c:v>
                </c:pt>
                <c:pt idx="2718">
                  <c:v>#N/A</c:v>
                </c:pt>
                <c:pt idx="2719">
                  <c:v>1.2986301369863014</c:v>
                </c:pt>
                <c:pt idx="2720">
                  <c:v>#N/A</c:v>
                </c:pt>
                <c:pt idx="2721">
                  <c:v>1.2986301369863014</c:v>
                </c:pt>
                <c:pt idx="2722">
                  <c:v>#N/A</c:v>
                </c:pt>
                <c:pt idx="2723">
                  <c:v>#N/A</c:v>
                </c:pt>
                <c:pt idx="2724">
                  <c:v>1.2986301369863014</c:v>
                </c:pt>
                <c:pt idx="2725">
                  <c:v>#N/A</c:v>
                </c:pt>
                <c:pt idx="2726">
                  <c:v>#N/A</c:v>
                </c:pt>
                <c:pt idx="2727">
                  <c:v>#N/A</c:v>
                </c:pt>
                <c:pt idx="2728">
                  <c:v>#N/A</c:v>
                </c:pt>
                <c:pt idx="2729">
                  <c:v>#N/A</c:v>
                </c:pt>
                <c:pt idx="2730">
                  <c:v>#N/A</c:v>
                </c:pt>
                <c:pt idx="2731">
                  <c:v>#N/A</c:v>
                </c:pt>
                <c:pt idx="2732">
                  <c:v>#N/A</c:v>
                </c:pt>
                <c:pt idx="2733">
                  <c:v>#N/A</c:v>
                </c:pt>
                <c:pt idx="2734">
                  <c:v>#N/A</c:v>
                </c:pt>
                <c:pt idx="2735">
                  <c:v>#N/A</c:v>
                </c:pt>
                <c:pt idx="2736">
                  <c:v>#N/A</c:v>
                </c:pt>
                <c:pt idx="2737">
                  <c:v>#N/A</c:v>
                </c:pt>
                <c:pt idx="2738">
                  <c:v>#N/A</c:v>
                </c:pt>
                <c:pt idx="2739">
                  <c:v>#N/A</c:v>
                </c:pt>
                <c:pt idx="2740">
                  <c:v>#N/A</c:v>
                </c:pt>
                <c:pt idx="2741">
                  <c:v>#N/A</c:v>
                </c:pt>
                <c:pt idx="2742">
                  <c:v>#N/A</c:v>
                </c:pt>
                <c:pt idx="2743">
                  <c:v>#N/A</c:v>
                </c:pt>
                <c:pt idx="2744">
                  <c:v>#N/A</c:v>
                </c:pt>
                <c:pt idx="2745">
                  <c:v>#N/A</c:v>
                </c:pt>
                <c:pt idx="2746">
                  <c:v>#N/A</c:v>
                </c:pt>
                <c:pt idx="2747">
                  <c:v>#N/A</c:v>
                </c:pt>
                <c:pt idx="2748">
                  <c:v>#N/A</c:v>
                </c:pt>
                <c:pt idx="2749">
                  <c:v>#N/A</c:v>
                </c:pt>
                <c:pt idx="2750">
                  <c:v>#N/A</c:v>
                </c:pt>
                <c:pt idx="2751">
                  <c:v>#N/A</c:v>
                </c:pt>
                <c:pt idx="2752">
                  <c:v>#N/A</c:v>
                </c:pt>
                <c:pt idx="2753">
                  <c:v>#N/A</c:v>
                </c:pt>
                <c:pt idx="2754">
                  <c:v>#N/A</c:v>
                </c:pt>
                <c:pt idx="2755">
                  <c:v>#N/A</c:v>
                </c:pt>
                <c:pt idx="2756">
                  <c:v>1.3232876712328767</c:v>
                </c:pt>
                <c:pt idx="2757">
                  <c:v>#N/A</c:v>
                </c:pt>
                <c:pt idx="2758">
                  <c:v>#N/A</c:v>
                </c:pt>
                <c:pt idx="2759">
                  <c:v>#N/A</c:v>
                </c:pt>
                <c:pt idx="2760">
                  <c:v>#N/A</c:v>
                </c:pt>
                <c:pt idx="2761">
                  <c:v>#N/A</c:v>
                </c:pt>
                <c:pt idx="2762">
                  <c:v>#N/A</c:v>
                </c:pt>
                <c:pt idx="2763">
                  <c:v>#N/A</c:v>
                </c:pt>
                <c:pt idx="2764">
                  <c:v>#N/A</c:v>
                </c:pt>
                <c:pt idx="2765">
                  <c:v>#N/A</c:v>
                </c:pt>
                <c:pt idx="2766">
                  <c:v>#N/A</c:v>
                </c:pt>
                <c:pt idx="2767">
                  <c:v>#N/A</c:v>
                </c:pt>
                <c:pt idx="2768">
                  <c:v>#N/A</c:v>
                </c:pt>
                <c:pt idx="2769">
                  <c:v>1.3232876712328767</c:v>
                </c:pt>
                <c:pt idx="2770">
                  <c:v>#N/A</c:v>
                </c:pt>
                <c:pt idx="2771">
                  <c:v>#N/A</c:v>
                </c:pt>
                <c:pt idx="2772">
                  <c:v>#N/A</c:v>
                </c:pt>
                <c:pt idx="2773">
                  <c:v>#N/A</c:v>
                </c:pt>
                <c:pt idx="2774">
                  <c:v>1.3260273972602741</c:v>
                </c:pt>
                <c:pt idx="2775">
                  <c:v>#N/A</c:v>
                </c:pt>
                <c:pt idx="2776">
                  <c:v>#N/A</c:v>
                </c:pt>
                <c:pt idx="2777">
                  <c:v>#N/A</c:v>
                </c:pt>
                <c:pt idx="2778">
                  <c:v>1.3287671232876712</c:v>
                </c:pt>
                <c:pt idx="2779">
                  <c:v>#N/A</c:v>
                </c:pt>
                <c:pt idx="2780">
                  <c:v>#N/A</c:v>
                </c:pt>
                <c:pt idx="2781">
                  <c:v>#N/A</c:v>
                </c:pt>
                <c:pt idx="2782">
                  <c:v>#N/A</c:v>
                </c:pt>
                <c:pt idx="2783">
                  <c:v>#N/A</c:v>
                </c:pt>
                <c:pt idx="2784">
                  <c:v>#N/A</c:v>
                </c:pt>
                <c:pt idx="2785">
                  <c:v>#N/A</c:v>
                </c:pt>
                <c:pt idx="2786">
                  <c:v>#N/A</c:v>
                </c:pt>
                <c:pt idx="2787">
                  <c:v>#N/A</c:v>
                </c:pt>
                <c:pt idx="2788">
                  <c:v>#N/A</c:v>
                </c:pt>
                <c:pt idx="2789">
                  <c:v>#N/A</c:v>
                </c:pt>
                <c:pt idx="2790">
                  <c:v>#N/A</c:v>
                </c:pt>
                <c:pt idx="2791">
                  <c:v>#N/A</c:v>
                </c:pt>
                <c:pt idx="2792">
                  <c:v>#N/A</c:v>
                </c:pt>
                <c:pt idx="2793">
                  <c:v>#N/A</c:v>
                </c:pt>
                <c:pt idx="2794">
                  <c:v>#N/A</c:v>
                </c:pt>
                <c:pt idx="2795">
                  <c:v>#N/A</c:v>
                </c:pt>
                <c:pt idx="2796">
                  <c:v>#N/A</c:v>
                </c:pt>
                <c:pt idx="2797">
                  <c:v>#N/A</c:v>
                </c:pt>
                <c:pt idx="2798">
                  <c:v>#N/A</c:v>
                </c:pt>
                <c:pt idx="2799">
                  <c:v>#N/A</c:v>
                </c:pt>
                <c:pt idx="2800">
                  <c:v>#N/A</c:v>
                </c:pt>
                <c:pt idx="2801">
                  <c:v>#N/A</c:v>
                </c:pt>
                <c:pt idx="2802">
                  <c:v>#N/A</c:v>
                </c:pt>
                <c:pt idx="2803">
                  <c:v>#N/A</c:v>
                </c:pt>
                <c:pt idx="2804">
                  <c:v>#N/A</c:v>
                </c:pt>
                <c:pt idx="2805">
                  <c:v>#N/A</c:v>
                </c:pt>
                <c:pt idx="2806">
                  <c:v>#N/A</c:v>
                </c:pt>
                <c:pt idx="2807">
                  <c:v>#N/A</c:v>
                </c:pt>
                <c:pt idx="2808">
                  <c:v>1.3397260273972602</c:v>
                </c:pt>
                <c:pt idx="2809">
                  <c:v>#N/A</c:v>
                </c:pt>
                <c:pt idx="2810">
                  <c:v>#N/A</c:v>
                </c:pt>
                <c:pt idx="2811">
                  <c:v>#N/A</c:v>
                </c:pt>
                <c:pt idx="2812">
                  <c:v>#N/A</c:v>
                </c:pt>
                <c:pt idx="2813">
                  <c:v>#N/A</c:v>
                </c:pt>
                <c:pt idx="2814">
                  <c:v>#N/A</c:v>
                </c:pt>
                <c:pt idx="2815">
                  <c:v>#N/A</c:v>
                </c:pt>
                <c:pt idx="2816">
                  <c:v>#N/A</c:v>
                </c:pt>
                <c:pt idx="2817">
                  <c:v>1.3397260273972602</c:v>
                </c:pt>
                <c:pt idx="2818">
                  <c:v>#N/A</c:v>
                </c:pt>
                <c:pt idx="2819">
                  <c:v>#N/A</c:v>
                </c:pt>
                <c:pt idx="2820">
                  <c:v>1.3397260273972602</c:v>
                </c:pt>
                <c:pt idx="2821">
                  <c:v>1.3397260273972602</c:v>
                </c:pt>
                <c:pt idx="2822">
                  <c:v>#N/A</c:v>
                </c:pt>
                <c:pt idx="2823">
                  <c:v>#N/A</c:v>
                </c:pt>
                <c:pt idx="2824">
                  <c:v>#N/A</c:v>
                </c:pt>
                <c:pt idx="2825">
                  <c:v>#N/A</c:v>
                </c:pt>
                <c:pt idx="2826">
                  <c:v>#N/A</c:v>
                </c:pt>
                <c:pt idx="2827">
                  <c:v>#N/A</c:v>
                </c:pt>
                <c:pt idx="2828">
                  <c:v>#N/A</c:v>
                </c:pt>
                <c:pt idx="2829">
                  <c:v>#N/A</c:v>
                </c:pt>
                <c:pt idx="2830">
                  <c:v>#N/A</c:v>
                </c:pt>
                <c:pt idx="2831">
                  <c:v>1.3397260273972602</c:v>
                </c:pt>
                <c:pt idx="2832">
                  <c:v>#N/A</c:v>
                </c:pt>
                <c:pt idx="2833">
                  <c:v>#N/A</c:v>
                </c:pt>
                <c:pt idx="2834">
                  <c:v>#N/A</c:v>
                </c:pt>
                <c:pt idx="2835">
                  <c:v>#N/A</c:v>
                </c:pt>
                <c:pt idx="2836">
                  <c:v>1.3397260273972602</c:v>
                </c:pt>
                <c:pt idx="2837">
                  <c:v>1.3397260273972602</c:v>
                </c:pt>
                <c:pt idx="2838">
                  <c:v>#N/A</c:v>
                </c:pt>
                <c:pt idx="2839">
                  <c:v>#N/A</c:v>
                </c:pt>
                <c:pt idx="2840">
                  <c:v>#N/A</c:v>
                </c:pt>
                <c:pt idx="2841">
                  <c:v>1.3397260273972602</c:v>
                </c:pt>
                <c:pt idx="2842">
                  <c:v>#N/A</c:v>
                </c:pt>
                <c:pt idx="2843">
                  <c:v>#N/A</c:v>
                </c:pt>
                <c:pt idx="2844">
                  <c:v>1.3397260273972602</c:v>
                </c:pt>
                <c:pt idx="2845">
                  <c:v>#N/A</c:v>
                </c:pt>
                <c:pt idx="2846">
                  <c:v>#N/A</c:v>
                </c:pt>
                <c:pt idx="2847">
                  <c:v>#N/A</c:v>
                </c:pt>
                <c:pt idx="2848">
                  <c:v>#N/A</c:v>
                </c:pt>
                <c:pt idx="2849">
                  <c:v>#N/A</c:v>
                </c:pt>
                <c:pt idx="2850">
                  <c:v>#N/A</c:v>
                </c:pt>
                <c:pt idx="2851">
                  <c:v>#N/A</c:v>
                </c:pt>
                <c:pt idx="2852">
                  <c:v>#N/A</c:v>
                </c:pt>
                <c:pt idx="2853">
                  <c:v>#N/A</c:v>
                </c:pt>
                <c:pt idx="2854">
                  <c:v>#N/A</c:v>
                </c:pt>
                <c:pt idx="2855">
                  <c:v>#N/A</c:v>
                </c:pt>
                <c:pt idx="2856">
                  <c:v>#N/A</c:v>
                </c:pt>
                <c:pt idx="2857">
                  <c:v>#N/A</c:v>
                </c:pt>
                <c:pt idx="2858">
                  <c:v>#N/A</c:v>
                </c:pt>
                <c:pt idx="2859">
                  <c:v>#N/A</c:v>
                </c:pt>
                <c:pt idx="2860">
                  <c:v>#N/A</c:v>
                </c:pt>
                <c:pt idx="2861">
                  <c:v>#N/A</c:v>
                </c:pt>
                <c:pt idx="2862">
                  <c:v>#N/A</c:v>
                </c:pt>
                <c:pt idx="2863">
                  <c:v>#N/A</c:v>
                </c:pt>
                <c:pt idx="2864">
                  <c:v>#N/A</c:v>
                </c:pt>
                <c:pt idx="2865">
                  <c:v>#N/A</c:v>
                </c:pt>
                <c:pt idx="2866">
                  <c:v>#N/A</c:v>
                </c:pt>
                <c:pt idx="2867">
                  <c:v>#N/A</c:v>
                </c:pt>
                <c:pt idx="2868">
                  <c:v>#N/A</c:v>
                </c:pt>
                <c:pt idx="2869">
                  <c:v>#N/A</c:v>
                </c:pt>
                <c:pt idx="2870">
                  <c:v>#N/A</c:v>
                </c:pt>
                <c:pt idx="2871">
                  <c:v>#N/A</c:v>
                </c:pt>
                <c:pt idx="2872">
                  <c:v>#N/A</c:v>
                </c:pt>
                <c:pt idx="2873">
                  <c:v>#N/A</c:v>
                </c:pt>
                <c:pt idx="2874">
                  <c:v>#N/A</c:v>
                </c:pt>
                <c:pt idx="2875">
                  <c:v>#N/A</c:v>
                </c:pt>
                <c:pt idx="2876">
                  <c:v>#N/A</c:v>
                </c:pt>
                <c:pt idx="2877">
                  <c:v>#N/A</c:v>
                </c:pt>
                <c:pt idx="2878">
                  <c:v>#N/A</c:v>
                </c:pt>
                <c:pt idx="2879">
                  <c:v>#N/A</c:v>
                </c:pt>
                <c:pt idx="2880">
                  <c:v>#N/A</c:v>
                </c:pt>
                <c:pt idx="2881">
                  <c:v>#N/A</c:v>
                </c:pt>
                <c:pt idx="2882">
                  <c:v>#N/A</c:v>
                </c:pt>
                <c:pt idx="2883">
                  <c:v>#N/A</c:v>
                </c:pt>
                <c:pt idx="2884">
                  <c:v>#N/A</c:v>
                </c:pt>
                <c:pt idx="2885">
                  <c:v>#N/A</c:v>
                </c:pt>
                <c:pt idx="2886">
                  <c:v>#N/A</c:v>
                </c:pt>
                <c:pt idx="2887">
                  <c:v>#N/A</c:v>
                </c:pt>
                <c:pt idx="2888">
                  <c:v>#N/A</c:v>
                </c:pt>
                <c:pt idx="2889">
                  <c:v>#N/A</c:v>
                </c:pt>
                <c:pt idx="2890">
                  <c:v>#N/A</c:v>
                </c:pt>
                <c:pt idx="2891">
                  <c:v>#N/A</c:v>
                </c:pt>
                <c:pt idx="2892">
                  <c:v>#N/A</c:v>
                </c:pt>
                <c:pt idx="2893">
                  <c:v>#N/A</c:v>
                </c:pt>
                <c:pt idx="2894">
                  <c:v>#N/A</c:v>
                </c:pt>
                <c:pt idx="2895">
                  <c:v>#N/A</c:v>
                </c:pt>
                <c:pt idx="2896">
                  <c:v>#N/A</c:v>
                </c:pt>
                <c:pt idx="2897">
                  <c:v>#N/A</c:v>
                </c:pt>
                <c:pt idx="2898">
                  <c:v>#N/A</c:v>
                </c:pt>
                <c:pt idx="2899">
                  <c:v>#N/A</c:v>
                </c:pt>
                <c:pt idx="2900">
                  <c:v>#N/A</c:v>
                </c:pt>
                <c:pt idx="2901">
                  <c:v>#N/A</c:v>
                </c:pt>
                <c:pt idx="2902">
                  <c:v>#N/A</c:v>
                </c:pt>
                <c:pt idx="2903">
                  <c:v>#N/A</c:v>
                </c:pt>
                <c:pt idx="2904">
                  <c:v>#N/A</c:v>
                </c:pt>
                <c:pt idx="2905">
                  <c:v>#N/A</c:v>
                </c:pt>
                <c:pt idx="2906">
                  <c:v>#N/A</c:v>
                </c:pt>
                <c:pt idx="2907">
                  <c:v>#N/A</c:v>
                </c:pt>
                <c:pt idx="2908">
                  <c:v>#N/A</c:v>
                </c:pt>
                <c:pt idx="2909">
                  <c:v>#N/A</c:v>
                </c:pt>
                <c:pt idx="2910">
                  <c:v>#N/A</c:v>
                </c:pt>
                <c:pt idx="2911">
                  <c:v>#N/A</c:v>
                </c:pt>
                <c:pt idx="2912">
                  <c:v>#N/A</c:v>
                </c:pt>
                <c:pt idx="2913">
                  <c:v>#N/A</c:v>
                </c:pt>
                <c:pt idx="2914">
                  <c:v>#N/A</c:v>
                </c:pt>
                <c:pt idx="2915">
                  <c:v>#N/A</c:v>
                </c:pt>
                <c:pt idx="2916">
                  <c:v>#N/A</c:v>
                </c:pt>
                <c:pt idx="2917">
                  <c:v>#N/A</c:v>
                </c:pt>
                <c:pt idx="2918">
                  <c:v>#N/A</c:v>
                </c:pt>
                <c:pt idx="2919">
                  <c:v>#N/A</c:v>
                </c:pt>
                <c:pt idx="2920">
                  <c:v>#N/A</c:v>
                </c:pt>
                <c:pt idx="2921">
                  <c:v>#N/A</c:v>
                </c:pt>
                <c:pt idx="2922">
                  <c:v>#N/A</c:v>
                </c:pt>
                <c:pt idx="2923">
                  <c:v>#N/A</c:v>
                </c:pt>
                <c:pt idx="2924">
                  <c:v>#N/A</c:v>
                </c:pt>
                <c:pt idx="2925">
                  <c:v>#N/A</c:v>
                </c:pt>
                <c:pt idx="2926">
                  <c:v>#N/A</c:v>
                </c:pt>
                <c:pt idx="2927">
                  <c:v>#N/A</c:v>
                </c:pt>
                <c:pt idx="2928">
                  <c:v>#N/A</c:v>
                </c:pt>
                <c:pt idx="2929">
                  <c:v>#N/A</c:v>
                </c:pt>
                <c:pt idx="2930">
                  <c:v>#N/A</c:v>
                </c:pt>
                <c:pt idx="2931">
                  <c:v>#N/A</c:v>
                </c:pt>
                <c:pt idx="2932">
                  <c:v>#N/A</c:v>
                </c:pt>
                <c:pt idx="2933">
                  <c:v>#N/A</c:v>
                </c:pt>
                <c:pt idx="2934">
                  <c:v>#N/A</c:v>
                </c:pt>
                <c:pt idx="2935">
                  <c:v>#N/A</c:v>
                </c:pt>
                <c:pt idx="2936">
                  <c:v>#N/A</c:v>
                </c:pt>
                <c:pt idx="2937">
                  <c:v>#N/A</c:v>
                </c:pt>
                <c:pt idx="2938">
                  <c:v>#N/A</c:v>
                </c:pt>
                <c:pt idx="2939">
                  <c:v>1.3863013698630138</c:v>
                </c:pt>
                <c:pt idx="2940">
                  <c:v>#N/A</c:v>
                </c:pt>
                <c:pt idx="2941">
                  <c:v>#N/A</c:v>
                </c:pt>
                <c:pt idx="2942">
                  <c:v>#N/A</c:v>
                </c:pt>
                <c:pt idx="2943">
                  <c:v>#N/A</c:v>
                </c:pt>
                <c:pt idx="2944">
                  <c:v>#N/A</c:v>
                </c:pt>
                <c:pt idx="2945">
                  <c:v>#N/A</c:v>
                </c:pt>
                <c:pt idx="2946">
                  <c:v>#N/A</c:v>
                </c:pt>
                <c:pt idx="2947">
                  <c:v>#N/A</c:v>
                </c:pt>
                <c:pt idx="2948">
                  <c:v>#N/A</c:v>
                </c:pt>
                <c:pt idx="2949">
                  <c:v>#N/A</c:v>
                </c:pt>
                <c:pt idx="2950">
                  <c:v>#N/A</c:v>
                </c:pt>
                <c:pt idx="2951">
                  <c:v>#N/A</c:v>
                </c:pt>
                <c:pt idx="2952">
                  <c:v>#N/A</c:v>
                </c:pt>
                <c:pt idx="2953">
                  <c:v>#N/A</c:v>
                </c:pt>
                <c:pt idx="2954">
                  <c:v>#N/A</c:v>
                </c:pt>
                <c:pt idx="2955">
                  <c:v>#N/A</c:v>
                </c:pt>
                <c:pt idx="2956">
                  <c:v>#N/A</c:v>
                </c:pt>
                <c:pt idx="2957">
                  <c:v>#N/A</c:v>
                </c:pt>
                <c:pt idx="2958">
                  <c:v>#N/A</c:v>
                </c:pt>
                <c:pt idx="2959">
                  <c:v>#N/A</c:v>
                </c:pt>
                <c:pt idx="2960">
                  <c:v>#N/A</c:v>
                </c:pt>
                <c:pt idx="2961">
                  <c:v>#N/A</c:v>
                </c:pt>
                <c:pt idx="2962">
                  <c:v>#N/A</c:v>
                </c:pt>
                <c:pt idx="2963">
                  <c:v>#N/A</c:v>
                </c:pt>
                <c:pt idx="2964">
                  <c:v>#N/A</c:v>
                </c:pt>
                <c:pt idx="2965">
                  <c:v>#N/A</c:v>
                </c:pt>
                <c:pt idx="2966">
                  <c:v>#N/A</c:v>
                </c:pt>
                <c:pt idx="2967">
                  <c:v>#N/A</c:v>
                </c:pt>
                <c:pt idx="2968">
                  <c:v>#N/A</c:v>
                </c:pt>
                <c:pt idx="2969">
                  <c:v>#N/A</c:v>
                </c:pt>
                <c:pt idx="2970">
                  <c:v>#N/A</c:v>
                </c:pt>
                <c:pt idx="2971">
                  <c:v>#N/A</c:v>
                </c:pt>
                <c:pt idx="2972">
                  <c:v>#N/A</c:v>
                </c:pt>
                <c:pt idx="2973">
                  <c:v>#N/A</c:v>
                </c:pt>
                <c:pt idx="2974">
                  <c:v>#N/A</c:v>
                </c:pt>
                <c:pt idx="2975">
                  <c:v>#N/A</c:v>
                </c:pt>
                <c:pt idx="2976">
                  <c:v>#N/A</c:v>
                </c:pt>
                <c:pt idx="2977">
                  <c:v>#N/A</c:v>
                </c:pt>
                <c:pt idx="2978">
                  <c:v>#N/A</c:v>
                </c:pt>
                <c:pt idx="2979">
                  <c:v>#N/A</c:v>
                </c:pt>
                <c:pt idx="2980">
                  <c:v>#N/A</c:v>
                </c:pt>
                <c:pt idx="2981">
                  <c:v>#N/A</c:v>
                </c:pt>
                <c:pt idx="2982">
                  <c:v>#N/A</c:v>
                </c:pt>
                <c:pt idx="2983">
                  <c:v>#N/A</c:v>
                </c:pt>
                <c:pt idx="2984">
                  <c:v>#N/A</c:v>
                </c:pt>
                <c:pt idx="2985">
                  <c:v>#N/A</c:v>
                </c:pt>
                <c:pt idx="2986">
                  <c:v>#N/A</c:v>
                </c:pt>
                <c:pt idx="2987">
                  <c:v>#N/A</c:v>
                </c:pt>
                <c:pt idx="2988">
                  <c:v>#N/A</c:v>
                </c:pt>
                <c:pt idx="2989">
                  <c:v>#N/A</c:v>
                </c:pt>
                <c:pt idx="2990">
                  <c:v>#N/A</c:v>
                </c:pt>
                <c:pt idx="2991">
                  <c:v>#N/A</c:v>
                </c:pt>
                <c:pt idx="2992">
                  <c:v>#N/A</c:v>
                </c:pt>
                <c:pt idx="2993">
                  <c:v>#N/A</c:v>
                </c:pt>
                <c:pt idx="2994">
                  <c:v>#N/A</c:v>
                </c:pt>
                <c:pt idx="2995">
                  <c:v>#N/A</c:v>
                </c:pt>
                <c:pt idx="2996">
                  <c:v>#N/A</c:v>
                </c:pt>
                <c:pt idx="2997">
                  <c:v>#N/A</c:v>
                </c:pt>
                <c:pt idx="2998">
                  <c:v>#N/A</c:v>
                </c:pt>
                <c:pt idx="2999">
                  <c:v>#N/A</c:v>
                </c:pt>
                <c:pt idx="3000">
                  <c:v>#N/A</c:v>
                </c:pt>
                <c:pt idx="3001">
                  <c:v>#N/A</c:v>
                </c:pt>
                <c:pt idx="3002">
                  <c:v>#N/A</c:v>
                </c:pt>
                <c:pt idx="3003">
                  <c:v>#N/A</c:v>
                </c:pt>
                <c:pt idx="3004">
                  <c:v>#N/A</c:v>
                </c:pt>
                <c:pt idx="3005">
                  <c:v>#N/A</c:v>
                </c:pt>
                <c:pt idx="3006">
                  <c:v>#N/A</c:v>
                </c:pt>
                <c:pt idx="3007">
                  <c:v>#N/A</c:v>
                </c:pt>
                <c:pt idx="3008">
                  <c:v>#N/A</c:v>
                </c:pt>
                <c:pt idx="3009">
                  <c:v>#N/A</c:v>
                </c:pt>
                <c:pt idx="3010">
                  <c:v>#N/A</c:v>
                </c:pt>
                <c:pt idx="3011">
                  <c:v>#N/A</c:v>
                </c:pt>
                <c:pt idx="3012">
                  <c:v>#N/A</c:v>
                </c:pt>
                <c:pt idx="3013">
                  <c:v>#N/A</c:v>
                </c:pt>
                <c:pt idx="3014">
                  <c:v>#N/A</c:v>
                </c:pt>
                <c:pt idx="3015">
                  <c:v>#N/A</c:v>
                </c:pt>
                <c:pt idx="3016">
                  <c:v>#N/A</c:v>
                </c:pt>
                <c:pt idx="3017">
                  <c:v>#N/A</c:v>
                </c:pt>
                <c:pt idx="3018">
                  <c:v>#N/A</c:v>
                </c:pt>
                <c:pt idx="3019">
                  <c:v>#N/A</c:v>
                </c:pt>
                <c:pt idx="3020">
                  <c:v>#N/A</c:v>
                </c:pt>
                <c:pt idx="3021">
                  <c:v>#N/A</c:v>
                </c:pt>
                <c:pt idx="3022">
                  <c:v>#N/A</c:v>
                </c:pt>
                <c:pt idx="3023">
                  <c:v>#N/A</c:v>
                </c:pt>
                <c:pt idx="3024">
                  <c:v>#N/A</c:v>
                </c:pt>
                <c:pt idx="3025">
                  <c:v>#N/A</c:v>
                </c:pt>
                <c:pt idx="3026">
                  <c:v>#N/A</c:v>
                </c:pt>
                <c:pt idx="3027">
                  <c:v>#N/A</c:v>
                </c:pt>
                <c:pt idx="3028">
                  <c:v>#N/A</c:v>
                </c:pt>
                <c:pt idx="3029">
                  <c:v>#N/A</c:v>
                </c:pt>
                <c:pt idx="3030">
                  <c:v>#N/A</c:v>
                </c:pt>
                <c:pt idx="3031">
                  <c:v>#N/A</c:v>
                </c:pt>
                <c:pt idx="3032">
                  <c:v>#N/A</c:v>
                </c:pt>
                <c:pt idx="3033">
                  <c:v>#N/A</c:v>
                </c:pt>
                <c:pt idx="3034">
                  <c:v>#N/A</c:v>
                </c:pt>
                <c:pt idx="3035">
                  <c:v>#N/A</c:v>
                </c:pt>
                <c:pt idx="3036">
                  <c:v>#N/A</c:v>
                </c:pt>
                <c:pt idx="3037">
                  <c:v>#N/A</c:v>
                </c:pt>
                <c:pt idx="3038">
                  <c:v>#N/A</c:v>
                </c:pt>
                <c:pt idx="3039">
                  <c:v>1.4</c:v>
                </c:pt>
                <c:pt idx="3040">
                  <c:v>#N/A</c:v>
                </c:pt>
                <c:pt idx="3041">
                  <c:v>#N/A</c:v>
                </c:pt>
                <c:pt idx="3042">
                  <c:v>#N/A</c:v>
                </c:pt>
                <c:pt idx="3043">
                  <c:v>#N/A</c:v>
                </c:pt>
                <c:pt idx="3044">
                  <c:v>#N/A</c:v>
                </c:pt>
                <c:pt idx="3045">
                  <c:v>#N/A</c:v>
                </c:pt>
                <c:pt idx="3046">
                  <c:v>#N/A</c:v>
                </c:pt>
                <c:pt idx="3047">
                  <c:v>#N/A</c:v>
                </c:pt>
                <c:pt idx="3048">
                  <c:v>#N/A</c:v>
                </c:pt>
                <c:pt idx="3049">
                  <c:v>#N/A</c:v>
                </c:pt>
                <c:pt idx="3050">
                  <c:v>#N/A</c:v>
                </c:pt>
                <c:pt idx="3051">
                  <c:v>#N/A</c:v>
                </c:pt>
                <c:pt idx="3052">
                  <c:v>#N/A</c:v>
                </c:pt>
                <c:pt idx="3053">
                  <c:v>#N/A</c:v>
                </c:pt>
                <c:pt idx="3054">
                  <c:v>#N/A</c:v>
                </c:pt>
                <c:pt idx="3055">
                  <c:v>#N/A</c:v>
                </c:pt>
                <c:pt idx="3056">
                  <c:v>#N/A</c:v>
                </c:pt>
                <c:pt idx="3057">
                  <c:v>#N/A</c:v>
                </c:pt>
                <c:pt idx="3058">
                  <c:v>#N/A</c:v>
                </c:pt>
                <c:pt idx="3059">
                  <c:v>#N/A</c:v>
                </c:pt>
                <c:pt idx="3060">
                  <c:v>#N/A</c:v>
                </c:pt>
                <c:pt idx="3061">
                  <c:v>#N/A</c:v>
                </c:pt>
                <c:pt idx="3062">
                  <c:v>#N/A</c:v>
                </c:pt>
                <c:pt idx="3063">
                  <c:v>#N/A</c:v>
                </c:pt>
                <c:pt idx="3064">
                  <c:v>#N/A</c:v>
                </c:pt>
                <c:pt idx="3065">
                  <c:v>#N/A</c:v>
                </c:pt>
                <c:pt idx="3066">
                  <c:v>#N/A</c:v>
                </c:pt>
                <c:pt idx="3067">
                  <c:v>#N/A</c:v>
                </c:pt>
                <c:pt idx="3068">
                  <c:v>#N/A</c:v>
                </c:pt>
                <c:pt idx="3069">
                  <c:v>#N/A</c:v>
                </c:pt>
                <c:pt idx="3070">
                  <c:v>#N/A</c:v>
                </c:pt>
                <c:pt idx="3071">
                  <c:v>#N/A</c:v>
                </c:pt>
                <c:pt idx="3072">
                  <c:v>#N/A</c:v>
                </c:pt>
                <c:pt idx="3073">
                  <c:v>#N/A</c:v>
                </c:pt>
                <c:pt idx="3074">
                  <c:v>#N/A</c:v>
                </c:pt>
                <c:pt idx="3075">
                  <c:v>#N/A</c:v>
                </c:pt>
                <c:pt idx="3076">
                  <c:v>#N/A</c:v>
                </c:pt>
                <c:pt idx="3077">
                  <c:v>#N/A</c:v>
                </c:pt>
                <c:pt idx="3078">
                  <c:v>#N/A</c:v>
                </c:pt>
                <c:pt idx="3079">
                  <c:v>#N/A</c:v>
                </c:pt>
                <c:pt idx="3080">
                  <c:v>#N/A</c:v>
                </c:pt>
                <c:pt idx="3081">
                  <c:v>#N/A</c:v>
                </c:pt>
                <c:pt idx="3082">
                  <c:v>#N/A</c:v>
                </c:pt>
                <c:pt idx="3083">
                  <c:v>#N/A</c:v>
                </c:pt>
                <c:pt idx="3084">
                  <c:v>#N/A</c:v>
                </c:pt>
                <c:pt idx="3085">
                  <c:v>#N/A</c:v>
                </c:pt>
                <c:pt idx="3086">
                  <c:v>#N/A</c:v>
                </c:pt>
                <c:pt idx="3087">
                  <c:v>#N/A</c:v>
                </c:pt>
                <c:pt idx="3088">
                  <c:v>1.4191780821917808</c:v>
                </c:pt>
                <c:pt idx="3089">
                  <c:v>#N/A</c:v>
                </c:pt>
                <c:pt idx="3090">
                  <c:v>#N/A</c:v>
                </c:pt>
                <c:pt idx="3091">
                  <c:v>#N/A</c:v>
                </c:pt>
                <c:pt idx="3092">
                  <c:v>#N/A</c:v>
                </c:pt>
                <c:pt idx="3093">
                  <c:v>#N/A</c:v>
                </c:pt>
                <c:pt idx="3094">
                  <c:v>#N/A</c:v>
                </c:pt>
                <c:pt idx="3095">
                  <c:v>#N/A</c:v>
                </c:pt>
                <c:pt idx="3096">
                  <c:v>1.4191780821917808</c:v>
                </c:pt>
                <c:pt idx="3097">
                  <c:v>#N/A</c:v>
                </c:pt>
                <c:pt idx="3098">
                  <c:v>#N/A</c:v>
                </c:pt>
                <c:pt idx="3099">
                  <c:v>#N/A</c:v>
                </c:pt>
                <c:pt idx="3100">
                  <c:v>#N/A</c:v>
                </c:pt>
                <c:pt idx="3101">
                  <c:v>#N/A</c:v>
                </c:pt>
                <c:pt idx="3102">
                  <c:v>#N/A</c:v>
                </c:pt>
                <c:pt idx="3103">
                  <c:v>#N/A</c:v>
                </c:pt>
                <c:pt idx="3104">
                  <c:v>#N/A</c:v>
                </c:pt>
                <c:pt idx="3105">
                  <c:v>#N/A</c:v>
                </c:pt>
                <c:pt idx="3106">
                  <c:v>#N/A</c:v>
                </c:pt>
                <c:pt idx="3107">
                  <c:v>#N/A</c:v>
                </c:pt>
                <c:pt idx="3108">
                  <c:v>#N/A</c:v>
                </c:pt>
                <c:pt idx="3109">
                  <c:v>#N/A</c:v>
                </c:pt>
                <c:pt idx="3110">
                  <c:v>#N/A</c:v>
                </c:pt>
                <c:pt idx="3111">
                  <c:v>#N/A</c:v>
                </c:pt>
                <c:pt idx="3112">
                  <c:v>#N/A</c:v>
                </c:pt>
                <c:pt idx="3113">
                  <c:v>#N/A</c:v>
                </c:pt>
                <c:pt idx="3114">
                  <c:v>#N/A</c:v>
                </c:pt>
                <c:pt idx="3115">
                  <c:v>#N/A</c:v>
                </c:pt>
                <c:pt idx="3116">
                  <c:v>#N/A</c:v>
                </c:pt>
                <c:pt idx="3117">
                  <c:v>#N/A</c:v>
                </c:pt>
                <c:pt idx="3118">
                  <c:v>#N/A</c:v>
                </c:pt>
                <c:pt idx="3119">
                  <c:v>#N/A</c:v>
                </c:pt>
                <c:pt idx="3120">
                  <c:v>#N/A</c:v>
                </c:pt>
                <c:pt idx="3121">
                  <c:v>#N/A</c:v>
                </c:pt>
                <c:pt idx="3122">
                  <c:v>#N/A</c:v>
                </c:pt>
                <c:pt idx="3123">
                  <c:v>#N/A</c:v>
                </c:pt>
                <c:pt idx="3124">
                  <c:v>#N/A</c:v>
                </c:pt>
                <c:pt idx="3125">
                  <c:v>#N/A</c:v>
                </c:pt>
                <c:pt idx="3126">
                  <c:v>#N/A</c:v>
                </c:pt>
                <c:pt idx="3127">
                  <c:v>#N/A</c:v>
                </c:pt>
                <c:pt idx="3128">
                  <c:v>#N/A</c:v>
                </c:pt>
                <c:pt idx="3129">
                  <c:v>#N/A</c:v>
                </c:pt>
                <c:pt idx="3130">
                  <c:v>#N/A</c:v>
                </c:pt>
                <c:pt idx="3131">
                  <c:v>#N/A</c:v>
                </c:pt>
                <c:pt idx="3132">
                  <c:v>#N/A</c:v>
                </c:pt>
                <c:pt idx="3133">
                  <c:v>#N/A</c:v>
                </c:pt>
                <c:pt idx="3134">
                  <c:v>#N/A</c:v>
                </c:pt>
                <c:pt idx="3135">
                  <c:v>#N/A</c:v>
                </c:pt>
                <c:pt idx="3136">
                  <c:v>#N/A</c:v>
                </c:pt>
                <c:pt idx="3137">
                  <c:v>#N/A</c:v>
                </c:pt>
                <c:pt idx="3138">
                  <c:v>#N/A</c:v>
                </c:pt>
                <c:pt idx="3139">
                  <c:v>#N/A</c:v>
                </c:pt>
                <c:pt idx="3140">
                  <c:v>#N/A</c:v>
                </c:pt>
                <c:pt idx="3141">
                  <c:v>#N/A</c:v>
                </c:pt>
                <c:pt idx="3142">
                  <c:v>#N/A</c:v>
                </c:pt>
                <c:pt idx="3143">
                  <c:v>#N/A</c:v>
                </c:pt>
                <c:pt idx="3144">
                  <c:v>#N/A</c:v>
                </c:pt>
                <c:pt idx="3145">
                  <c:v>#N/A</c:v>
                </c:pt>
                <c:pt idx="3146">
                  <c:v>#N/A</c:v>
                </c:pt>
                <c:pt idx="3147">
                  <c:v>#N/A</c:v>
                </c:pt>
                <c:pt idx="3148">
                  <c:v>#N/A</c:v>
                </c:pt>
                <c:pt idx="3149">
                  <c:v>#N/A</c:v>
                </c:pt>
                <c:pt idx="3150">
                  <c:v>#N/A</c:v>
                </c:pt>
                <c:pt idx="3151">
                  <c:v>#N/A</c:v>
                </c:pt>
                <c:pt idx="3152">
                  <c:v>#N/A</c:v>
                </c:pt>
                <c:pt idx="3153">
                  <c:v>#N/A</c:v>
                </c:pt>
                <c:pt idx="3154">
                  <c:v>#N/A</c:v>
                </c:pt>
                <c:pt idx="3155">
                  <c:v>#N/A</c:v>
                </c:pt>
                <c:pt idx="3156">
                  <c:v>#N/A</c:v>
                </c:pt>
                <c:pt idx="3157">
                  <c:v>#N/A</c:v>
                </c:pt>
                <c:pt idx="3158">
                  <c:v>1.4575342465753425</c:v>
                </c:pt>
                <c:pt idx="3159">
                  <c:v>#N/A</c:v>
                </c:pt>
                <c:pt idx="3160">
                  <c:v>1.4575342465753425</c:v>
                </c:pt>
                <c:pt idx="3161">
                  <c:v>#N/A</c:v>
                </c:pt>
                <c:pt idx="3162">
                  <c:v>#N/A</c:v>
                </c:pt>
                <c:pt idx="3163">
                  <c:v>#N/A</c:v>
                </c:pt>
                <c:pt idx="3164">
                  <c:v>#N/A</c:v>
                </c:pt>
                <c:pt idx="3165">
                  <c:v>#N/A</c:v>
                </c:pt>
                <c:pt idx="3166">
                  <c:v>#N/A</c:v>
                </c:pt>
                <c:pt idx="3167">
                  <c:v>#N/A</c:v>
                </c:pt>
                <c:pt idx="3168">
                  <c:v>#N/A</c:v>
                </c:pt>
                <c:pt idx="3169">
                  <c:v>#N/A</c:v>
                </c:pt>
                <c:pt idx="3170">
                  <c:v>#N/A</c:v>
                </c:pt>
                <c:pt idx="3171">
                  <c:v>#N/A</c:v>
                </c:pt>
                <c:pt idx="3172">
                  <c:v>#N/A</c:v>
                </c:pt>
                <c:pt idx="3173">
                  <c:v>#N/A</c:v>
                </c:pt>
                <c:pt idx="3174">
                  <c:v>#N/A</c:v>
                </c:pt>
                <c:pt idx="3175">
                  <c:v>#N/A</c:v>
                </c:pt>
                <c:pt idx="3176">
                  <c:v>#N/A</c:v>
                </c:pt>
                <c:pt idx="3177">
                  <c:v>#N/A</c:v>
                </c:pt>
                <c:pt idx="3178">
                  <c:v>#N/A</c:v>
                </c:pt>
                <c:pt idx="3179">
                  <c:v>#N/A</c:v>
                </c:pt>
                <c:pt idx="3180">
                  <c:v>#N/A</c:v>
                </c:pt>
                <c:pt idx="3181">
                  <c:v>#N/A</c:v>
                </c:pt>
                <c:pt idx="3182">
                  <c:v>#N/A</c:v>
                </c:pt>
                <c:pt idx="3183">
                  <c:v>#N/A</c:v>
                </c:pt>
                <c:pt idx="3184">
                  <c:v>#N/A</c:v>
                </c:pt>
                <c:pt idx="3185">
                  <c:v>#N/A</c:v>
                </c:pt>
                <c:pt idx="3186">
                  <c:v>#N/A</c:v>
                </c:pt>
                <c:pt idx="3187">
                  <c:v>#N/A</c:v>
                </c:pt>
                <c:pt idx="3188">
                  <c:v>#N/A</c:v>
                </c:pt>
                <c:pt idx="3189">
                  <c:v>#N/A</c:v>
                </c:pt>
                <c:pt idx="3190">
                  <c:v>#N/A</c:v>
                </c:pt>
                <c:pt idx="3191">
                  <c:v>#N/A</c:v>
                </c:pt>
                <c:pt idx="3192">
                  <c:v>#N/A</c:v>
                </c:pt>
                <c:pt idx="3193">
                  <c:v>#N/A</c:v>
                </c:pt>
                <c:pt idx="3194">
                  <c:v>#N/A</c:v>
                </c:pt>
                <c:pt idx="3195">
                  <c:v>#N/A</c:v>
                </c:pt>
                <c:pt idx="3196">
                  <c:v>#N/A</c:v>
                </c:pt>
                <c:pt idx="3197">
                  <c:v>#N/A</c:v>
                </c:pt>
                <c:pt idx="3198">
                  <c:v>#N/A</c:v>
                </c:pt>
                <c:pt idx="3199">
                  <c:v>#N/A</c:v>
                </c:pt>
                <c:pt idx="3200">
                  <c:v>#N/A</c:v>
                </c:pt>
                <c:pt idx="3201">
                  <c:v>#N/A</c:v>
                </c:pt>
                <c:pt idx="3202">
                  <c:v>#N/A</c:v>
                </c:pt>
                <c:pt idx="3203">
                  <c:v>#N/A</c:v>
                </c:pt>
                <c:pt idx="3204">
                  <c:v>#N/A</c:v>
                </c:pt>
                <c:pt idx="3205">
                  <c:v>#N/A</c:v>
                </c:pt>
                <c:pt idx="3206">
                  <c:v>#N/A</c:v>
                </c:pt>
                <c:pt idx="3207">
                  <c:v>#N/A</c:v>
                </c:pt>
                <c:pt idx="3208">
                  <c:v>#N/A</c:v>
                </c:pt>
                <c:pt idx="3209">
                  <c:v>#N/A</c:v>
                </c:pt>
                <c:pt idx="3210">
                  <c:v>#N/A</c:v>
                </c:pt>
                <c:pt idx="3211">
                  <c:v>#N/A</c:v>
                </c:pt>
                <c:pt idx="3212">
                  <c:v>#N/A</c:v>
                </c:pt>
                <c:pt idx="3213">
                  <c:v>#N/A</c:v>
                </c:pt>
                <c:pt idx="3214">
                  <c:v>#N/A</c:v>
                </c:pt>
                <c:pt idx="3215">
                  <c:v>#N/A</c:v>
                </c:pt>
                <c:pt idx="3216">
                  <c:v>#N/A</c:v>
                </c:pt>
                <c:pt idx="3217">
                  <c:v>#N/A</c:v>
                </c:pt>
                <c:pt idx="3218">
                  <c:v>#N/A</c:v>
                </c:pt>
                <c:pt idx="3219">
                  <c:v>#N/A</c:v>
                </c:pt>
                <c:pt idx="3220">
                  <c:v>#N/A</c:v>
                </c:pt>
                <c:pt idx="3221">
                  <c:v>#N/A</c:v>
                </c:pt>
                <c:pt idx="3222">
                  <c:v>#N/A</c:v>
                </c:pt>
                <c:pt idx="3223">
                  <c:v>#N/A</c:v>
                </c:pt>
                <c:pt idx="3224">
                  <c:v>#N/A</c:v>
                </c:pt>
                <c:pt idx="3225">
                  <c:v>#N/A</c:v>
                </c:pt>
                <c:pt idx="3226">
                  <c:v>#N/A</c:v>
                </c:pt>
                <c:pt idx="3227">
                  <c:v>#N/A</c:v>
                </c:pt>
                <c:pt idx="3228">
                  <c:v>#N/A</c:v>
                </c:pt>
                <c:pt idx="3229">
                  <c:v>#N/A</c:v>
                </c:pt>
                <c:pt idx="3230">
                  <c:v>#N/A</c:v>
                </c:pt>
                <c:pt idx="3231">
                  <c:v>#N/A</c:v>
                </c:pt>
                <c:pt idx="3232">
                  <c:v>#N/A</c:v>
                </c:pt>
                <c:pt idx="3233">
                  <c:v>#N/A</c:v>
                </c:pt>
                <c:pt idx="3234">
                  <c:v>#N/A</c:v>
                </c:pt>
                <c:pt idx="3235">
                  <c:v>#N/A</c:v>
                </c:pt>
                <c:pt idx="3236">
                  <c:v>#N/A</c:v>
                </c:pt>
                <c:pt idx="3237">
                  <c:v>#N/A</c:v>
                </c:pt>
                <c:pt idx="3238">
                  <c:v>#N/A</c:v>
                </c:pt>
                <c:pt idx="3239">
                  <c:v>#N/A</c:v>
                </c:pt>
                <c:pt idx="3240">
                  <c:v>#N/A</c:v>
                </c:pt>
                <c:pt idx="3241">
                  <c:v>#N/A</c:v>
                </c:pt>
                <c:pt idx="3242">
                  <c:v>#N/A</c:v>
                </c:pt>
                <c:pt idx="3243">
                  <c:v>#N/A</c:v>
                </c:pt>
                <c:pt idx="3244">
                  <c:v>#N/A</c:v>
                </c:pt>
                <c:pt idx="3245">
                  <c:v>#N/A</c:v>
                </c:pt>
                <c:pt idx="3246">
                  <c:v>#N/A</c:v>
                </c:pt>
                <c:pt idx="3247">
                  <c:v>#N/A</c:v>
                </c:pt>
                <c:pt idx="3248">
                  <c:v>#N/A</c:v>
                </c:pt>
                <c:pt idx="3249">
                  <c:v>#N/A</c:v>
                </c:pt>
                <c:pt idx="3250">
                  <c:v>#N/A</c:v>
                </c:pt>
                <c:pt idx="3251">
                  <c:v>#N/A</c:v>
                </c:pt>
                <c:pt idx="3252">
                  <c:v>#N/A</c:v>
                </c:pt>
                <c:pt idx="3253">
                  <c:v>#N/A</c:v>
                </c:pt>
                <c:pt idx="3254">
                  <c:v>#N/A</c:v>
                </c:pt>
                <c:pt idx="3255">
                  <c:v>#N/A</c:v>
                </c:pt>
                <c:pt idx="3256">
                  <c:v>#N/A</c:v>
                </c:pt>
                <c:pt idx="3257">
                  <c:v>#N/A</c:v>
                </c:pt>
                <c:pt idx="3258">
                  <c:v>#N/A</c:v>
                </c:pt>
                <c:pt idx="3259">
                  <c:v>#N/A</c:v>
                </c:pt>
                <c:pt idx="3260">
                  <c:v>#N/A</c:v>
                </c:pt>
                <c:pt idx="3261">
                  <c:v>#N/A</c:v>
                </c:pt>
                <c:pt idx="3262">
                  <c:v>#N/A</c:v>
                </c:pt>
                <c:pt idx="3263">
                  <c:v>#N/A</c:v>
                </c:pt>
                <c:pt idx="3264">
                  <c:v>#N/A</c:v>
                </c:pt>
                <c:pt idx="3265">
                  <c:v>#N/A</c:v>
                </c:pt>
                <c:pt idx="3266">
                  <c:v>#N/A</c:v>
                </c:pt>
                <c:pt idx="3267">
                  <c:v>#N/A</c:v>
                </c:pt>
                <c:pt idx="3268">
                  <c:v>#N/A</c:v>
                </c:pt>
                <c:pt idx="3269">
                  <c:v>#N/A</c:v>
                </c:pt>
                <c:pt idx="3270">
                  <c:v>#N/A</c:v>
                </c:pt>
                <c:pt idx="3271">
                  <c:v>#N/A</c:v>
                </c:pt>
                <c:pt idx="3272">
                  <c:v>#N/A</c:v>
                </c:pt>
                <c:pt idx="3273">
                  <c:v>#N/A</c:v>
                </c:pt>
                <c:pt idx="3274">
                  <c:v>#N/A</c:v>
                </c:pt>
                <c:pt idx="3275">
                  <c:v>#N/A</c:v>
                </c:pt>
                <c:pt idx="3276">
                  <c:v>#N/A</c:v>
                </c:pt>
                <c:pt idx="3277">
                  <c:v>#N/A</c:v>
                </c:pt>
                <c:pt idx="3278">
                  <c:v>#N/A</c:v>
                </c:pt>
                <c:pt idx="3279">
                  <c:v>#N/A</c:v>
                </c:pt>
                <c:pt idx="3280">
                  <c:v>#N/A</c:v>
                </c:pt>
                <c:pt idx="3281">
                  <c:v>#N/A</c:v>
                </c:pt>
                <c:pt idx="3282">
                  <c:v>#N/A</c:v>
                </c:pt>
                <c:pt idx="3283">
                  <c:v>#N/A</c:v>
                </c:pt>
                <c:pt idx="3284">
                  <c:v>#N/A</c:v>
                </c:pt>
                <c:pt idx="3285">
                  <c:v>#N/A</c:v>
                </c:pt>
                <c:pt idx="3286">
                  <c:v>#N/A</c:v>
                </c:pt>
                <c:pt idx="3287">
                  <c:v>#N/A</c:v>
                </c:pt>
                <c:pt idx="3288">
                  <c:v>#N/A</c:v>
                </c:pt>
                <c:pt idx="3289">
                  <c:v>#N/A</c:v>
                </c:pt>
                <c:pt idx="3290">
                  <c:v>#N/A</c:v>
                </c:pt>
                <c:pt idx="3291">
                  <c:v>#N/A</c:v>
                </c:pt>
                <c:pt idx="3292">
                  <c:v>#N/A</c:v>
                </c:pt>
                <c:pt idx="3293">
                  <c:v>#N/A</c:v>
                </c:pt>
                <c:pt idx="3294">
                  <c:v>#N/A</c:v>
                </c:pt>
                <c:pt idx="3295">
                  <c:v>#N/A</c:v>
                </c:pt>
                <c:pt idx="3296">
                  <c:v>#N/A</c:v>
                </c:pt>
                <c:pt idx="3297">
                  <c:v>#N/A</c:v>
                </c:pt>
                <c:pt idx="3298">
                  <c:v>#N/A</c:v>
                </c:pt>
                <c:pt idx="3299">
                  <c:v>#N/A</c:v>
                </c:pt>
                <c:pt idx="3300">
                  <c:v>#N/A</c:v>
                </c:pt>
                <c:pt idx="3301">
                  <c:v>#N/A</c:v>
                </c:pt>
                <c:pt idx="3302">
                  <c:v>#N/A</c:v>
                </c:pt>
                <c:pt idx="3303">
                  <c:v>#N/A</c:v>
                </c:pt>
                <c:pt idx="3304">
                  <c:v>#N/A</c:v>
                </c:pt>
                <c:pt idx="3305">
                  <c:v>#N/A</c:v>
                </c:pt>
                <c:pt idx="3306">
                  <c:v>#N/A</c:v>
                </c:pt>
                <c:pt idx="3307">
                  <c:v>#N/A</c:v>
                </c:pt>
                <c:pt idx="3308">
                  <c:v>#N/A</c:v>
                </c:pt>
                <c:pt idx="3309">
                  <c:v>#N/A</c:v>
                </c:pt>
                <c:pt idx="3310">
                  <c:v>#N/A</c:v>
                </c:pt>
                <c:pt idx="3311">
                  <c:v>#N/A</c:v>
                </c:pt>
                <c:pt idx="3312">
                  <c:v>#N/A</c:v>
                </c:pt>
                <c:pt idx="3313">
                  <c:v>#N/A</c:v>
                </c:pt>
                <c:pt idx="3314">
                  <c:v>#N/A</c:v>
                </c:pt>
                <c:pt idx="3315">
                  <c:v>#N/A</c:v>
                </c:pt>
                <c:pt idx="3316">
                  <c:v>#N/A</c:v>
                </c:pt>
                <c:pt idx="3317">
                  <c:v>#N/A</c:v>
                </c:pt>
                <c:pt idx="3318">
                  <c:v>#N/A</c:v>
                </c:pt>
                <c:pt idx="3319">
                  <c:v>#N/A</c:v>
                </c:pt>
                <c:pt idx="3320">
                  <c:v>#N/A</c:v>
                </c:pt>
                <c:pt idx="3321">
                  <c:v>#N/A</c:v>
                </c:pt>
                <c:pt idx="3322">
                  <c:v>#N/A</c:v>
                </c:pt>
                <c:pt idx="3323">
                  <c:v>#N/A</c:v>
                </c:pt>
                <c:pt idx="3324">
                  <c:v>#N/A</c:v>
                </c:pt>
                <c:pt idx="3325">
                  <c:v>#N/A</c:v>
                </c:pt>
                <c:pt idx="3326">
                  <c:v>#N/A</c:v>
                </c:pt>
                <c:pt idx="3327">
                  <c:v>#N/A</c:v>
                </c:pt>
                <c:pt idx="3328">
                  <c:v>#N/A</c:v>
                </c:pt>
                <c:pt idx="3329">
                  <c:v>#N/A</c:v>
                </c:pt>
                <c:pt idx="3330">
                  <c:v>#N/A</c:v>
                </c:pt>
                <c:pt idx="3331">
                  <c:v>#N/A</c:v>
                </c:pt>
                <c:pt idx="3332">
                  <c:v>#N/A</c:v>
                </c:pt>
                <c:pt idx="3333">
                  <c:v>#N/A</c:v>
                </c:pt>
                <c:pt idx="3334">
                  <c:v>#N/A</c:v>
                </c:pt>
                <c:pt idx="3335">
                  <c:v>#N/A</c:v>
                </c:pt>
                <c:pt idx="3336">
                  <c:v>#N/A</c:v>
                </c:pt>
                <c:pt idx="3337">
                  <c:v>#N/A</c:v>
                </c:pt>
                <c:pt idx="3338">
                  <c:v>#N/A</c:v>
                </c:pt>
                <c:pt idx="3339">
                  <c:v>#N/A</c:v>
                </c:pt>
                <c:pt idx="3340">
                  <c:v>#N/A</c:v>
                </c:pt>
                <c:pt idx="3341">
                  <c:v>#N/A</c:v>
                </c:pt>
                <c:pt idx="3342">
                  <c:v>#N/A</c:v>
                </c:pt>
                <c:pt idx="3343">
                  <c:v>#N/A</c:v>
                </c:pt>
                <c:pt idx="3344">
                  <c:v>#N/A</c:v>
                </c:pt>
                <c:pt idx="3345">
                  <c:v>#N/A</c:v>
                </c:pt>
                <c:pt idx="3346">
                  <c:v>#N/A</c:v>
                </c:pt>
                <c:pt idx="3347">
                  <c:v>#N/A</c:v>
                </c:pt>
                <c:pt idx="3348">
                  <c:v>#N/A</c:v>
                </c:pt>
                <c:pt idx="3349">
                  <c:v>#N/A</c:v>
                </c:pt>
                <c:pt idx="3350">
                  <c:v>#N/A</c:v>
                </c:pt>
                <c:pt idx="3351">
                  <c:v>#N/A</c:v>
                </c:pt>
                <c:pt idx="3352">
                  <c:v>#N/A</c:v>
                </c:pt>
                <c:pt idx="3353">
                  <c:v>#N/A</c:v>
                </c:pt>
                <c:pt idx="3354">
                  <c:v>#N/A</c:v>
                </c:pt>
                <c:pt idx="3355">
                  <c:v>#N/A</c:v>
                </c:pt>
                <c:pt idx="3356">
                  <c:v>#N/A</c:v>
                </c:pt>
                <c:pt idx="3357">
                  <c:v>#N/A</c:v>
                </c:pt>
                <c:pt idx="3358">
                  <c:v>#N/A</c:v>
                </c:pt>
                <c:pt idx="3359">
                  <c:v>#N/A</c:v>
                </c:pt>
                <c:pt idx="3360">
                  <c:v>#N/A</c:v>
                </c:pt>
                <c:pt idx="3361">
                  <c:v>#N/A</c:v>
                </c:pt>
                <c:pt idx="3362">
                  <c:v>#N/A</c:v>
                </c:pt>
                <c:pt idx="3363">
                  <c:v>#N/A</c:v>
                </c:pt>
                <c:pt idx="3364">
                  <c:v>#N/A</c:v>
                </c:pt>
                <c:pt idx="3365">
                  <c:v>#N/A</c:v>
                </c:pt>
                <c:pt idx="3366">
                  <c:v>#N/A</c:v>
                </c:pt>
                <c:pt idx="3367">
                  <c:v>#N/A</c:v>
                </c:pt>
                <c:pt idx="3368">
                  <c:v>#N/A</c:v>
                </c:pt>
                <c:pt idx="3369">
                  <c:v>#N/A</c:v>
                </c:pt>
                <c:pt idx="3370">
                  <c:v>#N/A</c:v>
                </c:pt>
                <c:pt idx="3371">
                  <c:v>#N/A</c:v>
                </c:pt>
                <c:pt idx="3372">
                  <c:v>#N/A</c:v>
                </c:pt>
                <c:pt idx="3373">
                  <c:v>#N/A</c:v>
                </c:pt>
                <c:pt idx="3374">
                  <c:v>#N/A</c:v>
                </c:pt>
                <c:pt idx="3375">
                  <c:v>#N/A</c:v>
                </c:pt>
                <c:pt idx="3376">
                  <c:v>#N/A</c:v>
                </c:pt>
                <c:pt idx="3377">
                  <c:v>#N/A</c:v>
                </c:pt>
                <c:pt idx="3378">
                  <c:v>#N/A</c:v>
                </c:pt>
                <c:pt idx="3379">
                  <c:v>#N/A</c:v>
                </c:pt>
                <c:pt idx="3380">
                  <c:v>#N/A</c:v>
                </c:pt>
                <c:pt idx="3381">
                  <c:v>#N/A</c:v>
                </c:pt>
                <c:pt idx="3382">
                  <c:v>#N/A</c:v>
                </c:pt>
                <c:pt idx="3383">
                  <c:v>#N/A</c:v>
                </c:pt>
                <c:pt idx="3384">
                  <c:v>#N/A</c:v>
                </c:pt>
                <c:pt idx="3385">
                  <c:v>#N/A</c:v>
                </c:pt>
                <c:pt idx="3386">
                  <c:v>#N/A</c:v>
                </c:pt>
                <c:pt idx="3387">
                  <c:v>#N/A</c:v>
                </c:pt>
                <c:pt idx="3388">
                  <c:v>#N/A</c:v>
                </c:pt>
                <c:pt idx="3389">
                  <c:v>#N/A</c:v>
                </c:pt>
                <c:pt idx="3390">
                  <c:v>#N/A</c:v>
                </c:pt>
                <c:pt idx="3391">
                  <c:v>#N/A</c:v>
                </c:pt>
                <c:pt idx="3392">
                  <c:v>#N/A</c:v>
                </c:pt>
                <c:pt idx="3393">
                  <c:v>#N/A</c:v>
                </c:pt>
                <c:pt idx="3394">
                  <c:v>#N/A</c:v>
                </c:pt>
                <c:pt idx="3395">
                  <c:v>#N/A</c:v>
                </c:pt>
                <c:pt idx="3396">
                  <c:v>#N/A</c:v>
                </c:pt>
                <c:pt idx="3397">
                  <c:v>#N/A</c:v>
                </c:pt>
                <c:pt idx="3398">
                  <c:v>#N/A</c:v>
                </c:pt>
                <c:pt idx="3399">
                  <c:v>#N/A</c:v>
                </c:pt>
                <c:pt idx="3400">
                  <c:v>#N/A</c:v>
                </c:pt>
                <c:pt idx="3401">
                  <c:v>#N/A</c:v>
                </c:pt>
                <c:pt idx="3402">
                  <c:v>#N/A</c:v>
                </c:pt>
                <c:pt idx="3403">
                  <c:v>#N/A</c:v>
                </c:pt>
                <c:pt idx="3404">
                  <c:v>#N/A</c:v>
                </c:pt>
                <c:pt idx="3405">
                  <c:v>#N/A</c:v>
                </c:pt>
                <c:pt idx="3406">
                  <c:v>#N/A</c:v>
                </c:pt>
                <c:pt idx="3407">
                  <c:v>#N/A</c:v>
                </c:pt>
                <c:pt idx="3408">
                  <c:v>#N/A</c:v>
                </c:pt>
                <c:pt idx="3409">
                  <c:v>#N/A</c:v>
                </c:pt>
                <c:pt idx="3410">
                  <c:v>#N/A</c:v>
                </c:pt>
                <c:pt idx="3411">
                  <c:v>#N/A</c:v>
                </c:pt>
                <c:pt idx="3412">
                  <c:v>#N/A</c:v>
                </c:pt>
                <c:pt idx="3413">
                  <c:v>#N/A</c:v>
                </c:pt>
                <c:pt idx="3414">
                  <c:v>#N/A</c:v>
                </c:pt>
                <c:pt idx="3415">
                  <c:v>#N/A</c:v>
                </c:pt>
                <c:pt idx="3416">
                  <c:v>#N/A</c:v>
                </c:pt>
                <c:pt idx="3417">
                  <c:v>#N/A</c:v>
                </c:pt>
                <c:pt idx="3418">
                  <c:v>#N/A</c:v>
                </c:pt>
                <c:pt idx="3419">
                  <c:v>#N/A</c:v>
                </c:pt>
                <c:pt idx="3420">
                  <c:v>#N/A</c:v>
                </c:pt>
                <c:pt idx="3421">
                  <c:v>#N/A</c:v>
                </c:pt>
                <c:pt idx="3422">
                  <c:v>#N/A</c:v>
                </c:pt>
                <c:pt idx="3423">
                  <c:v>#N/A</c:v>
                </c:pt>
                <c:pt idx="3424">
                  <c:v>#N/A</c:v>
                </c:pt>
                <c:pt idx="3425">
                  <c:v>#N/A</c:v>
                </c:pt>
                <c:pt idx="3426">
                  <c:v>#N/A</c:v>
                </c:pt>
                <c:pt idx="3427">
                  <c:v>#N/A</c:v>
                </c:pt>
                <c:pt idx="3428">
                  <c:v>#N/A</c:v>
                </c:pt>
                <c:pt idx="3429">
                  <c:v>#N/A</c:v>
                </c:pt>
                <c:pt idx="3430">
                  <c:v>#N/A</c:v>
                </c:pt>
                <c:pt idx="3431">
                  <c:v>#N/A</c:v>
                </c:pt>
                <c:pt idx="3432">
                  <c:v>#N/A</c:v>
                </c:pt>
                <c:pt idx="3433">
                  <c:v>#N/A</c:v>
                </c:pt>
                <c:pt idx="3434">
                  <c:v>#N/A</c:v>
                </c:pt>
                <c:pt idx="3435">
                  <c:v>#N/A</c:v>
                </c:pt>
                <c:pt idx="3436">
                  <c:v>#N/A</c:v>
                </c:pt>
                <c:pt idx="3437">
                  <c:v>#N/A</c:v>
                </c:pt>
                <c:pt idx="3438">
                  <c:v>#N/A</c:v>
                </c:pt>
                <c:pt idx="3439">
                  <c:v>#N/A</c:v>
                </c:pt>
                <c:pt idx="3440">
                  <c:v>#N/A</c:v>
                </c:pt>
                <c:pt idx="3441">
                  <c:v>#N/A</c:v>
                </c:pt>
                <c:pt idx="3442">
                  <c:v>#N/A</c:v>
                </c:pt>
                <c:pt idx="3443">
                  <c:v>#N/A</c:v>
                </c:pt>
                <c:pt idx="3444">
                  <c:v>#N/A</c:v>
                </c:pt>
                <c:pt idx="3445">
                  <c:v>#N/A</c:v>
                </c:pt>
                <c:pt idx="3446">
                  <c:v>#N/A</c:v>
                </c:pt>
                <c:pt idx="3447">
                  <c:v>#N/A</c:v>
                </c:pt>
                <c:pt idx="3448">
                  <c:v>#N/A</c:v>
                </c:pt>
                <c:pt idx="3449">
                  <c:v>#N/A</c:v>
                </c:pt>
                <c:pt idx="3450">
                  <c:v>#N/A</c:v>
                </c:pt>
                <c:pt idx="3451">
                  <c:v>#N/A</c:v>
                </c:pt>
                <c:pt idx="3452">
                  <c:v>#N/A</c:v>
                </c:pt>
                <c:pt idx="3453">
                  <c:v>#N/A</c:v>
                </c:pt>
                <c:pt idx="3454">
                  <c:v>#N/A</c:v>
                </c:pt>
                <c:pt idx="3455">
                  <c:v>#N/A</c:v>
                </c:pt>
                <c:pt idx="3456">
                  <c:v>#N/A</c:v>
                </c:pt>
                <c:pt idx="3457">
                  <c:v>#N/A</c:v>
                </c:pt>
                <c:pt idx="3458">
                  <c:v>#N/A</c:v>
                </c:pt>
                <c:pt idx="3459">
                  <c:v>#N/A</c:v>
                </c:pt>
                <c:pt idx="3460">
                  <c:v>#N/A</c:v>
                </c:pt>
                <c:pt idx="3461">
                  <c:v>#N/A</c:v>
                </c:pt>
                <c:pt idx="3462">
                  <c:v>#N/A</c:v>
                </c:pt>
                <c:pt idx="3463">
                  <c:v>#N/A</c:v>
                </c:pt>
                <c:pt idx="3464">
                  <c:v>#N/A</c:v>
                </c:pt>
                <c:pt idx="3465">
                  <c:v>#N/A</c:v>
                </c:pt>
                <c:pt idx="3466">
                  <c:v>#N/A</c:v>
                </c:pt>
                <c:pt idx="3467">
                  <c:v>#N/A</c:v>
                </c:pt>
                <c:pt idx="3468">
                  <c:v>#N/A</c:v>
                </c:pt>
                <c:pt idx="3469">
                  <c:v>#N/A</c:v>
                </c:pt>
                <c:pt idx="3470">
                  <c:v>#N/A</c:v>
                </c:pt>
                <c:pt idx="3471">
                  <c:v>#N/A</c:v>
                </c:pt>
                <c:pt idx="3472">
                  <c:v>#N/A</c:v>
                </c:pt>
                <c:pt idx="3473">
                  <c:v>#N/A</c:v>
                </c:pt>
                <c:pt idx="3474">
                  <c:v>#N/A</c:v>
                </c:pt>
                <c:pt idx="3475">
                  <c:v>#N/A</c:v>
                </c:pt>
                <c:pt idx="3476">
                  <c:v>#N/A</c:v>
                </c:pt>
                <c:pt idx="3477">
                  <c:v>#N/A</c:v>
                </c:pt>
                <c:pt idx="3478">
                  <c:v>#N/A</c:v>
                </c:pt>
                <c:pt idx="3479">
                  <c:v>#N/A</c:v>
                </c:pt>
                <c:pt idx="3480">
                  <c:v>#N/A</c:v>
                </c:pt>
                <c:pt idx="3481">
                  <c:v>#N/A</c:v>
                </c:pt>
                <c:pt idx="3482">
                  <c:v>#N/A</c:v>
                </c:pt>
                <c:pt idx="3483">
                  <c:v>#N/A</c:v>
                </c:pt>
                <c:pt idx="3484">
                  <c:v>#N/A</c:v>
                </c:pt>
                <c:pt idx="3485">
                  <c:v>#N/A</c:v>
                </c:pt>
                <c:pt idx="3486">
                  <c:v>#N/A</c:v>
                </c:pt>
                <c:pt idx="3487">
                  <c:v>#N/A</c:v>
                </c:pt>
                <c:pt idx="3488">
                  <c:v>#N/A</c:v>
                </c:pt>
                <c:pt idx="3489">
                  <c:v>#N/A</c:v>
                </c:pt>
                <c:pt idx="3490">
                  <c:v>#N/A</c:v>
                </c:pt>
                <c:pt idx="3491">
                  <c:v>#N/A</c:v>
                </c:pt>
                <c:pt idx="3492">
                  <c:v>#N/A</c:v>
                </c:pt>
                <c:pt idx="3493">
                  <c:v>#N/A</c:v>
                </c:pt>
                <c:pt idx="3494">
                  <c:v>#N/A</c:v>
                </c:pt>
                <c:pt idx="3495">
                  <c:v>#N/A</c:v>
                </c:pt>
                <c:pt idx="3496">
                  <c:v>#N/A</c:v>
                </c:pt>
                <c:pt idx="3497">
                  <c:v>#N/A</c:v>
                </c:pt>
                <c:pt idx="3498">
                  <c:v>#N/A</c:v>
                </c:pt>
                <c:pt idx="3499">
                  <c:v>#N/A</c:v>
                </c:pt>
                <c:pt idx="3500">
                  <c:v>#N/A</c:v>
                </c:pt>
                <c:pt idx="3501">
                  <c:v>#N/A</c:v>
                </c:pt>
                <c:pt idx="3502">
                  <c:v>#N/A</c:v>
                </c:pt>
                <c:pt idx="3503">
                  <c:v>#N/A</c:v>
                </c:pt>
                <c:pt idx="3504">
                  <c:v>#N/A</c:v>
                </c:pt>
                <c:pt idx="3505">
                  <c:v>#N/A</c:v>
                </c:pt>
                <c:pt idx="3506">
                  <c:v>#N/A</c:v>
                </c:pt>
                <c:pt idx="3507">
                  <c:v>#N/A</c:v>
                </c:pt>
                <c:pt idx="3508">
                  <c:v>#N/A</c:v>
                </c:pt>
                <c:pt idx="3509">
                  <c:v>#N/A</c:v>
                </c:pt>
                <c:pt idx="3510">
                  <c:v>#N/A</c:v>
                </c:pt>
                <c:pt idx="3511">
                  <c:v>#N/A</c:v>
                </c:pt>
                <c:pt idx="3512">
                  <c:v>#N/A</c:v>
                </c:pt>
                <c:pt idx="3513">
                  <c:v>#N/A</c:v>
                </c:pt>
                <c:pt idx="3514">
                  <c:v>#N/A</c:v>
                </c:pt>
                <c:pt idx="3515">
                  <c:v>#N/A</c:v>
                </c:pt>
                <c:pt idx="3516">
                  <c:v>#N/A</c:v>
                </c:pt>
                <c:pt idx="3517">
                  <c:v>#N/A</c:v>
                </c:pt>
                <c:pt idx="3518">
                  <c:v>#N/A</c:v>
                </c:pt>
                <c:pt idx="3519">
                  <c:v>#N/A</c:v>
                </c:pt>
                <c:pt idx="3520">
                  <c:v>#N/A</c:v>
                </c:pt>
                <c:pt idx="3521">
                  <c:v>#N/A</c:v>
                </c:pt>
                <c:pt idx="3522">
                  <c:v>#N/A</c:v>
                </c:pt>
                <c:pt idx="3523">
                  <c:v>#N/A</c:v>
                </c:pt>
                <c:pt idx="3524">
                  <c:v>#N/A</c:v>
                </c:pt>
                <c:pt idx="3525">
                  <c:v>#N/A</c:v>
                </c:pt>
                <c:pt idx="3526">
                  <c:v>#N/A</c:v>
                </c:pt>
                <c:pt idx="3527">
                  <c:v>#N/A</c:v>
                </c:pt>
                <c:pt idx="3528">
                  <c:v>#N/A</c:v>
                </c:pt>
                <c:pt idx="3529">
                  <c:v>#N/A</c:v>
                </c:pt>
                <c:pt idx="3530">
                  <c:v>#N/A</c:v>
                </c:pt>
                <c:pt idx="3531">
                  <c:v>#N/A</c:v>
                </c:pt>
                <c:pt idx="3532">
                  <c:v>#N/A</c:v>
                </c:pt>
                <c:pt idx="3533">
                  <c:v>#N/A</c:v>
                </c:pt>
                <c:pt idx="3534">
                  <c:v>#N/A</c:v>
                </c:pt>
                <c:pt idx="3535">
                  <c:v>#N/A</c:v>
                </c:pt>
                <c:pt idx="3536">
                  <c:v>#N/A</c:v>
                </c:pt>
                <c:pt idx="3537">
                  <c:v>#N/A</c:v>
                </c:pt>
                <c:pt idx="3538">
                  <c:v>#N/A</c:v>
                </c:pt>
                <c:pt idx="3539">
                  <c:v>#N/A</c:v>
                </c:pt>
                <c:pt idx="3540">
                  <c:v>#N/A</c:v>
                </c:pt>
                <c:pt idx="3541">
                  <c:v>#N/A</c:v>
                </c:pt>
                <c:pt idx="3542">
                  <c:v>#N/A</c:v>
                </c:pt>
                <c:pt idx="3543">
                  <c:v>#N/A</c:v>
                </c:pt>
                <c:pt idx="3544">
                  <c:v>#N/A</c:v>
                </c:pt>
                <c:pt idx="3545">
                  <c:v>#N/A</c:v>
                </c:pt>
                <c:pt idx="3546">
                  <c:v>#N/A</c:v>
                </c:pt>
                <c:pt idx="3547">
                  <c:v>#N/A</c:v>
                </c:pt>
                <c:pt idx="3548">
                  <c:v>#N/A</c:v>
                </c:pt>
                <c:pt idx="3549">
                  <c:v>#N/A</c:v>
                </c:pt>
                <c:pt idx="3550">
                  <c:v>#N/A</c:v>
                </c:pt>
                <c:pt idx="3551">
                  <c:v>#N/A</c:v>
                </c:pt>
                <c:pt idx="3552">
                  <c:v>#N/A</c:v>
                </c:pt>
                <c:pt idx="3553">
                  <c:v>#N/A</c:v>
                </c:pt>
                <c:pt idx="3554">
                  <c:v>#N/A</c:v>
                </c:pt>
                <c:pt idx="3555">
                  <c:v>#N/A</c:v>
                </c:pt>
                <c:pt idx="3556">
                  <c:v>#N/A</c:v>
                </c:pt>
                <c:pt idx="3557">
                  <c:v>#N/A</c:v>
                </c:pt>
                <c:pt idx="3558">
                  <c:v>#N/A</c:v>
                </c:pt>
                <c:pt idx="3559">
                  <c:v>#N/A</c:v>
                </c:pt>
                <c:pt idx="3560">
                  <c:v>#N/A</c:v>
                </c:pt>
                <c:pt idx="3561">
                  <c:v>#N/A</c:v>
                </c:pt>
                <c:pt idx="3562">
                  <c:v>#N/A</c:v>
                </c:pt>
                <c:pt idx="3563">
                  <c:v>#N/A</c:v>
                </c:pt>
                <c:pt idx="3564">
                  <c:v>#N/A</c:v>
                </c:pt>
                <c:pt idx="3565">
                  <c:v>#N/A</c:v>
                </c:pt>
                <c:pt idx="3566">
                  <c:v>#N/A</c:v>
                </c:pt>
                <c:pt idx="3567">
                  <c:v>#N/A</c:v>
                </c:pt>
                <c:pt idx="3568">
                  <c:v>#N/A</c:v>
                </c:pt>
                <c:pt idx="3569">
                  <c:v>#N/A</c:v>
                </c:pt>
                <c:pt idx="3570">
                  <c:v>#N/A</c:v>
                </c:pt>
                <c:pt idx="3571">
                  <c:v>#N/A</c:v>
                </c:pt>
                <c:pt idx="3572">
                  <c:v>#N/A</c:v>
                </c:pt>
                <c:pt idx="3573">
                  <c:v>#N/A</c:v>
                </c:pt>
                <c:pt idx="3574">
                  <c:v>#N/A</c:v>
                </c:pt>
                <c:pt idx="3575">
                  <c:v>#N/A</c:v>
                </c:pt>
                <c:pt idx="3576">
                  <c:v>#N/A</c:v>
                </c:pt>
                <c:pt idx="3577">
                  <c:v>#N/A</c:v>
                </c:pt>
                <c:pt idx="3578">
                  <c:v>#N/A</c:v>
                </c:pt>
                <c:pt idx="3579">
                  <c:v>#N/A</c:v>
                </c:pt>
                <c:pt idx="3580">
                  <c:v>#N/A</c:v>
                </c:pt>
                <c:pt idx="3581">
                  <c:v>#N/A</c:v>
                </c:pt>
                <c:pt idx="3582">
                  <c:v>#N/A</c:v>
                </c:pt>
                <c:pt idx="3583">
                  <c:v>#N/A</c:v>
                </c:pt>
                <c:pt idx="3584">
                  <c:v>#N/A</c:v>
                </c:pt>
                <c:pt idx="3585">
                  <c:v>#N/A</c:v>
                </c:pt>
                <c:pt idx="3586">
                  <c:v>#N/A</c:v>
                </c:pt>
                <c:pt idx="3587">
                  <c:v>#N/A</c:v>
                </c:pt>
                <c:pt idx="3588">
                  <c:v>#N/A</c:v>
                </c:pt>
                <c:pt idx="3589">
                  <c:v>#N/A</c:v>
                </c:pt>
                <c:pt idx="3590">
                  <c:v>#N/A</c:v>
                </c:pt>
                <c:pt idx="3591">
                  <c:v>#N/A</c:v>
                </c:pt>
                <c:pt idx="3592">
                  <c:v>#N/A</c:v>
                </c:pt>
                <c:pt idx="3593">
                  <c:v>#N/A</c:v>
                </c:pt>
                <c:pt idx="3594">
                  <c:v>#N/A</c:v>
                </c:pt>
                <c:pt idx="3595">
                  <c:v>#N/A</c:v>
                </c:pt>
                <c:pt idx="3596">
                  <c:v>#N/A</c:v>
                </c:pt>
                <c:pt idx="3597">
                  <c:v>#N/A</c:v>
                </c:pt>
                <c:pt idx="3598">
                  <c:v>#N/A</c:v>
                </c:pt>
                <c:pt idx="3599">
                  <c:v>#N/A</c:v>
                </c:pt>
                <c:pt idx="3600">
                  <c:v>#N/A</c:v>
                </c:pt>
                <c:pt idx="3601">
                  <c:v>#N/A</c:v>
                </c:pt>
                <c:pt idx="3602">
                  <c:v>#N/A</c:v>
                </c:pt>
                <c:pt idx="3603">
                  <c:v>#N/A</c:v>
                </c:pt>
                <c:pt idx="3604">
                  <c:v>#N/A</c:v>
                </c:pt>
                <c:pt idx="3605">
                  <c:v>#N/A</c:v>
                </c:pt>
                <c:pt idx="3606">
                  <c:v>#N/A</c:v>
                </c:pt>
                <c:pt idx="3607">
                  <c:v>#N/A</c:v>
                </c:pt>
                <c:pt idx="3608">
                  <c:v>#N/A</c:v>
                </c:pt>
                <c:pt idx="3609">
                  <c:v>#N/A</c:v>
                </c:pt>
                <c:pt idx="3610">
                  <c:v>#N/A</c:v>
                </c:pt>
                <c:pt idx="3611">
                  <c:v>#N/A</c:v>
                </c:pt>
                <c:pt idx="3612">
                  <c:v>#N/A</c:v>
                </c:pt>
                <c:pt idx="3613">
                  <c:v>#N/A</c:v>
                </c:pt>
                <c:pt idx="3614">
                  <c:v>#N/A</c:v>
                </c:pt>
                <c:pt idx="3615">
                  <c:v>#N/A</c:v>
                </c:pt>
                <c:pt idx="3616">
                  <c:v>#N/A</c:v>
                </c:pt>
                <c:pt idx="3617">
                  <c:v>#N/A</c:v>
                </c:pt>
                <c:pt idx="3618">
                  <c:v>#N/A</c:v>
                </c:pt>
                <c:pt idx="3619">
                  <c:v>#N/A</c:v>
                </c:pt>
                <c:pt idx="3620">
                  <c:v>#N/A</c:v>
                </c:pt>
                <c:pt idx="3621">
                  <c:v>#N/A</c:v>
                </c:pt>
                <c:pt idx="3622">
                  <c:v>#N/A</c:v>
                </c:pt>
                <c:pt idx="3623">
                  <c:v>#N/A</c:v>
                </c:pt>
                <c:pt idx="3624">
                  <c:v>#N/A</c:v>
                </c:pt>
                <c:pt idx="3625">
                  <c:v>#N/A</c:v>
                </c:pt>
                <c:pt idx="3626">
                  <c:v>#N/A</c:v>
                </c:pt>
                <c:pt idx="3627">
                  <c:v>#N/A</c:v>
                </c:pt>
                <c:pt idx="3628">
                  <c:v>#N/A</c:v>
                </c:pt>
                <c:pt idx="3629">
                  <c:v>#N/A</c:v>
                </c:pt>
                <c:pt idx="3630">
                  <c:v>#N/A</c:v>
                </c:pt>
                <c:pt idx="3631">
                  <c:v>#N/A</c:v>
                </c:pt>
                <c:pt idx="3632">
                  <c:v>#N/A</c:v>
                </c:pt>
                <c:pt idx="3633">
                  <c:v>#N/A</c:v>
                </c:pt>
                <c:pt idx="3634">
                  <c:v>#N/A</c:v>
                </c:pt>
                <c:pt idx="3635">
                  <c:v>#N/A</c:v>
                </c:pt>
                <c:pt idx="3636">
                  <c:v>#N/A</c:v>
                </c:pt>
                <c:pt idx="3637">
                  <c:v>#N/A</c:v>
                </c:pt>
                <c:pt idx="3638">
                  <c:v>#N/A</c:v>
                </c:pt>
                <c:pt idx="3639">
                  <c:v>#N/A</c:v>
                </c:pt>
                <c:pt idx="3640">
                  <c:v>#N/A</c:v>
                </c:pt>
                <c:pt idx="3641">
                  <c:v>#N/A</c:v>
                </c:pt>
                <c:pt idx="3642">
                  <c:v>#N/A</c:v>
                </c:pt>
                <c:pt idx="3643">
                  <c:v>#N/A</c:v>
                </c:pt>
                <c:pt idx="3644">
                  <c:v>#N/A</c:v>
                </c:pt>
                <c:pt idx="3645">
                  <c:v>#N/A</c:v>
                </c:pt>
                <c:pt idx="3646">
                  <c:v>#N/A</c:v>
                </c:pt>
                <c:pt idx="3647">
                  <c:v>#N/A</c:v>
                </c:pt>
                <c:pt idx="3648">
                  <c:v>#N/A</c:v>
                </c:pt>
                <c:pt idx="3649">
                  <c:v>#N/A</c:v>
                </c:pt>
                <c:pt idx="3650">
                  <c:v>#N/A</c:v>
                </c:pt>
                <c:pt idx="3651">
                  <c:v>#N/A</c:v>
                </c:pt>
                <c:pt idx="3652">
                  <c:v>#N/A</c:v>
                </c:pt>
                <c:pt idx="3653">
                  <c:v>#N/A</c:v>
                </c:pt>
                <c:pt idx="3654">
                  <c:v>#N/A</c:v>
                </c:pt>
                <c:pt idx="3655">
                  <c:v>#N/A</c:v>
                </c:pt>
                <c:pt idx="3656">
                  <c:v>#N/A</c:v>
                </c:pt>
                <c:pt idx="3657">
                  <c:v>#N/A</c:v>
                </c:pt>
                <c:pt idx="3658">
                  <c:v>#N/A</c:v>
                </c:pt>
                <c:pt idx="3659">
                  <c:v>#N/A</c:v>
                </c:pt>
                <c:pt idx="3660">
                  <c:v>#N/A</c:v>
                </c:pt>
                <c:pt idx="3661">
                  <c:v>#N/A</c:v>
                </c:pt>
                <c:pt idx="3662">
                  <c:v>#N/A</c:v>
                </c:pt>
                <c:pt idx="3663">
                  <c:v>#N/A</c:v>
                </c:pt>
                <c:pt idx="3664">
                  <c:v>#N/A</c:v>
                </c:pt>
                <c:pt idx="3665">
                  <c:v>#N/A</c:v>
                </c:pt>
                <c:pt idx="3666">
                  <c:v>#N/A</c:v>
                </c:pt>
                <c:pt idx="3667">
                  <c:v>#N/A</c:v>
                </c:pt>
                <c:pt idx="3668">
                  <c:v>#N/A</c:v>
                </c:pt>
                <c:pt idx="3669">
                  <c:v>#N/A</c:v>
                </c:pt>
                <c:pt idx="3670">
                  <c:v>#N/A</c:v>
                </c:pt>
                <c:pt idx="3671">
                  <c:v>#N/A</c:v>
                </c:pt>
                <c:pt idx="3672">
                  <c:v>#N/A</c:v>
                </c:pt>
                <c:pt idx="3673">
                  <c:v>#N/A</c:v>
                </c:pt>
                <c:pt idx="3674">
                  <c:v>#N/A</c:v>
                </c:pt>
                <c:pt idx="3675">
                  <c:v>#N/A</c:v>
                </c:pt>
                <c:pt idx="3676">
                  <c:v>#N/A</c:v>
                </c:pt>
                <c:pt idx="3677">
                  <c:v>#N/A</c:v>
                </c:pt>
                <c:pt idx="3678">
                  <c:v>#N/A</c:v>
                </c:pt>
                <c:pt idx="3679">
                  <c:v>#N/A</c:v>
                </c:pt>
                <c:pt idx="3680">
                  <c:v>#N/A</c:v>
                </c:pt>
                <c:pt idx="3681">
                  <c:v>#N/A</c:v>
                </c:pt>
                <c:pt idx="3682">
                  <c:v>#N/A</c:v>
                </c:pt>
                <c:pt idx="3683">
                  <c:v>#N/A</c:v>
                </c:pt>
                <c:pt idx="3684">
                  <c:v>#N/A</c:v>
                </c:pt>
                <c:pt idx="3685">
                  <c:v>#N/A</c:v>
                </c:pt>
                <c:pt idx="3686">
                  <c:v>#N/A</c:v>
                </c:pt>
                <c:pt idx="3687">
                  <c:v>#N/A</c:v>
                </c:pt>
                <c:pt idx="3688">
                  <c:v>#N/A</c:v>
                </c:pt>
                <c:pt idx="3689">
                  <c:v>#N/A</c:v>
                </c:pt>
                <c:pt idx="3690">
                  <c:v>#N/A</c:v>
                </c:pt>
                <c:pt idx="3691">
                  <c:v>#N/A</c:v>
                </c:pt>
                <c:pt idx="3692">
                  <c:v>#N/A</c:v>
                </c:pt>
                <c:pt idx="3693">
                  <c:v>#N/A</c:v>
                </c:pt>
                <c:pt idx="3694">
                  <c:v>#N/A</c:v>
                </c:pt>
                <c:pt idx="3695">
                  <c:v>#N/A</c:v>
                </c:pt>
                <c:pt idx="3696">
                  <c:v>#N/A</c:v>
                </c:pt>
                <c:pt idx="3697">
                  <c:v>#N/A</c:v>
                </c:pt>
                <c:pt idx="3698">
                  <c:v>#N/A</c:v>
                </c:pt>
                <c:pt idx="3699">
                  <c:v>#N/A</c:v>
                </c:pt>
                <c:pt idx="3700">
                  <c:v>#N/A</c:v>
                </c:pt>
                <c:pt idx="3701">
                  <c:v>#N/A</c:v>
                </c:pt>
                <c:pt idx="3702">
                  <c:v>#N/A</c:v>
                </c:pt>
                <c:pt idx="3703">
                  <c:v>#N/A</c:v>
                </c:pt>
                <c:pt idx="3704">
                  <c:v>#N/A</c:v>
                </c:pt>
                <c:pt idx="3705">
                  <c:v>#N/A</c:v>
                </c:pt>
                <c:pt idx="3706">
                  <c:v>#N/A</c:v>
                </c:pt>
                <c:pt idx="3707">
                  <c:v>#N/A</c:v>
                </c:pt>
                <c:pt idx="3708">
                  <c:v>#N/A</c:v>
                </c:pt>
                <c:pt idx="3709">
                  <c:v>#N/A</c:v>
                </c:pt>
                <c:pt idx="3710">
                  <c:v>#N/A</c:v>
                </c:pt>
                <c:pt idx="3711">
                  <c:v>#N/A</c:v>
                </c:pt>
                <c:pt idx="3712">
                  <c:v>#N/A</c:v>
                </c:pt>
                <c:pt idx="3713">
                  <c:v>#N/A</c:v>
                </c:pt>
                <c:pt idx="3714">
                  <c:v>#N/A</c:v>
                </c:pt>
                <c:pt idx="3715">
                  <c:v>#N/A</c:v>
                </c:pt>
                <c:pt idx="3716">
                  <c:v>#N/A</c:v>
                </c:pt>
                <c:pt idx="3717">
                  <c:v>#N/A</c:v>
                </c:pt>
                <c:pt idx="3718">
                  <c:v>#N/A</c:v>
                </c:pt>
                <c:pt idx="3719">
                  <c:v>#N/A</c:v>
                </c:pt>
                <c:pt idx="3720">
                  <c:v>#N/A</c:v>
                </c:pt>
                <c:pt idx="3721">
                  <c:v>#N/A</c:v>
                </c:pt>
                <c:pt idx="3722">
                  <c:v>#N/A</c:v>
                </c:pt>
                <c:pt idx="3723">
                  <c:v>#N/A</c:v>
                </c:pt>
                <c:pt idx="3724">
                  <c:v>#N/A</c:v>
                </c:pt>
                <c:pt idx="3725">
                  <c:v>#N/A</c:v>
                </c:pt>
                <c:pt idx="3726">
                  <c:v>#N/A</c:v>
                </c:pt>
                <c:pt idx="3727">
                  <c:v>#N/A</c:v>
                </c:pt>
                <c:pt idx="3728">
                  <c:v>#N/A</c:v>
                </c:pt>
                <c:pt idx="3729">
                  <c:v>#N/A</c:v>
                </c:pt>
                <c:pt idx="3730">
                  <c:v>#N/A</c:v>
                </c:pt>
                <c:pt idx="3731">
                  <c:v>#N/A</c:v>
                </c:pt>
                <c:pt idx="3732">
                  <c:v>#N/A</c:v>
                </c:pt>
                <c:pt idx="3733">
                  <c:v>#N/A</c:v>
                </c:pt>
                <c:pt idx="3734">
                  <c:v>#N/A</c:v>
                </c:pt>
                <c:pt idx="3735">
                  <c:v>#N/A</c:v>
                </c:pt>
                <c:pt idx="3736">
                  <c:v>#N/A</c:v>
                </c:pt>
                <c:pt idx="3737">
                  <c:v>#N/A</c:v>
                </c:pt>
                <c:pt idx="3738">
                  <c:v>#N/A</c:v>
                </c:pt>
                <c:pt idx="3739">
                  <c:v>#N/A</c:v>
                </c:pt>
                <c:pt idx="3740">
                  <c:v>#N/A</c:v>
                </c:pt>
                <c:pt idx="3741">
                  <c:v>#N/A</c:v>
                </c:pt>
                <c:pt idx="3742">
                  <c:v>#N/A</c:v>
                </c:pt>
                <c:pt idx="3743">
                  <c:v>#N/A</c:v>
                </c:pt>
                <c:pt idx="3744">
                  <c:v>#N/A</c:v>
                </c:pt>
                <c:pt idx="3745">
                  <c:v>#N/A</c:v>
                </c:pt>
                <c:pt idx="3746">
                  <c:v>#N/A</c:v>
                </c:pt>
                <c:pt idx="3747">
                  <c:v>#N/A</c:v>
                </c:pt>
                <c:pt idx="3748">
                  <c:v>#N/A</c:v>
                </c:pt>
                <c:pt idx="3749">
                  <c:v>#N/A</c:v>
                </c:pt>
                <c:pt idx="3750">
                  <c:v>#N/A</c:v>
                </c:pt>
                <c:pt idx="3751">
                  <c:v>#N/A</c:v>
                </c:pt>
                <c:pt idx="3752">
                  <c:v>#N/A</c:v>
                </c:pt>
                <c:pt idx="3753">
                  <c:v>#N/A</c:v>
                </c:pt>
                <c:pt idx="3754">
                  <c:v>#N/A</c:v>
                </c:pt>
                <c:pt idx="3755">
                  <c:v>#N/A</c:v>
                </c:pt>
                <c:pt idx="3756">
                  <c:v>#N/A</c:v>
                </c:pt>
                <c:pt idx="3757">
                  <c:v>#N/A</c:v>
                </c:pt>
                <c:pt idx="3758">
                  <c:v>#N/A</c:v>
                </c:pt>
                <c:pt idx="3759">
                  <c:v>#N/A</c:v>
                </c:pt>
                <c:pt idx="3760">
                  <c:v>#N/A</c:v>
                </c:pt>
                <c:pt idx="3761">
                  <c:v>#N/A</c:v>
                </c:pt>
                <c:pt idx="3762">
                  <c:v>#N/A</c:v>
                </c:pt>
                <c:pt idx="3763">
                  <c:v>#N/A</c:v>
                </c:pt>
                <c:pt idx="3764">
                  <c:v>#N/A</c:v>
                </c:pt>
                <c:pt idx="3765">
                  <c:v>#N/A</c:v>
                </c:pt>
                <c:pt idx="3766">
                  <c:v>#N/A</c:v>
                </c:pt>
                <c:pt idx="3767">
                  <c:v>#N/A</c:v>
                </c:pt>
                <c:pt idx="3768">
                  <c:v>#N/A</c:v>
                </c:pt>
                <c:pt idx="3769">
                  <c:v>#N/A</c:v>
                </c:pt>
                <c:pt idx="3770">
                  <c:v>#N/A</c:v>
                </c:pt>
                <c:pt idx="3771">
                  <c:v>#N/A</c:v>
                </c:pt>
                <c:pt idx="3772">
                  <c:v>#N/A</c:v>
                </c:pt>
                <c:pt idx="3773">
                  <c:v>#N/A</c:v>
                </c:pt>
                <c:pt idx="3774">
                  <c:v>#N/A</c:v>
                </c:pt>
                <c:pt idx="3775">
                  <c:v>#N/A</c:v>
                </c:pt>
                <c:pt idx="3776">
                  <c:v>#N/A</c:v>
                </c:pt>
                <c:pt idx="3777">
                  <c:v>#N/A</c:v>
                </c:pt>
                <c:pt idx="3778">
                  <c:v>#N/A</c:v>
                </c:pt>
                <c:pt idx="3779">
                  <c:v>#N/A</c:v>
                </c:pt>
                <c:pt idx="3780">
                  <c:v>#N/A</c:v>
                </c:pt>
                <c:pt idx="3781">
                  <c:v>#N/A</c:v>
                </c:pt>
                <c:pt idx="3782">
                  <c:v>#N/A</c:v>
                </c:pt>
                <c:pt idx="3783">
                  <c:v>#N/A</c:v>
                </c:pt>
                <c:pt idx="3784">
                  <c:v>#N/A</c:v>
                </c:pt>
                <c:pt idx="3785">
                  <c:v>#N/A</c:v>
                </c:pt>
                <c:pt idx="3786">
                  <c:v>#N/A</c:v>
                </c:pt>
                <c:pt idx="3787">
                  <c:v>#N/A</c:v>
                </c:pt>
                <c:pt idx="3788">
                  <c:v>#N/A</c:v>
                </c:pt>
                <c:pt idx="3789">
                  <c:v>#N/A</c:v>
                </c:pt>
                <c:pt idx="3790">
                  <c:v>#N/A</c:v>
                </c:pt>
                <c:pt idx="3791">
                  <c:v>#N/A</c:v>
                </c:pt>
                <c:pt idx="3792">
                  <c:v>#N/A</c:v>
                </c:pt>
                <c:pt idx="3793">
                  <c:v>#N/A</c:v>
                </c:pt>
                <c:pt idx="3794">
                  <c:v>#N/A</c:v>
                </c:pt>
                <c:pt idx="3795">
                  <c:v>#N/A</c:v>
                </c:pt>
                <c:pt idx="3796">
                  <c:v>#N/A</c:v>
                </c:pt>
                <c:pt idx="3797">
                  <c:v>#N/A</c:v>
                </c:pt>
                <c:pt idx="3798">
                  <c:v>#N/A</c:v>
                </c:pt>
                <c:pt idx="3799">
                  <c:v>#N/A</c:v>
                </c:pt>
                <c:pt idx="3800">
                  <c:v>#N/A</c:v>
                </c:pt>
                <c:pt idx="3801">
                  <c:v>#N/A</c:v>
                </c:pt>
                <c:pt idx="3802">
                  <c:v>#N/A</c:v>
                </c:pt>
                <c:pt idx="3803">
                  <c:v>#N/A</c:v>
                </c:pt>
                <c:pt idx="3804">
                  <c:v>#N/A</c:v>
                </c:pt>
                <c:pt idx="3805">
                  <c:v>#N/A</c:v>
                </c:pt>
                <c:pt idx="3806">
                  <c:v>#N/A</c:v>
                </c:pt>
                <c:pt idx="3807">
                  <c:v>#N/A</c:v>
                </c:pt>
                <c:pt idx="3808">
                  <c:v>#N/A</c:v>
                </c:pt>
                <c:pt idx="3809">
                  <c:v>#N/A</c:v>
                </c:pt>
                <c:pt idx="3810">
                  <c:v>#N/A</c:v>
                </c:pt>
                <c:pt idx="3811">
                  <c:v>#N/A</c:v>
                </c:pt>
                <c:pt idx="3812">
                  <c:v>#N/A</c:v>
                </c:pt>
                <c:pt idx="3813">
                  <c:v>#N/A</c:v>
                </c:pt>
                <c:pt idx="3814">
                  <c:v>#N/A</c:v>
                </c:pt>
                <c:pt idx="3815">
                  <c:v>#N/A</c:v>
                </c:pt>
                <c:pt idx="3816">
                  <c:v>#N/A</c:v>
                </c:pt>
                <c:pt idx="3817">
                  <c:v>#N/A</c:v>
                </c:pt>
                <c:pt idx="3818">
                  <c:v>#N/A</c:v>
                </c:pt>
                <c:pt idx="3819">
                  <c:v>#N/A</c:v>
                </c:pt>
                <c:pt idx="3820">
                  <c:v>#N/A</c:v>
                </c:pt>
                <c:pt idx="3821">
                  <c:v>#N/A</c:v>
                </c:pt>
                <c:pt idx="3822">
                  <c:v>#N/A</c:v>
                </c:pt>
                <c:pt idx="3823">
                  <c:v>#N/A</c:v>
                </c:pt>
                <c:pt idx="3824">
                  <c:v>#N/A</c:v>
                </c:pt>
                <c:pt idx="3825">
                  <c:v>#N/A</c:v>
                </c:pt>
                <c:pt idx="3826">
                  <c:v>#N/A</c:v>
                </c:pt>
                <c:pt idx="3827">
                  <c:v>#N/A</c:v>
                </c:pt>
                <c:pt idx="3828">
                  <c:v>#N/A</c:v>
                </c:pt>
                <c:pt idx="3829">
                  <c:v>#N/A</c:v>
                </c:pt>
                <c:pt idx="3830">
                  <c:v>#N/A</c:v>
                </c:pt>
                <c:pt idx="3831">
                  <c:v>#N/A</c:v>
                </c:pt>
                <c:pt idx="3832">
                  <c:v>#N/A</c:v>
                </c:pt>
                <c:pt idx="3833">
                  <c:v>#N/A</c:v>
                </c:pt>
                <c:pt idx="3834">
                  <c:v>#N/A</c:v>
                </c:pt>
                <c:pt idx="3835">
                  <c:v>#N/A</c:v>
                </c:pt>
                <c:pt idx="3836">
                  <c:v>#N/A</c:v>
                </c:pt>
                <c:pt idx="3837">
                  <c:v>#N/A</c:v>
                </c:pt>
                <c:pt idx="3838">
                  <c:v>#N/A</c:v>
                </c:pt>
                <c:pt idx="3839">
                  <c:v>#N/A</c:v>
                </c:pt>
                <c:pt idx="3840">
                  <c:v>#N/A</c:v>
                </c:pt>
                <c:pt idx="3841">
                  <c:v>#N/A</c:v>
                </c:pt>
                <c:pt idx="3842">
                  <c:v>#N/A</c:v>
                </c:pt>
                <c:pt idx="3843">
                  <c:v>#N/A</c:v>
                </c:pt>
                <c:pt idx="3844">
                  <c:v>#N/A</c:v>
                </c:pt>
                <c:pt idx="3845">
                  <c:v>#N/A</c:v>
                </c:pt>
                <c:pt idx="3846">
                  <c:v>#N/A</c:v>
                </c:pt>
                <c:pt idx="3847">
                  <c:v>#N/A</c:v>
                </c:pt>
                <c:pt idx="3848">
                  <c:v>#N/A</c:v>
                </c:pt>
                <c:pt idx="3849">
                  <c:v>#N/A</c:v>
                </c:pt>
                <c:pt idx="3850">
                  <c:v>#N/A</c:v>
                </c:pt>
                <c:pt idx="3851">
                  <c:v>#N/A</c:v>
                </c:pt>
                <c:pt idx="3852">
                  <c:v>#N/A</c:v>
                </c:pt>
                <c:pt idx="3853">
                  <c:v>#N/A</c:v>
                </c:pt>
                <c:pt idx="3854">
                  <c:v>#N/A</c:v>
                </c:pt>
                <c:pt idx="3855">
                  <c:v>#N/A</c:v>
                </c:pt>
                <c:pt idx="3856">
                  <c:v>#N/A</c:v>
                </c:pt>
                <c:pt idx="3857">
                  <c:v>#N/A</c:v>
                </c:pt>
                <c:pt idx="3858">
                  <c:v>#N/A</c:v>
                </c:pt>
                <c:pt idx="3859">
                  <c:v>#N/A</c:v>
                </c:pt>
                <c:pt idx="3860">
                  <c:v>#N/A</c:v>
                </c:pt>
                <c:pt idx="3861">
                  <c:v>#N/A</c:v>
                </c:pt>
                <c:pt idx="3862">
                  <c:v>#N/A</c:v>
                </c:pt>
                <c:pt idx="3863">
                  <c:v>#N/A</c:v>
                </c:pt>
                <c:pt idx="3864">
                  <c:v>#N/A</c:v>
                </c:pt>
                <c:pt idx="3865">
                  <c:v>#N/A</c:v>
                </c:pt>
                <c:pt idx="3866">
                  <c:v>#N/A</c:v>
                </c:pt>
                <c:pt idx="3867">
                  <c:v>#N/A</c:v>
                </c:pt>
                <c:pt idx="3868">
                  <c:v>#N/A</c:v>
                </c:pt>
                <c:pt idx="3869">
                  <c:v>#N/A</c:v>
                </c:pt>
                <c:pt idx="3870">
                  <c:v>#N/A</c:v>
                </c:pt>
                <c:pt idx="3871">
                  <c:v>#N/A</c:v>
                </c:pt>
                <c:pt idx="3872">
                  <c:v>#N/A</c:v>
                </c:pt>
                <c:pt idx="3873">
                  <c:v>#N/A</c:v>
                </c:pt>
                <c:pt idx="3874">
                  <c:v>#N/A</c:v>
                </c:pt>
                <c:pt idx="3875">
                  <c:v>#N/A</c:v>
                </c:pt>
                <c:pt idx="3876">
                  <c:v>#N/A</c:v>
                </c:pt>
                <c:pt idx="3877">
                  <c:v>#N/A</c:v>
                </c:pt>
                <c:pt idx="3878">
                  <c:v>#N/A</c:v>
                </c:pt>
                <c:pt idx="3879">
                  <c:v>#N/A</c:v>
                </c:pt>
                <c:pt idx="3880">
                  <c:v>#N/A</c:v>
                </c:pt>
                <c:pt idx="3881">
                  <c:v>#N/A</c:v>
                </c:pt>
                <c:pt idx="3882">
                  <c:v>#N/A</c:v>
                </c:pt>
                <c:pt idx="3883">
                  <c:v>#N/A</c:v>
                </c:pt>
                <c:pt idx="3884">
                  <c:v>#N/A</c:v>
                </c:pt>
                <c:pt idx="3885">
                  <c:v>#N/A</c:v>
                </c:pt>
                <c:pt idx="3886">
                  <c:v>#N/A</c:v>
                </c:pt>
                <c:pt idx="3887">
                  <c:v>#N/A</c:v>
                </c:pt>
                <c:pt idx="3888">
                  <c:v>#N/A</c:v>
                </c:pt>
                <c:pt idx="3889">
                  <c:v>#N/A</c:v>
                </c:pt>
                <c:pt idx="3890">
                  <c:v>#N/A</c:v>
                </c:pt>
                <c:pt idx="3891">
                  <c:v>#N/A</c:v>
                </c:pt>
                <c:pt idx="3892">
                  <c:v>#N/A</c:v>
                </c:pt>
                <c:pt idx="3893">
                  <c:v>#N/A</c:v>
                </c:pt>
                <c:pt idx="3894">
                  <c:v>#N/A</c:v>
                </c:pt>
                <c:pt idx="3895">
                  <c:v>#N/A</c:v>
                </c:pt>
                <c:pt idx="3896">
                  <c:v>#N/A</c:v>
                </c:pt>
                <c:pt idx="3897">
                  <c:v>#N/A</c:v>
                </c:pt>
                <c:pt idx="3898">
                  <c:v>#N/A</c:v>
                </c:pt>
                <c:pt idx="3899">
                  <c:v>#N/A</c:v>
                </c:pt>
                <c:pt idx="3900">
                  <c:v>#N/A</c:v>
                </c:pt>
                <c:pt idx="3901">
                  <c:v>#N/A</c:v>
                </c:pt>
                <c:pt idx="3902">
                  <c:v>#N/A</c:v>
                </c:pt>
                <c:pt idx="3903">
                  <c:v>#N/A</c:v>
                </c:pt>
                <c:pt idx="3904">
                  <c:v>#N/A</c:v>
                </c:pt>
                <c:pt idx="3905">
                  <c:v>#N/A</c:v>
                </c:pt>
                <c:pt idx="3906">
                  <c:v>#N/A</c:v>
                </c:pt>
                <c:pt idx="3907">
                  <c:v>#N/A</c:v>
                </c:pt>
                <c:pt idx="3908">
                  <c:v>#N/A</c:v>
                </c:pt>
                <c:pt idx="3909">
                  <c:v>#N/A</c:v>
                </c:pt>
                <c:pt idx="3910">
                  <c:v>#N/A</c:v>
                </c:pt>
                <c:pt idx="3911">
                  <c:v>#N/A</c:v>
                </c:pt>
                <c:pt idx="3912">
                  <c:v>#N/A</c:v>
                </c:pt>
                <c:pt idx="3913">
                  <c:v>#N/A</c:v>
                </c:pt>
                <c:pt idx="3914">
                  <c:v>1.4712328767123288</c:v>
                </c:pt>
                <c:pt idx="3915">
                  <c:v>#N/A</c:v>
                </c:pt>
                <c:pt idx="3916">
                  <c:v>1.4712328767123288</c:v>
                </c:pt>
                <c:pt idx="3917">
                  <c:v>#N/A</c:v>
                </c:pt>
                <c:pt idx="3918">
                  <c:v>#N/A</c:v>
                </c:pt>
                <c:pt idx="3919">
                  <c:v>#N/A</c:v>
                </c:pt>
                <c:pt idx="3920">
                  <c:v>#N/A</c:v>
                </c:pt>
                <c:pt idx="3921">
                  <c:v>#N/A</c:v>
                </c:pt>
                <c:pt idx="3922">
                  <c:v>#N/A</c:v>
                </c:pt>
                <c:pt idx="3923">
                  <c:v>#N/A</c:v>
                </c:pt>
                <c:pt idx="3924">
                  <c:v>#N/A</c:v>
                </c:pt>
                <c:pt idx="3925">
                  <c:v>#N/A</c:v>
                </c:pt>
                <c:pt idx="3926">
                  <c:v>#N/A</c:v>
                </c:pt>
                <c:pt idx="3927">
                  <c:v>#N/A</c:v>
                </c:pt>
                <c:pt idx="3928">
                  <c:v>#N/A</c:v>
                </c:pt>
                <c:pt idx="3929">
                  <c:v>#N/A</c:v>
                </c:pt>
                <c:pt idx="3930">
                  <c:v>#N/A</c:v>
                </c:pt>
                <c:pt idx="3931">
                  <c:v>#N/A</c:v>
                </c:pt>
                <c:pt idx="3932">
                  <c:v>#N/A</c:v>
                </c:pt>
                <c:pt idx="3933">
                  <c:v>#N/A</c:v>
                </c:pt>
                <c:pt idx="3934">
                  <c:v>#N/A</c:v>
                </c:pt>
                <c:pt idx="3935">
                  <c:v>#N/A</c:v>
                </c:pt>
                <c:pt idx="3936">
                  <c:v>#N/A</c:v>
                </c:pt>
                <c:pt idx="3937">
                  <c:v>#N/A</c:v>
                </c:pt>
                <c:pt idx="3938">
                  <c:v>#N/A</c:v>
                </c:pt>
                <c:pt idx="3939">
                  <c:v>#N/A</c:v>
                </c:pt>
                <c:pt idx="3940">
                  <c:v>#N/A</c:v>
                </c:pt>
                <c:pt idx="3941">
                  <c:v>#N/A</c:v>
                </c:pt>
                <c:pt idx="3942">
                  <c:v>#N/A</c:v>
                </c:pt>
                <c:pt idx="3943">
                  <c:v>#N/A</c:v>
                </c:pt>
                <c:pt idx="3944">
                  <c:v>#N/A</c:v>
                </c:pt>
                <c:pt idx="3945">
                  <c:v>#N/A</c:v>
                </c:pt>
                <c:pt idx="3946">
                  <c:v>#N/A</c:v>
                </c:pt>
                <c:pt idx="3947">
                  <c:v>#N/A</c:v>
                </c:pt>
                <c:pt idx="3948">
                  <c:v>#N/A</c:v>
                </c:pt>
                <c:pt idx="3949">
                  <c:v>#N/A</c:v>
                </c:pt>
                <c:pt idx="3950">
                  <c:v>#N/A</c:v>
                </c:pt>
                <c:pt idx="3951">
                  <c:v>#N/A</c:v>
                </c:pt>
                <c:pt idx="3952">
                  <c:v>#N/A</c:v>
                </c:pt>
                <c:pt idx="3953">
                  <c:v>#N/A</c:v>
                </c:pt>
                <c:pt idx="3954">
                  <c:v>#N/A</c:v>
                </c:pt>
                <c:pt idx="3955">
                  <c:v>#N/A</c:v>
                </c:pt>
                <c:pt idx="3956">
                  <c:v>#N/A</c:v>
                </c:pt>
                <c:pt idx="3957">
                  <c:v>#N/A</c:v>
                </c:pt>
                <c:pt idx="3958">
                  <c:v>#N/A</c:v>
                </c:pt>
                <c:pt idx="3959">
                  <c:v>#N/A</c:v>
                </c:pt>
                <c:pt idx="3960">
                  <c:v>#N/A</c:v>
                </c:pt>
                <c:pt idx="3961">
                  <c:v>#N/A</c:v>
                </c:pt>
                <c:pt idx="3962">
                  <c:v>#N/A</c:v>
                </c:pt>
                <c:pt idx="3963">
                  <c:v>#N/A</c:v>
                </c:pt>
                <c:pt idx="3964">
                  <c:v>#N/A</c:v>
                </c:pt>
                <c:pt idx="3965">
                  <c:v>#N/A</c:v>
                </c:pt>
                <c:pt idx="3966">
                  <c:v>#N/A</c:v>
                </c:pt>
                <c:pt idx="3967">
                  <c:v>#N/A</c:v>
                </c:pt>
                <c:pt idx="3968">
                  <c:v>1.5095890410958903</c:v>
                </c:pt>
                <c:pt idx="3969">
                  <c:v>#N/A</c:v>
                </c:pt>
                <c:pt idx="3970">
                  <c:v>#N/A</c:v>
                </c:pt>
                <c:pt idx="3971">
                  <c:v>#N/A</c:v>
                </c:pt>
                <c:pt idx="3972">
                  <c:v>#N/A</c:v>
                </c:pt>
                <c:pt idx="3973">
                  <c:v>#N/A</c:v>
                </c:pt>
                <c:pt idx="3974">
                  <c:v>#N/A</c:v>
                </c:pt>
                <c:pt idx="3975">
                  <c:v>#N/A</c:v>
                </c:pt>
                <c:pt idx="3976">
                  <c:v>#N/A</c:v>
                </c:pt>
                <c:pt idx="3977">
                  <c:v>#N/A</c:v>
                </c:pt>
                <c:pt idx="3978">
                  <c:v>#N/A</c:v>
                </c:pt>
                <c:pt idx="3979">
                  <c:v>#N/A</c:v>
                </c:pt>
                <c:pt idx="3980">
                  <c:v>#N/A</c:v>
                </c:pt>
                <c:pt idx="3981">
                  <c:v>#N/A</c:v>
                </c:pt>
                <c:pt idx="3982">
                  <c:v>#N/A</c:v>
                </c:pt>
                <c:pt idx="3983">
                  <c:v>#N/A</c:v>
                </c:pt>
                <c:pt idx="3984">
                  <c:v>#N/A</c:v>
                </c:pt>
                <c:pt idx="3985">
                  <c:v>#N/A</c:v>
                </c:pt>
                <c:pt idx="3986">
                  <c:v>#N/A</c:v>
                </c:pt>
                <c:pt idx="3987">
                  <c:v>#N/A</c:v>
                </c:pt>
                <c:pt idx="3988">
                  <c:v>#N/A</c:v>
                </c:pt>
                <c:pt idx="3989">
                  <c:v>#N/A</c:v>
                </c:pt>
                <c:pt idx="3990">
                  <c:v>#N/A</c:v>
                </c:pt>
                <c:pt idx="3991">
                  <c:v>#N/A</c:v>
                </c:pt>
                <c:pt idx="3992">
                  <c:v>#N/A</c:v>
                </c:pt>
                <c:pt idx="3993">
                  <c:v>#N/A</c:v>
                </c:pt>
                <c:pt idx="3994">
                  <c:v>#N/A</c:v>
                </c:pt>
                <c:pt idx="3995">
                  <c:v>#N/A</c:v>
                </c:pt>
                <c:pt idx="3996">
                  <c:v>#N/A</c:v>
                </c:pt>
                <c:pt idx="3997">
                  <c:v>#N/A</c:v>
                </c:pt>
                <c:pt idx="3998">
                  <c:v>#N/A</c:v>
                </c:pt>
                <c:pt idx="3999">
                  <c:v>#N/A</c:v>
                </c:pt>
                <c:pt idx="4000">
                  <c:v>#N/A</c:v>
                </c:pt>
                <c:pt idx="4001">
                  <c:v>#N/A</c:v>
                </c:pt>
                <c:pt idx="4002">
                  <c:v>#N/A</c:v>
                </c:pt>
                <c:pt idx="4003">
                  <c:v>#N/A</c:v>
                </c:pt>
                <c:pt idx="4004">
                  <c:v>#N/A</c:v>
                </c:pt>
                <c:pt idx="4005">
                  <c:v>#N/A</c:v>
                </c:pt>
                <c:pt idx="4006">
                  <c:v>#N/A</c:v>
                </c:pt>
                <c:pt idx="4007">
                  <c:v>#N/A</c:v>
                </c:pt>
                <c:pt idx="4008">
                  <c:v>#N/A</c:v>
                </c:pt>
                <c:pt idx="4009">
                  <c:v>#N/A</c:v>
                </c:pt>
                <c:pt idx="4010">
                  <c:v>#N/A</c:v>
                </c:pt>
                <c:pt idx="4011">
                  <c:v>#N/A</c:v>
                </c:pt>
                <c:pt idx="4012">
                  <c:v>#N/A</c:v>
                </c:pt>
                <c:pt idx="4013">
                  <c:v>#N/A</c:v>
                </c:pt>
                <c:pt idx="4014">
                  <c:v>#N/A</c:v>
                </c:pt>
                <c:pt idx="4015">
                  <c:v>#N/A</c:v>
                </c:pt>
                <c:pt idx="4016">
                  <c:v>#N/A</c:v>
                </c:pt>
                <c:pt idx="4017">
                  <c:v>#N/A</c:v>
                </c:pt>
                <c:pt idx="4018">
                  <c:v>#N/A</c:v>
                </c:pt>
                <c:pt idx="4019">
                  <c:v>#N/A</c:v>
                </c:pt>
                <c:pt idx="4020">
                  <c:v>#N/A</c:v>
                </c:pt>
                <c:pt idx="4021">
                  <c:v>#N/A</c:v>
                </c:pt>
                <c:pt idx="4022">
                  <c:v>#N/A</c:v>
                </c:pt>
                <c:pt idx="4023">
                  <c:v>#N/A</c:v>
                </c:pt>
                <c:pt idx="4024">
                  <c:v>#N/A</c:v>
                </c:pt>
                <c:pt idx="4025">
                  <c:v>#N/A</c:v>
                </c:pt>
                <c:pt idx="4026">
                  <c:v>#N/A</c:v>
                </c:pt>
                <c:pt idx="4027">
                  <c:v>#N/A</c:v>
                </c:pt>
                <c:pt idx="4028">
                  <c:v>#N/A</c:v>
                </c:pt>
                <c:pt idx="4029">
                  <c:v>#N/A</c:v>
                </c:pt>
                <c:pt idx="4030">
                  <c:v>#N/A</c:v>
                </c:pt>
                <c:pt idx="4031">
                  <c:v>#N/A</c:v>
                </c:pt>
                <c:pt idx="4032">
                  <c:v>#N/A</c:v>
                </c:pt>
                <c:pt idx="4033">
                  <c:v>#N/A</c:v>
                </c:pt>
                <c:pt idx="4034">
                  <c:v>#N/A</c:v>
                </c:pt>
                <c:pt idx="4035">
                  <c:v>#N/A</c:v>
                </c:pt>
                <c:pt idx="4036">
                  <c:v>#N/A</c:v>
                </c:pt>
                <c:pt idx="4037">
                  <c:v>#N/A</c:v>
                </c:pt>
                <c:pt idx="4038">
                  <c:v>#N/A</c:v>
                </c:pt>
                <c:pt idx="4039">
                  <c:v>#N/A</c:v>
                </c:pt>
                <c:pt idx="4040">
                  <c:v>#N/A</c:v>
                </c:pt>
                <c:pt idx="4041">
                  <c:v>#N/A</c:v>
                </c:pt>
                <c:pt idx="4042">
                  <c:v>#N/A</c:v>
                </c:pt>
                <c:pt idx="4043">
                  <c:v>#N/A</c:v>
                </c:pt>
                <c:pt idx="4044">
                  <c:v>#N/A</c:v>
                </c:pt>
                <c:pt idx="4045">
                  <c:v>#N/A</c:v>
                </c:pt>
                <c:pt idx="4046">
                  <c:v>#N/A</c:v>
                </c:pt>
                <c:pt idx="4047">
                  <c:v>#N/A</c:v>
                </c:pt>
                <c:pt idx="4048">
                  <c:v>#N/A</c:v>
                </c:pt>
                <c:pt idx="4049">
                  <c:v>#N/A</c:v>
                </c:pt>
                <c:pt idx="4050">
                  <c:v>#N/A</c:v>
                </c:pt>
                <c:pt idx="4051">
                  <c:v>#N/A</c:v>
                </c:pt>
                <c:pt idx="4052">
                  <c:v>#N/A</c:v>
                </c:pt>
                <c:pt idx="4053">
                  <c:v>#N/A</c:v>
                </c:pt>
                <c:pt idx="4054">
                  <c:v>#N/A</c:v>
                </c:pt>
                <c:pt idx="4055">
                  <c:v>#N/A</c:v>
                </c:pt>
                <c:pt idx="4056">
                  <c:v>#N/A</c:v>
                </c:pt>
                <c:pt idx="4057">
                  <c:v>#N/A</c:v>
                </c:pt>
                <c:pt idx="4058">
                  <c:v>#N/A</c:v>
                </c:pt>
                <c:pt idx="4059">
                  <c:v>#N/A</c:v>
                </c:pt>
                <c:pt idx="4060">
                  <c:v>#N/A</c:v>
                </c:pt>
                <c:pt idx="4061">
                  <c:v>#N/A</c:v>
                </c:pt>
                <c:pt idx="4062">
                  <c:v>#N/A</c:v>
                </c:pt>
                <c:pt idx="4063">
                  <c:v>#N/A</c:v>
                </c:pt>
                <c:pt idx="4064">
                  <c:v>#N/A</c:v>
                </c:pt>
                <c:pt idx="4065">
                  <c:v>#N/A</c:v>
                </c:pt>
                <c:pt idx="4066">
                  <c:v>#N/A</c:v>
                </c:pt>
                <c:pt idx="4067">
                  <c:v>#N/A</c:v>
                </c:pt>
                <c:pt idx="4068">
                  <c:v>#N/A</c:v>
                </c:pt>
                <c:pt idx="4069">
                  <c:v>#N/A</c:v>
                </c:pt>
                <c:pt idx="4070">
                  <c:v>#N/A</c:v>
                </c:pt>
                <c:pt idx="4071">
                  <c:v>#N/A</c:v>
                </c:pt>
                <c:pt idx="4072">
                  <c:v>#N/A</c:v>
                </c:pt>
                <c:pt idx="4073">
                  <c:v>#N/A</c:v>
                </c:pt>
                <c:pt idx="4074">
                  <c:v>#N/A</c:v>
                </c:pt>
                <c:pt idx="4075">
                  <c:v>#N/A</c:v>
                </c:pt>
                <c:pt idx="4076">
                  <c:v>1.558904109589041</c:v>
                </c:pt>
                <c:pt idx="4077">
                  <c:v>#N/A</c:v>
                </c:pt>
                <c:pt idx="4078">
                  <c:v>1.558904109589041</c:v>
                </c:pt>
                <c:pt idx="4079">
                  <c:v>#N/A</c:v>
                </c:pt>
                <c:pt idx="4080">
                  <c:v>#N/A</c:v>
                </c:pt>
                <c:pt idx="4081">
                  <c:v>#N/A</c:v>
                </c:pt>
                <c:pt idx="4082">
                  <c:v>#N/A</c:v>
                </c:pt>
                <c:pt idx="4083">
                  <c:v>#N/A</c:v>
                </c:pt>
                <c:pt idx="4084">
                  <c:v>#N/A</c:v>
                </c:pt>
                <c:pt idx="4085">
                  <c:v>#N/A</c:v>
                </c:pt>
                <c:pt idx="4086">
                  <c:v>#N/A</c:v>
                </c:pt>
                <c:pt idx="4087">
                  <c:v>#N/A</c:v>
                </c:pt>
                <c:pt idx="4088">
                  <c:v>#N/A</c:v>
                </c:pt>
                <c:pt idx="4089">
                  <c:v>#N/A</c:v>
                </c:pt>
                <c:pt idx="4090">
                  <c:v>#N/A</c:v>
                </c:pt>
                <c:pt idx="4091">
                  <c:v>#N/A</c:v>
                </c:pt>
                <c:pt idx="4092">
                  <c:v>#N/A</c:v>
                </c:pt>
                <c:pt idx="4093">
                  <c:v>#N/A</c:v>
                </c:pt>
                <c:pt idx="4094">
                  <c:v>#N/A</c:v>
                </c:pt>
                <c:pt idx="4095">
                  <c:v>#N/A</c:v>
                </c:pt>
                <c:pt idx="4096">
                  <c:v>#N/A</c:v>
                </c:pt>
                <c:pt idx="4097">
                  <c:v>#N/A</c:v>
                </c:pt>
                <c:pt idx="4098">
                  <c:v>#N/A</c:v>
                </c:pt>
                <c:pt idx="4099">
                  <c:v>#N/A</c:v>
                </c:pt>
                <c:pt idx="4100">
                  <c:v>#N/A</c:v>
                </c:pt>
                <c:pt idx="4101">
                  <c:v>#N/A</c:v>
                </c:pt>
                <c:pt idx="4102">
                  <c:v>#N/A</c:v>
                </c:pt>
                <c:pt idx="4103">
                  <c:v>#N/A</c:v>
                </c:pt>
                <c:pt idx="4104">
                  <c:v>#N/A</c:v>
                </c:pt>
                <c:pt idx="4105">
                  <c:v>#N/A</c:v>
                </c:pt>
                <c:pt idx="4106">
                  <c:v>#N/A</c:v>
                </c:pt>
                <c:pt idx="4107">
                  <c:v>#N/A</c:v>
                </c:pt>
                <c:pt idx="4108">
                  <c:v>#N/A</c:v>
                </c:pt>
                <c:pt idx="4109">
                  <c:v>#N/A</c:v>
                </c:pt>
                <c:pt idx="4110">
                  <c:v>#N/A</c:v>
                </c:pt>
                <c:pt idx="4111">
                  <c:v>#N/A</c:v>
                </c:pt>
                <c:pt idx="4112">
                  <c:v>#N/A</c:v>
                </c:pt>
                <c:pt idx="4113">
                  <c:v>#N/A</c:v>
                </c:pt>
                <c:pt idx="4114">
                  <c:v>#N/A</c:v>
                </c:pt>
                <c:pt idx="4115">
                  <c:v>#N/A</c:v>
                </c:pt>
                <c:pt idx="4116">
                  <c:v>#N/A</c:v>
                </c:pt>
                <c:pt idx="4117">
                  <c:v>#N/A</c:v>
                </c:pt>
                <c:pt idx="4118">
                  <c:v>#N/A</c:v>
                </c:pt>
                <c:pt idx="4119">
                  <c:v>#N/A</c:v>
                </c:pt>
                <c:pt idx="4120">
                  <c:v>#N/A</c:v>
                </c:pt>
                <c:pt idx="4121">
                  <c:v>#N/A</c:v>
                </c:pt>
                <c:pt idx="4122">
                  <c:v>#N/A</c:v>
                </c:pt>
                <c:pt idx="4123">
                  <c:v>#N/A</c:v>
                </c:pt>
                <c:pt idx="4124">
                  <c:v>#N/A</c:v>
                </c:pt>
                <c:pt idx="4125">
                  <c:v>#N/A</c:v>
                </c:pt>
                <c:pt idx="4126">
                  <c:v>#N/A</c:v>
                </c:pt>
                <c:pt idx="4127">
                  <c:v>#N/A</c:v>
                </c:pt>
                <c:pt idx="4128">
                  <c:v>#N/A</c:v>
                </c:pt>
                <c:pt idx="4129">
                  <c:v>#N/A</c:v>
                </c:pt>
                <c:pt idx="4130">
                  <c:v>#N/A</c:v>
                </c:pt>
                <c:pt idx="4131">
                  <c:v>#N/A</c:v>
                </c:pt>
                <c:pt idx="4132">
                  <c:v>#N/A</c:v>
                </c:pt>
                <c:pt idx="4133">
                  <c:v>#N/A</c:v>
                </c:pt>
                <c:pt idx="4134">
                  <c:v>#N/A</c:v>
                </c:pt>
                <c:pt idx="4135">
                  <c:v>#N/A</c:v>
                </c:pt>
                <c:pt idx="4136">
                  <c:v>#N/A</c:v>
                </c:pt>
                <c:pt idx="4137">
                  <c:v>#N/A</c:v>
                </c:pt>
                <c:pt idx="4138">
                  <c:v>#N/A</c:v>
                </c:pt>
                <c:pt idx="4139">
                  <c:v>#N/A</c:v>
                </c:pt>
                <c:pt idx="4140">
                  <c:v>#N/A</c:v>
                </c:pt>
                <c:pt idx="4141">
                  <c:v>#N/A</c:v>
                </c:pt>
                <c:pt idx="4142">
                  <c:v>#N/A</c:v>
                </c:pt>
                <c:pt idx="4143">
                  <c:v>#N/A</c:v>
                </c:pt>
                <c:pt idx="4144">
                  <c:v>#N/A</c:v>
                </c:pt>
                <c:pt idx="4145">
                  <c:v>#N/A</c:v>
                </c:pt>
                <c:pt idx="4146">
                  <c:v>#N/A</c:v>
                </c:pt>
                <c:pt idx="4147">
                  <c:v>#N/A</c:v>
                </c:pt>
                <c:pt idx="4148">
                  <c:v>#N/A</c:v>
                </c:pt>
                <c:pt idx="4149">
                  <c:v>#N/A</c:v>
                </c:pt>
                <c:pt idx="4150">
                  <c:v>#N/A</c:v>
                </c:pt>
                <c:pt idx="4151">
                  <c:v>#N/A</c:v>
                </c:pt>
                <c:pt idx="4152">
                  <c:v>#N/A</c:v>
                </c:pt>
                <c:pt idx="4153">
                  <c:v>#N/A</c:v>
                </c:pt>
                <c:pt idx="4154">
                  <c:v>#N/A</c:v>
                </c:pt>
                <c:pt idx="4155">
                  <c:v>#N/A</c:v>
                </c:pt>
                <c:pt idx="4156">
                  <c:v>#N/A</c:v>
                </c:pt>
                <c:pt idx="4157">
                  <c:v>#N/A</c:v>
                </c:pt>
                <c:pt idx="4158">
                  <c:v>#N/A</c:v>
                </c:pt>
                <c:pt idx="4159">
                  <c:v>#N/A</c:v>
                </c:pt>
                <c:pt idx="4160">
                  <c:v>#N/A</c:v>
                </c:pt>
                <c:pt idx="4161">
                  <c:v>#N/A</c:v>
                </c:pt>
                <c:pt idx="4162">
                  <c:v>#N/A</c:v>
                </c:pt>
                <c:pt idx="4163">
                  <c:v>#N/A</c:v>
                </c:pt>
                <c:pt idx="4164">
                  <c:v>#N/A</c:v>
                </c:pt>
                <c:pt idx="4165">
                  <c:v>#N/A</c:v>
                </c:pt>
                <c:pt idx="4166">
                  <c:v>#N/A</c:v>
                </c:pt>
                <c:pt idx="4167">
                  <c:v>#N/A</c:v>
                </c:pt>
                <c:pt idx="4168">
                  <c:v>#N/A</c:v>
                </c:pt>
                <c:pt idx="4169">
                  <c:v>#N/A</c:v>
                </c:pt>
                <c:pt idx="4170">
                  <c:v>#N/A</c:v>
                </c:pt>
                <c:pt idx="4171">
                  <c:v>#N/A</c:v>
                </c:pt>
                <c:pt idx="4172">
                  <c:v>#N/A</c:v>
                </c:pt>
                <c:pt idx="4173">
                  <c:v>#N/A</c:v>
                </c:pt>
                <c:pt idx="4174">
                  <c:v>#N/A</c:v>
                </c:pt>
                <c:pt idx="4175">
                  <c:v>#N/A</c:v>
                </c:pt>
                <c:pt idx="4176">
                  <c:v>#N/A</c:v>
                </c:pt>
                <c:pt idx="4177">
                  <c:v>#N/A</c:v>
                </c:pt>
                <c:pt idx="4178">
                  <c:v>#N/A</c:v>
                </c:pt>
                <c:pt idx="4179">
                  <c:v>#N/A</c:v>
                </c:pt>
                <c:pt idx="4180">
                  <c:v>#N/A</c:v>
                </c:pt>
                <c:pt idx="4181">
                  <c:v>#N/A</c:v>
                </c:pt>
                <c:pt idx="4182">
                  <c:v>#N/A</c:v>
                </c:pt>
                <c:pt idx="4183">
                  <c:v>#N/A</c:v>
                </c:pt>
                <c:pt idx="4184">
                  <c:v>#N/A</c:v>
                </c:pt>
                <c:pt idx="4185">
                  <c:v>#N/A</c:v>
                </c:pt>
                <c:pt idx="4186">
                  <c:v>#N/A</c:v>
                </c:pt>
                <c:pt idx="4187">
                  <c:v>#N/A</c:v>
                </c:pt>
                <c:pt idx="4188">
                  <c:v>#N/A</c:v>
                </c:pt>
                <c:pt idx="4189">
                  <c:v>#N/A</c:v>
                </c:pt>
                <c:pt idx="4190">
                  <c:v>#N/A</c:v>
                </c:pt>
                <c:pt idx="4191">
                  <c:v>#N/A</c:v>
                </c:pt>
                <c:pt idx="4192">
                  <c:v>#N/A</c:v>
                </c:pt>
                <c:pt idx="4193">
                  <c:v>#N/A</c:v>
                </c:pt>
                <c:pt idx="4194">
                  <c:v>#N/A</c:v>
                </c:pt>
                <c:pt idx="4195">
                  <c:v>#N/A</c:v>
                </c:pt>
                <c:pt idx="4196">
                  <c:v>#N/A</c:v>
                </c:pt>
                <c:pt idx="4197">
                  <c:v>#N/A</c:v>
                </c:pt>
                <c:pt idx="4198">
                  <c:v>#N/A</c:v>
                </c:pt>
                <c:pt idx="4199">
                  <c:v>#N/A</c:v>
                </c:pt>
                <c:pt idx="4200">
                  <c:v>#N/A</c:v>
                </c:pt>
                <c:pt idx="4201">
                  <c:v>#N/A</c:v>
                </c:pt>
                <c:pt idx="4202">
                  <c:v>#N/A</c:v>
                </c:pt>
                <c:pt idx="4203">
                  <c:v>#N/A</c:v>
                </c:pt>
                <c:pt idx="4204">
                  <c:v>#N/A</c:v>
                </c:pt>
                <c:pt idx="4205">
                  <c:v>#N/A</c:v>
                </c:pt>
                <c:pt idx="4206">
                  <c:v>#N/A</c:v>
                </c:pt>
                <c:pt idx="4207">
                  <c:v>#N/A</c:v>
                </c:pt>
                <c:pt idx="4208">
                  <c:v>#N/A</c:v>
                </c:pt>
                <c:pt idx="4209">
                  <c:v>#N/A</c:v>
                </c:pt>
                <c:pt idx="4210">
                  <c:v>#N/A</c:v>
                </c:pt>
                <c:pt idx="4211">
                  <c:v>#N/A</c:v>
                </c:pt>
                <c:pt idx="4212">
                  <c:v>#N/A</c:v>
                </c:pt>
                <c:pt idx="4213">
                  <c:v>#N/A</c:v>
                </c:pt>
                <c:pt idx="4214">
                  <c:v>#N/A</c:v>
                </c:pt>
                <c:pt idx="4215">
                  <c:v>#N/A</c:v>
                </c:pt>
                <c:pt idx="4216">
                  <c:v>#N/A</c:v>
                </c:pt>
                <c:pt idx="4217">
                  <c:v>#N/A</c:v>
                </c:pt>
                <c:pt idx="4218">
                  <c:v>#N/A</c:v>
                </c:pt>
                <c:pt idx="4219">
                  <c:v>#N/A</c:v>
                </c:pt>
                <c:pt idx="4220">
                  <c:v>#N/A</c:v>
                </c:pt>
                <c:pt idx="4221">
                  <c:v>#N/A</c:v>
                </c:pt>
                <c:pt idx="4222">
                  <c:v>#N/A</c:v>
                </c:pt>
                <c:pt idx="4223">
                  <c:v>#N/A</c:v>
                </c:pt>
                <c:pt idx="4224">
                  <c:v>#N/A</c:v>
                </c:pt>
                <c:pt idx="4225">
                  <c:v>#N/A</c:v>
                </c:pt>
                <c:pt idx="4226">
                  <c:v>#N/A</c:v>
                </c:pt>
                <c:pt idx="4227">
                  <c:v>#N/A</c:v>
                </c:pt>
                <c:pt idx="4228">
                  <c:v>#N/A</c:v>
                </c:pt>
                <c:pt idx="4229">
                  <c:v>#N/A</c:v>
                </c:pt>
                <c:pt idx="4230">
                  <c:v>#N/A</c:v>
                </c:pt>
                <c:pt idx="4231">
                  <c:v>#N/A</c:v>
                </c:pt>
                <c:pt idx="4232">
                  <c:v>#N/A</c:v>
                </c:pt>
                <c:pt idx="4233">
                  <c:v>#N/A</c:v>
                </c:pt>
                <c:pt idx="4234">
                  <c:v>#N/A</c:v>
                </c:pt>
                <c:pt idx="4235">
                  <c:v>#N/A</c:v>
                </c:pt>
                <c:pt idx="4236">
                  <c:v>#N/A</c:v>
                </c:pt>
                <c:pt idx="4237">
                  <c:v>#N/A</c:v>
                </c:pt>
                <c:pt idx="4238">
                  <c:v>#N/A</c:v>
                </c:pt>
                <c:pt idx="4239">
                  <c:v>#N/A</c:v>
                </c:pt>
                <c:pt idx="4240">
                  <c:v>#N/A</c:v>
                </c:pt>
                <c:pt idx="4241">
                  <c:v>#N/A</c:v>
                </c:pt>
                <c:pt idx="4242">
                  <c:v>#N/A</c:v>
                </c:pt>
                <c:pt idx="4243">
                  <c:v>#N/A</c:v>
                </c:pt>
                <c:pt idx="4244">
                  <c:v>#N/A</c:v>
                </c:pt>
                <c:pt idx="4245">
                  <c:v>#N/A</c:v>
                </c:pt>
                <c:pt idx="4246">
                  <c:v>#N/A</c:v>
                </c:pt>
                <c:pt idx="4247">
                  <c:v>#N/A</c:v>
                </c:pt>
                <c:pt idx="4248">
                  <c:v>#N/A</c:v>
                </c:pt>
                <c:pt idx="4249">
                  <c:v>#N/A</c:v>
                </c:pt>
                <c:pt idx="4250">
                  <c:v>#N/A</c:v>
                </c:pt>
                <c:pt idx="4251">
                  <c:v>#N/A</c:v>
                </c:pt>
                <c:pt idx="4252">
                  <c:v>#N/A</c:v>
                </c:pt>
                <c:pt idx="4253">
                  <c:v>#N/A</c:v>
                </c:pt>
                <c:pt idx="4254">
                  <c:v>#N/A</c:v>
                </c:pt>
                <c:pt idx="4255">
                  <c:v>#N/A</c:v>
                </c:pt>
                <c:pt idx="4256">
                  <c:v>#N/A</c:v>
                </c:pt>
                <c:pt idx="4257">
                  <c:v>#N/A</c:v>
                </c:pt>
                <c:pt idx="4258">
                  <c:v>#N/A</c:v>
                </c:pt>
                <c:pt idx="4259">
                  <c:v>#N/A</c:v>
                </c:pt>
                <c:pt idx="4260">
                  <c:v>#N/A</c:v>
                </c:pt>
                <c:pt idx="4261">
                  <c:v>#N/A</c:v>
                </c:pt>
                <c:pt idx="4262">
                  <c:v>#N/A</c:v>
                </c:pt>
                <c:pt idx="4263">
                  <c:v>#N/A</c:v>
                </c:pt>
                <c:pt idx="4264">
                  <c:v>#N/A</c:v>
                </c:pt>
                <c:pt idx="4265">
                  <c:v>1.6136986301369862</c:v>
                </c:pt>
                <c:pt idx="4266">
                  <c:v>#N/A</c:v>
                </c:pt>
                <c:pt idx="4267">
                  <c:v>#N/A</c:v>
                </c:pt>
                <c:pt idx="4268">
                  <c:v>#N/A</c:v>
                </c:pt>
                <c:pt idx="4269">
                  <c:v>#N/A</c:v>
                </c:pt>
                <c:pt idx="4270">
                  <c:v>#N/A</c:v>
                </c:pt>
                <c:pt idx="4271">
                  <c:v>#N/A</c:v>
                </c:pt>
                <c:pt idx="4272">
                  <c:v>#N/A</c:v>
                </c:pt>
                <c:pt idx="4273">
                  <c:v>#N/A</c:v>
                </c:pt>
                <c:pt idx="4274">
                  <c:v>#N/A</c:v>
                </c:pt>
                <c:pt idx="4275">
                  <c:v>#N/A</c:v>
                </c:pt>
                <c:pt idx="4276">
                  <c:v>#N/A</c:v>
                </c:pt>
                <c:pt idx="4277">
                  <c:v>#N/A</c:v>
                </c:pt>
                <c:pt idx="4278">
                  <c:v>#N/A</c:v>
                </c:pt>
                <c:pt idx="4279">
                  <c:v>#N/A</c:v>
                </c:pt>
                <c:pt idx="4280">
                  <c:v>#N/A</c:v>
                </c:pt>
                <c:pt idx="4281">
                  <c:v>#N/A</c:v>
                </c:pt>
                <c:pt idx="4282">
                  <c:v>#N/A</c:v>
                </c:pt>
                <c:pt idx="4283">
                  <c:v>#N/A</c:v>
                </c:pt>
                <c:pt idx="4284">
                  <c:v>#N/A</c:v>
                </c:pt>
                <c:pt idx="4285">
                  <c:v>#N/A</c:v>
                </c:pt>
                <c:pt idx="4286">
                  <c:v>#N/A</c:v>
                </c:pt>
                <c:pt idx="4287">
                  <c:v>#N/A</c:v>
                </c:pt>
                <c:pt idx="4288">
                  <c:v>#N/A</c:v>
                </c:pt>
                <c:pt idx="4289">
                  <c:v>#N/A</c:v>
                </c:pt>
                <c:pt idx="4290">
                  <c:v>#N/A</c:v>
                </c:pt>
                <c:pt idx="4291">
                  <c:v>#N/A</c:v>
                </c:pt>
                <c:pt idx="4292">
                  <c:v>#N/A</c:v>
                </c:pt>
                <c:pt idx="4293">
                  <c:v>#N/A</c:v>
                </c:pt>
                <c:pt idx="4294">
                  <c:v>#N/A</c:v>
                </c:pt>
                <c:pt idx="4295">
                  <c:v>#N/A</c:v>
                </c:pt>
                <c:pt idx="4296">
                  <c:v>#N/A</c:v>
                </c:pt>
                <c:pt idx="4297">
                  <c:v>#N/A</c:v>
                </c:pt>
                <c:pt idx="4298">
                  <c:v>#N/A</c:v>
                </c:pt>
                <c:pt idx="4299">
                  <c:v>#N/A</c:v>
                </c:pt>
                <c:pt idx="4300">
                  <c:v>#N/A</c:v>
                </c:pt>
                <c:pt idx="4301">
                  <c:v>#N/A</c:v>
                </c:pt>
                <c:pt idx="4302">
                  <c:v>#N/A</c:v>
                </c:pt>
                <c:pt idx="4303">
                  <c:v>#N/A</c:v>
                </c:pt>
                <c:pt idx="4304">
                  <c:v>#N/A</c:v>
                </c:pt>
                <c:pt idx="4305">
                  <c:v>#N/A</c:v>
                </c:pt>
                <c:pt idx="4306">
                  <c:v>#N/A</c:v>
                </c:pt>
                <c:pt idx="4307">
                  <c:v>#N/A</c:v>
                </c:pt>
                <c:pt idx="4308">
                  <c:v>#N/A</c:v>
                </c:pt>
                <c:pt idx="4309">
                  <c:v>#N/A</c:v>
                </c:pt>
                <c:pt idx="4310">
                  <c:v>#N/A</c:v>
                </c:pt>
                <c:pt idx="4311">
                  <c:v>#N/A</c:v>
                </c:pt>
                <c:pt idx="4312">
                  <c:v>#N/A</c:v>
                </c:pt>
                <c:pt idx="4313">
                  <c:v>1.6438356164383561</c:v>
                </c:pt>
                <c:pt idx="4314">
                  <c:v>#N/A</c:v>
                </c:pt>
                <c:pt idx="4315">
                  <c:v>#N/A</c:v>
                </c:pt>
                <c:pt idx="4316">
                  <c:v>#N/A</c:v>
                </c:pt>
                <c:pt idx="4317">
                  <c:v>#N/A</c:v>
                </c:pt>
                <c:pt idx="4318">
                  <c:v>#N/A</c:v>
                </c:pt>
                <c:pt idx="4319">
                  <c:v>#N/A</c:v>
                </c:pt>
                <c:pt idx="4320">
                  <c:v>#N/A</c:v>
                </c:pt>
                <c:pt idx="4321">
                  <c:v>#N/A</c:v>
                </c:pt>
                <c:pt idx="4322">
                  <c:v>#N/A</c:v>
                </c:pt>
                <c:pt idx="4323">
                  <c:v>#N/A</c:v>
                </c:pt>
                <c:pt idx="4324">
                  <c:v>#N/A</c:v>
                </c:pt>
                <c:pt idx="4325">
                  <c:v>#N/A</c:v>
                </c:pt>
                <c:pt idx="4326">
                  <c:v>#N/A</c:v>
                </c:pt>
                <c:pt idx="4327">
                  <c:v>#N/A</c:v>
                </c:pt>
                <c:pt idx="4328">
                  <c:v>#N/A</c:v>
                </c:pt>
                <c:pt idx="4329">
                  <c:v>#N/A</c:v>
                </c:pt>
                <c:pt idx="4330">
                  <c:v>#N/A</c:v>
                </c:pt>
                <c:pt idx="4331">
                  <c:v>#N/A</c:v>
                </c:pt>
                <c:pt idx="4332">
                  <c:v>#N/A</c:v>
                </c:pt>
                <c:pt idx="4333">
                  <c:v>1.6630136986301369</c:v>
                </c:pt>
                <c:pt idx="4334">
                  <c:v>#N/A</c:v>
                </c:pt>
                <c:pt idx="4335">
                  <c:v>#N/A</c:v>
                </c:pt>
                <c:pt idx="4336">
                  <c:v>#N/A</c:v>
                </c:pt>
                <c:pt idx="4337">
                  <c:v>#N/A</c:v>
                </c:pt>
                <c:pt idx="4338">
                  <c:v>#N/A</c:v>
                </c:pt>
                <c:pt idx="4339">
                  <c:v>#N/A</c:v>
                </c:pt>
                <c:pt idx="4340">
                  <c:v>#N/A</c:v>
                </c:pt>
                <c:pt idx="4341">
                  <c:v>#N/A</c:v>
                </c:pt>
                <c:pt idx="4342">
                  <c:v>#N/A</c:v>
                </c:pt>
                <c:pt idx="4343">
                  <c:v>#N/A</c:v>
                </c:pt>
                <c:pt idx="4344">
                  <c:v>#N/A</c:v>
                </c:pt>
                <c:pt idx="4345">
                  <c:v>#N/A</c:v>
                </c:pt>
                <c:pt idx="4346">
                  <c:v>#N/A</c:v>
                </c:pt>
                <c:pt idx="4347">
                  <c:v>#N/A</c:v>
                </c:pt>
                <c:pt idx="4348">
                  <c:v>#N/A</c:v>
                </c:pt>
                <c:pt idx="4349">
                  <c:v>#N/A</c:v>
                </c:pt>
                <c:pt idx="4350">
                  <c:v>#N/A</c:v>
                </c:pt>
                <c:pt idx="4351">
                  <c:v>#N/A</c:v>
                </c:pt>
                <c:pt idx="4352">
                  <c:v>#N/A</c:v>
                </c:pt>
                <c:pt idx="4353">
                  <c:v>#N/A</c:v>
                </c:pt>
                <c:pt idx="4354">
                  <c:v>#N/A</c:v>
                </c:pt>
                <c:pt idx="4355">
                  <c:v>#N/A</c:v>
                </c:pt>
                <c:pt idx="4356">
                  <c:v>#N/A</c:v>
                </c:pt>
                <c:pt idx="4357">
                  <c:v>#N/A</c:v>
                </c:pt>
                <c:pt idx="4358">
                  <c:v>#N/A</c:v>
                </c:pt>
                <c:pt idx="4359">
                  <c:v>#N/A</c:v>
                </c:pt>
                <c:pt idx="4360">
                  <c:v>#N/A</c:v>
                </c:pt>
                <c:pt idx="4361">
                  <c:v>#N/A</c:v>
                </c:pt>
                <c:pt idx="4362">
                  <c:v>#N/A</c:v>
                </c:pt>
                <c:pt idx="4363">
                  <c:v>#N/A</c:v>
                </c:pt>
                <c:pt idx="4364">
                  <c:v>#N/A</c:v>
                </c:pt>
                <c:pt idx="4365">
                  <c:v>#N/A</c:v>
                </c:pt>
                <c:pt idx="4366">
                  <c:v>#N/A</c:v>
                </c:pt>
                <c:pt idx="4367">
                  <c:v>#N/A</c:v>
                </c:pt>
                <c:pt idx="4368">
                  <c:v>#N/A</c:v>
                </c:pt>
                <c:pt idx="4369">
                  <c:v>#N/A</c:v>
                </c:pt>
                <c:pt idx="4370">
                  <c:v>#N/A</c:v>
                </c:pt>
                <c:pt idx="4371">
                  <c:v>#N/A</c:v>
                </c:pt>
                <c:pt idx="4372">
                  <c:v>#N/A</c:v>
                </c:pt>
                <c:pt idx="4373">
                  <c:v>#N/A</c:v>
                </c:pt>
                <c:pt idx="4374">
                  <c:v>#N/A</c:v>
                </c:pt>
                <c:pt idx="4375">
                  <c:v>#N/A</c:v>
                </c:pt>
                <c:pt idx="4376">
                  <c:v>#N/A</c:v>
                </c:pt>
                <c:pt idx="4377">
                  <c:v>#N/A</c:v>
                </c:pt>
                <c:pt idx="4378">
                  <c:v>#N/A</c:v>
                </c:pt>
                <c:pt idx="4379">
                  <c:v>#N/A</c:v>
                </c:pt>
                <c:pt idx="4380">
                  <c:v>#N/A</c:v>
                </c:pt>
                <c:pt idx="4381">
                  <c:v>#N/A</c:v>
                </c:pt>
                <c:pt idx="4382">
                  <c:v>#N/A</c:v>
                </c:pt>
                <c:pt idx="4383">
                  <c:v>#N/A</c:v>
                </c:pt>
                <c:pt idx="4384">
                  <c:v>1.6876712328767123</c:v>
                </c:pt>
                <c:pt idx="4385">
                  <c:v>#N/A</c:v>
                </c:pt>
                <c:pt idx="4386">
                  <c:v>#N/A</c:v>
                </c:pt>
                <c:pt idx="4387">
                  <c:v>#N/A</c:v>
                </c:pt>
                <c:pt idx="4388">
                  <c:v>#N/A</c:v>
                </c:pt>
                <c:pt idx="4389">
                  <c:v>#N/A</c:v>
                </c:pt>
                <c:pt idx="4390">
                  <c:v>#N/A</c:v>
                </c:pt>
                <c:pt idx="4391">
                  <c:v>#N/A</c:v>
                </c:pt>
                <c:pt idx="4392">
                  <c:v>#N/A</c:v>
                </c:pt>
                <c:pt idx="4393">
                  <c:v>#N/A</c:v>
                </c:pt>
                <c:pt idx="4394">
                  <c:v>#N/A</c:v>
                </c:pt>
                <c:pt idx="4395">
                  <c:v>#N/A</c:v>
                </c:pt>
                <c:pt idx="4396">
                  <c:v>#N/A</c:v>
                </c:pt>
                <c:pt idx="4397">
                  <c:v>#N/A</c:v>
                </c:pt>
                <c:pt idx="4398">
                  <c:v>#N/A</c:v>
                </c:pt>
                <c:pt idx="4399">
                  <c:v>#N/A</c:v>
                </c:pt>
                <c:pt idx="4400">
                  <c:v>#N/A</c:v>
                </c:pt>
                <c:pt idx="4401">
                  <c:v>#N/A</c:v>
                </c:pt>
                <c:pt idx="4402">
                  <c:v>#N/A</c:v>
                </c:pt>
                <c:pt idx="4403">
                  <c:v>#N/A</c:v>
                </c:pt>
                <c:pt idx="4404">
                  <c:v>#N/A</c:v>
                </c:pt>
                <c:pt idx="4405">
                  <c:v>#N/A</c:v>
                </c:pt>
                <c:pt idx="4406">
                  <c:v>#N/A</c:v>
                </c:pt>
                <c:pt idx="4407">
                  <c:v>#N/A</c:v>
                </c:pt>
                <c:pt idx="4408">
                  <c:v>#N/A</c:v>
                </c:pt>
                <c:pt idx="4409">
                  <c:v>#N/A</c:v>
                </c:pt>
                <c:pt idx="4410">
                  <c:v>#N/A</c:v>
                </c:pt>
                <c:pt idx="4411">
                  <c:v>#N/A</c:v>
                </c:pt>
                <c:pt idx="4412">
                  <c:v>#N/A</c:v>
                </c:pt>
                <c:pt idx="4413">
                  <c:v>#N/A</c:v>
                </c:pt>
                <c:pt idx="4414">
                  <c:v>#N/A</c:v>
                </c:pt>
                <c:pt idx="4415">
                  <c:v>#N/A</c:v>
                </c:pt>
                <c:pt idx="4416">
                  <c:v>#N/A</c:v>
                </c:pt>
                <c:pt idx="4417">
                  <c:v>#N/A</c:v>
                </c:pt>
                <c:pt idx="4418">
                  <c:v>#N/A</c:v>
                </c:pt>
                <c:pt idx="4419">
                  <c:v>#N/A</c:v>
                </c:pt>
                <c:pt idx="4420">
                  <c:v>#N/A</c:v>
                </c:pt>
                <c:pt idx="4421">
                  <c:v>#N/A</c:v>
                </c:pt>
                <c:pt idx="4422">
                  <c:v>#N/A</c:v>
                </c:pt>
                <c:pt idx="4423">
                  <c:v>#N/A</c:v>
                </c:pt>
                <c:pt idx="4424">
                  <c:v>#N/A</c:v>
                </c:pt>
                <c:pt idx="4425">
                  <c:v>#N/A</c:v>
                </c:pt>
                <c:pt idx="4426">
                  <c:v>#N/A</c:v>
                </c:pt>
                <c:pt idx="4427">
                  <c:v>#N/A</c:v>
                </c:pt>
                <c:pt idx="4428">
                  <c:v>1.7232876712328766</c:v>
                </c:pt>
                <c:pt idx="4429">
                  <c:v>#N/A</c:v>
                </c:pt>
                <c:pt idx="4430">
                  <c:v>#N/A</c:v>
                </c:pt>
                <c:pt idx="4431">
                  <c:v>#N/A</c:v>
                </c:pt>
                <c:pt idx="4432">
                  <c:v>#N/A</c:v>
                </c:pt>
                <c:pt idx="4433">
                  <c:v>#N/A</c:v>
                </c:pt>
                <c:pt idx="4434">
                  <c:v>#N/A</c:v>
                </c:pt>
                <c:pt idx="4435">
                  <c:v>#N/A</c:v>
                </c:pt>
                <c:pt idx="4436">
                  <c:v>#N/A</c:v>
                </c:pt>
                <c:pt idx="4437">
                  <c:v>1.7287671232876711</c:v>
                </c:pt>
                <c:pt idx="4438">
                  <c:v>#N/A</c:v>
                </c:pt>
                <c:pt idx="4439">
                  <c:v>#N/A</c:v>
                </c:pt>
                <c:pt idx="4440">
                  <c:v>#N/A</c:v>
                </c:pt>
                <c:pt idx="4441">
                  <c:v>#N/A</c:v>
                </c:pt>
                <c:pt idx="4442">
                  <c:v>#N/A</c:v>
                </c:pt>
                <c:pt idx="4443">
                  <c:v>#N/A</c:v>
                </c:pt>
                <c:pt idx="4444">
                  <c:v>#N/A</c:v>
                </c:pt>
                <c:pt idx="4445">
                  <c:v>#N/A</c:v>
                </c:pt>
                <c:pt idx="4446">
                  <c:v>#N/A</c:v>
                </c:pt>
                <c:pt idx="4447">
                  <c:v>#N/A</c:v>
                </c:pt>
                <c:pt idx="4448">
                  <c:v>#N/A</c:v>
                </c:pt>
                <c:pt idx="4449">
                  <c:v>#N/A</c:v>
                </c:pt>
                <c:pt idx="4450">
                  <c:v>#N/A</c:v>
                </c:pt>
                <c:pt idx="4451">
                  <c:v>#N/A</c:v>
                </c:pt>
                <c:pt idx="4452">
                  <c:v>#N/A</c:v>
                </c:pt>
                <c:pt idx="4453">
                  <c:v>#N/A</c:v>
                </c:pt>
                <c:pt idx="4454">
                  <c:v>#N/A</c:v>
                </c:pt>
                <c:pt idx="4455">
                  <c:v>#N/A</c:v>
                </c:pt>
                <c:pt idx="4456">
                  <c:v>#N/A</c:v>
                </c:pt>
                <c:pt idx="4457">
                  <c:v>#N/A</c:v>
                </c:pt>
                <c:pt idx="4458">
                  <c:v>#N/A</c:v>
                </c:pt>
                <c:pt idx="4459">
                  <c:v>#N/A</c:v>
                </c:pt>
                <c:pt idx="4460">
                  <c:v>1.7315068493150685</c:v>
                </c:pt>
                <c:pt idx="4461">
                  <c:v>#N/A</c:v>
                </c:pt>
                <c:pt idx="4462">
                  <c:v>#N/A</c:v>
                </c:pt>
                <c:pt idx="4463">
                  <c:v>#N/A</c:v>
                </c:pt>
                <c:pt idx="4464">
                  <c:v>#N/A</c:v>
                </c:pt>
                <c:pt idx="4465">
                  <c:v>#N/A</c:v>
                </c:pt>
                <c:pt idx="4466">
                  <c:v>#N/A</c:v>
                </c:pt>
                <c:pt idx="4467">
                  <c:v>#N/A</c:v>
                </c:pt>
                <c:pt idx="4468">
                  <c:v>#N/A</c:v>
                </c:pt>
                <c:pt idx="4469">
                  <c:v>#N/A</c:v>
                </c:pt>
                <c:pt idx="4470">
                  <c:v>#N/A</c:v>
                </c:pt>
                <c:pt idx="4471">
                  <c:v>#N/A</c:v>
                </c:pt>
                <c:pt idx="4472">
                  <c:v>#N/A</c:v>
                </c:pt>
                <c:pt idx="4473">
                  <c:v>#N/A</c:v>
                </c:pt>
                <c:pt idx="4474">
                  <c:v>#N/A</c:v>
                </c:pt>
                <c:pt idx="4475">
                  <c:v>#N/A</c:v>
                </c:pt>
                <c:pt idx="4476">
                  <c:v>#N/A</c:v>
                </c:pt>
                <c:pt idx="4477">
                  <c:v>#N/A</c:v>
                </c:pt>
                <c:pt idx="4478">
                  <c:v>#N/A</c:v>
                </c:pt>
                <c:pt idx="4479">
                  <c:v>#N/A</c:v>
                </c:pt>
                <c:pt idx="4480">
                  <c:v>#N/A</c:v>
                </c:pt>
                <c:pt idx="4481">
                  <c:v>#N/A</c:v>
                </c:pt>
                <c:pt idx="4482">
                  <c:v>#N/A</c:v>
                </c:pt>
                <c:pt idx="4483">
                  <c:v>#N/A</c:v>
                </c:pt>
                <c:pt idx="4484">
                  <c:v>#N/A</c:v>
                </c:pt>
                <c:pt idx="4485">
                  <c:v>#N/A</c:v>
                </c:pt>
                <c:pt idx="4486">
                  <c:v>#N/A</c:v>
                </c:pt>
                <c:pt idx="4487">
                  <c:v>#N/A</c:v>
                </c:pt>
                <c:pt idx="4488">
                  <c:v>#N/A</c:v>
                </c:pt>
                <c:pt idx="4489">
                  <c:v>#N/A</c:v>
                </c:pt>
                <c:pt idx="4490">
                  <c:v>#N/A</c:v>
                </c:pt>
                <c:pt idx="4491">
                  <c:v>#N/A</c:v>
                </c:pt>
                <c:pt idx="4492">
                  <c:v>#N/A</c:v>
                </c:pt>
                <c:pt idx="4493">
                  <c:v>#N/A</c:v>
                </c:pt>
                <c:pt idx="4494">
                  <c:v>#N/A</c:v>
                </c:pt>
                <c:pt idx="4495">
                  <c:v>#N/A</c:v>
                </c:pt>
                <c:pt idx="4496">
                  <c:v>#N/A</c:v>
                </c:pt>
                <c:pt idx="4497">
                  <c:v>#N/A</c:v>
                </c:pt>
                <c:pt idx="4498">
                  <c:v>#N/A</c:v>
                </c:pt>
                <c:pt idx="4499">
                  <c:v>#N/A</c:v>
                </c:pt>
                <c:pt idx="4500">
                  <c:v>#N/A</c:v>
                </c:pt>
                <c:pt idx="4501">
                  <c:v>#N/A</c:v>
                </c:pt>
                <c:pt idx="4502">
                  <c:v>#N/A</c:v>
                </c:pt>
                <c:pt idx="4503">
                  <c:v>#N/A</c:v>
                </c:pt>
                <c:pt idx="4504">
                  <c:v>#N/A</c:v>
                </c:pt>
                <c:pt idx="4505">
                  <c:v>#N/A</c:v>
                </c:pt>
                <c:pt idx="4506">
                  <c:v>#N/A</c:v>
                </c:pt>
                <c:pt idx="4507">
                  <c:v>#N/A</c:v>
                </c:pt>
                <c:pt idx="4508">
                  <c:v>#N/A</c:v>
                </c:pt>
                <c:pt idx="4509">
                  <c:v>#N/A</c:v>
                </c:pt>
                <c:pt idx="4510">
                  <c:v>#N/A</c:v>
                </c:pt>
                <c:pt idx="4511">
                  <c:v>#N/A</c:v>
                </c:pt>
                <c:pt idx="4512">
                  <c:v>#N/A</c:v>
                </c:pt>
                <c:pt idx="4513">
                  <c:v>#N/A</c:v>
                </c:pt>
                <c:pt idx="4514">
                  <c:v>#N/A</c:v>
                </c:pt>
                <c:pt idx="4515">
                  <c:v>#N/A</c:v>
                </c:pt>
                <c:pt idx="4516">
                  <c:v>#N/A</c:v>
                </c:pt>
                <c:pt idx="4517">
                  <c:v>#N/A</c:v>
                </c:pt>
                <c:pt idx="4518">
                  <c:v>#N/A</c:v>
                </c:pt>
                <c:pt idx="4519">
                  <c:v>#N/A</c:v>
                </c:pt>
                <c:pt idx="4520">
                  <c:v>#N/A</c:v>
                </c:pt>
                <c:pt idx="4521">
                  <c:v>#N/A</c:v>
                </c:pt>
                <c:pt idx="4522">
                  <c:v>#N/A</c:v>
                </c:pt>
                <c:pt idx="4523">
                  <c:v>#N/A</c:v>
                </c:pt>
                <c:pt idx="4524">
                  <c:v>#N/A</c:v>
                </c:pt>
                <c:pt idx="4525">
                  <c:v>#N/A</c:v>
                </c:pt>
                <c:pt idx="4526">
                  <c:v>#N/A</c:v>
                </c:pt>
                <c:pt idx="4527">
                  <c:v>#N/A</c:v>
                </c:pt>
                <c:pt idx="4528">
                  <c:v>#N/A</c:v>
                </c:pt>
                <c:pt idx="4529">
                  <c:v>#N/A</c:v>
                </c:pt>
                <c:pt idx="4530">
                  <c:v>#N/A</c:v>
                </c:pt>
                <c:pt idx="4531">
                  <c:v>#N/A</c:v>
                </c:pt>
                <c:pt idx="4532">
                  <c:v>#N/A</c:v>
                </c:pt>
                <c:pt idx="4533">
                  <c:v>#N/A</c:v>
                </c:pt>
                <c:pt idx="4534">
                  <c:v>#N/A</c:v>
                </c:pt>
                <c:pt idx="4535">
                  <c:v>#N/A</c:v>
                </c:pt>
                <c:pt idx="4536">
                  <c:v>#N/A</c:v>
                </c:pt>
                <c:pt idx="4537">
                  <c:v>#N/A</c:v>
                </c:pt>
                <c:pt idx="4538">
                  <c:v>#N/A</c:v>
                </c:pt>
                <c:pt idx="4539">
                  <c:v>#N/A</c:v>
                </c:pt>
                <c:pt idx="4540">
                  <c:v>#N/A</c:v>
                </c:pt>
                <c:pt idx="4541">
                  <c:v>#N/A</c:v>
                </c:pt>
                <c:pt idx="4542">
                  <c:v>#N/A</c:v>
                </c:pt>
                <c:pt idx="4543">
                  <c:v>#N/A</c:v>
                </c:pt>
                <c:pt idx="4544">
                  <c:v>#N/A</c:v>
                </c:pt>
                <c:pt idx="4545">
                  <c:v>#N/A</c:v>
                </c:pt>
                <c:pt idx="4546">
                  <c:v>#N/A</c:v>
                </c:pt>
                <c:pt idx="4547">
                  <c:v>#N/A</c:v>
                </c:pt>
                <c:pt idx="4548">
                  <c:v>#N/A</c:v>
                </c:pt>
                <c:pt idx="4549">
                  <c:v>#N/A</c:v>
                </c:pt>
                <c:pt idx="4550">
                  <c:v>#N/A</c:v>
                </c:pt>
                <c:pt idx="4551">
                  <c:v>#N/A</c:v>
                </c:pt>
                <c:pt idx="4552">
                  <c:v>#N/A</c:v>
                </c:pt>
                <c:pt idx="4553">
                  <c:v>#N/A</c:v>
                </c:pt>
                <c:pt idx="4554">
                  <c:v>#N/A</c:v>
                </c:pt>
                <c:pt idx="4555">
                  <c:v>#N/A</c:v>
                </c:pt>
                <c:pt idx="4556">
                  <c:v>#N/A</c:v>
                </c:pt>
                <c:pt idx="4557">
                  <c:v>#N/A</c:v>
                </c:pt>
                <c:pt idx="4558">
                  <c:v>#N/A</c:v>
                </c:pt>
                <c:pt idx="4559">
                  <c:v>#N/A</c:v>
                </c:pt>
                <c:pt idx="4560">
                  <c:v>#N/A</c:v>
                </c:pt>
                <c:pt idx="4561">
                  <c:v>#N/A</c:v>
                </c:pt>
                <c:pt idx="4562">
                  <c:v>#N/A</c:v>
                </c:pt>
                <c:pt idx="4563">
                  <c:v>#N/A</c:v>
                </c:pt>
                <c:pt idx="4564">
                  <c:v>#N/A</c:v>
                </c:pt>
                <c:pt idx="4565">
                  <c:v>#N/A</c:v>
                </c:pt>
                <c:pt idx="4566">
                  <c:v>#N/A</c:v>
                </c:pt>
                <c:pt idx="4567">
                  <c:v>#N/A</c:v>
                </c:pt>
                <c:pt idx="4568">
                  <c:v>#N/A</c:v>
                </c:pt>
                <c:pt idx="4569">
                  <c:v>#N/A</c:v>
                </c:pt>
                <c:pt idx="4570">
                  <c:v>#N/A</c:v>
                </c:pt>
                <c:pt idx="4571">
                  <c:v>#N/A</c:v>
                </c:pt>
                <c:pt idx="4572">
                  <c:v>#N/A</c:v>
                </c:pt>
                <c:pt idx="4573">
                  <c:v>#N/A</c:v>
                </c:pt>
                <c:pt idx="4574">
                  <c:v>#N/A</c:v>
                </c:pt>
                <c:pt idx="4575">
                  <c:v>#N/A</c:v>
                </c:pt>
                <c:pt idx="4576">
                  <c:v>#N/A</c:v>
                </c:pt>
                <c:pt idx="4577">
                  <c:v>#N/A</c:v>
                </c:pt>
                <c:pt idx="4578">
                  <c:v>#N/A</c:v>
                </c:pt>
                <c:pt idx="4579">
                  <c:v>#N/A</c:v>
                </c:pt>
                <c:pt idx="4580">
                  <c:v>#N/A</c:v>
                </c:pt>
                <c:pt idx="4581">
                  <c:v>#N/A</c:v>
                </c:pt>
                <c:pt idx="4582">
                  <c:v>#N/A</c:v>
                </c:pt>
                <c:pt idx="4583">
                  <c:v>#N/A</c:v>
                </c:pt>
                <c:pt idx="4584">
                  <c:v>#N/A</c:v>
                </c:pt>
                <c:pt idx="4585">
                  <c:v>#N/A</c:v>
                </c:pt>
                <c:pt idx="4586">
                  <c:v>1.7863013698630137</c:v>
                </c:pt>
                <c:pt idx="4587">
                  <c:v>#N/A</c:v>
                </c:pt>
                <c:pt idx="4588">
                  <c:v>#N/A</c:v>
                </c:pt>
                <c:pt idx="4589">
                  <c:v>#N/A</c:v>
                </c:pt>
                <c:pt idx="4590">
                  <c:v>#N/A</c:v>
                </c:pt>
                <c:pt idx="4591">
                  <c:v>#N/A</c:v>
                </c:pt>
                <c:pt idx="4592">
                  <c:v>#N/A</c:v>
                </c:pt>
                <c:pt idx="4593">
                  <c:v>#N/A</c:v>
                </c:pt>
                <c:pt idx="4594">
                  <c:v>#N/A</c:v>
                </c:pt>
                <c:pt idx="4595">
                  <c:v>#N/A</c:v>
                </c:pt>
                <c:pt idx="4596">
                  <c:v>#N/A</c:v>
                </c:pt>
                <c:pt idx="4597">
                  <c:v>#N/A</c:v>
                </c:pt>
                <c:pt idx="4598">
                  <c:v>#N/A</c:v>
                </c:pt>
                <c:pt idx="4599">
                  <c:v>#N/A</c:v>
                </c:pt>
                <c:pt idx="4600">
                  <c:v>#N/A</c:v>
                </c:pt>
                <c:pt idx="4601">
                  <c:v>#N/A</c:v>
                </c:pt>
                <c:pt idx="4602">
                  <c:v>1.8</c:v>
                </c:pt>
                <c:pt idx="4603">
                  <c:v>#N/A</c:v>
                </c:pt>
                <c:pt idx="4604">
                  <c:v>#N/A</c:v>
                </c:pt>
                <c:pt idx="4605">
                  <c:v>#N/A</c:v>
                </c:pt>
                <c:pt idx="4606">
                  <c:v>#N/A</c:v>
                </c:pt>
                <c:pt idx="4607">
                  <c:v>#N/A</c:v>
                </c:pt>
                <c:pt idx="4608">
                  <c:v>#N/A</c:v>
                </c:pt>
                <c:pt idx="4609">
                  <c:v>#N/A</c:v>
                </c:pt>
                <c:pt idx="4610">
                  <c:v>#N/A</c:v>
                </c:pt>
                <c:pt idx="4611">
                  <c:v>#N/A</c:v>
                </c:pt>
                <c:pt idx="4612">
                  <c:v>#N/A</c:v>
                </c:pt>
                <c:pt idx="4613">
                  <c:v>#N/A</c:v>
                </c:pt>
                <c:pt idx="4614">
                  <c:v>1.8136986301369864</c:v>
                </c:pt>
                <c:pt idx="4615">
                  <c:v>#N/A</c:v>
                </c:pt>
                <c:pt idx="4616">
                  <c:v>#N/A</c:v>
                </c:pt>
                <c:pt idx="4617">
                  <c:v>#N/A</c:v>
                </c:pt>
                <c:pt idx="4618">
                  <c:v>#N/A</c:v>
                </c:pt>
                <c:pt idx="4619">
                  <c:v>#N/A</c:v>
                </c:pt>
                <c:pt idx="4620">
                  <c:v>#N/A</c:v>
                </c:pt>
                <c:pt idx="4621">
                  <c:v>#N/A</c:v>
                </c:pt>
                <c:pt idx="4622">
                  <c:v>#N/A</c:v>
                </c:pt>
                <c:pt idx="4623">
                  <c:v>#N/A</c:v>
                </c:pt>
                <c:pt idx="4624">
                  <c:v>#N/A</c:v>
                </c:pt>
                <c:pt idx="4625">
                  <c:v>1.821917808219178</c:v>
                </c:pt>
                <c:pt idx="4626">
                  <c:v>#N/A</c:v>
                </c:pt>
                <c:pt idx="4627">
                  <c:v>#N/A</c:v>
                </c:pt>
                <c:pt idx="4628">
                  <c:v>#N/A</c:v>
                </c:pt>
                <c:pt idx="4629">
                  <c:v>#N/A</c:v>
                </c:pt>
                <c:pt idx="4630">
                  <c:v>#N/A</c:v>
                </c:pt>
                <c:pt idx="4631">
                  <c:v>#N/A</c:v>
                </c:pt>
                <c:pt idx="4632">
                  <c:v>#N/A</c:v>
                </c:pt>
                <c:pt idx="4633">
                  <c:v>#N/A</c:v>
                </c:pt>
                <c:pt idx="4634">
                  <c:v>#N/A</c:v>
                </c:pt>
                <c:pt idx="4635">
                  <c:v>#N/A</c:v>
                </c:pt>
                <c:pt idx="4636">
                  <c:v>#N/A</c:v>
                </c:pt>
                <c:pt idx="4637">
                  <c:v>#N/A</c:v>
                </c:pt>
                <c:pt idx="4638">
                  <c:v>#N/A</c:v>
                </c:pt>
                <c:pt idx="4639">
                  <c:v>#N/A</c:v>
                </c:pt>
                <c:pt idx="4640">
                  <c:v>#N/A</c:v>
                </c:pt>
                <c:pt idx="4641">
                  <c:v>#N/A</c:v>
                </c:pt>
                <c:pt idx="4642">
                  <c:v>#N/A</c:v>
                </c:pt>
                <c:pt idx="4643">
                  <c:v>1.8273972602739725</c:v>
                </c:pt>
                <c:pt idx="4644">
                  <c:v>#N/A</c:v>
                </c:pt>
                <c:pt idx="4645">
                  <c:v>#N/A</c:v>
                </c:pt>
                <c:pt idx="4646">
                  <c:v>#N/A</c:v>
                </c:pt>
                <c:pt idx="4647">
                  <c:v>#N/A</c:v>
                </c:pt>
                <c:pt idx="4648">
                  <c:v>#N/A</c:v>
                </c:pt>
                <c:pt idx="4649">
                  <c:v>#N/A</c:v>
                </c:pt>
                <c:pt idx="4650">
                  <c:v>#N/A</c:v>
                </c:pt>
                <c:pt idx="4651">
                  <c:v>#N/A</c:v>
                </c:pt>
                <c:pt idx="4652">
                  <c:v>#N/A</c:v>
                </c:pt>
                <c:pt idx="4653">
                  <c:v>#N/A</c:v>
                </c:pt>
                <c:pt idx="4654">
                  <c:v>#N/A</c:v>
                </c:pt>
                <c:pt idx="4655">
                  <c:v>#N/A</c:v>
                </c:pt>
                <c:pt idx="4656">
                  <c:v>#N/A</c:v>
                </c:pt>
                <c:pt idx="4657">
                  <c:v>#N/A</c:v>
                </c:pt>
                <c:pt idx="4658">
                  <c:v>#N/A</c:v>
                </c:pt>
                <c:pt idx="4659">
                  <c:v>#N/A</c:v>
                </c:pt>
                <c:pt idx="4660">
                  <c:v>#N/A</c:v>
                </c:pt>
                <c:pt idx="4661">
                  <c:v>#N/A</c:v>
                </c:pt>
                <c:pt idx="4662">
                  <c:v>#N/A</c:v>
                </c:pt>
                <c:pt idx="4663">
                  <c:v>#N/A</c:v>
                </c:pt>
                <c:pt idx="4664">
                  <c:v>#N/A</c:v>
                </c:pt>
                <c:pt idx="4665">
                  <c:v>#N/A</c:v>
                </c:pt>
                <c:pt idx="4666">
                  <c:v>1.8602739726027397</c:v>
                </c:pt>
                <c:pt idx="4667">
                  <c:v>#N/A</c:v>
                </c:pt>
                <c:pt idx="4668">
                  <c:v>#N/A</c:v>
                </c:pt>
                <c:pt idx="4669">
                  <c:v>#N/A</c:v>
                </c:pt>
                <c:pt idx="4670">
                  <c:v>#N/A</c:v>
                </c:pt>
                <c:pt idx="4671">
                  <c:v>#N/A</c:v>
                </c:pt>
                <c:pt idx="4672">
                  <c:v>#N/A</c:v>
                </c:pt>
                <c:pt idx="4673">
                  <c:v>#N/A</c:v>
                </c:pt>
                <c:pt idx="4674">
                  <c:v>#N/A</c:v>
                </c:pt>
                <c:pt idx="4675">
                  <c:v>#N/A</c:v>
                </c:pt>
                <c:pt idx="4676">
                  <c:v>#N/A</c:v>
                </c:pt>
                <c:pt idx="4677">
                  <c:v>#N/A</c:v>
                </c:pt>
                <c:pt idx="4678">
                  <c:v>1.8630136986301369</c:v>
                </c:pt>
                <c:pt idx="4679">
                  <c:v>#N/A</c:v>
                </c:pt>
                <c:pt idx="4680">
                  <c:v>#N/A</c:v>
                </c:pt>
                <c:pt idx="4681">
                  <c:v>#N/A</c:v>
                </c:pt>
                <c:pt idx="4682">
                  <c:v>#N/A</c:v>
                </c:pt>
                <c:pt idx="4683">
                  <c:v>#N/A</c:v>
                </c:pt>
                <c:pt idx="4684">
                  <c:v>#N/A</c:v>
                </c:pt>
                <c:pt idx="4685">
                  <c:v>#N/A</c:v>
                </c:pt>
                <c:pt idx="4686">
                  <c:v>#N/A</c:v>
                </c:pt>
                <c:pt idx="4687">
                  <c:v>#N/A</c:v>
                </c:pt>
                <c:pt idx="4688">
                  <c:v>#N/A</c:v>
                </c:pt>
                <c:pt idx="4689">
                  <c:v>#N/A</c:v>
                </c:pt>
                <c:pt idx="4690">
                  <c:v>#N/A</c:v>
                </c:pt>
                <c:pt idx="4691">
                  <c:v>#N/A</c:v>
                </c:pt>
                <c:pt idx="4692">
                  <c:v>#N/A</c:v>
                </c:pt>
                <c:pt idx="4693">
                  <c:v>#N/A</c:v>
                </c:pt>
                <c:pt idx="4694">
                  <c:v>#N/A</c:v>
                </c:pt>
                <c:pt idx="4695">
                  <c:v>1.8767123287671232</c:v>
                </c:pt>
                <c:pt idx="4696">
                  <c:v>#N/A</c:v>
                </c:pt>
                <c:pt idx="4697">
                  <c:v>#N/A</c:v>
                </c:pt>
                <c:pt idx="4698">
                  <c:v>#N/A</c:v>
                </c:pt>
                <c:pt idx="4699">
                  <c:v>#N/A</c:v>
                </c:pt>
                <c:pt idx="4700">
                  <c:v>#N/A</c:v>
                </c:pt>
                <c:pt idx="4701">
                  <c:v>#N/A</c:v>
                </c:pt>
                <c:pt idx="4702">
                  <c:v>#N/A</c:v>
                </c:pt>
                <c:pt idx="4703">
                  <c:v>#N/A</c:v>
                </c:pt>
                <c:pt idx="4704">
                  <c:v>#N/A</c:v>
                </c:pt>
                <c:pt idx="4705">
                  <c:v>#N/A</c:v>
                </c:pt>
                <c:pt idx="4706">
                  <c:v>#N/A</c:v>
                </c:pt>
                <c:pt idx="4707">
                  <c:v>#N/A</c:v>
                </c:pt>
                <c:pt idx="4708">
                  <c:v>#N/A</c:v>
                </c:pt>
                <c:pt idx="4709">
                  <c:v>#N/A</c:v>
                </c:pt>
                <c:pt idx="4710">
                  <c:v>#N/A</c:v>
                </c:pt>
                <c:pt idx="4711">
                  <c:v>#N/A</c:v>
                </c:pt>
                <c:pt idx="4712">
                  <c:v>#N/A</c:v>
                </c:pt>
                <c:pt idx="4713">
                  <c:v>#N/A</c:v>
                </c:pt>
                <c:pt idx="4714">
                  <c:v>#N/A</c:v>
                </c:pt>
                <c:pt idx="4715">
                  <c:v>#N/A</c:v>
                </c:pt>
                <c:pt idx="4716">
                  <c:v>#N/A</c:v>
                </c:pt>
                <c:pt idx="4717">
                  <c:v>#N/A</c:v>
                </c:pt>
                <c:pt idx="4718">
                  <c:v>#N/A</c:v>
                </c:pt>
                <c:pt idx="4719">
                  <c:v>#N/A</c:v>
                </c:pt>
                <c:pt idx="4720">
                  <c:v>#N/A</c:v>
                </c:pt>
                <c:pt idx="4721">
                  <c:v>#N/A</c:v>
                </c:pt>
                <c:pt idx="4722">
                  <c:v>#N/A</c:v>
                </c:pt>
                <c:pt idx="4723">
                  <c:v>#N/A</c:v>
                </c:pt>
                <c:pt idx="4724">
                  <c:v>#N/A</c:v>
                </c:pt>
                <c:pt idx="4725">
                  <c:v>#N/A</c:v>
                </c:pt>
                <c:pt idx="4726">
                  <c:v>#N/A</c:v>
                </c:pt>
                <c:pt idx="4727">
                  <c:v>#N/A</c:v>
                </c:pt>
                <c:pt idx="4728">
                  <c:v>#N/A</c:v>
                </c:pt>
                <c:pt idx="4729">
                  <c:v>#N/A</c:v>
                </c:pt>
                <c:pt idx="4730">
                  <c:v>#N/A</c:v>
                </c:pt>
                <c:pt idx="4731">
                  <c:v>#N/A</c:v>
                </c:pt>
                <c:pt idx="4732">
                  <c:v>#N/A</c:v>
                </c:pt>
                <c:pt idx="4733">
                  <c:v>#N/A</c:v>
                </c:pt>
                <c:pt idx="4734">
                  <c:v>#N/A</c:v>
                </c:pt>
                <c:pt idx="4735">
                  <c:v>#N/A</c:v>
                </c:pt>
                <c:pt idx="4736">
                  <c:v>#N/A</c:v>
                </c:pt>
                <c:pt idx="4737">
                  <c:v>#N/A</c:v>
                </c:pt>
                <c:pt idx="4738">
                  <c:v>#N/A</c:v>
                </c:pt>
                <c:pt idx="4739">
                  <c:v>#N/A</c:v>
                </c:pt>
                <c:pt idx="4740">
                  <c:v>#N/A</c:v>
                </c:pt>
                <c:pt idx="4741">
                  <c:v>#N/A</c:v>
                </c:pt>
                <c:pt idx="4742">
                  <c:v>#N/A</c:v>
                </c:pt>
                <c:pt idx="4743">
                  <c:v>#N/A</c:v>
                </c:pt>
                <c:pt idx="4744">
                  <c:v>#N/A</c:v>
                </c:pt>
                <c:pt idx="4745">
                  <c:v>#N/A</c:v>
                </c:pt>
                <c:pt idx="4746">
                  <c:v>#N/A</c:v>
                </c:pt>
                <c:pt idx="4747">
                  <c:v>#N/A</c:v>
                </c:pt>
                <c:pt idx="4748">
                  <c:v>#N/A</c:v>
                </c:pt>
                <c:pt idx="4749">
                  <c:v>#N/A</c:v>
                </c:pt>
                <c:pt idx="4750">
                  <c:v>#N/A</c:v>
                </c:pt>
                <c:pt idx="4751">
                  <c:v>#N/A</c:v>
                </c:pt>
                <c:pt idx="4752">
                  <c:v>#N/A</c:v>
                </c:pt>
                <c:pt idx="4753">
                  <c:v>#N/A</c:v>
                </c:pt>
                <c:pt idx="4754">
                  <c:v>#N/A</c:v>
                </c:pt>
                <c:pt idx="4755">
                  <c:v>#N/A</c:v>
                </c:pt>
                <c:pt idx="4756">
                  <c:v>#N/A</c:v>
                </c:pt>
                <c:pt idx="4757">
                  <c:v>#N/A</c:v>
                </c:pt>
                <c:pt idx="4758">
                  <c:v>#N/A</c:v>
                </c:pt>
                <c:pt idx="4759">
                  <c:v>1.9315068493150684</c:v>
                </c:pt>
                <c:pt idx="4760">
                  <c:v>#N/A</c:v>
                </c:pt>
                <c:pt idx="4761">
                  <c:v>#N/A</c:v>
                </c:pt>
                <c:pt idx="4762">
                  <c:v>#N/A</c:v>
                </c:pt>
                <c:pt idx="4763">
                  <c:v>#N/A</c:v>
                </c:pt>
                <c:pt idx="4764">
                  <c:v>#N/A</c:v>
                </c:pt>
                <c:pt idx="4765">
                  <c:v>#N/A</c:v>
                </c:pt>
                <c:pt idx="4766">
                  <c:v>#N/A</c:v>
                </c:pt>
                <c:pt idx="4767">
                  <c:v>#N/A</c:v>
                </c:pt>
                <c:pt idx="4768">
                  <c:v>#N/A</c:v>
                </c:pt>
                <c:pt idx="4769">
                  <c:v>1.9424657534246574</c:v>
                </c:pt>
                <c:pt idx="4770">
                  <c:v>#N/A</c:v>
                </c:pt>
                <c:pt idx="4771">
                  <c:v>#N/A</c:v>
                </c:pt>
                <c:pt idx="4772">
                  <c:v>#N/A</c:v>
                </c:pt>
                <c:pt idx="4773">
                  <c:v>#N/A</c:v>
                </c:pt>
                <c:pt idx="4774">
                  <c:v>#N/A</c:v>
                </c:pt>
                <c:pt idx="4775">
                  <c:v>#N/A</c:v>
                </c:pt>
                <c:pt idx="4776">
                  <c:v>#N/A</c:v>
                </c:pt>
                <c:pt idx="4777">
                  <c:v>1.9506849315068493</c:v>
                </c:pt>
                <c:pt idx="4778">
                  <c:v>#N/A</c:v>
                </c:pt>
                <c:pt idx="4779">
                  <c:v>#N/A</c:v>
                </c:pt>
                <c:pt idx="4780">
                  <c:v>#N/A</c:v>
                </c:pt>
                <c:pt idx="4781">
                  <c:v>#N/A</c:v>
                </c:pt>
                <c:pt idx="4782">
                  <c:v>#N/A</c:v>
                </c:pt>
                <c:pt idx="4783">
                  <c:v>#N/A</c:v>
                </c:pt>
                <c:pt idx="4784">
                  <c:v>#N/A</c:v>
                </c:pt>
                <c:pt idx="4785">
                  <c:v>#N/A</c:v>
                </c:pt>
                <c:pt idx="4786">
                  <c:v>#N/A</c:v>
                </c:pt>
                <c:pt idx="4787">
                  <c:v>#N/A</c:v>
                </c:pt>
                <c:pt idx="4788">
                  <c:v>#N/A</c:v>
                </c:pt>
                <c:pt idx="4789">
                  <c:v>#N/A</c:v>
                </c:pt>
                <c:pt idx="4790">
                  <c:v>#N/A</c:v>
                </c:pt>
                <c:pt idx="4791">
                  <c:v>#N/A</c:v>
                </c:pt>
                <c:pt idx="4792">
                  <c:v>#N/A</c:v>
                </c:pt>
                <c:pt idx="4793">
                  <c:v>#N/A</c:v>
                </c:pt>
                <c:pt idx="4794">
                  <c:v>#N/A</c:v>
                </c:pt>
                <c:pt idx="4795">
                  <c:v>#N/A</c:v>
                </c:pt>
                <c:pt idx="4796">
                  <c:v>1.9726027397260273</c:v>
                </c:pt>
                <c:pt idx="4797">
                  <c:v>#N/A</c:v>
                </c:pt>
                <c:pt idx="4798">
                  <c:v>#N/A</c:v>
                </c:pt>
                <c:pt idx="4799">
                  <c:v>#N/A</c:v>
                </c:pt>
                <c:pt idx="4800">
                  <c:v>#N/A</c:v>
                </c:pt>
                <c:pt idx="4801">
                  <c:v>#N/A</c:v>
                </c:pt>
                <c:pt idx="4802">
                  <c:v>#N/A</c:v>
                </c:pt>
                <c:pt idx="4803">
                  <c:v>#N/A</c:v>
                </c:pt>
                <c:pt idx="4804">
                  <c:v>#N/A</c:v>
                </c:pt>
                <c:pt idx="4805">
                  <c:v>#N/A</c:v>
                </c:pt>
                <c:pt idx="4806">
                  <c:v>#N/A</c:v>
                </c:pt>
                <c:pt idx="4807">
                  <c:v>#N/A</c:v>
                </c:pt>
                <c:pt idx="4808">
                  <c:v>#N/A</c:v>
                </c:pt>
                <c:pt idx="4809">
                  <c:v>#N/A</c:v>
                </c:pt>
                <c:pt idx="4810">
                  <c:v>#N/A</c:v>
                </c:pt>
                <c:pt idx="4811">
                  <c:v>#N/A</c:v>
                </c:pt>
                <c:pt idx="4812">
                  <c:v>#N/A</c:v>
                </c:pt>
                <c:pt idx="4813">
                  <c:v>#N/A</c:v>
                </c:pt>
                <c:pt idx="4814">
                  <c:v>#N/A</c:v>
                </c:pt>
                <c:pt idx="4815">
                  <c:v>#N/A</c:v>
                </c:pt>
                <c:pt idx="4816">
                  <c:v>#N/A</c:v>
                </c:pt>
                <c:pt idx="4817">
                  <c:v>#N/A</c:v>
                </c:pt>
                <c:pt idx="4818">
                  <c:v>#N/A</c:v>
                </c:pt>
                <c:pt idx="4819">
                  <c:v>#N/A</c:v>
                </c:pt>
                <c:pt idx="4820">
                  <c:v>#N/A</c:v>
                </c:pt>
                <c:pt idx="4821">
                  <c:v>#N/A</c:v>
                </c:pt>
                <c:pt idx="4822">
                  <c:v>#N/A</c:v>
                </c:pt>
                <c:pt idx="4823">
                  <c:v>#N/A</c:v>
                </c:pt>
                <c:pt idx="4824">
                  <c:v>#N/A</c:v>
                </c:pt>
                <c:pt idx="4825">
                  <c:v>#N/A</c:v>
                </c:pt>
                <c:pt idx="4826">
                  <c:v>#N/A</c:v>
                </c:pt>
                <c:pt idx="4827">
                  <c:v>#N/A</c:v>
                </c:pt>
                <c:pt idx="4828">
                  <c:v>#N/A</c:v>
                </c:pt>
                <c:pt idx="4829">
                  <c:v>#N/A</c:v>
                </c:pt>
                <c:pt idx="4830">
                  <c:v>#N/A</c:v>
                </c:pt>
                <c:pt idx="4831">
                  <c:v>#N/A</c:v>
                </c:pt>
                <c:pt idx="4832">
                  <c:v>#N/A</c:v>
                </c:pt>
                <c:pt idx="4833">
                  <c:v>#N/A</c:v>
                </c:pt>
                <c:pt idx="4834">
                  <c:v>#N/A</c:v>
                </c:pt>
                <c:pt idx="4835">
                  <c:v>#N/A</c:v>
                </c:pt>
                <c:pt idx="4836">
                  <c:v>2.010958904109589</c:v>
                </c:pt>
                <c:pt idx="4837">
                  <c:v>#N/A</c:v>
                </c:pt>
                <c:pt idx="4838">
                  <c:v>#N/A</c:v>
                </c:pt>
                <c:pt idx="4839">
                  <c:v>#N/A</c:v>
                </c:pt>
                <c:pt idx="4840">
                  <c:v>#N/A</c:v>
                </c:pt>
                <c:pt idx="4841">
                  <c:v>#N/A</c:v>
                </c:pt>
                <c:pt idx="4842">
                  <c:v>#N/A</c:v>
                </c:pt>
                <c:pt idx="4843">
                  <c:v>#N/A</c:v>
                </c:pt>
                <c:pt idx="4844">
                  <c:v>#N/A</c:v>
                </c:pt>
                <c:pt idx="4845">
                  <c:v>#N/A</c:v>
                </c:pt>
                <c:pt idx="4846">
                  <c:v>#N/A</c:v>
                </c:pt>
                <c:pt idx="4847">
                  <c:v>2.0164383561643837</c:v>
                </c:pt>
                <c:pt idx="4848">
                  <c:v>2.0164383561643837</c:v>
                </c:pt>
                <c:pt idx="4849">
                  <c:v>2.0164383561643837</c:v>
                </c:pt>
                <c:pt idx="4850">
                  <c:v>2.0164383561643837</c:v>
                </c:pt>
                <c:pt idx="4851">
                  <c:v>2.0164383561643837</c:v>
                </c:pt>
                <c:pt idx="4852">
                  <c:v>2.0164383561643837</c:v>
                </c:pt>
                <c:pt idx="4853">
                  <c:v>2.0164383561643837</c:v>
                </c:pt>
                <c:pt idx="4854">
                  <c:v>2.0164383561643837</c:v>
                </c:pt>
                <c:pt idx="4855">
                  <c:v>2.0164383561643837</c:v>
                </c:pt>
                <c:pt idx="4856">
                  <c:v>2.0164383561643837</c:v>
                </c:pt>
                <c:pt idx="4857">
                  <c:v>#N/A</c:v>
                </c:pt>
                <c:pt idx="4858">
                  <c:v>#N/A</c:v>
                </c:pt>
                <c:pt idx="4859">
                  <c:v>#N/A</c:v>
                </c:pt>
                <c:pt idx="4860">
                  <c:v>#N/A</c:v>
                </c:pt>
                <c:pt idx="4861">
                  <c:v>#N/A</c:v>
                </c:pt>
                <c:pt idx="4862">
                  <c:v>#N/A</c:v>
                </c:pt>
                <c:pt idx="4863">
                  <c:v>#N/A</c:v>
                </c:pt>
                <c:pt idx="4864">
                  <c:v>#N/A</c:v>
                </c:pt>
                <c:pt idx="4865">
                  <c:v>#N/A</c:v>
                </c:pt>
                <c:pt idx="4866">
                  <c:v>#N/A</c:v>
                </c:pt>
                <c:pt idx="4867">
                  <c:v>#N/A</c:v>
                </c:pt>
                <c:pt idx="4868">
                  <c:v>#N/A</c:v>
                </c:pt>
                <c:pt idx="4869">
                  <c:v>#N/A</c:v>
                </c:pt>
                <c:pt idx="4870">
                  <c:v>#N/A</c:v>
                </c:pt>
                <c:pt idx="4871">
                  <c:v>#N/A</c:v>
                </c:pt>
                <c:pt idx="4872">
                  <c:v>#N/A</c:v>
                </c:pt>
                <c:pt idx="4873">
                  <c:v>#N/A</c:v>
                </c:pt>
                <c:pt idx="4874">
                  <c:v>#N/A</c:v>
                </c:pt>
                <c:pt idx="4875">
                  <c:v>#N/A</c:v>
                </c:pt>
                <c:pt idx="4876">
                  <c:v>#N/A</c:v>
                </c:pt>
                <c:pt idx="4877">
                  <c:v>#N/A</c:v>
                </c:pt>
                <c:pt idx="4878">
                  <c:v>#N/A</c:v>
                </c:pt>
                <c:pt idx="4879">
                  <c:v>#N/A</c:v>
                </c:pt>
                <c:pt idx="4880">
                  <c:v>2.032876712328767</c:v>
                </c:pt>
                <c:pt idx="4881">
                  <c:v>#N/A</c:v>
                </c:pt>
                <c:pt idx="4882">
                  <c:v>#N/A</c:v>
                </c:pt>
                <c:pt idx="4883">
                  <c:v>#N/A</c:v>
                </c:pt>
                <c:pt idx="4884">
                  <c:v>#N/A</c:v>
                </c:pt>
                <c:pt idx="4885">
                  <c:v>#N/A</c:v>
                </c:pt>
                <c:pt idx="4886">
                  <c:v>#N/A</c:v>
                </c:pt>
                <c:pt idx="4887">
                  <c:v>2.032876712328767</c:v>
                </c:pt>
                <c:pt idx="4888">
                  <c:v>#N/A</c:v>
                </c:pt>
                <c:pt idx="4889">
                  <c:v>#N/A</c:v>
                </c:pt>
                <c:pt idx="4890">
                  <c:v>#N/A</c:v>
                </c:pt>
                <c:pt idx="4891">
                  <c:v>#N/A</c:v>
                </c:pt>
                <c:pt idx="4892">
                  <c:v>#N/A</c:v>
                </c:pt>
                <c:pt idx="4893">
                  <c:v>#N/A</c:v>
                </c:pt>
                <c:pt idx="4894">
                  <c:v>#N/A</c:v>
                </c:pt>
                <c:pt idx="4895">
                  <c:v>#N/A</c:v>
                </c:pt>
                <c:pt idx="4896">
                  <c:v>#N/A</c:v>
                </c:pt>
                <c:pt idx="4897">
                  <c:v>#N/A</c:v>
                </c:pt>
                <c:pt idx="4898">
                  <c:v>#N/A</c:v>
                </c:pt>
                <c:pt idx="4899">
                  <c:v>#N/A</c:v>
                </c:pt>
                <c:pt idx="4900">
                  <c:v>#N/A</c:v>
                </c:pt>
                <c:pt idx="4901">
                  <c:v>#N/A</c:v>
                </c:pt>
                <c:pt idx="4902">
                  <c:v>#N/A</c:v>
                </c:pt>
                <c:pt idx="4903">
                  <c:v>#N/A</c:v>
                </c:pt>
                <c:pt idx="4904">
                  <c:v>#N/A</c:v>
                </c:pt>
                <c:pt idx="4905">
                  <c:v>#N/A</c:v>
                </c:pt>
                <c:pt idx="4906">
                  <c:v>#N/A</c:v>
                </c:pt>
                <c:pt idx="4907">
                  <c:v>#N/A</c:v>
                </c:pt>
                <c:pt idx="4908">
                  <c:v>#N/A</c:v>
                </c:pt>
                <c:pt idx="4909">
                  <c:v>#N/A</c:v>
                </c:pt>
                <c:pt idx="4910">
                  <c:v>#N/A</c:v>
                </c:pt>
                <c:pt idx="4911">
                  <c:v>#N/A</c:v>
                </c:pt>
                <c:pt idx="4912">
                  <c:v>#N/A</c:v>
                </c:pt>
                <c:pt idx="4913">
                  <c:v>#N/A</c:v>
                </c:pt>
                <c:pt idx="4914">
                  <c:v>#N/A</c:v>
                </c:pt>
                <c:pt idx="4915">
                  <c:v>#N/A</c:v>
                </c:pt>
                <c:pt idx="4916">
                  <c:v>#N/A</c:v>
                </c:pt>
                <c:pt idx="4917">
                  <c:v>#N/A</c:v>
                </c:pt>
                <c:pt idx="4918">
                  <c:v>#N/A</c:v>
                </c:pt>
                <c:pt idx="4919">
                  <c:v>#N/A</c:v>
                </c:pt>
                <c:pt idx="4920">
                  <c:v>#N/A</c:v>
                </c:pt>
                <c:pt idx="4921">
                  <c:v>#N/A</c:v>
                </c:pt>
                <c:pt idx="4922">
                  <c:v>#N/A</c:v>
                </c:pt>
                <c:pt idx="4923">
                  <c:v>#N/A</c:v>
                </c:pt>
                <c:pt idx="4924">
                  <c:v>#N/A</c:v>
                </c:pt>
                <c:pt idx="4925">
                  <c:v>#N/A</c:v>
                </c:pt>
                <c:pt idx="4926">
                  <c:v>#N/A</c:v>
                </c:pt>
                <c:pt idx="4927">
                  <c:v>#N/A</c:v>
                </c:pt>
                <c:pt idx="4928">
                  <c:v>#N/A</c:v>
                </c:pt>
                <c:pt idx="4929">
                  <c:v>#N/A</c:v>
                </c:pt>
                <c:pt idx="4930">
                  <c:v>#N/A</c:v>
                </c:pt>
                <c:pt idx="4931">
                  <c:v>#N/A</c:v>
                </c:pt>
                <c:pt idx="4932">
                  <c:v>#N/A</c:v>
                </c:pt>
                <c:pt idx="4933">
                  <c:v>#N/A</c:v>
                </c:pt>
                <c:pt idx="4934">
                  <c:v>#N/A</c:v>
                </c:pt>
                <c:pt idx="4935">
                  <c:v>#N/A</c:v>
                </c:pt>
                <c:pt idx="4936">
                  <c:v>#N/A</c:v>
                </c:pt>
                <c:pt idx="4937">
                  <c:v>#N/A</c:v>
                </c:pt>
                <c:pt idx="4938">
                  <c:v>#N/A</c:v>
                </c:pt>
                <c:pt idx="4939">
                  <c:v>#N/A</c:v>
                </c:pt>
                <c:pt idx="4940">
                  <c:v>#N/A</c:v>
                </c:pt>
                <c:pt idx="4941">
                  <c:v>#N/A</c:v>
                </c:pt>
                <c:pt idx="4942">
                  <c:v>#N/A</c:v>
                </c:pt>
                <c:pt idx="4943">
                  <c:v>#N/A</c:v>
                </c:pt>
                <c:pt idx="4944">
                  <c:v>#N/A</c:v>
                </c:pt>
                <c:pt idx="4945">
                  <c:v>#N/A</c:v>
                </c:pt>
                <c:pt idx="4946">
                  <c:v>#N/A</c:v>
                </c:pt>
                <c:pt idx="4947">
                  <c:v>#N/A</c:v>
                </c:pt>
                <c:pt idx="4948">
                  <c:v>#N/A</c:v>
                </c:pt>
                <c:pt idx="4949">
                  <c:v>#N/A</c:v>
                </c:pt>
                <c:pt idx="4950">
                  <c:v>#N/A</c:v>
                </c:pt>
                <c:pt idx="4951">
                  <c:v>#N/A</c:v>
                </c:pt>
                <c:pt idx="4952">
                  <c:v>#N/A</c:v>
                </c:pt>
                <c:pt idx="4953">
                  <c:v>#N/A</c:v>
                </c:pt>
                <c:pt idx="4954">
                  <c:v>2.0493150684931507</c:v>
                </c:pt>
                <c:pt idx="4955">
                  <c:v>#N/A</c:v>
                </c:pt>
                <c:pt idx="4956">
                  <c:v>2.0493150684931507</c:v>
                </c:pt>
                <c:pt idx="4957">
                  <c:v>#N/A</c:v>
                </c:pt>
                <c:pt idx="4958">
                  <c:v>#N/A</c:v>
                </c:pt>
                <c:pt idx="4959">
                  <c:v>#N/A</c:v>
                </c:pt>
                <c:pt idx="4960">
                  <c:v>#N/A</c:v>
                </c:pt>
                <c:pt idx="4961">
                  <c:v>#N/A</c:v>
                </c:pt>
                <c:pt idx="4962">
                  <c:v>#N/A</c:v>
                </c:pt>
                <c:pt idx="4963">
                  <c:v>#N/A</c:v>
                </c:pt>
                <c:pt idx="4964">
                  <c:v>#N/A</c:v>
                </c:pt>
                <c:pt idx="4965">
                  <c:v>#N/A</c:v>
                </c:pt>
                <c:pt idx="4966">
                  <c:v>#N/A</c:v>
                </c:pt>
                <c:pt idx="4967">
                  <c:v>#N/A</c:v>
                </c:pt>
                <c:pt idx="4968">
                  <c:v>#N/A</c:v>
                </c:pt>
                <c:pt idx="4969">
                  <c:v>#N/A</c:v>
                </c:pt>
                <c:pt idx="4970">
                  <c:v>#N/A</c:v>
                </c:pt>
                <c:pt idx="4971">
                  <c:v>#N/A</c:v>
                </c:pt>
                <c:pt idx="4972">
                  <c:v>#N/A</c:v>
                </c:pt>
                <c:pt idx="4973">
                  <c:v>#N/A</c:v>
                </c:pt>
                <c:pt idx="4974">
                  <c:v>#N/A</c:v>
                </c:pt>
                <c:pt idx="4975">
                  <c:v>#N/A</c:v>
                </c:pt>
                <c:pt idx="4976">
                  <c:v>#N/A</c:v>
                </c:pt>
                <c:pt idx="4977">
                  <c:v>#N/A</c:v>
                </c:pt>
                <c:pt idx="4978">
                  <c:v>#N/A</c:v>
                </c:pt>
                <c:pt idx="4979">
                  <c:v>#N/A</c:v>
                </c:pt>
                <c:pt idx="4980">
                  <c:v>#N/A</c:v>
                </c:pt>
                <c:pt idx="4981">
                  <c:v>#N/A</c:v>
                </c:pt>
                <c:pt idx="4982">
                  <c:v>#N/A</c:v>
                </c:pt>
                <c:pt idx="4983">
                  <c:v>#N/A</c:v>
                </c:pt>
                <c:pt idx="4984">
                  <c:v>#N/A</c:v>
                </c:pt>
                <c:pt idx="4985">
                  <c:v>#N/A</c:v>
                </c:pt>
                <c:pt idx="4986">
                  <c:v>#N/A</c:v>
                </c:pt>
                <c:pt idx="4987">
                  <c:v>#N/A</c:v>
                </c:pt>
                <c:pt idx="4988">
                  <c:v>#N/A</c:v>
                </c:pt>
                <c:pt idx="4989">
                  <c:v>#N/A</c:v>
                </c:pt>
                <c:pt idx="4990">
                  <c:v>#N/A</c:v>
                </c:pt>
                <c:pt idx="4991">
                  <c:v>#N/A</c:v>
                </c:pt>
                <c:pt idx="4992">
                  <c:v>#N/A</c:v>
                </c:pt>
                <c:pt idx="4993">
                  <c:v>#N/A</c:v>
                </c:pt>
                <c:pt idx="4994">
                  <c:v>#N/A</c:v>
                </c:pt>
                <c:pt idx="4995">
                  <c:v>#N/A</c:v>
                </c:pt>
                <c:pt idx="4996">
                  <c:v>#N/A</c:v>
                </c:pt>
                <c:pt idx="4997">
                  <c:v>#N/A</c:v>
                </c:pt>
                <c:pt idx="4998">
                  <c:v>#N/A</c:v>
                </c:pt>
                <c:pt idx="4999">
                  <c:v>#N/A</c:v>
                </c:pt>
                <c:pt idx="5000">
                  <c:v>#N/A</c:v>
                </c:pt>
                <c:pt idx="5001">
                  <c:v>#N/A</c:v>
                </c:pt>
                <c:pt idx="5002">
                  <c:v>#N/A</c:v>
                </c:pt>
                <c:pt idx="5003">
                  <c:v>#N/A</c:v>
                </c:pt>
                <c:pt idx="5004">
                  <c:v>#N/A</c:v>
                </c:pt>
                <c:pt idx="5005">
                  <c:v>#N/A</c:v>
                </c:pt>
                <c:pt idx="5006">
                  <c:v>#N/A</c:v>
                </c:pt>
                <c:pt idx="5007">
                  <c:v>#N/A</c:v>
                </c:pt>
                <c:pt idx="5008">
                  <c:v>#N/A</c:v>
                </c:pt>
                <c:pt idx="5009">
                  <c:v>#N/A</c:v>
                </c:pt>
                <c:pt idx="5010">
                  <c:v>#N/A</c:v>
                </c:pt>
                <c:pt idx="5011">
                  <c:v>#N/A</c:v>
                </c:pt>
                <c:pt idx="5012">
                  <c:v>#N/A</c:v>
                </c:pt>
                <c:pt idx="5013">
                  <c:v>2.0493150684931507</c:v>
                </c:pt>
                <c:pt idx="5014">
                  <c:v>#N/A</c:v>
                </c:pt>
                <c:pt idx="5015">
                  <c:v>#N/A</c:v>
                </c:pt>
                <c:pt idx="5016">
                  <c:v>#N/A</c:v>
                </c:pt>
                <c:pt idx="5017">
                  <c:v>#N/A</c:v>
                </c:pt>
                <c:pt idx="5018">
                  <c:v>#N/A</c:v>
                </c:pt>
                <c:pt idx="5019">
                  <c:v>#N/A</c:v>
                </c:pt>
                <c:pt idx="5020">
                  <c:v>#N/A</c:v>
                </c:pt>
                <c:pt idx="5021">
                  <c:v>#N/A</c:v>
                </c:pt>
                <c:pt idx="5022">
                  <c:v>#N/A</c:v>
                </c:pt>
                <c:pt idx="5023">
                  <c:v>#N/A</c:v>
                </c:pt>
                <c:pt idx="5024">
                  <c:v>#N/A</c:v>
                </c:pt>
                <c:pt idx="5025">
                  <c:v>#N/A</c:v>
                </c:pt>
                <c:pt idx="5026">
                  <c:v>#N/A</c:v>
                </c:pt>
                <c:pt idx="5027">
                  <c:v>#N/A</c:v>
                </c:pt>
                <c:pt idx="5028">
                  <c:v>#N/A</c:v>
                </c:pt>
                <c:pt idx="5029">
                  <c:v>#N/A</c:v>
                </c:pt>
                <c:pt idx="5030">
                  <c:v>#N/A</c:v>
                </c:pt>
                <c:pt idx="5031">
                  <c:v>#N/A</c:v>
                </c:pt>
                <c:pt idx="5032">
                  <c:v>#N/A</c:v>
                </c:pt>
                <c:pt idx="5033">
                  <c:v>#N/A</c:v>
                </c:pt>
                <c:pt idx="5034">
                  <c:v>2.0493150684931507</c:v>
                </c:pt>
                <c:pt idx="5035">
                  <c:v>#N/A</c:v>
                </c:pt>
                <c:pt idx="5036">
                  <c:v>#N/A</c:v>
                </c:pt>
                <c:pt idx="5037">
                  <c:v>#N/A</c:v>
                </c:pt>
                <c:pt idx="5038">
                  <c:v>#N/A</c:v>
                </c:pt>
                <c:pt idx="5039">
                  <c:v>#N/A</c:v>
                </c:pt>
                <c:pt idx="5040">
                  <c:v>#N/A</c:v>
                </c:pt>
                <c:pt idx="5041">
                  <c:v>#N/A</c:v>
                </c:pt>
                <c:pt idx="5042">
                  <c:v>#N/A</c:v>
                </c:pt>
                <c:pt idx="5043">
                  <c:v>#N/A</c:v>
                </c:pt>
                <c:pt idx="5044">
                  <c:v>#N/A</c:v>
                </c:pt>
                <c:pt idx="5045">
                  <c:v>#N/A</c:v>
                </c:pt>
                <c:pt idx="5046">
                  <c:v>#N/A</c:v>
                </c:pt>
                <c:pt idx="5047">
                  <c:v>#N/A</c:v>
                </c:pt>
                <c:pt idx="5048">
                  <c:v>#N/A</c:v>
                </c:pt>
                <c:pt idx="5049">
                  <c:v>#N/A</c:v>
                </c:pt>
                <c:pt idx="5050">
                  <c:v>#N/A</c:v>
                </c:pt>
                <c:pt idx="5051">
                  <c:v>#N/A</c:v>
                </c:pt>
                <c:pt idx="5052">
                  <c:v>#N/A</c:v>
                </c:pt>
                <c:pt idx="5053">
                  <c:v>#N/A</c:v>
                </c:pt>
                <c:pt idx="5054">
                  <c:v>#N/A</c:v>
                </c:pt>
                <c:pt idx="5055">
                  <c:v>#N/A</c:v>
                </c:pt>
                <c:pt idx="5056">
                  <c:v>#N/A</c:v>
                </c:pt>
                <c:pt idx="5057">
                  <c:v>#N/A</c:v>
                </c:pt>
                <c:pt idx="5058">
                  <c:v>#N/A</c:v>
                </c:pt>
                <c:pt idx="5059">
                  <c:v>#N/A</c:v>
                </c:pt>
                <c:pt idx="5060">
                  <c:v>#N/A</c:v>
                </c:pt>
                <c:pt idx="5061">
                  <c:v>#N/A</c:v>
                </c:pt>
                <c:pt idx="5062">
                  <c:v>#N/A</c:v>
                </c:pt>
                <c:pt idx="5063">
                  <c:v>#N/A</c:v>
                </c:pt>
                <c:pt idx="5064">
                  <c:v>#N/A</c:v>
                </c:pt>
                <c:pt idx="5065">
                  <c:v>#N/A</c:v>
                </c:pt>
                <c:pt idx="5066">
                  <c:v>#N/A</c:v>
                </c:pt>
                <c:pt idx="5067">
                  <c:v>#N/A</c:v>
                </c:pt>
                <c:pt idx="5068">
                  <c:v>#N/A</c:v>
                </c:pt>
                <c:pt idx="5069">
                  <c:v>#N/A</c:v>
                </c:pt>
                <c:pt idx="5070">
                  <c:v>#N/A</c:v>
                </c:pt>
                <c:pt idx="5071">
                  <c:v>#N/A</c:v>
                </c:pt>
                <c:pt idx="5072">
                  <c:v>#N/A</c:v>
                </c:pt>
                <c:pt idx="5073">
                  <c:v>#N/A</c:v>
                </c:pt>
                <c:pt idx="5074">
                  <c:v>#N/A</c:v>
                </c:pt>
                <c:pt idx="5075">
                  <c:v>#N/A</c:v>
                </c:pt>
                <c:pt idx="5076">
                  <c:v>#N/A</c:v>
                </c:pt>
                <c:pt idx="5077">
                  <c:v>#N/A</c:v>
                </c:pt>
                <c:pt idx="5078">
                  <c:v>#N/A</c:v>
                </c:pt>
                <c:pt idx="5079">
                  <c:v>#N/A</c:v>
                </c:pt>
                <c:pt idx="5080">
                  <c:v>#N/A</c:v>
                </c:pt>
                <c:pt idx="5081">
                  <c:v>#N/A</c:v>
                </c:pt>
                <c:pt idx="5082">
                  <c:v>#N/A</c:v>
                </c:pt>
                <c:pt idx="5083">
                  <c:v>#N/A</c:v>
                </c:pt>
                <c:pt idx="5084">
                  <c:v>#N/A</c:v>
                </c:pt>
                <c:pt idx="5085">
                  <c:v>#N/A</c:v>
                </c:pt>
                <c:pt idx="5086">
                  <c:v>#N/A</c:v>
                </c:pt>
                <c:pt idx="5087">
                  <c:v>#N/A</c:v>
                </c:pt>
                <c:pt idx="5088">
                  <c:v>#N/A</c:v>
                </c:pt>
                <c:pt idx="5089">
                  <c:v>#N/A</c:v>
                </c:pt>
                <c:pt idx="5090">
                  <c:v>#N/A</c:v>
                </c:pt>
                <c:pt idx="5091">
                  <c:v>#N/A</c:v>
                </c:pt>
                <c:pt idx="5092">
                  <c:v>#N/A</c:v>
                </c:pt>
                <c:pt idx="5093">
                  <c:v>#N/A</c:v>
                </c:pt>
                <c:pt idx="5094">
                  <c:v>#N/A</c:v>
                </c:pt>
                <c:pt idx="5095">
                  <c:v>#N/A</c:v>
                </c:pt>
                <c:pt idx="5096">
                  <c:v>#N/A</c:v>
                </c:pt>
                <c:pt idx="5097">
                  <c:v>#N/A</c:v>
                </c:pt>
                <c:pt idx="5098">
                  <c:v>#N/A</c:v>
                </c:pt>
                <c:pt idx="5099">
                  <c:v>#N/A</c:v>
                </c:pt>
                <c:pt idx="5100">
                  <c:v>#N/A</c:v>
                </c:pt>
                <c:pt idx="5101">
                  <c:v>#N/A</c:v>
                </c:pt>
                <c:pt idx="5102">
                  <c:v>#N/A</c:v>
                </c:pt>
                <c:pt idx="5103">
                  <c:v>#N/A</c:v>
                </c:pt>
                <c:pt idx="5104">
                  <c:v>#N/A</c:v>
                </c:pt>
                <c:pt idx="5105">
                  <c:v>#N/A</c:v>
                </c:pt>
                <c:pt idx="5106">
                  <c:v>2.0493150684931507</c:v>
                </c:pt>
                <c:pt idx="5107">
                  <c:v>#N/A</c:v>
                </c:pt>
                <c:pt idx="5108">
                  <c:v>#N/A</c:v>
                </c:pt>
                <c:pt idx="5109">
                  <c:v>#N/A</c:v>
                </c:pt>
                <c:pt idx="5110">
                  <c:v>#N/A</c:v>
                </c:pt>
                <c:pt idx="5111">
                  <c:v>#N/A</c:v>
                </c:pt>
                <c:pt idx="5112">
                  <c:v>#N/A</c:v>
                </c:pt>
                <c:pt idx="5113">
                  <c:v>#N/A</c:v>
                </c:pt>
                <c:pt idx="5114">
                  <c:v>#N/A</c:v>
                </c:pt>
                <c:pt idx="5115">
                  <c:v>#N/A</c:v>
                </c:pt>
                <c:pt idx="5116">
                  <c:v>#N/A</c:v>
                </c:pt>
                <c:pt idx="5117">
                  <c:v>#N/A</c:v>
                </c:pt>
                <c:pt idx="5118">
                  <c:v>#N/A</c:v>
                </c:pt>
                <c:pt idx="5119">
                  <c:v>#N/A</c:v>
                </c:pt>
                <c:pt idx="5120">
                  <c:v>#N/A</c:v>
                </c:pt>
                <c:pt idx="5121">
                  <c:v>#N/A</c:v>
                </c:pt>
                <c:pt idx="5122">
                  <c:v>#N/A</c:v>
                </c:pt>
                <c:pt idx="5123">
                  <c:v>#N/A</c:v>
                </c:pt>
                <c:pt idx="5124">
                  <c:v>#N/A</c:v>
                </c:pt>
                <c:pt idx="5125">
                  <c:v>#N/A</c:v>
                </c:pt>
                <c:pt idx="5126">
                  <c:v>#N/A</c:v>
                </c:pt>
                <c:pt idx="5127">
                  <c:v>#N/A</c:v>
                </c:pt>
                <c:pt idx="5128">
                  <c:v>#N/A</c:v>
                </c:pt>
                <c:pt idx="5129">
                  <c:v>#N/A</c:v>
                </c:pt>
                <c:pt idx="5130">
                  <c:v>#N/A</c:v>
                </c:pt>
                <c:pt idx="5131">
                  <c:v>#N/A</c:v>
                </c:pt>
                <c:pt idx="5132">
                  <c:v>#N/A</c:v>
                </c:pt>
                <c:pt idx="5133">
                  <c:v>#N/A</c:v>
                </c:pt>
                <c:pt idx="5134">
                  <c:v>#N/A</c:v>
                </c:pt>
                <c:pt idx="5135">
                  <c:v>#N/A</c:v>
                </c:pt>
                <c:pt idx="5136">
                  <c:v>#N/A</c:v>
                </c:pt>
                <c:pt idx="5137">
                  <c:v>#N/A</c:v>
                </c:pt>
                <c:pt idx="5138">
                  <c:v>#N/A</c:v>
                </c:pt>
                <c:pt idx="5139">
                  <c:v>#N/A</c:v>
                </c:pt>
                <c:pt idx="5140">
                  <c:v>#N/A</c:v>
                </c:pt>
                <c:pt idx="5141">
                  <c:v>#N/A</c:v>
                </c:pt>
                <c:pt idx="5142">
                  <c:v>#N/A</c:v>
                </c:pt>
                <c:pt idx="5143">
                  <c:v>#N/A</c:v>
                </c:pt>
                <c:pt idx="5144">
                  <c:v>#N/A</c:v>
                </c:pt>
                <c:pt idx="5145">
                  <c:v>#N/A</c:v>
                </c:pt>
                <c:pt idx="5146">
                  <c:v>#N/A</c:v>
                </c:pt>
                <c:pt idx="5147">
                  <c:v>#N/A</c:v>
                </c:pt>
                <c:pt idx="5148">
                  <c:v>#N/A</c:v>
                </c:pt>
                <c:pt idx="5149">
                  <c:v>#N/A</c:v>
                </c:pt>
                <c:pt idx="5150">
                  <c:v>#N/A</c:v>
                </c:pt>
                <c:pt idx="5151">
                  <c:v>#N/A</c:v>
                </c:pt>
                <c:pt idx="5152">
                  <c:v>#N/A</c:v>
                </c:pt>
                <c:pt idx="5153">
                  <c:v>#N/A</c:v>
                </c:pt>
                <c:pt idx="5154">
                  <c:v>#N/A</c:v>
                </c:pt>
                <c:pt idx="5155">
                  <c:v>#N/A</c:v>
                </c:pt>
                <c:pt idx="5156">
                  <c:v>#N/A</c:v>
                </c:pt>
                <c:pt idx="5157">
                  <c:v>#N/A</c:v>
                </c:pt>
                <c:pt idx="5158">
                  <c:v>#N/A</c:v>
                </c:pt>
                <c:pt idx="5159">
                  <c:v>#N/A</c:v>
                </c:pt>
                <c:pt idx="5160">
                  <c:v>#N/A</c:v>
                </c:pt>
                <c:pt idx="5161">
                  <c:v>#N/A</c:v>
                </c:pt>
                <c:pt idx="5162">
                  <c:v>#N/A</c:v>
                </c:pt>
                <c:pt idx="5163">
                  <c:v>#N/A</c:v>
                </c:pt>
                <c:pt idx="5164">
                  <c:v>#N/A</c:v>
                </c:pt>
                <c:pt idx="5165">
                  <c:v>#N/A</c:v>
                </c:pt>
                <c:pt idx="5166">
                  <c:v>#N/A</c:v>
                </c:pt>
                <c:pt idx="5167">
                  <c:v>#N/A</c:v>
                </c:pt>
                <c:pt idx="5168">
                  <c:v>#N/A</c:v>
                </c:pt>
                <c:pt idx="5169">
                  <c:v>#N/A</c:v>
                </c:pt>
                <c:pt idx="5170">
                  <c:v>#N/A</c:v>
                </c:pt>
                <c:pt idx="5171">
                  <c:v>#N/A</c:v>
                </c:pt>
                <c:pt idx="5172">
                  <c:v>#N/A</c:v>
                </c:pt>
                <c:pt idx="5173">
                  <c:v>#N/A</c:v>
                </c:pt>
                <c:pt idx="5174">
                  <c:v>#N/A</c:v>
                </c:pt>
                <c:pt idx="5175">
                  <c:v>#N/A</c:v>
                </c:pt>
                <c:pt idx="5176">
                  <c:v>#N/A</c:v>
                </c:pt>
                <c:pt idx="5177">
                  <c:v>#N/A</c:v>
                </c:pt>
                <c:pt idx="5178">
                  <c:v>#N/A</c:v>
                </c:pt>
                <c:pt idx="5179">
                  <c:v>#N/A</c:v>
                </c:pt>
                <c:pt idx="5180">
                  <c:v>#N/A</c:v>
                </c:pt>
                <c:pt idx="5181">
                  <c:v>#N/A</c:v>
                </c:pt>
                <c:pt idx="5182">
                  <c:v>#N/A</c:v>
                </c:pt>
                <c:pt idx="5183">
                  <c:v>#N/A</c:v>
                </c:pt>
                <c:pt idx="5184">
                  <c:v>#N/A</c:v>
                </c:pt>
                <c:pt idx="5185">
                  <c:v>#N/A</c:v>
                </c:pt>
                <c:pt idx="5186">
                  <c:v>#N/A</c:v>
                </c:pt>
                <c:pt idx="5187">
                  <c:v>#N/A</c:v>
                </c:pt>
                <c:pt idx="5188">
                  <c:v>#N/A</c:v>
                </c:pt>
                <c:pt idx="5189">
                  <c:v>#N/A</c:v>
                </c:pt>
                <c:pt idx="5190">
                  <c:v>#N/A</c:v>
                </c:pt>
                <c:pt idx="5191">
                  <c:v>#N/A</c:v>
                </c:pt>
                <c:pt idx="5192">
                  <c:v>#N/A</c:v>
                </c:pt>
                <c:pt idx="5193">
                  <c:v>#N/A</c:v>
                </c:pt>
                <c:pt idx="5194">
                  <c:v>2.0493150684931507</c:v>
                </c:pt>
                <c:pt idx="5195">
                  <c:v>#N/A</c:v>
                </c:pt>
                <c:pt idx="5196">
                  <c:v>#N/A</c:v>
                </c:pt>
                <c:pt idx="5197">
                  <c:v>#N/A</c:v>
                </c:pt>
                <c:pt idx="5198">
                  <c:v>#N/A</c:v>
                </c:pt>
                <c:pt idx="5199">
                  <c:v>2.0493150684931507</c:v>
                </c:pt>
                <c:pt idx="5200">
                  <c:v>#N/A</c:v>
                </c:pt>
                <c:pt idx="5201">
                  <c:v>#N/A</c:v>
                </c:pt>
                <c:pt idx="5202">
                  <c:v>#N/A</c:v>
                </c:pt>
                <c:pt idx="5203">
                  <c:v>#N/A</c:v>
                </c:pt>
                <c:pt idx="5204">
                  <c:v>#N/A</c:v>
                </c:pt>
                <c:pt idx="5205">
                  <c:v>#N/A</c:v>
                </c:pt>
                <c:pt idx="5206">
                  <c:v>#N/A</c:v>
                </c:pt>
                <c:pt idx="5207">
                  <c:v>#N/A</c:v>
                </c:pt>
                <c:pt idx="5208">
                  <c:v>#N/A</c:v>
                </c:pt>
                <c:pt idx="5209">
                  <c:v>#N/A</c:v>
                </c:pt>
                <c:pt idx="5210">
                  <c:v>#N/A</c:v>
                </c:pt>
                <c:pt idx="5211">
                  <c:v>#N/A</c:v>
                </c:pt>
                <c:pt idx="5212">
                  <c:v>#N/A</c:v>
                </c:pt>
                <c:pt idx="5213">
                  <c:v>#N/A</c:v>
                </c:pt>
                <c:pt idx="5214">
                  <c:v>#N/A</c:v>
                </c:pt>
                <c:pt idx="5215">
                  <c:v>#N/A</c:v>
                </c:pt>
                <c:pt idx="5216">
                  <c:v>#N/A</c:v>
                </c:pt>
                <c:pt idx="5217">
                  <c:v>#N/A</c:v>
                </c:pt>
                <c:pt idx="5218">
                  <c:v>#N/A</c:v>
                </c:pt>
                <c:pt idx="5219">
                  <c:v>#N/A</c:v>
                </c:pt>
                <c:pt idx="5220">
                  <c:v>#N/A</c:v>
                </c:pt>
                <c:pt idx="5221">
                  <c:v>#N/A</c:v>
                </c:pt>
                <c:pt idx="5222">
                  <c:v>#N/A</c:v>
                </c:pt>
                <c:pt idx="5223">
                  <c:v>#N/A</c:v>
                </c:pt>
                <c:pt idx="5224">
                  <c:v>#N/A</c:v>
                </c:pt>
                <c:pt idx="5225">
                  <c:v>#N/A</c:v>
                </c:pt>
                <c:pt idx="5226">
                  <c:v>2.0493150684931507</c:v>
                </c:pt>
                <c:pt idx="5227">
                  <c:v>#N/A</c:v>
                </c:pt>
                <c:pt idx="5228">
                  <c:v>#N/A</c:v>
                </c:pt>
                <c:pt idx="5229">
                  <c:v>#N/A</c:v>
                </c:pt>
                <c:pt idx="5230">
                  <c:v>#N/A</c:v>
                </c:pt>
                <c:pt idx="5231">
                  <c:v>#N/A</c:v>
                </c:pt>
                <c:pt idx="5232">
                  <c:v>#N/A</c:v>
                </c:pt>
                <c:pt idx="5233">
                  <c:v>#N/A</c:v>
                </c:pt>
                <c:pt idx="5234">
                  <c:v>#N/A</c:v>
                </c:pt>
                <c:pt idx="5235">
                  <c:v>#N/A</c:v>
                </c:pt>
                <c:pt idx="5236">
                  <c:v>#N/A</c:v>
                </c:pt>
                <c:pt idx="5237">
                  <c:v>#N/A</c:v>
                </c:pt>
                <c:pt idx="5238">
                  <c:v>2.0493150684931507</c:v>
                </c:pt>
                <c:pt idx="5239">
                  <c:v>#N/A</c:v>
                </c:pt>
                <c:pt idx="5240">
                  <c:v>#N/A</c:v>
                </c:pt>
                <c:pt idx="5241">
                  <c:v>#N/A</c:v>
                </c:pt>
                <c:pt idx="5242">
                  <c:v>#N/A</c:v>
                </c:pt>
                <c:pt idx="5243">
                  <c:v>#N/A</c:v>
                </c:pt>
                <c:pt idx="5244">
                  <c:v>#N/A</c:v>
                </c:pt>
                <c:pt idx="5245">
                  <c:v>#N/A</c:v>
                </c:pt>
                <c:pt idx="5246">
                  <c:v>#N/A</c:v>
                </c:pt>
                <c:pt idx="5247">
                  <c:v>#N/A</c:v>
                </c:pt>
                <c:pt idx="5248">
                  <c:v>#N/A</c:v>
                </c:pt>
                <c:pt idx="5249">
                  <c:v>#N/A</c:v>
                </c:pt>
                <c:pt idx="5250">
                  <c:v>#N/A</c:v>
                </c:pt>
                <c:pt idx="5251">
                  <c:v>#N/A</c:v>
                </c:pt>
                <c:pt idx="5252">
                  <c:v>#N/A</c:v>
                </c:pt>
                <c:pt idx="5253">
                  <c:v>#N/A</c:v>
                </c:pt>
                <c:pt idx="5254">
                  <c:v>#N/A</c:v>
                </c:pt>
                <c:pt idx="5255">
                  <c:v>#N/A</c:v>
                </c:pt>
                <c:pt idx="5256">
                  <c:v>#N/A</c:v>
                </c:pt>
                <c:pt idx="5257">
                  <c:v>#N/A</c:v>
                </c:pt>
                <c:pt idx="5258">
                  <c:v>#N/A</c:v>
                </c:pt>
                <c:pt idx="5259">
                  <c:v>#N/A</c:v>
                </c:pt>
                <c:pt idx="5260">
                  <c:v>#N/A</c:v>
                </c:pt>
                <c:pt idx="5261">
                  <c:v>#N/A</c:v>
                </c:pt>
                <c:pt idx="5262">
                  <c:v>#N/A</c:v>
                </c:pt>
                <c:pt idx="5263">
                  <c:v>#N/A</c:v>
                </c:pt>
                <c:pt idx="5264">
                  <c:v>#N/A</c:v>
                </c:pt>
                <c:pt idx="5265">
                  <c:v>#N/A</c:v>
                </c:pt>
                <c:pt idx="5266">
                  <c:v>#N/A</c:v>
                </c:pt>
                <c:pt idx="5267">
                  <c:v>#N/A</c:v>
                </c:pt>
                <c:pt idx="5268">
                  <c:v>#N/A</c:v>
                </c:pt>
                <c:pt idx="5269">
                  <c:v>#N/A</c:v>
                </c:pt>
                <c:pt idx="5270">
                  <c:v>#N/A</c:v>
                </c:pt>
                <c:pt idx="5271">
                  <c:v>#N/A</c:v>
                </c:pt>
                <c:pt idx="5272">
                  <c:v>#N/A</c:v>
                </c:pt>
                <c:pt idx="5273">
                  <c:v>#N/A</c:v>
                </c:pt>
                <c:pt idx="5274">
                  <c:v>#N/A</c:v>
                </c:pt>
                <c:pt idx="5275">
                  <c:v>#N/A</c:v>
                </c:pt>
                <c:pt idx="5276">
                  <c:v>#N/A</c:v>
                </c:pt>
                <c:pt idx="5277">
                  <c:v>#N/A</c:v>
                </c:pt>
                <c:pt idx="5278">
                  <c:v>#N/A</c:v>
                </c:pt>
                <c:pt idx="5279">
                  <c:v>#N/A</c:v>
                </c:pt>
                <c:pt idx="5280">
                  <c:v>#N/A</c:v>
                </c:pt>
                <c:pt idx="5281">
                  <c:v>#N/A</c:v>
                </c:pt>
                <c:pt idx="5282">
                  <c:v>#N/A</c:v>
                </c:pt>
                <c:pt idx="5283">
                  <c:v>#N/A</c:v>
                </c:pt>
                <c:pt idx="5284">
                  <c:v>2.0493150684931507</c:v>
                </c:pt>
                <c:pt idx="5285">
                  <c:v>#N/A</c:v>
                </c:pt>
                <c:pt idx="5286">
                  <c:v>2.0493150684931507</c:v>
                </c:pt>
                <c:pt idx="5287">
                  <c:v>#N/A</c:v>
                </c:pt>
                <c:pt idx="5288">
                  <c:v>#N/A</c:v>
                </c:pt>
                <c:pt idx="5289">
                  <c:v>#N/A</c:v>
                </c:pt>
                <c:pt idx="5290">
                  <c:v>#N/A</c:v>
                </c:pt>
                <c:pt idx="5291">
                  <c:v>#N/A</c:v>
                </c:pt>
                <c:pt idx="5292">
                  <c:v>#N/A</c:v>
                </c:pt>
                <c:pt idx="5293">
                  <c:v>#N/A</c:v>
                </c:pt>
                <c:pt idx="5294">
                  <c:v>#N/A</c:v>
                </c:pt>
                <c:pt idx="5295">
                  <c:v>#N/A</c:v>
                </c:pt>
                <c:pt idx="5296">
                  <c:v>#N/A</c:v>
                </c:pt>
                <c:pt idx="5297">
                  <c:v>#N/A</c:v>
                </c:pt>
                <c:pt idx="5298">
                  <c:v>#N/A</c:v>
                </c:pt>
                <c:pt idx="5299">
                  <c:v>#N/A</c:v>
                </c:pt>
                <c:pt idx="5300">
                  <c:v>#N/A</c:v>
                </c:pt>
                <c:pt idx="5301">
                  <c:v>#N/A</c:v>
                </c:pt>
                <c:pt idx="5302">
                  <c:v>#N/A</c:v>
                </c:pt>
                <c:pt idx="5303">
                  <c:v>#N/A</c:v>
                </c:pt>
                <c:pt idx="5304">
                  <c:v>#N/A</c:v>
                </c:pt>
                <c:pt idx="5305">
                  <c:v>#N/A</c:v>
                </c:pt>
                <c:pt idx="5306">
                  <c:v>#N/A</c:v>
                </c:pt>
                <c:pt idx="5307">
                  <c:v>#N/A</c:v>
                </c:pt>
                <c:pt idx="5308">
                  <c:v>2.0493150684931507</c:v>
                </c:pt>
                <c:pt idx="5309">
                  <c:v>#N/A</c:v>
                </c:pt>
                <c:pt idx="5310">
                  <c:v>#N/A</c:v>
                </c:pt>
                <c:pt idx="5311">
                  <c:v>#N/A</c:v>
                </c:pt>
                <c:pt idx="5312">
                  <c:v>#N/A</c:v>
                </c:pt>
                <c:pt idx="5313">
                  <c:v>#N/A</c:v>
                </c:pt>
                <c:pt idx="5314">
                  <c:v>#N/A</c:v>
                </c:pt>
                <c:pt idx="5315">
                  <c:v>#N/A</c:v>
                </c:pt>
                <c:pt idx="5316">
                  <c:v>#N/A</c:v>
                </c:pt>
                <c:pt idx="5317">
                  <c:v>#N/A</c:v>
                </c:pt>
                <c:pt idx="5318">
                  <c:v>#N/A</c:v>
                </c:pt>
                <c:pt idx="5319">
                  <c:v>#N/A</c:v>
                </c:pt>
                <c:pt idx="5320">
                  <c:v>#N/A</c:v>
                </c:pt>
                <c:pt idx="5321">
                  <c:v>#N/A</c:v>
                </c:pt>
                <c:pt idx="5322">
                  <c:v>#N/A</c:v>
                </c:pt>
                <c:pt idx="5323">
                  <c:v>#N/A</c:v>
                </c:pt>
                <c:pt idx="5324">
                  <c:v>#N/A</c:v>
                </c:pt>
                <c:pt idx="5325">
                  <c:v>#N/A</c:v>
                </c:pt>
                <c:pt idx="5326">
                  <c:v>#N/A</c:v>
                </c:pt>
                <c:pt idx="5327">
                  <c:v>#N/A</c:v>
                </c:pt>
                <c:pt idx="5328">
                  <c:v>#N/A</c:v>
                </c:pt>
                <c:pt idx="5329">
                  <c:v>#N/A</c:v>
                </c:pt>
                <c:pt idx="5330">
                  <c:v>#N/A</c:v>
                </c:pt>
                <c:pt idx="5331">
                  <c:v>#N/A</c:v>
                </c:pt>
                <c:pt idx="5332">
                  <c:v>#N/A</c:v>
                </c:pt>
                <c:pt idx="5333">
                  <c:v>#N/A</c:v>
                </c:pt>
                <c:pt idx="5334">
                  <c:v>#N/A</c:v>
                </c:pt>
                <c:pt idx="5335">
                  <c:v>#N/A</c:v>
                </c:pt>
                <c:pt idx="5336">
                  <c:v>#N/A</c:v>
                </c:pt>
                <c:pt idx="5337">
                  <c:v>#N/A</c:v>
                </c:pt>
                <c:pt idx="5338">
                  <c:v>#N/A</c:v>
                </c:pt>
                <c:pt idx="5339">
                  <c:v>#N/A</c:v>
                </c:pt>
                <c:pt idx="5340">
                  <c:v>#N/A</c:v>
                </c:pt>
                <c:pt idx="5341">
                  <c:v>#N/A</c:v>
                </c:pt>
                <c:pt idx="5342">
                  <c:v>#N/A</c:v>
                </c:pt>
                <c:pt idx="5343">
                  <c:v>#N/A</c:v>
                </c:pt>
                <c:pt idx="5344">
                  <c:v>#N/A</c:v>
                </c:pt>
                <c:pt idx="5345">
                  <c:v>#N/A</c:v>
                </c:pt>
                <c:pt idx="5346">
                  <c:v>#N/A</c:v>
                </c:pt>
                <c:pt idx="5347">
                  <c:v>#N/A</c:v>
                </c:pt>
                <c:pt idx="5348">
                  <c:v>#N/A</c:v>
                </c:pt>
                <c:pt idx="5349">
                  <c:v>#N/A</c:v>
                </c:pt>
                <c:pt idx="5350">
                  <c:v>#N/A</c:v>
                </c:pt>
                <c:pt idx="5351">
                  <c:v>#N/A</c:v>
                </c:pt>
                <c:pt idx="5352">
                  <c:v>#N/A</c:v>
                </c:pt>
                <c:pt idx="5353">
                  <c:v>#N/A</c:v>
                </c:pt>
                <c:pt idx="5354">
                  <c:v>#N/A</c:v>
                </c:pt>
                <c:pt idx="5355">
                  <c:v>#N/A</c:v>
                </c:pt>
                <c:pt idx="5356">
                  <c:v>#N/A</c:v>
                </c:pt>
                <c:pt idx="5357">
                  <c:v>#N/A</c:v>
                </c:pt>
                <c:pt idx="5358">
                  <c:v>#N/A</c:v>
                </c:pt>
                <c:pt idx="5359">
                  <c:v>#N/A</c:v>
                </c:pt>
                <c:pt idx="5360">
                  <c:v>#N/A</c:v>
                </c:pt>
                <c:pt idx="5361">
                  <c:v>#N/A</c:v>
                </c:pt>
                <c:pt idx="5362">
                  <c:v>#N/A</c:v>
                </c:pt>
                <c:pt idx="5363">
                  <c:v>#N/A</c:v>
                </c:pt>
                <c:pt idx="5364">
                  <c:v>#N/A</c:v>
                </c:pt>
                <c:pt idx="5365">
                  <c:v>#N/A</c:v>
                </c:pt>
                <c:pt idx="5366">
                  <c:v>#N/A</c:v>
                </c:pt>
                <c:pt idx="5367">
                  <c:v>#N/A</c:v>
                </c:pt>
                <c:pt idx="5368">
                  <c:v>#N/A</c:v>
                </c:pt>
                <c:pt idx="5369">
                  <c:v>#N/A</c:v>
                </c:pt>
                <c:pt idx="5370">
                  <c:v>#N/A</c:v>
                </c:pt>
                <c:pt idx="5371">
                  <c:v>#N/A</c:v>
                </c:pt>
                <c:pt idx="5372">
                  <c:v>#N/A</c:v>
                </c:pt>
                <c:pt idx="5373">
                  <c:v>#N/A</c:v>
                </c:pt>
                <c:pt idx="5374">
                  <c:v>#N/A</c:v>
                </c:pt>
                <c:pt idx="5375">
                  <c:v>#N/A</c:v>
                </c:pt>
                <c:pt idx="5376">
                  <c:v>#N/A</c:v>
                </c:pt>
                <c:pt idx="5377">
                  <c:v>#N/A</c:v>
                </c:pt>
                <c:pt idx="5378">
                  <c:v>#N/A</c:v>
                </c:pt>
                <c:pt idx="5379">
                  <c:v>#N/A</c:v>
                </c:pt>
                <c:pt idx="5380">
                  <c:v>#N/A</c:v>
                </c:pt>
                <c:pt idx="5381">
                  <c:v>#N/A</c:v>
                </c:pt>
                <c:pt idx="5382">
                  <c:v>#N/A</c:v>
                </c:pt>
                <c:pt idx="5383">
                  <c:v>#N/A</c:v>
                </c:pt>
                <c:pt idx="5384">
                  <c:v>#N/A</c:v>
                </c:pt>
                <c:pt idx="5385">
                  <c:v>#N/A</c:v>
                </c:pt>
                <c:pt idx="5386">
                  <c:v>#N/A</c:v>
                </c:pt>
                <c:pt idx="5387">
                  <c:v>#N/A</c:v>
                </c:pt>
                <c:pt idx="5388">
                  <c:v>#N/A</c:v>
                </c:pt>
                <c:pt idx="5389">
                  <c:v>#N/A</c:v>
                </c:pt>
                <c:pt idx="5390">
                  <c:v>#N/A</c:v>
                </c:pt>
                <c:pt idx="5391">
                  <c:v>#N/A</c:v>
                </c:pt>
                <c:pt idx="5392">
                  <c:v>#N/A</c:v>
                </c:pt>
                <c:pt idx="5393">
                  <c:v>#N/A</c:v>
                </c:pt>
                <c:pt idx="5394">
                  <c:v>#N/A</c:v>
                </c:pt>
                <c:pt idx="5395">
                  <c:v>#N/A</c:v>
                </c:pt>
                <c:pt idx="5396">
                  <c:v>#N/A</c:v>
                </c:pt>
                <c:pt idx="5397">
                  <c:v>#N/A</c:v>
                </c:pt>
                <c:pt idx="5398">
                  <c:v>#N/A</c:v>
                </c:pt>
                <c:pt idx="5399">
                  <c:v>#N/A</c:v>
                </c:pt>
                <c:pt idx="5400">
                  <c:v>#N/A</c:v>
                </c:pt>
                <c:pt idx="5401">
                  <c:v>#N/A</c:v>
                </c:pt>
                <c:pt idx="5402">
                  <c:v>#N/A</c:v>
                </c:pt>
                <c:pt idx="5403">
                  <c:v>#N/A</c:v>
                </c:pt>
                <c:pt idx="5404">
                  <c:v>#N/A</c:v>
                </c:pt>
                <c:pt idx="5405">
                  <c:v>#N/A</c:v>
                </c:pt>
                <c:pt idx="5406">
                  <c:v>#N/A</c:v>
                </c:pt>
                <c:pt idx="5407">
                  <c:v>#N/A</c:v>
                </c:pt>
                <c:pt idx="5408">
                  <c:v>#N/A</c:v>
                </c:pt>
                <c:pt idx="5409">
                  <c:v>#N/A</c:v>
                </c:pt>
                <c:pt idx="5410">
                  <c:v>#N/A</c:v>
                </c:pt>
                <c:pt idx="5411">
                  <c:v>#N/A</c:v>
                </c:pt>
                <c:pt idx="5412">
                  <c:v>#N/A</c:v>
                </c:pt>
                <c:pt idx="5413">
                  <c:v>#N/A</c:v>
                </c:pt>
                <c:pt idx="5414">
                  <c:v>#N/A</c:v>
                </c:pt>
                <c:pt idx="5415">
                  <c:v>#N/A</c:v>
                </c:pt>
                <c:pt idx="5416">
                  <c:v>#N/A</c:v>
                </c:pt>
                <c:pt idx="5417">
                  <c:v>#N/A</c:v>
                </c:pt>
                <c:pt idx="5418">
                  <c:v>#N/A</c:v>
                </c:pt>
                <c:pt idx="5419">
                  <c:v>#N/A</c:v>
                </c:pt>
                <c:pt idx="5420">
                  <c:v>#N/A</c:v>
                </c:pt>
                <c:pt idx="5421">
                  <c:v>#N/A</c:v>
                </c:pt>
                <c:pt idx="5422">
                  <c:v>#N/A</c:v>
                </c:pt>
                <c:pt idx="5423">
                  <c:v>#N/A</c:v>
                </c:pt>
                <c:pt idx="5424">
                  <c:v>#N/A</c:v>
                </c:pt>
                <c:pt idx="5425">
                  <c:v>#N/A</c:v>
                </c:pt>
                <c:pt idx="5426">
                  <c:v>#N/A</c:v>
                </c:pt>
                <c:pt idx="5427">
                  <c:v>#N/A</c:v>
                </c:pt>
                <c:pt idx="5428">
                  <c:v>2.0520547945205481</c:v>
                </c:pt>
                <c:pt idx="5429">
                  <c:v>#N/A</c:v>
                </c:pt>
                <c:pt idx="5430">
                  <c:v>#N/A</c:v>
                </c:pt>
                <c:pt idx="5431">
                  <c:v>#N/A</c:v>
                </c:pt>
                <c:pt idx="5432">
                  <c:v>#N/A</c:v>
                </c:pt>
                <c:pt idx="5433">
                  <c:v>#N/A</c:v>
                </c:pt>
                <c:pt idx="5434">
                  <c:v>#N/A</c:v>
                </c:pt>
                <c:pt idx="5435">
                  <c:v>#N/A</c:v>
                </c:pt>
                <c:pt idx="5436">
                  <c:v>#N/A</c:v>
                </c:pt>
                <c:pt idx="5437">
                  <c:v>#N/A</c:v>
                </c:pt>
                <c:pt idx="5438">
                  <c:v>#N/A</c:v>
                </c:pt>
                <c:pt idx="5439">
                  <c:v>#N/A</c:v>
                </c:pt>
                <c:pt idx="5440">
                  <c:v>#N/A</c:v>
                </c:pt>
                <c:pt idx="5441">
                  <c:v>#N/A</c:v>
                </c:pt>
                <c:pt idx="5442">
                  <c:v>#N/A</c:v>
                </c:pt>
                <c:pt idx="5443">
                  <c:v>#N/A</c:v>
                </c:pt>
                <c:pt idx="5444">
                  <c:v>#N/A</c:v>
                </c:pt>
                <c:pt idx="5445">
                  <c:v>#N/A</c:v>
                </c:pt>
                <c:pt idx="5446">
                  <c:v>#N/A</c:v>
                </c:pt>
                <c:pt idx="5447">
                  <c:v>#N/A</c:v>
                </c:pt>
                <c:pt idx="5448">
                  <c:v>#N/A</c:v>
                </c:pt>
                <c:pt idx="5449">
                  <c:v>#N/A</c:v>
                </c:pt>
                <c:pt idx="5450">
                  <c:v>#N/A</c:v>
                </c:pt>
                <c:pt idx="5451">
                  <c:v>#N/A</c:v>
                </c:pt>
                <c:pt idx="5452">
                  <c:v>#N/A</c:v>
                </c:pt>
                <c:pt idx="5453">
                  <c:v>#N/A</c:v>
                </c:pt>
                <c:pt idx="5454">
                  <c:v>#N/A</c:v>
                </c:pt>
                <c:pt idx="5455">
                  <c:v>#N/A</c:v>
                </c:pt>
                <c:pt idx="5456">
                  <c:v>#N/A</c:v>
                </c:pt>
                <c:pt idx="5457">
                  <c:v>#N/A</c:v>
                </c:pt>
                <c:pt idx="5458">
                  <c:v>#N/A</c:v>
                </c:pt>
                <c:pt idx="5459">
                  <c:v>#N/A</c:v>
                </c:pt>
                <c:pt idx="5460">
                  <c:v>#N/A</c:v>
                </c:pt>
                <c:pt idx="5461">
                  <c:v>#N/A</c:v>
                </c:pt>
                <c:pt idx="5462">
                  <c:v>#N/A</c:v>
                </c:pt>
                <c:pt idx="5463">
                  <c:v>#N/A</c:v>
                </c:pt>
                <c:pt idx="5464">
                  <c:v>#N/A</c:v>
                </c:pt>
                <c:pt idx="5465">
                  <c:v>#N/A</c:v>
                </c:pt>
                <c:pt idx="5466">
                  <c:v>#N/A</c:v>
                </c:pt>
                <c:pt idx="5467">
                  <c:v>#N/A</c:v>
                </c:pt>
                <c:pt idx="5468">
                  <c:v>#N/A</c:v>
                </c:pt>
                <c:pt idx="5469">
                  <c:v>#N/A</c:v>
                </c:pt>
                <c:pt idx="5470">
                  <c:v>#N/A</c:v>
                </c:pt>
                <c:pt idx="5471">
                  <c:v>#N/A</c:v>
                </c:pt>
                <c:pt idx="5472">
                  <c:v>#N/A</c:v>
                </c:pt>
                <c:pt idx="5473">
                  <c:v>#N/A</c:v>
                </c:pt>
                <c:pt idx="5474">
                  <c:v>#N/A</c:v>
                </c:pt>
                <c:pt idx="5475">
                  <c:v>#N/A</c:v>
                </c:pt>
                <c:pt idx="5476">
                  <c:v>#N/A</c:v>
                </c:pt>
                <c:pt idx="5477">
                  <c:v>#N/A</c:v>
                </c:pt>
                <c:pt idx="5478">
                  <c:v>#N/A</c:v>
                </c:pt>
                <c:pt idx="5479">
                  <c:v>#N/A</c:v>
                </c:pt>
                <c:pt idx="5480">
                  <c:v>#N/A</c:v>
                </c:pt>
                <c:pt idx="5481">
                  <c:v>#N/A</c:v>
                </c:pt>
                <c:pt idx="5482">
                  <c:v>#N/A</c:v>
                </c:pt>
                <c:pt idx="5483">
                  <c:v>#N/A</c:v>
                </c:pt>
                <c:pt idx="5484">
                  <c:v>#N/A</c:v>
                </c:pt>
                <c:pt idx="5485">
                  <c:v>#N/A</c:v>
                </c:pt>
                <c:pt idx="5486">
                  <c:v>#N/A</c:v>
                </c:pt>
                <c:pt idx="5487">
                  <c:v>#N/A</c:v>
                </c:pt>
                <c:pt idx="5488">
                  <c:v>#N/A</c:v>
                </c:pt>
                <c:pt idx="5489">
                  <c:v>#N/A</c:v>
                </c:pt>
                <c:pt idx="5490">
                  <c:v>#N/A</c:v>
                </c:pt>
                <c:pt idx="5491">
                  <c:v>#N/A</c:v>
                </c:pt>
                <c:pt idx="5492">
                  <c:v>#N/A</c:v>
                </c:pt>
                <c:pt idx="5493">
                  <c:v>#N/A</c:v>
                </c:pt>
                <c:pt idx="5494">
                  <c:v>#N/A</c:v>
                </c:pt>
                <c:pt idx="5495">
                  <c:v>#N/A</c:v>
                </c:pt>
                <c:pt idx="5496">
                  <c:v>#N/A</c:v>
                </c:pt>
                <c:pt idx="5497">
                  <c:v>#N/A</c:v>
                </c:pt>
                <c:pt idx="5498">
                  <c:v>#N/A</c:v>
                </c:pt>
                <c:pt idx="5499">
                  <c:v>#N/A</c:v>
                </c:pt>
                <c:pt idx="5500">
                  <c:v>#N/A</c:v>
                </c:pt>
                <c:pt idx="5501">
                  <c:v>#N/A</c:v>
                </c:pt>
                <c:pt idx="5502">
                  <c:v>#N/A</c:v>
                </c:pt>
                <c:pt idx="5503">
                  <c:v>#N/A</c:v>
                </c:pt>
                <c:pt idx="5504">
                  <c:v>#N/A</c:v>
                </c:pt>
                <c:pt idx="5505">
                  <c:v>#N/A</c:v>
                </c:pt>
                <c:pt idx="5506">
                  <c:v>#N/A</c:v>
                </c:pt>
                <c:pt idx="5507">
                  <c:v>#N/A</c:v>
                </c:pt>
                <c:pt idx="5508">
                  <c:v>#N/A</c:v>
                </c:pt>
                <c:pt idx="5509">
                  <c:v>#N/A</c:v>
                </c:pt>
                <c:pt idx="5510">
                  <c:v>#N/A</c:v>
                </c:pt>
                <c:pt idx="5511">
                  <c:v>#N/A</c:v>
                </c:pt>
                <c:pt idx="5512">
                  <c:v>#N/A</c:v>
                </c:pt>
                <c:pt idx="5513">
                  <c:v>#N/A</c:v>
                </c:pt>
                <c:pt idx="5514">
                  <c:v>#N/A</c:v>
                </c:pt>
                <c:pt idx="5515">
                  <c:v>#N/A</c:v>
                </c:pt>
                <c:pt idx="5516">
                  <c:v>#N/A</c:v>
                </c:pt>
                <c:pt idx="5517">
                  <c:v>#N/A</c:v>
                </c:pt>
                <c:pt idx="5518">
                  <c:v>#N/A</c:v>
                </c:pt>
                <c:pt idx="5519">
                  <c:v>#N/A</c:v>
                </c:pt>
                <c:pt idx="5520">
                  <c:v>#N/A</c:v>
                </c:pt>
                <c:pt idx="5521">
                  <c:v>#N/A</c:v>
                </c:pt>
                <c:pt idx="5522">
                  <c:v>#N/A</c:v>
                </c:pt>
                <c:pt idx="5523">
                  <c:v>#N/A</c:v>
                </c:pt>
                <c:pt idx="5524">
                  <c:v>#N/A</c:v>
                </c:pt>
                <c:pt idx="5525">
                  <c:v>#N/A</c:v>
                </c:pt>
                <c:pt idx="5526">
                  <c:v>#N/A</c:v>
                </c:pt>
                <c:pt idx="5527">
                  <c:v>#N/A</c:v>
                </c:pt>
                <c:pt idx="5528">
                  <c:v>#N/A</c:v>
                </c:pt>
                <c:pt idx="5529">
                  <c:v>#N/A</c:v>
                </c:pt>
                <c:pt idx="5530">
                  <c:v>#N/A</c:v>
                </c:pt>
                <c:pt idx="5531">
                  <c:v>#N/A</c:v>
                </c:pt>
                <c:pt idx="5532">
                  <c:v>#N/A</c:v>
                </c:pt>
                <c:pt idx="5533">
                  <c:v>#N/A</c:v>
                </c:pt>
                <c:pt idx="5534">
                  <c:v>#N/A</c:v>
                </c:pt>
                <c:pt idx="5535">
                  <c:v>#N/A</c:v>
                </c:pt>
                <c:pt idx="5536">
                  <c:v>#N/A</c:v>
                </c:pt>
                <c:pt idx="5537">
                  <c:v>#N/A</c:v>
                </c:pt>
                <c:pt idx="5538">
                  <c:v>#N/A</c:v>
                </c:pt>
                <c:pt idx="5539">
                  <c:v>#N/A</c:v>
                </c:pt>
                <c:pt idx="5540">
                  <c:v>#N/A</c:v>
                </c:pt>
                <c:pt idx="5541">
                  <c:v>#N/A</c:v>
                </c:pt>
                <c:pt idx="5542">
                  <c:v>#N/A</c:v>
                </c:pt>
                <c:pt idx="5543">
                  <c:v>#N/A</c:v>
                </c:pt>
                <c:pt idx="5544">
                  <c:v>#N/A</c:v>
                </c:pt>
                <c:pt idx="5545">
                  <c:v>#N/A</c:v>
                </c:pt>
                <c:pt idx="5546">
                  <c:v>#N/A</c:v>
                </c:pt>
                <c:pt idx="5547">
                  <c:v>#N/A</c:v>
                </c:pt>
                <c:pt idx="5548">
                  <c:v>#N/A</c:v>
                </c:pt>
                <c:pt idx="5549">
                  <c:v>#N/A</c:v>
                </c:pt>
                <c:pt idx="5550">
                  <c:v>#N/A</c:v>
                </c:pt>
                <c:pt idx="5551">
                  <c:v>#N/A</c:v>
                </c:pt>
                <c:pt idx="5552">
                  <c:v>#N/A</c:v>
                </c:pt>
                <c:pt idx="5553">
                  <c:v>#N/A</c:v>
                </c:pt>
                <c:pt idx="5554">
                  <c:v>#N/A</c:v>
                </c:pt>
                <c:pt idx="5555">
                  <c:v>#N/A</c:v>
                </c:pt>
                <c:pt idx="5556">
                  <c:v>#N/A</c:v>
                </c:pt>
                <c:pt idx="5557">
                  <c:v>#N/A</c:v>
                </c:pt>
                <c:pt idx="5558">
                  <c:v>#N/A</c:v>
                </c:pt>
                <c:pt idx="5559">
                  <c:v>#N/A</c:v>
                </c:pt>
                <c:pt idx="5560">
                  <c:v>#N/A</c:v>
                </c:pt>
                <c:pt idx="5561">
                  <c:v>#N/A</c:v>
                </c:pt>
                <c:pt idx="5562">
                  <c:v>#N/A</c:v>
                </c:pt>
                <c:pt idx="5563">
                  <c:v>#N/A</c:v>
                </c:pt>
                <c:pt idx="5564">
                  <c:v>#N/A</c:v>
                </c:pt>
                <c:pt idx="5565">
                  <c:v>#N/A</c:v>
                </c:pt>
                <c:pt idx="5566">
                  <c:v>#N/A</c:v>
                </c:pt>
                <c:pt idx="5567">
                  <c:v>#N/A</c:v>
                </c:pt>
                <c:pt idx="5568">
                  <c:v>#N/A</c:v>
                </c:pt>
                <c:pt idx="5569">
                  <c:v>#N/A</c:v>
                </c:pt>
                <c:pt idx="5570">
                  <c:v>#N/A</c:v>
                </c:pt>
                <c:pt idx="5571">
                  <c:v>#N/A</c:v>
                </c:pt>
                <c:pt idx="5572">
                  <c:v>2.0520547945205481</c:v>
                </c:pt>
                <c:pt idx="5573">
                  <c:v>#N/A</c:v>
                </c:pt>
                <c:pt idx="5574">
                  <c:v>#N/A</c:v>
                </c:pt>
                <c:pt idx="5575">
                  <c:v>#N/A</c:v>
                </c:pt>
                <c:pt idx="5576">
                  <c:v>#N/A</c:v>
                </c:pt>
                <c:pt idx="5577">
                  <c:v>#N/A</c:v>
                </c:pt>
                <c:pt idx="5578">
                  <c:v>#N/A</c:v>
                </c:pt>
                <c:pt idx="5579">
                  <c:v>#N/A</c:v>
                </c:pt>
                <c:pt idx="5580">
                  <c:v>#N/A</c:v>
                </c:pt>
                <c:pt idx="5581">
                  <c:v>#N/A</c:v>
                </c:pt>
                <c:pt idx="5582">
                  <c:v>#N/A</c:v>
                </c:pt>
                <c:pt idx="5583">
                  <c:v>#N/A</c:v>
                </c:pt>
                <c:pt idx="5584">
                  <c:v>#N/A</c:v>
                </c:pt>
                <c:pt idx="5585">
                  <c:v>#N/A</c:v>
                </c:pt>
                <c:pt idx="5586">
                  <c:v>#N/A</c:v>
                </c:pt>
                <c:pt idx="5587">
                  <c:v>#N/A</c:v>
                </c:pt>
                <c:pt idx="5588">
                  <c:v>#N/A</c:v>
                </c:pt>
                <c:pt idx="5589">
                  <c:v>#N/A</c:v>
                </c:pt>
                <c:pt idx="5590">
                  <c:v>#N/A</c:v>
                </c:pt>
                <c:pt idx="5591">
                  <c:v>#N/A</c:v>
                </c:pt>
                <c:pt idx="5592">
                  <c:v>#N/A</c:v>
                </c:pt>
                <c:pt idx="5593">
                  <c:v>#N/A</c:v>
                </c:pt>
                <c:pt idx="5594">
                  <c:v>#N/A</c:v>
                </c:pt>
                <c:pt idx="5595">
                  <c:v>#N/A</c:v>
                </c:pt>
                <c:pt idx="5596">
                  <c:v>#N/A</c:v>
                </c:pt>
                <c:pt idx="5597">
                  <c:v>#N/A</c:v>
                </c:pt>
                <c:pt idx="5598">
                  <c:v>#N/A</c:v>
                </c:pt>
                <c:pt idx="5599">
                  <c:v>#N/A</c:v>
                </c:pt>
                <c:pt idx="5600">
                  <c:v>#N/A</c:v>
                </c:pt>
                <c:pt idx="5601">
                  <c:v>#N/A</c:v>
                </c:pt>
                <c:pt idx="5602">
                  <c:v>#N/A</c:v>
                </c:pt>
                <c:pt idx="5603">
                  <c:v>#N/A</c:v>
                </c:pt>
                <c:pt idx="5604">
                  <c:v>#N/A</c:v>
                </c:pt>
                <c:pt idx="5605">
                  <c:v>#N/A</c:v>
                </c:pt>
                <c:pt idx="5606">
                  <c:v>#N/A</c:v>
                </c:pt>
                <c:pt idx="5607">
                  <c:v>#N/A</c:v>
                </c:pt>
                <c:pt idx="5608">
                  <c:v>#N/A</c:v>
                </c:pt>
                <c:pt idx="5609">
                  <c:v>#N/A</c:v>
                </c:pt>
                <c:pt idx="5610">
                  <c:v>#N/A</c:v>
                </c:pt>
                <c:pt idx="5611">
                  <c:v>#N/A</c:v>
                </c:pt>
                <c:pt idx="5612">
                  <c:v>#N/A</c:v>
                </c:pt>
                <c:pt idx="5613">
                  <c:v>#N/A</c:v>
                </c:pt>
                <c:pt idx="5614">
                  <c:v>#N/A</c:v>
                </c:pt>
                <c:pt idx="5615">
                  <c:v>#N/A</c:v>
                </c:pt>
                <c:pt idx="5616">
                  <c:v>#N/A</c:v>
                </c:pt>
                <c:pt idx="5617">
                  <c:v>#N/A</c:v>
                </c:pt>
                <c:pt idx="5618">
                  <c:v>#N/A</c:v>
                </c:pt>
                <c:pt idx="5619">
                  <c:v>#N/A</c:v>
                </c:pt>
                <c:pt idx="5620">
                  <c:v>#N/A</c:v>
                </c:pt>
                <c:pt idx="5621">
                  <c:v>#N/A</c:v>
                </c:pt>
                <c:pt idx="5622">
                  <c:v>#N/A</c:v>
                </c:pt>
                <c:pt idx="5623">
                  <c:v>#N/A</c:v>
                </c:pt>
                <c:pt idx="5624">
                  <c:v>#N/A</c:v>
                </c:pt>
                <c:pt idx="5625">
                  <c:v>#N/A</c:v>
                </c:pt>
                <c:pt idx="5626">
                  <c:v>#N/A</c:v>
                </c:pt>
                <c:pt idx="5627">
                  <c:v>#N/A</c:v>
                </c:pt>
                <c:pt idx="5628">
                  <c:v>#N/A</c:v>
                </c:pt>
                <c:pt idx="5629">
                  <c:v>#N/A</c:v>
                </c:pt>
                <c:pt idx="5630">
                  <c:v>#N/A</c:v>
                </c:pt>
                <c:pt idx="5631">
                  <c:v>#N/A</c:v>
                </c:pt>
                <c:pt idx="5632">
                  <c:v>#N/A</c:v>
                </c:pt>
                <c:pt idx="5633">
                  <c:v>#N/A</c:v>
                </c:pt>
                <c:pt idx="5634">
                  <c:v>#N/A</c:v>
                </c:pt>
                <c:pt idx="5635">
                  <c:v>#N/A</c:v>
                </c:pt>
                <c:pt idx="5636">
                  <c:v>#N/A</c:v>
                </c:pt>
                <c:pt idx="5637">
                  <c:v>#N/A</c:v>
                </c:pt>
                <c:pt idx="5638">
                  <c:v>#N/A</c:v>
                </c:pt>
                <c:pt idx="5639">
                  <c:v>#N/A</c:v>
                </c:pt>
                <c:pt idx="5640">
                  <c:v>#N/A</c:v>
                </c:pt>
                <c:pt idx="5641">
                  <c:v>#N/A</c:v>
                </c:pt>
                <c:pt idx="5642">
                  <c:v>#N/A</c:v>
                </c:pt>
                <c:pt idx="5643">
                  <c:v>#N/A</c:v>
                </c:pt>
                <c:pt idx="5644">
                  <c:v>#N/A</c:v>
                </c:pt>
                <c:pt idx="5645">
                  <c:v>#N/A</c:v>
                </c:pt>
                <c:pt idx="5646">
                  <c:v>#N/A</c:v>
                </c:pt>
                <c:pt idx="5647">
                  <c:v>#N/A</c:v>
                </c:pt>
                <c:pt idx="5648">
                  <c:v>#N/A</c:v>
                </c:pt>
                <c:pt idx="5649">
                  <c:v>#N/A</c:v>
                </c:pt>
                <c:pt idx="5650">
                  <c:v>#N/A</c:v>
                </c:pt>
                <c:pt idx="5651">
                  <c:v>#N/A</c:v>
                </c:pt>
                <c:pt idx="5652">
                  <c:v>#N/A</c:v>
                </c:pt>
                <c:pt idx="5653">
                  <c:v>#N/A</c:v>
                </c:pt>
                <c:pt idx="5654">
                  <c:v>#N/A</c:v>
                </c:pt>
                <c:pt idx="5655">
                  <c:v>#N/A</c:v>
                </c:pt>
                <c:pt idx="5656">
                  <c:v>#N/A</c:v>
                </c:pt>
                <c:pt idx="5657">
                  <c:v>#N/A</c:v>
                </c:pt>
                <c:pt idx="5658">
                  <c:v>#N/A</c:v>
                </c:pt>
                <c:pt idx="5659">
                  <c:v>#N/A</c:v>
                </c:pt>
                <c:pt idx="5660">
                  <c:v>#N/A</c:v>
                </c:pt>
                <c:pt idx="5661">
                  <c:v>#N/A</c:v>
                </c:pt>
                <c:pt idx="5662">
                  <c:v>#N/A</c:v>
                </c:pt>
                <c:pt idx="5663">
                  <c:v>#N/A</c:v>
                </c:pt>
                <c:pt idx="5664">
                  <c:v>#N/A</c:v>
                </c:pt>
                <c:pt idx="5665">
                  <c:v>#N/A</c:v>
                </c:pt>
                <c:pt idx="5666">
                  <c:v>#N/A</c:v>
                </c:pt>
                <c:pt idx="5667">
                  <c:v>#N/A</c:v>
                </c:pt>
                <c:pt idx="5668">
                  <c:v>#N/A</c:v>
                </c:pt>
                <c:pt idx="5669">
                  <c:v>#N/A</c:v>
                </c:pt>
                <c:pt idx="5670">
                  <c:v>#N/A</c:v>
                </c:pt>
                <c:pt idx="5671">
                  <c:v>#N/A</c:v>
                </c:pt>
                <c:pt idx="5672">
                  <c:v>#N/A</c:v>
                </c:pt>
                <c:pt idx="5673">
                  <c:v>#N/A</c:v>
                </c:pt>
                <c:pt idx="5674">
                  <c:v>#N/A</c:v>
                </c:pt>
                <c:pt idx="5675">
                  <c:v>#N/A</c:v>
                </c:pt>
                <c:pt idx="5676">
                  <c:v>#N/A</c:v>
                </c:pt>
                <c:pt idx="5677">
                  <c:v>#N/A</c:v>
                </c:pt>
                <c:pt idx="5678">
                  <c:v>#N/A</c:v>
                </c:pt>
                <c:pt idx="5679">
                  <c:v>#N/A</c:v>
                </c:pt>
                <c:pt idx="5680">
                  <c:v>#N/A</c:v>
                </c:pt>
                <c:pt idx="5681">
                  <c:v>#N/A</c:v>
                </c:pt>
                <c:pt idx="5682">
                  <c:v>#N/A</c:v>
                </c:pt>
                <c:pt idx="5683">
                  <c:v>#N/A</c:v>
                </c:pt>
                <c:pt idx="5684">
                  <c:v>#N/A</c:v>
                </c:pt>
                <c:pt idx="5685">
                  <c:v>#N/A</c:v>
                </c:pt>
                <c:pt idx="5686">
                  <c:v>#N/A</c:v>
                </c:pt>
                <c:pt idx="5687">
                  <c:v>#N/A</c:v>
                </c:pt>
                <c:pt idx="5688">
                  <c:v>#N/A</c:v>
                </c:pt>
                <c:pt idx="5689">
                  <c:v>#N/A</c:v>
                </c:pt>
                <c:pt idx="5690">
                  <c:v>#N/A</c:v>
                </c:pt>
                <c:pt idx="5691">
                  <c:v>#N/A</c:v>
                </c:pt>
                <c:pt idx="5692">
                  <c:v>#N/A</c:v>
                </c:pt>
                <c:pt idx="5693">
                  <c:v>#N/A</c:v>
                </c:pt>
                <c:pt idx="5694">
                  <c:v>#N/A</c:v>
                </c:pt>
                <c:pt idx="5695">
                  <c:v>#N/A</c:v>
                </c:pt>
                <c:pt idx="5696">
                  <c:v>2.0547945205479454</c:v>
                </c:pt>
                <c:pt idx="5697">
                  <c:v>#N/A</c:v>
                </c:pt>
                <c:pt idx="5698">
                  <c:v>#N/A</c:v>
                </c:pt>
                <c:pt idx="5699">
                  <c:v>#N/A</c:v>
                </c:pt>
                <c:pt idx="5700">
                  <c:v>#N/A</c:v>
                </c:pt>
                <c:pt idx="5701">
                  <c:v>#N/A</c:v>
                </c:pt>
                <c:pt idx="5702">
                  <c:v>#N/A</c:v>
                </c:pt>
                <c:pt idx="5703">
                  <c:v>#N/A</c:v>
                </c:pt>
                <c:pt idx="5704">
                  <c:v>#N/A</c:v>
                </c:pt>
                <c:pt idx="5705">
                  <c:v>#N/A</c:v>
                </c:pt>
                <c:pt idx="5706">
                  <c:v>#N/A</c:v>
                </c:pt>
                <c:pt idx="5707">
                  <c:v>#N/A</c:v>
                </c:pt>
                <c:pt idx="5708">
                  <c:v>#N/A</c:v>
                </c:pt>
                <c:pt idx="5709">
                  <c:v>#N/A</c:v>
                </c:pt>
                <c:pt idx="5710">
                  <c:v>#N/A</c:v>
                </c:pt>
                <c:pt idx="5711">
                  <c:v>#N/A</c:v>
                </c:pt>
                <c:pt idx="5712">
                  <c:v>#N/A</c:v>
                </c:pt>
                <c:pt idx="5713">
                  <c:v>#N/A</c:v>
                </c:pt>
                <c:pt idx="5714">
                  <c:v>#N/A</c:v>
                </c:pt>
                <c:pt idx="5715">
                  <c:v>#N/A</c:v>
                </c:pt>
                <c:pt idx="5716">
                  <c:v>#N/A</c:v>
                </c:pt>
                <c:pt idx="5717">
                  <c:v>#N/A</c:v>
                </c:pt>
                <c:pt idx="5718">
                  <c:v>#N/A</c:v>
                </c:pt>
                <c:pt idx="5719">
                  <c:v>#N/A</c:v>
                </c:pt>
                <c:pt idx="5720">
                  <c:v>#N/A</c:v>
                </c:pt>
                <c:pt idx="5721">
                  <c:v>#N/A</c:v>
                </c:pt>
                <c:pt idx="5722">
                  <c:v>#N/A</c:v>
                </c:pt>
                <c:pt idx="5723">
                  <c:v>#N/A</c:v>
                </c:pt>
                <c:pt idx="5724">
                  <c:v>#N/A</c:v>
                </c:pt>
                <c:pt idx="5725">
                  <c:v>#N/A</c:v>
                </c:pt>
                <c:pt idx="5726">
                  <c:v>#N/A</c:v>
                </c:pt>
                <c:pt idx="5727">
                  <c:v>#N/A</c:v>
                </c:pt>
                <c:pt idx="5728">
                  <c:v>#N/A</c:v>
                </c:pt>
                <c:pt idx="5729">
                  <c:v>#N/A</c:v>
                </c:pt>
                <c:pt idx="5730">
                  <c:v>#N/A</c:v>
                </c:pt>
                <c:pt idx="5731">
                  <c:v>#N/A</c:v>
                </c:pt>
                <c:pt idx="5732">
                  <c:v>#N/A</c:v>
                </c:pt>
                <c:pt idx="5733">
                  <c:v>#N/A</c:v>
                </c:pt>
                <c:pt idx="5734">
                  <c:v>#N/A</c:v>
                </c:pt>
                <c:pt idx="5735">
                  <c:v>#N/A</c:v>
                </c:pt>
                <c:pt idx="5736">
                  <c:v>#N/A</c:v>
                </c:pt>
                <c:pt idx="5737">
                  <c:v>#N/A</c:v>
                </c:pt>
                <c:pt idx="5738">
                  <c:v>#N/A</c:v>
                </c:pt>
                <c:pt idx="5739">
                  <c:v>#N/A</c:v>
                </c:pt>
                <c:pt idx="5740">
                  <c:v>#N/A</c:v>
                </c:pt>
                <c:pt idx="5741">
                  <c:v>#N/A</c:v>
                </c:pt>
                <c:pt idx="5742">
                  <c:v>#N/A</c:v>
                </c:pt>
                <c:pt idx="5743">
                  <c:v>#N/A</c:v>
                </c:pt>
                <c:pt idx="5744">
                  <c:v>#N/A</c:v>
                </c:pt>
                <c:pt idx="5745">
                  <c:v>#N/A</c:v>
                </c:pt>
                <c:pt idx="5746">
                  <c:v>#N/A</c:v>
                </c:pt>
                <c:pt idx="5747">
                  <c:v>#N/A</c:v>
                </c:pt>
                <c:pt idx="5748">
                  <c:v>#N/A</c:v>
                </c:pt>
                <c:pt idx="5749">
                  <c:v>#N/A</c:v>
                </c:pt>
                <c:pt idx="5750">
                  <c:v>#N/A</c:v>
                </c:pt>
                <c:pt idx="5751">
                  <c:v>#N/A</c:v>
                </c:pt>
                <c:pt idx="5752">
                  <c:v>#N/A</c:v>
                </c:pt>
                <c:pt idx="5753">
                  <c:v>#N/A</c:v>
                </c:pt>
                <c:pt idx="5754">
                  <c:v>#N/A</c:v>
                </c:pt>
                <c:pt idx="5755">
                  <c:v>#N/A</c:v>
                </c:pt>
                <c:pt idx="5756">
                  <c:v>#N/A</c:v>
                </c:pt>
                <c:pt idx="5757">
                  <c:v>#N/A</c:v>
                </c:pt>
                <c:pt idx="5758">
                  <c:v>#N/A</c:v>
                </c:pt>
                <c:pt idx="5759">
                  <c:v>#N/A</c:v>
                </c:pt>
                <c:pt idx="5760">
                  <c:v>#N/A</c:v>
                </c:pt>
                <c:pt idx="5761">
                  <c:v>#N/A</c:v>
                </c:pt>
                <c:pt idx="5762">
                  <c:v>#N/A</c:v>
                </c:pt>
                <c:pt idx="5763">
                  <c:v>#N/A</c:v>
                </c:pt>
                <c:pt idx="5764">
                  <c:v>#N/A</c:v>
                </c:pt>
                <c:pt idx="5765">
                  <c:v>#N/A</c:v>
                </c:pt>
                <c:pt idx="5766">
                  <c:v>#N/A</c:v>
                </c:pt>
                <c:pt idx="5767">
                  <c:v>#N/A</c:v>
                </c:pt>
                <c:pt idx="5768">
                  <c:v>#N/A</c:v>
                </c:pt>
                <c:pt idx="5769">
                  <c:v>#N/A</c:v>
                </c:pt>
                <c:pt idx="5770">
                  <c:v>#N/A</c:v>
                </c:pt>
                <c:pt idx="5771">
                  <c:v>#N/A</c:v>
                </c:pt>
                <c:pt idx="5772">
                  <c:v>#N/A</c:v>
                </c:pt>
                <c:pt idx="5773">
                  <c:v>#N/A</c:v>
                </c:pt>
                <c:pt idx="5774">
                  <c:v>#N/A</c:v>
                </c:pt>
                <c:pt idx="5775">
                  <c:v>#N/A</c:v>
                </c:pt>
                <c:pt idx="5776">
                  <c:v>#N/A</c:v>
                </c:pt>
                <c:pt idx="5777">
                  <c:v>#N/A</c:v>
                </c:pt>
                <c:pt idx="5778">
                  <c:v>#N/A</c:v>
                </c:pt>
                <c:pt idx="5779">
                  <c:v>#N/A</c:v>
                </c:pt>
                <c:pt idx="5780">
                  <c:v>#N/A</c:v>
                </c:pt>
                <c:pt idx="5781">
                  <c:v>#N/A</c:v>
                </c:pt>
                <c:pt idx="5782">
                  <c:v>#N/A</c:v>
                </c:pt>
                <c:pt idx="5783">
                  <c:v>#N/A</c:v>
                </c:pt>
                <c:pt idx="5784">
                  <c:v>#N/A</c:v>
                </c:pt>
                <c:pt idx="5785">
                  <c:v>#N/A</c:v>
                </c:pt>
                <c:pt idx="5786">
                  <c:v>2.0575342465753423</c:v>
                </c:pt>
                <c:pt idx="5787">
                  <c:v>#N/A</c:v>
                </c:pt>
                <c:pt idx="5788">
                  <c:v>#N/A</c:v>
                </c:pt>
                <c:pt idx="5789">
                  <c:v>#N/A</c:v>
                </c:pt>
                <c:pt idx="5790">
                  <c:v>#N/A</c:v>
                </c:pt>
                <c:pt idx="5791">
                  <c:v>#N/A</c:v>
                </c:pt>
                <c:pt idx="5792">
                  <c:v>#N/A</c:v>
                </c:pt>
                <c:pt idx="5793">
                  <c:v>#N/A</c:v>
                </c:pt>
                <c:pt idx="5794">
                  <c:v>#N/A</c:v>
                </c:pt>
                <c:pt idx="5795">
                  <c:v>#N/A</c:v>
                </c:pt>
                <c:pt idx="5796">
                  <c:v>#N/A</c:v>
                </c:pt>
                <c:pt idx="5797">
                  <c:v>#N/A</c:v>
                </c:pt>
                <c:pt idx="5798">
                  <c:v>#N/A</c:v>
                </c:pt>
                <c:pt idx="5799">
                  <c:v>#N/A</c:v>
                </c:pt>
                <c:pt idx="5800">
                  <c:v>#N/A</c:v>
                </c:pt>
                <c:pt idx="5801">
                  <c:v>#N/A</c:v>
                </c:pt>
                <c:pt idx="5802">
                  <c:v>#N/A</c:v>
                </c:pt>
                <c:pt idx="5803">
                  <c:v>#N/A</c:v>
                </c:pt>
                <c:pt idx="5804">
                  <c:v>#N/A</c:v>
                </c:pt>
                <c:pt idx="5805">
                  <c:v>#N/A</c:v>
                </c:pt>
                <c:pt idx="5806">
                  <c:v>#N/A</c:v>
                </c:pt>
                <c:pt idx="5807">
                  <c:v>#N/A</c:v>
                </c:pt>
                <c:pt idx="5808">
                  <c:v>#N/A</c:v>
                </c:pt>
                <c:pt idx="5809">
                  <c:v>#N/A</c:v>
                </c:pt>
                <c:pt idx="5810">
                  <c:v>#N/A</c:v>
                </c:pt>
                <c:pt idx="5811">
                  <c:v>#N/A</c:v>
                </c:pt>
                <c:pt idx="5812">
                  <c:v>#N/A</c:v>
                </c:pt>
                <c:pt idx="5813">
                  <c:v>#N/A</c:v>
                </c:pt>
                <c:pt idx="5814">
                  <c:v>#N/A</c:v>
                </c:pt>
                <c:pt idx="5815">
                  <c:v>#N/A</c:v>
                </c:pt>
                <c:pt idx="5816">
                  <c:v>#N/A</c:v>
                </c:pt>
                <c:pt idx="5817">
                  <c:v>#N/A</c:v>
                </c:pt>
                <c:pt idx="5818">
                  <c:v>#N/A</c:v>
                </c:pt>
                <c:pt idx="5819">
                  <c:v>#N/A</c:v>
                </c:pt>
                <c:pt idx="5820">
                  <c:v>#N/A</c:v>
                </c:pt>
                <c:pt idx="5821">
                  <c:v>#N/A</c:v>
                </c:pt>
                <c:pt idx="5822">
                  <c:v>#N/A</c:v>
                </c:pt>
                <c:pt idx="5823">
                  <c:v>#N/A</c:v>
                </c:pt>
                <c:pt idx="5824">
                  <c:v>#N/A</c:v>
                </c:pt>
                <c:pt idx="5825">
                  <c:v>#N/A</c:v>
                </c:pt>
                <c:pt idx="5826">
                  <c:v>#N/A</c:v>
                </c:pt>
                <c:pt idx="5827">
                  <c:v>#N/A</c:v>
                </c:pt>
                <c:pt idx="5828">
                  <c:v>#N/A</c:v>
                </c:pt>
                <c:pt idx="5829">
                  <c:v>#N/A</c:v>
                </c:pt>
                <c:pt idx="5830">
                  <c:v>#N/A</c:v>
                </c:pt>
                <c:pt idx="5831">
                  <c:v>#N/A</c:v>
                </c:pt>
                <c:pt idx="5832">
                  <c:v>#N/A</c:v>
                </c:pt>
                <c:pt idx="5833">
                  <c:v>#N/A</c:v>
                </c:pt>
                <c:pt idx="5834">
                  <c:v>#N/A</c:v>
                </c:pt>
                <c:pt idx="5835">
                  <c:v>#N/A</c:v>
                </c:pt>
                <c:pt idx="5836">
                  <c:v>#N/A</c:v>
                </c:pt>
                <c:pt idx="5837">
                  <c:v>#N/A</c:v>
                </c:pt>
                <c:pt idx="5838">
                  <c:v>#N/A</c:v>
                </c:pt>
                <c:pt idx="5839">
                  <c:v>#N/A</c:v>
                </c:pt>
                <c:pt idx="5840">
                  <c:v>#N/A</c:v>
                </c:pt>
                <c:pt idx="5841">
                  <c:v>#N/A</c:v>
                </c:pt>
                <c:pt idx="5842">
                  <c:v>#N/A</c:v>
                </c:pt>
                <c:pt idx="5843">
                  <c:v>#N/A</c:v>
                </c:pt>
                <c:pt idx="5844">
                  <c:v>#N/A</c:v>
                </c:pt>
                <c:pt idx="5845">
                  <c:v>#N/A</c:v>
                </c:pt>
                <c:pt idx="5846">
                  <c:v>#N/A</c:v>
                </c:pt>
                <c:pt idx="5847">
                  <c:v>#N/A</c:v>
                </c:pt>
                <c:pt idx="5848">
                  <c:v>#N/A</c:v>
                </c:pt>
                <c:pt idx="5849">
                  <c:v>#N/A</c:v>
                </c:pt>
                <c:pt idx="5850">
                  <c:v>#N/A</c:v>
                </c:pt>
                <c:pt idx="5851">
                  <c:v>#N/A</c:v>
                </c:pt>
                <c:pt idx="5852">
                  <c:v>#N/A</c:v>
                </c:pt>
                <c:pt idx="5853">
                  <c:v>#N/A</c:v>
                </c:pt>
                <c:pt idx="5854">
                  <c:v>#N/A</c:v>
                </c:pt>
                <c:pt idx="5855">
                  <c:v>#N/A</c:v>
                </c:pt>
                <c:pt idx="5856">
                  <c:v>#N/A</c:v>
                </c:pt>
                <c:pt idx="5857">
                  <c:v>#N/A</c:v>
                </c:pt>
                <c:pt idx="5858">
                  <c:v>#N/A</c:v>
                </c:pt>
                <c:pt idx="5859">
                  <c:v>#N/A</c:v>
                </c:pt>
                <c:pt idx="5860">
                  <c:v>#N/A</c:v>
                </c:pt>
                <c:pt idx="5861">
                  <c:v>#N/A</c:v>
                </c:pt>
                <c:pt idx="5862">
                  <c:v>#N/A</c:v>
                </c:pt>
                <c:pt idx="5863">
                  <c:v>#N/A</c:v>
                </c:pt>
                <c:pt idx="5864">
                  <c:v>#N/A</c:v>
                </c:pt>
                <c:pt idx="5865">
                  <c:v>#N/A</c:v>
                </c:pt>
                <c:pt idx="5866">
                  <c:v>#N/A</c:v>
                </c:pt>
                <c:pt idx="5867">
                  <c:v>#N/A</c:v>
                </c:pt>
                <c:pt idx="5868">
                  <c:v>#N/A</c:v>
                </c:pt>
                <c:pt idx="5869">
                  <c:v>#N/A</c:v>
                </c:pt>
                <c:pt idx="5870">
                  <c:v>#N/A</c:v>
                </c:pt>
                <c:pt idx="5871">
                  <c:v>#N/A</c:v>
                </c:pt>
                <c:pt idx="5872">
                  <c:v>#N/A</c:v>
                </c:pt>
                <c:pt idx="5873">
                  <c:v>#N/A</c:v>
                </c:pt>
                <c:pt idx="5874">
                  <c:v>#N/A</c:v>
                </c:pt>
                <c:pt idx="5875">
                  <c:v>#N/A</c:v>
                </c:pt>
                <c:pt idx="5876">
                  <c:v>#N/A</c:v>
                </c:pt>
                <c:pt idx="5877">
                  <c:v>#N/A</c:v>
                </c:pt>
                <c:pt idx="5878">
                  <c:v>#N/A</c:v>
                </c:pt>
                <c:pt idx="5879">
                  <c:v>#N/A</c:v>
                </c:pt>
                <c:pt idx="5880">
                  <c:v>#N/A</c:v>
                </c:pt>
                <c:pt idx="5881">
                  <c:v>#N/A</c:v>
                </c:pt>
                <c:pt idx="5882">
                  <c:v>#N/A</c:v>
                </c:pt>
                <c:pt idx="5883">
                  <c:v>#N/A</c:v>
                </c:pt>
                <c:pt idx="5884">
                  <c:v>#N/A</c:v>
                </c:pt>
                <c:pt idx="5885">
                  <c:v>#N/A</c:v>
                </c:pt>
                <c:pt idx="5886">
                  <c:v>#N/A</c:v>
                </c:pt>
                <c:pt idx="5887">
                  <c:v>#N/A</c:v>
                </c:pt>
                <c:pt idx="5888">
                  <c:v>#N/A</c:v>
                </c:pt>
                <c:pt idx="5889">
                  <c:v>#N/A</c:v>
                </c:pt>
                <c:pt idx="5890">
                  <c:v>#N/A</c:v>
                </c:pt>
                <c:pt idx="5891">
                  <c:v>#N/A</c:v>
                </c:pt>
                <c:pt idx="5892">
                  <c:v>#N/A</c:v>
                </c:pt>
                <c:pt idx="5893">
                  <c:v>#N/A</c:v>
                </c:pt>
                <c:pt idx="5894">
                  <c:v>#N/A</c:v>
                </c:pt>
                <c:pt idx="5895">
                  <c:v>#N/A</c:v>
                </c:pt>
                <c:pt idx="5896">
                  <c:v>#N/A</c:v>
                </c:pt>
                <c:pt idx="5897">
                  <c:v>#N/A</c:v>
                </c:pt>
                <c:pt idx="5898">
                  <c:v>#N/A</c:v>
                </c:pt>
                <c:pt idx="5899">
                  <c:v>#N/A</c:v>
                </c:pt>
                <c:pt idx="5900">
                  <c:v>#N/A</c:v>
                </c:pt>
                <c:pt idx="5901">
                  <c:v>#N/A</c:v>
                </c:pt>
                <c:pt idx="5902">
                  <c:v>#N/A</c:v>
                </c:pt>
                <c:pt idx="5903">
                  <c:v>#N/A</c:v>
                </c:pt>
                <c:pt idx="5904">
                  <c:v>#N/A</c:v>
                </c:pt>
                <c:pt idx="5905">
                  <c:v>#N/A</c:v>
                </c:pt>
                <c:pt idx="5906">
                  <c:v>#N/A</c:v>
                </c:pt>
                <c:pt idx="5907">
                  <c:v>#N/A</c:v>
                </c:pt>
                <c:pt idx="5908">
                  <c:v>#N/A</c:v>
                </c:pt>
                <c:pt idx="5909">
                  <c:v>#N/A</c:v>
                </c:pt>
                <c:pt idx="5910">
                  <c:v>#N/A</c:v>
                </c:pt>
                <c:pt idx="5911">
                  <c:v>#N/A</c:v>
                </c:pt>
                <c:pt idx="5912">
                  <c:v>#N/A</c:v>
                </c:pt>
                <c:pt idx="5913">
                  <c:v>#N/A</c:v>
                </c:pt>
                <c:pt idx="5914">
                  <c:v>#N/A</c:v>
                </c:pt>
                <c:pt idx="5915">
                  <c:v>#N/A</c:v>
                </c:pt>
                <c:pt idx="5916">
                  <c:v>#N/A</c:v>
                </c:pt>
                <c:pt idx="5917">
                  <c:v>#N/A</c:v>
                </c:pt>
                <c:pt idx="5918">
                  <c:v>#N/A</c:v>
                </c:pt>
                <c:pt idx="5919">
                  <c:v>#N/A</c:v>
                </c:pt>
                <c:pt idx="5920">
                  <c:v>#N/A</c:v>
                </c:pt>
                <c:pt idx="5921">
                  <c:v>#N/A</c:v>
                </c:pt>
                <c:pt idx="5922">
                  <c:v>2.0657534246575344</c:v>
                </c:pt>
                <c:pt idx="5923">
                  <c:v>#N/A</c:v>
                </c:pt>
                <c:pt idx="5924">
                  <c:v>#N/A</c:v>
                </c:pt>
                <c:pt idx="5925">
                  <c:v>#N/A</c:v>
                </c:pt>
                <c:pt idx="5926">
                  <c:v>#N/A</c:v>
                </c:pt>
                <c:pt idx="5927">
                  <c:v>#N/A</c:v>
                </c:pt>
                <c:pt idx="5928">
                  <c:v>#N/A</c:v>
                </c:pt>
                <c:pt idx="5929">
                  <c:v>#N/A</c:v>
                </c:pt>
                <c:pt idx="5930">
                  <c:v>#N/A</c:v>
                </c:pt>
                <c:pt idx="5931">
                  <c:v>#N/A</c:v>
                </c:pt>
                <c:pt idx="5932">
                  <c:v>#N/A</c:v>
                </c:pt>
                <c:pt idx="5933">
                  <c:v>#N/A</c:v>
                </c:pt>
                <c:pt idx="5934">
                  <c:v>#N/A</c:v>
                </c:pt>
                <c:pt idx="5935">
                  <c:v>#N/A</c:v>
                </c:pt>
                <c:pt idx="5936">
                  <c:v>#N/A</c:v>
                </c:pt>
                <c:pt idx="5937">
                  <c:v>#N/A</c:v>
                </c:pt>
                <c:pt idx="5938">
                  <c:v>#N/A</c:v>
                </c:pt>
                <c:pt idx="5939">
                  <c:v>#N/A</c:v>
                </c:pt>
                <c:pt idx="5940">
                  <c:v>#N/A</c:v>
                </c:pt>
                <c:pt idx="5941">
                  <c:v>#N/A</c:v>
                </c:pt>
                <c:pt idx="5942">
                  <c:v>#N/A</c:v>
                </c:pt>
                <c:pt idx="5943">
                  <c:v>#N/A</c:v>
                </c:pt>
                <c:pt idx="5944">
                  <c:v>#N/A</c:v>
                </c:pt>
                <c:pt idx="5945">
                  <c:v>#N/A</c:v>
                </c:pt>
                <c:pt idx="5946">
                  <c:v>#N/A</c:v>
                </c:pt>
                <c:pt idx="5947">
                  <c:v>#N/A</c:v>
                </c:pt>
                <c:pt idx="5948">
                  <c:v>#N/A</c:v>
                </c:pt>
                <c:pt idx="5949">
                  <c:v>#N/A</c:v>
                </c:pt>
                <c:pt idx="5950">
                  <c:v>#N/A</c:v>
                </c:pt>
                <c:pt idx="5951">
                  <c:v>#N/A</c:v>
                </c:pt>
                <c:pt idx="5952">
                  <c:v>#N/A</c:v>
                </c:pt>
                <c:pt idx="5953">
                  <c:v>#N/A</c:v>
                </c:pt>
                <c:pt idx="5954">
                  <c:v>#N/A</c:v>
                </c:pt>
                <c:pt idx="5955">
                  <c:v>#N/A</c:v>
                </c:pt>
                <c:pt idx="5956">
                  <c:v>#N/A</c:v>
                </c:pt>
                <c:pt idx="5957">
                  <c:v>#N/A</c:v>
                </c:pt>
                <c:pt idx="5958">
                  <c:v>#N/A</c:v>
                </c:pt>
                <c:pt idx="5959">
                  <c:v>#N/A</c:v>
                </c:pt>
                <c:pt idx="5960">
                  <c:v>#N/A</c:v>
                </c:pt>
                <c:pt idx="5961">
                  <c:v>#N/A</c:v>
                </c:pt>
                <c:pt idx="5962">
                  <c:v>#N/A</c:v>
                </c:pt>
                <c:pt idx="5963">
                  <c:v>#N/A</c:v>
                </c:pt>
                <c:pt idx="5964">
                  <c:v>#N/A</c:v>
                </c:pt>
                <c:pt idx="5965">
                  <c:v>#N/A</c:v>
                </c:pt>
                <c:pt idx="5966">
                  <c:v>#N/A</c:v>
                </c:pt>
                <c:pt idx="5967">
                  <c:v>#N/A</c:v>
                </c:pt>
                <c:pt idx="5968">
                  <c:v>#N/A</c:v>
                </c:pt>
                <c:pt idx="5969">
                  <c:v>#N/A</c:v>
                </c:pt>
                <c:pt idx="5970">
                  <c:v>#N/A</c:v>
                </c:pt>
                <c:pt idx="5971">
                  <c:v>#N/A</c:v>
                </c:pt>
                <c:pt idx="5972">
                  <c:v>#N/A</c:v>
                </c:pt>
                <c:pt idx="5973">
                  <c:v>#N/A</c:v>
                </c:pt>
                <c:pt idx="5974">
                  <c:v>#N/A</c:v>
                </c:pt>
                <c:pt idx="5975">
                  <c:v>#N/A</c:v>
                </c:pt>
                <c:pt idx="5976">
                  <c:v>#N/A</c:v>
                </c:pt>
                <c:pt idx="5977">
                  <c:v>#N/A</c:v>
                </c:pt>
                <c:pt idx="5978">
                  <c:v>#N/A</c:v>
                </c:pt>
                <c:pt idx="5979">
                  <c:v>#N/A</c:v>
                </c:pt>
                <c:pt idx="5980">
                  <c:v>#N/A</c:v>
                </c:pt>
                <c:pt idx="5981">
                  <c:v>#N/A</c:v>
                </c:pt>
                <c:pt idx="5982">
                  <c:v>#N/A</c:v>
                </c:pt>
                <c:pt idx="5983">
                  <c:v>#N/A</c:v>
                </c:pt>
                <c:pt idx="5984">
                  <c:v>#N/A</c:v>
                </c:pt>
                <c:pt idx="5985">
                  <c:v>#N/A</c:v>
                </c:pt>
                <c:pt idx="5986">
                  <c:v>#N/A</c:v>
                </c:pt>
                <c:pt idx="5987">
                  <c:v>#N/A</c:v>
                </c:pt>
                <c:pt idx="5988">
                  <c:v>#N/A</c:v>
                </c:pt>
                <c:pt idx="5989">
                  <c:v>#N/A</c:v>
                </c:pt>
                <c:pt idx="5990">
                  <c:v>#N/A</c:v>
                </c:pt>
                <c:pt idx="5991">
                  <c:v>#N/A</c:v>
                </c:pt>
                <c:pt idx="5992">
                  <c:v>#N/A</c:v>
                </c:pt>
                <c:pt idx="5993">
                  <c:v>#N/A</c:v>
                </c:pt>
                <c:pt idx="5994">
                  <c:v>#N/A</c:v>
                </c:pt>
                <c:pt idx="5995">
                  <c:v>#N/A</c:v>
                </c:pt>
                <c:pt idx="5996">
                  <c:v>#N/A</c:v>
                </c:pt>
                <c:pt idx="5997">
                  <c:v>#N/A</c:v>
                </c:pt>
                <c:pt idx="5998">
                  <c:v>#N/A</c:v>
                </c:pt>
                <c:pt idx="5999">
                  <c:v>#N/A</c:v>
                </c:pt>
                <c:pt idx="6000">
                  <c:v>#N/A</c:v>
                </c:pt>
                <c:pt idx="6001">
                  <c:v>#N/A</c:v>
                </c:pt>
                <c:pt idx="6002">
                  <c:v>#N/A</c:v>
                </c:pt>
                <c:pt idx="6003">
                  <c:v>#N/A</c:v>
                </c:pt>
                <c:pt idx="6004">
                  <c:v>#N/A</c:v>
                </c:pt>
                <c:pt idx="6005">
                  <c:v>#N/A</c:v>
                </c:pt>
                <c:pt idx="6006">
                  <c:v>#N/A</c:v>
                </c:pt>
                <c:pt idx="6007">
                  <c:v>#N/A</c:v>
                </c:pt>
                <c:pt idx="6008">
                  <c:v>#N/A</c:v>
                </c:pt>
                <c:pt idx="6009">
                  <c:v>#N/A</c:v>
                </c:pt>
                <c:pt idx="6010">
                  <c:v>#N/A</c:v>
                </c:pt>
                <c:pt idx="6011">
                  <c:v>#N/A</c:v>
                </c:pt>
                <c:pt idx="6012">
                  <c:v>#N/A</c:v>
                </c:pt>
                <c:pt idx="6013">
                  <c:v>#N/A</c:v>
                </c:pt>
                <c:pt idx="6014">
                  <c:v>#N/A</c:v>
                </c:pt>
                <c:pt idx="6015">
                  <c:v>#N/A</c:v>
                </c:pt>
                <c:pt idx="6016">
                  <c:v>#N/A</c:v>
                </c:pt>
                <c:pt idx="6017">
                  <c:v>#N/A</c:v>
                </c:pt>
                <c:pt idx="6018">
                  <c:v>#N/A</c:v>
                </c:pt>
                <c:pt idx="6019">
                  <c:v>#N/A</c:v>
                </c:pt>
                <c:pt idx="6020">
                  <c:v>#N/A</c:v>
                </c:pt>
                <c:pt idx="6021">
                  <c:v>#N/A</c:v>
                </c:pt>
                <c:pt idx="6022">
                  <c:v>#N/A</c:v>
                </c:pt>
                <c:pt idx="6023">
                  <c:v>#N/A</c:v>
                </c:pt>
                <c:pt idx="6024">
                  <c:v>#N/A</c:v>
                </c:pt>
                <c:pt idx="6025">
                  <c:v>#N/A</c:v>
                </c:pt>
                <c:pt idx="6026">
                  <c:v>#N/A</c:v>
                </c:pt>
                <c:pt idx="6027">
                  <c:v>#N/A</c:v>
                </c:pt>
                <c:pt idx="6028">
                  <c:v>#N/A</c:v>
                </c:pt>
                <c:pt idx="6029">
                  <c:v>#N/A</c:v>
                </c:pt>
                <c:pt idx="6030">
                  <c:v>#N/A</c:v>
                </c:pt>
                <c:pt idx="6031">
                  <c:v>#N/A</c:v>
                </c:pt>
                <c:pt idx="6032">
                  <c:v>#N/A</c:v>
                </c:pt>
                <c:pt idx="6033">
                  <c:v>#N/A</c:v>
                </c:pt>
                <c:pt idx="6034">
                  <c:v>2.0849315068493151</c:v>
                </c:pt>
                <c:pt idx="6035">
                  <c:v>#N/A</c:v>
                </c:pt>
                <c:pt idx="6036">
                  <c:v>#N/A</c:v>
                </c:pt>
                <c:pt idx="6037">
                  <c:v>#N/A</c:v>
                </c:pt>
                <c:pt idx="6038">
                  <c:v>#N/A</c:v>
                </c:pt>
                <c:pt idx="6039">
                  <c:v>#N/A</c:v>
                </c:pt>
                <c:pt idx="6040">
                  <c:v>#N/A</c:v>
                </c:pt>
                <c:pt idx="6041">
                  <c:v>#N/A</c:v>
                </c:pt>
                <c:pt idx="6042">
                  <c:v>2.0876712328767124</c:v>
                </c:pt>
                <c:pt idx="6043">
                  <c:v>#N/A</c:v>
                </c:pt>
                <c:pt idx="6044">
                  <c:v>#N/A</c:v>
                </c:pt>
                <c:pt idx="6045">
                  <c:v>#N/A</c:v>
                </c:pt>
                <c:pt idx="6046">
                  <c:v>#N/A</c:v>
                </c:pt>
                <c:pt idx="6047">
                  <c:v>#N/A</c:v>
                </c:pt>
                <c:pt idx="6048">
                  <c:v>#N/A</c:v>
                </c:pt>
                <c:pt idx="6049">
                  <c:v>#N/A</c:v>
                </c:pt>
                <c:pt idx="6050">
                  <c:v>#N/A</c:v>
                </c:pt>
                <c:pt idx="6051">
                  <c:v>#N/A</c:v>
                </c:pt>
                <c:pt idx="6052">
                  <c:v>#N/A</c:v>
                </c:pt>
                <c:pt idx="6053">
                  <c:v>#N/A</c:v>
                </c:pt>
                <c:pt idx="6054">
                  <c:v>#N/A</c:v>
                </c:pt>
                <c:pt idx="6055">
                  <c:v>#N/A</c:v>
                </c:pt>
                <c:pt idx="6056">
                  <c:v>#N/A</c:v>
                </c:pt>
                <c:pt idx="6057">
                  <c:v>#N/A</c:v>
                </c:pt>
                <c:pt idx="6058">
                  <c:v>#N/A</c:v>
                </c:pt>
                <c:pt idx="6059">
                  <c:v>#N/A</c:v>
                </c:pt>
                <c:pt idx="6060">
                  <c:v>#N/A</c:v>
                </c:pt>
                <c:pt idx="6061">
                  <c:v>#N/A</c:v>
                </c:pt>
                <c:pt idx="6062">
                  <c:v>#N/A</c:v>
                </c:pt>
                <c:pt idx="6063">
                  <c:v>#N/A</c:v>
                </c:pt>
                <c:pt idx="6064">
                  <c:v>#N/A</c:v>
                </c:pt>
                <c:pt idx="6065">
                  <c:v>#N/A</c:v>
                </c:pt>
                <c:pt idx="6066">
                  <c:v>#N/A</c:v>
                </c:pt>
                <c:pt idx="6067">
                  <c:v>#N/A</c:v>
                </c:pt>
                <c:pt idx="6068">
                  <c:v>#N/A</c:v>
                </c:pt>
                <c:pt idx="6069">
                  <c:v>#N/A</c:v>
                </c:pt>
                <c:pt idx="6070">
                  <c:v>#N/A</c:v>
                </c:pt>
                <c:pt idx="6071">
                  <c:v>#N/A</c:v>
                </c:pt>
                <c:pt idx="6072">
                  <c:v>#N/A</c:v>
                </c:pt>
                <c:pt idx="6073">
                  <c:v>#N/A</c:v>
                </c:pt>
                <c:pt idx="6074">
                  <c:v>#N/A</c:v>
                </c:pt>
                <c:pt idx="6075">
                  <c:v>#N/A</c:v>
                </c:pt>
                <c:pt idx="6076">
                  <c:v>#N/A</c:v>
                </c:pt>
                <c:pt idx="6077">
                  <c:v>#N/A</c:v>
                </c:pt>
                <c:pt idx="6078">
                  <c:v>#N/A</c:v>
                </c:pt>
                <c:pt idx="6079">
                  <c:v>#N/A</c:v>
                </c:pt>
                <c:pt idx="6080">
                  <c:v>#N/A</c:v>
                </c:pt>
                <c:pt idx="6081">
                  <c:v>#N/A</c:v>
                </c:pt>
                <c:pt idx="6082">
                  <c:v>#N/A</c:v>
                </c:pt>
                <c:pt idx="6083">
                  <c:v>#N/A</c:v>
                </c:pt>
                <c:pt idx="6084">
                  <c:v>#N/A</c:v>
                </c:pt>
                <c:pt idx="6085">
                  <c:v>#N/A</c:v>
                </c:pt>
                <c:pt idx="6086">
                  <c:v>#N/A</c:v>
                </c:pt>
                <c:pt idx="6087">
                  <c:v>#N/A</c:v>
                </c:pt>
                <c:pt idx="6088">
                  <c:v>#N/A</c:v>
                </c:pt>
                <c:pt idx="6089">
                  <c:v>#N/A</c:v>
                </c:pt>
                <c:pt idx="6090">
                  <c:v>#N/A</c:v>
                </c:pt>
                <c:pt idx="6091">
                  <c:v>#N/A</c:v>
                </c:pt>
                <c:pt idx="6092">
                  <c:v>#N/A</c:v>
                </c:pt>
                <c:pt idx="6093">
                  <c:v>#N/A</c:v>
                </c:pt>
                <c:pt idx="6094">
                  <c:v>#N/A</c:v>
                </c:pt>
                <c:pt idx="6095">
                  <c:v>#N/A</c:v>
                </c:pt>
                <c:pt idx="6096">
                  <c:v>#N/A</c:v>
                </c:pt>
                <c:pt idx="6097">
                  <c:v>#N/A</c:v>
                </c:pt>
                <c:pt idx="6098">
                  <c:v>#N/A</c:v>
                </c:pt>
                <c:pt idx="6099">
                  <c:v>#N/A</c:v>
                </c:pt>
                <c:pt idx="6100">
                  <c:v>#N/A</c:v>
                </c:pt>
                <c:pt idx="6101">
                  <c:v>#N/A</c:v>
                </c:pt>
                <c:pt idx="6102">
                  <c:v>#N/A</c:v>
                </c:pt>
                <c:pt idx="6103">
                  <c:v>#N/A</c:v>
                </c:pt>
                <c:pt idx="6104">
                  <c:v>#N/A</c:v>
                </c:pt>
                <c:pt idx="6105">
                  <c:v>#N/A</c:v>
                </c:pt>
                <c:pt idx="6106">
                  <c:v>#N/A</c:v>
                </c:pt>
                <c:pt idx="6107">
                  <c:v>#N/A</c:v>
                </c:pt>
                <c:pt idx="6108">
                  <c:v>#N/A</c:v>
                </c:pt>
                <c:pt idx="6109">
                  <c:v>#N/A</c:v>
                </c:pt>
                <c:pt idx="6110">
                  <c:v>#N/A</c:v>
                </c:pt>
                <c:pt idx="6111">
                  <c:v>#N/A</c:v>
                </c:pt>
                <c:pt idx="6112">
                  <c:v>#N/A</c:v>
                </c:pt>
                <c:pt idx="6113">
                  <c:v>#N/A</c:v>
                </c:pt>
                <c:pt idx="6114">
                  <c:v>#N/A</c:v>
                </c:pt>
                <c:pt idx="6115">
                  <c:v>#N/A</c:v>
                </c:pt>
                <c:pt idx="6116">
                  <c:v>2.1315068493150684</c:v>
                </c:pt>
                <c:pt idx="6117">
                  <c:v>#N/A</c:v>
                </c:pt>
                <c:pt idx="6118">
                  <c:v>#N/A</c:v>
                </c:pt>
                <c:pt idx="6119">
                  <c:v>#N/A</c:v>
                </c:pt>
                <c:pt idx="6120">
                  <c:v>2.1424657534246574</c:v>
                </c:pt>
                <c:pt idx="6121">
                  <c:v>#N/A</c:v>
                </c:pt>
                <c:pt idx="6122">
                  <c:v>#N/A</c:v>
                </c:pt>
                <c:pt idx="6123">
                  <c:v>#N/A</c:v>
                </c:pt>
                <c:pt idx="6124">
                  <c:v>#N/A</c:v>
                </c:pt>
                <c:pt idx="6125">
                  <c:v>#N/A</c:v>
                </c:pt>
                <c:pt idx="6126">
                  <c:v>#N/A</c:v>
                </c:pt>
                <c:pt idx="6127">
                  <c:v>#N/A</c:v>
                </c:pt>
                <c:pt idx="6128">
                  <c:v>#N/A</c:v>
                </c:pt>
                <c:pt idx="6129">
                  <c:v>#N/A</c:v>
                </c:pt>
                <c:pt idx="6130">
                  <c:v>#N/A</c:v>
                </c:pt>
                <c:pt idx="6131">
                  <c:v>#N/A</c:v>
                </c:pt>
                <c:pt idx="6132">
                  <c:v>#N/A</c:v>
                </c:pt>
                <c:pt idx="6133">
                  <c:v>#N/A</c:v>
                </c:pt>
                <c:pt idx="6134">
                  <c:v>#N/A</c:v>
                </c:pt>
                <c:pt idx="6135">
                  <c:v>#N/A</c:v>
                </c:pt>
                <c:pt idx="6136">
                  <c:v>#N/A</c:v>
                </c:pt>
                <c:pt idx="6137">
                  <c:v>#N/A</c:v>
                </c:pt>
                <c:pt idx="6138">
                  <c:v>#N/A</c:v>
                </c:pt>
                <c:pt idx="6139">
                  <c:v>#N/A</c:v>
                </c:pt>
                <c:pt idx="6140">
                  <c:v>#N/A</c:v>
                </c:pt>
                <c:pt idx="6141">
                  <c:v>#N/A</c:v>
                </c:pt>
                <c:pt idx="6142">
                  <c:v>#N/A</c:v>
                </c:pt>
                <c:pt idx="6143">
                  <c:v>#N/A</c:v>
                </c:pt>
                <c:pt idx="6144">
                  <c:v>#N/A</c:v>
                </c:pt>
                <c:pt idx="6145">
                  <c:v>#N/A</c:v>
                </c:pt>
                <c:pt idx="6146">
                  <c:v>#N/A</c:v>
                </c:pt>
                <c:pt idx="6147">
                  <c:v>#N/A</c:v>
                </c:pt>
                <c:pt idx="6148">
                  <c:v>#N/A</c:v>
                </c:pt>
                <c:pt idx="6149">
                  <c:v>#N/A</c:v>
                </c:pt>
                <c:pt idx="6150">
                  <c:v>#N/A</c:v>
                </c:pt>
                <c:pt idx="6151">
                  <c:v>#N/A</c:v>
                </c:pt>
                <c:pt idx="6152">
                  <c:v>#N/A</c:v>
                </c:pt>
                <c:pt idx="6153">
                  <c:v>#N/A</c:v>
                </c:pt>
                <c:pt idx="6154">
                  <c:v>#N/A</c:v>
                </c:pt>
                <c:pt idx="6155">
                  <c:v>#N/A</c:v>
                </c:pt>
                <c:pt idx="6156">
                  <c:v>#N/A</c:v>
                </c:pt>
                <c:pt idx="6157">
                  <c:v>#N/A</c:v>
                </c:pt>
                <c:pt idx="6158">
                  <c:v>#N/A</c:v>
                </c:pt>
                <c:pt idx="6159">
                  <c:v>#N/A</c:v>
                </c:pt>
                <c:pt idx="6160">
                  <c:v>#N/A</c:v>
                </c:pt>
                <c:pt idx="6161">
                  <c:v>#N/A</c:v>
                </c:pt>
                <c:pt idx="6162">
                  <c:v>2.1863013698630138</c:v>
                </c:pt>
                <c:pt idx="6163">
                  <c:v>2.1863013698630138</c:v>
                </c:pt>
                <c:pt idx="6164">
                  <c:v>2.1863013698630138</c:v>
                </c:pt>
                <c:pt idx="6165">
                  <c:v>2.1863013698630138</c:v>
                </c:pt>
                <c:pt idx="6166">
                  <c:v>2.1863013698630138</c:v>
                </c:pt>
                <c:pt idx="6167">
                  <c:v>2.1863013698630138</c:v>
                </c:pt>
                <c:pt idx="6168">
                  <c:v>2.1863013698630138</c:v>
                </c:pt>
                <c:pt idx="6169">
                  <c:v>2.1863013698630138</c:v>
                </c:pt>
                <c:pt idx="6170">
                  <c:v>2.1863013698630138</c:v>
                </c:pt>
                <c:pt idx="6171">
                  <c:v>#N/A</c:v>
                </c:pt>
                <c:pt idx="6172">
                  <c:v>#N/A</c:v>
                </c:pt>
                <c:pt idx="6173">
                  <c:v>#N/A</c:v>
                </c:pt>
                <c:pt idx="6174">
                  <c:v>#N/A</c:v>
                </c:pt>
                <c:pt idx="6175">
                  <c:v>#N/A</c:v>
                </c:pt>
                <c:pt idx="6176">
                  <c:v>#N/A</c:v>
                </c:pt>
                <c:pt idx="6177">
                  <c:v>#N/A</c:v>
                </c:pt>
                <c:pt idx="6178">
                  <c:v>#N/A</c:v>
                </c:pt>
                <c:pt idx="6179">
                  <c:v>#N/A</c:v>
                </c:pt>
                <c:pt idx="6180">
                  <c:v>#N/A</c:v>
                </c:pt>
                <c:pt idx="6181">
                  <c:v>#N/A</c:v>
                </c:pt>
                <c:pt idx="6182">
                  <c:v>#N/A</c:v>
                </c:pt>
                <c:pt idx="6183">
                  <c:v>2.1917808219178081</c:v>
                </c:pt>
                <c:pt idx="6184">
                  <c:v>#N/A</c:v>
                </c:pt>
                <c:pt idx="6185">
                  <c:v>#N/A</c:v>
                </c:pt>
                <c:pt idx="6186">
                  <c:v>2.1917808219178081</c:v>
                </c:pt>
                <c:pt idx="6187">
                  <c:v>#N/A</c:v>
                </c:pt>
                <c:pt idx="6188">
                  <c:v>#N/A</c:v>
                </c:pt>
                <c:pt idx="6189">
                  <c:v>#N/A</c:v>
                </c:pt>
                <c:pt idx="6190">
                  <c:v>#N/A</c:v>
                </c:pt>
                <c:pt idx="6191">
                  <c:v>#N/A</c:v>
                </c:pt>
                <c:pt idx="6192">
                  <c:v>#N/A</c:v>
                </c:pt>
                <c:pt idx="6193">
                  <c:v>#N/A</c:v>
                </c:pt>
                <c:pt idx="6194">
                  <c:v>#N/A</c:v>
                </c:pt>
                <c:pt idx="6195">
                  <c:v>#N/A</c:v>
                </c:pt>
                <c:pt idx="6196">
                  <c:v>#N/A</c:v>
                </c:pt>
                <c:pt idx="6197">
                  <c:v>#N/A</c:v>
                </c:pt>
                <c:pt idx="6198">
                  <c:v>#N/A</c:v>
                </c:pt>
                <c:pt idx="6199">
                  <c:v>2.2027397260273971</c:v>
                </c:pt>
                <c:pt idx="6200">
                  <c:v>2.2027397260273971</c:v>
                </c:pt>
                <c:pt idx="6201">
                  <c:v>2.2027397260273971</c:v>
                </c:pt>
                <c:pt idx="6202">
                  <c:v>2.2027397260273971</c:v>
                </c:pt>
                <c:pt idx="6203">
                  <c:v>2.2027397260273971</c:v>
                </c:pt>
                <c:pt idx="6204">
                  <c:v>2.2027397260273971</c:v>
                </c:pt>
                <c:pt idx="6205">
                  <c:v>2.2027397260273971</c:v>
                </c:pt>
                <c:pt idx="6206">
                  <c:v>#N/A</c:v>
                </c:pt>
                <c:pt idx="6207">
                  <c:v>#N/A</c:v>
                </c:pt>
                <c:pt idx="6208">
                  <c:v>#N/A</c:v>
                </c:pt>
                <c:pt idx="6209">
                  <c:v>#N/A</c:v>
                </c:pt>
                <c:pt idx="6210">
                  <c:v>#N/A</c:v>
                </c:pt>
                <c:pt idx="6211">
                  <c:v>#N/A</c:v>
                </c:pt>
                <c:pt idx="6212">
                  <c:v>#N/A</c:v>
                </c:pt>
                <c:pt idx="6213">
                  <c:v>#N/A</c:v>
                </c:pt>
                <c:pt idx="6214">
                  <c:v>#N/A</c:v>
                </c:pt>
                <c:pt idx="6215">
                  <c:v>#N/A</c:v>
                </c:pt>
                <c:pt idx="6216">
                  <c:v>#N/A</c:v>
                </c:pt>
                <c:pt idx="6217">
                  <c:v>#N/A</c:v>
                </c:pt>
                <c:pt idx="6218">
                  <c:v>#N/A</c:v>
                </c:pt>
                <c:pt idx="6219">
                  <c:v>2.2109589041095892</c:v>
                </c:pt>
                <c:pt idx="6220">
                  <c:v>#N/A</c:v>
                </c:pt>
                <c:pt idx="6221">
                  <c:v>#N/A</c:v>
                </c:pt>
                <c:pt idx="6222">
                  <c:v>#N/A</c:v>
                </c:pt>
                <c:pt idx="6223">
                  <c:v>#N/A</c:v>
                </c:pt>
                <c:pt idx="6224">
                  <c:v>2.2109589041095892</c:v>
                </c:pt>
                <c:pt idx="6225">
                  <c:v>#N/A</c:v>
                </c:pt>
                <c:pt idx="6226">
                  <c:v>#N/A</c:v>
                </c:pt>
                <c:pt idx="6227">
                  <c:v>#N/A</c:v>
                </c:pt>
                <c:pt idx="6228">
                  <c:v>#N/A</c:v>
                </c:pt>
                <c:pt idx="6229">
                  <c:v>#N/A</c:v>
                </c:pt>
                <c:pt idx="6230">
                  <c:v>#N/A</c:v>
                </c:pt>
                <c:pt idx="6231">
                  <c:v>#N/A</c:v>
                </c:pt>
                <c:pt idx="6232">
                  <c:v>#N/A</c:v>
                </c:pt>
                <c:pt idx="6233">
                  <c:v>#N/A</c:v>
                </c:pt>
                <c:pt idx="6234">
                  <c:v>#N/A</c:v>
                </c:pt>
                <c:pt idx="6235">
                  <c:v>#N/A</c:v>
                </c:pt>
                <c:pt idx="6236">
                  <c:v>#N/A</c:v>
                </c:pt>
                <c:pt idx="6237">
                  <c:v>2.2191780821917808</c:v>
                </c:pt>
                <c:pt idx="6238">
                  <c:v>#N/A</c:v>
                </c:pt>
                <c:pt idx="6239">
                  <c:v>#N/A</c:v>
                </c:pt>
                <c:pt idx="6240">
                  <c:v>#N/A</c:v>
                </c:pt>
                <c:pt idx="6241">
                  <c:v>#N/A</c:v>
                </c:pt>
                <c:pt idx="6242">
                  <c:v>#N/A</c:v>
                </c:pt>
                <c:pt idx="6243">
                  <c:v>#N/A</c:v>
                </c:pt>
                <c:pt idx="6244">
                  <c:v>#N/A</c:v>
                </c:pt>
                <c:pt idx="6245">
                  <c:v>#N/A</c:v>
                </c:pt>
                <c:pt idx="6246">
                  <c:v>#N/A</c:v>
                </c:pt>
                <c:pt idx="6247">
                  <c:v>#N/A</c:v>
                </c:pt>
                <c:pt idx="6248">
                  <c:v>#N/A</c:v>
                </c:pt>
                <c:pt idx="6249">
                  <c:v>#N/A</c:v>
                </c:pt>
                <c:pt idx="6250">
                  <c:v>#N/A</c:v>
                </c:pt>
                <c:pt idx="6251">
                  <c:v>#N/A</c:v>
                </c:pt>
                <c:pt idx="6252">
                  <c:v>#N/A</c:v>
                </c:pt>
                <c:pt idx="6253">
                  <c:v>#N/A</c:v>
                </c:pt>
                <c:pt idx="6254">
                  <c:v>#N/A</c:v>
                </c:pt>
                <c:pt idx="6255">
                  <c:v>#N/A</c:v>
                </c:pt>
                <c:pt idx="6256">
                  <c:v>#N/A</c:v>
                </c:pt>
                <c:pt idx="6257">
                  <c:v>#N/A</c:v>
                </c:pt>
                <c:pt idx="6258">
                  <c:v>#N/A</c:v>
                </c:pt>
                <c:pt idx="6259">
                  <c:v>#N/A</c:v>
                </c:pt>
                <c:pt idx="6260">
                  <c:v>#N/A</c:v>
                </c:pt>
                <c:pt idx="6261">
                  <c:v>#N/A</c:v>
                </c:pt>
                <c:pt idx="6262">
                  <c:v>2.2410958904109588</c:v>
                </c:pt>
                <c:pt idx="6263">
                  <c:v>#N/A</c:v>
                </c:pt>
                <c:pt idx="6264">
                  <c:v>#N/A</c:v>
                </c:pt>
                <c:pt idx="6265">
                  <c:v>#N/A</c:v>
                </c:pt>
                <c:pt idx="6266">
                  <c:v>#N/A</c:v>
                </c:pt>
                <c:pt idx="6267">
                  <c:v>#N/A</c:v>
                </c:pt>
                <c:pt idx="6268">
                  <c:v>#N/A</c:v>
                </c:pt>
                <c:pt idx="6269">
                  <c:v>#N/A</c:v>
                </c:pt>
                <c:pt idx="6270">
                  <c:v>#N/A</c:v>
                </c:pt>
                <c:pt idx="6271">
                  <c:v>#N/A</c:v>
                </c:pt>
                <c:pt idx="6272">
                  <c:v>#N/A</c:v>
                </c:pt>
                <c:pt idx="6273">
                  <c:v>#N/A</c:v>
                </c:pt>
                <c:pt idx="6274">
                  <c:v>#N/A</c:v>
                </c:pt>
                <c:pt idx="6275">
                  <c:v>#N/A</c:v>
                </c:pt>
                <c:pt idx="6276">
                  <c:v>#N/A</c:v>
                </c:pt>
                <c:pt idx="6277">
                  <c:v>#N/A</c:v>
                </c:pt>
                <c:pt idx="6278">
                  <c:v>#N/A</c:v>
                </c:pt>
                <c:pt idx="6279">
                  <c:v>#N/A</c:v>
                </c:pt>
                <c:pt idx="6280">
                  <c:v>#N/A</c:v>
                </c:pt>
                <c:pt idx="6281">
                  <c:v>#N/A</c:v>
                </c:pt>
                <c:pt idx="6282">
                  <c:v>#N/A</c:v>
                </c:pt>
                <c:pt idx="6283">
                  <c:v>#N/A</c:v>
                </c:pt>
                <c:pt idx="6284">
                  <c:v>#N/A</c:v>
                </c:pt>
                <c:pt idx="6285">
                  <c:v>#N/A</c:v>
                </c:pt>
                <c:pt idx="6286">
                  <c:v>#N/A</c:v>
                </c:pt>
                <c:pt idx="6287">
                  <c:v>#N/A</c:v>
                </c:pt>
                <c:pt idx="6288">
                  <c:v>#N/A</c:v>
                </c:pt>
                <c:pt idx="6289">
                  <c:v>#N/A</c:v>
                </c:pt>
                <c:pt idx="6290">
                  <c:v>#N/A</c:v>
                </c:pt>
                <c:pt idx="6291">
                  <c:v>#N/A</c:v>
                </c:pt>
                <c:pt idx="6292">
                  <c:v>#N/A</c:v>
                </c:pt>
                <c:pt idx="6293">
                  <c:v>#N/A</c:v>
                </c:pt>
                <c:pt idx="6294">
                  <c:v>#N/A</c:v>
                </c:pt>
                <c:pt idx="6295">
                  <c:v>2.2657534246575342</c:v>
                </c:pt>
                <c:pt idx="6296">
                  <c:v>2.2657534246575342</c:v>
                </c:pt>
                <c:pt idx="6297">
                  <c:v>#N/A</c:v>
                </c:pt>
                <c:pt idx="6298">
                  <c:v>#N/A</c:v>
                </c:pt>
                <c:pt idx="6299">
                  <c:v>#N/A</c:v>
                </c:pt>
                <c:pt idx="6300">
                  <c:v>#N/A</c:v>
                </c:pt>
                <c:pt idx="6301">
                  <c:v>#N/A</c:v>
                </c:pt>
                <c:pt idx="6302">
                  <c:v>#N/A</c:v>
                </c:pt>
                <c:pt idx="6303">
                  <c:v>#N/A</c:v>
                </c:pt>
                <c:pt idx="6304">
                  <c:v>#N/A</c:v>
                </c:pt>
                <c:pt idx="6305">
                  <c:v>#N/A</c:v>
                </c:pt>
                <c:pt idx="6306">
                  <c:v>#N/A</c:v>
                </c:pt>
                <c:pt idx="6307">
                  <c:v>#N/A</c:v>
                </c:pt>
                <c:pt idx="6308">
                  <c:v>#N/A</c:v>
                </c:pt>
                <c:pt idx="6309">
                  <c:v>#N/A</c:v>
                </c:pt>
                <c:pt idx="6310">
                  <c:v>2.2684931506849315</c:v>
                </c:pt>
                <c:pt idx="6311">
                  <c:v>2.2684931506849315</c:v>
                </c:pt>
                <c:pt idx="6312">
                  <c:v>#N/A</c:v>
                </c:pt>
                <c:pt idx="6313">
                  <c:v>#N/A</c:v>
                </c:pt>
                <c:pt idx="6314">
                  <c:v>#N/A</c:v>
                </c:pt>
                <c:pt idx="6315">
                  <c:v>#N/A</c:v>
                </c:pt>
                <c:pt idx="6316">
                  <c:v>#N/A</c:v>
                </c:pt>
                <c:pt idx="6317">
                  <c:v>#N/A</c:v>
                </c:pt>
                <c:pt idx="6318">
                  <c:v>#N/A</c:v>
                </c:pt>
                <c:pt idx="6319">
                  <c:v>#N/A</c:v>
                </c:pt>
                <c:pt idx="6320">
                  <c:v>#N/A</c:v>
                </c:pt>
                <c:pt idx="6321">
                  <c:v>#N/A</c:v>
                </c:pt>
                <c:pt idx="6322">
                  <c:v>#N/A</c:v>
                </c:pt>
                <c:pt idx="6323">
                  <c:v>#N/A</c:v>
                </c:pt>
                <c:pt idx="6324">
                  <c:v>#N/A</c:v>
                </c:pt>
                <c:pt idx="6325">
                  <c:v>#N/A</c:v>
                </c:pt>
                <c:pt idx="6326">
                  <c:v>#N/A</c:v>
                </c:pt>
                <c:pt idx="6327">
                  <c:v>#N/A</c:v>
                </c:pt>
                <c:pt idx="6328">
                  <c:v>#N/A</c:v>
                </c:pt>
                <c:pt idx="6329">
                  <c:v>#N/A</c:v>
                </c:pt>
                <c:pt idx="6330">
                  <c:v>#N/A</c:v>
                </c:pt>
                <c:pt idx="6331">
                  <c:v>#N/A</c:v>
                </c:pt>
                <c:pt idx="6332">
                  <c:v>#N/A</c:v>
                </c:pt>
                <c:pt idx="6333">
                  <c:v>#N/A</c:v>
                </c:pt>
                <c:pt idx="6334">
                  <c:v>#N/A</c:v>
                </c:pt>
                <c:pt idx="6335">
                  <c:v>#N/A</c:v>
                </c:pt>
                <c:pt idx="6336">
                  <c:v>#N/A</c:v>
                </c:pt>
                <c:pt idx="6337">
                  <c:v>#N/A</c:v>
                </c:pt>
                <c:pt idx="6338">
                  <c:v>#N/A</c:v>
                </c:pt>
                <c:pt idx="6339">
                  <c:v>#N/A</c:v>
                </c:pt>
                <c:pt idx="6340">
                  <c:v>2.2849315068493152</c:v>
                </c:pt>
                <c:pt idx="6341">
                  <c:v>2.2849315068493152</c:v>
                </c:pt>
                <c:pt idx="6342">
                  <c:v>2.2849315068493152</c:v>
                </c:pt>
                <c:pt idx="6343">
                  <c:v>#N/A</c:v>
                </c:pt>
                <c:pt idx="6344">
                  <c:v>2.2876712328767121</c:v>
                </c:pt>
                <c:pt idx="6345">
                  <c:v>#N/A</c:v>
                </c:pt>
                <c:pt idx="6346">
                  <c:v>#N/A</c:v>
                </c:pt>
                <c:pt idx="6347">
                  <c:v>#N/A</c:v>
                </c:pt>
                <c:pt idx="6348">
                  <c:v>#N/A</c:v>
                </c:pt>
                <c:pt idx="6349">
                  <c:v>#N/A</c:v>
                </c:pt>
                <c:pt idx="6350">
                  <c:v>#N/A</c:v>
                </c:pt>
                <c:pt idx="6351">
                  <c:v>#N/A</c:v>
                </c:pt>
                <c:pt idx="6352">
                  <c:v>#N/A</c:v>
                </c:pt>
                <c:pt idx="6353">
                  <c:v>#N/A</c:v>
                </c:pt>
                <c:pt idx="6354">
                  <c:v>#N/A</c:v>
                </c:pt>
                <c:pt idx="6355">
                  <c:v>#N/A</c:v>
                </c:pt>
                <c:pt idx="6356">
                  <c:v>#N/A</c:v>
                </c:pt>
                <c:pt idx="6357">
                  <c:v>#N/A</c:v>
                </c:pt>
                <c:pt idx="6358">
                  <c:v>#N/A</c:v>
                </c:pt>
                <c:pt idx="6359">
                  <c:v>#N/A</c:v>
                </c:pt>
                <c:pt idx="6360">
                  <c:v>#N/A</c:v>
                </c:pt>
                <c:pt idx="6361">
                  <c:v>#N/A</c:v>
                </c:pt>
                <c:pt idx="6362">
                  <c:v>#N/A</c:v>
                </c:pt>
                <c:pt idx="6363">
                  <c:v>#N/A</c:v>
                </c:pt>
                <c:pt idx="6364">
                  <c:v>#N/A</c:v>
                </c:pt>
                <c:pt idx="6365">
                  <c:v>#N/A</c:v>
                </c:pt>
                <c:pt idx="6366">
                  <c:v>#N/A</c:v>
                </c:pt>
                <c:pt idx="6367">
                  <c:v>#N/A</c:v>
                </c:pt>
                <c:pt idx="6368">
                  <c:v>#N/A</c:v>
                </c:pt>
                <c:pt idx="6369">
                  <c:v>2.3013698630136985</c:v>
                </c:pt>
                <c:pt idx="6370">
                  <c:v>#N/A</c:v>
                </c:pt>
                <c:pt idx="6371">
                  <c:v>#N/A</c:v>
                </c:pt>
                <c:pt idx="6372">
                  <c:v>#N/A</c:v>
                </c:pt>
                <c:pt idx="6373">
                  <c:v>#N/A</c:v>
                </c:pt>
                <c:pt idx="6374">
                  <c:v>#N/A</c:v>
                </c:pt>
                <c:pt idx="6375">
                  <c:v>#N/A</c:v>
                </c:pt>
                <c:pt idx="6376">
                  <c:v>#N/A</c:v>
                </c:pt>
                <c:pt idx="6377">
                  <c:v>#N/A</c:v>
                </c:pt>
                <c:pt idx="6378">
                  <c:v>#N/A</c:v>
                </c:pt>
                <c:pt idx="6379">
                  <c:v>#N/A</c:v>
                </c:pt>
                <c:pt idx="6380">
                  <c:v>#N/A</c:v>
                </c:pt>
                <c:pt idx="6381">
                  <c:v>#N/A</c:v>
                </c:pt>
                <c:pt idx="6382">
                  <c:v>#N/A</c:v>
                </c:pt>
                <c:pt idx="6383">
                  <c:v>#N/A</c:v>
                </c:pt>
                <c:pt idx="6384">
                  <c:v>#N/A</c:v>
                </c:pt>
                <c:pt idx="6385">
                  <c:v>#N/A</c:v>
                </c:pt>
                <c:pt idx="6386">
                  <c:v>#N/A</c:v>
                </c:pt>
                <c:pt idx="6387">
                  <c:v>#N/A</c:v>
                </c:pt>
                <c:pt idx="6388">
                  <c:v>#N/A</c:v>
                </c:pt>
                <c:pt idx="6389">
                  <c:v>#N/A</c:v>
                </c:pt>
                <c:pt idx="6390">
                  <c:v>#N/A</c:v>
                </c:pt>
                <c:pt idx="6391">
                  <c:v>#N/A</c:v>
                </c:pt>
                <c:pt idx="6392">
                  <c:v>#N/A</c:v>
                </c:pt>
                <c:pt idx="6393">
                  <c:v>#N/A</c:v>
                </c:pt>
                <c:pt idx="6394">
                  <c:v>#N/A</c:v>
                </c:pt>
                <c:pt idx="6395">
                  <c:v>#N/A</c:v>
                </c:pt>
                <c:pt idx="6396">
                  <c:v>#N/A</c:v>
                </c:pt>
                <c:pt idx="6397">
                  <c:v>#N/A</c:v>
                </c:pt>
                <c:pt idx="6398">
                  <c:v>#N/A</c:v>
                </c:pt>
                <c:pt idx="6399">
                  <c:v>#N/A</c:v>
                </c:pt>
                <c:pt idx="6400">
                  <c:v>#N/A</c:v>
                </c:pt>
                <c:pt idx="6401">
                  <c:v>#N/A</c:v>
                </c:pt>
                <c:pt idx="6402">
                  <c:v>#N/A</c:v>
                </c:pt>
                <c:pt idx="6403">
                  <c:v>#N/A</c:v>
                </c:pt>
                <c:pt idx="6404">
                  <c:v>#N/A</c:v>
                </c:pt>
                <c:pt idx="6405">
                  <c:v>#N/A</c:v>
                </c:pt>
                <c:pt idx="6406">
                  <c:v>#N/A</c:v>
                </c:pt>
                <c:pt idx="6407">
                  <c:v>#N/A</c:v>
                </c:pt>
                <c:pt idx="6408">
                  <c:v>#N/A</c:v>
                </c:pt>
                <c:pt idx="6409">
                  <c:v>#N/A</c:v>
                </c:pt>
                <c:pt idx="6410">
                  <c:v>#N/A</c:v>
                </c:pt>
                <c:pt idx="6411">
                  <c:v>#N/A</c:v>
                </c:pt>
                <c:pt idx="6412">
                  <c:v>#N/A</c:v>
                </c:pt>
                <c:pt idx="6413">
                  <c:v>#N/A</c:v>
                </c:pt>
                <c:pt idx="6414">
                  <c:v>#N/A</c:v>
                </c:pt>
                <c:pt idx="6415">
                  <c:v>#N/A</c:v>
                </c:pt>
                <c:pt idx="6416">
                  <c:v>#N/A</c:v>
                </c:pt>
                <c:pt idx="6417">
                  <c:v>#N/A</c:v>
                </c:pt>
                <c:pt idx="6418">
                  <c:v>#N/A</c:v>
                </c:pt>
                <c:pt idx="6419">
                  <c:v>#N/A</c:v>
                </c:pt>
                <c:pt idx="6420">
                  <c:v>#N/A</c:v>
                </c:pt>
                <c:pt idx="6421">
                  <c:v>#N/A</c:v>
                </c:pt>
                <c:pt idx="6422">
                  <c:v>#N/A</c:v>
                </c:pt>
                <c:pt idx="6423">
                  <c:v>#N/A</c:v>
                </c:pt>
                <c:pt idx="6424">
                  <c:v>#N/A</c:v>
                </c:pt>
                <c:pt idx="6425">
                  <c:v>#N/A</c:v>
                </c:pt>
                <c:pt idx="6426">
                  <c:v>#N/A</c:v>
                </c:pt>
                <c:pt idx="6427">
                  <c:v>#N/A</c:v>
                </c:pt>
                <c:pt idx="6428">
                  <c:v>#N/A</c:v>
                </c:pt>
                <c:pt idx="6429">
                  <c:v>#N/A</c:v>
                </c:pt>
                <c:pt idx="6430">
                  <c:v>#N/A</c:v>
                </c:pt>
                <c:pt idx="6431">
                  <c:v>#N/A</c:v>
                </c:pt>
                <c:pt idx="6432">
                  <c:v>#N/A</c:v>
                </c:pt>
                <c:pt idx="6433">
                  <c:v>#N/A</c:v>
                </c:pt>
                <c:pt idx="6434">
                  <c:v>#N/A</c:v>
                </c:pt>
                <c:pt idx="6435">
                  <c:v>#N/A</c:v>
                </c:pt>
                <c:pt idx="6436">
                  <c:v>#N/A</c:v>
                </c:pt>
                <c:pt idx="6437">
                  <c:v>#N/A</c:v>
                </c:pt>
                <c:pt idx="6438">
                  <c:v>#N/A</c:v>
                </c:pt>
                <c:pt idx="6439">
                  <c:v>#N/A</c:v>
                </c:pt>
                <c:pt idx="6440">
                  <c:v>#N/A</c:v>
                </c:pt>
                <c:pt idx="6441">
                  <c:v>#N/A</c:v>
                </c:pt>
                <c:pt idx="6442">
                  <c:v>#N/A</c:v>
                </c:pt>
                <c:pt idx="6443">
                  <c:v>#N/A</c:v>
                </c:pt>
                <c:pt idx="6444">
                  <c:v>#N/A</c:v>
                </c:pt>
                <c:pt idx="6445">
                  <c:v>#N/A</c:v>
                </c:pt>
                <c:pt idx="6446">
                  <c:v>#N/A</c:v>
                </c:pt>
                <c:pt idx="6447">
                  <c:v>#N/A</c:v>
                </c:pt>
                <c:pt idx="6448">
                  <c:v>#N/A</c:v>
                </c:pt>
                <c:pt idx="6449">
                  <c:v>#N/A</c:v>
                </c:pt>
                <c:pt idx="6450">
                  <c:v>#N/A</c:v>
                </c:pt>
                <c:pt idx="6451">
                  <c:v>#N/A</c:v>
                </c:pt>
                <c:pt idx="6452">
                  <c:v>#N/A</c:v>
                </c:pt>
                <c:pt idx="6453">
                  <c:v>#N/A</c:v>
                </c:pt>
                <c:pt idx="6454">
                  <c:v>#N/A</c:v>
                </c:pt>
                <c:pt idx="6455">
                  <c:v>#N/A</c:v>
                </c:pt>
                <c:pt idx="6456">
                  <c:v>#N/A</c:v>
                </c:pt>
                <c:pt idx="6457">
                  <c:v>#N/A</c:v>
                </c:pt>
                <c:pt idx="6458">
                  <c:v>#N/A</c:v>
                </c:pt>
                <c:pt idx="6459">
                  <c:v>#N/A</c:v>
                </c:pt>
                <c:pt idx="6460">
                  <c:v>#N/A</c:v>
                </c:pt>
                <c:pt idx="6461">
                  <c:v>#N/A</c:v>
                </c:pt>
                <c:pt idx="6462">
                  <c:v>#N/A</c:v>
                </c:pt>
                <c:pt idx="6463">
                  <c:v>#N/A</c:v>
                </c:pt>
                <c:pt idx="6464">
                  <c:v>#N/A</c:v>
                </c:pt>
                <c:pt idx="6465">
                  <c:v>#N/A</c:v>
                </c:pt>
                <c:pt idx="6466">
                  <c:v>#N/A</c:v>
                </c:pt>
                <c:pt idx="6467">
                  <c:v>#N/A</c:v>
                </c:pt>
                <c:pt idx="6468">
                  <c:v>#N/A</c:v>
                </c:pt>
                <c:pt idx="6469">
                  <c:v>#N/A</c:v>
                </c:pt>
                <c:pt idx="6470">
                  <c:v>#N/A</c:v>
                </c:pt>
                <c:pt idx="6471">
                  <c:v>#N/A</c:v>
                </c:pt>
                <c:pt idx="6472">
                  <c:v>#N/A</c:v>
                </c:pt>
                <c:pt idx="6473">
                  <c:v>#N/A</c:v>
                </c:pt>
                <c:pt idx="6474">
                  <c:v>#N/A</c:v>
                </c:pt>
                <c:pt idx="6475">
                  <c:v>#N/A</c:v>
                </c:pt>
                <c:pt idx="6476">
                  <c:v>#N/A</c:v>
                </c:pt>
                <c:pt idx="6477">
                  <c:v>#N/A</c:v>
                </c:pt>
                <c:pt idx="6478">
                  <c:v>#N/A</c:v>
                </c:pt>
                <c:pt idx="6479">
                  <c:v>#N/A</c:v>
                </c:pt>
                <c:pt idx="6480">
                  <c:v>#N/A</c:v>
                </c:pt>
                <c:pt idx="6481">
                  <c:v>#N/A</c:v>
                </c:pt>
                <c:pt idx="6482">
                  <c:v>#N/A</c:v>
                </c:pt>
                <c:pt idx="6483">
                  <c:v>#N/A</c:v>
                </c:pt>
                <c:pt idx="6484">
                  <c:v>#N/A</c:v>
                </c:pt>
                <c:pt idx="6485">
                  <c:v>#N/A</c:v>
                </c:pt>
                <c:pt idx="6486">
                  <c:v>#N/A</c:v>
                </c:pt>
                <c:pt idx="6487">
                  <c:v>#N/A</c:v>
                </c:pt>
                <c:pt idx="6488">
                  <c:v>#N/A</c:v>
                </c:pt>
                <c:pt idx="6489">
                  <c:v>#N/A</c:v>
                </c:pt>
                <c:pt idx="6490">
                  <c:v>#N/A</c:v>
                </c:pt>
                <c:pt idx="6491">
                  <c:v>#N/A</c:v>
                </c:pt>
                <c:pt idx="6492">
                  <c:v>#N/A</c:v>
                </c:pt>
                <c:pt idx="6493">
                  <c:v>#N/A</c:v>
                </c:pt>
                <c:pt idx="6494">
                  <c:v>#N/A</c:v>
                </c:pt>
                <c:pt idx="6495">
                  <c:v>#N/A</c:v>
                </c:pt>
                <c:pt idx="6496">
                  <c:v>#N/A</c:v>
                </c:pt>
                <c:pt idx="6497">
                  <c:v>#N/A</c:v>
                </c:pt>
                <c:pt idx="6498">
                  <c:v>#N/A</c:v>
                </c:pt>
                <c:pt idx="6499">
                  <c:v>#N/A</c:v>
                </c:pt>
                <c:pt idx="6500">
                  <c:v>#N/A</c:v>
                </c:pt>
                <c:pt idx="6501">
                  <c:v>#N/A</c:v>
                </c:pt>
                <c:pt idx="6502">
                  <c:v>#N/A</c:v>
                </c:pt>
                <c:pt idx="6503">
                  <c:v>#N/A</c:v>
                </c:pt>
                <c:pt idx="6504">
                  <c:v>#N/A</c:v>
                </c:pt>
                <c:pt idx="6505">
                  <c:v>#N/A</c:v>
                </c:pt>
                <c:pt idx="6506">
                  <c:v>#N/A</c:v>
                </c:pt>
                <c:pt idx="6507">
                  <c:v>#N/A</c:v>
                </c:pt>
                <c:pt idx="6508">
                  <c:v>#N/A</c:v>
                </c:pt>
                <c:pt idx="6509">
                  <c:v>#N/A</c:v>
                </c:pt>
                <c:pt idx="6510">
                  <c:v>#N/A</c:v>
                </c:pt>
                <c:pt idx="6511">
                  <c:v>#N/A</c:v>
                </c:pt>
                <c:pt idx="6512">
                  <c:v>#N/A</c:v>
                </c:pt>
                <c:pt idx="6513">
                  <c:v>#N/A</c:v>
                </c:pt>
                <c:pt idx="6514">
                  <c:v>#N/A</c:v>
                </c:pt>
                <c:pt idx="6515">
                  <c:v>#N/A</c:v>
                </c:pt>
                <c:pt idx="6516">
                  <c:v>#N/A</c:v>
                </c:pt>
                <c:pt idx="6517">
                  <c:v>#N/A</c:v>
                </c:pt>
                <c:pt idx="6518">
                  <c:v>#N/A</c:v>
                </c:pt>
                <c:pt idx="6519">
                  <c:v>#N/A</c:v>
                </c:pt>
                <c:pt idx="6520">
                  <c:v>#N/A</c:v>
                </c:pt>
                <c:pt idx="6521">
                  <c:v>#N/A</c:v>
                </c:pt>
                <c:pt idx="6522">
                  <c:v>#N/A</c:v>
                </c:pt>
                <c:pt idx="6523">
                  <c:v>#N/A</c:v>
                </c:pt>
                <c:pt idx="6524">
                  <c:v>#N/A</c:v>
                </c:pt>
                <c:pt idx="6525">
                  <c:v>#N/A</c:v>
                </c:pt>
                <c:pt idx="6526">
                  <c:v>#N/A</c:v>
                </c:pt>
                <c:pt idx="6527">
                  <c:v>#N/A</c:v>
                </c:pt>
                <c:pt idx="6528">
                  <c:v>#N/A</c:v>
                </c:pt>
                <c:pt idx="6529">
                  <c:v>#N/A</c:v>
                </c:pt>
                <c:pt idx="6530">
                  <c:v>#N/A</c:v>
                </c:pt>
                <c:pt idx="6531">
                  <c:v>#N/A</c:v>
                </c:pt>
                <c:pt idx="6532">
                  <c:v>#N/A</c:v>
                </c:pt>
                <c:pt idx="6533">
                  <c:v>#N/A</c:v>
                </c:pt>
                <c:pt idx="6534">
                  <c:v>#N/A</c:v>
                </c:pt>
                <c:pt idx="6535">
                  <c:v>#N/A</c:v>
                </c:pt>
                <c:pt idx="6536">
                  <c:v>#N/A</c:v>
                </c:pt>
                <c:pt idx="6537">
                  <c:v>#N/A</c:v>
                </c:pt>
                <c:pt idx="6538">
                  <c:v>#N/A</c:v>
                </c:pt>
                <c:pt idx="6539">
                  <c:v>#N/A</c:v>
                </c:pt>
                <c:pt idx="6540">
                  <c:v>#N/A</c:v>
                </c:pt>
                <c:pt idx="6541">
                  <c:v>#N/A</c:v>
                </c:pt>
                <c:pt idx="6542">
                  <c:v>#N/A</c:v>
                </c:pt>
                <c:pt idx="6543">
                  <c:v>#N/A</c:v>
                </c:pt>
                <c:pt idx="6544">
                  <c:v>#N/A</c:v>
                </c:pt>
                <c:pt idx="6545">
                  <c:v>#N/A</c:v>
                </c:pt>
                <c:pt idx="6546">
                  <c:v>#N/A</c:v>
                </c:pt>
                <c:pt idx="6547">
                  <c:v>#N/A</c:v>
                </c:pt>
                <c:pt idx="6548">
                  <c:v>#N/A</c:v>
                </c:pt>
                <c:pt idx="6549">
                  <c:v>#N/A</c:v>
                </c:pt>
                <c:pt idx="6550">
                  <c:v>#N/A</c:v>
                </c:pt>
                <c:pt idx="6551">
                  <c:v>#N/A</c:v>
                </c:pt>
                <c:pt idx="6552">
                  <c:v>#N/A</c:v>
                </c:pt>
                <c:pt idx="6553">
                  <c:v>#N/A</c:v>
                </c:pt>
                <c:pt idx="6554">
                  <c:v>#N/A</c:v>
                </c:pt>
                <c:pt idx="6555">
                  <c:v>#N/A</c:v>
                </c:pt>
                <c:pt idx="6556">
                  <c:v>#N/A</c:v>
                </c:pt>
                <c:pt idx="6557">
                  <c:v>#N/A</c:v>
                </c:pt>
                <c:pt idx="6558">
                  <c:v>#N/A</c:v>
                </c:pt>
                <c:pt idx="6559">
                  <c:v>#N/A</c:v>
                </c:pt>
                <c:pt idx="6560">
                  <c:v>#N/A</c:v>
                </c:pt>
                <c:pt idx="6561">
                  <c:v>#N/A</c:v>
                </c:pt>
                <c:pt idx="6562">
                  <c:v>#N/A</c:v>
                </c:pt>
                <c:pt idx="6563">
                  <c:v>#N/A</c:v>
                </c:pt>
                <c:pt idx="6564">
                  <c:v>#N/A</c:v>
                </c:pt>
                <c:pt idx="6565">
                  <c:v>#N/A</c:v>
                </c:pt>
                <c:pt idx="6566">
                  <c:v>#N/A</c:v>
                </c:pt>
                <c:pt idx="6567">
                  <c:v>#N/A</c:v>
                </c:pt>
                <c:pt idx="6568">
                  <c:v>#N/A</c:v>
                </c:pt>
                <c:pt idx="6569">
                  <c:v>#N/A</c:v>
                </c:pt>
                <c:pt idx="6570">
                  <c:v>#N/A</c:v>
                </c:pt>
                <c:pt idx="6571">
                  <c:v>#N/A</c:v>
                </c:pt>
                <c:pt idx="6572">
                  <c:v>#N/A</c:v>
                </c:pt>
                <c:pt idx="6573">
                  <c:v>#N/A</c:v>
                </c:pt>
                <c:pt idx="6574">
                  <c:v>#N/A</c:v>
                </c:pt>
                <c:pt idx="6575">
                  <c:v>#N/A</c:v>
                </c:pt>
                <c:pt idx="6576">
                  <c:v>#N/A</c:v>
                </c:pt>
                <c:pt idx="6577">
                  <c:v>#N/A</c:v>
                </c:pt>
                <c:pt idx="6578">
                  <c:v>#N/A</c:v>
                </c:pt>
                <c:pt idx="6579">
                  <c:v>#N/A</c:v>
                </c:pt>
                <c:pt idx="6580">
                  <c:v>#N/A</c:v>
                </c:pt>
                <c:pt idx="6581">
                  <c:v>#N/A</c:v>
                </c:pt>
                <c:pt idx="6582">
                  <c:v>#N/A</c:v>
                </c:pt>
                <c:pt idx="6583">
                  <c:v>#N/A</c:v>
                </c:pt>
                <c:pt idx="6584">
                  <c:v>#N/A</c:v>
                </c:pt>
                <c:pt idx="6585">
                  <c:v>#N/A</c:v>
                </c:pt>
                <c:pt idx="6586">
                  <c:v>#N/A</c:v>
                </c:pt>
                <c:pt idx="6587">
                  <c:v>#N/A</c:v>
                </c:pt>
                <c:pt idx="6588">
                  <c:v>#N/A</c:v>
                </c:pt>
                <c:pt idx="6589">
                  <c:v>#N/A</c:v>
                </c:pt>
                <c:pt idx="6590">
                  <c:v>2.3945205479452056</c:v>
                </c:pt>
                <c:pt idx="6591">
                  <c:v>#N/A</c:v>
                </c:pt>
                <c:pt idx="6592">
                  <c:v>#N/A</c:v>
                </c:pt>
                <c:pt idx="6593">
                  <c:v>#N/A</c:v>
                </c:pt>
                <c:pt idx="6594">
                  <c:v>#N/A</c:v>
                </c:pt>
                <c:pt idx="6595">
                  <c:v>#N/A</c:v>
                </c:pt>
                <c:pt idx="6596">
                  <c:v>#N/A</c:v>
                </c:pt>
                <c:pt idx="6597">
                  <c:v>#N/A</c:v>
                </c:pt>
                <c:pt idx="6598">
                  <c:v>#N/A</c:v>
                </c:pt>
                <c:pt idx="6599">
                  <c:v>#N/A</c:v>
                </c:pt>
                <c:pt idx="6600">
                  <c:v>#N/A</c:v>
                </c:pt>
                <c:pt idx="6601">
                  <c:v>#N/A</c:v>
                </c:pt>
                <c:pt idx="6602">
                  <c:v>#N/A</c:v>
                </c:pt>
                <c:pt idx="6603">
                  <c:v>#N/A</c:v>
                </c:pt>
                <c:pt idx="6604">
                  <c:v>#N/A</c:v>
                </c:pt>
                <c:pt idx="6605">
                  <c:v>#N/A</c:v>
                </c:pt>
                <c:pt idx="6606">
                  <c:v>#N/A</c:v>
                </c:pt>
                <c:pt idx="6607">
                  <c:v>#N/A</c:v>
                </c:pt>
                <c:pt idx="6608">
                  <c:v>#N/A</c:v>
                </c:pt>
                <c:pt idx="6609">
                  <c:v>#N/A</c:v>
                </c:pt>
                <c:pt idx="6610">
                  <c:v>#N/A</c:v>
                </c:pt>
                <c:pt idx="6611">
                  <c:v>#N/A</c:v>
                </c:pt>
                <c:pt idx="6612">
                  <c:v>#N/A</c:v>
                </c:pt>
                <c:pt idx="6613">
                  <c:v>#N/A</c:v>
                </c:pt>
                <c:pt idx="6614">
                  <c:v>#N/A</c:v>
                </c:pt>
                <c:pt idx="6615">
                  <c:v>#N/A</c:v>
                </c:pt>
                <c:pt idx="6616">
                  <c:v>#N/A</c:v>
                </c:pt>
                <c:pt idx="6617">
                  <c:v>#N/A</c:v>
                </c:pt>
                <c:pt idx="6618">
                  <c:v>#N/A</c:v>
                </c:pt>
                <c:pt idx="6619">
                  <c:v>#N/A</c:v>
                </c:pt>
                <c:pt idx="6620">
                  <c:v>#N/A</c:v>
                </c:pt>
                <c:pt idx="6621">
                  <c:v>#N/A</c:v>
                </c:pt>
                <c:pt idx="6622">
                  <c:v>#N/A</c:v>
                </c:pt>
                <c:pt idx="6623">
                  <c:v>#N/A</c:v>
                </c:pt>
                <c:pt idx="6624">
                  <c:v>#N/A</c:v>
                </c:pt>
                <c:pt idx="6625">
                  <c:v>#N/A</c:v>
                </c:pt>
                <c:pt idx="6626">
                  <c:v>#N/A</c:v>
                </c:pt>
                <c:pt idx="6627">
                  <c:v>#N/A</c:v>
                </c:pt>
                <c:pt idx="6628">
                  <c:v>#N/A</c:v>
                </c:pt>
                <c:pt idx="6629">
                  <c:v>#N/A</c:v>
                </c:pt>
                <c:pt idx="6630">
                  <c:v>#N/A</c:v>
                </c:pt>
                <c:pt idx="6631">
                  <c:v>#N/A</c:v>
                </c:pt>
                <c:pt idx="6632">
                  <c:v>#N/A</c:v>
                </c:pt>
                <c:pt idx="6633">
                  <c:v>#N/A</c:v>
                </c:pt>
                <c:pt idx="6634">
                  <c:v>#N/A</c:v>
                </c:pt>
                <c:pt idx="6635">
                  <c:v>#N/A</c:v>
                </c:pt>
                <c:pt idx="6636">
                  <c:v>2.419178082191781</c:v>
                </c:pt>
                <c:pt idx="6637">
                  <c:v>#N/A</c:v>
                </c:pt>
                <c:pt idx="6638">
                  <c:v>#N/A</c:v>
                </c:pt>
                <c:pt idx="6639">
                  <c:v>#N/A</c:v>
                </c:pt>
                <c:pt idx="6640">
                  <c:v>#N/A</c:v>
                </c:pt>
                <c:pt idx="6641">
                  <c:v>#N/A</c:v>
                </c:pt>
                <c:pt idx="6642">
                  <c:v>#N/A</c:v>
                </c:pt>
                <c:pt idx="6643">
                  <c:v>#N/A</c:v>
                </c:pt>
                <c:pt idx="6644">
                  <c:v>#N/A</c:v>
                </c:pt>
                <c:pt idx="6645">
                  <c:v>#N/A</c:v>
                </c:pt>
                <c:pt idx="6646">
                  <c:v>#N/A</c:v>
                </c:pt>
                <c:pt idx="6647">
                  <c:v>#N/A</c:v>
                </c:pt>
                <c:pt idx="6648">
                  <c:v>#N/A</c:v>
                </c:pt>
                <c:pt idx="6649">
                  <c:v>#N/A</c:v>
                </c:pt>
                <c:pt idx="6650">
                  <c:v>#N/A</c:v>
                </c:pt>
                <c:pt idx="6651">
                  <c:v>#N/A</c:v>
                </c:pt>
                <c:pt idx="6652">
                  <c:v>#N/A</c:v>
                </c:pt>
                <c:pt idx="6653">
                  <c:v>#N/A</c:v>
                </c:pt>
                <c:pt idx="6654">
                  <c:v>#N/A</c:v>
                </c:pt>
                <c:pt idx="6655">
                  <c:v>#N/A</c:v>
                </c:pt>
                <c:pt idx="6656">
                  <c:v>#N/A</c:v>
                </c:pt>
                <c:pt idx="6657">
                  <c:v>#N/A</c:v>
                </c:pt>
                <c:pt idx="6658">
                  <c:v>#N/A</c:v>
                </c:pt>
                <c:pt idx="6659">
                  <c:v>#N/A</c:v>
                </c:pt>
                <c:pt idx="6660">
                  <c:v>#N/A</c:v>
                </c:pt>
                <c:pt idx="6661">
                  <c:v>#N/A</c:v>
                </c:pt>
                <c:pt idx="6662">
                  <c:v>#N/A</c:v>
                </c:pt>
                <c:pt idx="6663">
                  <c:v>#N/A</c:v>
                </c:pt>
                <c:pt idx="6664">
                  <c:v>#N/A</c:v>
                </c:pt>
                <c:pt idx="6665">
                  <c:v>#N/A</c:v>
                </c:pt>
                <c:pt idx="6666">
                  <c:v>#N/A</c:v>
                </c:pt>
                <c:pt idx="6667">
                  <c:v>#N/A</c:v>
                </c:pt>
                <c:pt idx="6668">
                  <c:v>#N/A</c:v>
                </c:pt>
                <c:pt idx="6669">
                  <c:v>#N/A</c:v>
                </c:pt>
                <c:pt idx="6670">
                  <c:v>#N/A</c:v>
                </c:pt>
                <c:pt idx="6671">
                  <c:v>#N/A</c:v>
                </c:pt>
                <c:pt idx="6672">
                  <c:v>#N/A</c:v>
                </c:pt>
                <c:pt idx="6673">
                  <c:v>#N/A</c:v>
                </c:pt>
                <c:pt idx="6674">
                  <c:v>#N/A</c:v>
                </c:pt>
                <c:pt idx="6675">
                  <c:v>#N/A</c:v>
                </c:pt>
                <c:pt idx="6676">
                  <c:v>#N/A</c:v>
                </c:pt>
                <c:pt idx="6677">
                  <c:v>#N/A</c:v>
                </c:pt>
                <c:pt idx="6678">
                  <c:v>2.4547945205479453</c:v>
                </c:pt>
                <c:pt idx="6679">
                  <c:v>#N/A</c:v>
                </c:pt>
                <c:pt idx="6680">
                  <c:v>#N/A</c:v>
                </c:pt>
                <c:pt idx="6681">
                  <c:v>#N/A</c:v>
                </c:pt>
                <c:pt idx="6682">
                  <c:v>#N/A</c:v>
                </c:pt>
                <c:pt idx="6683">
                  <c:v>#N/A</c:v>
                </c:pt>
                <c:pt idx="6684">
                  <c:v>#N/A</c:v>
                </c:pt>
                <c:pt idx="6685">
                  <c:v>#N/A</c:v>
                </c:pt>
                <c:pt idx="6686">
                  <c:v>#N/A</c:v>
                </c:pt>
                <c:pt idx="6687">
                  <c:v>#N/A</c:v>
                </c:pt>
                <c:pt idx="6688">
                  <c:v>#N/A</c:v>
                </c:pt>
                <c:pt idx="6689">
                  <c:v>#N/A</c:v>
                </c:pt>
                <c:pt idx="6690">
                  <c:v>#N/A</c:v>
                </c:pt>
                <c:pt idx="6691">
                  <c:v>#N/A</c:v>
                </c:pt>
                <c:pt idx="6692">
                  <c:v>#N/A</c:v>
                </c:pt>
                <c:pt idx="6693">
                  <c:v>#N/A</c:v>
                </c:pt>
                <c:pt idx="6694">
                  <c:v>#N/A</c:v>
                </c:pt>
                <c:pt idx="6695">
                  <c:v>#N/A</c:v>
                </c:pt>
                <c:pt idx="6696">
                  <c:v>#N/A</c:v>
                </c:pt>
                <c:pt idx="6697">
                  <c:v>#N/A</c:v>
                </c:pt>
                <c:pt idx="6698">
                  <c:v>#N/A</c:v>
                </c:pt>
                <c:pt idx="6699">
                  <c:v>#N/A</c:v>
                </c:pt>
                <c:pt idx="6700">
                  <c:v>#N/A</c:v>
                </c:pt>
                <c:pt idx="6701">
                  <c:v>#N/A</c:v>
                </c:pt>
                <c:pt idx="6702">
                  <c:v>#N/A</c:v>
                </c:pt>
                <c:pt idx="6703">
                  <c:v>#N/A</c:v>
                </c:pt>
                <c:pt idx="6704">
                  <c:v>#N/A</c:v>
                </c:pt>
                <c:pt idx="6705">
                  <c:v>#N/A</c:v>
                </c:pt>
                <c:pt idx="6706">
                  <c:v>#N/A</c:v>
                </c:pt>
                <c:pt idx="6707">
                  <c:v>#N/A</c:v>
                </c:pt>
                <c:pt idx="6708">
                  <c:v>#N/A</c:v>
                </c:pt>
                <c:pt idx="6709">
                  <c:v>#N/A</c:v>
                </c:pt>
                <c:pt idx="6710">
                  <c:v>#N/A</c:v>
                </c:pt>
                <c:pt idx="6711">
                  <c:v>#N/A</c:v>
                </c:pt>
                <c:pt idx="6712">
                  <c:v>#N/A</c:v>
                </c:pt>
                <c:pt idx="6713">
                  <c:v>#N/A</c:v>
                </c:pt>
                <c:pt idx="6714">
                  <c:v>#N/A</c:v>
                </c:pt>
                <c:pt idx="6715">
                  <c:v>#N/A</c:v>
                </c:pt>
                <c:pt idx="6716">
                  <c:v>#N/A</c:v>
                </c:pt>
                <c:pt idx="6717">
                  <c:v>#N/A</c:v>
                </c:pt>
                <c:pt idx="6718">
                  <c:v>#N/A</c:v>
                </c:pt>
                <c:pt idx="6719">
                  <c:v>#N/A</c:v>
                </c:pt>
                <c:pt idx="6720">
                  <c:v>#N/A</c:v>
                </c:pt>
                <c:pt idx="6721">
                  <c:v>#N/A</c:v>
                </c:pt>
                <c:pt idx="6722">
                  <c:v>#N/A</c:v>
                </c:pt>
                <c:pt idx="6723">
                  <c:v>#N/A</c:v>
                </c:pt>
                <c:pt idx="6724">
                  <c:v>#N/A</c:v>
                </c:pt>
                <c:pt idx="6725">
                  <c:v>#N/A</c:v>
                </c:pt>
                <c:pt idx="6726">
                  <c:v>#N/A</c:v>
                </c:pt>
                <c:pt idx="6727">
                  <c:v>#N/A</c:v>
                </c:pt>
                <c:pt idx="6728">
                  <c:v>#N/A</c:v>
                </c:pt>
                <c:pt idx="6729">
                  <c:v>#N/A</c:v>
                </c:pt>
                <c:pt idx="6730">
                  <c:v>#N/A</c:v>
                </c:pt>
                <c:pt idx="6731">
                  <c:v>#N/A</c:v>
                </c:pt>
                <c:pt idx="6732">
                  <c:v>#N/A</c:v>
                </c:pt>
                <c:pt idx="6733">
                  <c:v>#N/A</c:v>
                </c:pt>
                <c:pt idx="6734">
                  <c:v>#N/A</c:v>
                </c:pt>
                <c:pt idx="6735">
                  <c:v>#N/A</c:v>
                </c:pt>
                <c:pt idx="6736">
                  <c:v>#N/A</c:v>
                </c:pt>
                <c:pt idx="6737">
                  <c:v>#N/A</c:v>
                </c:pt>
                <c:pt idx="6738">
                  <c:v>#N/A</c:v>
                </c:pt>
                <c:pt idx="6739">
                  <c:v>#N/A</c:v>
                </c:pt>
                <c:pt idx="6740">
                  <c:v>#N/A</c:v>
                </c:pt>
                <c:pt idx="6741">
                  <c:v>#N/A</c:v>
                </c:pt>
                <c:pt idx="6742">
                  <c:v>#N/A</c:v>
                </c:pt>
                <c:pt idx="6743">
                  <c:v>#N/A</c:v>
                </c:pt>
                <c:pt idx="6744">
                  <c:v>#N/A</c:v>
                </c:pt>
                <c:pt idx="6745">
                  <c:v>#N/A</c:v>
                </c:pt>
                <c:pt idx="6746">
                  <c:v>#N/A</c:v>
                </c:pt>
                <c:pt idx="6747">
                  <c:v>#N/A</c:v>
                </c:pt>
                <c:pt idx="6748">
                  <c:v>#N/A</c:v>
                </c:pt>
                <c:pt idx="6749">
                  <c:v>#N/A</c:v>
                </c:pt>
                <c:pt idx="6750">
                  <c:v>#N/A</c:v>
                </c:pt>
                <c:pt idx="6751">
                  <c:v>#N/A</c:v>
                </c:pt>
                <c:pt idx="6752">
                  <c:v>#N/A</c:v>
                </c:pt>
                <c:pt idx="6753">
                  <c:v>#N/A</c:v>
                </c:pt>
                <c:pt idx="6754">
                  <c:v>#N/A</c:v>
                </c:pt>
                <c:pt idx="6755">
                  <c:v>#N/A</c:v>
                </c:pt>
                <c:pt idx="6756">
                  <c:v>#N/A</c:v>
                </c:pt>
                <c:pt idx="6757">
                  <c:v>#N/A</c:v>
                </c:pt>
                <c:pt idx="6758">
                  <c:v>#N/A</c:v>
                </c:pt>
                <c:pt idx="6759">
                  <c:v>#N/A</c:v>
                </c:pt>
                <c:pt idx="6760">
                  <c:v>#N/A</c:v>
                </c:pt>
                <c:pt idx="6761">
                  <c:v>#N/A</c:v>
                </c:pt>
                <c:pt idx="6762">
                  <c:v>#N/A</c:v>
                </c:pt>
                <c:pt idx="6763">
                  <c:v>#N/A</c:v>
                </c:pt>
                <c:pt idx="6764">
                  <c:v>#N/A</c:v>
                </c:pt>
                <c:pt idx="6765">
                  <c:v>#N/A</c:v>
                </c:pt>
                <c:pt idx="6766">
                  <c:v>#N/A</c:v>
                </c:pt>
                <c:pt idx="6767">
                  <c:v>#N/A</c:v>
                </c:pt>
                <c:pt idx="6768">
                  <c:v>#N/A</c:v>
                </c:pt>
                <c:pt idx="6769">
                  <c:v>#N/A</c:v>
                </c:pt>
                <c:pt idx="6770">
                  <c:v>#N/A</c:v>
                </c:pt>
                <c:pt idx="6771">
                  <c:v>#N/A</c:v>
                </c:pt>
                <c:pt idx="6772">
                  <c:v>#N/A</c:v>
                </c:pt>
                <c:pt idx="6773">
                  <c:v>#N/A</c:v>
                </c:pt>
                <c:pt idx="6774">
                  <c:v>#N/A</c:v>
                </c:pt>
                <c:pt idx="6775">
                  <c:v>#N/A</c:v>
                </c:pt>
                <c:pt idx="6776">
                  <c:v>#N/A</c:v>
                </c:pt>
                <c:pt idx="6777">
                  <c:v>#N/A</c:v>
                </c:pt>
                <c:pt idx="6778">
                  <c:v>#N/A</c:v>
                </c:pt>
                <c:pt idx="6779">
                  <c:v>#N/A</c:v>
                </c:pt>
                <c:pt idx="6780">
                  <c:v>#N/A</c:v>
                </c:pt>
                <c:pt idx="6781">
                  <c:v>#N/A</c:v>
                </c:pt>
                <c:pt idx="6782">
                  <c:v>#N/A</c:v>
                </c:pt>
                <c:pt idx="6783">
                  <c:v>#N/A</c:v>
                </c:pt>
                <c:pt idx="6784">
                  <c:v>#N/A</c:v>
                </c:pt>
                <c:pt idx="6785">
                  <c:v>#N/A</c:v>
                </c:pt>
                <c:pt idx="6786">
                  <c:v>#N/A</c:v>
                </c:pt>
                <c:pt idx="6787">
                  <c:v>#N/A</c:v>
                </c:pt>
                <c:pt idx="6788">
                  <c:v>#N/A</c:v>
                </c:pt>
                <c:pt idx="6789">
                  <c:v>#N/A</c:v>
                </c:pt>
                <c:pt idx="6790">
                  <c:v>#N/A</c:v>
                </c:pt>
                <c:pt idx="6791">
                  <c:v>#N/A</c:v>
                </c:pt>
                <c:pt idx="6792">
                  <c:v>#N/A</c:v>
                </c:pt>
                <c:pt idx="6793">
                  <c:v>#N/A</c:v>
                </c:pt>
                <c:pt idx="6794">
                  <c:v>#N/A</c:v>
                </c:pt>
                <c:pt idx="6795">
                  <c:v>#N/A</c:v>
                </c:pt>
                <c:pt idx="6796">
                  <c:v>#N/A</c:v>
                </c:pt>
                <c:pt idx="6797">
                  <c:v>#N/A</c:v>
                </c:pt>
                <c:pt idx="6798">
                  <c:v>#N/A</c:v>
                </c:pt>
                <c:pt idx="6799">
                  <c:v>#N/A</c:v>
                </c:pt>
                <c:pt idx="6800">
                  <c:v>#N/A</c:v>
                </c:pt>
                <c:pt idx="6801">
                  <c:v>#N/A</c:v>
                </c:pt>
                <c:pt idx="6802">
                  <c:v>#N/A</c:v>
                </c:pt>
                <c:pt idx="6803">
                  <c:v>#N/A</c:v>
                </c:pt>
                <c:pt idx="6804">
                  <c:v>#N/A</c:v>
                </c:pt>
                <c:pt idx="6805">
                  <c:v>#N/A</c:v>
                </c:pt>
                <c:pt idx="6806">
                  <c:v>#N/A</c:v>
                </c:pt>
                <c:pt idx="6807">
                  <c:v>#N/A</c:v>
                </c:pt>
                <c:pt idx="6808">
                  <c:v>#N/A</c:v>
                </c:pt>
                <c:pt idx="6809">
                  <c:v>#N/A</c:v>
                </c:pt>
                <c:pt idx="6810">
                  <c:v>#N/A</c:v>
                </c:pt>
                <c:pt idx="6811">
                  <c:v>#N/A</c:v>
                </c:pt>
                <c:pt idx="6812">
                  <c:v>#N/A</c:v>
                </c:pt>
                <c:pt idx="6813">
                  <c:v>#N/A</c:v>
                </c:pt>
                <c:pt idx="6814">
                  <c:v>#N/A</c:v>
                </c:pt>
                <c:pt idx="6815">
                  <c:v>2.5095890410958903</c:v>
                </c:pt>
                <c:pt idx="6816">
                  <c:v>#N/A</c:v>
                </c:pt>
                <c:pt idx="6817">
                  <c:v>#N/A</c:v>
                </c:pt>
                <c:pt idx="6818">
                  <c:v>#N/A</c:v>
                </c:pt>
                <c:pt idx="6819">
                  <c:v>#N/A</c:v>
                </c:pt>
                <c:pt idx="6820">
                  <c:v>#N/A</c:v>
                </c:pt>
                <c:pt idx="6821">
                  <c:v>#N/A</c:v>
                </c:pt>
                <c:pt idx="6822">
                  <c:v>#N/A</c:v>
                </c:pt>
                <c:pt idx="6823">
                  <c:v>#N/A</c:v>
                </c:pt>
                <c:pt idx="6824">
                  <c:v>#N/A</c:v>
                </c:pt>
                <c:pt idx="6825">
                  <c:v>#N/A</c:v>
                </c:pt>
                <c:pt idx="6826">
                  <c:v>#N/A</c:v>
                </c:pt>
                <c:pt idx="6827">
                  <c:v>#N/A</c:v>
                </c:pt>
                <c:pt idx="6828">
                  <c:v>#N/A</c:v>
                </c:pt>
                <c:pt idx="6829">
                  <c:v>#N/A</c:v>
                </c:pt>
                <c:pt idx="6830">
                  <c:v>#N/A</c:v>
                </c:pt>
                <c:pt idx="6831">
                  <c:v>#N/A</c:v>
                </c:pt>
                <c:pt idx="6832">
                  <c:v>#N/A</c:v>
                </c:pt>
                <c:pt idx="6833">
                  <c:v>#N/A</c:v>
                </c:pt>
                <c:pt idx="6834">
                  <c:v>#N/A</c:v>
                </c:pt>
                <c:pt idx="6835">
                  <c:v>#N/A</c:v>
                </c:pt>
                <c:pt idx="6836">
                  <c:v>#N/A</c:v>
                </c:pt>
                <c:pt idx="6837">
                  <c:v>#N/A</c:v>
                </c:pt>
                <c:pt idx="6838">
                  <c:v>#N/A</c:v>
                </c:pt>
                <c:pt idx="6839">
                  <c:v>#N/A</c:v>
                </c:pt>
                <c:pt idx="6840">
                  <c:v>#N/A</c:v>
                </c:pt>
                <c:pt idx="6841">
                  <c:v>#N/A</c:v>
                </c:pt>
                <c:pt idx="6842">
                  <c:v>#N/A</c:v>
                </c:pt>
                <c:pt idx="6843">
                  <c:v>#N/A</c:v>
                </c:pt>
                <c:pt idx="6844">
                  <c:v>#N/A</c:v>
                </c:pt>
                <c:pt idx="6845">
                  <c:v>#N/A</c:v>
                </c:pt>
                <c:pt idx="6846">
                  <c:v>#N/A</c:v>
                </c:pt>
                <c:pt idx="6847">
                  <c:v>#N/A</c:v>
                </c:pt>
                <c:pt idx="6848">
                  <c:v>#N/A</c:v>
                </c:pt>
                <c:pt idx="6849">
                  <c:v>#N/A</c:v>
                </c:pt>
                <c:pt idx="6850">
                  <c:v>#N/A</c:v>
                </c:pt>
                <c:pt idx="6851">
                  <c:v>#N/A</c:v>
                </c:pt>
                <c:pt idx="6852">
                  <c:v>#N/A</c:v>
                </c:pt>
                <c:pt idx="6853">
                  <c:v>#N/A</c:v>
                </c:pt>
                <c:pt idx="6854">
                  <c:v>#N/A</c:v>
                </c:pt>
                <c:pt idx="6855">
                  <c:v>#N/A</c:v>
                </c:pt>
                <c:pt idx="6856">
                  <c:v>#N/A</c:v>
                </c:pt>
                <c:pt idx="6857">
                  <c:v>#N/A</c:v>
                </c:pt>
                <c:pt idx="6858">
                  <c:v>#N/A</c:v>
                </c:pt>
                <c:pt idx="6859">
                  <c:v>#N/A</c:v>
                </c:pt>
                <c:pt idx="6860">
                  <c:v>#N/A</c:v>
                </c:pt>
                <c:pt idx="6861">
                  <c:v>#N/A</c:v>
                </c:pt>
                <c:pt idx="6862">
                  <c:v>#N/A</c:v>
                </c:pt>
                <c:pt idx="6863">
                  <c:v>#N/A</c:v>
                </c:pt>
                <c:pt idx="6864">
                  <c:v>#N/A</c:v>
                </c:pt>
                <c:pt idx="6865">
                  <c:v>#N/A</c:v>
                </c:pt>
                <c:pt idx="6866">
                  <c:v>#N/A</c:v>
                </c:pt>
                <c:pt idx="6867">
                  <c:v>#N/A</c:v>
                </c:pt>
                <c:pt idx="6868">
                  <c:v>#N/A</c:v>
                </c:pt>
                <c:pt idx="6869">
                  <c:v>#N/A</c:v>
                </c:pt>
                <c:pt idx="6870">
                  <c:v>#N/A</c:v>
                </c:pt>
                <c:pt idx="6871">
                  <c:v>#N/A</c:v>
                </c:pt>
                <c:pt idx="6872">
                  <c:v>#N/A</c:v>
                </c:pt>
                <c:pt idx="6873">
                  <c:v>#N/A</c:v>
                </c:pt>
                <c:pt idx="6874">
                  <c:v>#N/A</c:v>
                </c:pt>
                <c:pt idx="6875">
                  <c:v>#N/A</c:v>
                </c:pt>
                <c:pt idx="6876">
                  <c:v>#N/A</c:v>
                </c:pt>
                <c:pt idx="6877">
                  <c:v>#N/A</c:v>
                </c:pt>
                <c:pt idx="6878">
                  <c:v>#N/A</c:v>
                </c:pt>
                <c:pt idx="6879">
                  <c:v>#N/A</c:v>
                </c:pt>
                <c:pt idx="6880">
                  <c:v>#N/A</c:v>
                </c:pt>
                <c:pt idx="6881">
                  <c:v>#N/A</c:v>
                </c:pt>
                <c:pt idx="6882">
                  <c:v>#N/A</c:v>
                </c:pt>
                <c:pt idx="6883">
                  <c:v>#N/A</c:v>
                </c:pt>
                <c:pt idx="6884">
                  <c:v>#N/A</c:v>
                </c:pt>
                <c:pt idx="6885">
                  <c:v>#N/A</c:v>
                </c:pt>
                <c:pt idx="6886">
                  <c:v>#N/A</c:v>
                </c:pt>
                <c:pt idx="6887">
                  <c:v>#N/A</c:v>
                </c:pt>
                <c:pt idx="6888">
                  <c:v>#N/A</c:v>
                </c:pt>
                <c:pt idx="6889">
                  <c:v>#N/A</c:v>
                </c:pt>
                <c:pt idx="6890">
                  <c:v>#N/A</c:v>
                </c:pt>
                <c:pt idx="6891">
                  <c:v>#N/A</c:v>
                </c:pt>
                <c:pt idx="6892">
                  <c:v>#N/A</c:v>
                </c:pt>
                <c:pt idx="6893">
                  <c:v>#N/A</c:v>
                </c:pt>
                <c:pt idx="6894">
                  <c:v>#N/A</c:v>
                </c:pt>
                <c:pt idx="6895">
                  <c:v>#N/A</c:v>
                </c:pt>
                <c:pt idx="6896">
                  <c:v>#N/A</c:v>
                </c:pt>
                <c:pt idx="6897">
                  <c:v>#N/A</c:v>
                </c:pt>
                <c:pt idx="6898">
                  <c:v>#N/A</c:v>
                </c:pt>
                <c:pt idx="6899">
                  <c:v>#N/A</c:v>
                </c:pt>
                <c:pt idx="6900">
                  <c:v>#N/A</c:v>
                </c:pt>
                <c:pt idx="6901">
                  <c:v>#N/A</c:v>
                </c:pt>
                <c:pt idx="6902">
                  <c:v>#N/A</c:v>
                </c:pt>
                <c:pt idx="6903">
                  <c:v>#N/A</c:v>
                </c:pt>
                <c:pt idx="6904">
                  <c:v>#N/A</c:v>
                </c:pt>
                <c:pt idx="6905">
                  <c:v>#N/A</c:v>
                </c:pt>
                <c:pt idx="6906">
                  <c:v>#N/A</c:v>
                </c:pt>
                <c:pt idx="6907">
                  <c:v>#N/A</c:v>
                </c:pt>
                <c:pt idx="6908">
                  <c:v>#N/A</c:v>
                </c:pt>
                <c:pt idx="6909">
                  <c:v>#N/A</c:v>
                </c:pt>
                <c:pt idx="6910">
                  <c:v>#N/A</c:v>
                </c:pt>
                <c:pt idx="6911">
                  <c:v>#N/A</c:v>
                </c:pt>
                <c:pt idx="6912">
                  <c:v>#N/A</c:v>
                </c:pt>
                <c:pt idx="6913">
                  <c:v>#N/A</c:v>
                </c:pt>
                <c:pt idx="6914">
                  <c:v>#N/A</c:v>
                </c:pt>
                <c:pt idx="6915">
                  <c:v>#N/A</c:v>
                </c:pt>
                <c:pt idx="6916">
                  <c:v>#N/A</c:v>
                </c:pt>
                <c:pt idx="6917">
                  <c:v>#N/A</c:v>
                </c:pt>
                <c:pt idx="6918">
                  <c:v>#N/A</c:v>
                </c:pt>
                <c:pt idx="6919">
                  <c:v>#N/A</c:v>
                </c:pt>
                <c:pt idx="6920">
                  <c:v>#N/A</c:v>
                </c:pt>
                <c:pt idx="6921">
                  <c:v>#N/A</c:v>
                </c:pt>
                <c:pt idx="6922">
                  <c:v>#N/A</c:v>
                </c:pt>
                <c:pt idx="6923">
                  <c:v>#N/A</c:v>
                </c:pt>
                <c:pt idx="6924">
                  <c:v>#N/A</c:v>
                </c:pt>
                <c:pt idx="6925">
                  <c:v>#N/A</c:v>
                </c:pt>
                <c:pt idx="6926">
                  <c:v>#N/A</c:v>
                </c:pt>
                <c:pt idx="6927">
                  <c:v>#N/A</c:v>
                </c:pt>
                <c:pt idx="6928">
                  <c:v>2.5342465753424657</c:v>
                </c:pt>
                <c:pt idx="6929">
                  <c:v>#N/A</c:v>
                </c:pt>
                <c:pt idx="6930">
                  <c:v>#N/A</c:v>
                </c:pt>
                <c:pt idx="6931">
                  <c:v>#N/A</c:v>
                </c:pt>
                <c:pt idx="6932">
                  <c:v>#N/A</c:v>
                </c:pt>
                <c:pt idx="6933">
                  <c:v>#N/A</c:v>
                </c:pt>
                <c:pt idx="6934">
                  <c:v>#N/A</c:v>
                </c:pt>
                <c:pt idx="6935">
                  <c:v>#N/A</c:v>
                </c:pt>
                <c:pt idx="6936">
                  <c:v>#N/A</c:v>
                </c:pt>
                <c:pt idx="6937">
                  <c:v>#N/A</c:v>
                </c:pt>
                <c:pt idx="6938">
                  <c:v>#N/A</c:v>
                </c:pt>
                <c:pt idx="6939">
                  <c:v>#N/A</c:v>
                </c:pt>
                <c:pt idx="6940">
                  <c:v>#N/A</c:v>
                </c:pt>
                <c:pt idx="6941">
                  <c:v>#N/A</c:v>
                </c:pt>
                <c:pt idx="6942">
                  <c:v>#N/A</c:v>
                </c:pt>
                <c:pt idx="6943">
                  <c:v>#N/A</c:v>
                </c:pt>
                <c:pt idx="6944">
                  <c:v>#N/A</c:v>
                </c:pt>
                <c:pt idx="6945">
                  <c:v>#N/A</c:v>
                </c:pt>
                <c:pt idx="6946">
                  <c:v>#N/A</c:v>
                </c:pt>
                <c:pt idx="6947">
                  <c:v>#N/A</c:v>
                </c:pt>
                <c:pt idx="6948">
                  <c:v>#N/A</c:v>
                </c:pt>
                <c:pt idx="6949">
                  <c:v>#N/A</c:v>
                </c:pt>
                <c:pt idx="6950">
                  <c:v>#N/A</c:v>
                </c:pt>
                <c:pt idx="6951">
                  <c:v>#N/A</c:v>
                </c:pt>
                <c:pt idx="6952">
                  <c:v>#N/A</c:v>
                </c:pt>
                <c:pt idx="6953">
                  <c:v>#N/A</c:v>
                </c:pt>
                <c:pt idx="6954">
                  <c:v>#N/A</c:v>
                </c:pt>
                <c:pt idx="6955">
                  <c:v>#N/A</c:v>
                </c:pt>
                <c:pt idx="6956">
                  <c:v>#N/A</c:v>
                </c:pt>
                <c:pt idx="6957">
                  <c:v>#N/A</c:v>
                </c:pt>
                <c:pt idx="6958">
                  <c:v>#N/A</c:v>
                </c:pt>
                <c:pt idx="6959">
                  <c:v>#N/A</c:v>
                </c:pt>
                <c:pt idx="6960">
                  <c:v>#N/A</c:v>
                </c:pt>
                <c:pt idx="6961">
                  <c:v>#N/A</c:v>
                </c:pt>
                <c:pt idx="6962">
                  <c:v>#N/A</c:v>
                </c:pt>
                <c:pt idx="6963">
                  <c:v>#N/A</c:v>
                </c:pt>
                <c:pt idx="6964">
                  <c:v>#N/A</c:v>
                </c:pt>
                <c:pt idx="6965">
                  <c:v>#N/A</c:v>
                </c:pt>
                <c:pt idx="6966">
                  <c:v>#N/A</c:v>
                </c:pt>
                <c:pt idx="6967">
                  <c:v>#N/A</c:v>
                </c:pt>
                <c:pt idx="6968">
                  <c:v>#N/A</c:v>
                </c:pt>
                <c:pt idx="6969">
                  <c:v>#N/A</c:v>
                </c:pt>
                <c:pt idx="6970">
                  <c:v>#N/A</c:v>
                </c:pt>
                <c:pt idx="6971">
                  <c:v>#N/A</c:v>
                </c:pt>
                <c:pt idx="6972">
                  <c:v>#N/A</c:v>
                </c:pt>
                <c:pt idx="6973">
                  <c:v>#N/A</c:v>
                </c:pt>
                <c:pt idx="6974">
                  <c:v>#N/A</c:v>
                </c:pt>
                <c:pt idx="6975">
                  <c:v>#N/A</c:v>
                </c:pt>
                <c:pt idx="6976">
                  <c:v>#N/A</c:v>
                </c:pt>
                <c:pt idx="6977">
                  <c:v>#N/A</c:v>
                </c:pt>
                <c:pt idx="6978">
                  <c:v>#N/A</c:v>
                </c:pt>
                <c:pt idx="6979">
                  <c:v>#N/A</c:v>
                </c:pt>
                <c:pt idx="6980">
                  <c:v>#N/A</c:v>
                </c:pt>
                <c:pt idx="6981">
                  <c:v>#N/A</c:v>
                </c:pt>
                <c:pt idx="6982">
                  <c:v>#N/A</c:v>
                </c:pt>
                <c:pt idx="6983">
                  <c:v>#N/A</c:v>
                </c:pt>
                <c:pt idx="6984">
                  <c:v>#N/A</c:v>
                </c:pt>
                <c:pt idx="6985">
                  <c:v>#N/A</c:v>
                </c:pt>
                <c:pt idx="6986">
                  <c:v>#N/A</c:v>
                </c:pt>
                <c:pt idx="6987">
                  <c:v>#N/A</c:v>
                </c:pt>
                <c:pt idx="6988">
                  <c:v>#N/A</c:v>
                </c:pt>
                <c:pt idx="6989">
                  <c:v>#N/A</c:v>
                </c:pt>
                <c:pt idx="6990">
                  <c:v>#N/A</c:v>
                </c:pt>
                <c:pt idx="6991">
                  <c:v>#N/A</c:v>
                </c:pt>
                <c:pt idx="6992">
                  <c:v>#N/A</c:v>
                </c:pt>
                <c:pt idx="6993">
                  <c:v>#N/A</c:v>
                </c:pt>
                <c:pt idx="6994">
                  <c:v>#N/A</c:v>
                </c:pt>
                <c:pt idx="6995">
                  <c:v>#N/A</c:v>
                </c:pt>
                <c:pt idx="6996">
                  <c:v>#N/A</c:v>
                </c:pt>
                <c:pt idx="6997">
                  <c:v>#N/A</c:v>
                </c:pt>
                <c:pt idx="6998">
                  <c:v>#N/A</c:v>
                </c:pt>
                <c:pt idx="6999">
                  <c:v>#N/A</c:v>
                </c:pt>
                <c:pt idx="7000">
                  <c:v>#N/A</c:v>
                </c:pt>
                <c:pt idx="7001">
                  <c:v>#N/A</c:v>
                </c:pt>
                <c:pt idx="7002">
                  <c:v>#N/A</c:v>
                </c:pt>
                <c:pt idx="7003">
                  <c:v>#N/A</c:v>
                </c:pt>
                <c:pt idx="7004">
                  <c:v>#N/A</c:v>
                </c:pt>
                <c:pt idx="7005">
                  <c:v>#N/A</c:v>
                </c:pt>
                <c:pt idx="7006">
                  <c:v>#N/A</c:v>
                </c:pt>
                <c:pt idx="7007">
                  <c:v>#N/A</c:v>
                </c:pt>
                <c:pt idx="7008">
                  <c:v>#N/A</c:v>
                </c:pt>
                <c:pt idx="7009">
                  <c:v>#N/A</c:v>
                </c:pt>
                <c:pt idx="7010">
                  <c:v>#N/A</c:v>
                </c:pt>
                <c:pt idx="7011">
                  <c:v>#N/A</c:v>
                </c:pt>
                <c:pt idx="7012">
                  <c:v>#N/A</c:v>
                </c:pt>
                <c:pt idx="7013">
                  <c:v>#N/A</c:v>
                </c:pt>
                <c:pt idx="7014">
                  <c:v>#N/A</c:v>
                </c:pt>
                <c:pt idx="7015">
                  <c:v>#N/A</c:v>
                </c:pt>
                <c:pt idx="7016">
                  <c:v>#N/A</c:v>
                </c:pt>
                <c:pt idx="7017">
                  <c:v>#N/A</c:v>
                </c:pt>
                <c:pt idx="7018">
                  <c:v>#N/A</c:v>
                </c:pt>
                <c:pt idx="7019">
                  <c:v>#N/A</c:v>
                </c:pt>
                <c:pt idx="7020">
                  <c:v>#N/A</c:v>
                </c:pt>
                <c:pt idx="7021">
                  <c:v>#N/A</c:v>
                </c:pt>
                <c:pt idx="7022">
                  <c:v>#N/A</c:v>
                </c:pt>
                <c:pt idx="7023">
                  <c:v>#N/A</c:v>
                </c:pt>
                <c:pt idx="7024">
                  <c:v>#N/A</c:v>
                </c:pt>
                <c:pt idx="7025">
                  <c:v>#N/A</c:v>
                </c:pt>
                <c:pt idx="7026">
                  <c:v>#N/A</c:v>
                </c:pt>
                <c:pt idx="7027">
                  <c:v>#N/A</c:v>
                </c:pt>
                <c:pt idx="7028">
                  <c:v>#N/A</c:v>
                </c:pt>
                <c:pt idx="7029">
                  <c:v>#N/A</c:v>
                </c:pt>
                <c:pt idx="7030">
                  <c:v>#N/A</c:v>
                </c:pt>
                <c:pt idx="7031">
                  <c:v>#N/A</c:v>
                </c:pt>
                <c:pt idx="7032">
                  <c:v>#N/A</c:v>
                </c:pt>
                <c:pt idx="7033">
                  <c:v>#N/A</c:v>
                </c:pt>
                <c:pt idx="7034">
                  <c:v>#N/A</c:v>
                </c:pt>
                <c:pt idx="7035">
                  <c:v>#N/A</c:v>
                </c:pt>
                <c:pt idx="7036">
                  <c:v>#N/A</c:v>
                </c:pt>
                <c:pt idx="7037">
                  <c:v>#N/A</c:v>
                </c:pt>
                <c:pt idx="7038">
                  <c:v>#N/A</c:v>
                </c:pt>
                <c:pt idx="7039">
                  <c:v>#N/A</c:v>
                </c:pt>
                <c:pt idx="7040">
                  <c:v>#N/A</c:v>
                </c:pt>
                <c:pt idx="7041">
                  <c:v>#N/A</c:v>
                </c:pt>
                <c:pt idx="7042">
                  <c:v>#N/A</c:v>
                </c:pt>
                <c:pt idx="7043">
                  <c:v>#N/A</c:v>
                </c:pt>
                <c:pt idx="7044">
                  <c:v>#N/A</c:v>
                </c:pt>
                <c:pt idx="7045">
                  <c:v>#N/A</c:v>
                </c:pt>
                <c:pt idx="7046">
                  <c:v>#N/A</c:v>
                </c:pt>
                <c:pt idx="7047">
                  <c:v>#N/A</c:v>
                </c:pt>
                <c:pt idx="7048">
                  <c:v>#N/A</c:v>
                </c:pt>
                <c:pt idx="7049">
                  <c:v>#N/A</c:v>
                </c:pt>
                <c:pt idx="7050">
                  <c:v>#N/A</c:v>
                </c:pt>
                <c:pt idx="7051">
                  <c:v>#N/A</c:v>
                </c:pt>
                <c:pt idx="7052">
                  <c:v>#N/A</c:v>
                </c:pt>
                <c:pt idx="7053">
                  <c:v>#N/A</c:v>
                </c:pt>
                <c:pt idx="7054">
                  <c:v>#N/A</c:v>
                </c:pt>
                <c:pt idx="7055">
                  <c:v>#N/A</c:v>
                </c:pt>
                <c:pt idx="7056">
                  <c:v>2.5671232876712327</c:v>
                </c:pt>
                <c:pt idx="7057">
                  <c:v>#N/A</c:v>
                </c:pt>
                <c:pt idx="7058">
                  <c:v>#N/A</c:v>
                </c:pt>
                <c:pt idx="7059">
                  <c:v>#N/A</c:v>
                </c:pt>
                <c:pt idx="7060">
                  <c:v>#N/A</c:v>
                </c:pt>
                <c:pt idx="7061">
                  <c:v>#N/A</c:v>
                </c:pt>
                <c:pt idx="7062">
                  <c:v>#N/A</c:v>
                </c:pt>
                <c:pt idx="7063">
                  <c:v>#N/A</c:v>
                </c:pt>
                <c:pt idx="7064">
                  <c:v>#N/A</c:v>
                </c:pt>
                <c:pt idx="7065">
                  <c:v>#N/A</c:v>
                </c:pt>
                <c:pt idx="7066">
                  <c:v>#N/A</c:v>
                </c:pt>
                <c:pt idx="7067">
                  <c:v>#N/A</c:v>
                </c:pt>
                <c:pt idx="7068">
                  <c:v>#N/A</c:v>
                </c:pt>
                <c:pt idx="7069">
                  <c:v>#N/A</c:v>
                </c:pt>
                <c:pt idx="7070">
                  <c:v>#N/A</c:v>
                </c:pt>
                <c:pt idx="7071">
                  <c:v>#N/A</c:v>
                </c:pt>
                <c:pt idx="7072">
                  <c:v>#N/A</c:v>
                </c:pt>
                <c:pt idx="7073">
                  <c:v>#N/A</c:v>
                </c:pt>
                <c:pt idx="7074">
                  <c:v>#N/A</c:v>
                </c:pt>
                <c:pt idx="7075">
                  <c:v>#N/A</c:v>
                </c:pt>
                <c:pt idx="7076">
                  <c:v>#N/A</c:v>
                </c:pt>
                <c:pt idx="7077">
                  <c:v>#N/A</c:v>
                </c:pt>
                <c:pt idx="7078">
                  <c:v>#N/A</c:v>
                </c:pt>
                <c:pt idx="7079">
                  <c:v>#N/A</c:v>
                </c:pt>
                <c:pt idx="7080">
                  <c:v>#N/A</c:v>
                </c:pt>
                <c:pt idx="7081">
                  <c:v>#N/A</c:v>
                </c:pt>
                <c:pt idx="7082">
                  <c:v>#N/A</c:v>
                </c:pt>
                <c:pt idx="7083">
                  <c:v>#N/A</c:v>
                </c:pt>
                <c:pt idx="7084">
                  <c:v>#N/A</c:v>
                </c:pt>
                <c:pt idx="7085">
                  <c:v>#N/A</c:v>
                </c:pt>
                <c:pt idx="7086">
                  <c:v>#N/A</c:v>
                </c:pt>
                <c:pt idx="7087">
                  <c:v>#N/A</c:v>
                </c:pt>
                <c:pt idx="7088">
                  <c:v>#N/A</c:v>
                </c:pt>
                <c:pt idx="7089">
                  <c:v>#N/A</c:v>
                </c:pt>
                <c:pt idx="7090">
                  <c:v>#N/A</c:v>
                </c:pt>
                <c:pt idx="7091">
                  <c:v>#N/A</c:v>
                </c:pt>
                <c:pt idx="7092">
                  <c:v>#N/A</c:v>
                </c:pt>
                <c:pt idx="7093">
                  <c:v>#N/A</c:v>
                </c:pt>
                <c:pt idx="7094">
                  <c:v>#N/A</c:v>
                </c:pt>
                <c:pt idx="7095">
                  <c:v>#N/A</c:v>
                </c:pt>
                <c:pt idx="7096">
                  <c:v>#N/A</c:v>
                </c:pt>
                <c:pt idx="7097">
                  <c:v>#N/A</c:v>
                </c:pt>
                <c:pt idx="7098">
                  <c:v>#N/A</c:v>
                </c:pt>
                <c:pt idx="7099">
                  <c:v>#N/A</c:v>
                </c:pt>
                <c:pt idx="7100">
                  <c:v>#N/A</c:v>
                </c:pt>
                <c:pt idx="7101">
                  <c:v>#N/A</c:v>
                </c:pt>
                <c:pt idx="7102">
                  <c:v>#N/A</c:v>
                </c:pt>
                <c:pt idx="7103">
                  <c:v>#N/A</c:v>
                </c:pt>
                <c:pt idx="7104">
                  <c:v>#N/A</c:v>
                </c:pt>
                <c:pt idx="7105">
                  <c:v>#N/A</c:v>
                </c:pt>
                <c:pt idx="7106">
                  <c:v>#N/A</c:v>
                </c:pt>
                <c:pt idx="7107">
                  <c:v>#N/A</c:v>
                </c:pt>
                <c:pt idx="7108">
                  <c:v>#N/A</c:v>
                </c:pt>
                <c:pt idx="7109">
                  <c:v>#N/A</c:v>
                </c:pt>
                <c:pt idx="7110">
                  <c:v>#N/A</c:v>
                </c:pt>
                <c:pt idx="7111">
                  <c:v>#N/A</c:v>
                </c:pt>
                <c:pt idx="7112">
                  <c:v>#N/A</c:v>
                </c:pt>
                <c:pt idx="7113">
                  <c:v>#N/A</c:v>
                </c:pt>
                <c:pt idx="7114">
                  <c:v>#N/A</c:v>
                </c:pt>
                <c:pt idx="7115">
                  <c:v>#N/A</c:v>
                </c:pt>
                <c:pt idx="7116">
                  <c:v>#N/A</c:v>
                </c:pt>
                <c:pt idx="7117">
                  <c:v>#N/A</c:v>
                </c:pt>
                <c:pt idx="7118">
                  <c:v>#N/A</c:v>
                </c:pt>
                <c:pt idx="7119">
                  <c:v>#N/A</c:v>
                </c:pt>
                <c:pt idx="7120">
                  <c:v>#N/A</c:v>
                </c:pt>
                <c:pt idx="7121">
                  <c:v>#N/A</c:v>
                </c:pt>
                <c:pt idx="7122">
                  <c:v>#N/A</c:v>
                </c:pt>
                <c:pt idx="7123">
                  <c:v>#N/A</c:v>
                </c:pt>
                <c:pt idx="7124">
                  <c:v>#N/A</c:v>
                </c:pt>
                <c:pt idx="7125">
                  <c:v>#N/A</c:v>
                </c:pt>
                <c:pt idx="7126">
                  <c:v>#N/A</c:v>
                </c:pt>
                <c:pt idx="7127">
                  <c:v>#N/A</c:v>
                </c:pt>
                <c:pt idx="7128">
                  <c:v>#N/A</c:v>
                </c:pt>
                <c:pt idx="7129">
                  <c:v>#N/A</c:v>
                </c:pt>
                <c:pt idx="7130">
                  <c:v>#N/A</c:v>
                </c:pt>
                <c:pt idx="7131">
                  <c:v>#N/A</c:v>
                </c:pt>
                <c:pt idx="7132">
                  <c:v>#N/A</c:v>
                </c:pt>
                <c:pt idx="7133">
                  <c:v>#N/A</c:v>
                </c:pt>
                <c:pt idx="7134">
                  <c:v>#N/A</c:v>
                </c:pt>
                <c:pt idx="7135">
                  <c:v>#N/A</c:v>
                </c:pt>
                <c:pt idx="7136">
                  <c:v>#N/A</c:v>
                </c:pt>
                <c:pt idx="7137">
                  <c:v>#N/A</c:v>
                </c:pt>
                <c:pt idx="7138">
                  <c:v>#N/A</c:v>
                </c:pt>
                <c:pt idx="7139">
                  <c:v>#N/A</c:v>
                </c:pt>
                <c:pt idx="7140">
                  <c:v>#N/A</c:v>
                </c:pt>
                <c:pt idx="7141">
                  <c:v>#N/A</c:v>
                </c:pt>
                <c:pt idx="7142">
                  <c:v>#N/A</c:v>
                </c:pt>
                <c:pt idx="7143">
                  <c:v>#N/A</c:v>
                </c:pt>
                <c:pt idx="7144">
                  <c:v>#N/A</c:v>
                </c:pt>
                <c:pt idx="7145">
                  <c:v>#N/A</c:v>
                </c:pt>
                <c:pt idx="7146">
                  <c:v>#N/A</c:v>
                </c:pt>
                <c:pt idx="7147">
                  <c:v>#N/A</c:v>
                </c:pt>
                <c:pt idx="7148">
                  <c:v>#N/A</c:v>
                </c:pt>
                <c:pt idx="7149">
                  <c:v>#N/A</c:v>
                </c:pt>
                <c:pt idx="7150">
                  <c:v>#N/A</c:v>
                </c:pt>
                <c:pt idx="7151">
                  <c:v>#N/A</c:v>
                </c:pt>
                <c:pt idx="7152">
                  <c:v>#N/A</c:v>
                </c:pt>
                <c:pt idx="7153">
                  <c:v>#N/A</c:v>
                </c:pt>
                <c:pt idx="7154">
                  <c:v>#N/A</c:v>
                </c:pt>
                <c:pt idx="7155">
                  <c:v>#N/A</c:v>
                </c:pt>
                <c:pt idx="7156">
                  <c:v>#N/A</c:v>
                </c:pt>
                <c:pt idx="7157">
                  <c:v>#N/A</c:v>
                </c:pt>
                <c:pt idx="7158">
                  <c:v>#N/A</c:v>
                </c:pt>
                <c:pt idx="7159">
                  <c:v>#N/A</c:v>
                </c:pt>
                <c:pt idx="7160">
                  <c:v>#N/A</c:v>
                </c:pt>
                <c:pt idx="7161">
                  <c:v>#N/A</c:v>
                </c:pt>
                <c:pt idx="7162">
                  <c:v>#N/A</c:v>
                </c:pt>
                <c:pt idx="7163">
                  <c:v>#N/A</c:v>
                </c:pt>
                <c:pt idx="7164">
                  <c:v>#N/A</c:v>
                </c:pt>
                <c:pt idx="7165">
                  <c:v>#N/A</c:v>
                </c:pt>
                <c:pt idx="7166">
                  <c:v>#N/A</c:v>
                </c:pt>
                <c:pt idx="7167">
                  <c:v>#N/A</c:v>
                </c:pt>
                <c:pt idx="7168">
                  <c:v>#N/A</c:v>
                </c:pt>
                <c:pt idx="7169">
                  <c:v>#N/A</c:v>
                </c:pt>
                <c:pt idx="7170">
                  <c:v>#N/A</c:v>
                </c:pt>
                <c:pt idx="7171">
                  <c:v>#N/A</c:v>
                </c:pt>
                <c:pt idx="7172">
                  <c:v>#N/A</c:v>
                </c:pt>
                <c:pt idx="7173">
                  <c:v>#N/A</c:v>
                </c:pt>
                <c:pt idx="7174">
                  <c:v>#N/A</c:v>
                </c:pt>
                <c:pt idx="7175">
                  <c:v>#N/A</c:v>
                </c:pt>
                <c:pt idx="7176">
                  <c:v>#N/A</c:v>
                </c:pt>
                <c:pt idx="7177">
                  <c:v>#N/A</c:v>
                </c:pt>
                <c:pt idx="7178">
                  <c:v>#N/A</c:v>
                </c:pt>
                <c:pt idx="7179">
                  <c:v>#N/A</c:v>
                </c:pt>
                <c:pt idx="7180">
                  <c:v>#N/A</c:v>
                </c:pt>
                <c:pt idx="7181">
                  <c:v>#N/A</c:v>
                </c:pt>
                <c:pt idx="7182">
                  <c:v>#N/A</c:v>
                </c:pt>
                <c:pt idx="7183">
                  <c:v>#N/A</c:v>
                </c:pt>
                <c:pt idx="7184">
                  <c:v>#N/A</c:v>
                </c:pt>
                <c:pt idx="7185">
                  <c:v>#N/A</c:v>
                </c:pt>
                <c:pt idx="7186">
                  <c:v>#N/A</c:v>
                </c:pt>
                <c:pt idx="7187">
                  <c:v>#N/A</c:v>
                </c:pt>
                <c:pt idx="7188">
                  <c:v>#N/A</c:v>
                </c:pt>
                <c:pt idx="7189">
                  <c:v>#N/A</c:v>
                </c:pt>
                <c:pt idx="7190">
                  <c:v>#N/A</c:v>
                </c:pt>
                <c:pt idx="7191">
                  <c:v>#N/A</c:v>
                </c:pt>
                <c:pt idx="7192">
                  <c:v>#N/A</c:v>
                </c:pt>
                <c:pt idx="7193">
                  <c:v>#N/A</c:v>
                </c:pt>
                <c:pt idx="7194">
                  <c:v>#N/A</c:v>
                </c:pt>
                <c:pt idx="7195">
                  <c:v>#N/A</c:v>
                </c:pt>
                <c:pt idx="7196">
                  <c:v>#N/A</c:v>
                </c:pt>
                <c:pt idx="7197">
                  <c:v>#N/A</c:v>
                </c:pt>
                <c:pt idx="7198">
                  <c:v>#N/A</c:v>
                </c:pt>
                <c:pt idx="7199">
                  <c:v>#N/A</c:v>
                </c:pt>
                <c:pt idx="7200">
                  <c:v>#N/A</c:v>
                </c:pt>
                <c:pt idx="7201">
                  <c:v>#N/A</c:v>
                </c:pt>
                <c:pt idx="7202">
                  <c:v>#N/A</c:v>
                </c:pt>
                <c:pt idx="7203">
                  <c:v>#N/A</c:v>
                </c:pt>
                <c:pt idx="7204">
                  <c:v>#N/A</c:v>
                </c:pt>
                <c:pt idx="7205">
                  <c:v>#N/A</c:v>
                </c:pt>
                <c:pt idx="7206">
                  <c:v>#N/A</c:v>
                </c:pt>
                <c:pt idx="7207">
                  <c:v>#N/A</c:v>
                </c:pt>
                <c:pt idx="7208">
                  <c:v>#N/A</c:v>
                </c:pt>
                <c:pt idx="7209">
                  <c:v>#N/A</c:v>
                </c:pt>
                <c:pt idx="7210">
                  <c:v>#N/A</c:v>
                </c:pt>
                <c:pt idx="7211">
                  <c:v>#N/A</c:v>
                </c:pt>
                <c:pt idx="7212">
                  <c:v>#N/A</c:v>
                </c:pt>
                <c:pt idx="7213">
                  <c:v>#N/A</c:v>
                </c:pt>
                <c:pt idx="7214">
                  <c:v>#N/A</c:v>
                </c:pt>
                <c:pt idx="7215">
                  <c:v>#N/A</c:v>
                </c:pt>
                <c:pt idx="7216">
                  <c:v>#N/A</c:v>
                </c:pt>
                <c:pt idx="7217">
                  <c:v>#N/A</c:v>
                </c:pt>
                <c:pt idx="7218">
                  <c:v>#N/A</c:v>
                </c:pt>
                <c:pt idx="7219">
                  <c:v>#N/A</c:v>
                </c:pt>
                <c:pt idx="7220">
                  <c:v>#N/A</c:v>
                </c:pt>
                <c:pt idx="7221">
                  <c:v>#N/A</c:v>
                </c:pt>
                <c:pt idx="7222">
                  <c:v>#N/A</c:v>
                </c:pt>
                <c:pt idx="7223">
                  <c:v>#N/A</c:v>
                </c:pt>
                <c:pt idx="7224">
                  <c:v>#N/A</c:v>
                </c:pt>
                <c:pt idx="7225">
                  <c:v>#N/A</c:v>
                </c:pt>
                <c:pt idx="7226">
                  <c:v>#N/A</c:v>
                </c:pt>
                <c:pt idx="7227">
                  <c:v>#N/A</c:v>
                </c:pt>
                <c:pt idx="7228">
                  <c:v>#N/A</c:v>
                </c:pt>
                <c:pt idx="7229">
                  <c:v>#N/A</c:v>
                </c:pt>
                <c:pt idx="7230">
                  <c:v>#N/A</c:v>
                </c:pt>
                <c:pt idx="7231">
                  <c:v>#N/A</c:v>
                </c:pt>
                <c:pt idx="7232">
                  <c:v>#N/A</c:v>
                </c:pt>
                <c:pt idx="7233">
                  <c:v>#N/A</c:v>
                </c:pt>
                <c:pt idx="7234">
                  <c:v>#N/A</c:v>
                </c:pt>
                <c:pt idx="7235">
                  <c:v>#N/A</c:v>
                </c:pt>
                <c:pt idx="7236">
                  <c:v>#N/A</c:v>
                </c:pt>
                <c:pt idx="7237">
                  <c:v>#N/A</c:v>
                </c:pt>
                <c:pt idx="7238">
                  <c:v>#N/A</c:v>
                </c:pt>
                <c:pt idx="7239">
                  <c:v>#N/A</c:v>
                </c:pt>
                <c:pt idx="7240">
                  <c:v>#N/A</c:v>
                </c:pt>
                <c:pt idx="7241">
                  <c:v>#N/A</c:v>
                </c:pt>
                <c:pt idx="7242">
                  <c:v>#N/A</c:v>
                </c:pt>
                <c:pt idx="7243">
                  <c:v>#N/A</c:v>
                </c:pt>
                <c:pt idx="7244">
                  <c:v>#N/A</c:v>
                </c:pt>
                <c:pt idx="7245">
                  <c:v>#N/A</c:v>
                </c:pt>
                <c:pt idx="7246">
                  <c:v>#N/A</c:v>
                </c:pt>
                <c:pt idx="7247">
                  <c:v>#N/A</c:v>
                </c:pt>
                <c:pt idx="7248">
                  <c:v>#N/A</c:v>
                </c:pt>
                <c:pt idx="7249">
                  <c:v>#N/A</c:v>
                </c:pt>
                <c:pt idx="7250">
                  <c:v>#N/A</c:v>
                </c:pt>
                <c:pt idx="7251">
                  <c:v>#N/A</c:v>
                </c:pt>
                <c:pt idx="7252">
                  <c:v>#N/A</c:v>
                </c:pt>
                <c:pt idx="7253">
                  <c:v>#N/A</c:v>
                </c:pt>
                <c:pt idx="7254">
                  <c:v>#N/A</c:v>
                </c:pt>
                <c:pt idx="7255">
                  <c:v>#N/A</c:v>
                </c:pt>
                <c:pt idx="7256">
                  <c:v>#N/A</c:v>
                </c:pt>
                <c:pt idx="7257">
                  <c:v>#N/A</c:v>
                </c:pt>
                <c:pt idx="7258">
                  <c:v>#N/A</c:v>
                </c:pt>
                <c:pt idx="7259">
                  <c:v>#N/A</c:v>
                </c:pt>
                <c:pt idx="7260">
                  <c:v>#N/A</c:v>
                </c:pt>
                <c:pt idx="7261">
                  <c:v>2.6191780821917807</c:v>
                </c:pt>
                <c:pt idx="7262">
                  <c:v>#N/A</c:v>
                </c:pt>
                <c:pt idx="7263">
                  <c:v>#N/A</c:v>
                </c:pt>
                <c:pt idx="7264">
                  <c:v>#N/A</c:v>
                </c:pt>
                <c:pt idx="7265">
                  <c:v>#N/A</c:v>
                </c:pt>
                <c:pt idx="7266">
                  <c:v>#N/A</c:v>
                </c:pt>
                <c:pt idx="7267">
                  <c:v>#N/A</c:v>
                </c:pt>
                <c:pt idx="7268">
                  <c:v>#N/A</c:v>
                </c:pt>
                <c:pt idx="7269">
                  <c:v>#N/A</c:v>
                </c:pt>
                <c:pt idx="7270">
                  <c:v>#N/A</c:v>
                </c:pt>
                <c:pt idx="7271">
                  <c:v>#N/A</c:v>
                </c:pt>
                <c:pt idx="7272">
                  <c:v>#N/A</c:v>
                </c:pt>
                <c:pt idx="7273">
                  <c:v>#N/A</c:v>
                </c:pt>
                <c:pt idx="7274">
                  <c:v>#N/A</c:v>
                </c:pt>
                <c:pt idx="7275">
                  <c:v>#N/A</c:v>
                </c:pt>
                <c:pt idx="7276">
                  <c:v>#N/A</c:v>
                </c:pt>
                <c:pt idx="7277">
                  <c:v>#N/A</c:v>
                </c:pt>
                <c:pt idx="7278">
                  <c:v>#N/A</c:v>
                </c:pt>
                <c:pt idx="7279">
                  <c:v>#N/A</c:v>
                </c:pt>
                <c:pt idx="7280">
                  <c:v>#N/A</c:v>
                </c:pt>
                <c:pt idx="7281">
                  <c:v>#N/A</c:v>
                </c:pt>
                <c:pt idx="7282">
                  <c:v>#N/A</c:v>
                </c:pt>
                <c:pt idx="7283">
                  <c:v>#N/A</c:v>
                </c:pt>
                <c:pt idx="7284">
                  <c:v>#N/A</c:v>
                </c:pt>
                <c:pt idx="7285">
                  <c:v>#N/A</c:v>
                </c:pt>
                <c:pt idx="7286">
                  <c:v>#N/A</c:v>
                </c:pt>
                <c:pt idx="7287">
                  <c:v>#N/A</c:v>
                </c:pt>
                <c:pt idx="7288">
                  <c:v>#N/A</c:v>
                </c:pt>
                <c:pt idx="7289">
                  <c:v>#N/A</c:v>
                </c:pt>
                <c:pt idx="7290">
                  <c:v>#N/A</c:v>
                </c:pt>
                <c:pt idx="7291">
                  <c:v>#N/A</c:v>
                </c:pt>
                <c:pt idx="7292">
                  <c:v>#N/A</c:v>
                </c:pt>
                <c:pt idx="7293">
                  <c:v>#N/A</c:v>
                </c:pt>
                <c:pt idx="7294">
                  <c:v>#N/A</c:v>
                </c:pt>
                <c:pt idx="7295">
                  <c:v>2.6602739726027398</c:v>
                </c:pt>
                <c:pt idx="7296">
                  <c:v>#N/A</c:v>
                </c:pt>
                <c:pt idx="7297">
                  <c:v>#N/A</c:v>
                </c:pt>
                <c:pt idx="7298">
                  <c:v>#N/A</c:v>
                </c:pt>
                <c:pt idx="7299">
                  <c:v>#N/A</c:v>
                </c:pt>
                <c:pt idx="7300">
                  <c:v>#N/A</c:v>
                </c:pt>
                <c:pt idx="7301">
                  <c:v>#N/A</c:v>
                </c:pt>
                <c:pt idx="7302">
                  <c:v>#N/A</c:v>
                </c:pt>
                <c:pt idx="7303">
                  <c:v>#N/A</c:v>
                </c:pt>
                <c:pt idx="7304">
                  <c:v>#N/A</c:v>
                </c:pt>
                <c:pt idx="7305">
                  <c:v>#N/A</c:v>
                </c:pt>
                <c:pt idx="7306">
                  <c:v>#N/A</c:v>
                </c:pt>
                <c:pt idx="7307">
                  <c:v>#N/A</c:v>
                </c:pt>
                <c:pt idx="7308">
                  <c:v>#N/A</c:v>
                </c:pt>
                <c:pt idx="7309">
                  <c:v>#N/A</c:v>
                </c:pt>
                <c:pt idx="7310">
                  <c:v>#N/A</c:v>
                </c:pt>
                <c:pt idx="7311">
                  <c:v>#N/A</c:v>
                </c:pt>
                <c:pt idx="7312">
                  <c:v>#N/A</c:v>
                </c:pt>
                <c:pt idx="7313">
                  <c:v>#N/A</c:v>
                </c:pt>
                <c:pt idx="7314">
                  <c:v>#N/A</c:v>
                </c:pt>
                <c:pt idx="7315">
                  <c:v>#N/A</c:v>
                </c:pt>
                <c:pt idx="7316">
                  <c:v>#N/A</c:v>
                </c:pt>
                <c:pt idx="7317">
                  <c:v>#N/A</c:v>
                </c:pt>
                <c:pt idx="7318">
                  <c:v>#N/A</c:v>
                </c:pt>
                <c:pt idx="7319">
                  <c:v>#N/A</c:v>
                </c:pt>
                <c:pt idx="7320">
                  <c:v>#N/A</c:v>
                </c:pt>
                <c:pt idx="7321">
                  <c:v>#N/A</c:v>
                </c:pt>
                <c:pt idx="7322">
                  <c:v>#N/A</c:v>
                </c:pt>
                <c:pt idx="7323">
                  <c:v>#N/A</c:v>
                </c:pt>
                <c:pt idx="7324">
                  <c:v>#N/A</c:v>
                </c:pt>
                <c:pt idx="7325">
                  <c:v>#N/A</c:v>
                </c:pt>
                <c:pt idx="7326">
                  <c:v>#N/A</c:v>
                </c:pt>
                <c:pt idx="7327">
                  <c:v>#N/A</c:v>
                </c:pt>
                <c:pt idx="7328">
                  <c:v>#N/A</c:v>
                </c:pt>
                <c:pt idx="7329">
                  <c:v>#N/A</c:v>
                </c:pt>
                <c:pt idx="7330">
                  <c:v>#N/A</c:v>
                </c:pt>
                <c:pt idx="7331">
                  <c:v>#N/A</c:v>
                </c:pt>
                <c:pt idx="7332">
                  <c:v>#N/A</c:v>
                </c:pt>
                <c:pt idx="7333">
                  <c:v>#N/A</c:v>
                </c:pt>
                <c:pt idx="7334">
                  <c:v>#N/A</c:v>
                </c:pt>
                <c:pt idx="7335">
                  <c:v>#N/A</c:v>
                </c:pt>
                <c:pt idx="7336">
                  <c:v>#N/A</c:v>
                </c:pt>
                <c:pt idx="7337">
                  <c:v>#N/A</c:v>
                </c:pt>
                <c:pt idx="7338">
                  <c:v>#N/A</c:v>
                </c:pt>
                <c:pt idx="7339">
                  <c:v>#N/A</c:v>
                </c:pt>
                <c:pt idx="7340">
                  <c:v>#N/A</c:v>
                </c:pt>
                <c:pt idx="7341">
                  <c:v>#N/A</c:v>
                </c:pt>
                <c:pt idx="7342">
                  <c:v>#N/A</c:v>
                </c:pt>
                <c:pt idx="7343">
                  <c:v>#N/A</c:v>
                </c:pt>
                <c:pt idx="7344">
                  <c:v>#N/A</c:v>
                </c:pt>
                <c:pt idx="7345">
                  <c:v>#N/A</c:v>
                </c:pt>
                <c:pt idx="7346">
                  <c:v>#N/A</c:v>
                </c:pt>
                <c:pt idx="7347">
                  <c:v>#N/A</c:v>
                </c:pt>
                <c:pt idx="7348">
                  <c:v>#N/A</c:v>
                </c:pt>
                <c:pt idx="7349">
                  <c:v>#N/A</c:v>
                </c:pt>
                <c:pt idx="7350">
                  <c:v>#N/A</c:v>
                </c:pt>
                <c:pt idx="7351">
                  <c:v>#N/A</c:v>
                </c:pt>
                <c:pt idx="7352">
                  <c:v>#N/A</c:v>
                </c:pt>
                <c:pt idx="7353">
                  <c:v>#N/A</c:v>
                </c:pt>
                <c:pt idx="7354">
                  <c:v>#N/A</c:v>
                </c:pt>
                <c:pt idx="7355">
                  <c:v>#N/A</c:v>
                </c:pt>
                <c:pt idx="7356">
                  <c:v>#N/A</c:v>
                </c:pt>
                <c:pt idx="7357">
                  <c:v>#N/A</c:v>
                </c:pt>
                <c:pt idx="7358">
                  <c:v>#N/A</c:v>
                </c:pt>
                <c:pt idx="7359">
                  <c:v>#N/A</c:v>
                </c:pt>
                <c:pt idx="7360">
                  <c:v>#N/A</c:v>
                </c:pt>
                <c:pt idx="7361">
                  <c:v>#N/A</c:v>
                </c:pt>
                <c:pt idx="7362">
                  <c:v>#N/A</c:v>
                </c:pt>
                <c:pt idx="7363">
                  <c:v>#N/A</c:v>
                </c:pt>
                <c:pt idx="7364">
                  <c:v>#N/A</c:v>
                </c:pt>
                <c:pt idx="7365">
                  <c:v>#N/A</c:v>
                </c:pt>
                <c:pt idx="7366">
                  <c:v>#N/A</c:v>
                </c:pt>
                <c:pt idx="7367">
                  <c:v>#N/A</c:v>
                </c:pt>
                <c:pt idx="7368">
                  <c:v>#N/A</c:v>
                </c:pt>
                <c:pt idx="7369">
                  <c:v>#N/A</c:v>
                </c:pt>
                <c:pt idx="7370">
                  <c:v>#N/A</c:v>
                </c:pt>
                <c:pt idx="7371">
                  <c:v>#N/A</c:v>
                </c:pt>
                <c:pt idx="7372">
                  <c:v>#N/A</c:v>
                </c:pt>
                <c:pt idx="7373">
                  <c:v>#N/A</c:v>
                </c:pt>
                <c:pt idx="7374">
                  <c:v>#N/A</c:v>
                </c:pt>
                <c:pt idx="7375">
                  <c:v>#N/A</c:v>
                </c:pt>
                <c:pt idx="7376">
                  <c:v>#N/A</c:v>
                </c:pt>
                <c:pt idx="7377">
                  <c:v>#N/A</c:v>
                </c:pt>
                <c:pt idx="7378">
                  <c:v>#N/A</c:v>
                </c:pt>
                <c:pt idx="7379">
                  <c:v>#N/A</c:v>
                </c:pt>
                <c:pt idx="7380">
                  <c:v>#N/A</c:v>
                </c:pt>
                <c:pt idx="7381">
                  <c:v>#N/A</c:v>
                </c:pt>
                <c:pt idx="7382">
                  <c:v>#N/A</c:v>
                </c:pt>
                <c:pt idx="7383">
                  <c:v>#N/A</c:v>
                </c:pt>
                <c:pt idx="7384">
                  <c:v>#N/A</c:v>
                </c:pt>
                <c:pt idx="7385">
                  <c:v>#N/A</c:v>
                </c:pt>
                <c:pt idx="7386">
                  <c:v>#N/A</c:v>
                </c:pt>
                <c:pt idx="7387">
                  <c:v>#N/A</c:v>
                </c:pt>
                <c:pt idx="7388">
                  <c:v>#N/A</c:v>
                </c:pt>
                <c:pt idx="7389">
                  <c:v>#N/A</c:v>
                </c:pt>
                <c:pt idx="7390">
                  <c:v>#N/A</c:v>
                </c:pt>
                <c:pt idx="7391">
                  <c:v>#N/A</c:v>
                </c:pt>
                <c:pt idx="7392">
                  <c:v>#N/A</c:v>
                </c:pt>
                <c:pt idx="7393">
                  <c:v>#N/A</c:v>
                </c:pt>
                <c:pt idx="7394">
                  <c:v>#N/A</c:v>
                </c:pt>
                <c:pt idx="7395">
                  <c:v>#N/A</c:v>
                </c:pt>
                <c:pt idx="7396">
                  <c:v>#N/A</c:v>
                </c:pt>
                <c:pt idx="7397">
                  <c:v>#N/A</c:v>
                </c:pt>
                <c:pt idx="7398">
                  <c:v>#N/A</c:v>
                </c:pt>
                <c:pt idx="7399">
                  <c:v>#N/A</c:v>
                </c:pt>
                <c:pt idx="7400">
                  <c:v>#N/A</c:v>
                </c:pt>
                <c:pt idx="7401">
                  <c:v>#N/A</c:v>
                </c:pt>
                <c:pt idx="7402">
                  <c:v>#N/A</c:v>
                </c:pt>
                <c:pt idx="7403">
                  <c:v>#N/A</c:v>
                </c:pt>
                <c:pt idx="7404">
                  <c:v>#N/A</c:v>
                </c:pt>
                <c:pt idx="7405">
                  <c:v>#N/A</c:v>
                </c:pt>
                <c:pt idx="7406">
                  <c:v>#N/A</c:v>
                </c:pt>
                <c:pt idx="7407">
                  <c:v>#N/A</c:v>
                </c:pt>
                <c:pt idx="7408">
                  <c:v>#N/A</c:v>
                </c:pt>
                <c:pt idx="7409">
                  <c:v>#N/A</c:v>
                </c:pt>
                <c:pt idx="7410">
                  <c:v>#N/A</c:v>
                </c:pt>
                <c:pt idx="7411">
                  <c:v>#N/A</c:v>
                </c:pt>
                <c:pt idx="7412">
                  <c:v>#N/A</c:v>
                </c:pt>
                <c:pt idx="7413">
                  <c:v>#N/A</c:v>
                </c:pt>
                <c:pt idx="7414">
                  <c:v>#N/A</c:v>
                </c:pt>
                <c:pt idx="7415">
                  <c:v>#N/A</c:v>
                </c:pt>
                <c:pt idx="7416">
                  <c:v>#N/A</c:v>
                </c:pt>
                <c:pt idx="7417">
                  <c:v>#N/A</c:v>
                </c:pt>
                <c:pt idx="7418">
                  <c:v>#N/A</c:v>
                </c:pt>
                <c:pt idx="7419">
                  <c:v>#N/A</c:v>
                </c:pt>
                <c:pt idx="7420">
                  <c:v>#N/A</c:v>
                </c:pt>
                <c:pt idx="7421">
                  <c:v>#N/A</c:v>
                </c:pt>
                <c:pt idx="7422">
                  <c:v>#N/A</c:v>
                </c:pt>
                <c:pt idx="7423">
                  <c:v>#N/A</c:v>
                </c:pt>
                <c:pt idx="7424">
                  <c:v>#N/A</c:v>
                </c:pt>
                <c:pt idx="7425">
                  <c:v>#N/A</c:v>
                </c:pt>
                <c:pt idx="7426">
                  <c:v>#N/A</c:v>
                </c:pt>
                <c:pt idx="7427">
                  <c:v>#N/A</c:v>
                </c:pt>
                <c:pt idx="7428">
                  <c:v>#N/A</c:v>
                </c:pt>
                <c:pt idx="7429">
                  <c:v>#N/A</c:v>
                </c:pt>
                <c:pt idx="7430">
                  <c:v>#N/A</c:v>
                </c:pt>
                <c:pt idx="7431">
                  <c:v>2.7835616438356166</c:v>
                </c:pt>
                <c:pt idx="7432">
                  <c:v>#N/A</c:v>
                </c:pt>
                <c:pt idx="7433">
                  <c:v>#N/A</c:v>
                </c:pt>
                <c:pt idx="7434">
                  <c:v>#N/A</c:v>
                </c:pt>
                <c:pt idx="7435">
                  <c:v>#N/A</c:v>
                </c:pt>
                <c:pt idx="7436">
                  <c:v>#N/A</c:v>
                </c:pt>
                <c:pt idx="7437">
                  <c:v>#N/A</c:v>
                </c:pt>
                <c:pt idx="7438">
                  <c:v>#N/A</c:v>
                </c:pt>
                <c:pt idx="7439">
                  <c:v>#N/A</c:v>
                </c:pt>
                <c:pt idx="7440">
                  <c:v>#N/A</c:v>
                </c:pt>
                <c:pt idx="7441">
                  <c:v>#N/A</c:v>
                </c:pt>
                <c:pt idx="7442">
                  <c:v>#N/A</c:v>
                </c:pt>
                <c:pt idx="7443">
                  <c:v>#N/A</c:v>
                </c:pt>
                <c:pt idx="7444">
                  <c:v>#N/A</c:v>
                </c:pt>
                <c:pt idx="7445">
                  <c:v>#N/A</c:v>
                </c:pt>
                <c:pt idx="7446">
                  <c:v>#N/A</c:v>
                </c:pt>
                <c:pt idx="7447">
                  <c:v>#N/A</c:v>
                </c:pt>
                <c:pt idx="7448">
                  <c:v>#N/A</c:v>
                </c:pt>
                <c:pt idx="7449">
                  <c:v>#N/A</c:v>
                </c:pt>
                <c:pt idx="7450">
                  <c:v>#N/A</c:v>
                </c:pt>
                <c:pt idx="7451">
                  <c:v>#N/A</c:v>
                </c:pt>
                <c:pt idx="7452">
                  <c:v>#N/A</c:v>
                </c:pt>
                <c:pt idx="7453">
                  <c:v>#N/A</c:v>
                </c:pt>
                <c:pt idx="7454">
                  <c:v>#N/A</c:v>
                </c:pt>
                <c:pt idx="7455">
                  <c:v>#N/A</c:v>
                </c:pt>
                <c:pt idx="7456">
                  <c:v>#N/A</c:v>
                </c:pt>
                <c:pt idx="7457">
                  <c:v>#N/A</c:v>
                </c:pt>
                <c:pt idx="7458">
                  <c:v>#N/A</c:v>
                </c:pt>
                <c:pt idx="7459">
                  <c:v>#N/A</c:v>
                </c:pt>
                <c:pt idx="7460">
                  <c:v>#N/A</c:v>
                </c:pt>
                <c:pt idx="7461">
                  <c:v>#N/A</c:v>
                </c:pt>
                <c:pt idx="7462">
                  <c:v>#N/A</c:v>
                </c:pt>
                <c:pt idx="7463">
                  <c:v>#N/A</c:v>
                </c:pt>
                <c:pt idx="7464">
                  <c:v>#N/A</c:v>
                </c:pt>
                <c:pt idx="7465">
                  <c:v>2.7972602739726029</c:v>
                </c:pt>
                <c:pt idx="7466">
                  <c:v>2.7972602739726029</c:v>
                </c:pt>
                <c:pt idx="7467">
                  <c:v>2.7972602739726029</c:v>
                </c:pt>
                <c:pt idx="7468">
                  <c:v>#N/A</c:v>
                </c:pt>
                <c:pt idx="7469">
                  <c:v>#N/A</c:v>
                </c:pt>
                <c:pt idx="7470">
                  <c:v>#N/A</c:v>
                </c:pt>
                <c:pt idx="7471">
                  <c:v>#N/A</c:v>
                </c:pt>
                <c:pt idx="7472">
                  <c:v>#N/A</c:v>
                </c:pt>
                <c:pt idx="7473">
                  <c:v>#N/A</c:v>
                </c:pt>
                <c:pt idx="7474">
                  <c:v>#N/A</c:v>
                </c:pt>
                <c:pt idx="7475">
                  <c:v>#N/A</c:v>
                </c:pt>
                <c:pt idx="7476">
                  <c:v>#N/A</c:v>
                </c:pt>
                <c:pt idx="7477">
                  <c:v>#N/A</c:v>
                </c:pt>
                <c:pt idx="7478">
                  <c:v>#N/A</c:v>
                </c:pt>
                <c:pt idx="7479">
                  <c:v>#N/A</c:v>
                </c:pt>
                <c:pt idx="7480">
                  <c:v>#N/A</c:v>
                </c:pt>
                <c:pt idx="7481">
                  <c:v>#N/A</c:v>
                </c:pt>
                <c:pt idx="7482">
                  <c:v>2.8054794520547945</c:v>
                </c:pt>
                <c:pt idx="7483">
                  <c:v>#N/A</c:v>
                </c:pt>
                <c:pt idx="7484">
                  <c:v>#N/A</c:v>
                </c:pt>
                <c:pt idx="7485">
                  <c:v>#N/A</c:v>
                </c:pt>
                <c:pt idx="7486">
                  <c:v>#N/A</c:v>
                </c:pt>
                <c:pt idx="7487">
                  <c:v>#N/A</c:v>
                </c:pt>
                <c:pt idx="7488">
                  <c:v>#N/A</c:v>
                </c:pt>
                <c:pt idx="7489">
                  <c:v>#N/A</c:v>
                </c:pt>
                <c:pt idx="7490">
                  <c:v>2.8164383561643835</c:v>
                </c:pt>
                <c:pt idx="7491">
                  <c:v>#N/A</c:v>
                </c:pt>
                <c:pt idx="7492">
                  <c:v>#N/A</c:v>
                </c:pt>
                <c:pt idx="7493">
                  <c:v>#N/A</c:v>
                </c:pt>
                <c:pt idx="7494">
                  <c:v>#N/A</c:v>
                </c:pt>
                <c:pt idx="7495">
                  <c:v>#N/A</c:v>
                </c:pt>
                <c:pt idx="7496">
                  <c:v>#N/A</c:v>
                </c:pt>
                <c:pt idx="7497">
                  <c:v>#N/A</c:v>
                </c:pt>
                <c:pt idx="7498">
                  <c:v>#N/A</c:v>
                </c:pt>
                <c:pt idx="7499">
                  <c:v>#N/A</c:v>
                </c:pt>
                <c:pt idx="7500">
                  <c:v>#N/A</c:v>
                </c:pt>
                <c:pt idx="7501">
                  <c:v>#N/A</c:v>
                </c:pt>
                <c:pt idx="7502">
                  <c:v>#N/A</c:v>
                </c:pt>
                <c:pt idx="7503">
                  <c:v>#N/A</c:v>
                </c:pt>
                <c:pt idx="7504">
                  <c:v>#N/A</c:v>
                </c:pt>
                <c:pt idx="7505">
                  <c:v>#N/A</c:v>
                </c:pt>
                <c:pt idx="7506">
                  <c:v>#N/A</c:v>
                </c:pt>
                <c:pt idx="7507">
                  <c:v>#N/A</c:v>
                </c:pt>
                <c:pt idx="7508">
                  <c:v>#N/A</c:v>
                </c:pt>
                <c:pt idx="7509">
                  <c:v>#N/A</c:v>
                </c:pt>
                <c:pt idx="7510">
                  <c:v>#N/A</c:v>
                </c:pt>
                <c:pt idx="7511">
                  <c:v>#N/A</c:v>
                </c:pt>
                <c:pt idx="7512">
                  <c:v>#N/A</c:v>
                </c:pt>
                <c:pt idx="7513">
                  <c:v>#N/A</c:v>
                </c:pt>
                <c:pt idx="7514">
                  <c:v>#N/A</c:v>
                </c:pt>
                <c:pt idx="7515">
                  <c:v>#N/A</c:v>
                </c:pt>
                <c:pt idx="7516">
                  <c:v>#N/A</c:v>
                </c:pt>
                <c:pt idx="7517">
                  <c:v>#N/A</c:v>
                </c:pt>
                <c:pt idx="7518">
                  <c:v>#N/A</c:v>
                </c:pt>
                <c:pt idx="7519">
                  <c:v>#N/A</c:v>
                </c:pt>
                <c:pt idx="7520">
                  <c:v>#N/A</c:v>
                </c:pt>
                <c:pt idx="7521">
                  <c:v>#N/A</c:v>
                </c:pt>
                <c:pt idx="7522">
                  <c:v>#N/A</c:v>
                </c:pt>
                <c:pt idx="7523">
                  <c:v>#N/A</c:v>
                </c:pt>
                <c:pt idx="7524">
                  <c:v>#N/A</c:v>
                </c:pt>
                <c:pt idx="7525">
                  <c:v>#N/A</c:v>
                </c:pt>
                <c:pt idx="7526">
                  <c:v>#N/A</c:v>
                </c:pt>
                <c:pt idx="7527">
                  <c:v>#N/A</c:v>
                </c:pt>
                <c:pt idx="7528">
                  <c:v>#N/A</c:v>
                </c:pt>
                <c:pt idx="7529">
                  <c:v>#N/A</c:v>
                </c:pt>
                <c:pt idx="7530">
                  <c:v>#N/A</c:v>
                </c:pt>
                <c:pt idx="7531">
                  <c:v>#N/A</c:v>
                </c:pt>
                <c:pt idx="7532">
                  <c:v>#N/A</c:v>
                </c:pt>
                <c:pt idx="7533">
                  <c:v>#N/A</c:v>
                </c:pt>
                <c:pt idx="7534">
                  <c:v>#N/A</c:v>
                </c:pt>
                <c:pt idx="7535">
                  <c:v>#N/A</c:v>
                </c:pt>
                <c:pt idx="7536">
                  <c:v>#N/A</c:v>
                </c:pt>
                <c:pt idx="7537">
                  <c:v>#N/A</c:v>
                </c:pt>
                <c:pt idx="7538">
                  <c:v>#N/A</c:v>
                </c:pt>
                <c:pt idx="7539">
                  <c:v>#N/A</c:v>
                </c:pt>
                <c:pt idx="7540">
                  <c:v>#N/A</c:v>
                </c:pt>
                <c:pt idx="7541">
                  <c:v>#N/A</c:v>
                </c:pt>
                <c:pt idx="7542">
                  <c:v>#N/A</c:v>
                </c:pt>
                <c:pt idx="7543">
                  <c:v>#N/A</c:v>
                </c:pt>
                <c:pt idx="7544">
                  <c:v>#N/A</c:v>
                </c:pt>
                <c:pt idx="7545">
                  <c:v>#N/A</c:v>
                </c:pt>
                <c:pt idx="7546">
                  <c:v>#N/A</c:v>
                </c:pt>
                <c:pt idx="7547">
                  <c:v>#N/A</c:v>
                </c:pt>
                <c:pt idx="7548">
                  <c:v>#N/A</c:v>
                </c:pt>
                <c:pt idx="7549">
                  <c:v>#N/A</c:v>
                </c:pt>
                <c:pt idx="7550">
                  <c:v>#N/A</c:v>
                </c:pt>
                <c:pt idx="7551">
                  <c:v>#N/A</c:v>
                </c:pt>
                <c:pt idx="7552">
                  <c:v>#N/A</c:v>
                </c:pt>
                <c:pt idx="7553">
                  <c:v>#N/A</c:v>
                </c:pt>
                <c:pt idx="7554">
                  <c:v>#N/A</c:v>
                </c:pt>
                <c:pt idx="7555">
                  <c:v>#N/A</c:v>
                </c:pt>
                <c:pt idx="7556">
                  <c:v>#N/A</c:v>
                </c:pt>
                <c:pt idx="7557">
                  <c:v>#N/A</c:v>
                </c:pt>
                <c:pt idx="7558">
                  <c:v>#N/A</c:v>
                </c:pt>
                <c:pt idx="7559">
                  <c:v>#N/A</c:v>
                </c:pt>
                <c:pt idx="7560">
                  <c:v>#N/A</c:v>
                </c:pt>
                <c:pt idx="7561">
                  <c:v>#N/A</c:v>
                </c:pt>
                <c:pt idx="7562">
                  <c:v>#N/A</c:v>
                </c:pt>
                <c:pt idx="7563">
                  <c:v>#N/A</c:v>
                </c:pt>
                <c:pt idx="7564">
                  <c:v>#N/A</c:v>
                </c:pt>
                <c:pt idx="7565">
                  <c:v>#N/A</c:v>
                </c:pt>
                <c:pt idx="7566">
                  <c:v>#N/A</c:v>
                </c:pt>
                <c:pt idx="7567">
                  <c:v>#N/A</c:v>
                </c:pt>
                <c:pt idx="7568">
                  <c:v>#N/A</c:v>
                </c:pt>
                <c:pt idx="7569">
                  <c:v>#N/A</c:v>
                </c:pt>
                <c:pt idx="7570">
                  <c:v>#N/A</c:v>
                </c:pt>
                <c:pt idx="7571">
                  <c:v>#N/A</c:v>
                </c:pt>
                <c:pt idx="7572">
                  <c:v>#N/A</c:v>
                </c:pt>
                <c:pt idx="7573">
                  <c:v>#N/A</c:v>
                </c:pt>
                <c:pt idx="7574">
                  <c:v>#N/A</c:v>
                </c:pt>
                <c:pt idx="7575">
                  <c:v>#N/A</c:v>
                </c:pt>
                <c:pt idx="7576">
                  <c:v>#N/A</c:v>
                </c:pt>
                <c:pt idx="7577">
                  <c:v>#N/A</c:v>
                </c:pt>
                <c:pt idx="7578">
                  <c:v>2.8739726027397259</c:v>
                </c:pt>
                <c:pt idx="7579">
                  <c:v>2.8739726027397259</c:v>
                </c:pt>
                <c:pt idx="7580">
                  <c:v>#N/A</c:v>
                </c:pt>
                <c:pt idx="7581">
                  <c:v>#N/A</c:v>
                </c:pt>
                <c:pt idx="7582">
                  <c:v>#N/A</c:v>
                </c:pt>
                <c:pt idx="7583">
                  <c:v>#N/A</c:v>
                </c:pt>
                <c:pt idx="7584">
                  <c:v>#N/A</c:v>
                </c:pt>
                <c:pt idx="7585">
                  <c:v>#N/A</c:v>
                </c:pt>
                <c:pt idx="7586">
                  <c:v>#N/A</c:v>
                </c:pt>
                <c:pt idx="7587">
                  <c:v>#N/A</c:v>
                </c:pt>
                <c:pt idx="7588">
                  <c:v>#N/A</c:v>
                </c:pt>
                <c:pt idx="7589">
                  <c:v>#N/A</c:v>
                </c:pt>
                <c:pt idx="7590">
                  <c:v>2.8767123287671232</c:v>
                </c:pt>
                <c:pt idx="7591">
                  <c:v>#N/A</c:v>
                </c:pt>
                <c:pt idx="7592">
                  <c:v>#N/A</c:v>
                </c:pt>
                <c:pt idx="7593">
                  <c:v>#N/A</c:v>
                </c:pt>
                <c:pt idx="7594">
                  <c:v>#N/A</c:v>
                </c:pt>
                <c:pt idx="7595">
                  <c:v>#N/A</c:v>
                </c:pt>
                <c:pt idx="7596">
                  <c:v>#N/A</c:v>
                </c:pt>
                <c:pt idx="7597">
                  <c:v>#N/A</c:v>
                </c:pt>
                <c:pt idx="7598">
                  <c:v>#N/A</c:v>
                </c:pt>
                <c:pt idx="7599">
                  <c:v>#N/A</c:v>
                </c:pt>
                <c:pt idx="7600">
                  <c:v>#N/A</c:v>
                </c:pt>
                <c:pt idx="7601">
                  <c:v>#N/A</c:v>
                </c:pt>
                <c:pt idx="7602">
                  <c:v>#N/A</c:v>
                </c:pt>
                <c:pt idx="7603">
                  <c:v>#N/A</c:v>
                </c:pt>
                <c:pt idx="7604">
                  <c:v>#N/A</c:v>
                </c:pt>
                <c:pt idx="7605">
                  <c:v>#N/A</c:v>
                </c:pt>
                <c:pt idx="7606">
                  <c:v>#N/A</c:v>
                </c:pt>
                <c:pt idx="7607">
                  <c:v>#N/A</c:v>
                </c:pt>
                <c:pt idx="7608">
                  <c:v>2.882191780821918</c:v>
                </c:pt>
                <c:pt idx="7609">
                  <c:v>#N/A</c:v>
                </c:pt>
                <c:pt idx="7610">
                  <c:v>#N/A</c:v>
                </c:pt>
                <c:pt idx="7611">
                  <c:v>#N/A</c:v>
                </c:pt>
                <c:pt idx="7612">
                  <c:v>#N/A</c:v>
                </c:pt>
                <c:pt idx="7613">
                  <c:v>#N/A</c:v>
                </c:pt>
                <c:pt idx="7614">
                  <c:v>#N/A</c:v>
                </c:pt>
                <c:pt idx="7615">
                  <c:v>#N/A</c:v>
                </c:pt>
                <c:pt idx="7616">
                  <c:v>#N/A</c:v>
                </c:pt>
                <c:pt idx="7617">
                  <c:v>#N/A</c:v>
                </c:pt>
                <c:pt idx="7618">
                  <c:v>#N/A</c:v>
                </c:pt>
                <c:pt idx="7619">
                  <c:v>#N/A</c:v>
                </c:pt>
                <c:pt idx="7620">
                  <c:v>#N/A</c:v>
                </c:pt>
                <c:pt idx="7621">
                  <c:v>#N/A</c:v>
                </c:pt>
                <c:pt idx="7622">
                  <c:v>#N/A</c:v>
                </c:pt>
                <c:pt idx="7623">
                  <c:v>#N/A</c:v>
                </c:pt>
                <c:pt idx="7624">
                  <c:v>#N/A</c:v>
                </c:pt>
                <c:pt idx="7625">
                  <c:v>#N/A</c:v>
                </c:pt>
                <c:pt idx="7626">
                  <c:v>#N/A</c:v>
                </c:pt>
                <c:pt idx="7627">
                  <c:v>#N/A</c:v>
                </c:pt>
                <c:pt idx="7628">
                  <c:v>#N/A</c:v>
                </c:pt>
                <c:pt idx="7629">
                  <c:v>#N/A</c:v>
                </c:pt>
                <c:pt idx="7630">
                  <c:v>#N/A</c:v>
                </c:pt>
                <c:pt idx="7631">
                  <c:v>#N/A</c:v>
                </c:pt>
                <c:pt idx="7632">
                  <c:v>#N/A</c:v>
                </c:pt>
                <c:pt idx="7633">
                  <c:v>2.8958904109589043</c:v>
                </c:pt>
                <c:pt idx="7634">
                  <c:v>#N/A</c:v>
                </c:pt>
                <c:pt idx="7635">
                  <c:v>#N/A</c:v>
                </c:pt>
                <c:pt idx="7636">
                  <c:v>#N/A</c:v>
                </c:pt>
                <c:pt idx="7637">
                  <c:v>#N/A</c:v>
                </c:pt>
                <c:pt idx="7638">
                  <c:v>#N/A</c:v>
                </c:pt>
                <c:pt idx="7639">
                  <c:v>#N/A</c:v>
                </c:pt>
                <c:pt idx="7640">
                  <c:v>#N/A</c:v>
                </c:pt>
                <c:pt idx="7641">
                  <c:v>#N/A</c:v>
                </c:pt>
                <c:pt idx="7642">
                  <c:v>#N/A</c:v>
                </c:pt>
                <c:pt idx="7643">
                  <c:v>2.9123287671232876</c:v>
                </c:pt>
                <c:pt idx="7644">
                  <c:v>#N/A</c:v>
                </c:pt>
                <c:pt idx="7645">
                  <c:v>#N/A</c:v>
                </c:pt>
                <c:pt idx="7646">
                  <c:v>#N/A</c:v>
                </c:pt>
                <c:pt idx="7647">
                  <c:v>#N/A</c:v>
                </c:pt>
                <c:pt idx="7648">
                  <c:v>#N/A</c:v>
                </c:pt>
                <c:pt idx="7649">
                  <c:v>2.9123287671232876</c:v>
                </c:pt>
                <c:pt idx="7650">
                  <c:v>#N/A</c:v>
                </c:pt>
                <c:pt idx="7651">
                  <c:v>#N/A</c:v>
                </c:pt>
                <c:pt idx="7652">
                  <c:v>#N/A</c:v>
                </c:pt>
                <c:pt idx="7653">
                  <c:v>#N/A</c:v>
                </c:pt>
                <c:pt idx="7654">
                  <c:v>#N/A</c:v>
                </c:pt>
                <c:pt idx="7655">
                  <c:v>#N/A</c:v>
                </c:pt>
                <c:pt idx="7656">
                  <c:v>#N/A</c:v>
                </c:pt>
                <c:pt idx="7657">
                  <c:v>#N/A</c:v>
                </c:pt>
                <c:pt idx="7658">
                  <c:v>#N/A</c:v>
                </c:pt>
                <c:pt idx="7659">
                  <c:v>#N/A</c:v>
                </c:pt>
                <c:pt idx="7660">
                  <c:v>#N/A</c:v>
                </c:pt>
                <c:pt idx="7661">
                  <c:v>#N/A</c:v>
                </c:pt>
                <c:pt idx="7662">
                  <c:v>#N/A</c:v>
                </c:pt>
                <c:pt idx="7663">
                  <c:v>#N/A</c:v>
                </c:pt>
                <c:pt idx="7664">
                  <c:v>#N/A</c:v>
                </c:pt>
                <c:pt idx="7665">
                  <c:v>#N/A</c:v>
                </c:pt>
                <c:pt idx="7666">
                  <c:v>#N/A</c:v>
                </c:pt>
                <c:pt idx="7667">
                  <c:v>#N/A</c:v>
                </c:pt>
                <c:pt idx="7668">
                  <c:v>#N/A</c:v>
                </c:pt>
                <c:pt idx="7669">
                  <c:v>#N/A</c:v>
                </c:pt>
                <c:pt idx="7670">
                  <c:v>#N/A</c:v>
                </c:pt>
                <c:pt idx="7671">
                  <c:v>#N/A</c:v>
                </c:pt>
                <c:pt idx="7672">
                  <c:v>#N/A</c:v>
                </c:pt>
                <c:pt idx="7673">
                  <c:v>#N/A</c:v>
                </c:pt>
                <c:pt idx="7674">
                  <c:v>#N/A</c:v>
                </c:pt>
                <c:pt idx="7675">
                  <c:v>#N/A</c:v>
                </c:pt>
                <c:pt idx="7676">
                  <c:v>#N/A</c:v>
                </c:pt>
                <c:pt idx="7677">
                  <c:v>#N/A</c:v>
                </c:pt>
                <c:pt idx="7678">
                  <c:v>#N/A</c:v>
                </c:pt>
                <c:pt idx="7679">
                  <c:v>#N/A</c:v>
                </c:pt>
                <c:pt idx="7680">
                  <c:v>#N/A</c:v>
                </c:pt>
                <c:pt idx="7681">
                  <c:v>#N/A</c:v>
                </c:pt>
                <c:pt idx="7682">
                  <c:v>#N/A</c:v>
                </c:pt>
                <c:pt idx="7683">
                  <c:v>#N/A</c:v>
                </c:pt>
                <c:pt idx="7684">
                  <c:v>#N/A</c:v>
                </c:pt>
                <c:pt idx="7685">
                  <c:v>#N/A</c:v>
                </c:pt>
                <c:pt idx="7686">
                  <c:v>#N/A</c:v>
                </c:pt>
                <c:pt idx="7687">
                  <c:v>#N/A</c:v>
                </c:pt>
                <c:pt idx="7688">
                  <c:v>#N/A</c:v>
                </c:pt>
                <c:pt idx="7689">
                  <c:v>#N/A</c:v>
                </c:pt>
                <c:pt idx="7690">
                  <c:v>#N/A</c:v>
                </c:pt>
                <c:pt idx="7691">
                  <c:v>#N/A</c:v>
                </c:pt>
                <c:pt idx="7692">
                  <c:v>#N/A</c:v>
                </c:pt>
                <c:pt idx="7693">
                  <c:v>#N/A</c:v>
                </c:pt>
                <c:pt idx="7694">
                  <c:v>#N/A</c:v>
                </c:pt>
                <c:pt idx="7695">
                  <c:v>#N/A</c:v>
                </c:pt>
                <c:pt idx="7696">
                  <c:v>#N/A</c:v>
                </c:pt>
                <c:pt idx="7697">
                  <c:v>#N/A</c:v>
                </c:pt>
                <c:pt idx="7698">
                  <c:v>#N/A</c:v>
                </c:pt>
                <c:pt idx="7699">
                  <c:v>#N/A</c:v>
                </c:pt>
                <c:pt idx="7700">
                  <c:v>#N/A</c:v>
                </c:pt>
                <c:pt idx="7701">
                  <c:v>#N/A</c:v>
                </c:pt>
                <c:pt idx="7702">
                  <c:v>#N/A</c:v>
                </c:pt>
                <c:pt idx="7703">
                  <c:v>#N/A</c:v>
                </c:pt>
                <c:pt idx="7704">
                  <c:v>#N/A</c:v>
                </c:pt>
                <c:pt idx="7705">
                  <c:v>#N/A</c:v>
                </c:pt>
                <c:pt idx="7706">
                  <c:v>#N/A</c:v>
                </c:pt>
                <c:pt idx="7707">
                  <c:v>#N/A</c:v>
                </c:pt>
                <c:pt idx="7708">
                  <c:v>#N/A</c:v>
                </c:pt>
                <c:pt idx="7709">
                  <c:v>#N/A</c:v>
                </c:pt>
                <c:pt idx="7710">
                  <c:v>#N/A</c:v>
                </c:pt>
                <c:pt idx="7711">
                  <c:v>#N/A</c:v>
                </c:pt>
                <c:pt idx="7712">
                  <c:v>#N/A</c:v>
                </c:pt>
                <c:pt idx="7713">
                  <c:v>#N/A</c:v>
                </c:pt>
                <c:pt idx="7714">
                  <c:v>#N/A</c:v>
                </c:pt>
                <c:pt idx="7715">
                  <c:v>#N/A</c:v>
                </c:pt>
                <c:pt idx="7716">
                  <c:v>#N/A</c:v>
                </c:pt>
                <c:pt idx="7717">
                  <c:v>#N/A</c:v>
                </c:pt>
                <c:pt idx="7718">
                  <c:v>#N/A</c:v>
                </c:pt>
                <c:pt idx="7719">
                  <c:v>#N/A</c:v>
                </c:pt>
                <c:pt idx="7720">
                  <c:v>#N/A</c:v>
                </c:pt>
                <c:pt idx="7721">
                  <c:v>#N/A</c:v>
                </c:pt>
                <c:pt idx="7722">
                  <c:v>#N/A</c:v>
                </c:pt>
                <c:pt idx="7723">
                  <c:v>#N/A</c:v>
                </c:pt>
                <c:pt idx="7724">
                  <c:v>#N/A</c:v>
                </c:pt>
                <c:pt idx="7725">
                  <c:v>#N/A</c:v>
                </c:pt>
                <c:pt idx="7726">
                  <c:v>#N/A</c:v>
                </c:pt>
                <c:pt idx="7727">
                  <c:v>#N/A</c:v>
                </c:pt>
                <c:pt idx="7728">
                  <c:v>#N/A</c:v>
                </c:pt>
                <c:pt idx="7729">
                  <c:v>#N/A</c:v>
                </c:pt>
                <c:pt idx="7730">
                  <c:v>#N/A</c:v>
                </c:pt>
                <c:pt idx="7731">
                  <c:v>2.956164383561644</c:v>
                </c:pt>
                <c:pt idx="7732">
                  <c:v>#N/A</c:v>
                </c:pt>
                <c:pt idx="7733">
                  <c:v>2.9589041095890409</c:v>
                </c:pt>
                <c:pt idx="7734">
                  <c:v>2.9589041095890409</c:v>
                </c:pt>
                <c:pt idx="7735">
                  <c:v>#N/A</c:v>
                </c:pt>
                <c:pt idx="7736">
                  <c:v>#N/A</c:v>
                </c:pt>
                <c:pt idx="7737">
                  <c:v>#N/A</c:v>
                </c:pt>
                <c:pt idx="7738">
                  <c:v>#N/A</c:v>
                </c:pt>
                <c:pt idx="7739">
                  <c:v>#N/A</c:v>
                </c:pt>
                <c:pt idx="7740">
                  <c:v>#N/A</c:v>
                </c:pt>
                <c:pt idx="7741">
                  <c:v>#N/A</c:v>
                </c:pt>
                <c:pt idx="7742">
                  <c:v>#N/A</c:v>
                </c:pt>
                <c:pt idx="7743">
                  <c:v>#N/A</c:v>
                </c:pt>
                <c:pt idx="7744">
                  <c:v>#N/A</c:v>
                </c:pt>
                <c:pt idx="7745">
                  <c:v>#N/A</c:v>
                </c:pt>
                <c:pt idx="7746">
                  <c:v>#N/A</c:v>
                </c:pt>
                <c:pt idx="7747">
                  <c:v>#N/A</c:v>
                </c:pt>
                <c:pt idx="7748">
                  <c:v>#N/A</c:v>
                </c:pt>
                <c:pt idx="7749">
                  <c:v>#N/A</c:v>
                </c:pt>
                <c:pt idx="7750">
                  <c:v>#N/A</c:v>
                </c:pt>
                <c:pt idx="7751">
                  <c:v>#N/A</c:v>
                </c:pt>
                <c:pt idx="7752">
                  <c:v>#N/A</c:v>
                </c:pt>
                <c:pt idx="7753">
                  <c:v>#N/A</c:v>
                </c:pt>
                <c:pt idx="7754">
                  <c:v>#N/A</c:v>
                </c:pt>
                <c:pt idx="7755">
                  <c:v>2.9863013698630136</c:v>
                </c:pt>
                <c:pt idx="7756">
                  <c:v>#N/A</c:v>
                </c:pt>
                <c:pt idx="7757">
                  <c:v>#N/A</c:v>
                </c:pt>
                <c:pt idx="7758">
                  <c:v>#N/A</c:v>
                </c:pt>
                <c:pt idx="7759">
                  <c:v>#N/A</c:v>
                </c:pt>
                <c:pt idx="7760">
                  <c:v>#N/A</c:v>
                </c:pt>
                <c:pt idx="7761">
                  <c:v>#N/A</c:v>
                </c:pt>
                <c:pt idx="7762">
                  <c:v>#N/A</c:v>
                </c:pt>
                <c:pt idx="7763">
                  <c:v>#N/A</c:v>
                </c:pt>
                <c:pt idx="7764">
                  <c:v>#N/A</c:v>
                </c:pt>
                <c:pt idx="7765">
                  <c:v>#N/A</c:v>
                </c:pt>
                <c:pt idx="7766">
                  <c:v>#N/A</c:v>
                </c:pt>
                <c:pt idx="7767">
                  <c:v>#N/A</c:v>
                </c:pt>
                <c:pt idx="7768">
                  <c:v>#N/A</c:v>
                </c:pt>
                <c:pt idx="7769">
                  <c:v>#N/A</c:v>
                </c:pt>
                <c:pt idx="7770">
                  <c:v>#N/A</c:v>
                </c:pt>
                <c:pt idx="7771">
                  <c:v>#N/A</c:v>
                </c:pt>
                <c:pt idx="7772">
                  <c:v>#N/A</c:v>
                </c:pt>
                <c:pt idx="7773">
                  <c:v>#N/A</c:v>
                </c:pt>
                <c:pt idx="7774">
                  <c:v>#N/A</c:v>
                </c:pt>
                <c:pt idx="7775">
                  <c:v>#N/A</c:v>
                </c:pt>
                <c:pt idx="7776">
                  <c:v>#N/A</c:v>
                </c:pt>
                <c:pt idx="7777">
                  <c:v>#N/A</c:v>
                </c:pt>
                <c:pt idx="7778">
                  <c:v>#N/A</c:v>
                </c:pt>
                <c:pt idx="7779">
                  <c:v>#N/A</c:v>
                </c:pt>
                <c:pt idx="7780">
                  <c:v>#N/A</c:v>
                </c:pt>
                <c:pt idx="7781">
                  <c:v>#N/A</c:v>
                </c:pt>
                <c:pt idx="7782">
                  <c:v>#N/A</c:v>
                </c:pt>
                <c:pt idx="7783">
                  <c:v>#N/A</c:v>
                </c:pt>
                <c:pt idx="7784">
                  <c:v>#N/A</c:v>
                </c:pt>
                <c:pt idx="7785">
                  <c:v>#N/A</c:v>
                </c:pt>
                <c:pt idx="7786">
                  <c:v>#N/A</c:v>
                </c:pt>
                <c:pt idx="7787">
                  <c:v>#N/A</c:v>
                </c:pt>
                <c:pt idx="7788">
                  <c:v>#N/A</c:v>
                </c:pt>
                <c:pt idx="7789">
                  <c:v>#N/A</c:v>
                </c:pt>
                <c:pt idx="7790">
                  <c:v>#N/A</c:v>
                </c:pt>
                <c:pt idx="7791">
                  <c:v>#N/A</c:v>
                </c:pt>
                <c:pt idx="7792">
                  <c:v>#N/A</c:v>
                </c:pt>
                <c:pt idx="7793">
                  <c:v>#N/A</c:v>
                </c:pt>
                <c:pt idx="7794">
                  <c:v>#N/A</c:v>
                </c:pt>
                <c:pt idx="7795">
                  <c:v>#N/A</c:v>
                </c:pt>
                <c:pt idx="7796">
                  <c:v>#N/A</c:v>
                </c:pt>
                <c:pt idx="7797">
                  <c:v>#N/A</c:v>
                </c:pt>
                <c:pt idx="7798">
                  <c:v>#N/A</c:v>
                </c:pt>
                <c:pt idx="7799">
                  <c:v>#N/A</c:v>
                </c:pt>
                <c:pt idx="7800">
                  <c:v>#N/A</c:v>
                </c:pt>
                <c:pt idx="7801">
                  <c:v>#N/A</c:v>
                </c:pt>
                <c:pt idx="7802">
                  <c:v>#N/A</c:v>
                </c:pt>
                <c:pt idx="7803">
                  <c:v>#N/A</c:v>
                </c:pt>
                <c:pt idx="7804">
                  <c:v>#N/A</c:v>
                </c:pt>
                <c:pt idx="7805">
                  <c:v>#N/A</c:v>
                </c:pt>
                <c:pt idx="7806">
                  <c:v>#N/A</c:v>
                </c:pt>
                <c:pt idx="7807">
                  <c:v>#N/A</c:v>
                </c:pt>
                <c:pt idx="7808">
                  <c:v>#N/A</c:v>
                </c:pt>
                <c:pt idx="7809">
                  <c:v>#N/A</c:v>
                </c:pt>
                <c:pt idx="7810">
                  <c:v>#N/A</c:v>
                </c:pt>
                <c:pt idx="7811">
                  <c:v>#N/A</c:v>
                </c:pt>
                <c:pt idx="7812">
                  <c:v>#N/A</c:v>
                </c:pt>
                <c:pt idx="7813">
                  <c:v>#N/A</c:v>
                </c:pt>
                <c:pt idx="7814">
                  <c:v>#N/A</c:v>
                </c:pt>
                <c:pt idx="7815">
                  <c:v>#N/A</c:v>
                </c:pt>
                <c:pt idx="7816">
                  <c:v>#N/A</c:v>
                </c:pt>
                <c:pt idx="7817">
                  <c:v>#N/A</c:v>
                </c:pt>
                <c:pt idx="7818">
                  <c:v>3.0136986301369864</c:v>
                </c:pt>
                <c:pt idx="7819">
                  <c:v>#N/A</c:v>
                </c:pt>
                <c:pt idx="7820">
                  <c:v>#N/A</c:v>
                </c:pt>
                <c:pt idx="7821">
                  <c:v>#N/A</c:v>
                </c:pt>
                <c:pt idx="7822">
                  <c:v>#N/A</c:v>
                </c:pt>
                <c:pt idx="7823">
                  <c:v>#N/A</c:v>
                </c:pt>
                <c:pt idx="7824">
                  <c:v>#N/A</c:v>
                </c:pt>
                <c:pt idx="7825">
                  <c:v>#N/A</c:v>
                </c:pt>
                <c:pt idx="7826">
                  <c:v>#N/A</c:v>
                </c:pt>
                <c:pt idx="7827">
                  <c:v>#N/A</c:v>
                </c:pt>
                <c:pt idx="7828">
                  <c:v>#N/A</c:v>
                </c:pt>
                <c:pt idx="7829">
                  <c:v>#N/A</c:v>
                </c:pt>
                <c:pt idx="7830">
                  <c:v>#N/A</c:v>
                </c:pt>
                <c:pt idx="7831">
                  <c:v>#N/A</c:v>
                </c:pt>
                <c:pt idx="7832">
                  <c:v>#N/A</c:v>
                </c:pt>
                <c:pt idx="7833">
                  <c:v>#N/A</c:v>
                </c:pt>
                <c:pt idx="7834">
                  <c:v>#N/A</c:v>
                </c:pt>
                <c:pt idx="7835">
                  <c:v>#N/A</c:v>
                </c:pt>
                <c:pt idx="7836">
                  <c:v>#N/A</c:v>
                </c:pt>
                <c:pt idx="7837">
                  <c:v>#N/A</c:v>
                </c:pt>
                <c:pt idx="7838">
                  <c:v>#N/A</c:v>
                </c:pt>
                <c:pt idx="7839">
                  <c:v>#N/A</c:v>
                </c:pt>
                <c:pt idx="7840">
                  <c:v>#N/A</c:v>
                </c:pt>
                <c:pt idx="7841">
                  <c:v>#N/A</c:v>
                </c:pt>
                <c:pt idx="7842">
                  <c:v>#N/A</c:v>
                </c:pt>
                <c:pt idx="7843">
                  <c:v>#N/A</c:v>
                </c:pt>
                <c:pt idx="7844">
                  <c:v>#N/A</c:v>
                </c:pt>
                <c:pt idx="7845">
                  <c:v>#N/A</c:v>
                </c:pt>
                <c:pt idx="7846">
                  <c:v>#N/A</c:v>
                </c:pt>
                <c:pt idx="7847">
                  <c:v>#N/A</c:v>
                </c:pt>
                <c:pt idx="7848">
                  <c:v>#N/A</c:v>
                </c:pt>
                <c:pt idx="7849">
                  <c:v>#N/A</c:v>
                </c:pt>
                <c:pt idx="7850">
                  <c:v>#N/A</c:v>
                </c:pt>
                <c:pt idx="7851">
                  <c:v>#N/A</c:v>
                </c:pt>
                <c:pt idx="7852">
                  <c:v>#N/A</c:v>
                </c:pt>
                <c:pt idx="7853">
                  <c:v>#N/A</c:v>
                </c:pt>
                <c:pt idx="7854">
                  <c:v>#N/A</c:v>
                </c:pt>
                <c:pt idx="7855">
                  <c:v>#N/A</c:v>
                </c:pt>
                <c:pt idx="7856">
                  <c:v>#N/A</c:v>
                </c:pt>
                <c:pt idx="7857">
                  <c:v>#N/A</c:v>
                </c:pt>
                <c:pt idx="7858">
                  <c:v>#N/A</c:v>
                </c:pt>
                <c:pt idx="7859">
                  <c:v>#N/A</c:v>
                </c:pt>
                <c:pt idx="7860">
                  <c:v>#N/A</c:v>
                </c:pt>
                <c:pt idx="7861">
                  <c:v>#N/A</c:v>
                </c:pt>
                <c:pt idx="7862">
                  <c:v>#N/A</c:v>
                </c:pt>
                <c:pt idx="7863">
                  <c:v>#N/A</c:v>
                </c:pt>
                <c:pt idx="7864">
                  <c:v>#N/A</c:v>
                </c:pt>
                <c:pt idx="7865">
                  <c:v>#N/A</c:v>
                </c:pt>
                <c:pt idx="7866">
                  <c:v>#N/A</c:v>
                </c:pt>
                <c:pt idx="7867">
                  <c:v>#N/A</c:v>
                </c:pt>
                <c:pt idx="7868">
                  <c:v>#N/A</c:v>
                </c:pt>
                <c:pt idx="7869">
                  <c:v>#N/A</c:v>
                </c:pt>
                <c:pt idx="7870">
                  <c:v>#N/A</c:v>
                </c:pt>
                <c:pt idx="7871">
                  <c:v>#N/A</c:v>
                </c:pt>
                <c:pt idx="7872">
                  <c:v>#N/A</c:v>
                </c:pt>
                <c:pt idx="7873">
                  <c:v>#N/A</c:v>
                </c:pt>
                <c:pt idx="7874">
                  <c:v>#N/A</c:v>
                </c:pt>
                <c:pt idx="7875">
                  <c:v>#N/A</c:v>
                </c:pt>
                <c:pt idx="7876">
                  <c:v>#N/A</c:v>
                </c:pt>
                <c:pt idx="7877">
                  <c:v>#N/A</c:v>
                </c:pt>
                <c:pt idx="7878">
                  <c:v>#N/A</c:v>
                </c:pt>
                <c:pt idx="7879">
                  <c:v>#N/A</c:v>
                </c:pt>
                <c:pt idx="7880">
                  <c:v>#N/A</c:v>
                </c:pt>
                <c:pt idx="7881">
                  <c:v>#N/A</c:v>
                </c:pt>
                <c:pt idx="7882">
                  <c:v>3.0520547945205481</c:v>
                </c:pt>
                <c:pt idx="7883">
                  <c:v>#N/A</c:v>
                </c:pt>
                <c:pt idx="7884">
                  <c:v>#N/A</c:v>
                </c:pt>
                <c:pt idx="7885">
                  <c:v>#N/A</c:v>
                </c:pt>
                <c:pt idx="7886">
                  <c:v>#N/A</c:v>
                </c:pt>
                <c:pt idx="7887">
                  <c:v>#N/A</c:v>
                </c:pt>
                <c:pt idx="7888">
                  <c:v>#N/A</c:v>
                </c:pt>
                <c:pt idx="7889">
                  <c:v>#N/A</c:v>
                </c:pt>
                <c:pt idx="7890">
                  <c:v>#N/A</c:v>
                </c:pt>
                <c:pt idx="7891">
                  <c:v>#N/A</c:v>
                </c:pt>
                <c:pt idx="7892">
                  <c:v>#N/A</c:v>
                </c:pt>
                <c:pt idx="7893">
                  <c:v>#N/A</c:v>
                </c:pt>
                <c:pt idx="7894">
                  <c:v>#N/A</c:v>
                </c:pt>
                <c:pt idx="7895">
                  <c:v>#N/A</c:v>
                </c:pt>
                <c:pt idx="7896">
                  <c:v>#N/A</c:v>
                </c:pt>
                <c:pt idx="7897">
                  <c:v>#N/A</c:v>
                </c:pt>
                <c:pt idx="7898">
                  <c:v>#N/A</c:v>
                </c:pt>
                <c:pt idx="7899">
                  <c:v>#N/A</c:v>
                </c:pt>
                <c:pt idx="7900">
                  <c:v>#N/A</c:v>
                </c:pt>
                <c:pt idx="7901">
                  <c:v>#N/A</c:v>
                </c:pt>
                <c:pt idx="7902">
                  <c:v>#N/A</c:v>
                </c:pt>
                <c:pt idx="7903">
                  <c:v>#N/A</c:v>
                </c:pt>
                <c:pt idx="7904">
                  <c:v>#N/A</c:v>
                </c:pt>
                <c:pt idx="7905">
                  <c:v>#N/A</c:v>
                </c:pt>
                <c:pt idx="7906">
                  <c:v>#N/A</c:v>
                </c:pt>
                <c:pt idx="7907">
                  <c:v>#N/A</c:v>
                </c:pt>
                <c:pt idx="7908">
                  <c:v>#N/A</c:v>
                </c:pt>
                <c:pt idx="7909">
                  <c:v>#N/A</c:v>
                </c:pt>
                <c:pt idx="7910">
                  <c:v>#N/A</c:v>
                </c:pt>
                <c:pt idx="7911">
                  <c:v>#N/A</c:v>
                </c:pt>
                <c:pt idx="7912">
                  <c:v>#N/A</c:v>
                </c:pt>
                <c:pt idx="7913">
                  <c:v>#N/A</c:v>
                </c:pt>
                <c:pt idx="7914">
                  <c:v>#N/A</c:v>
                </c:pt>
                <c:pt idx="7915">
                  <c:v>#N/A</c:v>
                </c:pt>
                <c:pt idx="7916">
                  <c:v>#N/A</c:v>
                </c:pt>
                <c:pt idx="7917">
                  <c:v>#N/A</c:v>
                </c:pt>
                <c:pt idx="7918">
                  <c:v>#N/A</c:v>
                </c:pt>
                <c:pt idx="7919">
                  <c:v>#N/A</c:v>
                </c:pt>
                <c:pt idx="7920">
                  <c:v>#N/A</c:v>
                </c:pt>
                <c:pt idx="7921">
                  <c:v>#N/A</c:v>
                </c:pt>
                <c:pt idx="7922">
                  <c:v>#N/A</c:v>
                </c:pt>
                <c:pt idx="7923">
                  <c:v>#N/A</c:v>
                </c:pt>
                <c:pt idx="7924">
                  <c:v>#N/A</c:v>
                </c:pt>
                <c:pt idx="7925">
                  <c:v>#N/A</c:v>
                </c:pt>
                <c:pt idx="7926">
                  <c:v>#N/A</c:v>
                </c:pt>
                <c:pt idx="7927">
                  <c:v>#N/A</c:v>
                </c:pt>
                <c:pt idx="7928">
                  <c:v>#N/A</c:v>
                </c:pt>
                <c:pt idx="7929">
                  <c:v>#N/A</c:v>
                </c:pt>
                <c:pt idx="7930">
                  <c:v>#N/A</c:v>
                </c:pt>
                <c:pt idx="7931">
                  <c:v>#N/A</c:v>
                </c:pt>
                <c:pt idx="7932">
                  <c:v>#N/A</c:v>
                </c:pt>
                <c:pt idx="7933">
                  <c:v>#N/A</c:v>
                </c:pt>
                <c:pt idx="7934">
                  <c:v>#N/A</c:v>
                </c:pt>
                <c:pt idx="7935">
                  <c:v>#N/A</c:v>
                </c:pt>
                <c:pt idx="7936">
                  <c:v>#N/A</c:v>
                </c:pt>
                <c:pt idx="7937">
                  <c:v>#N/A</c:v>
                </c:pt>
                <c:pt idx="7938">
                  <c:v>#N/A</c:v>
                </c:pt>
                <c:pt idx="7939">
                  <c:v>#N/A</c:v>
                </c:pt>
                <c:pt idx="7940">
                  <c:v>3.0630136986301371</c:v>
                </c:pt>
                <c:pt idx="7941">
                  <c:v>#N/A</c:v>
                </c:pt>
                <c:pt idx="7942">
                  <c:v>#N/A</c:v>
                </c:pt>
                <c:pt idx="7943">
                  <c:v>#N/A</c:v>
                </c:pt>
                <c:pt idx="7944">
                  <c:v>#N/A</c:v>
                </c:pt>
                <c:pt idx="7945">
                  <c:v>#N/A</c:v>
                </c:pt>
                <c:pt idx="7946">
                  <c:v>#N/A</c:v>
                </c:pt>
                <c:pt idx="7947">
                  <c:v>#N/A</c:v>
                </c:pt>
                <c:pt idx="7948">
                  <c:v>#N/A</c:v>
                </c:pt>
                <c:pt idx="7949">
                  <c:v>#N/A</c:v>
                </c:pt>
                <c:pt idx="7950">
                  <c:v>#N/A</c:v>
                </c:pt>
                <c:pt idx="7951">
                  <c:v>#N/A</c:v>
                </c:pt>
                <c:pt idx="7952">
                  <c:v>#N/A</c:v>
                </c:pt>
                <c:pt idx="7953">
                  <c:v>#N/A</c:v>
                </c:pt>
                <c:pt idx="7954">
                  <c:v>#N/A</c:v>
                </c:pt>
                <c:pt idx="7955">
                  <c:v>#N/A</c:v>
                </c:pt>
                <c:pt idx="7956">
                  <c:v>#N/A</c:v>
                </c:pt>
                <c:pt idx="7957">
                  <c:v>#N/A</c:v>
                </c:pt>
                <c:pt idx="7958">
                  <c:v>#N/A</c:v>
                </c:pt>
                <c:pt idx="7959">
                  <c:v>#N/A</c:v>
                </c:pt>
                <c:pt idx="7960">
                  <c:v>#N/A</c:v>
                </c:pt>
                <c:pt idx="7961">
                  <c:v>#N/A</c:v>
                </c:pt>
                <c:pt idx="7962">
                  <c:v>#N/A</c:v>
                </c:pt>
                <c:pt idx="7963">
                  <c:v>#N/A</c:v>
                </c:pt>
                <c:pt idx="7964">
                  <c:v>#N/A</c:v>
                </c:pt>
                <c:pt idx="7965">
                  <c:v>#N/A</c:v>
                </c:pt>
                <c:pt idx="7966">
                  <c:v>#N/A</c:v>
                </c:pt>
                <c:pt idx="7967">
                  <c:v>#N/A</c:v>
                </c:pt>
                <c:pt idx="7968">
                  <c:v>#N/A</c:v>
                </c:pt>
                <c:pt idx="7969">
                  <c:v>#N/A</c:v>
                </c:pt>
                <c:pt idx="7970">
                  <c:v>#N/A</c:v>
                </c:pt>
                <c:pt idx="7971">
                  <c:v>#N/A</c:v>
                </c:pt>
                <c:pt idx="7972">
                  <c:v>#N/A</c:v>
                </c:pt>
                <c:pt idx="7973">
                  <c:v>#N/A</c:v>
                </c:pt>
                <c:pt idx="7974">
                  <c:v>#N/A</c:v>
                </c:pt>
                <c:pt idx="7975">
                  <c:v>#N/A</c:v>
                </c:pt>
                <c:pt idx="7976">
                  <c:v>#N/A</c:v>
                </c:pt>
                <c:pt idx="7977">
                  <c:v>#N/A</c:v>
                </c:pt>
                <c:pt idx="7978">
                  <c:v>#N/A</c:v>
                </c:pt>
                <c:pt idx="7979">
                  <c:v>#N/A</c:v>
                </c:pt>
                <c:pt idx="7980">
                  <c:v>#N/A</c:v>
                </c:pt>
                <c:pt idx="7981">
                  <c:v>#N/A</c:v>
                </c:pt>
                <c:pt idx="7982">
                  <c:v>#N/A</c:v>
                </c:pt>
                <c:pt idx="7983">
                  <c:v>#N/A</c:v>
                </c:pt>
                <c:pt idx="7984">
                  <c:v>#N/A</c:v>
                </c:pt>
                <c:pt idx="7985">
                  <c:v>#N/A</c:v>
                </c:pt>
                <c:pt idx="7986">
                  <c:v>#N/A</c:v>
                </c:pt>
                <c:pt idx="7987">
                  <c:v>#N/A</c:v>
                </c:pt>
                <c:pt idx="7988">
                  <c:v>#N/A</c:v>
                </c:pt>
                <c:pt idx="7989">
                  <c:v>#N/A</c:v>
                </c:pt>
                <c:pt idx="7990">
                  <c:v>#N/A</c:v>
                </c:pt>
                <c:pt idx="7991">
                  <c:v>#N/A</c:v>
                </c:pt>
                <c:pt idx="7992">
                  <c:v>#N/A</c:v>
                </c:pt>
                <c:pt idx="7993">
                  <c:v>#N/A</c:v>
                </c:pt>
                <c:pt idx="7994">
                  <c:v>#N/A</c:v>
                </c:pt>
                <c:pt idx="7995">
                  <c:v>#N/A</c:v>
                </c:pt>
                <c:pt idx="7996">
                  <c:v>#N/A</c:v>
                </c:pt>
                <c:pt idx="7997">
                  <c:v>#N/A</c:v>
                </c:pt>
                <c:pt idx="7998">
                  <c:v>#N/A</c:v>
                </c:pt>
                <c:pt idx="7999">
                  <c:v>#N/A</c:v>
                </c:pt>
                <c:pt idx="8000">
                  <c:v>#N/A</c:v>
                </c:pt>
                <c:pt idx="8001">
                  <c:v>#N/A</c:v>
                </c:pt>
                <c:pt idx="8002">
                  <c:v>#N/A</c:v>
                </c:pt>
                <c:pt idx="8003">
                  <c:v>#N/A</c:v>
                </c:pt>
                <c:pt idx="8004">
                  <c:v>#N/A</c:v>
                </c:pt>
                <c:pt idx="8005">
                  <c:v>#N/A</c:v>
                </c:pt>
                <c:pt idx="8006">
                  <c:v>#N/A</c:v>
                </c:pt>
                <c:pt idx="8007">
                  <c:v>#N/A</c:v>
                </c:pt>
                <c:pt idx="8008">
                  <c:v>#N/A</c:v>
                </c:pt>
                <c:pt idx="8009">
                  <c:v>#N/A</c:v>
                </c:pt>
                <c:pt idx="8010">
                  <c:v>#N/A</c:v>
                </c:pt>
                <c:pt idx="8011">
                  <c:v>#N/A</c:v>
                </c:pt>
                <c:pt idx="8012">
                  <c:v>#N/A</c:v>
                </c:pt>
                <c:pt idx="8013">
                  <c:v>#N/A</c:v>
                </c:pt>
                <c:pt idx="8014">
                  <c:v>#N/A</c:v>
                </c:pt>
                <c:pt idx="8015">
                  <c:v>#N/A</c:v>
                </c:pt>
                <c:pt idx="8016">
                  <c:v>#N/A</c:v>
                </c:pt>
                <c:pt idx="8017">
                  <c:v>#N/A</c:v>
                </c:pt>
                <c:pt idx="8018">
                  <c:v>#N/A</c:v>
                </c:pt>
                <c:pt idx="8019">
                  <c:v>#N/A</c:v>
                </c:pt>
                <c:pt idx="8020">
                  <c:v>#N/A</c:v>
                </c:pt>
                <c:pt idx="8021">
                  <c:v>#N/A</c:v>
                </c:pt>
                <c:pt idx="8022">
                  <c:v>#N/A</c:v>
                </c:pt>
                <c:pt idx="8023">
                  <c:v>#N/A</c:v>
                </c:pt>
                <c:pt idx="8024">
                  <c:v>#N/A</c:v>
                </c:pt>
                <c:pt idx="8025">
                  <c:v>#N/A</c:v>
                </c:pt>
                <c:pt idx="8026">
                  <c:v>#N/A</c:v>
                </c:pt>
                <c:pt idx="8027">
                  <c:v>#N/A</c:v>
                </c:pt>
                <c:pt idx="8028">
                  <c:v>#N/A</c:v>
                </c:pt>
                <c:pt idx="8029">
                  <c:v>#N/A</c:v>
                </c:pt>
                <c:pt idx="8030">
                  <c:v>#N/A</c:v>
                </c:pt>
                <c:pt idx="8031">
                  <c:v>#N/A</c:v>
                </c:pt>
                <c:pt idx="8032">
                  <c:v>#N/A</c:v>
                </c:pt>
                <c:pt idx="8033">
                  <c:v>#N/A</c:v>
                </c:pt>
                <c:pt idx="8034">
                  <c:v>#N/A</c:v>
                </c:pt>
                <c:pt idx="8035">
                  <c:v>#N/A</c:v>
                </c:pt>
                <c:pt idx="8036">
                  <c:v>#N/A</c:v>
                </c:pt>
                <c:pt idx="8037">
                  <c:v>#N/A</c:v>
                </c:pt>
                <c:pt idx="8038">
                  <c:v>#N/A</c:v>
                </c:pt>
                <c:pt idx="8039">
                  <c:v>#N/A</c:v>
                </c:pt>
                <c:pt idx="8040">
                  <c:v>#N/A</c:v>
                </c:pt>
                <c:pt idx="8041">
                  <c:v>#N/A</c:v>
                </c:pt>
                <c:pt idx="8042">
                  <c:v>#N/A</c:v>
                </c:pt>
                <c:pt idx="8043">
                  <c:v>#N/A</c:v>
                </c:pt>
                <c:pt idx="8044">
                  <c:v>#N/A</c:v>
                </c:pt>
                <c:pt idx="8045">
                  <c:v>#N/A</c:v>
                </c:pt>
                <c:pt idx="8046">
                  <c:v>#N/A</c:v>
                </c:pt>
                <c:pt idx="8047">
                  <c:v>#N/A</c:v>
                </c:pt>
                <c:pt idx="8048">
                  <c:v>#N/A</c:v>
                </c:pt>
                <c:pt idx="8049">
                  <c:v>#N/A</c:v>
                </c:pt>
                <c:pt idx="8050">
                  <c:v>#N/A</c:v>
                </c:pt>
                <c:pt idx="8051">
                  <c:v>#N/A</c:v>
                </c:pt>
                <c:pt idx="8052">
                  <c:v>#N/A</c:v>
                </c:pt>
                <c:pt idx="8053">
                  <c:v>#N/A</c:v>
                </c:pt>
                <c:pt idx="8054">
                  <c:v>#N/A</c:v>
                </c:pt>
                <c:pt idx="8055">
                  <c:v>#N/A</c:v>
                </c:pt>
                <c:pt idx="8056">
                  <c:v>#N/A</c:v>
                </c:pt>
                <c:pt idx="8057">
                  <c:v>#N/A</c:v>
                </c:pt>
                <c:pt idx="8058">
                  <c:v>#N/A</c:v>
                </c:pt>
                <c:pt idx="8059">
                  <c:v>#N/A</c:v>
                </c:pt>
                <c:pt idx="8060">
                  <c:v>#N/A</c:v>
                </c:pt>
                <c:pt idx="8061">
                  <c:v>#N/A</c:v>
                </c:pt>
                <c:pt idx="8062">
                  <c:v>#N/A</c:v>
                </c:pt>
                <c:pt idx="8063">
                  <c:v>#N/A</c:v>
                </c:pt>
                <c:pt idx="8064">
                  <c:v>#N/A</c:v>
                </c:pt>
                <c:pt idx="8065">
                  <c:v>#N/A</c:v>
                </c:pt>
                <c:pt idx="8066">
                  <c:v>#N/A</c:v>
                </c:pt>
                <c:pt idx="8067">
                  <c:v>#N/A</c:v>
                </c:pt>
                <c:pt idx="8068">
                  <c:v>#N/A</c:v>
                </c:pt>
                <c:pt idx="8069">
                  <c:v>#N/A</c:v>
                </c:pt>
                <c:pt idx="8070">
                  <c:v>#N/A</c:v>
                </c:pt>
                <c:pt idx="8071">
                  <c:v>#N/A</c:v>
                </c:pt>
                <c:pt idx="8072">
                  <c:v>#N/A</c:v>
                </c:pt>
                <c:pt idx="8073">
                  <c:v>#N/A</c:v>
                </c:pt>
                <c:pt idx="8074">
                  <c:v>#N/A</c:v>
                </c:pt>
                <c:pt idx="8075">
                  <c:v>#N/A</c:v>
                </c:pt>
                <c:pt idx="8076">
                  <c:v>#N/A</c:v>
                </c:pt>
                <c:pt idx="8077">
                  <c:v>#N/A</c:v>
                </c:pt>
                <c:pt idx="8078">
                  <c:v>#N/A</c:v>
                </c:pt>
                <c:pt idx="8079">
                  <c:v>#N/A</c:v>
                </c:pt>
                <c:pt idx="8080">
                  <c:v>#N/A</c:v>
                </c:pt>
                <c:pt idx="8081">
                  <c:v>#N/A</c:v>
                </c:pt>
                <c:pt idx="8082">
                  <c:v>#N/A</c:v>
                </c:pt>
                <c:pt idx="8083">
                  <c:v>#N/A</c:v>
                </c:pt>
                <c:pt idx="8084">
                  <c:v>#N/A</c:v>
                </c:pt>
                <c:pt idx="8085">
                  <c:v>#N/A</c:v>
                </c:pt>
                <c:pt idx="8086">
                  <c:v>#N/A</c:v>
                </c:pt>
                <c:pt idx="8087">
                  <c:v>#N/A</c:v>
                </c:pt>
                <c:pt idx="8088">
                  <c:v>#N/A</c:v>
                </c:pt>
                <c:pt idx="8089">
                  <c:v>#N/A</c:v>
                </c:pt>
                <c:pt idx="8090">
                  <c:v>#N/A</c:v>
                </c:pt>
                <c:pt idx="8091">
                  <c:v>#N/A</c:v>
                </c:pt>
                <c:pt idx="8092">
                  <c:v>#N/A</c:v>
                </c:pt>
                <c:pt idx="8093">
                  <c:v>#N/A</c:v>
                </c:pt>
                <c:pt idx="8094">
                  <c:v>#N/A</c:v>
                </c:pt>
                <c:pt idx="8095">
                  <c:v>#N/A</c:v>
                </c:pt>
                <c:pt idx="8096">
                  <c:v>#N/A</c:v>
                </c:pt>
                <c:pt idx="8097">
                  <c:v>#N/A</c:v>
                </c:pt>
                <c:pt idx="8098">
                  <c:v>#N/A</c:v>
                </c:pt>
                <c:pt idx="8099">
                  <c:v>#N/A</c:v>
                </c:pt>
                <c:pt idx="8100">
                  <c:v>#N/A</c:v>
                </c:pt>
                <c:pt idx="8101">
                  <c:v>#N/A</c:v>
                </c:pt>
                <c:pt idx="8102">
                  <c:v>#N/A</c:v>
                </c:pt>
                <c:pt idx="8103">
                  <c:v>#N/A</c:v>
                </c:pt>
                <c:pt idx="8104">
                  <c:v>#N/A</c:v>
                </c:pt>
                <c:pt idx="8105">
                  <c:v>#N/A</c:v>
                </c:pt>
                <c:pt idx="8106">
                  <c:v>#N/A</c:v>
                </c:pt>
                <c:pt idx="8107">
                  <c:v>#N/A</c:v>
                </c:pt>
                <c:pt idx="8108">
                  <c:v>#N/A</c:v>
                </c:pt>
                <c:pt idx="8109">
                  <c:v>#N/A</c:v>
                </c:pt>
                <c:pt idx="8110">
                  <c:v>#N/A</c:v>
                </c:pt>
                <c:pt idx="8111">
                  <c:v>#N/A</c:v>
                </c:pt>
                <c:pt idx="8112">
                  <c:v>#N/A</c:v>
                </c:pt>
                <c:pt idx="8113">
                  <c:v>#N/A</c:v>
                </c:pt>
                <c:pt idx="8114">
                  <c:v>#N/A</c:v>
                </c:pt>
                <c:pt idx="8115">
                  <c:v>#N/A</c:v>
                </c:pt>
                <c:pt idx="8116">
                  <c:v>#N/A</c:v>
                </c:pt>
                <c:pt idx="8117">
                  <c:v>#N/A</c:v>
                </c:pt>
                <c:pt idx="8118">
                  <c:v>#N/A</c:v>
                </c:pt>
                <c:pt idx="8119">
                  <c:v>#N/A</c:v>
                </c:pt>
                <c:pt idx="8120">
                  <c:v>#N/A</c:v>
                </c:pt>
                <c:pt idx="8121">
                  <c:v>#N/A</c:v>
                </c:pt>
                <c:pt idx="8122">
                  <c:v>#N/A</c:v>
                </c:pt>
                <c:pt idx="8123">
                  <c:v>#N/A</c:v>
                </c:pt>
                <c:pt idx="8124">
                  <c:v>#N/A</c:v>
                </c:pt>
                <c:pt idx="8125">
                  <c:v>#N/A</c:v>
                </c:pt>
                <c:pt idx="8126">
                  <c:v>#N/A</c:v>
                </c:pt>
                <c:pt idx="8127">
                  <c:v>#N/A</c:v>
                </c:pt>
                <c:pt idx="8128">
                  <c:v>#N/A</c:v>
                </c:pt>
                <c:pt idx="8129">
                  <c:v>#N/A</c:v>
                </c:pt>
                <c:pt idx="8130">
                  <c:v>#N/A</c:v>
                </c:pt>
                <c:pt idx="8131">
                  <c:v>#N/A</c:v>
                </c:pt>
                <c:pt idx="8132">
                  <c:v>#N/A</c:v>
                </c:pt>
                <c:pt idx="8133">
                  <c:v>#N/A</c:v>
                </c:pt>
                <c:pt idx="8134">
                  <c:v>#N/A</c:v>
                </c:pt>
                <c:pt idx="8135">
                  <c:v>#N/A</c:v>
                </c:pt>
                <c:pt idx="8136">
                  <c:v>#N/A</c:v>
                </c:pt>
                <c:pt idx="8137">
                  <c:v>#N/A</c:v>
                </c:pt>
                <c:pt idx="8138">
                  <c:v>#N/A</c:v>
                </c:pt>
                <c:pt idx="8139">
                  <c:v>#N/A</c:v>
                </c:pt>
                <c:pt idx="8140">
                  <c:v>#N/A</c:v>
                </c:pt>
                <c:pt idx="8141">
                  <c:v>#N/A</c:v>
                </c:pt>
                <c:pt idx="8142">
                  <c:v>#N/A</c:v>
                </c:pt>
                <c:pt idx="8143">
                  <c:v>#N/A</c:v>
                </c:pt>
                <c:pt idx="8144">
                  <c:v>#N/A</c:v>
                </c:pt>
                <c:pt idx="8145">
                  <c:v>#N/A</c:v>
                </c:pt>
                <c:pt idx="8146">
                  <c:v>#N/A</c:v>
                </c:pt>
                <c:pt idx="8147">
                  <c:v>#N/A</c:v>
                </c:pt>
                <c:pt idx="8148">
                  <c:v>#N/A</c:v>
                </c:pt>
                <c:pt idx="8149">
                  <c:v>#N/A</c:v>
                </c:pt>
                <c:pt idx="8150">
                  <c:v>#N/A</c:v>
                </c:pt>
                <c:pt idx="8151">
                  <c:v>#N/A</c:v>
                </c:pt>
                <c:pt idx="8152">
                  <c:v>#N/A</c:v>
                </c:pt>
                <c:pt idx="8153">
                  <c:v>#N/A</c:v>
                </c:pt>
                <c:pt idx="8154">
                  <c:v>#N/A</c:v>
                </c:pt>
                <c:pt idx="8155">
                  <c:v>#N/A</c:v>
                </c:pt>
                <c:pt idx="8156">
                  <c:v>#N/A</c:v>
                </c:pt>
                <c:pt idx="8157">
                  <c:v>#N/A</c:v>
                </c:pt>
                <c:pt idx="8158">
                  <c:v>#N/A</c:v>
                </c:pt>
                <c:pt idx="8159">
                  <c:v>#N/A</c:v>
                </c:pt>
                <c:pt idx="8160">
                  <c:v>#N/A</c:v>
                </c:pt>
                <c:pt idx="8161">
                  <c:v>#N/A</c:v>
                </c:pt>
                <c:pt idx="8162">
                  <c:v>#N/A</c:v>
                </c:pt>
                <c:pt idx="8163">
                  <c:v>#N/A</c:v>
                </c:pt>
                <c:pt idx="8164">
                  <c:v>#N/A</c:v>
                </c:pt>
                <c:pt idx="8165">
                  <c:v>#N/A</c:v>
                </c:pt>
                <c:pt idx="8166">
                  <c:v>#N/A</c:v>
                </c:pt>
                <c:pt idx="8167">
                  <c:v>#N/A</c:v>
                </c:pt>
                <c:pt idx="8168">
                  <c:v>#N/A</c:v>
                </c:pt>
                <c:pt idx="8169">
                  <c:v>#N/A</c:v>
                </c:pt>
                <c:pt idx="8170">
                  <c:v>#N/A</c:v>
                </c:pt>
                <c:pt idx="8171">
                  <c:v>#N/A</c:v>
                </c:pt>
                <c:pt idx="8172">
                  <c:v>#N/A</c:v>
                </c:pt>
                <c:pt idx="8173">
                  <c:v>#N/A</c:v>
                </c:pt>
                <c:pt idx="8174">
                  <c:v>#N/A</c:v>
                </c:pt>
                <c:pt idx="8175">
                  <c:v>#N/A</c:v>
                </c:pt>
                <c:pt idx="8176">
                  <c:v>#N/A</c:v>
                </c:pt>
                <c:pt idx="8177">
                  <c:v>#N/A</c:v>
                </c:pt>
                <c:pt idx="8178">
                  <c:v>#N/A</c:v>
                </c:pt>
                <c:pt idx="8179">
                  <c:v>#N/A</c:v>
                </c:pt>
                <c:pt idx="8180">
                  <c:v>#N/A</c:v>
                </c:pt>
                <c:pt idx="8181">
                  <c:v>#N/A</c:v>
                </c:pt>
                <c:pt idx="8182">
                  <c:v>#N/A</c:v>
                </c:pt>
                <c:pt idx="8183">
                  <c:v>#N/A</c:v>
                </c:pt>
                <c:pt idx="8184">
                  <c:v>#N/A</c:v>
                </c:pt>
                <c:pt idx="8185">
                  <c:v>#N/A</c:v>
                </c:pt>
                <c:pt idx="8186">
                  <c:v>#N/A</c:v>
                </c:pt>
                <c:pt idx="8187">
                  <c:v>#N/A</c:v>
                </c:pt>
                <c:pt idx="8188">
                  <c:v>#N/A</c:v>
                </c:pt>
                <c:pt idx="8189">
                  <c:v>#N/A</c:v>
                </c:pt>
                <c:pt idx="8190">
                  <c:v>#N/A</c:v>
                </c:pt>
                <c:pt idx="8191">
                  <c:v>#N/A</c:v>
                </c:pt>
                <c:pt idx="8192">
                  <c:v>#N/A</c:v>
                </c:pt>
                <c:pt idx="8193">
                  <c:v>#N/A</c:v>
                </c:pt>
                <c:pt idx="8194">
                  <c:v>#N/A</c:v>
                </c:pt>
                <c:pt idx="8195">
                  <c:v>#N/A</c:v>
                </c:pt>
                <c:pt idx="8196">
                  <c:v>#N/A</c:v>
                </c:pt>
                <c:pt idx="8197">
                  <c:v>#N/A</c:v>
                </c:pt>
                <c:pt idx="8198">
                  <c:v>#N/A</c:v>
                </c:pt>
                <c:pt idx="8199">
                  <c:v>#N/A</c:v>
                </c:pt>
                <c:pt idx="8200">
                  <c:v>#N/A</c:v>
                </c:pt>
                <c:pt idx="8201">
                  <c:v>#N/A</c:v>
                </c:pt>
                <c:pt idx="8202">
                  <c:v>#N/A</c:v>
                </c:pt>
                <c:pt idx="8203">
                  <c:v>#N/A</c:v>
                </c:pt>
                <c:pt idx="8204">
                  <c:v>#N/A</c:v>
                </c:pt>
                <c:pt idx="8205">
                  <c:v>#N/A</c:v>
                </c:pt>
                <c:pt idx="8206">
                  <c:v>#N/A</c:v>
                </c:pt>
                <c:pt idx="8207">
                  <c:v>#N/A</c:v>
                </c:pt>
                <c:pt idx="8208">
                  <c:v>#N/A</c:v>
                </c:pt>
                <c:pt idx="8209">
                  <c:v>#N/A</c:v>
                </c:pt>
                <c:pt idx="8210">
                  <c:v>#N/A</c:v>
                </c:pt>
                <c:pt idx="8211">
                  <c:v>#N/A</c:v>
                </c:pt>
                <c:pt idx="8212">
                  <c:v>#N/A</c:v>
                </c:pt>
                <c:pt idx="8213">
                  <c:v>#N/A</c:v>
                </c:pt>
                <c:pt idx="8214">
                  <c:v>#N/A</c:v>
                </c:pt>
                <c:pt idx="8215">
                  <c:v>#N/A</c:v>
                </c:pt>
                <c:pt idx="8216">
                  <c:v>#N/A</c:v>
                </c:pt>
                <c:pt idx="8217">
                  <c:v>#N/A</c:v>
                </c:pt>
                <c:pt idx="8218">
                  <c:v>#N/A</c:v>
                </c:pt>
                <c:pt idx="8219">
                  <c:v>#N/A</c:v>
                </c:pt>
                <c:pt idx="8220">
                  <c:v>#N/A</c:v>
                </c:pt>
                <c:pt idx="8221">
                  <c:v>#N/A</c:v>
                </c:pt>
                <c:pt idx="8222">
                  <c:v>#N/A</c:v>
                </c:pt>
                <c:pt idx="8223">
                  <c:v>#N/A</c:v>
                </c:pt>
                <c:pt idx="8224">
                  <c:v>#N/A</c:v>
                </c:pt>
                <c:pt idx="8225">
                  <c:v>#N/A</c:v>
                </c:pt>
                <c:pt idx="8226">
                  <c:v>#N/A</c:v>
                </c:pt>
                <c:pt idx="8227">
                  <c:v>#N/A</c:v>
                </c:pt>
                <c:pt idx="8228">
                  <c:v>#N/A</c:v>
                </c:pt>
                <c:pt idx="8229">
                  <c:v>#N/A</c:v>
                </c:pt>
                <c:pt idx="8230">
                  <c:v>#N/A</c:v>
                </c:pt>
                <c:pt idx="8231">
                  <c:v>#N/A</c:v>
                </c:pt>
                <c:pt idx="8232">
                  <c:v>#N/A</c:v>
                </c:pt>
                <c:pt idx="8233">
                  <c:v>#N/A</c:v>
                </c:pt>
                <c:pt idx="8234">
                  <c:v>#N/A</c:v>
                </c:pt>
                <c:pt idx="8235">
                  <c:v>#N/A</c:v>
                </c:pt>
                <c:pt idx="8236">
                  <c:v>#N/A</c:v>
                </c:pt>
                <c:pt idx="8237">
                  <c:v>#N/A</c:v>
                </c:pt>
                <c:pt idx="8238">
                  <c:v>#N/A</c:v>
                </c:pt>
                <c:pt idx="8239">
                  <c:v>#N/A</c:v>
                </c:pt>
                <c:pt idx="8240">
                  <c:v>#N/A</c:v>
                </c:pt>
                <c:pt idx="8241">
                  <c:v>#N/A</c:v>
                </c:pt>
                <c:pt idx="8242">
                  <c:v>#N/A</c:v>
                </c:pt>
                <c:pt idx="8243">
                  <c:v>#N/A</c:v>
                </c:pt>
                <c:pt idx="8244">
                  <c:v>#N/A</c:v>
                </c:pt>
                <c:pt idx="8245">
                  <c:v>3.0684931506849313</c:v>
                </c:pt>
                <c:pt idx="8246">
                  <c:v>3.0684931506849313</c:v>
                </c:pt>
                <c:pt idx="8247">
                  <c:v>#N/A</c:v>
                </c:pt>
                <c:pt idx="8248">
                  <c:v>#N/A</c:v>
                </c:pt>
                <c:pt idx="8249">
                  <c:v>#N/A</c:v>
                </c:pt>
                <c:pt idx="8250">
                  <c:v>#N/A</c:v>
                </c:pt>
                <c:pt idx="8251">
                  <c:v>#N/A</c:v>
                </c:pt>
                <c:pt idx="8252">
                  <c:v>#N/A</c:v>
                </c:pt>
                <c:pt idx="8253">
                  <c:v>#N/A</c:v>
                </c:pt>
                <c:pt idx="8254">
                  <c:v>#N/A</c:v>
                </c:pt>
                <c:pt idx="8255">
                  <c:v>#N/A</c:v>
                </c:pt>
                <c:pt idx="8256">
                  <c:v>#N/A</c:v>
                </c:pt>
                <c:pt idx="8257">
                  <c:v>#N/A</c:v>
                </c:pt>
                <c:pt idx="8258">
                  <c:v>#N/A</c:v>
                </c:pt>
                <c:pt idx="8259">
                  <c:v>#N/A</c:v>
                </c:pt>
                <c:pt idx="8260">
                  <c:v>3.0712328767123287</c:v>
                </c:pt>
                <c:pt idx="8261">
                  <c:v>#N/A</c:v>
                </c:pt>
                <c:pt idx="8262">
                  <c:v>#N/A</c:v>
                </c:pt>
                <c:pt idx="8263">
                  <c:v>#N/A</c:v>
                </c:pt>
                <c:pt idx="8264">
                  <c:v>#N/A</c:v>
                </c:pt>
                <c:pt idx="8265">
                  <c:v>#N/A</c:v>
                </c:pt>
                <c:pt idx="8266">
                  <c:v>#N/A</c:v>
                </c:pt>
                <c:pt idx="8267">
                  <c:v>#N/A</c:v>
                </c:pt>
                <c:pt idx="8268">
                  <c:v>#N/A</c:v>
                </c:pt>
                <c:pt idx="8269">
                  <c:v>#N/A</c:v>
                </c:pt>
                <c:pt idx="8270">
                  <c:v>#N/A</c:v>
                </c:pt>
                <c:pt idx="8271">
                  <c:v>#N/A</c:v>
                </c:pt>
                <c:pt idx="8272">
                  <c:v>#N/A</c:v>
                </c:pt>
                <c:pt idx="8273">
                  <c:v>#N/A</c:v>
                </c:pt>
                <c:pt idx="8274">
                  <c:v>#N/A</c:v>
                </c:pt>
                <c:pt idx="8275">
                  <c:v>#N/A</c:v>
                </c:pt>
                <c:pt idx="8276">
                  <c:v>#N/A</c:v>
                </c:pt>
                <c:pt idx="8277">
                  <c:v>#N/A</c:v>
                </c:pt>
                <c:pt idx="8278">
                  <c:v>#N/A</c:v>
                </c:pt>
                <c:pt idx="8279">
                  <c:v>#N/A</c:v>
                </c:pt>
                <c:pt idx="8280">
                  <c:v>#N/A</c:v>
                </c:pt>
                <c:pt idx="8281">
                  <c:v>#N/A</c:v>
                </c:pt>
                <c:pt idx="8282">
                  <c:v>#N/A</c:v>
                </c:pt>
                <c:pt idx="8283">
                  <c:v>#N/A</c:v>
                </c:pt>
                <c:pt idx="8284">
                  <c:v>#N/A</c:v>
                </c:pt>
                <c:pt idx="8285">
                  <c:v>#N/A</c:v>
                </c:pt>
                <c:pt idx="8286">
                  <c:v>#N/A</c:v>
                </c:pt>
                <c:pt idx="8287">
                  <c:v>#N/A</c:v>
                </c:pt>
                <c:pt idx="8288">
                  <c:v>#N/A</c:v>
                </c:pt>
                <c:pt idx="8289">
                  <c:v>#N/A</c:v>
                </c:pt>
                <c:pt idx="8290">
                  <c:v>#N/A</c:v>
                </c:pt>
                <c:pt idx="8291">
                  <c:v>#N/A</c:v>
                </c:pt>
                <c:pt idx="8292">
                  <c:v>#N/A</c:v>
                </c:pt>
                <c:pt idx="8293">
                  <c:v>#N/A</c:v>
                </c:pt>
                <c:pt idx="8294">
                  <c:v>#N/A</c:v>
                </c:pt>
                <c:pt idx="8295">
                  <c:v>#N/A</c:v>
                </c:pt>
                <c:pt idx="8296">
                  <c:v>#N/A</c:v>
                </c:pt>
                <c:pt idx="8297">
                  <c:v>#N/A</c:v>
                </c:pt>
                <c:pt idx="8298">
                  <c:v>#N/A</c:v>
                </c:pt>
                <c:pt idx="8299">
                  <c:v>#N/A</c:v>
                </c:pt>
                <c:pt idx="8300">
                  <c:v>#N/A</c:v>
                </c:pt>
                <c:pt idx="8301">
                  <c:v>#N/A</c:v>
                </c:pt>
                <c:pt idx="8302">
                  <c:v>#N/A</c:v>
                </c:pt>
                <c:pt idx="8303">
                  <c:v>#N/A</c:v>
                </c:pt>
                <c:pt idx="8304">
                  <c:v>#N/A</c:v>
                </c:pt>
                <c:pt idx="8305">
                  <c:v>#N/A</c:v>
                </c:pt>
                <c:pt idx="8306">
                  <c:v>#N/A</c:v>
                </c:pt>
                <c:pt idx="8307">
                  <c:v>#N/A</c:v>
                </c:pt>
                <c:pt idx="8308">
                  <c:v>#N/A</c:v>
                </c:pt>
                <c:pt idx="8309">
                  <c:v>#N/A</c:v>
                </c:pt>
                <c:pt idx="8310">
                  <c:v>#N/A</c:v>
                </c:pt>
                <c:pt idx="8311">
                  <c:v>#N/A</c:v>
                </c:pt>
                <c:pt idx="8312">
                  <c:v>#N/A</c:v>
                </c:pt>
                <c:pt idx="8313">
                  <c:v>#N/A</c:v>
                </c:pt>
                <c:pt idx="8314">
                  <c:v>#N/A</c:v>
                </c:pt>
                <c:pt idx="8315">
                  <c:v>#N/A</c:v>
                </c:pt>
                <c:pt idx="8316">
                  <c:v>#N/A</c:v>
                </c:pt>
                <c:pt idx="8317">
                  <c:v>#N/A</c:v>
                </c:pt>
                <c:pt idx="8318">
                  <c:v>#N/A</c:v>
                </c:pt>
                <c:pt idx="8319">
                  <c:v>#N/A</c:v>
                </c:pt>
                <c:pt idx="8320">
                  <c:v>#N/A</c:v>
                </c:pt>
                <c:pt idx="8321">
                  <c:v>#N/A</c:v>
                </c:pt>
                <c:pt idx="8322">
                  <c:v>#N/A</c:v>
                </c:pt>
                <c:pt idx="8323">
                  <c:v>#N/A</c:v>
                </c:pt>
                <c:pt idx="8324">
                  <c:v>#N/A</c:v>
                </c:pt>
                <c:pt idx="8325">
                  <c:v>#N/A</c:v>
                </c:pt>
                <c:pt idx="8326">
                  <c:v>#N/A</c:v>
                </c:pt>
                <c:pt idx="8327">
                  <c:v>#N/A</c:v>
                </c:pt>
                <c:pt idx="8328">
                  <c:v>#N/A</c:v>
                </c:pt>
                <c:pt idx="8329">
                  <c:v>#N/A</c:v>
                </c:pt>
                <c:pt idx="8330">
                  <c:v>#N/A</c:v>
                </c:pt>
                <c:pt idx="8331">
                  <c:v>#N/A</c:v>
                </c:pt>
                <c:pt idx="8332">
                  <c:v>#N/A</c:v>
                </c:pt>
                <c:pt idx="8333">
                  <c:v>#N/A</c:v>
                </c:pt>
                <c:pt idx="8334">
                  <c:v>#N/A</c:v>
                </c:pt>
                <c:pt idx="8335">
                  <c:v>#N/A</c:v>
                </c:pt>
                <c:pt idx="8336">
                  <c:v>#N/A</c:v>
                </c:pt>
                <c:pt idx="8337">
                  <c:v>#N/A</c:v>
                </c:pt>
                <c:pt idx="8338">
                  <c:v>#N/A</c:v>
                </c:pt>
                <c:pt idx="8339">
                  <c:v>#N/A</c:v>
                </c:pt>
                <c:pt idx="8340">
                  <c:v>#N/A</c:v>
                </c:pt>
                <c:pt idx="8341">
                  <c:v>#N/A</c:v>
                </c:pt>
                <c:pt idx="8342">
                  <c:v>#N/A</c:v>
                </c:pt>
                <c:pt idx="8343">
                  <c:v>#N/A</c:v>
                </c:pt>
                <c:pt idx="8344">
                  <c:v>#N/A</c:v>
                </c:pt>
                <c:pt idx="8345">
                  <c:v>#N/A</c:v>
                </c:pt>
                <c:pt idx="8346">
                  <c:v>#N/A</c:v>
                </c:pt>
                <c:pt idx="8347">
                  <c:v>#N/A</c:v>
                </c:pt>
                <c:pt idx="8348">
                  <c:v>#N/A</c:v>
                </c:pt>
                <c:pt idx="8349">
                  <c:v>#N/A</c:v>
                </c:pt>
                <c:pt idx="8350">
                  <c:v>#N/A</c:v>
                </c:pt>
                <c:pt idx="8351">
                  <c:v>#N/A</c:v>
                </c:pt>
                <c:pt idx="8352">
                  <c:v>#N/A</c:v>
                </c:pt>
                <c:pt idx="8353">
                  <c:v>#N/A</c:v>
                </c:pt>
                <c:pt idx="8354">
                  <c:v>#N/A</c:v>
                </c:pt>
                <c:pt idx="8355">
                  <c:v>#N/A</c:v>
                </c:pt>
                <c:pt idx="8356">
                  <c:v>#N/A</c:v>
                </c:pt>
                <c:pt idx="8357">
                  <c:v>#N/A</c:v>
                </c:pt>
                <c:pt idx="8358">
                  <c:v>#N/A</c:v>
                </c:pt>
                <c:pt idx="8359">
                  <c:v>#N/A</c:v>
                </c:pt>
                <c:pt idx="8360">
                  <c:v>#N/A</c:v>
                </c:pt>
                <c:pt idx="8361">
                  <c:v>#N/A</c:v>
                </c:pt>
                <c:pt idx="8362">
                  <c:v>#N/A</c:v>
                </c:pt>
                <c:pt idx="8363">
                  <c:v>#N/A</c:v>
                </c:pt>
                <c:pt idx="8364">
                  <c:v>#N/A</c:v>
                </c:pt>
                <c:pt idx="8365">
                  <c:v>#N/A</c:v>
                </c:pt>
                <c:pt idx="8366">
                  <c:v>#N/A</c:v>
                </c:pt>
                <c:pt idx="8367">
                  <c:v>#N/A</c:v>
                </c:pt>
                <c:pt idx="8368">
                  <c:v>#N/A</c:v>
                </c:pt>
                <c:pt idx="8369">
                  <c:v>#N/A</c:v>
                </c:pt>
                <c:pt idx="8370">
                  <c:v>#N/A</c:v>
                </c:pt>
                <c:pt idx="8371">
                  <c:v>#N/A</c:v>
                </c:pt>
                <c:pt idx="8372">
                  <c:v>#N/A</c:v>
                </c:pt>
                <c:pt idx="8373">
                  <c:v>#N/A</c:v>
                </c:pt>
                <c:pt idx="8374">
                  <c:v>#N/A</c:v>
                </c:pt>
                <c:pt idx="8375">
                  <c:v>#N/A</c:v>
                </c:pt>
                <c:pt idx="8376">
                  <c:v>#N/A</c:v>
                </c:pt>
                <c:pt idx="8377">
                  <c:v>#N/A</c:v>
                </c:pt>
                <c:pt idx="8378">
                  <c:v>#N/A</c:v>
                </c:pt>
                <c:pt idx="8379">
                  <c:v>#N/A</c:v>
                </c:pt>
                <c:pt idx="8380">
                  <c:v>#N/A</c:v>
                </c:pt>
                <c:pt idx="8381">
                  <c:v>#N/A</c:v>
                </c:pt>
                <c:pt idx="8382">
                  <c:v>#N/A</c:v>
                </c:pt>
                <c:pt idx="8383">
                  <c:v>#N/A</c:v>
                </c:pt>
                <c:pt idx="8384">
                  <c:v>#N/A</c:v>
                </c:pt>
                <c:pt idx="8385">
                  <c:v>#N/A</c:v>
                </c:pt>
                <c:pt idx="8386">
                  <c:v>#N/A</c:v>
                </c:pt>
                <c:pt idx="8387">
                  <c:v>#N/A</c:v>
                </c:pt>
                <c:pt idx="8388">
                  <c:v>#N/A</c:v>
                </c:pt>
                <c:pt idx="8389">
                  <c:v>#N/A</c:v>
                </c:pt>
                <c:pt idx="8390">
                  <c:v>#N/A</c:v>
                </c:pt>
                <c:pt idx="8391">
                  <c:v>#N/A</c:v>
                </c:pt>
                <c:pt idx="8392">
                  <c:v>#N/A</c:v>
                </c:pt>
                <c:pt idx="8393">
                  <c:v>#N/A</c:v>
                </c:pt>
                <c:pt idx="8394">
                  <c:v>#N/A</c:v>
                </c:pt>
                <c:pt idx="8395">
                  <c:v>#N/A</c:v>
                </c:pt>
                <c:pt idx="8396">
                  <c:v>#N/A</c:v>
                </c:pt>
                <c:pt idx="8397">
                  <c:v>#N/A</c:v>
                </c:pt>
                <c:pt idx="8398">
                  <c:v>#N/A</c:v>
                </c:pt>
                <c:pt idx="8399">
                  <c:v>#N/A</c:v>
                </c:pt>
                <c:pt idx="8400">
                  <c:v>#N/A</c:v>
                </c:pt>
                <c:pt idx="8401">
                  <c:v>#N/A</c:v>
                </c:pt>
                <c:pt idx="8402">
                  <c:v>#N/A</c:v>
                </c:pt>
                <c:pt idx="8403">
                  <c:v>#N/A</c:v>
                </c:pt>
                <c:pt idx="8404">
                  <c:v>#N/A</c:v>
                </c:pt>
                <c:pt idx="8405">
                  <c:v>#N/A</c:v>
                </c:pt>
                <c:pt idx="8406">
                  <c:v>#N/A</c:v>
                </c:pt>
                <c:pt idx="8407">
                  <c:v>#N/A</c:v>
                </c:pt>
                <c:pt idx="8408">
                  <c:v>#N/A</c:v>
                </c:pt>
                <c:pt idx="8409">
                  <c:v>3.1123287671232878</c:v>
                </c:pt>
                <c:pt idx="8410">
                  <c:v>#N/A</c:v>
                </c:pt>
                <c:pt idx="8411">
                  <c:v>#N/A</c:v>
                </c:pt>
                <c:pt idx="8412">
                  <c:v>#N/A</c:v>
                </c:pt>
                <c:pt idx="8413">
                  <c:v>#N/A</c:v>
                </c:pt>
                <c:pt idx="8414">
                  <c:v>#N/A</c:v>
                </c:pt>
                <c:pt idx="8415">
                  <c:v>#N/A</c:v>
                </c:pt>
                <c:pt idx="8416">
                  <c:v>#N/A</c:v>
                </c:pt>
                <c:pt idx="8417">
                  <c:v>#N/A</c:v>
                </c:pt>
                <c:pt idx="8418">
                  <c:v>3.1205479452054794</c:v>
                </c:pt>
                <c:pt idx="8419">
                  <c:v>#N/A</c:v>
                </c:pt>
                <c:pt idx="8420">
                  <c:v>#N/A</c:v>
                </c:pt>
                <c:pt idx="8421">
                  <c:v>#N/A</c:v>
                </c:pt>
                <c:pt idx="8422">
                  <c:v>#N/A</c:v>
                </c:pt>
                <c:pt idx="8423">
                  <c:v>#N/A</c:v>
                </c:pt>
                <c:pt idx="8424">
                  <c:v>#N/A</c:v>
                </c:pt>
                <c:pt idx="8425">
                  <c:v>#N/A</c:v>
                </c:pt>
                <c:pt idx="8426">
                  <c:v>#N/A</c:v>
                </c:pt>
                <c:pt idx="8427">
                  <c:v>#N/A</c:v>
                </c:pt>
                <c:pt idx="8428">
                  <c:v>#N/A</c:v>
                </c:pt>
                <c:pt idx="8429">
                  <c:v>#N/A</c:v>
                </c:pt>
                <c:pt idx="8430">
                  <c:v>#N/A</c:v>
                </c:pt>
                <c:pt idx="8431">
                  <c:v>#N/A</c:v>
                </c:pt>
                <c:pt idx="8432">
                  <c:v>#N/A</c:v>
                </c:pt>
                <c:pt idx="8433">
                  <c:v>#N/A</c:v>
                </c:pt>
                <c:pt idx="8434">
                  <c:v>#N/A</c:v>
                </c:pt>
                <c:pt idx="8435">
                  <c:v>#N/A</c:v>
                </c:pt>
                <c:pt idx="8436">
                  <c:v>#N/A</c:v>
                </c:pt>
                <c:pt idx="8437">
                  <c:v>#N/A</c:v>
                </c:pt>
                <c:pt idx="8438">
                  <c:v>#N/A</c:v>
                </c:pt>
                <c:pt idx="8439">
                  <c:v>#N/A</c:v>
                </c:pt>
                <c:pt idx="8440">
                  <c:v>#N/A</c:v>
                </c:pt>
                <c:pt idx="8441">
                  <c:v>#N/A</c:v>
                </c:pt>
                <c:pt idx="8442">
                  <c:v>#N/A</c:v>
                </c:pt>
                <c:pt idx="8443">
                  <c:v>#N/A</c:v>
                </c:pt>
                <c:pt idx="8444">
                  <c:v>#N/A</c:v>
                </c:pt>
                <c:pt idx="8445">
                  <c:v>#N/A</c:v>
                </c:pt>
                <c:pt idx="8446">
                  <c:v>#N/A</c:v>
                </c:pt>
                <c:pt idx="8447">
                  <c:v>#N/A</c:v>
                </c:pt>
                <c:pt idx="8448">
                  <c:v>#N/A</c:v>
                </c:pt>
                <c:pt idx="8449">
                  <c:v>#N/A</c:v>
                </c:pt>
                <c:pt idx="8450">
                  <c:v>#N/A</c:v>
                </c:pt>
                <c:pt idx="8451">
                  <c:v>#N/A</c:v>
                </c:pt>
                <c:pt idx="8452">
                  <c:v>#N/A</c:v>
                </c:pt>
                <c:pt idx="8453">
                  <c:v>#N/A</c:v>
                </c:pt>
                <c:pt idx="8454">
                  <c:v>#N/A</c:v>
                </c:pt>
                <c:pt idx="8455">
                  <c:v>#N/A</c:v>
                </c:pt>
                <c:pt idx="8456">
                  <c:v>#N/A</c:v>
                </c:pt>
                <c:pt idx="8457">
                  <c:v>#N/A</c:v>
                </c:pt>
                <c:pt idx="8458">
                  <c:v>#N/A</c:v>
                </c:pt>
                <c:pt idx="8459">
                  <c:v>#N/A</c:v>
                </c:pt>
                <c:pt idx="8460">
                  <c:v>#N/A</c:v>
                </c:pt>
                <c:pt idx="8461">
                  <c:v>#N/A</c:v>
                </c:pt>
                <c:pt idx="8462">
                  <c:v>#N/A</c:v>
                </c:pt>
                <c:pt idx="8463">
                  <c:v>#N/A</c:v>
                </c:pt>
                <c:pt idx="8464">
                  <c:v>#N/A</c:v>
                </c:pt>
                <c:pt idx="8465">
                  <c:v>#N/A</c:v>
                </c:pt>
                <c:pt idx="8466">
                  <c:v>#N/A</c:v>
                </c:pt>
                <c:pt idx="8467">
                  <c:v>#N/A</c:v>
                </c:pt>
                <c:pt idx="8468">
                  <c:v>#N/A</c:v>
                </c:pt>
                <c:pt idx="8469">
                  <c:v>#N/A</c:v>
                </c:pt>
                <c:pt idx="8470">
                  <c:v>#N/A</c:v>
                </c:pt>
                <c:pt idx="8471">
                  <c:v>#N/A</c:v>
                </c:pt>
                <c:pt idx="8472">
                  <c:v>#N/A</c:v>
                </c:pt>
                <c:pt idx="8473">
                  <c:v>#N/A</c:v>
                </c:pt>
                <c:pt idx="8474">
                  <c:v>#N/A</c:v>
                </c:pt>
                <c:pt idx="8475">
                  <c:v>#N/A</c:v>
                </c:pt>
                <c:pt idx="8476">
                  <c:v>#N/A</c:v>
                </c:pt>
                <c:pt idx="8477">
                  <c:v>#N/A</c:v>
                </c:pt>
                <c:pt idx="8478">
                  <c:v>#N/A</c:v>
                </c:pt>
                <c:pt idx="8479">
                  <c:v>#N/A</c:v>
                </c:pt>
                <c:pt idx="8480">
                  <c:v>#N/A</c:v>
                </c:pt>
                <c:pt idx="8481">
                  <c:v>#N/A</c:v>
                </c:pt>
                <c:pt idx="8482">
                  <c:v>#N/A</c:v>
                </c:pt>
                <c:pt idx="8483">
                  <c:v>#N/A</c:v>
                </c:pt>
                <c:pt idx="8484">
                  <c:v>#N/A</c:v>
                </c:pt>
                <c:pt idx="8485">
                  <c:v>#N/A</c:v>
                </c:pt>
                <c:pt idx="8486">
                  <c:v>#N/A</c:v>
                </c:pt>
                <c:pt idx="8487">
                  <c:v>#N/A</c:v>
                </c:pt>
                <c:pt idx="8488">
                  <c:v>#N/A</c:v>
                </c:pt>
                <c:pt idx="8489">
                  <c:v>#N/A</c:v>
                </c:pt>
                <c:pt idx="8490">
                  <c:v>#N/A</c:v>
                </c:pt>
                <c:pt idx="8491">
                  <c:v>#N/A</c:v>
                </c:pt>
                <c:pt idx="8492">
                  <c:v>#N/A</c:v>
                </c:pt>
                <c:pt idx="8493">
                  <c:v>#N/A</c:v>
                </c:pt>
                <c:pt idx="8494">
                  <c:v>#N/A</c:v>
                </c:pt>
                <c:pt idx="8495">
                  <c:v>#N/A</c:v>
                </c:pt>
                <c:pt idx="8496">
                  <c:v>#N/A</c:v>
                </c:pt>
                <c:pt idx="8497">
                  <c:v>#N/A</c:v>
                </c:pt>
                <c:pt idx="8498">
                  <c:v>#N/A</c:v>
                </c:pt>
                <c:pt idx="8499">
                  <c:v>#N/A</c:v>
                </c:pt>
                <c:pt idx="8500">
                  <c:v>#N/A</c:v>
                </c:pt>
                <c:pt idx="8501">
                  <c:v>#N/A</c:v>
                </c:pt>
                <c:pt idx="8502">
                  <c:v>#N/A</c:v>
                </c:pt>
                <c:pt idx="8503">
                  <c:v>#N/A</c:v>
                </c:pt>
                <c:pt idx="8504">
                  <c:v>#N/A</c:v>
                </c:pt>
                <c:pt idx="8505">
                  <c:v>#N/A</c:v>
                </c:pt>
                <c:pt idx="8506">
                  <c:v>#N/A</c:v>
                </c:pt>
                <c:pt idx="8507">
                  <c:v>#N/A</c:v>
                </c:pt>
                <c:pt idx="8508">
                  <c:v>#N/A</c:v>
                </c:pt>
                <c:pt idx="8509">
                  <c:v>#N/A</c:v>
                </c:pt>
                <c:pt idx="8510">
                  <c:v>#N/A</c:v>
                </c:pt>
                <c:pt idx="8511">
                  <c:v>#N/A</c:v>
                </c:pt>
                <c:pt idx="8512">
                  <c:v>#N/A</c:v>
                </c:pt>
                <c:pt idx="8513">
                  <c:v>#N/A</c:v>
                </c:pt>
                <c:pt idx="8514">
                  <c:v>#N/A</c:v>
                </c:pt>
                <c:pt idx="8515">
                  <c:v>#N/A</c:v>
                </c:pt>
                <c:pt idx="8516">
                  <c:v>#N/A</c:v>
                </c:pt>
                <c:pt idx="8517">
                  <c:v>#N/A</c:v>
                </c:pt>
                <c:pt idx="8518">
                  <c:v>#N/A</c:v>
                </c:pt>
                <c:pt idx="8519">
                  <c:v>#N/A</c:v>
                </c:pt>
                <c:pt idx="8520">
                  <c:v>#N/A</c:v>
                </c:pt>
                <c:pt idx="8521">
                  <c:v>#N/A</c:v>
                </c:pt>
                <c:pt idx="8522">
                  <c:v>#N/A</c:v>
                </c:pt>
                <c:pt idx="8523">
                  <c:v>#N/A</c:v>
                </c:pt>
                <c:pt idx="8524">
                  <c:v>#N/A</c:v>
                </c:pt>
                <c:pt idx="8525">
                  <c:v>#N/A</c:v>
                </c:pt>
                <c:pt idx="8526">
                  <c:v>#N/A</c:v>
                </c:pt>
                <c:pt idx="8527">
                  <c:v>#N/A</c:v>
                </c:pt>
                <c:pt idx="8528">
                  <c:v>#N/A</c:v>
                </c:pt>
                <c:pt idx="8529">
                  <c:v>#N/A</c:v>
                </c:pt>
                <c:pt idx="8530">
                  <c:v>#N/A</c:v>
                </c:pt>
                <c:pt idx="8531">
                  <c:v>#N/A</c:v>
                </c:pt>
                <c:pt idx="8532">
                  <c:v>#N/A</c:v>
                </c:pt>
                <c:pt idx="8533">
                  <c:v>#N/A</c:v>
                </c:pt>
                <c:pt idx="8534">
                  <c:v>#N/A</c:v>
                </c:pt>
                <c:pt idx="8535">
                  <c:v>#N/A</c:v>
                </c:pt>
                <c:pt idx="8536">
                  <c:v>#N/A</c:v>
                </c:pt>
                <c:pt idx="8537">
                  <c:v>#N/A</c:v>
                </c:pt>
                <c:pt idx="8538">
                  <c:v>#N/A</c:v>
                </c:pt>
                <c:pt idx="8539">
                  <c:v>#N/A</c:v>
                </c:pt>
                <c:pt idx="8540">
                  <c:v>#N/A</c:v>
                </c:pt>
                <c:pt idx="8541">
                  <c:v>#N/A</c:v>
                </c:pt>
                <c:pt idx="8542">
                  <c:v>#N/A</c:v>
                </c:pt>
                <c:pt idx="8543">
                  <c:v>#N/A</c:v>
                </c:pt>
                <c:pt idx="8544">
                  <c:v>#N/A</c:v>
                </c:pt>
                <c:pt idx="8545">
                  <c:v>#N/A</c:v>
                </c:pt>
                <c:pt idx="8546">
                  <c:v>#N/A</c:v>
                </c:pt>
                <c:pt idx="8547">
                  <c:v>#N/A</c:v>
                </c:pt>
                <c:pt idx="8548">
                  <c:v>#N/A</c:v>
                </c:pt>
                <c:pt idx="8549">
                  <c:v>#N/A</c:v>
                </c:pt>
                <c:pt idx="8550">
                  <c:v>#N/A</c:v>
                </c:pt>
                <c:pt idx="8551">
                  <c:v>#N/A</c:v>
                </c:pt>
                <c:pt idx="8552">
                  <c:v>#N/A</c:v>
                </c:pt>
                <c:pt idx="8553">
                  <c:v>#N/A</c:v>
                </c:pt>
                <c:pt idx="8554">
                  <c:v>#N/A</c:v>
                </c:pt>
                <c:pt idx="8555">
                  <c:v>#N/A</c:v>
                </c:pt>
                <c:pt idx="8556">
                  <c:v>#N/A</c:v>
                </c:pt>
                <c:pt idx="8557">
                  <c:v>#N/A</c:v>
                </c:pt>
                <c:pt idx="8558">
                  <c:v>#N/A</c:v>
                </c:pt>
                <c:pt idx="8559">
                  <c:v>#N/A</c:v>
                </c:pt>
                <c:pt idx="8560">
                  <c:v>#N/A</c:v>
                </c:pt>
                <c:pt idx="8561">
                  <c:v>#N/A</c:v>
                </c:pt>
                <c:pt idx="8562">
                  <c:v>#N/A</c:v>
                </c:pt>
                <c:pt idx="8563">
                  <c:v>#N/A</c:v>
                </c:pt>
                <c:pt idx="8564">
                  <c:v>#N/A</c:v>
                </c:pt>
                <c:pt idx="8565">
                  <c:v>#N/A</c:v>
                </c:pt>
                <c:pt idx="8566">
                  <c:v>#N/A</c:v>
                </c:pt>
                <c:pt idx="8567">
                  <c:v>#N/A</c:v>
                </c:pt>
                <c:pt idx="8568">
                  <c:v>#N/A</c:v>
                </c:pt>
                <c:pt idx="8569">
                  <c:v>#N/A</c:v>
                </c:pt>
                <c:pt idx="8570">
                  <c:v>#N/A</c:v>
                </c:pt>
                <c:pt idx="8571">
                  <c:v>#N/A</c:v>
                </c:pt>
                <c:pt idx="8572">
                  <c:v>#N/A</c:v>
                </c:pt>
                <c:pt idx="8573">
                  <c:v>#N/A</c:v>
                </c:pt>
                <c:pt idx="8574">
                  <c:v>#N/A</c:v>
                </c:pt>
                <c:pt idx="8575">
                  <c:v>#N/A</c:v>
                </c:pt>
                <c:pt idx="8576">
                  <c:v>#N/A</c:v>
                </c:pt>
                <c:pt idx="8577">
                  <c:v>#N/A</c:v>
                </c:pt>
                <c:pt idx="8578">
                  <c:v>#N/A</c:v>
                </c:pt>
                <c:pt idx="8579">
                  <c:v>#N/A</c:v>
                </c:pt>
                <c:pt idx="8580">
                  <c:v>#N/A</c:v>
                </c:pt>
                <c:pt idx="8581">
                  <c:v>#N/A</c:v>
                </c:pt>
                <c:pt idx="8582">
                  <c:v>#N/A</c:v>
                </c:pt>
                <c:pt idx="8583">
                  <c:v>#N/A</c:v>
                </c:pt>
                <c:pt idx="8584">
                  <c:v>#N/A</c:v>
                </c:pt>
                <c:pt idx="8585">
                  <c:v>#N/A</c:v>
                </c:pt>
                <c:pt idx="8586">
                  <c:v>#N/A</c:v>
                </c:pt>
                <c:pt idx="8587">
                  <c:v>#N/A</c:v>
                </c:pt>
                <c:pt idx="8588">
                  <c:v>#N/A</c:v>
                </c:pt>
                <c:pt idx="8589">
                  <c:v>#N/A</c:v>
                </c:pt>
                <c:pt idx="8590">
                  <c:v>#N/A</c:v>
                </c:pt>
                <c:pt idx="8591">
                  <c:v>#N/A</c:v>
                </c:pt>
                <c:pt idx="8592">
                  <c:v>#N/A</c:v>
                </c:pt>
                <c:pt idx="8593">
                  <c:v>#N/A</c:v>
                </c:pt>
                <c:pt idx="8594">
                  <c:v>#N/A</c:v>
                </c:pt>
                <c:pt idx="8595">
                  <c:v>#N/A</c:v>
                </c:pt>
                <c:pt idx="8596">
                  <c:v>#N/A</c:v>
                </c:pt>
                <c:pt idx="8597">
                  <c:v>#N/A</c:v>
                </c:pt>
                <c:pt idx="8598">
                  <c:v>#N/A</c:v>
                </c:pt>
                <c:pt idx="8599">
                  <c:v>#N/A</c:v>
                </c:pt>
                <c:pt idx="8600">
                  <c:v>#N/A</c:v>
                </c:pt>
                <c:pt idx="8601">
                  <c:v>#N/A</c:v>
                </c:pt>
                <c:pt idx="8602">
                  <c:v>#N/A</c:v>
                </c:pt>
                <c:pt idx="8603">
                  <c:v>#N/A</c:v>
                </c:pt>
                <c:pt idx="8604">
                  <c:v>#N/A</c:v>
                </c:pt>
                <c:pt idx="8605">
                  <c:v>#N/A</c:v>
                </c:pt>
                <c:pt idx="8606">
                  <c:v>#N/A</c:v>
                </c:pt>
                <c:pt idx="8607">
                  <c:v>#N/A</c:v>
                </c:pt>
                <c:pt idx="8608">
                  <c:v>#N/A</c:v>
                </c:pt>
                <c:pt idx="8609">
                  <c:v>#N/A</c:v>
                </c:pt>
                <c:pt idx="8610">
                  <c:v>#N/A</c:v>
                </c:pt>
                <c:pt idx="8611">
                  <c:v>#N/A</c:v>
                </c:pt>
                <c:pt idx="8612">
                  <c:v>#N/A</c:v>
                </c:pt>
                <c:pt idx="8613">
                  <c:v>#N/A</c:v>
                </c:pt>
                <c:pt idx="8614">
                  <c:v>#N/A</c:v>
                </c:pt>
                <c:pt idx="8615">
                  <c:v>#N/A</c:v>
                </c:pt>
                <c:pt idx="8616">
                  <c:v>#N/A</c:v>
                </c:pt>
                <c:pt idx="8617">
                  <c:v>#N/A</c:v>
                </c:pt>
                <c:pt idx="8618">
                  <c:v>#N/A</c:v>
                </c:pt>
                <c:pt idx="8619">
                  <c:v>#N/A</c:v>
                </c:pt>
                <c:pt idx="8620">
                  <c:v>#N/A</c:v>
                </c:pt>
                <c:pt idx="8621">
                  <c:v>#N/A</c:v>
                </c:pt>
                <c:pt idx="8622">
                  <c:v>#N/A</c:v>
                </c:pt>
                <c:pt idx="8623">
                  <c:v>#N/A</c:v>
                </c:pt>
                <c:pt idx="8624">
                  <c:v>#N/A</c:v>
                </c:pt>
                <c:pt idx="8625">
                  <c:v>3.1863013698630138</c:v>
                </c:pt>
                <c:pt idx="8626">
                  <c:v>#N/A</c:v>
                </c:pt>
                <c:pt idx="8627">
                  <c:v>3.1863013698630138</c:v>
                </c:pt>
                <c:pt idx="8628">
                  <c:v>#N/A</c:v>
                </c:pt>
                <c:pt idx="8629">
                  <c:v>#N/A</c:v>
                </c:pt>
                <c:pt idx="8630">
                  <c:v>#N/A</c:v>
                </c:pt>
                <c:pt idx="8631">
                  <c:v>#N/A</c:v>
                </c:pt>
                <c:pt idx="8632">
                  <c:v>#N/A</c:v>
                </c:pt>
                <c:pt idx="8633">
                  <c:v>#N/A</c:v>
                </c:pt>
                <c:pt idx="8634">
                  <c:v>#N/A</c:v>
                </c:pt>
                <c:pt idx="8635">
                  <c:v>#N/A</c:v>
                </c:pt>
                <c:pt idx="8636">
                  <c:v>#N/A</c:v>
                </c:pt>
                <c:pt idx="8637">
                  <c:v>#N/A</c:v>
                </c:pt>
                <c:pt idx="8638">
                  <c:v>#N/A</c:v>
                </c:pt>
                <c:pt idx="8639">
                  <c:v>#N/A</c:v>
                </c:pt>
                <c:pt idx="8640">
                  <c:v>#N/A</c:v>
                </c:pt>
                <c:pt idx="8641">
                  <c:v>#N/A</c:v>
                </c:pt>
                <c:pt idx="8642">
                  <c:v>#N/A</c:v>
                </c:pt>
                <c:pt idx="8643">
                  <c:v>#N/A</c:v>
                </c:pt>
                <c:pt idx="8644">
                  <c:v>#N/A</c:v>
                </c:pt>
                <c:pt idx="8645">
                  <c:v>#N/A</c:v>
                </c:pt>
                <c:pt idx="8646">
                  <c:v>#N/A</c:v>
                </c:pt>
                <c:pt idx="8647">
                  <c:v>#N/A</c:v>
                </c:pt>
                <c:pt idx="8648">
                  <c:v>#N/A</c:v>
                </c:pt>
                <c:pt idx="8649">
                  <c:v>#N/A</c:v>
                </c:pt>
                <c:pt idx="8650">
                  <c:v>#N/A</c:v>
                </c:pt>
                <c:pt idx="8651">
                  <c:v>#N/A</c:v>
                </c:pt>
                <c:pt idx="8652">
                  <c:v>#N/A</c:v>
                </c:pt>
                <c:pt idx="8653">
                  <c:v>#N/A</c:v>
                </c:pt>
                <c:pt idx="8654">
                  <c:v>#N/A</c:v>
                </c:pt>
                <c:pt idx="8655">
                  <c:v>#N/A</c:v>
                </c:pt>
                <c:pt idx="8656">
                  <c:v>#N/A</c:v>
                </c:pt>
                <c:pt idx="8657">
                  <c:v>#N/A</c:v>
                </c:pt>
                <c:pt idx="8658">
                  <c:v>#N/A</c:v>
                </c:pt>
                <c:pt idx="8659">
                  <c:v>#N/A</c:v>
                </c:pt>
                <c:pt idx="8660">
                  <c:v>#N/A</c:v>
                </c:pt>
                <c:pt idx="8661">
                  <c:v>#N/A</c:v>
                </c:pt>
                <c:pt idx="8662">
                  <c:v>#N/A</c:v>
                </c:pt>
                <c:pt idx="8663">
                  <c:v>#N/A</c:v>
                </c:pt>
                <c:pt idx="8664">
                  <c:v>#N/A</c:v>
                </c:pt>
                <c:pt idx="8665">
                  <c:v>#N/A</c:v>
                </c:pt>
                <c:pt idx="8666">
                  <c:v>#N/A</c:v>
                </c:pt>
                <c:pt idx="8667">
                  <c:v>#N/A</c:v>
                </c:pt>
                <c:pt idx="8668">
                  <c:v>#N/A</c:v>
                </c:pt>
                <c:pt idx="8669">
                  <c:v>#N/A</c:v>
                </c:pt>
                <c:pt idx="8670">
                  <c:v>#N/A</c:v>
                </c:pt>
                <c:pt idx="8671">
                  <c:v>#N/A</c:v>
                </c:pt>
                <c:pt idx="8672">
                  <c:v>#N/A</c:v>
                </c:pt>
                <c:pt idx="8673">
                  <c:v>#N/A</c:v>
                </c:pt>
                <c:pt idx="8674">
                  <c:v>#N/A</c:v>
                </c:pt>
                <c:pt idx="8675">
                  <c:v>#N/A</c:v>
                </c:pt>
                <c:pt idx="8676">
                  <c:v>#N/A</c:v>
                </c:pt>
                <c:pt idx="8677">
                  <c:v>#N/A</c:v>
                </c:pt>
                <c:pt idx="8678">
                  <c:v>#N/A</c:v>
                </c:pt>
                <c:pt idx="8679">
                  <c:v>#N/A</c:v>
                </c:pt>
                <c:pt idx="8680">
                  <c:v>#N/A</c:v>
                </c:pt>
                <c:pt idx="8681">
                  <c:v>#N/A</c:v>
                </c:pt>
                <c:pt idx="8682">
                  <c:v>#N/A</c:v>
                </c:pt>
                <c:pt idx="8683">
                  <c:v>#N/A</c:v>
                </c:pt>
                <c:pt idx="8684">
                  <c:v>#N/A</c:v>
                </c:pt>
                <c:pt idx="8685">
                  <c:v>#N/A</c:v>
                </c:pt>
                <c:pt idx="8686">
                  <c:v>#N/A</c:v>
                </c:pt>
                <c:pt idx="8687">
                  <c:v>#N/A</c:v>
                </c:pt>
                <c:pt idx="8688">
                  <c:v>#N/A</c:v>
                </c:pt>
                <c:pt idx="8689">
                  <c:v>#N/A</c:v>
                </c:pt>
                <c:pt idx="8690">
                  <c:v>#N/A</c:v>
                </c:pt>
                <c:pt idx="8691">
                  <c:v>#N/A</c:v>
                </c:pt>
                <c:pt idx="8692">
                  <c:v>#N/A</c:v>
                </c:pt>
                <c:pt idx="8693">
                  <c:v>#N/A</c:v>
                </c:pt>
                <c:pt idx="8694">
                  <c:v>#N/A</c:v>
                </c:pt>
                <c:pt idx="8695">
                  <c:v>#N/A</c:v>
                </c:pt>
                <c:pt idx="8696">
                  <c:v>#N/A</c:v>
                </c:pt>
                <c:pt idx="8697">
                  <c:v>#N/A</c:v>
                </c:pt>
                <c:pt idx="8698">
                  <c:v>#N/A</c:v>
                </c:pt>
                <c:pt idx="8699">
                  <c:v>#N/A</c:v>
                </c:pt>
                <c:pt idx="8700">
                  <c:v>#N/A</c:v>
                </c:pt>
                <c:pt idx="8701">
                  <c:v>#N/A</c:v>
                </c:pt>
                <c:pt idx="8702">
                  <c:v>#N/A</c:v>
                </c:pt>
                <c:pt idx="8703">
                  <c:v>#N/A</c:v>
                </c:pt>
                <c:pt idx="8704">
                  <c:v>#N/A</c:v>
                </c:pt>
                <c:pt idx="8705">
                  <c:v>#N/A</c:v>
                </c:pt>
                <c:pt idx="8706">
                  <c:v>#N/A</c:v>
                </c:pt>
                <c:pt idx="8707">
                  <c:v>#N/A</c:v>
                </c:pt>
                <c:pt idx="8708">
                  <c:v>#N/A</c:v>
                </c:pt>
                <c:pt idx="8709">
                  <c:v>#N/A</c:v>
                </c:pt>
                <c:pt idx="8710">
                  <c:v>#N/A</c:v>
                </c:pt>
                <c:pt idx="8711">
                  <c:v>#N/A</c:v>
                </c:pt>
                <c:pt idx="8712">
                  <c:v>#N/A</c:v>
                </c:pt>
                <c:pt idx="8713">
                  <c:v>#N/A</c:v>
                </c:pt>
                <c:pt idx="8714">
                  <c:v>#N/A</c:v>
                </c:pt>
                <c:pt idx="8715">
                  <c:v>#N/A</c:v>
                </c:pt>
                <c:pt idx="8716">
                  <c:v>#N/A</c:v>
                </c:pt>
                <c:pt idx="8717">
                  <c:v>#N/A</c:v>
                </c:pt>
                <c:pt idx="8718">
                  <c:v>#N/A</c:v>
                </c:pt>
                <c:pt idx="8719">
                  <c:v>#N/A</c:v>
                </c:pt>
                <c:pt idx="8720">
                  <c:v>#N/A</c:v>
                </c:pt>
                <c:pt idx="8721">
                  <c:v>#N/A</c:v>
                </c:pt>
                <c:pt idx="8722">
                  <c:v>#N/A</c:v>
                </c:pt>
                <c:pt idx="8723">
                  <c:v>#N/A</c:v>
                </c:pt>
                <c:pt idx="8724">
                  <c:v>#N/A</c:v>
                </c:pt>
                <c:pt idx="8725">
                  <c:v>#N/A</c:v>
                </c:pt>
                <c:pt idx="8726">
                  <c:v>#N/A</c:v>
                </c:pt>
                <c:pt idx="8727">
                  <c:v>#N/A</c:v>
                </c:pt>
                <c:pt idx="8728">
                  <c:v>#N/A</c:v>
                </c:pt>
                <c:pt idx="8729">
                  <c:v>#N/A</c:v>
                </c:pt>
                <c:pt idx="8730">
                  <c:v>#N/A</c:v>
                </c:pt>
                <c:pt idx="8731">
                  <c:v>#N/A</c:v>
                </c:pt>
                <c:pt idx="8732">
                  <c:v>#N/A</c:v>
                </c:pt>
                <c:pt idx="8733">
                  <c:v>#N/A</c:v>
                </c:pt>
                <c:pt idx="8734">
                  <c:v>#N/A</c:v>
                </c:pt>
                <c:pt idx="8735">
                  <c:v>#N/A</c:v>
                </c:pt>
                <c:pt idx="8736">
                  <c:v>#N/A</c:v>
                </c:pt>
                <c:pt idx="8737">
                  <c:v>#N/A</c:v>
                </c:pt>
                <c:pt idx="8738">
                  <c:v>#N/A</c:v>
                </c:pt>
                <c:pt idx="8739">
                  <c:v>#N/A</c:v>
                </c:pt>
                <c:pt idx="8740">
                  <c:v>#N/A</c:v>
                </c:pt>
                <c:pt idx="8741">
                  <c:v>#N/A</c:v>
                </c:pt>
                <c:pt idx="8742">
                  <c:v>#N/A</c:v>
                </c:pt>
                <c:pt idx="8743">
                  <c:v>#N/A</c:v>
                </c:pt>
                <c:pt idx="8744">
                  <c:v>#N/A</c:v>
                </c:pt>
                <c:pt idx="8745">
                  <c:v>#N/A</c:v>
                </c:pt>
                <c:pt idx="8746">
                  <c:v>#N/A</c:v>
                </c:pt>
                <c:pt idx="8747">
                  <c:v>#N/A</c:v>
                </c:pt>
                <c:pt idx="8748">
                  <c:v>#N/A</c:v>
                </c:pt>
                <c:pt idx="8749">
                  <c:v>#N/A</c:v>
                </c:pt>
                <c:pt idx="8750">
                  <c:v>#N/A</c:v>
                </c:pt>
                <c:pt idx="8751">
                  <c:v>#N/A</c:v>
                </c:pt>
                <c:pt idx="8752">
                  <c:v>#N/A</c:v>
                </c:pt>
                <c:pt idx="8753">
                  <c:v>#N/A</c:v>
                </c:pt>
                <c:pt idx="8754">
                  <c:v>#N/A</c:v>
                </c:pt>
                <c:pt idx="8755">
                  <c:v>#N/A</c:v>
                </c:pt>
                <c:pt idx="8756">
                  <c:v>#N/A</c:v>
                </c:pt>
                <c:pt idx="8757">
                  <c:v>#N/A</c:v>
                </c:pt>
                <c:pt idx="8758">
                  <c:v>#N/A</c:v>
                </c:pt>
                <c:pt idx="8759">
                  <c:v>#N/A</c:v>
                </c:pt>
                <c:pt idx="8760">
                  <c:v>#N/A</c:v>
                </c:pt>
                <c:pt idx="8761">
                  <c:v>#N/A</c:v>
                </c:pt>
                <c:pt idx="8762">
                  <c:v>#N/A</c:v>
                </c:pt>
                <c:pt idx="8763">
                  <c:v>#N/A</c:v>
                </c:pt>
                <c:pt idx="8764">
                  <c:v>#N/A</c:v>
                </c:pt>
                <c:pt idx="8765">
                  <c:v>#N/A</c:v>
                </c:pt>
                <c:pt idx="8766">
                  <c:v>3.3315068493150686</c:v>
                </c:pt>
                <c:pt idx="8767">
                  <c:v>#N/A</c:v>
                </c:pt>
                <c:pt idx="8768">
                  <c:v>#N/A</c:v>
                </c:pt>
                <c:pt idx="8769">
                  <c:v>#N/A</c:v>
                </c:pt>
                <c:pt idx="8770">
                  <c:v>#N/A</c:v>
                </c:pt>
                <c:pt idx="8771">
                  <c:v>3.3342465753424659</c:v>
                </c:pt>
                <c:pt idx="8772">
                  <c:v>#N/A</c:v>
                </c:pt>
                <c:pt idx="8773">
                  <c:v>#N/A</c:v>
                </c:pt>
                <c:pt idx="8774">
                  <c:v>#N/A</c:v>
                </c:pt>
                <c:pt idx="8775">
                  <c:v>#N/A</c:v>
                </c:pt>
                <c:pt idx="8776">
                  <c:v>#N/A</c:v>
                </c:pt>
                <c:pt idx="8777">
                  <c:v>#N/A</c:v>
                </c:pt>
                <c:pt idx="8778">
                  <c:v>#N/A</c:v>
                </c:pt>
                <c:pt idx="8779">
                  <c:v>#N/A</c:v>
                </c:pt>
                <c:pt idx="8780">
                  <c:v>#N/A</c:v>
                </c:pt>
                <c:pt idx="8781">
                  <c:v>#N/A</c:v>
                </c:pt>
                <c:pt idx="8782">
                  <c:v>#N/A</c:v>
                </c:pt>
                <c:pt idx="8783">
                  <c:v>#N/A</c:v>
                </c:pt>
                <c:pt idx="8784">
                  <c:v>#N/A</c:v>
                </c:pt>
                <c:pt idx="8785">
                  <c:v>#N/A</c:v>
                </c:pt>
                <c:pt idx="8786">
                  <c:v>#N/A</c:v>
                </c:pt>
                <c:pt idx="8787">
                  <c:v>#N/A</c:v>
                </c:pt>
                <c:pt idx="8788">
                  <c:v>#N/A</c:v>
                </c:pt>
                <c:pt idx="8789">
                  <c:v>#N/A</c:v>
                </c:pt>
                <c:pt idx="8790">
                  <c:v>#N/A</c:v>
                </c:pt>
                <c:pt idx="8791">
                  <c:v>#N/A</c:v>
                </c:pt>
                <c:pt idx="8792">
                  <c:v>#N/A</c:v>
                </c:pt>
                <c:pt idx="8793">
                  <c:v>#N/A</c:v>
                </c:pt>
                <c:pt idx="8794">
                  <c:v>#N/A</c:v>
                </c:pt>
                <c:pt idx="8795">
                  <c:v>#N/A</c:v>
                </c:pt>
                <c:pt idx="8796">
                  <c:v>#N/A</c:v>
                </c:pt>
                <c:pt idx="8797">
                  <c:v>#N/A</c:v>
                </c:pt>
                <c:pt idx="8798">
                  <c:v>#N/A</c:v>
                </c:pt>
                <c:pt idx="8799">
                  <c:v>#N/A</c:v>
                </c:pt>
                <c:pt idx="8800">
                  <c:v>#N/A</c:v>
                </c:pt>
                <c:pt idx="8801">
                  <c:v>#N/A</c:v>
                </c:pt>
                <c:pt idx="8802">
                  <c:v>#N/A</c:v>
                </c:pt>
                <c:pt idx="8803">
                  <c:v>#N/A</c:v>
                </c:pt>
                <c:pt idx="8804">
                  <c:v>#N/A</c:v>
                </c:pt>
                <c:pt idx="8805">
                  <c:v>#N/A</c:v>
                </c:pt>
                <c:pt idx="8806">
                  <c:v>#N/A</c:v>
                </c:pt>
                <c:pt idx="8807">
                  <c:v>#N/A</c:v>
                </c:pt>
                <c:pt idx="8808">
                  <c:v>#N/A</c:v>
                </c:pt>
                <c:pt idx="8809">
                  <c:v>#N/A</c:v>
                </c:pt>
                <c:pt idx="8810">
                  <c:v>#N/A</c:v>
                </c:pt>
                <c:pt idx="8811">
                  <c:v>#N/A</c:v>
                </c:pt>
                <c:pt idx="8812">
                  <c:v>#N/A</c:v>
                </c:pt>
                <c:pt idx="8813">
                  <c:v>#N/A</c:v>
                </c:pt>
                <c:pt idx="8814">
                  <c:v>#N/A</c:v>
                </c:pt>
                <c:pt idx="8815">
                  <c:v>#N/A</c:v>
                </c:pt>
                <c:pt idx="8816">
                  <c:v>#N/A</c:v>
                </c:pt>
                <c:pt idx="8817">
                  <c:v>#N/A</c:v>
                </c:pt>
                <c:pt idx="8818">
                  <c:v>#N/A</c:v>
                </c:pt>
                <c:pt idx="8819">
                  <c:v>#N/A</c:v>
                </c:pt>
                <c:pt idx="8820">
                  <c:v>#N/A</c:v>
                </c:pt>
                <c:pt idx="8821">
                  <c:v>#N/A</c:v>
                </c:pt>
                <c:pt idx="8822">
                  <c:v>#N/A</c:v>
                </c:pt>
                <c:pt idx="8823">
                  <c:v>#N/A</c:v>
                </c:pt>
                <c:pt idx="8824">
                  <c:v>#N/A</c:v>
                </c:pt>
                <c:pt idx="8825">
                  <c:v>#N/A</c:v>
                </c:pt>
                <c:pt idx="8826">
                  <c:v>#N/A</c:v>
                </c:pt>
                <c:pt idx="8827">
                  <c:v>#N/A</c:v>
                </c:pt>
                <c:pt idx="8828">
                  <c:v>#N/A</c:v>
                </c:pt>
                <c:pt idx="8829">
                  <c:v>#N/A</c:v>
                </c:pt>
                <c:pt idx="8830">
                  <c:v>#N/A</c:v>
                </c:pt>
                <c:pt idx="8831">
                  <c:v>#N/A</c:v>
                </c:pt>
                <c:pt idx="8832">
                  <c:v>#N/A</c:v>
                </c:pt>
                <c:pt idx="8833">
                  <c:v>#N/A</c:v>
                </c:pt>
                <c:pt idx="8834">
                  <c:v>#N/A</c:v>
                </c:pt>
                <c:pt idx="8835">
                  <c:v>#N/A</c:v>
                </c:pt>
                <c:pt idx="8836">
                  <c:v>#N/A</c:v>
                </c:pt>
                <c:pt idx="8837">
                  <c:v>#N/A</c:v>
                </c:pt>
                <c:pt idx="8838">
                  <c:v>#N/A</c:v>
                </c:pt>
                <c:pt idx="8839">
                  <c:v>#N/A</c:v>
                </c:pt>
                <c:pt idx="8840">
                  <c:v>#N/A</c:v>
                </c:pt>
                <c:pt idx="8841">
                  <c:v>#N/A</c:v>
                </c:pt>
                <c:pt idx="8842">
                  <c:v>#N/A</c:v>
                </c:pt>
                <c:pt idx="8843">
                  <c:v>#N/A</c:v>
                </c:pt>
                <c:pt idx="8844">
                  <c:v>#N/A</c:v>
                </c:pt>
                <c:pt idx="8845">
                  <c:v>#N/A</c:v>
                </c:pt>
                <c:pt idx="8846">
                  <c:v>#N/A</c:v>
                </c:pt>
                <c:pt idx="8847">
                  <c:v>#N/A</c:v>
                </c:pt>
                <c:pt idx="8848">
                  <c:v>#N/A</c:v>
                </c:pt>
                <c:pt idx="8849">
                  <c:v>#N/A</c:v>
                </c:pt>
                <c:pt idx="8850">
                  <c:v>#N/A</c:v>
                </c:pt>
                <c:pt idx="8851">
                  <c:v>#N/A</c:v>
                </c:pt>
                <c:pt idx="8852">
                  <c:v>#N/A</c:v>
                </c:pt>
                <c:pt idx="8853">
                  <c:v>#N/A</c:v>
                </c:pt>
                <c:pt idx="8854">
                  <c:v>#N/A</c:v>
                </c:pt>
                <c:pt idx="8855">
                  <c:v>#N/A</c:v>
                </c:pt>
                <c:pt idx="8856">
                  <c:v>#N/A</c:v>
                </c:pt>
                <c:pt idx="8857">
                  <c:v>#N/A</c:v>
                </c:pt>
                <c:pt idx="8858">
                  <c:v>#N/A</c:v>
                </c:pt>
                <c:pt idx="8859">
                  <c:v>#N/A</c:v>
                </c:pt>
                <c:pt idx="8860">
                  <c:v>#N/A</c:v>
                </c:pt>
                <c:pt idx="8861">
                  <c:v>#N/A</c:v>
                </c:pt>
                <c:pt idx="8862">
                  <c:v>#N/A</c:v>
                </c:pt>
                <c:pt idx="8863">
                  <c:v>#N/A</c:v>
                </c:pt>
                <c:pt idx="8864">
                  <c:v>#N/A</c:v>
                </c:pt>
                <c:pt idx="8865">
                  <c:v>#N/A</c:v>
                </c:pt>
                <c:pt idx="8866">
                  <c:v>#N/A</c:v>
                </c:pt>
                <c:pt idx="8867">
                  <c:v>#N/A</c:v>
                </c:pt>
                <c:pt idx="8868">
                  <c:v>#N/A</c:v>
                </c:pt>
                <c:pt idx="8869">
                  <c:v>#N/A</c:v>
                </c:pt>
                <c:pt idx="8870">
                  <c:v>#N/A</c:v>
                </c:pt>
                <c:pt idx="8871">
                  <c:v>#N/A</c:v>
                </c:pt>
                <c:pt idx="8872">
                  <c:v>#N/A</c:v>
                </c:pt>
                <c:pt idx="8873">
                  <c:v>#N/A</c:v>
                </c:pt>
                <c:pt idx="8874">
                  <c:v>#N/A</c:v>
                </c:pt>
                <c:pt idx="8875">
                  <c:v>#N/A</c:v>
                </c:pt>
                <c:pt idx="8876">
                  <c:v>#N/A</c:v>
                </c:pt>
                <c:pt idx="8877">
                  <c:v>3.4109589041095889</c:v>
                </c:pt>
                <c:pt idx="8878">
                  <c:v>#N/A</c:v>
                </c:pt>
                <c:pt idx="8879">
                  <c:v>#N/A</c:v>
                </c:pt>
                <c:pt idx="8880">
                  <c:v>#N/A</c:v>
                </c:pt>
                <c:pt idx="8881">
                  <c:v>#N/A</c:v>
                </c:pt>
                <c:pt idx="8882">
                  <c:v>#N/A</c:v>
                </c:pt>
                <c:pt idx="8883">
                  <c:v>#N/A</c:v>
                </c:pt>
                <c:pt idx="8884">
                  <c:v>#N/A</c:v>
                </c:pt>
                <c:pt idx="8885">
                  <c:v>#N/A</c:v>
                </c:pt>
                <c:pt idx="8886">
                  <c:v>#N/A</c:v>
                </c:pt>
                <c:pt idx="8887">
                  <c:v>#N/A</c:v>
                </c:pt>
                <c:pt idx="8888">
                  <c:v>#N/A</c:v>
                </c:pt>
                <c:pt idx="8889">
                  <c:v>#N/A</c:v>
                </c:pt>
                <c:pt idx="8890">
                  <c:v>#N/A</c:v>
                </c:pt>
                <c:pt idx="8891">
                  <c:v>#N/A</c:v>
                </c:pt>
                <c:pt idx="8892">
                  <c:v>#N/A</c:v>
                </c:pt>
                <c:pt idx="8893">
                  <c:v>#N/A</c:v>
                </c:pt>
                <c:pt idx="8894">
                  <c:v>#N/A</c:v>
                </c:pt>
                <c:pt idx="8895">
                  <c:v>#N/A</c:v>
                </c:pt>
                <c:pt idx="8896">
                  <c:v>#N/A</c:v>
                </c:pt>
                <c:pt idx="8897">
                  <c:v>#N/A</c:v>
                </c:pt>
                <c:pt idx="8898">
                  <c:v>#N/A</c:v>
                </c:pt>
                <c:pt idx="8899">
                  <c:v>#N/A</c:v>
                </c:pt>
                <c:pt idx="8900">
                  <c:v>#N/A</c:v>
                </c:pt>
                <c:pt idx="8901">
                  <c:v>#N/A</c:v>
                </c:pt>
                <c:pt idx="8902">
                  <c:v>#N/A</c:v>
                </c:pt>
                <c:pt idx="8903">
                  <c:v>#N/A</c:v>
                </c:pt>
                <c:pt idx="8904">
                  <c:v>#N/A</c:v>
                </c:pt>
                <c:pt idx="8905">
                  <c:v>#N/A</c:v>
                </c:pt>
                <c:pt idx="8906">
                  <c:v>#N/A</c:v>
                </c:pt>
                <c:pt idx="8907">
                  <c:v>#N/A</c:v>
                </c:pt>
                <c:pt idx="8908">
                  <c:v>#N/A</c:v>
                </c:pt>
                <c:pt idx="8909">
                  <c:v>#N/A</c:v>
                </c:pt>
                <c:pt idx="8910">
                  <c:v>#N/A</c:v>
                </c:pt>
                <c:pt idx="8911">
                  <c:v>#N/A</c:v>
                </c:pt>
                <c:pt idx="8912">
                  <c:v>#N/A</c:v>
                </c:pt>
                <c:pt idx="8913">
                  <c:v>#N/A</c:v>
                </c:pt>
                <c:pt idx="8914">
                  <c:v>#N/A</c:v>
                </c:pt>
                <c:pt idx="8915">
                  <c:v>#N/A</c:v>
                </c:pt>
                <c:pt idx="8916">
                  <c:v>#N/A</c:v>
                </c:pt>
                <c:pt idx="8917">
                  <c:v>#N/A</c:v>
                </c:pt>
                <c:pt idx="8918">
                  <c:v>#N/A</c:v>
                </c:pt>
                <c:pt idx="8919">
                  <c:v>#N/A</c:v>
                </c:pt>
                <c:pt idx="8920">
                  <c:v>#N/A</c:v>
                </c:pt>
                <c:pt idx="8921">
                  <c:v>#N/A</c:v>
                </c:pt>
                <c:pt idx="8922">
                  <c:v>#N/A</c:v>
                </c:pt>
                <c:pt idx="8923">
                  <c:v>#N/A</c:v>
                </c:pt>
                <c:pt idx="8924">
                  <c:v>#N/A</c:v>
                </c:pt>
                <c:pt idx="8925">
                  <c:v>#N/A</c:v>
                </c:pt>
                <c:pt idx="8926">
                  <c:v>#N/A</c:v>
                </c:pt>
                <c:pt idx="8927">
                  <c:v>#N/A</c:v>
                </c:pt>
                <c:pt idx="8928">
                  <c:v>#N/A</c:v>
                </c:pt>
                <c:pt idx="8929">
                  <c:v>#N/A</c:v>
                </c:pt>
                <c:pt idx="8930">
                  <c:v>#N/A</c:v>
                </c:pt>
                <c:pt idx="8931">
                  <c:v>#N/A</c:v>
                </c:pt>
                <c:pt idx="8932">
                  <c:v>#N/A</c:v>
                </c:pt>
                <c:pt idx="8933">
                  <c:v>#N/A</c:v>
                </c:pt>
                <c:pt idx="8934">
                  <c:v>#N/A</c:v>
                </c:pt>
                <c:pt idx="8935">
                  <c:v>#N/A</c:v>
                </c:pt>
                <c:pt idx="8936">
                  <c:v>#N/A</c:v>
                </c:pt>
                <c:pt idx="8937">
                  <c:v>#N/A</c:v>
                </c:pt>
                <c:pt idx="8938">
                  <c:v>#N/A</c:v>
                </c:pt>
                <c:pt idx="8939">
                  <c:v>#N/A</c:v>
                </c:pt>
                <c:pt idx="8940">
                  <c:v>#N/A</c:v>
                </c:pt>
                <c:pt idx="8941">
                  <c:v>#N/A</c:v>
                </c:pt>
                <c:pt idx="8942">
                  <c:v>#N/A</c:v>
                </c:pt>
                <c:pt idx="8943">
                  <c:v>#N/A</c:v>
                </c:pt>
                <c:pt idx="8944">
                  <c:v>#N/A</c:v>
                </c:pt>
                <c:pt idx="8945">
                  <c:v>#N/A</c:v>
                </c:pt>
                <c:pt idx="8946">
                  <c:v>#N/A</c:v>
                </c:pt>
                <c:pt idx="8947">
                  <c:v>#N/A</c:v>
                </c:pt>
                <c:pt idx="8948">
                  <c:v>#N/A</c:v>
                </c:pt>
                <c:pt idx="8949">
                  <c:v>#N/A</c:v>
                </c:pt>
                <c:pt idx="8950">
                  <c:v>#N/A</c:v>
                </c:pt>
                <c:pt idx="8951">
                  <c:v>#N/A</c:v>
                </c:pt>
                <c:pt idx="8952">
                  <c:v>#N/A</c:v>
                </c:pt>
                <c:pt idx="8953">
                  <c:v>#N/A</c:v>
                </c:pt>
                <c:pt idx="8954">
                  <c:v>#N/A</c:v>
                </c:pt>
                <c:pt idx="8955">
                  <c:v>#N/A</c:v>
                </c:pt>
                <c:pt idx="8956">
                  <c:v>#N/A</c:v>
                </c:pt>
                <c:pt idx="8957">
                  <c:v>#N/A</c:v>
                </c:pt>
                <c:pt idx="8958">
                  <c:v>#N/A</c:v>
                </c:pt>
                <c:pt idx="8959">
                  <c:v>#N/A</c:v>
                </c:pt>
                <c:pt idx="8960">
                  <c:v>#N/A</c:v>
                </c:pt>
                <c:pt idx="8961">
                  <c:v>#N/A</c:v>
                </c:pt>
                <c:pt idx="8962">
                  <c:v>#N/A</c:v>
                </c:pt>
                <c:pt idx="8963">
                  <c:v>#N/A</c:v>
                </c:pt>
                <c:pt idx="8964">
                  <c:v>#N/A</c:v>
                </c:pt>
                <c:pt idx="8965">
                  <c:v>#N/A</c:v>
                </c:pt>
                <c:pt idx="8966">
                  <c:v>#N/A</c:v>
                </c:pt>
                <c:pt idx="8967">
                  <c:v>#N/A</c:v>
                </c:pt>
                <c:pt idx="8968">
                  <c:v>#N/A</c:v>
                </c:pt>
                <c:pt idx="8969">
                  <c:v>#N/A</c:v>
                </c:pt>
                <c:pt idx="8970">
                  <c:v>#N/A</c:v>
                </c:pt>
                <c:pt idx="8971">
                  <c:v>#N/A</c:v>
                </c:pt>
                <c:pt idx="8972">
                  <c:v>#N/A</c:v>
                </c:pt>
                <c:pt idx="8973">
                  <c:v>#N/A</c:v>
                </c:pt>
                <c:pt idx="8974">
                  <c:v>#N/A</c:v>
                </c:pt>
                <c:pt idx="8975">
                  <c:v>#N/A</c:v>
                </c:pt>
                <c:pt idx="8976">
                  <c:v>#N/A</c:v>
                </c:pt>
                <c:pt idx="8977">
                  <c:v>#N/A</c:v>
                </c:pt>
                <c:pt idx="8978">
                  <c:v>#N/A</c:v>
                </c:pt>
                <c:pt idx="8979">
                  <c:v>#N/A</c:v>
                </c:pt>
                <c:pt idx="8980">
                  <c:v>#N/A</c:v>
                </c:pt>
                <c:pt idx="8981">
                  <c:v>#N/A</c:v>
                </c:pt>
                <c:pt idx="8982">
                  <c:v>#N/A</c:v>
                </c:pt>
                <c:pt idx="8983">
                  <c:v>#N/A</c:v>
                </c:pt>
                <c:pt idx="8984">
                  <c:v>#N/A</c:v>
                </c:pt>
                <c:pt idx="8985">
                  <c:v>#N/A</c:v>
                </c:pt>
                <c:pt idx="8986">
                  <c:v>#N/A</c:v>
                </c:pt>
                <c:pt idx="8987">
                  <c:v>#N/A</c:v>
                </c:pt>
                <c:pt idx="8988">
                  <c:v>#N/A</c:v>
                </c:pt>
                <c:pt idx="8989">
                  <c:v>#N/A</c:v>
                </c:pt>
                <c:pt idx="8990">
                  <c:v>#N/A</c:v>
                </c:pt>
                <c:pt idx="8991">
                  <c:v>#N/A</c:v>
                </c:pt>
                <c:pt idx="8992">
                  <c:v>#N/A</c:v>
                </c:pt>
                <c:pt idx="8993">
                  <c:v>#N/A</c:v>
                </c:pt>
                <c:pt idx="8994">
                  <c:v>#N/A</c:v>
                </c:pt>
                <c:pt idx="8995">
                  <c:v>#N/A</c:v>
                </c:pt>
                <c:pt idx="8996">
                  <c:v>#N/A</c:v>
                </c:pt>
                <c:pt idx="8997">
                  <c:v>#N/A</c:v>
                </c:pt>
                <c:pt idx="8998">
                  <c:v>#N/A</c:v>
                </c:pt>
                <c:pt idx="8999">
                  <c:v>#N/A</c:v>
                </c:pt>
                <c:pt idx="9000">
                  <c:v>#N/A</c:v>
                </c:pt>
                <c:pt idx="9001">
                  <c:v>#N/A</c:v>
                </c:pt>
                <c:pt idx="9002">
                  <c:v>#N/A</c:v>
                </c:pt>
                <c:pt idx="9003">
                  <c:v>#N/A</c:v>
                </c:pt>
                <c:pt idx="9004">
                  <c:v>#N/A</c:v>
                </c:pt>
                <c:pt idx="9005">
                  <c:v>#N/A</c:v>
                </c:pt>
                <c:pt idx="9006">
                  <c:v>#N/A</c:v>
                </c:pt>
                <c:pt idx="9007">
                  <c:v>#N/A</c:v>
                </c:pt>
                <c:pt idx="9008">
                  <c:v>#N/A</c:v>
                </c:pt>
                <c:pt idx="9009">
                  <c:v>#N/A</c:v>
                </c:pt>
                <c:pt idx="9010">
                  <c:v>#N/A</c:v>
                </c:pt>
                <c:pt idx="9011">
                  <c:v>#N/A</c:v>
                </c:pt>
                <c:pt idx="9012">
                  <c:v>#N/A</c:v>
                </c:pt>
                <c:pt idx="9013">
                  <c:v>#N/A</c:v>
                </c:pt>
                <c:pt idx="9014">
                  <c:v>#N/A</c:v>
                </c:pt>
                <c:pt idx="9015">
                  <c:v>#N/A</c:v>
                </c:pt>
                <c:pt idx="9016">
                  <c:v>#N/A</c:v>
                </c:pt>
                <c:pt idx="9017">
                  <c:v>#N/A</c:v>
                </c:pt>
                <c:pt idx="9018">
                  <c:v>#N/A</c:v>
                </c:pt>
                <c:pt idx="9019">
                  <c:v>#N/A</c:v>
                </c:pt>
                <c:pt idx="9020">
                  <c:v>#N/A</c:v>
                </c:pt>
                <c:pt idx="9021">
                  <c:v>#N/A</c:v>
                </c:pt>
                <c:pt idx="9022">
                  <c:v>#N/A</c:v>
                </c:pt>
                <c:pt idx="9023">
                  <c:v>#N/A</c:v>
                </c:pt>
                <c:pt idx="9024">
                  <c:v>#N/A</c:v>
                </c:pt>
                <c:pt idx="9025">
                  <c:v>#N/A</c:v>
                </c:pt>
                <c:pt idx="9026">
                  <c:v>#N/A</c:v>
                </c:pt>
                <c:pt idx="9027">
                  <c:v>#N/A</c:v>
                </c:pt>
                <c:pt idx="9028">
                  <c:v>#N/A</c:v>
                </c:pt>
                <c:pt idx="9029">
                  <c:v>#N/A</c:v>
                </c:pt>
                <c:pt idx="9030">
                  <c:v>#N/A</c:v>
                </c:pt>
                <c:pt idx="9031">
                  <c:v>#N/A</c:v>
                </c:pt>
                <c:pt idx="9032">
                  <c:v>#N/A</c:v>
                </c:pt>
                <c:pt idx="9033">
                  <c:v>#N/A</c:v>
                </c:pt>
                <c:pt idx="9034">
                  <c:v>#N/A</c:v>
                </c:pt>
                <c:pt idx="9035">
                  <c:v>#N/A</c:v>
                </c:pt>
                <c:pt idx="9036">
                  <c:v>#N/A</c:v>
                </c:pt>
                <c:pt idx="9037">
                  <c:v>#N/A</c:v>
                </c:pt>
                <c:pt idx="9038">
                  <c:v>#N/A</c:v>
                </c:pt>
                <c:pt idx="9039">
                  <c:v>#N/A</c:v>
                </c:pt>
                <c:pt idx="9040">
                  <c:v>#N/A</c:v>
                </c:pt>
                <c:pt idx="9041">
                  <c:v>#N/A</c:v>
                </c:pt>
                <c:pt idx="9042">
                  <c:v>#N/A</c:v>
                </c:pt>
                <c:pt idx="9043">
                  <c:v>#N/A</c:v>
                </c:pt>
                <c:pt idx="9044">
                  <c:v>#N/A</c:v>
                </c:pt>
                <c:pt idx="9045">
                  <c:v>#N/A</c:v>
                </c:pt>
                <c:pt idx="9046">
                  <c:v>#N/A</c:v>
                </c:pt>
                <c:pt idx="9047">
                  <c:v>#N/A</c:v>
                </c:pt>
                <c:pt idx="9048">
                  <c:v>#N/A</c:v>
                </c:pt>
                <c:pt idx="9049">
                  <c:v>#N/A</c:v>
                </c:pt>
                <c:pt idx="9050">
                  <c:v>#N/A</c:v>
                </c:pt>
                <c:pt idx="9051">
                  <c:v>#N/A</c:v>
                </c:pt>
                <c:pt idx="9052">
                  <c:v>#N/A</c:v>
                </c:pt>
                <c:pt idx="9053">
                  <c:v>#N/A</c:v>
                </c:pt>
                <c:pt idx="9054">
                  <c:v>#N/A</c:v>
                </c:pt>
                <c:pt idx="9055">
                  <c:v>#N/A</c:v>
                </c:pt>
                <c:pt idx="9056">
                  <c:v>#N/A</c:v>
                </c:pt>
                <c:pt idx="9057">
                  <c:v>#N/A</c:v>
                </c:pt>
                <c:pt idx="9058">
                  <c:v>#N/A</c:v>
                </c:pt>
                <c:pt idx="9059">
                  <c:v>#N/A</c:v>
                </c:pt>
                <c:pt idx="9060">
                  <c:v>#N/A</c:v>
                </c:pt>
                <c:pt idx="9061">
                  <c:v>#N/A</c:v>
                </c:pt>
                <c:pt idx="9062">
                  <c:v>#N/A</c:v>
                </c:pt>
                <c:pt idx="9063">
                  <c:v>#N/A</c:v>
                </c:pt>
                <c:pt idx="9064">
                  <c:v>#N/A</c:v>
                </c:pt>
                <c:pt idx="9065">
                  <c:v>#N/A</c:v>
                </c:pt>
                <c:pt idx="9066">
                  <c:v>#N/A</c:v>
                </c:pt>
                <c:pt idx="9067">
                  <c:v>#N/A</c:v>
                </c:pt>
                <c:pt idx="9068">
                  <c:v>#N/A</c:v>
                </c:pt>
                <c:pt idx="9069">
                  <c:v>#N/A</c:v>
                </c:pt>
                <c:pt idx="9070">
                  <c:v>#N/A</c:v>
                </c:pt>
                <c:pt idx="9071">
                  <c:v>#N/A</c:v>
                </c:pt>
                <c:pt idx="9072">
                  <c:v>#N/A</c:v>
                </c:pt>
                <c:pt idx="9073">
                  <c:v>#N/A</c:v>
                </c:pt>
                <c:pt idx="9074">
                  <c:v>#N/A</c:v>
                </c:pt>
                <c:pt idx="9075">
                  <c:v>#N/A</c:v>
                </c:pt>
                <c:pt idx="9076">
                  <c:v>#N/A</c:v>
                </c:pt>
                <c:pt idx="9077">
                  <c:v>#N/A</c:v>
                </c:pt>
                <c:pt idx="9078">
                  <c:v>#N/A</c:v>
                </c:pt>
                <c:pt idx="9079">
                  <c:v>#N/A</c:v>
                </c:pt>
                <c:pt idx="9080">
                  <c:v>#N/A</c:v>
                </c:pt>
                <c:pt idx="9081">
                  <c:v>#N/A</c:v>
                </c:pt>
                <c:pt idx="9082">
                  <c:v>#N/A</c:v>
                </c:pt>
                <c:pt idx="9083">
                  <c:v>#N/A</c:v>
                </c:pt>
                <c:pt idx="9084">
                  <c:v>#N/A</c:v>
                </c:pt>
                <c:pt idx="9085">
                  <c:v>#N/A</c:v>
                </c:pt>
                <c:pt idx="9086">
                  <c:v>#N/A</c:v>
                </c:pt>
                <c:pt idx="9087">
                  <c:v>#N/A</c:v>
                </c:pt>
                <c:pt idx="9088">
                  <c:v>#N/A</c:v>
                </c:pt>
                <c:pt idx="9089">
                  <c:v>#N/A</c:v>
                </c:pt>
                <c:pt idx="9090">
                  <c:v>#N/A</c:v>
                </c:pt>
                <c:pt idx="9091">
                  <c:v>#N/A</c:v>
                </c:pt>
                <c:pt idx="9092">
                  <c:v>#N/A</c:v>
                </c:pt>
                <c:pt idx="9093">
                  <c:v>#N/A</c:v>
                </c:pt>
                <c:pt idx="9094">
                  <c:v>#N/A</c:v>
                </c:pt>
                <c:pt idx="9095">
                  <c:v>#N/A</c:v>
                </c:pt>
                <c:pt idx="9096">
                  <c:v>#N/A</c:v>
                </c:pt>
                <c:pt idx="9097">
                  <c:v>#N/A</c:v>
                </c:pt>
                <c:pt idx="9098">
                  <c:v>#N/A</c:v>
                </c:pt>
                <c:pt idx="9099">
                  <c:v>#N/A</c:v>
                </c:pt>
                <c:pt idx="9100">
                  <c:v>#N/A</c:v>
                </c:pt>
                <c:pt idx="9101">
                  <c:v>#N/A</c:v>
                </c:pt>
                <c:pt idx="9102">
                  <c:v>#N/A</c:v>
                </c:pt>
                <c:pt idx="9103">
                  <c:v>#N/A</c:v>
                </c:pt>
                <c:pt idx="9104">
                  <c:v>#N/A</c:v>
                </c:pt>
                <c:pt idx="9105">
                  <c:v>#N/A</c:v>
                </c:pt>
                <c:pt idx="9106">
                  <c:v>#N/A</c:v>
                </c:pt>
                <c:pt idx="9107">
                  <c:v>#N/A</c:v>
                </c:pt>
                <c:pt idx="9108">
                  <c:v>#N/A</c:v>
                </c:pt>
                <c:pt idx="9109">
                  <c:v>#N/A</c:v>
                </c:pt>
                <c:pt idx="9110">
                  <c:v>#N/A</c:v>
                </c:pt>
                <c:pt idx="9111">
                  <c:v>#N/A</c:v>
                </c:pt>
                <c:pt idx="9112">
                  <c:v>#N/A</c:v>
                </c:pt>
                <c:pt idx="9113">
                  <c:v>#N/A</c:v>
                </c:pt>
                <c:pt idx="9114">
                  <c:v>#N/A</c:v>
                </c:pt>
                <c:pt idx="9115">
                  <c:v>#N/A</c:v>
                </c:pt>
                <c:pt idx="9116">
                  <c:v>#N/A</c:v>
                </c:pt>
                <c:pt idx="9117">
                  <c:v>#N/A</c:v>
                </c:pt>
                <c:pt idx="9118">
                  <c:v>#N/A</c:v>
                </c:pt>
                <c:pt idx="9119">
                  <c:v>#N/A</c:v>
                </c:pt>
                <c:pt idx="9120">
                  <c:v>#N/A</c:v>
                </c:pt>
                <c:pt idx="9121">
                  <c:v>#N/A</c:v>
                </c:pt>
                <c:pt idx="9122">
                  <c:v>#N/A</c:v>
                </c:pt>
                <c:pt idx="9123">
                  <c:v>#N/A</c:v>
                </c:pt>
                <c:pt idx="9124">
                  <c:v>#N/A</c:v>
                </c:pt>
                <c:pt idx="9125">
                  <c:v>#N/A</c:v>
                </c:pt>
                <c:pt idx="9126">
                  <c:v>#N/A</c:v>
                </c:pt>
                <c:pt idx="9127">
                  <c:v>#N/A</c:v>
                </c:pt>
                <c:pt idx="9128">
                  <c:v>#N/A</c:v>
                </c:pt>
                <c:pt idx="9129">
                  <c:v>#N/A</c:v>
                </c:pt>
                <c:pt idx="9130">
                  <c:v>#N/A</c:v>
                </c:pt>
                <c:pt idx="9131">
                  <c:v>#N/A</c:v>
                </c:pt>
                <c:pt idx="9132">
                  <c:v>#N/A</c:v>
                </c:pt>
                <c:pt idx="9133">
                  <c:v>#N/A</c:v>
                </c:pt>
                <c:pt idx="9134">
                  <c:v>#N/A</c:v>
                </c:pt>
                <c:pt idx="9135">
                  <c:v>#N/A</c:v>
                </c:pt>
                <c:pt idx="9136">
                  <c:v>#N/A</c:v>
                </c:pt>
                <c:pt idx="9137">
                  <c:v>#N/A</c:v>
                </c:pt>
                <c:pt idx="9138">
                  <c:v>#N/A</c:v>
                </c:pt>
                <c:pt idx="9139">
                  <c:v>#N/A</c:v>
                </c:pt>
                <c:pt idx="9140">
                  <c:v>#N/A</c:v>
                </c:pt>
                <c:pt idx="9141">
                  <c:v>#N/A</c:v>
                </c:pt>
                <c:pt idx="9142">
                  <c:v>#N/A</c:v>
                </c:pt>
                <c:pt idx="9143">
                  <c:v>#N/A</c:v>
                </c:pt>
                <c:pt idx="9144">
                  <c:v>#N/A</c:v>
                </c:pt>
                <c:pt idx="9145">
                  <c:v>#N/A</c:v>
                </c:pt>
                <c:pt idx="9146">
                  <c:v>#N/A</c:v>
                </c:pt>
                <c:pt idx="9147">
                  <c:v>#N/A</c:v>
                </c:pt>
                <c:pt idx="9148">
                  <c:v>#N/A</c:v>
                </c:pt>
                <c:pt idx="9149">
                  <c:v>#N/A</c:v>
                </c:pt>
                <c:pt idx="9150">
                  <c:v>#N/A</c:v>
                </c:pt>
                <c:pt idx="9151">
                  <c:v>#N/A</c:v>
                </c:pt>
                <c:pt idx="9152">
                  <c:v>#N/A</c:v>
                </c:pt>
                <c:pt idx="9153">
                  <c:v>#N/A</c:v>
                </c:pt>
                <c:pt idx="9154">
                  <c:v>#N/A</c:v>
                </c:pt>
                <c:pt idx="9155">
                  <c:v>#N/A</c:v>
                </c:pt>
                <c:pt idx="9156">
                  <c:v>#N/A</c:v>
                </c:pt>
                <c:pt idx="9157">
                  <c:v>#N/A</c:v>
                </c:pt>
                <c:pt idx="9158">
                  <c:v>#N/A</c:v>
                </c:pt>
                <c:pt idx="9159">
                  <c:v>#N/A</c:v>
                </c:pt>
                <c:pt idx="9160">
                  <c:v>#N/A</c:v>
                </c:pt>
                <c:pt idx="9161">
                  <c:v>#N/A</c:v>
                </c:pt>
                <c:pt idx="9162">
                  <c:v>#N/A</c:v>
                </c:pt>
                <c:pt idx="9163">
                  <c:v>#N/A</c:v>
                </c:pt>
                <c:pt idx="9164">
                  <c:v>#N/A</c:v>
                </c:pt>
                <c:pt idx="9165">
                  <c:v>#N/A</c:v>
                </c:pt>
                <c:pt idx="9166">
                  <c:v>#N/A</c:v>
                </c:pt>
                <c:pt idx="9167">
                  <c:v>#N/A</c:v>
                </c:pt>
                <c:pt idx="9168">
                  <c:v>#N/A</c:v>
                </c:pt>
                <c:pt idx="9169">
                  <c:v>#N/A</c:v>
                </c:pt>
                <c:pt idx="9170">
                  <c:v>#N/A</c:v>
                </c:pt>
                <c:pt idx="9171">
                  <c:v>#N/A</c:v>
                </c:pt>
                <c:pt idx="9172">
                  <c:v>#N/A</c:v>
                </c:pt>
                <c:pt idx="9173">
                  <c:v>#N/A</c:v>
                </c:pt>
                <c:pt idx="9174">
                  <c:v>#N/A</c:v>
                </c:pt>
                <c:pt idx="9175">
                  <c:v>#N/A</c:v>
                </c:pt>
                <c:pt idx="9176">
                  <c:v>#N/A</c:v>
                </c:pt>
                <c:pt idx="9177">
                  <c:v>#N/A</c:v>
                </c:pt>
                <c:pt idx="9178">
                  <c:v>#N/A</c:v>
                </c:pt>
                <c:pt idx="9179">
                  <c:v>#N/A</c:v>
                </c:pt>
                <c:pt idx="9180">
                  <c:v>#N/A</c:v>
                </c:pt>
                <c:pt idx="9181">
                  <c:v>#N/A</c:v>
                </c:pt>
                <c:pt idx="9182">
                  <c:v>#N/A</c:v>
                </c:pt>
                <c:pt idx="9183">
                  <c:v>#N/A</c:v>
                </c:pt>
                <c:pt idx="9184">
                  <c:v>#N/A</c:v>
                </c:pt>
                <c:pt idx="9185">
                  <c:v>#N/A</c:v>
                </c:pt>
                <c:pt idx="9186">
                  <c:v>#N/A</c:v>
                </c:pt>
                <c:pt idx="9187">
                  <c:v>#N/A</c:v>
                </c:pt>
                <c:pt idx="9188">
                  <c:v>#N/A</c:v>
                </c:pt>
                <c:pt idx="9189">
                  <c:v>#N/A</c:v>
                </c:pt>
                <c:pt idx="9190">
                  <c:v>#N/A</c:v>
                </c:pt>
                <c:pt idx="9191">
                  <c:v>#N/A</c:v>
                </c:pt>
                <c:pt idx="9192">
                  <c:v>#N/A</c:v>
                </c:pt>
                <c:pt idx="9193">
                  <c:v>#N/A</c:v>
                </c:pt>
                <c:pt idx="9194">
                  <c:v>#N/A</c:v>
                </c:pt>
                <c:pt idx="9195">
                  <c:v>#N/A</c:v>
                </c:pt>
                <c:pt idx="9196">
                  <c:v>#N/A</c:v>
                </c:pt>
                <c:pt idx="9197">
                  <c:v>#N/A</c:v>
                </c:pt>
                <c:pt idx="9198">
                  <c:v>#N/A</c:v>
                </c:pt>
                <c:pt idx="9199">
                  <c:v>#N/A</c:v>
                </c:pt>
                <c:pt idx="9200">
                  <c:v>#N/A</c:v>
                </c:pt>
                <c:pt idx="9201">
                  <c:v>#N/A</c:v>
                </c:pt>
                <c:pt idx="9202">
                  <c:v>#N/A</c:v>
                </c:pt>
                <c:pt idx="9203">
                  <c:v>#N/A</c:v>
                </c:pt>
                <c:pt idx="9204">
                  <c:v>#N/A</c:v>
                </c:pt>
                <c:pt idx="9205">
                  <c:v>#N/A</c:v>
                </c:pt>
                <c:pt idx="9206">
                  <c:v>#N/A</c:v>
                </c:pt>
                <c:pt idx="9207">
                  <c:v>#N/A</c:v>
                </c:pt>
                <c:pt idx="9208">
                  <c:v>#N/A</c:v>
                </c:pt>
                <c:pt idx="9209">
                  <c:v>#N/A</c:v>
                </c:pt>
                <c:pt idx="9210">
                  <c:v>#N/A</c:v>
                </c:pt>
                <c:pt idx="9211">
                  <c:v>#N/A</c:v>
                </c:pt>
                <c:pt idx="9212">
                  <c:v>#N/A</c:v>
                </c:pt>
                <c:pt idx="9213">
                  <c:v>#N/A</c:v>
                </c:pt>
                <c:pt idx="9214">
                  <c:v>#N/A</c:v>
                </c:pt>
                <c:pt idx="9215">
                  <c:v>#N/A</c:v>
                </c:pt>
                <c:pt idx="9216">
                  <c:v>#N/A</c:v>
                </c:pt>
                <c:pt idx="9217">
                  <c:v>#N/A</c:v>
                </c:pt>
                <c:pt idx="9218">
                  <c:v>#N/A</c:v>
                </c:pt>
                <c:pt idx="9219">
                  <c:v>#N/A</c:v>
                </c:pt>
                <c:pt idx="9220">
                  <c:v>#N/A</c:v>
                </c:pt>
                <c:pt idx="9221">
                  <c:v>#N/A</c:v>
                </c:pt>
                <c:pt idx="9222">
                  <c:v>#N/A</c:v>
                </c:pt>
                <c:pt idx="9223">
                  <c:v>#N/A</c:v>
                </c:pt>
                <c:pt idx="9224">
                  <c:v>#N/A</c:v>
                </c:pt>
                <c:pt idx="9225">
                  <c:v>#N/A</c:v>
                </c:pt>
                <c:pt idx="9226">
                  <c:v>#N/A</c:v>
                </c:pt>
                <c:pt idx="9227">
                  <c:v>#N/A</c:v>
                </c:pt>
                <c:pt idx="9228">
                  <c:v>#N/A</c:v>
                </c:pt>
                <c:pt idx="9229">
                  <c:v>#N/A</c:v>
                </c:pt>
                <c:pt idx="9230">
                  <c:v>#N/A</c:v>
                </c:pt>
                <c:pt idx="9231">
                  <c:v>#N/A</c:v>
                </c:pt>
                <c:pt idx="9232">
                  <c:v>#N/A</c:v>
                </c:pt>
                <c:pt idx="9233">
                  <c:v>#N/A</c:v>
                </c:pt>
                <c:pt idx="9234">
                  <c:v>#N/A</c:v>
                </c:pt>
                <c:pt idx="9235">
                  <c:v>#N/A</c:v>
                </c:pt>
                <c:pt idx="9236">
                  <c:v>#N/A</c:v>
                </c:pt>
                <c:pt idx="9237">
                  <c:v>#N/A</c:v>
                </c:pt>
                <c:pt idx="9238">
                  <c:v>#N/A</c:v>
                </c:pt>
                <c:pt idx="9239">
                  <c:v>#N/A</c:v>
                </c:pt>
                <c:pt idx="9240">
                  <c:v>#N/A</c:v>
                </c:pt>
                <c:pt idx="9241">
                  <c:v>#N/A</c:v>
                </c:pt>
                <c:pt idx="9242">
                  <c:v>#N/A</c:v>
                </c:pt>
                <c:pt idx="9243">
                  <c:v>#N/A</c:v>
                </c:pt>
                <c:pt idx="9244">
                  <c:v>#N/A</c:v>
                </c:pt>
                <c:pt idx="9245">
                  <c:v>#N/A</c:v>
                </c:pt>
                <c:pt idx="9246">
                  <c:v>#N/A</c:v>
                </c:pt>
                <c:pt idx="9247">
                  <c:v>#N/A</c:v>
                </c:pt>
                <c:pt idx="9248">
                  <c:v>#N/A</c:v>
                </c:pt>
                <c:pt idx="9249">
                  <c:v>#N/A</c:v>
                </c:pt>
                <c:pt idx="9250">
                  <c:v>#N/A</c:v>
                </c:pt>
                <c:pt idx="9251">
                  <c:v>#N/A</c:v>
                </c:pt>
                <c:pt idx="9252">
                  <c:v>#N/A</c:v>
                </c:pt>
                <c:pt idx="9253">
                  <c:v>#N/A</c:v>
                </c:pt>
                <c:pt idx="9254">
                  <c:v>#N/A</c:v>
                </c:pt>
                <c:pt idx="9255">
                  <c:v>#N/A</c:v>
                </c:pt>
                <c:pt idx="9256">
                  <c:v>#N/A</c:v>
                </c:pt>
                <c:pt idx="9257">
                  <c:v>#N/A</c:v>
                </c:pt>
                <c:pt idx="9258">
                  <c:v>#N/A</c:v>
                </c:pt>
                <c:pt idx="9259">
                  <c:v>#N/A</c:v>
                </c:pt>
                <c:pt idx="9260">
                  <c:v>#N/A</c:v>
                </c:pt>
                <c:pt idx="9261">
                  <c:v>#N/A</c:v>
                </c:pt>
                <c:pt idx="9262">
                  <c:v>#N/A</c:v>
                </c:pt>
                <c:pt idx="9263">
                  <c:v>#N/A</c:v>
                </c:pt>
                <c:pt idx="9264">
                  <c:v>#N/A</c:v>
                </c:pt>
                <c:pt idx="9265">
                  <c:v>#N/A</c:v>
                </c:pt>
                <c:pt idx="9266">
                  <c:v>#N/A</c:v>
                </c:pt>
                <c:pt idx="9267">
                  <c:v>#N/A</c:v>
                </c:pt>
                <c:pt idx="9268">
                  <c:v>#N/A</c:v>
                </c:pt>
                <c:pt idx="9269">
                  <c:v>#N/A</c:v>
                </c:pt>
                <c:pt idx="9270">
                  <c:v>#N/A</c:v>
                </c:pt>
                <c:pt idx="9271">
                  <c:v>#N/A</c:v>
                </c:pt>
                <c:pt idx="9272">
                  <c:v>#N/A</c:v>
                </c:pt>
                <c:pt idx="9273">
                  <c:v>#N/A</c:v>
                </c:pt>
                <c:pt idx="9274">
                  <c:v>#N/A</c:v>
                </c:pt>
                <c:pt idx="9275">
                  <c:v>#N/A</c:v>
                </c:pt>
                <c:pt idx="9276">
                  <c:v>#N/A</c:v>
                </c:pt>
                <c:pt idx="9277">
                  <c:v>#N/A</c:v>
                </c:pt>
                <c:pt idx="9278">
                  <c:v>#N/A</c:v>
                </c:pt>
                <c:pt idx="9279">
                  <c:v>#N/A</c:v>
                </c:pt>
                <c:pt idx="9280">
                  <c:v>#N/A</c:v>
                </c:pt>
                <c:pt idx="9281">
                  <c:v>#N/A</c:v>
                </c:pt>
                <c:pt idx="9282">
                  <c:v>#N/A</c:v>
                </c:pt>
                <c:pt idx="9283">
                  <c:v>#N/A</c:v>
                </c:pt>
                <c:pt idx="9284">
                  <c:v>#N/A</c:v>
                </c:pt>
                <c:pt idx="9285">
                  <c:v>#N/A</c:v>
                </c:pt>
                <c:pt idx="9286">
                  <c:v>#N/A</c:v>
                </c:pt>
                <c:pt idx="9287">
                  <c:v>#N/A</c:v>
                </c:pt>
                <c:pt idx="9288">
                  <c:v>#N/A</c:v>
                </c:pt>
                <c:pt idx="9289">
                  <c:v>#N/A</c:v>
                </c:pt>
                <c:pt idx="9290">
                  <c:v>#N/A</c:v>
                </c:pt>
                <c:pt idx="9291">
                  <c:v>#N/A</c:v>
                </c:pt>
                <c:pt idx="9292">
                  <c:v>#N/A</c:v>
                </c:pt>
                <c:pt idx="9293">
                  <c:v>#N/A</c:v>
                </c:pt>
                <c:pt idx="9294">
                  <c:v>#N/A</c:v>
                </c:pt>
                <c:pt idx="9295">
                  <c:v>#N/A</c:v>
                </c:pt>
                <c:pt idx="9296">
                  <c:v>#N/A</c:v>
                </c:pt>
                <c:pt idx="9297">
                  <c:v>#N/A</c:v>
                </c:pt>
                <c:pt idx="9298">
                  <c:v>#N/A</c:v>
                </c:pt>
                <c:pt idx="9299">
                  <c:v>#N/A</c:v>
                </c:pt>
                <c:pt idx="9300">
                  <c:v>#N/A</c:v>
                </c:pt>
                <c:pt idx="9301">
                  <c:v>#N/A</c:v>
                </c:pt>
                <c:pt idx="9302">
                  <c:v>#N/A</c:v>
                </c:pt>
                <c:pt idx="9303">
                  <c:v>#N/A</c:v>
                </c:pt>
                <c:pt idx="9304">
                  <c:v>#N/A</c:v>
                </c:pt>
                <c:pt idx="9305">
                  <c:v>#N/A</c:v>
                </c:pt>
                <c:pt idx="9306">
                  <c:v>#N/A</c:v>
                </c:pt>
                <c:pt idx="9307">
                  <c:v>#N/A</c:v>
                </c:pt>
                <c:pt idx="9308">
                  <c:v>#N/A</c:v>
                </c:pt>
                <c:pt idx="9309">
                  <c:v>#N/A</c:v>
                </c:pt>
                <c:pt idx="9310">
                  <c:v>#N/A</c:v>
                </c:pt>
                <c:pt idx="9311">
                  <c:v>#N/A</c:v>
                </c:pt>
                <c:pt idx="9312">
                  <c:v>#N/A</c:v>
                </c:pt>
                <c:pt idx="9313">
                  <c:v>#N/A</c:v>
                </c:pt>
                <c:pt idx="9314">
                  <c:v>#N/A</c:v>
                </c:pt>
                <c:pt idx="9315">
                  <c:v>#N/A</c:v>
                </c:pt>
                <c:pt idx="9316">
                  <c:v>#N/A</c:v>
                </c:pt>
                <c:pt idx="9317">
                  <c:v>#N/A</c:v>
                </c:pt>
                <c:pt idx="9318">
                  <c:v>#N/A</c:v>
                </c:pt>
                <c:pt idx="9319">
                  <c:v>#N/A</c:v>
                </c:pt>
                <c:pt idx="9320">
                  <c:v>#N/A</c:v>
                </c:pt>
                <c:pt idx="9321">
                  <c:v>#N/A</c:v>
                </c:pt>
                <c:pt idx="9322">
                  <c:v>#N/A</c:v>
                </c:pt>
                <c:pt idx="9323">
                  <c:v>#N/A</c:v>
                </c:pt>
                <c:pt idx="9324">
                  <c:v>#N/A</c:v>
                </c:pt>
                <c:pt idx="9325">
                  <c:v>#N/A</c:v>
                </c:pt>
                <c:pt idx="9326">
                  <c:v>#N/A</c:v>
                </c:pt>
                <c:pt idx="9327">
                  <c:v>#N/A</c:v>
                </c:pt>
                <c:pt idx="9328">
                  <c:v>#N/A</c:v>
                </c:pt>
                <c:pt idx="9329">
                  <c:v>#N/A</c:v>
                </c:pt>
                <c:pt idx="9330">
                  <c:v>#N/A</c:v>
                </c:pt>
                <c:pt idx="9331">
                  <c:v>#N/A</c:v>
                </c:pt>
                <c:pt idx="9332">
                  <c:v>#N/A</c:v>
                </c:pt>
                <c:pt idx="9333">
                  <c:v>#N/A</c:v>
                </c:pt>
                <c:pt idx="9334">
                  <c:v>#N/A</c:v>
                </c:pt>
                <c:pt idx="9335">
                  <c:v>#N/A</c:v>
                </c:pt>
                <c:pt idx="9336">
                  <c:v>#N/A</c:v>
                </c:pt>
                <c:pt idx="9337">
                  <c:v>#N/A</c:v>
                </c:pt>
                <c:pt idx="9338">
                  <c:v>#N/A</c:v>
                </c:pt>
                <c:pt idx="9339">
                  <c:v>#N/A</c:v>
                </c:pt>
                <c:pt idx="9340">
                  <c:v>#N/A</c:v>
                </c:pt>
                <c:pt idx="9341">
                  <c:v>#N/A</c:v>
                </c:pt>
                <c:pt idx="9342">
                  <c:v>#N/A</c:v>
                </c:pt>
                <c:pt idx="9343">
                  <c:v>#N/A</c:v>
                </c:pt>
                <c:pt idx="9344">
                  <c:v>#N/A</c:v>
                </c:pt>
                <c:pt idx="9345">
                  <c:v>#N/A</c:v>
                </c:pt>
                <c:pt idx="9346">
                  <c:v>#N/A</c:v>
                </c:pt>
                <c:pt idx="9347">
                  <c:v>#N/A</c:v>
                </c:pt>
                <c:pt idx="9348">
                  <c:v>#N/A</c:v>
                </c:pt>
                <c:pt idx="9349">
                  <c:v>#N/A</c:v>
                </c:pt>
                <c:pt idx="9350">
                  <c:v>#N/A</c:v>
                </c:pt>
                <c:pt idx="9351">
                  <c:v>#N/A</c:v>
                </c:pt>
                <c:pt idx="9352">
                  <c:v>#N/A</c:v>
                </c:pt>
                <c:pt idx="9353">
                  <c:v>#N/A</c:v>
                </c:pt>
                <c:pt idx="9354">
                  <c:v>#N/A</c:v>
                </c:pt>
                <c:pt idx="9355">
                  <c:v>#N/A</c:v>
                </c:pt>
                <c:pt idx="9356">
                  <c:v>#N/A</c:v>
                </c:pt>
                <c:pt idx="9357">
                  <c:v>#N/A</c:v>
                </c:pt>
                <c:pt idx="9358">
                  <c:v>#N/A</c:v>
                </c:pt>
                <c:pt idx="9359">
                  <c:v>#N/A</c:v>
                </c:pt>
                <c:pt idx="9360">
                  <c:v>#N/A</c:v>
                </c:pt>
                <c:pt idx="9361">
                  <c:v>#N/A</c:v>
                </c:pt>
                <c:pt idx="9362">
                  <c:v>#N/A</c:v>
                </c:pt>
                <c:pt idx="9363">
                  <c:v>#N/A</c:v>
                </c:pt>
                <c:pt idx="9364">
                  <c:v>#N/A</c:v>
                </c:pt>
                <c:pt idx="9365">
                  <c:v>#N/A</c:v>
                </c:pt>
                <c:pt idx="9366">
                  <c:v>#N/A</c:v>
                </c:pt>
                <c:pt idx="9367">
                  <c:v>#N/A</c:v>
                </c:pt>
                <c:pt idx="9368">
                  <c:v>#N/A</c:v>
                </c:pt>
                <c:pt idx="9369">
                  <c:v>#N/A</c:v>
                </c:pt>
                <c:pt idx="9370">
                  <c:v>#N/A</c:v>
                </c:pt>
                <c:pt idx="9371">
                  <c:v>#N/A</c:v>
                </c:pt>
                <c:pt idx="9372">
                  <c:v>#N/A</c:v>
                </c:pt>
                <c:pt idx="9373">
                  <c:v>#N/A</c:v>
                </c:pt>
                <c:pt idx="9374">
                  <c:v>#N/A</c:v>
                </c:pt>
                <c:pt idx="9375">
                  <c:v>#N/A</c:v>
                </c:pt>
                <c:pt idx="9376">
                  <c:v>#N/A</c:v>
                </c:pt>
                <c:pt idx="9377">
                  <c:v>#N/A</c:v>
                </c:pt>
                <c:pt idx="9378">
                  <c:v>#N/A</c:v>
                </c:pt>
                <c:pt idx="9379">
                  <c:v>#N/A</c:v>
                </c:pt>
                <c:pt idx="9380">
                  <c:v>#N/A</c:v>
                </c:pt>
                <c:pt idx="9381">
                  <c:v>#N/A</c:v>
                </c:pt>
                <c:pt idx="9382">
                  <c:v>#N/A</c:v>
                </c:pt>
                <c:pt idx="9383">
                  <c:v>#N/A</c:v>
                </c:pt>
                <c:pt idx="9384">
                  <c:v>#N/A</c:v>
                </c:pt>
                <c:pt idx="9385">
                  <c:v>#N/A</c:v>
                </c:pt>
                <c:pt idx="9386">
                  <c:v>#N/A</c:v>
                </c:pt>
                <c:pt idx="9387">
                  <c:v>#N/A</c:v>
                </c:pt>
                <c:pt idx="9388">
                  <c:v>#N/A</c:v>
                </c:pt>
                <c:pt idx="9389">
                  <c:v>#N/A</c:v>
                </c:pt>
                <c:pt idx="9390">
                  <c:v>#N/A</c:v>
                </c:pt>
                <c:pt idx="9391">
                  <c:v>#N/A</c:v>
                </c:pt>
                <c:pt idx="9392">
                  <c:v>#N/A</c:v>
                </c:pt>
                <c:pt idx="9393">
                  <c:v>#N/A</c:v>
                </c:pt>
                <c:pt idx="9394">
                  <c:v>#N/A</c:v>
                </c:pt>
                <c:pt idx="9395">
                  <c:v>#N/A</c:v>
                </c:pt>
                <c:pt idx="9396">
                  <c:v>#N/A</c:v>
                </c:pt>
                <c:pt idx="9397">
                  <c:v>#N/A</c:v>
                </c:pt>
                <c:pt idx="9398">
                  <c:v>#N/A</c:v>
                </c:pt>
                <c:pt idx="9399">
                  <c:v>#N/A</c:v>
                </c:pt>
                <c:pt idx="9400">
                  <c:v>#N/A</c:v>
                </c:pt>
                <c:pt idx="9401">
                  <c:v>#N/A</c:v>
                </c:pt>
                <c:pt idx="9402">
                  <c:v>#N/A</c:v>
                </c:pt>
                <c:pt idx="9403">
                  <c:v>#N/A</c:v>
                </c:pt>
                <c:pt idx="9404">
                  <c:v>#N/A</c:v>
                </c:pt>
                <c:pt idx="9405">
                  <c:v>#N/A</c:v>
                </c:pt>
                <c:pt idx="9406">
                  <c:v>#N/A</c:v>
                </c:pt>
                <c:pt idx="9407">
                  <c:v>#N/A</c:v>
                </c:pt>
                <c:pt idx="9408">
                  <c:v>#N/A</c:v>
                </c:pt>
                <c:pt idx="9409">
                  <c:v>#N/A</c:v>
                </c:pt>
                <c:pt idx="9410">
                  <c:v>#N/A</c:v>
                </c:pt>
                <c:pt idx="9411">
                  <c:v>#N/A</c:v>
                </c:pt>
                <c:pt idx="9412">
                  <c:v>3.5095890410958903</c:v>
                </c:pt>
                <c:pt idx="9413">
                  <c:v>#N/A</c:v>
                </c:pt>
                <c:pt idx="9414">
                  <c:v>#N/A</c:v>
                </c:pt>
                <c:pt idx="9415">
                  <c:v>#N/A</c:v>
                </c:pt>
                <c:pt idx="9416">
                  <c:v>#N/A</c:v>
                </c:pt>
                <c:pt idx="9417">
                  <c:v>#N/A</c:v>
                </c:pt>
                <c:pt idx="9418">
                  <c:v>#N/A</c:v>
                </c:pt>
                <c:pt idx="9419">
                  <c:v>#N/A</c:v>
                </c:pt>
                <c:pt idx="9420">
                  <c:v>#N/A</c:v>
                </c:pt>
                <c:pt idx="9421">
                  <c:v>#N/A</c:v>
                </c:pt>
                <c:pt idx="9422">
                  <c:v>#N/A</c:v>
                </c:pt>
                <c:pt idx="9423">
                  <c:v>#N/A</c:v>
                </c:pt>
                <c:pt idx="9424">
                  <c:v>#N/A</c:v>
                </c:pt>
                <c:pt idx="9425">
                  <c:v>#N/A</c:v>
                </c:pt>
                <c:pt idx="9426">
                  <c:v>#N/A</c:v>
                </c:pt>
                <c:pt idx="9427">
                  <c:v>#N/A</c:v>
                </c:pt>
                <c:pt idx="9428">
                  <c:v>#N/A</c:v>
                </c:pt>
                <c:pt idx="9429">
                  <c:v>#N/A</c:v>
                </c:pt>
                <c:pt idx="9430">
                  <c:v>#N/A</c:v>
                </c:pt>
                <c:pt idx="9431">
                  <c:v>#N/A</c:v>
                </c:pt>
                <c:pt idx="9432">
                  <c:v>#N/A</c:v>
                </c:pt>
                <c:pt idx="9433">
                  <c:v>#N/A</c:v>
                </c:pt>
                <c:pt idx="9434">
                  <c:v>#N/A</c:v>
                </c:pt>
                <c:pt idx="9435">
                  <c:v>#N/A</c:v>
                </c:pt>
                <c:pt idx="9436">
                  <c:v>#N/A</c:v>
                </c:pt>
                <c:pt idx="9437">
                  <c:v>#N/A</c:v>
                </c:pt>
                <c:pt idx="9438">
                  <c:v>#N/A</c:v>
                </c:pt>
                <c:pt idx="9439">
                  <c:v>#N/A</c:v>
                </c:pt>
                <c:pt idx="9440">
                  <c:v>#N/A</c:v>
                </c:pt>
                <c:pt idx="9441">
                  <c:v>#N/A</c:v>
                </c:pt>
                <c:pt idx="9442">
                  <c:v>#N/A</c:v>
                </c:pt>
                <c:pt idx="9443">
                  <c:v>#N/A</c:v>
                </c:pt>
                <c:pt idx="9444">
                  <c:v>#N/A</c:v>
                </c:pt>
                <c:pt idx="9445">
                  <c:v>#N/A</c:v>
                </c:pt>
                <c:pt idx="9446">
                  <c:v>#N/A</c:v>
                </c:pt>
                <c:pt idx="9447">
                  <c:v>#N/A</c:v>
                </c:pt>
                <c:pt idx="9448">
                  <c:v>3.5095890410958903</c:v>
                </c:pt>
                <c:pt idx="9449">
                  <c:v>#N/A</c:v>
                </c:pt>
                <c:pt idx="9450">
                  <c:v>#N/A</c:v>
                </c:pt>
                <c:pt idx="9451">
                  <c:v>#N/A</c:v>
                </c:pt>
                <c:pt idx="9452">
                  <c:v>#N/A</c:v>
                </c:pt>
                <c:pt idx="9453">
                  <c:v>#N/A</c:v>
                </c:pt>
                <c:pt idx="9454">
                  <c:v>#N/A</c:v>
                </c:pt>
                <c:pt idx="9455">
                  <c:v>#N/A</c:v>
                </c:pt>
                <c:pt idx="9456">
                  <c:v>#N/A</c:v>
                </c:pt>
                <c:pt idx="9457">
                  <c:v>#N/A</c:v>
                </c:pt>
                <c:pt idx="9458">
                  <c:v>#N/A</c:v>
                </c:pt>
                <c:pt idx="9459">
                  <c:v>#N/A</c:v>
                </c:pt>
                <c:pt idx="9460">
                  <c:v>#N/A</c:v>
                </c:pt>
                <c:pt idx="9461">
                  <c:v>#N/A</c:v>
                </c:pt>
                <c:pt idx="9462">
                  <c:v>#N/A</c:v>
                </c:pt>
                <c:pt idx="9463">
                  <c:v>#N/A</c:v>
                </c:pt>
                <c:pt idx="9464">
                  <c:v>#N/A</c:v>
                </c:pt>
                <c:pt idx="9465">
                  <c:v>#N/A</c:v>
                </c:pt>
                <c:pt idx="9466">
                  <c:v>#N/A</c:v>
                </c:pt>
                <c:pt idx="9467">
                  <c:v>#N/A</c:v>
                </c:pt>
                <c:pt idx="9468">
                  <c:v>#N/A</c:v>
                </c:pt>
                <c:pt idx="9469">
                  <c:v>#N/A</c:v>
                </c:pt>
                <c:pt idx="9470">
                  <c:v>#N/A</c:v>
                </c:pt>
                <c:pt idx="9471">
                  <c:v>#N/A</c:v>
                </c:pt>
                <c:pt idx="9472">
                  <c:v>#N/A</c:v>
                </c:pt>
                <c:pt idx="9473">
                  <c:v>#N/A</c:v>
                </c:pt>
                <c:pt idx="9474">
                  <c:v>#N/A</c:v>
                </c:pt>
                <c:pt idx="9475">
                  <c:v>#N/A</c:v>
                </c:pt>
                <c:pt idx="9476">
                  <c:v>#N/A</c:v>
                </c:pt>
                <c:pt idx="9477">
                  <c:v>#N/A</c:v>
                </c:pt>
                <c:pt idx="9478">
                  <c:v>#N/A</c:v>
                </c:pt>
                <c:pt idx="9479">
                  <c:v>#N/A</c:v>
                </c:pt>
                <c:pt idx="9480">
                  <c:v>#N/A</c:v>
                </c:pt>
                <c:pt idx="9481">
                  <c:v>#N/A</c:v>
                </c:pt>
                <c:pt idx="9482">
                  <c:v>#N/A</c:v>
                </c:pt>
                <c:pt idx="9483">
                  <c:v>#N/A</c:v>
                </c:pt>
                <c:pt idx="9484">
                  <c:v>#N/A</c:v>
                </c:pt>
                <c:pt idx="9485">
                  <c:v>#N/A</c:v>
                </c:pt>
                <c:pt idx="9486">
                  <c:v>#N/A</c:v>
                </c:pt>
                <c:pt idx="9487">
                  <c:v>#N/A</c:v>
                </c:pt>
                <c:pt idx="9488">
                  <c:v>#N/A</c:v>
                </c:pt>
                <c:pt idx="9489">
                  <c:v>#N/A</c:v>
                </c:pt>
                <c:pt idx="9490">
                  <c:v>#N/A</c:v>
                </c:pt>
                <c:pt idx="9491">
                  <c:v>#N/A</c:v>
                </c:pt>
                <c:pt idx="9492">
                  <c:v>#N/A</c:v>
                </c:pt>
                <c:pt idx="9493">
                  <c:v>#N/A</c:v>
                </c:pt>
                <c:pt idx="9494">
                  <c:v>#N/A</c:v>
                </c:pt>
                <c:pt idx="9495">
                  <c:v>#N/A</c:v>
                </c:pt>
                <c:pt idx="9496">
                  <c:v>#N/A</c:v>
                </c:pt>
                <c:pt idx="9497">
                  <c:v>#N/A</c:v>
                </c:pt>
                <c:pt idx="9498">
                  <c:v>#N/A</c:v>
                </c:pt>
                <c:pt idx="9499">
                  <c:v>#N/A</c:v>
                </c:pt>
                <c:pt idx="9500">
                  <c:v>#N/A</c:v>
                </c:pt>
                <c:pt idx="9501">
                  <c:v>#N/A</c:v>
                </c:pt>
                <c:pt idx="9502">
                  <c:v>#N/A</c:v>
                </c:pt>
                <c:pt idx="9503">
                  <c:v>#N/A</c:v>
                </c:pt>
                <c:pt idx="9504">
                  <c:v>#N/A</c:v>
                </c:pt>
                <c:pt idx="9505">
                  <c:v>#N/A</c:v>
                </c:pt>
                <c:pt idx="9506">
                  <c:v>#N/A</c:v>
                </c:pt>
                <c:pt idx="9507">
                  <c:v>#N/A</c:v>
                </c:pt>
                <c:pt idx="9508">
                  <c:v>#N/A</c:v>
                </c:pt>
                <c:pt idx="9509">
                  <c:v>#N/A</c:v>
                </c:pt>
                <c:pt idx="9510">
                  <c:v>#N/A</c:v>
                </c:pt>
                <c:pt idx="9511">
                  <c:v>#N/A</c:v>
                </c:pt>
                <c:pt idx="9512">
                  <c:v>#N/A</c:v>
                </c:pt>
                <c:pt idx="9513">
                  <c:v>#N/A</c:v>
                </c:pt>
                <c:pt idx="9514">
                  <c:v>#N/A</c:v>
                </c:pt>
                <c:pt idx="9515">
                  <c:v>#N/A</c:v>
                </c:pt>
                <c:pt idx="9516">
                  <c:v>#N/A</c:v>
                </c:pt>
                <c:pt idx="9517">
                  <c:v>#N/A</c:v>
                </c:pt>
                <c:pt idx="9518">
                  <c:v>#N/A</c:v>
                </c:pt>
                <c:pt idx="9519">
                  <c:v>#N/A</c:v>
                </c:pt>
                <c:pt idx="9520">
                  <c:v>#N/A</c:v>
                </c:pt>
                <c:pt idx="9521">
                  <c:v>#N/A</c:v>
                </c:pt>
                <c:pt idx="9522">
                  <c:v>#N/A</c:v>
                </c:pt>
                <c:pt idx="9523">
                  <c:v>#N/A</c:v>
                </c:pt>
                <c:pt idx="9524">
                  <c:v>#N/A</c:v>
                </c:pt>
                <c:pt idx="9525">
                  <c:v>#N/A</c:v>
                </c:pt>
                <c:pt idx="9526">
                  <c:v>#N/A</c:v>
                </c:pt>
                <c:pt idx="9527">
                  <c:v>#N/A</c:v>
                </c:pt>
                <c:pt idx="9528">
                  <c:v>#N/A</c:v>
                </c:pt>
                <c:pt idx="9529">
                  <c:v>#N/A</c:v>
                </c:pt>
                <c:pt idx="9530">
                  <c:v>#N/A</c:v>
                </c:pt>
                <c:pt idx="9531">
                  <c:v>#N/A</c:v>
                </c:pt>
                <c:pt idx="9532">
                  <c:v>#N/A</c:v>
                </c:pt>
                <c:pt idx="9533">
                  <c:v>#N/A</c:v>
                </c:pt>
                <c:pt idx="9534">
                  <c:v>#N/A</c:v>
                </c:pt>
                <c:pt idx="9535">
                  <c:v>#N/A</c:v>
                </c:pt>
                <c:pt idx="9536">
                  <c:v>#N/A</c:v>
                </c:pt>
                <c:pt idx="9537">
                  <c:v>#N/A</c:v>
                </c:pt>
                <c:pt idx="9538">
                  <c:v>#N/A</c:v>
                </c:pt>
                <c:pt idx="9539">
                  <c:v>#N/A</c:v>
                </c:pt>
                <c:pt idx="9540">
                  <c:v>#N/A</c:v>
                </c:pt>
                <c:pt idx="9541">
                  <c:v>#N/A</c:v>
                </c:pt>
                <c:pt idx="9542">
                  <c:v>#N/A</c:v>
                </c:pt>
                <c:pt idx="9543">
                  <c:v>#N/A</c:v>
                </c:pt>
                <c:pt idx="9544">
                  <c:v>#N/A</c:v>
                </c:pt>
                <c:pt idx="9545">
                  <c:v>#N/A</c:v>
                </c:pt>
                <c:pt idx="9546">
                  <c:v>#N/A</c:v>
                </c:pt>
                <c:pt idx="9547">
                  <c:v>#N/A</c:v>
                </c:pt>
                <c:pt idx="9548">
                  <c:v>#N/A</c:v>
                </c:pt>
                <c:pt idx="9549">
                  <c:v>#N/A</c:v>
                </c:pt>
                <c:pt idx="9550">
                  <c:v>#N/A</c:v>
                </c:pt>
                <c:pt idx="9551">
                  <c:v>#N/A</c:v>
                </c:pt>
                <c:pt idx="9552">
                  <c:v>#N/A</c:v>
                </c:pt>
                <c:pt idx="9553">
                  <c:v>#N/A</c:v>
                </c:pt>
                <c:pt idx="9554">
                  <c:v>#N/A</c:v>
                </c:pt>
                <c:pt idx="9555">
                  <c:v>#N/A</c:v>
                </c:pt>
                <c:pt idx="9556">
                  <c:v>#N/A</c:v>
                </c:pt>
                <c:pt idx="9557">
                  <c:v>#N/A</c:v>
                </c:pt>
                <c:pt idx="9558">
                  <c:v>#N/A</c:v>
                </c:pt>
                <c:pt idx="9559">
                  <c:v>#N/A</c:v>
                </c:pt>
                <c:pt idx="9560">
                  <c:v>#N/A</c:v>
                </c:pt>
                <c:pt idx="9561">
                  <c:v>#N/A</c:v>
                </c:pt>
                <c:pt idx="9562">
                  <c:v>#N/A</c:v>
                </c:pt>
                <c:pt idx="9563">
                  <c:v>#N/A</c:v>
                </c:pt>
                <c:pt idx="9564">
                  <c:v>#N/A</c:v>
                </c:pt>
                <c:pt idx="9565">
                  <c:v>#N/A</c:v>
                </c:pt>
                <c:pt idx="9566">
                  <c:v>#N/A</c:v>
                </c:pt>
                <c:pt idx="9567">
                  <c:v>#N/A</c:v>
                </c:pt>
                <c:pt idx="9568">
                  <c:v>#N/A</c:v>
                </c:pt>
                <c:pt idx="9569">
                  <c:v>#N/A</c:v>
                </c:pt>
                <c:pt idx="9570">
                  <c:v>#N/A</c:v>
                </c:pt>
                <c:pt idx="9571">
                  <c:v>#N/A</c:v>
                </c:pt>
                <c:pt idx="9572">
                  <c:v>#N/A</c:v>
                </c:pt>
                <c:pt idx="9573">
                  <c:v>#N/A</c:v>
                </c:pt>
                <c:pt idx="9574">
                  <c:v>#N/A</c:v>
                </c:pt>
                <c:pt idx="9575">
                  <c:v>#N/A</c:v>
                </c:pt>
                <c:pt idx="9576">
                  <c:v>#N/A</c:v>
                </c:pt>
                <c:pt idx="9577">
                  <c:v>#N/A</c:v>
                </c:pt>
                <c:pt idx="9578">
                  <c:v>#N/A</c:v>
                </c:pt>
                <c:pt idx="9579">
                  <c:v>#N/A</c:v>
                </c:pt>
                <c:pt idx="9580">
                  <c:v>#N/A</c:v>
                </c:pt>
                <c:pt idx="9581">
                  <c:v>#N/A</c:v>
                </c:pt>
                <c:pt idx="9582">
                  <c:v>#N/A</c:v>
                </c:pt>
                <c:pt idx="9583">
                  <c:v>#N/A</c:v>
                </c:pt>
                <c:pt idx="9584">
                  <c:v>#N/A</c:v>
                </c:pt>
                <c:pt idx="9585">
                  <c:v>#N/A</c:v>
                </c:pt>
                <c:pt idx="9586">
                  <c:v>#N/A</c:v>
                </c:pt>
                <c:pt idx="9587">
                  <c:v>#N/A</c:v>
                </c:pt>
                <c:pt idx="9588">
                  <c:v>#N/A</c:v>
                </c:pt>
                <c:pt idx="9589">
                  <c:v>#N/A</c:v>
                </c:pt>
                <c:pt idx="9590">
                  <c:v>#N/A</c:v>
                </c:pt>
                <c:pt idx="9591">
                  <c:v>#N/A</c:v>
                </c:pt>
                <c:pt idx="9592">
                  <c:v>#N/A</c:v>
                </c:pt>
                <c:pt idx="9593">
                  <c:v>#N/A</c:v>
                </c:pt>
                <c:pt idx="9594">
                  <c:v>#N/A</c:v>
                </c:pt>
                <c:pt idx="9595">
                  <c:v>#N/A</c:v>
                </c:pt>
                <c:pt idx="9596">
                  <c:v>#N/A</c:v>
                </c:pt>
                <c:pt idx="9597">
                  <c:v>#N/A</c:v>
                </c:pt>
                <c:pt idx="9598">
                  <c:v>#N/A</c:v>
                </c:pt>
                <c:pt idx="9599">
                  <c:v>#N/A</c:v>
                </c:pt>
                <c:pt idx="9600">
                  <c:v>#N/A</c:v>
                </c:pt>
                <c:pt idx="9601">
                  <c:v>#N/A</c:v>
                </c:pt>
                <c:pt idx="9602">
                  <c:v>#N/A</c:v>
                </c:pt>
                <c:pt idx="9603">
                  <c:v>#N/A</c:v>
                </c:pt>
                <c:pt idx="9604">
                  <c:v>#N/A</c:v>
                </c:pt>
                <c:pt idx="9605">
                  <c:v>#N/A</c:v>
                </c:pt>
                <c:pt idx="9606">
                  <c:v>#N/A</c:v>
                </c:pt>
                <c:pt idx="9607">
                  <c:v>#N/A</c:v>
                </c:pt>
                <c:pt idx="9608">
                  <c:v>#N/A</c:v>
                </c:pt>
                <c:pt idx="9609">
                  <c:v>#N/A</c:v>
                </c:pt>
                <c:pt idx="9610">
                  <c:v>#N/A</c:v>
                </c:pt>
                <c:pt idx="9611">
                  <c:v>#N/A</c:v>
                </c:pt>
                <c:pt idx="9612">
                  <c:v>#N/A</c:v>
                </c:pt>
                <c:pt idx="9613">
                  <c:v>#N/A</c:v>
                </c:pt>
                <c:pt idx="9614">
                  <c:v>#N/A</c:v>
                </c:pt>
                <c:pt idx="9615">
                  <c:v>#N/A</c:v>
                </c:pt>
                <c:pt idx="9616">
                  <c:v>#N/A</c:v>
                </c:pt>
                <c:pt idx="9617">
                  <c:v>#N/A</c:v>
                </c:pt>
                <c:pt idx="9618">
                  <c:v>#N/A</c:v>
                </c:pt>
                <c:pt idx="9619">
                  <c:v>#N/A</c:v>
                </c:pt>
                <c:pt idx="9620">
                  <c:v>#N/A</c:v>
                </c:pt>
                <c:pt idx="9621">
                  <c:v>#N/A</c:v>
                </c:pt>
                <c:pt idx="9622">
                  <c:v>#N/A</c:v>
                </c:pt>
                <c:pt idx="9623">
                  <c:v>#N/A</c:v>
                </c:pt>
                <c:pt idx="9624">
                  <c:v>#N/A</c:v>
                </c:pt>
                <c:pt idx="9625">
                  <c:v>#N/A</c:v>
                </c:pt>
                <c:pt idx="9626">
                  <c:v>#N/A</c:v>
                </c:pt>
                <c:pt idx="9627">
                  <c:v>#N/A</c:v>
                </c:pt>
                <c:pt idx="9628">
                  <c:v>#N/A</c:v>
                </c:pt>
                <c:pt idx="9629">
                  <c:v>#N/A</c:v>
                </c:pt>
                <c:pt idx="9630">
                  <c:v>#N/A</c:v>
                </c:pt>
                <c:pt idx="9631">
                  <c:v>#N/A</c:v>
                </c:pt>
                <c:pt idx="9632">
                  <c:v>#N/A</c:v>
                </c:pt>
                <c:pt idx="9633">
                  <c:v>#N/A</c:v>
                </c:pt>
                <c:pt idx="9634">
                  <c:v>#N/A</c:v>
                </c:pt>
                <c:pt idx="9635">
                  <c:v>#N/A</c:v>
                </c:pt>
                <c:pt idx="9636">
                  <c:v>#N/A</c:v>
                </c:pt>
                <c:pt idx="9637">
                  <c:v>3.5342465753424657</c:v>
                </c:pt>
                <c:pt idx="9638">
                  <c:v>3.5342465753424657</c:v>
                </c:pt>
                <c:pt idx="9639">
                  <c:v>#N/A</c:v>
                </c:pt>
                <c:pt idx="9640">
                  <c:v>#N/A</c:v>
                </c:pt>
                <c:pt idx="9641">
                  <c:v>#N/A</c:v>
                </c:pt>
                <c:pt idx="9642">
                  <c:v>#N/A</c:v>
                </c:pt>
                <c:pt idx="9643">
                  <c:v>#N/A</c:v>
                </c:pt>
                <c:pt idx="9644">
                  <c:v>#N/A</c:v>
                </c:pt>
                <c:pt idx="9645">
                  <c:v>#N/A</c:v>
                </c:pt>
                <c:pt idx="9646">
                  <c:v>#N/A</c:v>
                </c:pt>
                <c:pt idx="9647">
                  <c:v>#N/A</c:v>
                </c:pt>
                <c:pt idx="9648">
                  <c:v>#N/A</c:v>
                </c:pt>
                <c:pt idx="9649">
                  <c:v>#N/A</c:v>
                </c:pt>
                <c:pt idx="9650">
                  <c:v>#N/A</c:v>
                </c:pt>
                <c:pt idx="9651">
                  <c:v>#N/A</c:v>
                </c:pt>
                <c:pt idx="9652">
                  <c:v>#N/A</c:v>
                </c:pt>
                <c:pt idx="9653">
                  <c:v>#N/A</c:v>
                </c:pt>
                <c:pt idx="9654">
                  <c:v>#N/A</c:v>
                </c:pt>
                <c:pt idx="9655">
                  <c:v>#N/A</c:v>
                </c:pt>
                <c:pt idx="9656">
                  <c:v>#N/A</c:v>
                </c:pt>
                <c:pt idx="9657">
                  <c:v>#N/A</c:v>
                </c:pt>
                <c:pt idx="9658">
                  <c:v>#N/A</c:v>
                </c:pt>
                <c:pt idx="9659">
                  <c:v>#N/A</c:v>
                </c:pt>
                <c:pt idx="9660">
                  <c:v>#N/A</c:v>
                </c:pt>
                <c:pt idx="9661">
                  <c:v>#N/A</c:v>
                </c:pt>
                <c:pt idx="9662">
                  <c:v>#N/A</c:v>
                </c:pt>
                <c:pt idx="9663">
                  <c:v>#N/A</c:v>
                </c:pt>
                <c:pt idx="9664">
                  <c:v>#N/A</c:v>
                </c:pt>
                <c:pt idx="9665">
                  <c:v>#N/A</c:v>
                </c:pt>
                <c:pt idx="9666">
                  <c:v>#N/A</c:v>
                </c:pt>
                <c:pt idx="9667">
                  <c:v>#N/A</c:v>
                </c:pt>
                <c:pt idx="9668">
                  <c:v>#N/A</c:v>
                </c:pt>
                <c:pt idx="9669">
                  <c:v>#N/A</c:v>
                </c:pt>
                <c:pt idx="9670">
                  <c:v>#N/A</c:v>
                </c:pt>
                <c:pt idx="9671">
                  <c:v>#N/A</c:v>
                </c:pt>
                <c:pt idx="9672">
                  <c:v>#N/A</c:v>
                </c:pt>
                <c:pt idx="9673">
                  <c:v>#N/A</c:v>
                </c:pt>
                <c:pt idx="9674">
                  <c:v>#N/A</c:v>
                </c:pt>
                <c:pt idx="9675">
                  <c:v>#N/A</c:v>
                </c:pt>
                <c:pt idx="9676">
                  <c:v>#N/A</c:v>
                </c:pt>
                <c:pt idx="9677">
                  <c:v>#N/A</c:v>
                </c:pt>
                <c:pt idx="9678">
                  <c:v>#N/A</c:v>
                </c:pt>
                <c:pt idx="9679">
                  <c:v>#N/A</c:v>
                </c:pt>
                <c:pt idx="9680">
                  <c:v>#N/A</c:v>
                </c:pt>
                <c:pt idx="9681">
                  <c:v>#N/A</c:v>
                </c:pt>
                <c:pt idx="9682">
                  <c:v>3.5452054794520547</c:v>
                </c:pt>
                <c:pt idx="9683">
                  <c:v>3.5452054794520547</c:v>
                </c:pt>
                <c:pt idx="9684">
                  <c:v>#N/A</c:v>
                </c:pt>
                <c:pt idx="9685">
                  <c:v>#N/A</c:v>
                </c:pt>
                <c:pt idx="9686">
                  <c:v>#N/A</c:v>
                </c:pt>
                <c:pt idx="9687">
                  <c:v>#N/A</c:v>
                </c:pt>
                <c:pt idx="9688">
                  <c:v>#N/A</c:v>
                </c:pt>
                <c:pt idx="9689">
                  <c:v>#N/A</c:v>
                </c:pt>
                <c:pt idx="9690">
                  <c:v>#N/A</c:v>
                </c:pt>
                <c:pt idx="9691">
                  <c:v>#N/A</c:v>
                </c:pt>
                <c:pt idx="9692">
                  <c:v>#N/A</c:v>
                </c:pt>
                <c:pt idx="9693">
                  <c:v>#N/A</c:v>
                </c:pt>
                <c:pt idx="9694">
                  <c:v>#N/A</c:v>
                </c:pt>
                <c:pt idx="9695">
                  <c:v>#N/A</c:v>
                </c:pt>
                <c:pt idx="9696">
                  <c:v>#N/A</c:v>
                </c:pt>
                <c:pt idx="9697">
                  <c:v>#N/A</c:v>
                </c:pt>
                <c:pt idx="9698">
                  <c:v>#N/A</c:v>
                </c:pt>
                <c:pt idx="9699">
                  <c:v>#N/A</c:v>
                </c:pt>
                <c:pt idx="9700">
                  <c:v>#N/A</c:v>
                </c:pt>
                <c:pt idx="9701">
                  <c:v>#N/A</c:v>
                </c:pt>
                <c:pt idx="9702">
                  <c:v>#N/A</c:v>
                </c:pt>
                <c:pt idx="9703">
                  <c:v>#N/A</c:v>
                </c:pt>
                <c:pt idx="9704">
                  <c:v>#N/A</c:v>
                </c:pt>
                <c:pt idx="9705">
                  <c:v>#N/A</c:v>
                </c:pt>
                <c:pt idx="9706">
                  <c:v>#N/A</c:v>
                </c:pt>
                <c:pt idx="9707">
                  <c:v>#N/A</c:v>
                </c:pt>
                <c:pt idx="9708">
                  <c:v>3.5506849315068494</c:v>
                </c:pt>
                <c:pt idx="9709">
                  <c:v>#N/A</c:v>
                </c:pt>
                <c:pt idx="9710">
                  <c:v>#N/A</c:v>
                </c:pt>
                <c:pt idx="9711">
                  <c:v>#N/A</c:v>
                </c:pt>
                <c:pt idx="9712">
                  <c:v>#N/A</c:v>
                </c:pt>
                <c:pt idx="9713">
                  <c:v>#N/A</c:v>
                </c:pt>
                <c:pt idx="9714">
                  <c:v>#N/A</c:v>
                </c:pt>
                <c:pt idx="9715">
                  <c:v>#N/A</c:v>
                </c:pt>
                <c:pt idx="9716">
                  <c:v>#N/A</c:v>
                </c:pt>
                <c:pt idx="9717">
                  <c:v>#N/A</c:v>
                </c:pt>
                <c:pt idx="9718">
                  <c:v>#N/A</c:v>
                </c:pt>
                <c:pt idx="9719">
                  <c:v>#N/A</c:v>
                </c:pt>
                <c:pt idx="9720">
                  <c:v>#N/A</c:v>
                </c:pt>
                <c:pt idx="9721">
                  <c:v>#N/A</c:v>
                </c:pt>
                <c:pt idx="9722">
                  <c:v>#N/A</c:v>
                </c:pt>
                <c:pt idx="9723">
                  <c:v>#N/A</c:v>
                </c:pt>
                <c:pt idx="9724">
                  <c:v>#N/A</c:v>
                </c:pt>
                <c:pt idx="9725">
                  <c:v>#N/A</c:v>
                </c:pt>
                <c:pt idx="9726">
                  <c:v>#N/A</c:v>
                </c:pt>
                <c:pt idx="9727">
                  <c:v>#N/A</c:v>
                </c:pt>
                <c:pt idx="9728">
                  <c:v>#N/A</c:v>
                </c:pt>
                <c:pt idx="9729">
                  <c:v>#N/A</c:v>
                </c:pt>
                <c:pt idx="9730">
                  <c:v>#N/A</c:v>
                </c:pt>
                <c:pt idx="9731">
                  <c:v>#N/A</c:v>
                </c:pt>
                <c:pt idx="9732">
                  <c:v>#N/A</c:v>
                </c:pt>
                <c:pt idx="9733">
                  <c:v>#N/A</c:v>
                </c:pt>
                <c:pt idx="9734">
                  <c:v>#N/A</c:v>
                </c:pt>
                <c:pt idx="9735">
                  <c:v>#N/A</c:v>
                </c:pt>
                <c:pt idx="9736">
                  <c:v>#N/A</c:v>
                </c:pt>
                <c:pt idx="9737">
                  <c:v>#N/A</c:v>
                </c:pt>
                <c:pt idx="9738">
                  <c:v>#N/A</c:v>
                </c:pt>
                <c:pt idx="9739">
                  <c:v>#N/A</c:v>
                </c:pt>
                <c:pt idx="9740">
                  <c:v>#N/A</c:v>
                </c:pt>
                <c:pt idx="9741">
                  <c:v>#N/A</c:v>
                </c:pt>
                <c:pt idx="9742">
                  <c:v>#N/A</c:v>
                </c:pt>
                <c:pt idx="9743">
                  <c:v>#N/A</c:v>
                </c:pt>
                <c:pt idx="9744">
                  <c:v>#N/A</c:v>
                </c:pt>
                <c:pt idx="9745">
                  <c:v>#N/A</c:v>
                </c:pt>
                <c:pt idx="9746">
                  <c:v>#N/A</c:v>
                </c:pt>
                <c:pt idx="9747">
                  <c:v>#N/A</c:v>
                </c:pt>
                <c:pt idx="9748">
                  <c:v>#N/A</c:v>
                </c:pt>
                <c:pt idx="9749">
                  <c:v>#N/A</c:v>
                </c:pt>
                <c:pt idx="9750">
                  <c:v>#N/A</c:v>
                </c:pt>
                <c:pt idx="9751">
                  <c:v>#N/A</c:v>
                </c:pt>
                <c:pt idx="9752">
                  <c:v>#N/A</c:v>
                </c:pt>
                <c:pt idx="9753">
                  <c:v>#N/A</c:v>
                </c:pt>
                <c:pt idx="9754">
                  <c:v>#N/A</c:v>
                </c:pt>
                <c:pt idx="9755">
                  <c:v>#N/A</c:v>
                </c:pt>
                <c:pt idx="9756">
                  <c:v>#N/A</c:v>
                </c:pt>
                <c:pt idx="9757">
                  <c:v>#N/A</c:v>
                </c:pt>
                <c:pt idx="9758">
                  <c:v>#N/A</c:v>
                </c:pt>
                <c:pt idx="9759">
                  <c:v>#N/A</c:v>
                </c:pt>
                <c:pt idx="9760">
                  <c:v>#N/A</c:v>
                </c:pt>
                <c:pt idx="9761">
                  <c:v>#N/A</c:v>
                </c:pt>
                <c:pt idx="9762">
                  <c:v>#N/A</c:v>
                </c:pt>
                <c:pt idx="9763">
                  <c:v>#N/A</c:v>
                </c:pt>
                <c:pt idx="9764">
                  <c:v>#N/A</c:v>
                </c:pt>
                <c:pt idx="9765">
                  <c:v>#N/A</c:v>
                </c:pt>
                <c:pt idx="9766">
                  <c:v>#N/A</c:v>
                </c:pt>
                <c:pt idx="9767">
                  <c:v>#N/A</c:v>
                </c:pt>
                <c:pt idx="9768">
                  <c:v>#N/A</c:v>
                </c:pt>
                <c:pt idx="9769">
                  <c:v>#N/A</c:v>
                </c:pt>
                <c:pt idx="9770">
                  <c:v>#N/A</c:v>
                </c:pt>
                <c:pt idx="9771">
                  <c:v>#N/A</c:v>
                </c:pt>
                <c:pt idx="9772">
                  <c:v>#N/A</c:v>
                </c:pt>
                <c:pt idx="9773">
                  <c:v>#N/A</c:v>
                </c:pt>
                <c:pt idx="9774">
                  <c:v>#N/A</c:v>
                </c:pt>
                <c:pt idx="9775">
                  <c:v>#N/A</c:v>
                </c:pt>
                <c:pt idx="9776">
                  <c:v>#N/A</c:v>
                </c:pt>
                <c:pt idx="9777">
                  <c:v>#N/A</c:v>
                </c:pt>
                <c:pt idx="9778">
                  <c:v>#N/A</c:v>
                </c:pt>
                <c:pt idx="9779">
                  <c:v>#N/A</c:v>
                </c:pt>
                <c:pt idx="9780">
                  <c:v>#N/A</c:v>
                </c:pt>
                <c:pt idx="9781">
                  <c:v>#N/A</c:v>
                </c:pt>
                <c:pt idx="9782">
                  <c:v>#N/A</c:v>
                </c:pt>
                <c:pt idx="9783">
                  <c:v>#N/A</c:v>
                </c:pt>
                <c:pt idx="9784">
                  <c:v>#N/A</c:v>
                </c:pt>
                <c:pt idx="9785">
                  <c:v>#N/A</c:v>
                </c:pt>
                <c:pt idx="9786">
                  <c:v>#N/A</c:v>
                </c:pt>
                <c:pt idx="9787">
                  <c:v>#N/A</c:v>
                </c:pt>
                <c:pt idx="9788">
                  <c:v>#N/A</c:v>
                </c:pt>
                <c:pt idx="9789">
                  <c:v>#N/A</c:v>
                </c:pt>
                <c:pt idx="9790">
                  <c:v>#N/A</c:v>
                </c:pt>
                <c:pt idx="9791">
                  <c:v>#N/A</c:v>
                </c:pt>
                <c:pt idx="9792">
                  <c:v>#N/A</c:v>
                </c:pt>
                <c:pt idx="9793">
                  <c:v>#N/A</c:v>
                </c:pt>
                <c:pt idx="9794">
                  <c:v>#N/A</c:v>
                </c:pt>
                <c:pt idx="9795">
                  <c:v>#N/A</c:v>
                </c:pt>
                <c:pt idx="9796">
                  <c:v>#N/A</c:v>
                </c:pt>
                <c:pt idx="9797">
                  <c:v>#N/A</c:v>
                </c:pt>
                <c:pt idx="9798">
                  <c:v>#N/A</c:v>
                </c:pt>
                <c:pt idx="9799">
                  <c:v>#N/A</c:v>
                </c:pt>
                <c:pt idx="9800">
                  <c:v>#N/A</c:v>
                </c:pt>
                <c:pt idx="9801">
                  <c:v>#N/A</c:v>
                </c:pt>
                <c:pt idx="9802">
                  <c:v>#N/A</c:v>
                </c:pt>
                <c:pt idx="9803">
                  <c:v>#N/A</c:v>
                </c:pt>
                <c:pt idx="9804">
                  <c:v>#N/A</c:v>
                </c:pt>
                <c:pt idx="9805">
                  <c:v>#N/A</c:v>
                </c:pt>
                <c:pt idx="9806">
                  <c:v>#N/A</c:v>
                </c:pt>
                <c:pt idx="9807">
                  <c:v>#N/A</c:v>
                </c:pt>
                <c:pt idx="9808">
                  <c:v>#N/A</c:v>
                </c:pt>
                <c:pt idx="9809">
                  <c:v>#N/A</c:v>
                </c:pt>
                <c:pt idx="9810">
                  <c:v>#N/A</c:v>
                </c:pt>
                <c:pt idx="9811">
                  <c:v>#N/A</c:v>
                </c:pt>
                <c:pt idx="9812">
                  <c:v>#N/A</c:v>
                </c:pt>
                <c:pt idx="9813">
                  <c:v>#N/A</c:v>
                </c:pt>
                <c:pt idx="9814">
                  <c:v>#N/A</c:v>
                </c:pt>
                <c:pt idx="9815">
                  <c:v>#N/A</c:v>
                </c:pt>
                <c:pt idx="9816">
                  <c:v>#N/A</c:v>
                </c:pt>
                <c:pt idx="9817">
                  <c:v>#N/A</c:v>
                </c:pt>
                <c:pt idx="9818">
                  <c:v>#N/A</c:v>
                </c:pt>
                <c:pt idx="9819">
                  <c:v>#N/A</c:v>
                </c:pt>
                <c:pt idx="9820">
                  <c:v>#N/A</c:v>
                </c:pt>
                <c:pt idx="9821">
                  <c:v>#N/A</c:v>
                </c:pt>
                <c:pt idx="9822">
                  <c:v>#N/A</c:v>
                </c:pt>
                <c:pt idx="9823">
                  <c:v>#N/A</c:v>
                </c:pt>
                <c:pt idx="9824">
                  <c:v>#N/A</c:v>
                </c:pt>
                <c:pt idx="9825">
                  <c:v>#N/A</c:v>
                </c:pt>
                <c:pt idx="9826">
                  <c:v>#N/A</c:v>
                </c:pt>
                <c:pt idx="9827">
                  <c:v>#N/A</c:v>
                </c:pt>
                <c:pt idx="9828">
                  <c:v>#N/A</c:v>
                </c:pt>
                <c:pt idx="9829">
                  <c:v>#N/A</c:v>
                </c:pt>
                <c:pt idx="9830">
                  <c:v>#N/A</c:v>
                </c:pt>
                <c:pt idx="9831">
                  <c:v>#N/A</c:v>
                </c:pt>
                <c:pt idx="9832">
                  <c:v>#N/A</c:v>
                </c:pt>
                <c:pt idx="9833">
                  <c:v>#N/A</c:v>
                </c:pt>
                <c:pt idx="9834">
                  <c:v>#N/A</c:v>
                </c:pt>
                <c:pt idx="9835">
                  <c:v>#N/A</c:v>
                </c:pt>
                <c:pt idx="9836">
                  <c:v>#N/A</c:v>
                </c:pt>
                <c:pt idx="9837">
                  <c:v>#N/A</c:v>
                </c:pt>
                <c:pt idx="9838">
                  <c:v>#N/A</c:v>
                </c:pt>
                <c:pt idx="9839">
                  <c:v>#N/A</c:v>
                </c:pt>
                <c:pt idx="9840">
                  <c:v>#N/A</c:v>
                </c:pt>
                <c:pt idx="9841">
                  <c:v>#N/A</c:v>
                </c:pt>
                <c:pt idx="9842">
                  <c:v>#N/A</c:v>
                </c:pt>
                <c:pt idx="9843">
                  <c:v>#N/A</c:v>
                </c:pt>
                <c:pt idx="9844">
                  <c:v>#N/A</c:v>
                </c:pt>
                <c:pt idx="9845">
                  <c:v>#N/A</c:v>
                </c:pt>
                <c:pt idx="9846">
                  <c:v>#N/A</c:v>
                </c:pt>
                <c:pt idx="9847">
                  <c:v>#N/A</c:v>
                </c:pt>
                <c:pt idx="9848">
                  <c:v>#N/A</c:v>
                </c:pt>
                <c:pt idx="9849">
                  <c:v>#N/A</c:v>
                </c:pt>
                <c:pt idx="9850">
                  <c:v>#N/A</c:v>
                </c:pt>
                <c:pt idx="9851">
                  <c:v>#N/A</c:v>
                </c:pt>
                <c:pt idx="9852">
                  <c:v>#N/A</c:v>
                </c:pt>
                <c:pt idx="9853">
                  <c:v>#N/A</c:v>
                </c:pt>
                <c:pt idx="9854">
                  <c:v>#N/A</c:v>
                </c:pt>
                <c:pt idx="9855">
                  <c:v>#N/A</c:v>
                </c:pt>
                <c:pt idx="9856">
                  <c:v>#N/A</c:v>
                </c:pt>
                <c:pt idx="9857">
                  <c:v>#N/A</c:v>
                </c:pt>
                <c:pt idx="9858">
                  <c:v>#N/A</c:v>
                </c:pt>
                <c:pt idx="9859">
                  <c:v>#N/A</c:v>
                </c:pt>
                <c:pt idx="9860">
                  <c:v>#N/A</c:v>
                </c:pt>
                <c:pt idx="9861">
                  <c:v>#N/A</c:v>
                </c:pt>
                <c:pt idx="9862">
                  <c:v>#N/A</c:v>
                </c:pt>
                <c:pt idx="9863">
                  <c:v>#N/A</c:v>
                </c:pt>
                <c:pt idx="9864">
                  <c:v>#N/A</c:v>
                </c:pt>
                <c:pt idx="9865">
                  <c:v>#N/A</c:v>
                </c:pt>
                <c:pt idx="9866">
                  <c:v>#N/A</c:v>
                </c:pt>
                <c:pt idx="9867">
                  <c:v>#N/A</c:v>
                </c:pt>
                <c:pt idx="9868">
                  <c:v>#N/A</c:v>
                </c:pt>
                <c:pt idx="9869">
                  <c:v>#N/A</c:v>
                </c:pt>
                <c:pt idx="9870">
                  <c:v>#N/A</c:v>
                </c:pt>
                <c:pt idx="9871">
                  <c:v>#N/A</c:v>
                </c:pt>
                <c:pt idx="9872">
                  <c:v>#N/A</c:v>
                </c:pt>
                <c:pt idx="9873">
                  <c:v>#N/A</c:v>
                </c:pt>
                <c:pt idx="9874">
                  <c:v>#N/A</c:v>
                </c:pt>
                <c:pt idx="9875">
                  <c:v>#N/A</c:v>
                </c:pt>
                <c:pt idx="9876">
                  <c:v>#N/A</c:v>
                </c:pt>
                <c:pt idx="9877">
                  <c:v>#N/A</c:v>
                </c:pt>
                <c:pt idx="9878">
                  <c:v>#N/A</c:v>
                </c:pt>
                <c:pt idx="9879">
                  <c:v>#N/A</c:v>
                </c:pt>
                <c:pt idx="9880">
                  <c:v>#N/A</c:v>
                </c:pt>
                <c:pt idx="9881">
                  <c:v>#N/A</c:v>
                </c:pt>
                <c:pt idx="9882">
                  <c:v>#N/A</c:v>
                </c:pt>
                <c:pt idx="9883">
                  <c:v>#N/A</c:v>
                </c:pt>
                <c:pt idx="9884">
                  <c:v>#N/A</c:v>
                </c:pt>
                <c:pt idx="9885">
                  <c:v>#N/A</c:v>
                </c:pt>
                <c:pt idx="9886">
                  <c:v>#N/A</c:v>
                </c:pt>
                <c:pt idx="9887">
                  <c:v>#N/A</c:v>
                </c:pt>
                <c:pt idx="9888">
                  <c:v>#N/A</c:v>
                </c:pt>
                <c:pt idx="9889">
                  <c:v>#N/A</c:v>
                </c:pt>
                <c:pt idx="9890">
                  <c:v>#N/A</c:v>
                </c:pt>
                <c:pt idx="9891">
                  <c:v>#N/A</c:v>
                </c:pt>
                <c:pt idx="9892">
                  <c:v>#N/A</c:v>
                </c:pt>
                <c:pt idx="9893">
                  <c:v>#N/A</c:v>
                </c:pt>
                <c:pt idx="9894">
                  <c:v>#N/A</c:v>
                </c:pt>
                <c:pt idx="9895">
                  <c:v>#N/A</c:v>
                </c:pt>
                <c:pt idx="9896">
                  <c:v>#N/A</c:v>
                </c:pt>
                <c:pt idx="9897">
                  <c:v>#N/A</c:v>
                </c:pt>
                <c:pt idx="9898">
                  <c:v>#N/A</c:v>
                </c:pt>
                <c:pt idx="9899">
                  <c:v>#N/A</c:v>
                </c:pt>
                <c:pt idx="9900">
                  <c:v>#N/A</c:v>
                </c:pt>
                <c:pt idx="9901">
                  <c:v>#N/A</c:v>
                </c:pt>
                <c:pt idx="9902">
                  <c:v>#N/A</c:v>
                </c:pt>
                <c:pt idx="9903">
                  <c:v>#N/A</c:v>
                </c:pt>
                <c:pt idx="9904">
                  <c:v>#N/A</c:v>
                </c:pt>
                <c:pt idx="9905">
                  <c:v>#N/A</c:v>
                </c:pt>
                <c:pt idx="9906">
                  <c:v>#N/A</c:v>
                </c:pt>
                <c:pt idx="9907">
                  <c:v>#N/A</c:v>
                </c:pt>
                <c:pt idx="9908">
                  <c:v>#N/A</c:v>
                </c:pt>
                <c:pt idx="9909">
                  <c:v>#N/A</c:v>
                </c:pt>
                <c:pt idx="9910">
                  <c:v>#N/A</c:v>
                </c:pt>
                <c:pt idx="9911">
                  <c:v>#N/A</c:v>
                </c:pt>
                <c:pt idx="9912">
                  <c:v>#N/A</c:v>
                </c:pt>
                <c:pt idx="9913">
                  <c:v>#N/A</c:v>
                </c:pt>
                <c:pt idx="9914">
                  <c:v>#N/A</c:v>
                </c:pt>
                <c:pt idx="9915">
                  <c:v>#N/A</c:v>
                </c:pt>
                <c:pt idx="9916">
                  <c:v>#N/A</c:v>
                </c:pt>
                <c:pt idx="9917">
                  <c:v>#N/A</c:v>
                </c:pt>
                <c:pt idx="9918">
                  <c:v>#N/A</c:v>
                </c:pt>
                <c:pt idx="9919">
                  <c:v>#N/A</c:v>
                </c:pt>
                <c:pt idx="9920">
                  <c:v>#N/A</c:v>
                </c:pt>
                <c:pt idx="9921">
                  <c:v>#N/A</c:v>
                </c:pt>
                <c:pt idx="9922">
                  <c:v>#N/A</c:v>
                </c:pt>
                <c:pt idx="9923">
                  <c:v>#N/A</c:v>
                </c:pt>
                <c:pt idx="9924">
                  <c:v>#N/A</c:v>
                </c:pt>
                <c:pt idx="9925">
                  <c:v>#N/A</c:v>
                </c:pt>
                <c:pt idx="9926">
                  <c:v>#N/A</c:v>
                </c:pt>
                <c:pt idx="9927">
                  <c:v>#N/A</c:v>
                </c:pt>
                <c:pt idx="9928">
                  <c:v>#N/A</c:v>
                </c:pt>
                <c:pt idx="9929">
                  <c:v>#N/A</c:v>
                </c:pt>
                <c:pt idx="9930">
                  <c:v>#N/A</c:v>
                </c:pt>
                <c:pt idx="9931">
                  <c:v>#N/A</c:v>
                </c:pt>
                <c:pt idx="9932">
                  <c:v>#N/A</c:v>
                </c:pt>
                <c:pt idx="9933">
                  <c:v>#N/A</c:v>
                </c:pt>
                <c:pt idx="9934">
                  <c:v>#N/A</c:v>
                </c:pt>
                <c:pt idx="9935">
                  <c:v>#N/A</c:v>
                </c:pt>
                <c:pt idx="9936">
                  <c:v>#N/A</c:v>
                </c:pt>
                <c:pt idx="9937">
                  <c:v>#N/A</c:v>
                </c:pt>
                <c:pt idx="9938">
                  <c:v>#N/A</c:v>
                </c:pt>
                <c:pt idx="9939">
                  <c:v>#N/A</c:v>
                </c:pt>
                <c:pt idx="9940">
                  <c:v>#N/A</c:v>
                </c:pt>
                <c:pt idx="9941">
                  <c:v>#N/A</c:v>
                </c:pt>
                <c:pt idx="9942">
                  <c:v>#N/A</c:v>
                </c:pt>
                <c:pt idx="9943">
                  <c:v>#N/A</c:v>
                </c:pt>
                <c:pt idx="9944">
                  <c:v>#N/A</c:v>
                </c:pt>
                <c:pt idx="9945">
                  <c:v>#N/A</c:v>
                </c:pt>
                <c:pt idx="9946">
                  <c:v>#N/A</c:v>
                </c:pt>
                <c:pt idx="9947">
                  <c:v>#N/A</c:v>
                </c:pt>
                <c:pt idx="9948">
                  <c:v>#N/A</c:v>
                </c:pt>
                <c:pt idx="9949">
                  <c:v>#N/A</c:v>
                </c:pt>
                <c:pt idx="9950">
                  <c:v>#N/A</c:v>
                </c:pt>
                <c:pt idx="9951">
                  <c:v>#N/A</c:v>
                </c:pt>
                <c:pt idx="9952">
                  <c:v>#N/A</c:v>
                </c:pt>
                <c:pt idx="9953">
                  <c:v>#N/A</c:v>
                </c:pt>
                <c:pt idx="9954">
                  <c:v>#N/A</c:v>
                </c:pt>
                <c:pt idx="9955">
                  <c:v>#N/A</c:v>
                </c:pt>
                <c:pt idx="9956">
                  <c:v>#N/A</c:v>
                </c:pt>
                <c:pt idx="9957">
                  <c:v>#N/A</c:v>
                </c:pt>
                <c:pt idx="9958">
                  <c:v>#N/A</c:v>
                </c:pt>
                <c:pt idx="9959">
                  <c:v>#N/A</c:v>
                </c:pt>
                <c:pt idx="9960">
                  <c:v>#N/A</c:v>
                </c:pt>
                <c:pt idx="9961">
                  <c:v>#N/A</c:v>
                </c:pt>
                <c:pt idx="9962">
                  <c:v>#N/A</c:v>
                </c:pt>
                <c:pt idx="9963">
                  <c:v>#N/A</c:v>
                </c:pt>
                <c:pt idx="9964">
                  <c:v>3.7397260273972601</c:v>
                </c:pt>
                <c:pt idx="9965">
                  <c:v>#N/A</c:v>
                </c:pt>
                <c:pt idx="9966">
                  <c:v>#N/A</c:v>
                </c:pt>
                <c:pt idx="9967">
                  <c:v>#N/A</c:v>
                </c:pt>
                <c:pt idx="9968">
                  <c:v>#N/A</c:v>
                </c:pt>
                <c:pt idx="9969">
                  <c:v>#N/A</c:v>
                </c:pt>
                <c:pt idx="9970">
                  <c:v>#N/A</c:v>
                </c:pt>
                <c:pt idx="9971">
                  <c:v>#N/A</c:v>
                </c:pt>
                <c:pt idx="9972">
                  <c:v>#N/A</c:v>
                </c:pt>
                <c:pt idx="9973">
                  <c:v>#N/A</c:v>
                </c:pt>
                <c:pt idx="9974">
                  <c:v>#N/A</c:v>
                </c:pt>
                <c:pt idx="9975">
                  <c:v>#N/A</c:v>
                </c:pt>
                <c:pt idx="9976">
                  <c:v>#N/A</c:v>
                </c:pt>
                <c:pt idx="9977">
                  <c:v>#N/A</c:v>
                </c:pt>
                <c:pt idx="9978">
                  <c:v>#N/A</c:v>
                </c:pt>
                <c:pt idx="9979">
                  <c:v>#N/A</c:v>
                </c:pt>
                <c:pt idx="9980">
                  <c:v>#N/A</c:v>
                </c:pt>
                <c:pt idx="9981">
                  <c:v>#N/A</c:v>
                </c:pt>
                <c:pt idx="9982">
                  <c:v>#N/A</c:v>
                </c:pt>
                <c:pt idx="9983">
                  <c:v>#N/A</c:v>
                </c:pt>
                <c:pt idx="9984">
                  <c:v>#N/A</c:v>
                </c:pt>
                <c:pt idx="9985">
                  <c:v>#N/A</c:v>
                </c:pt>
                <c:pt idx="9986">
                  <c:v>#N/A</c:v>
                </c:pt>
                <c:pt idx="9987">
                  <c:v>#N/A</c:v>
                </c:pt>
                <c:pt idx="9988">
                  <c:v>#N/A</c:v>
                </c:pt>
                <c:pt idx="9989">
                  <c:v>#N/A</c:v>
                </c:pt>
                <c:pt idx="9990">
                  <c:v>#N/A</c:v>
                </c:pt>
                <c:pt idx="9991">
                  <c:v>#N/A</c:v>
                </c:pt>
                <c:pt idx="9992">
                  <c:v>#N/A</c:v>
                </c:pt>
                <c:pt idx="9993">
                  <c:v>#N/A</c:v>
                </c:pt>
                <c:pt idx="9994">
                  <c:v>#N/A</c:v>
                </c:pt>
                <c:pt idx="9995">
                  <c:v>#N/A</c:v>
                </c:pt>
                <c:pt idx="9996">
                  <c:v>#N/A</c:v>
                </c:pt>
                <c:pt idx="9997">
                  <c:v>#N/A</c:v>
                </c:pt>
                <c:pt idx="9998">
                  <c:v>#N/A</c:v>
                </c:pt>
                <c:pt idx="9999">
                  <c:v>#N/A</c:v>
                </c:pt>
                <c:pt idx="10000">
                  <c:v>#N/A</c:v>
                </c:pt>
                <c:pt idx="10001">
                  <c:v>#N/A</c:v>
                </c:pt>
                <c:pt idx="10002">
                  <c:v>#N/A</c:v>
                </c:pt>
                <c:pt idx="10003">
                  <c:v>#N/A</c:v>
                </c:pt>
                <c:pt idx="10004">
                  <c:v>#N/A</c:v>
                </c:pt>
                <c:pt idx="10005">
                  <c:v>#N/A</c:v>
                </c:pt>
                <c:pt idx="10006">
                  <c:v>#N/A</c:v>
                </c:pt>
                <c:pt idx="10007">
                  <c:v>#N/A</c:v>
                </c:pt>
                <c:pt idx="10008">
                  <c:v>#N/A</c:v>
                </c:pt>
                <c:pt idx="10009">
                  <c:v>#N/A</c:v>
                </c:pt>
                <c:pt idx="10010">
                  <c:v>#N/A</c:v>
                </c:pt>
                <c:pt idx="10011">
                  <c:v>#N/A</c:v>
                </c:pt>
                <c:pt idx="10012">
                  <c:v>#N/A</c:v>
                </c:pt>
                <c:pt idx="10013">
                  <c:v>#N/A</c:v>
                </c:pt>
                <c:pt idx="10014">
                  <c:v>#N/A</c:v>
                </c:pt>
                <c:pt idx="10015">
                  <c:v>3.8328767123287673</c:v>
                </c:pt>
                <c:pt idx="10016">
                  <c:v>#N/A</c:v>
                </c:pt>
                <c:pt idx="10017">
                  <c:v>#N/A</c:v>
                </c:pt>
                <c:pt idx="10018">
                  <c:v>#N/A</c:v>
                </c:pt>
                <c:pt idx="10019">
                  <c:v>#N/A</c:v>
                </c:pt>
                <c:pt idx="10020">
                  <c:v>#N/A</c:v>
                </c:pt>
                <c:pt idx="10021">
                  <c:v>#N/A</c:v>
                </c:pt>
                <c:pt idx="10022">
                  <c:v>#N/A</c:v>
                </c:pt>
                <c:pt idx="10023">
                  <c:v>#N/A</c:v>
                </c:pt>
                <c:pt idx="10024">
                  <c:v>#N/A</c:v>
                </c:pt>
                <c:pt idx="10025">
                  <c:v>#N/A</c:v>
                </c:pt>
                <c:pt idx="10026">
                  <c:v>#N/A</c:v>
                </c:pt>
                <c:pt idx="10027">
                  <c:v>#N/A</c:v>
                </c:pt>
                <c:pt idx="10028">
                  <c:v>#N/A</c:v>
                </c:pt>
                <c:pt idx="10029">
                  <c:v>#N/A</c:v>
                </c:pt>
                <c:pt idx="10030">
                  <c:v>#N/A</c:v>
                </c:pt>
                <c:pt idx="10031">
                  <c:v>#N/A</c:v>
                </c:pt>
                <c:pt idx="10032">
                  <c:v>#N/A</c:v>
                </c:pt>
                <c:pt idx="10033">
                  <c:v>#N/A</c:v>
                </c:pt>
                <c:pt idx="10034">
                  <c:v>#N/A</c:v>
                </c:pt>
                <c:pt idx="10035">
                  <c:v>#N/A</c:v>
                </c:pt>
                <c:pt idx="10036">
                  <c:v>#N/A</c:v>
                </c:pt>
                <c:pt idx="10037">
                  <c:v>#N/A</c:v>
                </c:pt>
                <c:pt idx="10038">
                  <c:v>#N/A</c:v>
                </c:pt>
                <c:pt idx="10039">
                  <c:v>#N/A</c:v>
                </c:pt>
                <c:pt idx="10040">
                  <c:v>#N/A</c:v>
                </c:pt>
                <c:pt idx="10041">
                  <c:v>#N/A</c:v>
                </c:pt>
                <c:pt idx="10042">
                  <c:v>#N/A</c:v>
                </c:pt>
                <c:pt idx="10043">
                  <c:v>#N/A</c:v>
                </c:pt>
                <c:pt idx="10044">
                  <c:v>#N/A</c:v>
                </c:pt>
                <c:pt idx="10045">
                  <c:v>#N/A</c:v>
                </c:pt>
                <c:pt idx="10046">
                  <c:v>#N/A</c:v>
                </c:pt>
                <c:pt idx="10047">
                  <c:v>#N/A</c:v>
                </c:pt>
                <c:pt idx="10048">
                  <c:v>#N/A</c:v>
                </c:pt>
                <c:pt idx="10049">
                  <c:v>#N/A</c:v>
                </c:pt>
                <c:pt idx="10050">
                  <c:v>#N/A</c:v>
                </c:pt>
                <c:pt idx="10051">
                  <c:v>#N/A</c:v>
                </c:pt>
                <c:pt idx="10052">
                  <c:v>#N/A</c:v>
                </c:pt>
                <c:pt idx="10053">
                  <c:v>#N/A</c:v>
                </c:pt>
                <c:pt idx="10054">
                  <c:v>3.893150684931507</c:v>
                </c:pt>
                <c:pt idx="10055">
                  <c:v>3.893150684931507</c:v>
                </c:pt>
                <c:pt idx="10056">
                  <c:v>#N/A</c:v>
                </c:pt>
                <c:pt idx="10057">
                  <c:v>#N/A</c:v>
                </c:pt>
                <c:pt idx="10058">
                  <c:v>#N/A</c:v>
                </c:pt>
                <c:pt idx="10059">
                  <c:v>#N/A</c:v>
                </c:pt>
                <c:pt idx="10060">
                  <c:v>#N/A</c:v>
                </c:pt>
                <c:pt idx="10061">
                  <c:v>#N/A</c:v>
                </c:pt>
                <c:pt idx="10062">
                  <c:v>#N/A</c:v>
                </c:pt>
                <c:pt idx="10063">
                  <c:v>#N/A</c:v>
                </c:pt>
                <c:pt idx="10064">
                  <c:v>#N/A</c:v>
                </c:pt>
                <c:pt idx="10065">
                  <c:v>#N/A</c:v>
                </c:pt>
                <c:pt idx="10066">
                  <c:v>#N/A</c:v>
                </c:pt>
                <c:pt idx="10067">
                  <c:v>#N/A</c:v>
                </c:pt>
                <c:pt idx="10068">
                  <c:v>#N/A</c:v>
                </c:pt>
                <c:pt idx="10069">
                  <c:v>#N/A</c:v>
                </c:pt>
                <c:pt idx="10070">
                  <c:v>#N/A</c:v>
                </c:pt>
                <c:pt idx="10071">
                  <c:v>#N/A</c:v>
                </c:pt>
                <c:pt idx="10072">
                  <c:v>#N/A</c:v>
                </c:pt>
                <c:pt idx="10073">
                  <c:v>#N/A</c:v>
                </c:pt>
                <c:pt idx="10074">
                  <c:v>#N/A</c:v>
                </c:pt>
                <c:pt idx="10075">
                  <c:v>#N/A</c:v>
                </c:pt>
                <c:pt idx="10076">
                  <c:v>#N/A</c:v>
                </c:pt>
                <c:pt idx="10077">
                  <c:v>#N/A</c:v>
                </c:pt>
                <c:pt idx="10078">
                  <c:v>#N/A</c:v>
                </c:pt>
                <c:pt idx="10079">
                  <c:v>#N/A</c:v>
                </c:pt>
                <c:pt idx="10080">
                  <c:v>#N/A</c:v>
                </c:pt>
                <c:pt idx="10081">
                  <c:v>#N/A</c:v>
                </c:pt>
                <c:pt idx="10082">
                  <c:v>#N/A</c:v>
                </c:pt>
                <c:pt idx="10083">
                  <c:v>#N/A</c:v>
                </c:pt>
                <c:pt idx="10084">
                  <c:v>#N/A</c:v>
                </c:pt>
                <c:pt idx="10085">
                  <c:v>#N/A</c:v>
                </c:pt>
                <c:pt idx="10086">
                  <c:v>#N/A</c:v>
                </c:pt>
                <c:pt idx="10087">
                  <c:v>#N/A</c:v>
                </c:pt>
                <c:pt idx="10088">
                  <c:v>#N/A</c:v>
                </c:pt>
                <c:pt idx="10089">
                  <c:v>#N/A</c:v>
                </c:pt>
                <c:pt idx="10090">
                  <c:v>#N/A</c:v>
                </c:pt>
                <c:pt idx="10091">
                  <c:v>#N/A</c:v>
                </c:pt>
                <c:pt idx="10092">
                  <c:v>#N/A</c:v>
                </c:pt>
                <c:pt idx="10093">
                  <c:v>#N/A</c:v>
                </c:pt>
                <c:pt idx="10094">
                  <c:v>#N/A</c:v>
                </c:pt>
                <c:pt idx="10095">
                  <c:v>#N/A</c:v>
                </c:pt>
                <c:pt idx="10096">
                  <c:v>#N/A</c:v>
                </c:pt>
                <c:pt idx="10097">
                  <c:v>#N/A</c:v>
                </c:pt>
                <c:pt idx="10098">
                  <c:v>#N/A</c:v>
                </c:pt>
                <c:pt idx="10099">
                  <c:v>#N/A</c:v>
                </c:pt>
                <c:pt idx="10100">
                  <c:v>#N/A</c:v>
                </c:pt>
                <c:pt idx="10101">
                  <c:v>#N/A</c:v>
                </c:pt>
                <c:pt idx="10102">
                  <c:v>#N/A</c:v>
                </c:pt>
                <c:pt idx="10103">
                  <c:v>#N/A</c:v>
                </c:pt>
                <c:pt idx="10104">
                  <c:v>#N/A</c:v>
                </c:pt>
                <c:pt idx="10105">
                  <c:v>3.967123287671233</c:v>
                </c:pt>
                <c:pt idx="10106">
                  <c:v>#N/A</c:v>
                </c:pt>
                <c:pt idx="10107">
                  <c:v>#N/A</c:v>
                </c:pt>
                <c:pt idx="10108">
                  <c:v>#N/A</c:v>
                </c:pt>
                <c:pt idx="10109">
                  <c:v>#N/A</c:v>
                </c:pt>
                <c:pt idx="10110">
                  <c:v>#N/A</c:v>
                </c:pt>
                <c:pt idx="10111">
                  <c:v>#N/A</c:v>
                </c:pt>
                <c:pt idx="10112">
                  <c:v>#N/A</c:v>
                </c:pt>
                <c:pt idx="10113">
                  <c:v>#N/A</c:v>
                </c:pt>
                <c:pt idx="10114">
                  <c:v>#N/A</c:v>
                </c:pt>
                <c:pt idx="10115">
                  <c:v>#N/A</c:v>
                </c:pt>
                <c:pt idx="10116">
                  <c:v>#N/A</c:v>
                </c:pt>
                <c:pt idx="10117">
                  <c:v>#N/A</c:v>
                </c:pt>
                <c:pt idx="10118">
                  <c:v>#N/A</c:v>
                </c:pt>
                <c:pt idx="10119">
                  <c:v>#N/A</c:v>
                </c:pt>
                <c:pt idx="10120">
                  <c:v>#N/A</c:v>
                </c:pt>
                <c:pt idx="10121">
                  <c:v>#N/A</c:v>
                </c:pt>
                <c:pt idx="10122">
                  <c:v>#N/A</c:v>
                </c:pt>
                <c:pt idx="10123">
                  <c:v>#N/A</c:v>
                </c:pt>
                <c:pt idx="10124">
                  <c:v>#N/A</c:v>
                </c:pt>
                <c:pt idx="10125">
                  <c:v>#N/A</c:v>
                </c:pt>
                <c:pt idx="10126">
                  <c:v>#N/A</c:v>
                </c:pt>
                <c:pt idx="10127">
                  <c:v>#N/A</c:v>
                </c:pt>
                <c:pt idx="10128">
                  <c:v>#N/A</c:v>
                </c:pt>
                <c:pt idx="10129">
                  <c:v>#N/A</c:v>
                </c:pt>
                <c:pt idx="10130">
                  <c:v>#N/A</c:v>
                </c:pt>
                <c:pt idx="10131">
                  <c:v>#N/A</c:v>
                </c:pt>
                <c:pt idx="10132">
                  <c:v>#N/A</c:v>
                </c:pt>
                <c:pt idx="10133">
                  <c:v>#N/A</c:v>
                </c:pt>
                <c:pt idx="10134">
                  <c:v>#N/A</c:v>
                </c:pt>
                <c:pt idx="10135">
                  <c:v>#N/A</c:v>
                </c:pt>
                <c:pt idx="10136">
                  <c:v>#N/A</c:v>
                </c:pt>
                <c:pt idx="10137">
                  <c:v>#N/A</c:v>
                </c:pt>
                <c:pt idx="10138">
                  <c:v>#N/A</c:v>
                </c:pt>
                <c:pt idx="10139">
                  <c:v>#N/A</c:v>
                </c:pt>
                <c:pt idx="10140">
                  <c:v>#N/A</c:v>
                </c:pt>
                <c:pt idx="10141">
                  <c:v>#N/A</c:v>
                </c:pt>
                <c:pt idx="10142">
                  <c:v>#N/A</c:v>
                </c:pt>
                <c:pt idx="10143">
                  <c:v>#N/A</c:v>
                </c:pt>
                <c:pt idx="10144">
                  <c:v>#N/A</c:v>
                </c:pt>
                <c:pt idx="10145">
                  <c:v>#N/A</c:v>
                </c:pt>
                <c:pt idx="10146">
                  <c:v>#N/A</c:v>
                </c:pt>
                <c:pt idx="10147">
                  <c:v>#N/A</c:v>
                </c:pt>
                <c:pt idx="10148">
                  <c:v>#N/A</c:v>
                </c:pt>
                <c:pt idx="10149">
                  <c:v>#N/A</c:v>
                </c:pt>
                <c:pt idx="10150">
                  <c:v>#N/A</c:v>
                </c:pt>
                <c:pt idx="10151">
                  <c:v>#N/A</c:v>
                </c:pt>
                <c:pt idx="10152">
                  <c:v>#N/A</c:v>
                </c:pt>
                <c:pt idx="10153">
                  <c:v>#N/A</c:v>
                </c:pt>
                <c:pt idx="10154">
                  <c:v>#N/A</c:v>
                </c:pt>
                <c:pt idx="10155">
                  <c:v>#N/A</c:v>
                </c:pt>
                <c:pt idx="10156">
                  <c:v>#N/A</c:v>
                </c:pt>
                <c:pt idx="10157">
                  <c:v>#N/A</c:v>
                </c:pt>
                <c:pt idx="10158">
                  <c:v>#N/A</c:v>
                </c:pt>
                <c:pt idx="10159">
                  <c:v>#N/A</c:v>
                </c:pt>
                <c:pt idx="10160">
                  <c:v>#N/A</c:v>
                </c:pt>
                <c:pt idx="10161">
                  <c:v>#N/A</c:v>
                </c:pt>
                <c:pt idx="10162">
                  <c:v>#N/A</c:v>
                </c:pt>
                <c:pt idx="10163">
                  <c:v>#N/A</c:v>
                </c:pt>
                <c:pt idx="10164">
                  <c:v>#N/A</c:v>
                </c:pt>
                <c:pt idx="10165">
                  <c:v>#N/A</c:v>
                </c:pt>
                <c:pt idx="10166">
                  <c:v>#N/A</c:v>
                </c:pt>
                <c:pt idx="10167">
                  <c:v>#N/A</c:v>
                </c:pt>
                <c:pt idx="10168">
                  <c:v>#N/A</c:v>
                </c:pt>
                <c:pt idx="10169">
                  <c:v>#N/A</c:v>
                </c:pt>
                <c:pt idx="10170">
                  <c:v>#N/A</c:v>
                </c:pt>
                <c:pt idx="10171">
                  <c:v>#N/A</c:v>
                </c:pt>
                <c:pt idx="10172">
                  <c:v>#N/A</c:v>
                </c:pt>
                <c:pt idx="10173">
                  <c:v>#N/A</c:v>
                </c:pt>
                <c:pt idx="10174">
                  <c:v>#N/A</c:v>
                </c:pt>
                <c:pt idx="10175">
                  <c:v>#N/A</c:v>
                </c:pt>
                <c:pt idx="10176">
                  <c:v>#N/A</c:v>
                </c:pt>
                <c:pt idx="10177">
                  <c:v>#N/A</c:v>
                </c:pt>
                <c:pt idx="10178">
                  <c:v>#N/A</c:v>
                </c:pt>
                <c:pt idx="10179">
                  <c:v>#N/A</c:v>
                </c:pt>
                <c:pt idx="10180">
                  <c:v>#N/A</c:v>
                </c:pt>
                <c:pt idx="10181">
                  <c:v>#N/A</c:v>
                </c:pt>
                <c:pt idx="10182">
                  <c:v>#N/A</c:v>
                </c:pt>
                <c:pt idx="10183">
                  <c:v>#N/A</c:v>
                </c:pt>
                <c:pt idx="10184">
                  <c:v>#N/A</c:v>
                </c:pt>
                <c:pt idx="10185">
                  <c:v>#N/A</c:v>
                </c:pt>
                <c:pt idx="10186">
                  <c:v>#N/A</c:v>
                </c:pt>
                <c:pt idx="10187">
                  <c:v>#N/A</c:v>
                </c:pt>
                <c:pt idx="10188">
                  <c:v>#N/A</c:v>
                </c:pt>
                <c:pt idx="10189">
                  <c:v>#N/A</c:v>
                </c:pt>
                <c:pt idx="10190">
                  <c:v>4.0082191780821921</c:v>
                </c:pt>
                <c:pt idx="10191">
                  <c:v>#N/A</c:v>
                </c:pt>
                <c:pt idx="10192">
                  <c:v>#N/A</c:v>
                </c:pt>
                <c:pt idx="10193">
                  <c:v>#N/A</c:v>
                </c:pt>
                <c:pt idx="10194">
                  <c:v>#N/A</c:v>
                </c:pt>
                <c:pt idx="10195">
                  <c:v>#N/A</c:v>
                </c:pt>
                <c:pt idx="10196">
                  <c:v>#N/A</c:v>
                </c:pt>
                <c:pt idx="10197">
                  <c:v>#N/A</c:v>
                </c:pt>
                <c:pt idx="10198">
                  <c:v>#N/A</c:v>
                </c:pt>
                <c:pt idx="10199">
                  <c:v>#N/A</c:v>
                </c:pt>
                <c:pt idx="10200">
                  <c:v>#N/A</c:v>
                </c:pt>
                <c:pt idx="10201">
                  <c:v>#N/A</c:v>
                </c:pt>
                <c:pt idx="10202">
                  <c:v>#N/A</c:v>
                </c:pt>
                <c:pt idx="10203">
                  <c:v>#N/A</c:v>
                </c:pt>
                <c:pt idx="10204">
                  <c:v>#N/A</c:v>
                </c:pt>
                <c:pt idx="10205">
                  <c:v>#N/A</c:v>
                </c:pt>
                <c:pt idx="10206">
                  <c:v>#N/A</c:v>
                </c:pt>
                <c:pt idx="10207">
                  <c:v>#N/A</c:v>
                </c:pt>
                <c:pt idx="10208">
                  <c:v>#N/A</c:v>
                </c:pt>
                <c:pt idx="10209">
                  <c:v>#N/A</c:v>
                </c:pt>
                <c:pt idx="10210">
                  <c:v>#N/A</c:v>
                </c:pt>
                <c:pt idx="10211">
                  <c:v>#N/A</c:v>
                </c:pt>
                <c:pt idx="10212">
                  <c:v>#N/A</c:v>
                </c:pt>
                <c:pt idx="10213">
                  <c:v>#N/A</c:v>
                </c:pt>
                <c:pt idx="10214">
                  <c:v>#N/A</c:v>
                </c:pt>
                <c:pt idx="10215">
                  <c:v>#N/A</c:v>
                </c:pt>
                <c:pt idx="10216">
                  <c:v>#N/A</c:v>
                </c:pt>
                <c:pt idx="10217">
                  <c:v>#N/A</c:v>
                </c:pt>
                <c:pt idx="10218">
                  <c:v>4.0082191780821921</c:v>
                </c:pt>
                <c:pt idx="10219">
                  <c:v>#N/A</c:v>
                </c:pt>
                <c:pt idx="10220">
                  <c:v>#N/A</c:v>
                </c:pt>
                <c:pt idx="10221">
                  <c:v>#N/A</c:v>
                </c:pt>
                <c:pt idx="10222">
                  <c:v>#N/A</c:v>
                </c:pt>
                <c:pt idx="10223">
                  <c:v>#N/A</c:v>
                </c:pt>
                <c:pt idx="10224">
                  <c:v>#N/A</c:v>
                </c:pt>
                <c:pt idx="10225">
                  <c:v>#N/A</c:v>
                </c:pt>
                <c:pt idx="10226">
                  <c:v>#N/A</c:v>
                </c:pt>
                <c:pt idx="10227">
                  <c:v>#N/A</c:v>
                </c:pt>
                <c:pt idx="10228">
                  <c:v>#N/A</c:v>
                </c:pt>
                <c:pt idx="10229">
                  <c:v>#N/A</c:v>
                </c:pt>
                <c:pt idx="10230">
                  <c:v>#N/A</c:v>
                </c:pt>
                <c:pt idx="10231">
                  <c:v>#N/A</c:v>
                </c:pt>
                <c:pt idx="10232">
                  <c:v>#N/A</c:v>
                </c:pt>
                <c:pt idx="10233">
                  <c:v>#N/A</c:v>
                </c:pt>
                <c:pt idx="10234">
                  <c:v>#N/A</c:v>
                </c:pt>
                <c:pt idx="10235">
                  <c:v>#N/A</c:v>
                </c:pt>
                <c:pt idx="10236">
                  <c:v>#N/A</c:v>
                </c:pt>
                <c:pt idx="10237">
                  <c:v>#N/A</c:v>
                </c:pt>
                <c:pt idx="10238">
                  <c:v>#N/A</c:v>
                </c:pt>
                <c:pt idx="10239">
                  <c:v>#N/A</c:v>
                </c:pt>
                <c:pt idx="10240">
                  <c:v>#N/A</c:v>
                </c:pt>
                <c:pt idx="10241">
                  <c:v>#N/A</c:v>
                </c:pt>
                <c:pt idx="10242">
                  <c:v>#N/A</c:v>
                </c:pt>
                <c:pt idx="10243">
                  <c:v>#N/A</c:v>
                </c:pt>
                <c:pt idx="10244">
                  <c:v>#N/A</c:v>
                </c:pt>
                <c:pt idx="10245">
                  <c:v>#N/A</c:v>
                </c:pt>
                <c:pt idx="10246">
                  <c:v>#N/A</c:v>
                </c:pt>
                <c:pt idx="10247">
                  <c:v>#N/A</c:v>
                </c:pt>
                <c:pt idx="10248">
                  <c:v>4.0082191780821921</c:v>
                </c:pt>
                <c:pt idx="10249">
                  <c:v>#N/A</c:v>
                </c:pt>
                <c:pt idx="10250">
                  <c:v>#N/A</c:v>
                </c:pt>
                <c:pt idx="10251">
                  <c:v>#N/A</c:v>
                </c:pt>
                <c:pt idx="10252">
                  <c:v>#N/A</c:v>
                </c:pt>
                <c:pt idx="10253">
                  <c:v>#N/A</c:v>
                </c:pt>
                <c:pt idx="10254">
                  <c:v>#N/A</c:v>
                </c:pt>
                <c:pt idx="10255">
                  <c:v>#N/A</c:v>
                </c:pt>
                <c:pt idx="10256">
                  <c:v>#N/A</c:v>
                </c:pt>
                <c:pt idx="10257">
                  <c:v>#N/A</c:v>
                </c:pt>
                <c:pt idx="10258">
                  <c:v>#N/A</c:v>
                </c:pt>
                <c:pt idx="10259">
                  <c:v>#N/A</c:v>
                </c:pt>
                <c:pt idx="10260">
                  <c:v>#N/A</c:v>
                </c:pt>
                <c:pt idx="10261">
                  <c:v>#N/A</c:v>
                </c:pt>
                <c:pt idx="10262">
                  <c:v>#N/A</c:v>
                </c:pt>
                <c:pt idx="10263">
                  <c:v>#N/A</c:v>
                </c:pt>
                <c:pt idx="10264">
                  <c:v>#N/A</c:v>
                </c:pt>
                <c:pt idx="10265">
                  <c:v>#N/A</c:v>
                </c:pt>
                <c:pt idx="10266">
                  <c:v>#N/A</c:v>
                </c:pt>
                <c:pt idx="10267">
                  <c:v>#N/A</c:v>
                </c:pt>
                <c:pt idx="10268">
                  <c:v>#N/A</c:v>
                </c:pt>
                <c:pt idx="10269">
                  <c:v>#N/A</c:v>
                </c:pt>
                <c:pt idx="10270">
                  <c:v>#N/A</c:v>
                </c:pt>
                <c:pt idx="10271">
                  <c:v>#N/A</c:v>
                </c:pt>
                <c:pt idx="10272">
                  <c:v>#N/A</c:v>
                </c:pt>
                <c:pt idx="10273">
                  <c:v>#N/A</c:v>
                </c:pt>
                <c:pt idx="10274">
                  <c:v>#N/A</c:v>
                </c:pt>
                <c:pt idx="10275">
                  <c:v>#N/A</c:v>
                </c:pt>
                <c:pt idx="10276">
                  <c:v>#N/A</c:v>
                </c:pt>
                <c:pt idx="10277">
                  <c:v>#N/A</c:v>
                </c:pt>
                <c:pt idx="10278">
                  <c:v>#N/A</c:v>
                </c:pt>
                <c:pt idx="10279">
                  <c:v>#N/A</c:v>
                </c:pt>
                <c:pt idx="10280">
                  <c:v>#N/A</c:v>
                </c:pt>
                <c:pt idx="10281">
                  <c:v>#N/A</c:v>
                </c:pt>
                <c:pt idx="10282">
                  <c:v>#N/A</c:v>
                </c:pt>
                <c:pt idx="10283">
                  <c:v>#N/A</c:v>
                </c:pt>
                <c:pt idx="10284">
                  <c:v>#N/A</c:v>
                </c:pt>
                <c:pt idx="10285">
                  <c:v>#N/A</c:v>
                </c:pt>
                <c:pt idx="10286">
                  <c:v>#N/A</c:v>
                </c:pt>
                <c:pt idx="10287">
                  <c:v>#N/A</c:v>
                </c:pt>
                <c:pt idx="10288">
                  <c:v>#N/A</c:v>
                </c:pt>
                <c:pt idx="10289">
                  <c:v>#N/A</c:v>
                </c:pt>
                <c:pt idx="10290">
                  <c:v>#N/A</c:v>
                </c:pt>
                <c:pt idx="10291">
                  <c:v>#N/A</c:v>
                </c:pt>
                <c:pt idx="10292">
                  <c:v>#N/A</c:v>
                </c:pt>
                <c:pt idx="10293">
                  <c:v>#N/A</c:v>
                </c:pt>
                <c:pt idx="10294">
                  <c:v>#N/A</c:v>
                </c:pt>
                <c:pt idx="10295">
                  <c:v>#N/A</c:v>
                </c:pt>
                <c:pt idx="10296">
                  <c:v>#N/A</c:v>
                </c:pt>
                <c:pt idx="10297">
                  <c:v>#N/A</c:v>
                </c:pt>
                <c:pt idx="10298">
                  <c:v>#N/A</c:v>
                </c:pt>
                <c:pt idx="10299">
                  <c:v>4.0109589041095894</c:v>
                </c:pt>
                <c:pt idx="10300">
                  <c:v>#N/A</c:v>
                </c:pt>
                <c:pt idx="10301">
                  <c:v>#N/A</c:v>
                </c:pt>
                <c:pt idx="10302">
                  <c:v>#N/A</c:v>
                </c:pt>
                <c:pt idx="10303">
                  <c:v>#N/A</c:v>
                </c:pt>
                <c:pt idx="10304">
                  <c:v>#N/A</c:v>
                </c:pt>
                <c:pt idx="10305">
                  <c:v>#N/A</c:v>
                </c:pt>
                <c:pt idx="10306">
                  <c:v>#N/A</c:v>
                </c:pt>
                <c:pt idx="10307">
                  <c:v>#N/A</c:v>
                </c:pt>
                <c:pt idx="10308">
                  <c:v>#N/A</c:v>
                </c:pt>
                <c:pt idx="10309">
                  <c:v>#N/A</c:v>
                </c:pt>
                <c:pt idx="10310">
                  <c:v>#N/A</c:v>
                </c:pt>
                <c:pt idx="10311">
                  <c:v>#N/A</c:v>
                </c:pt>
                <c:pt idx="10312">
                  <c:v>#N/A</c:v>
                </c:pt>
                <c:pt idx="10313">
                  <c:v>#N/A</c:v>
                </c:pt>
                <c:pt idx="10314">
                  <c:v>#N/A</c:v>
                </c:pt>
                <c:pt idx="10315">
                  <c:v>#N/A</c:v>
                </c:pt>
                <c:pt idx="10316">
                  <c:v>#N/A</c:v>
                </c:pt>
                <c:pt idx="10317">
                  <c:v>#N/A</c:v>
                </c:pt>
                <c:pt idx="10318">
                  <c:v>#N/A</c:v>
                </c:pt>
                <c:pt idx="10319">
                  <c:v>#N/A</c:v>
                </c:pt>
                <c:pt idx="10320">
                  <c:v>#N/A</c:v>
                </c:pt>
                <c:pt idx="10321">
                  <c:v>#N/A</c:v>
                </c:pt>
                <c:pt idx="10322">
                  <c:v>#N/A</c:v>
                </c:pt>
                <c:pt idx="10323">
                  <c:v>#N/A</c:v>
                </c:pt>
                <c:pt idx="10324">
                  <c:v>#N/A</c:v>
                </c:pt>
                <c:pt idx="10325">
                  <c:v>#N/A</c:v>
                </c:pt>
                <c:pt idx="10326">
                  <c:v>#N/A</c:v>
                </c:pt>
                <c:pt idx="10327">
                  <c:v>#N/A</c:v>
                </c:pt>
                <c:pt idx="10328">
                  <c:v>#N/A</c:v>
                </c:pt>
                <c:pt idx="10329">
                  <c:v>#N/A</c:v>
                </c:pt>
                <c:pt idx="10330">
                  <c:v>#N/A</c:v>
                </c:pt>
                <c:pt idx="10331">
                  <c:v>#N/A</c:v>
                </c:pt>
                <c:pt idx="10332">
                  <c:v>#N/A</c:v>
                </c:pt>
                <c:pt idx="10333">
                  <c:v>#N/A</c:v>
                </c:pt>
                <c:pt idx="10334">
                  <c:v>#N/A</c:v>
                </c:pt>
                <c:pt idx="10335">
                  <c:v>#N/A</c:v>
                </c:pt>
                <c:pt idx="10336">
                  <c:v>#N/A</c:v>
                </c:pt>
                <c:pt idx="10337">
                  <c:v>#N/A</c:v>
                </c:pt>
                <c:pt idx="10338">
                  <c:v>#N/A</c:v>
                </c:pt>
                <c:pt idx="10339">
                  <c:v>#N/A</c:v>
                </c:pt>
                <c:pt idx="10340">
                  <c:v>#N/A</c:v>
                </c:pt>
                <c:pt idx="10341">
                  <c:v>#N/A</c:v>
                </c:pt>
                <c:pt idx="10342">
                  <c:v>#N/A</c:v>
                </c:pt>
                <c:pt idx="10343">
                  <c:v>#N/A</c:v>
                </c:pt>
                <c:pt idx="10344">
                  <c:v>#N/A</c:v>
                </c:pt>
                <c:pt idx="10345">
                  <c:v>#N/A</c:v>
                </c:pt>
                <c:pt idx="10346">
                  <c:v>#N/A</c:v>
                </c:pt>
                <c:pt idx="10347">
                  <c:v>#N/A</c:v>
                </c:pt>
                <c:pt idx="10348">
                  <c:v>#N/A</c:v>
                </c:pt>
                <c:pt idx="10349">
                  <c:v>#N/A</c:v>
                </c:pt>
                <c:pt idx="10350">
                  <c:v>#N/A</c:v>
                </c:pt>
                <c:pt idx="10351">
                  <c:v>#N/A</c:v>
                </c:pt>
                <c:pt idx="10352">
                  <c:v>#N/A</c:v>
                </c:pt>
                <c:pt idx="10353">
                  <c:v>#N/A</c:v>
                </c:pt>
                <c:pt idx="10354">
                  <c:v>#N/A</c:v>
                </c:pt>
                <c:pt idx="10355">
                  <c:v>#N/A</c:v>
                </c:pt>
                <c:pt idx="10356">
                  <c:v>#N/A</c:v>
                </c:pt>
                <c:pt idx="10357">
                  <c:v>#N/A</c:v>
                </c:pt>
                <c:pt idx="10358">
                  <c:v>#N/A</c:v>
                </c:pt>
                <c:pt idx="10359">
                  <c:v>#N/A</c:v>
                </c:pt>
                <c:pt idx="10360">
                  <c:v>#N/A</c:v>
                </c:pt>
                <c:pt idx="10361">
                  <c:v>#N/A</c:v>
                </c:pt>
                <c:pt idx="10362">
                  <c:v>#N/A</c:v>
                </c:pt>
                <c:pt idx="10363">
                  <c:v>#N/A</c:v>
                </c:pt>
                <c:pt idx="10364">
                  <c:v>#N/A</c:v>
                </c:pt>
                <c:pt idx="10365">
                  <c:v>#N/A</c:v>
                </c:pt>
                <c:pt idx="10366">
                  <c:v>#N/A</c:v>
                </c:pt>
                <c:pt idx="10367">
                  <c:v>#N/A</c:v>
                </c:pt>
                <c:pt idx="10368">
                  <c:v>#N/A</c:v>
                </c:pt>
                <c:pt idx="10369">
                  <c:v>#N/A</c:v>
                </c:pt>
                <c:pt idx="10370">
                  <c:v>#N/A</c:v>
                </c:pt>
                <c:pt idx="10371">
                  <c:v>4.0410958904109586</c:v>
                </c:pt>
                <c:pt idx="10372">
                  <c:v>4.0410958904109586</c:v>
                </c:pt>
                <c:pt idx="10373">
                  <c:v>#N/A</c:v>
                </c:pt>
                <c:pt idx="10374">
                  <c:v>4.0410958904109586</c:v>
                </c:pt>
                <c:pt idx="10375">
                  <c:v>4.0410958904109586</c:v>
                </c:pt>
                <c:pt idx="10376">
                  <c:v>#N/A</c:v>
                </c:pt>
                <c:pt idx="10377">
                  <c:v>#N/A</c:v>
                </c:pt>
                <c:pt idx="10378">
                  <c:v>#N/A</c:v>
                </c:pt>
                <c:pt idx="10379">
                  <c:v>#N/A</c:v>
                </c:pt>
                <c:pt idx="10380">
                  <c:v>#N/A</c:v>
                </c:pt>
                <c:pt idx="10381">
                  <c:v>#N/A</c:v>
                </c:pt>
                <c:pt idx="10382">
                  <c:v>#N/A</c:v>
                </c:pt>
                <c:pt idx="10383">
                  <c:v>#N/A</c:v>
                </c:pt>
                <c:pt idx="10384">
                  <c:v>#N/A</c:v>
                </c:pt>
                <c:pt idx="10385">
                  <c:v>#N/A</c:v>
                </c:pt>
                <c:pt idx="10386">
                  <c:v>#N/A</c:v>
                </c:pt>
                <c:pt idx="10387">
                  <c:v>#N/A</c:v>
                </c:pt>
                <c:pt idx="10388">
                  <c:v>#N/A</c:v>
                </c:pt>
                <c:pt idx="10389">
                  <c:v>#N/A</c:v>
                </c:pt>
                <c:pt idx="10390">
                  <c:v>#N/A</c:v>
                </c:pt>
                <c:pt idx="10391">
                  <c:v>#N/A</c:v>
                </c:pt>
                <c:pt idx="10392">
                  <c:v>#N/A</c:v>
                </c:pt>
                <c:pt idx="10393">
                  <c:v>#N/A</c:v>
                </c:pt>
                <c:pt idx="10394">
                  <c:v>#N/A</c:v>
                </c:pt>
                <c:pt idx="10395">
                  <c:v>#N/A</c:v>
                </c:pt>
                <c:pt idx="10396">
                  <c:v>#N/A</c:v>
                </c:pt>
                <c:pt idx="10397">
                  <c:v>#N/A</c:v>
                </c:pt>
                <c:pt idx="10398">
                  <c:v>#N/A</c:v>
                </c:pt>
                <c:pt idx="10399">
                  <c:v>#N/A</c:v>
                </c:pt>
                <c:pt idx="10400">
                  <c:v>4.0520547945205481</c:v>
                </c:pt>
                <c:pt idx="10401">
                  <c:v>#N/A</c:v>
                </c:pt>
                <c:pt idx="10402">
                  <c:v>#N/A</c:v>
                </c:pt>
                <c:pt idx="10403">
                  <c:v>#N/A</c:v>
                </c:pt>
                <c:pt idx="10404">
                  <c:v>#N/A</c:v>
                </c:pt>
                <c:pt idx="10405">
                  <c:v>#N/A</c:v>
                </c:pt>
                <c:pt idx="10406">
                  <c:v>#N/A</c:v>
                </c:pt>
                <c:pt idx="10407">
                  <c:v>#N/A</c:v>
                </c:pt>
                <c:pt idx="10408">
                  <c:v>#N/A</c:v>
                </c:pt>
                <c:pt idx="10409">
                  <c:v>#N/A</c:v>
                </c:pt>
                <c:pt idx="10410">
                  <c:v>#N/A</c:v>
                </c:pt>
                <c:pt idx="10411">
                  <c:v>#N/A</c:v>
                </c:pt>
                <c:pt idx="10412">
                  <c:v>#N/A</c:v>
                </c:pt>
                <c:pt idx="10413">
                  <c:v>#N/A</c:v>
                </c:pt>
                <c:pt idx="10414">
                  <c:v>#N/A</c:v>
                </c:pt>
                <c:pt idx="10415">
                  <c:v>#N/A</c:v>
                </c:pt>
                <c:pt idx="10416">
                  <c:v>#N/A</c:v>
                </c:pt>
                <c:pt idx="10417">
                  <c:v>#N/A</c:v>
                </c:pt>
                <c:pt idx="10418">
                  <c:v>#N/A</c:v>
                </c:pt>
                <c:pt idx="10419">
                  <c:v>#N/A</c:v>
                </c:pt>
                <c:pt idx="10420">
                  <c:v>#N/A</c:v>
                </c:pt>
                <c:pt idx="10421">
                  <c:v>#N/A</c:v>
                </c:pt>
                <c:pt idx="10422">
                  <c:v>#N/A</c:v>
                </c:pt>
                <c:pt idx="10423">
                  <c:v>#N/A</c:v>
                </c:pt>
                <c:pt idx="10424">
                  <c:v>#N/A</c:v>
                </c:pt>
                <c:pt idx="10425">
                  <c:v>#N/A</c:v>
                </c:pt>
                <c:pt idx="10426">
                  <c:v>#N/A</c:v>
                </c:pt>
                <c:pt idx="10427">
                  <c:v>#N/A</c:v>
                </c:pt>
                <c:pt idx="10428">
                  <c:v>#N/A</c:v>
                </c:pt>
                <c:pt idx="10429">
                  <c:v>#N/A</c:v>
                </c:pt>
                <c:pt idx="10430">
                  <c:v>#N/A</c:v>
                </c:pt>
                <c:pt idx="10431">
                  <c:v>#N/A</c:v>
                </c:pt>
                <c:pt idx="10432">
                  <c:v>#N/A</c:v>
                </c:pt>
                <c:pt idx="10433">
                  <c:v>#N/A</c:v>
                </c:pt>
                <c:pt idx="10434">
                  <c:v>#N/A</c:v>
                </c:pt>
                <c:pt idx="10435">
                  <c:v>#N/A</c:v>
                </c:pt>
                <c:pt idx="10436">
                  <c:v>#N/A</c:v>
                </c:pt>
                <c:pt idx="10437">
                  <c:v>#N/A</c:v>
                </c:pt>
                <c:pt idx="10438">
                  <c:v>#N/A</c:v>
                </c:pt>
                <c:pt idx="10439">
                  <c:v>#N/A</c:v>
                </c:pt>
                <c:pt idx="10440">
                  <c:v>#N/A</c:v>
                </c:pt>
                <c:pt idx="10441">
                  <c:v>#N/A</c:v>
                </c:pt>
                <c:pt idx="10442">
                  <c:v>#N/A</c:v>
                </c:pt>
                <c:pt idx="10443">
                  <c:v>#N/A</c:v>
                </c:pt>
                <c:pt idx="10444">
                  <c:v>#N/A</c:v>
                </c:pt>
                <c:pt idx="10445">
                  <c:v>#N/A</c:v>
                </c:pt>
                <c:pt idx="10446">
                  <c:v>#N/A</c:v>
                </c:pt>
                <c:pt idx="10447">
                  <c:v>#N/A</c:v>
                </c:pt>
                <c:pt idx="10448">
                  <c:v>#N/A</c:v>
                </c:pt>
                <c:pt idx="10449">
                  <c:v>#N/A</c:v>
                </c:pt>
                <c:pt idx="10450">
                  <c:v>#N/A</c:v>
                </c:pt>
                <c:pt idx="10451">
                  <c:v>#N/A</c:v>
                </c:pt>
                <c:pt idx="10452">
                  <c:v>#N/A</c:v>
                </c:pt>
                <c:pt idx="10453">
                  <c:v>#N/A</c:v>
                </c:pt>
                <c:pt idx="10454">
                  <c:v>#N/A</c:v>
                </c:pt>
                <c:pt idx="10455">
                  <c:v>#N/A</c:v>
                </c:pt>
                <c:pt idx="10456">
                  <c:v>#N/A</c:v>
                </c:pt>
                <c:pt idx="10457">
                  <c:v>#N/A</c:v>
                </c:pt>
                <c:pt idx="10458">
                  <c:v>#N/A</c:v>
                </c:pt>
                <c:pt idx="10459">
                  <c:v>#N/A</c:v>
                </c:pt>
                <c:pt idx="10460">
                  <c:v>#N/A</c:v>
                </c:pt>
                <c:pt idx="10461">
                  <c:v>#N/A</c:v>
                </c:pt>
                <c:pt idx="10462">
                  <c:v>#N/A</c:v>
                </c:pt>
                <c:pt idx="10463">
                  <c:v>#N/A</c:v>
                </c:pt>
                <c:pt idx="10464">
                  <c:v>#N/A</c:v>
                </c:pt>
                <c:pt idx="10465">
                  <c:v>#N/A</c:v>
                </c:pt>
                <c:pt idx="10466">
                  <c:v>#N/A</c:v>
                </c:pt>
                <c:pt idx="10467">
                  <c:v>#N/A</c:v>
                </c:pt>
                <c:pt idx="10468">
                  <c:v>#N/A</c:v>
                </c:pt>
                <c:pt idx="10469">
                  <c:v>#N/A</c:v>
                </c:pt>
                <c:pt idx="10470">
                  <c:v>#N/A</c:v>
                </c:pt>
                <c:pt idx="10471">
                  <c:v>#N/A</c:v>
                </c:pt>
                <c:pt idx="10472">
                  <c:v>#N/A</c:v>
                </c:pt>
                <c:pt idx="10473">
                  <c:v>#N/A</c:v>
                </c:pt>
                <c:pt idx="10474">
                  <c:v>#N/A</c:v>
                </c:pt>
                <c:pt idx="10475">
                  <c:v>#N/A</c:v>
                </c:pt>
                <c:pt idx="10476">
                  <c:v>#N/A</c:v>
                </c:pt>
                <c:pt idx="10477">
                  <c:v>#N/A</c:v>
                </c:pt>
                <c:pt idx="10478">
                  <c:v>#N/A</c:v>
                </c:pt>
                <c:pt idx="10479">
                  <c:v>#N/A</c:v>
                </c:pt>
                <c:pt idx="10480">
                  <c:v>#N/A</c:v>
                </c:pt>
                <c:pt idx="10481">
                  <c:v>#N/A</c:v>
                </c:pt>
                <c:pt idx="10482">
                  <c:v>#N/A</c:v>
                </c:pt>
                <c:pt idx="10483">
                  <c:v>#N/A</c:v>
                </c:pt>
                <c:pt idx="10484">
                  <c:v>4.1643835616438354</c:v>
                </c:pt>
                <c:pt idx="10485">
                  <c:v>#N/A</c:v>
                </c:pt>
                <c:pt idx="10486">
                  <c:v>#N/A</c:v>
                </c:pt>
                <c:pt idx="10487">
                  <c:v>#N/A</c:v>
                </c:pt>
                <c:pt idx="10488">
                  <c:v>#N/A</c:v>
                </c:pt>
                <c:pt idx="10489">
                  <c:v>#N/A</c:v>
                </c:pt>
                <c:pt idx="10490">
                  <c:v>#N/A</c:v>
                </c:pt>
                <c:pt idx="10491">
                  <c:v>#N/A</c:v>
                </c:pt>
                <c:pt idx="10492">
                  <c:v>#N/A</c:v>
                </c:pt>
                <c:pt idx="10493">
                  <c:v>#N/A</c:v>
                </c:pt>
                <c:pt idx="10494">
                  <c:v>#N/A</c:v>
                </c:pt>
                <c:pt idx="10495">
                  <c:v>#N/A</c:v>
                </c:pt>
                <c:pt idx="10496">
                  <c:v>#N/A</c:v>
                </c:pt>
                <c:pt idx="10497">
                  <c:v>#N/A</c:v>
                </c:pt>
                <c:pt idx="10498">
                  <c:v>#N/A</c:v>
                </c:pt>
                <c:pt idx="10499">
                  <c:v>#N/A</c:v>
                </c:pt>
                <c:pt idx="10500">
                  <c:v>#N/A</c:v>
                </c:pt>
                <c:pt idx="10501">
                  <c:v>#N/A</c:v>
                </c:pt>
                <c:pt idx="10502">
                  <c:v>#N/A</c:v>
                </c:pt>
                <c:pt idx="10503">
                  <c:v>#N/A</c:v>
                </c:pt>
                <c:pt idx="10504">
                  <c:v>#N/A</c:v>
                </c:pt>
                <c:pt idx="10505">
                  <c:v>#N/A</c:v>
                </c:pt>
                <c:pt idx="10506">
                  <c:v>#N/A</c:v>
                </c:pt>
                <c:pt idx="10507">
                  <c:v>#N/A</c:v>
                </c:pt>
                <c:pt idx="10508">
                  <c:v>#N/A</c:v>
                </c:pt>
                <c:pt idx="10509">
                  <c:v>#N/A</c:v>
                </c:pt>
                <c:pt idx="10510">
                  <c:v>#N/A</c:v>
                </c:pt>
                <c:pt idx="10511">
                  <c:v>#N/A</c:v>
                </c:pt>
                <c:pt idx="10512">
                  <c:v>#N/A</c:v>
                </c:pt>
                <c:pt idx="10513">
                  <c:v>#N/A</c:v>
                </c:pt>
                <c:pt idx="10514">
                  <c:v>#N/A</c:v>
                </c:pt>
                <c:pt idx="10515">
                  <c:v>#N/A</c:v>
                </c:pt>
                <c:pt idx="10516">
                  <c:v>#N/A</c:v>
                </c:pt>
                <c:pt idx="10517">
                  <c:v>#N/A</c:v>
                </c:pt>
                <c:pt idx="10518">
                  <c:v>#N/A</c:v>
                </c:pt>
                <c:pt idx="10519">
                  <c:v>#N/A</c:v>
                </c:pt>
                <c:pt idx="10520">
                  <c:v>#N/A</c:v>
                </c:pt>
                <c:pt idx="10521">
                  <c:v>#N/A</c:v>
                </c:pt>
                <c:pt idx="10522">
                  <c:v>#N/A</c:v>
                </c:pt>
                <c:pt idx="10523">
                  <c:v>#N/A</c:v>
                </c:pt>
                <c:pt idx="10524">
                  <c:v>#N/A</c:v>
                </c:pt>
                <c:pt idx="10525">
                  <c:v>#N/A</c:v>
                </c:pt>
                <c:pt idx="10526">
                  <c:v>#N/A</c:v>
                </c:pt>
                <c:pt idx="10527">
                  <c:v>#N/A</c:v>
                </c:pt>
                <c:pt idx="10528">
                  <c:v>#N/A</c:v>
                </c:pt>
                <c:pt idx="10529">
                  <c:v>#N/A</c:v>
                </c:pt>
                <c:pt idx="10530">
                  <c:v>#N/A</c:v>
                </c:pt>
                <c:pt idx="10531">
                  <c:v>#N/A</c:v>
                </c:pt>
                <c:pt idx="10532">
                  <c:v>#N/A</c:v>
                </c:pt>
                <c:pt idx="10533">
                  <c:v>#N/A</c:v>
                </c:pt>
                <c:pt idx="10534">
                  <c:v>#N/A</c:v>
                </c:pt>
                <c:pt idx="10535">
                  <c:v>#N/A</c:v>
                </c:pt>
                <c:pt idx="10536">
                  <c:v>#N/A</c:v>
                </c:pt>
                <c:pt idx="10537">
                  <c:v>#N/A</c:v>
                </c:pt>
                <c:pt idx="10538">
                  <c:v>#N/A</c:v>
                </c:pt>
                <c:pt idx="10539">
                  <c:v>#N/A</c:v>
                </c:pt>
                <c:pt idx="10540">
                  <c:v>#N/A</c:v>
                </c:pt>
                <c:pt idx="10541">
                  <c:v>#N/A</c:v>
                </c:pt>
                <c:pt idx="10542">
                  <c:v>#N/A</c:v>
                </c:pt>
                <c:pt idx="10543">
                  <c:v>#N/A</c:v>
                </c:pt>
                <c:pt idx="10544">
                  <c:v>#N/A</c:v>
                </c:pt>
                <c:pt idx="10545">
                  <c:v>#N/A</c:v>
                </c:pt>
                <c:pt idx="10546">
                  <c:v>#N/A</c:v>
                </c:pt>
                <c:pt idx="10547">
                  <c:v>#N/A</c:v>
                </c:pt>
                <c:pt idx="10548">
                  <c:v>4.2191780821917808</c:v>
                </c:pt>
                <c:pt idx="10549">
                  <c:v>#N/A</c:v>
                </c:pt>
                <c:pt idx="10550">
                  <c:v>#N/A</c:v>
                </c:pt>
                <c:pt idx="10551">
                  <c:v>#N/A</c:v>
                </c:pt>
                <c:pt idx="10552">
                  <c:v>#N/A</c:v>
                </c:pt>
                <c:pt idx="10553">
                  <c:v>#N/A</c:v>
                </c:pt>
                <c:pt idx="10554">
                  <c:v>#N/A</c:v>
                </c:pt>
                <c:pt idx="10555">
                  <c:v>#N/A</c:v>
                </c:pt>
                <c:pt idx="10556">
                  <c:v>#N/A</c:v>
                </c:pt>
                <c:pt idx="10557">
                  <c:v>#N/A</c:v>
                </c:pt>
                <c:pt idx="10558">
                  <c:v>#N/A</c:v>
                </c:pt>
                <c:pt idx="10559">
                  <c:v>#N/A</c:v>
                </c:pt>
                <c:pt idx="10560">
                  <c:v>#N/A</c:v>
                </c:pt>
                <c:pt idx="10561">
                  <c:v>#N/A</c:v>
                </c:pt>
                <c:pt idx="10562">
                  <c:v>#N/A</c:v>
                </c:pt>
                <c:pt idx="10563">
                  <c:v>#N/A</c:v>
                </c:pt>
                <c:pt idx="10564">
                  <c:v>#N/A</c:v>
                </c:pt>
                <c:pt idx="10565">
                  <c:v>#N/A</c:v>
                </c:pt>
                <c:pt idx="10566">
                  <c:v>#N/A</c:v>
                </c:pt>
                <c:pt idx="10567">
                  <c:v>#N/A</c:v>
                </c:pt>
                <c:pt idx="10568">
                  <c:v>#N/A</c:v>
                </c:pt>
                <c:pt idx="10569">
                  <c:v>#N/A</c:v>
                </c:pt>
                <c:pt idx="10570">
                  <c:v>#N/A</c:v>
                </c:pt>
                <c:pt idx="10571">
                  <c:v>#N/A</c:v>
                </c:pt>
                <c:pt idx="10572">
                  <c:v>#N/A</c:v>
                </c:pt>
                <c:pt idx="10573">
                  <c:v>#N/A</c:v>
                </c:pt>
                <c:pt idx="10574">
                  <c:v>#N/A</c:v>
                </c:pt>
                <c:pt idx="10575">
                  <c:v>#N/A</c:v>
                </c:pt>
                <c:pt idx="10576">
                  <c:v>#N/A</c:v>
                </c:pt>
                <c:pt idx="10577">
                  <c:v>#N/A</c:v>
                </c:pt>
                <c:pt idx="10578">
                  <c:v>#N/A</c:v>
                </c:pt>
                <c:pt idx="10579">
                  <c:v>#N/A</c:v>
                </c:pt>
                <c:pt idx="10580">
                  <c:v>#N/A</c:v>
                </c:pt>
                <c:pt idx="10581">
                  <c:v>#N/A</c:v>
                </c:pt>
                <c:pt idx="10582">
                  <c:v>#N/A</c:v>
                </c:pt>
                <c:pt idx="10583">
                  <c:v>#N/A</c:v>
                </c:pt>
                <c:pt idx="10584">
                  <c:v>#N/A</c:v>
                </c:pt>
                <c:pt idx="10585">
                  <c:v>4.2739726027397262</c:v>
                </c:pt>
                <c:pt idx="10586">
                  <c:v>#N/A</c:v>
                </c:pt>
                <c:pt idx="10587">
                  <c:v>#N/A</c:v>
                </c:pt>
                <c:pt idx="10588">
                  <c:v>#N/A</c:v>
                </c:pt>
                <c:pt idx="10589">
                  <c:v>#N/A</c:v>
                </c:pt>
                <c:pt idx="10590">
                  <c:v>#N/A</c:v>
                </c:pt>
                <c:pt idx="10591">
                  <c:v>#N/A</c:v>
                </c:pt>
                <c:pt idx="10592">
                  <c:v>#N/A</c:v>
                </c:pt>
                <c:pt idx="10593">
                  <c:v>4.2767123287671236</c:v>
                </c:pt>
                <c:pt idx="10594">
                  <c:v>#N/A</c:v>
                </c:pt>
                <c:pt idx="10595">
                  <c:v>#N/A</c:v>
                </c:pt>
                <c:pt idx="10596">
                  <c:v>#N/A</c:v>
                </c:pt>
                <c:pt idx="10597">
                  <c:v>#N/A</c:v>
                </c:pt>
                <c:pt idx="10598">
                  <c:v>#N/A</c:v>
                </c:pt>
                <c:pt idx="10599">
                  <c:v>#N/A</c:v>
                </c:pt>
                <c:pt idx="10600">
                  <c:v>#N/A</c:v>
                </c:pt>
                <c:pt idx="10601">
                  <c:v>#N/A</c:v>
                </c:pt>
                <c:pt idx="10602">
                  <c:v>#N/A</c:v>
                </c:pt>
                <c:pt idx="10603">
                  <c:v>#N/A</c:v>
                </c:pt>
                <c:pt idx="10604">
                  <c:v>#N/A</c:v>
                </c:pt>
                <c:pt idx="10605">
                  <c:v>#N/A</c:v>
                </c:pt>
                <c:pt idx="10606">
                  <c:v>#N/A</c:v>
                </c:pt>
                <c:pt idx="10607">
                  <c:v>#N/A</c:v>
                </c:pt>
                <c:pt idx="10608">
                  <c:v>#N/A</c:v>
                </c:pt>
                <c:pt idx="10609">
                  <c:v>#N/A</c:v>
                </c:pt>
                <c:pt idx="10610">
                  <c:v>#N/A</c:v>
                </c:pt>
                <c:pt idx="10611">
                  <c:v>#N/A</c:v>
                </c:pt>
                <c:pt idx="10612">
                  <c:v>#N/A</c:v>
                </c:pt>
                <c:pt idx="10613">
                  <c:v>#N/A</c:v>
                </c:pt>
                <c:pt idx="10614">
                  <c:v>#N/A</c:v>
                </c:pt>
                <c:pt idx="10615">
                  <c:v>#N/A</c:v>
                </c:pt>
                <c:pt idx="10616">
                  <c:v>#N/A</c:v>
                </c:pt>
                <c:pt idx="10617">
                  <c:v>#N/A</c:v>
                </c:pt>
                <c:pt idx="10618">
                  <c:v>#N/A</c:v>
                </c:pt>
                <c:pt idx="10619">
                  <c:v>#N/A</c:v>
                </c:pt>
                <c:pt idx="10620">
                  <c:v>#N/A</c:v>
                </c:pt>
                <c:pt idx="10621">
                  <c:v>#N/A</c:v>
                </c:pt>
                <c:pt idx="10622">
                  <c:v>#N/A</c:v>
                </c:pt>
                <c:pt idx="10623">
                  <c:v>#N/A</c:v>
                </c:pt>
                <c:pt idx="10624">
                  <c:v>#N/A</c:v>
                </c:pt>
                <c:pt idx="10625">
                  <c:v>#N/A</c:v>
                </c:pt>
                <c:pt idx="10626">
                  <c:v>#N/A</c:v>
                </c:pt>
                <c:pt idx="10627">
                  <c:v>#N/A</c:v>
                </c:pt>
                <c:pt idx="10628">
                  <c:v>#N/A</c:v>
                </c:pt>
                <c:pt idx="10629">
                  <c:v>#N/A</c:v>
                </c:pt>
                <c:pt idx="10630">
                  <c:v>#N/A</c:v>
                </c:pt>
                <c:pt idx="10631">
                  <c:v>#N/A</c:v>
                </c:pt>
                <c:pt idx="10632">
                  <c:v>#N/A</c:v>
                </c:pt>
                <c:pt idx="10633">
                  <c:v>#N/A</c:v>
                </c:pt>
                <c:pt idx="10634">
                  <c:v>#N/A</c:v>
                </c:pt>
                <c:pt idx="10635">
                  <c:v>#N/A</c:v>
                </c:pt>
                <c:pt idx="10636">
                  <c:v>#N/A</c:v>
                </c:pt>
                <c:pt idx="10637">
                  <c:v>#N/A</c:v>
                </c:pt>
                <c:pt idx="10638">
                  <c:v>#N/A</c:v>
                </c:pt>
                <c:pt idx="10639">
                  <c:v>#N/A</c:v>
                </c:pt>
                <c:pt idx="10640">
                  <c:v>#N/A</c:v>
                </c:pt>
                <c:pt idx="10641">
                  <c:v>#N/A</c:v>
                </c:pt>
                <c:pt idx="10642">
                  <c:v>#N/A</c:v>
                </c:pt>
                <c:pt idx="10643">
                  <c:v>#N/A</c:v>
                </c:pt>
                <c:pt idx="10644">
                  <c:v>#N/A</c:v>
                </c:pt>
                <c:pt idx="10645">
                  <c:v>#N/A</c:v>
                </c:pt>
                <c:pt idx="10646">
                  <c:v>#N/A</c:v>
                </c:pt>
                <c:pt idx="10647">
                  <c:v>#N/A</c:v>
                </c:pt>
                <c:pt idx="10648">
                  <c:v>#N/A</c:v>
                </c:pt>
                <c:pt idx="10649">
                  <c:v>#N/A</c:v>
                </c:pt>
                <c:pt idx="10650">
                  <c:v>#N/A</c:v>
                </c:pt>
                <c:pt idx="10651">
                  <c:v>#N/A</c:v>
                </c:pt>
                <c:pt idx="10652">
                  <c:v>#N/A</c:v>
                </c:pt>
                <c:pt idx="10653">
                  <c:v>#N/A</c:v>
                </c:pt>
                <c:pt idx="10654">
                  <c:v>#N/A</c:v>
                </c:pt>
                <c:pt idx="10655">
                  <c:v>#N/A</c:v>
                </c:pt>
                <c:pt idx="10656">
                  <c:v>#N/A</c:v>
                </c:pt>
                <c:pt idx="10657">
                  <c:v>#N/A</c:v>
                </c:pt>
                <c:pt idx="10658">
                  <c:v>#N/A</c:v>
                </c:pt>
                <c:pt idx="10659">
                  <c:v>#N/A</c:v>
                </c:pt>
                <c:pt idx="10660">
                  <c:v>#N/A</c:v>
                </c:pt>
                <c:pt idx="10661">
                  <c:v>#N/A</c:v>
                </c:pt>
                <c:pt idx="10662">
                  <c:v>#N/A</c:v>
                </c:pt>
                <c:pt idx="10663">
                  <c:v>#N/A</c:v>
                </c:pt>
                <c:pt idx="10664">
                  <c:v>4.2904109589041095</c:v>
                </c:pt>
                <c:pt idx="10665">
                  <c:v>#N/A</c:v>
                </c:pt>
                <c:pt idx="10666">
                  <c:v>#N/A</c:v>
                </c:pt>
                <c:pt idx="10667">
                  <c:v>#N/A</c:v>
                </c:pt>
                <c:pt idx="10668">
                  <c:v>#N/A</c:v>
                </c:pt>
                <c:pt idx="10669">
                  <c:v>#N/A</c:v>
                </c:pt>
                <c:pt idx="10670">
                  <c:v>#N/A</c:v>
                </c:pt>
                <c:pt idx="10671">
                  <c:v>#N/A</c:v>
                </c:pt>
                <c:pt idx="10672">
                  <c:v>#N/A</c:v>
                </c:pt>
                <c:pt idx="10673">
                  <c:v>#N/A</c:v>
                </c:pt>
                <c:pt idx="10674">
                  <c:v>#N/A</c:v>
                </c:pt>
                <c:pt idx="10675">
                  <c:v>#N/A</c:v>
                </c:pt>
                <c:pt idx="10676">
                  <c:v>#N/A</c:v>
                </c:pt>
                <c:pt idx="10677">
                  <c:v>#N/A</c:v>
                </c:pt>
                <c:pt idx="10678">
                  <c:v>#N/A</c:v>
                </c:pt>
                <c:pt idx="10679">
                  <c:v>#N/A</c:v>
                </c:pt>
                <c:pt idx="10680">
                  <c:v>#N/A</c:v>
                </c:pt>
                <c:pt idx="10681">
                  <c:v>#N/A</c:v>
                </c:pt>
                <c:pt idx="10682">
                  <c:v>#N/A</c:v>
                </c:pt>
                <c:pt idx="10683">
                  <c:v>#N/A</c:v>
                </c:pt>
                <c:pt idx="10684">
                  <c:v>#N/A</c:v>
                </c:pt>
                <c:pt idx="10685">
                  <c:v>#N/A</c:v>
                </c:pt>
                <c:pt idx="10686">
                  <c:v>#N/A</c:v>
                </c:pt>
                <c:pt idx="10687">
                  <c:v>#N/A</c:v>
                </c:pt>
                <c:pt idx="10688">
                  <c:v>#N/A</c:v>
                </c:pt>
                <c:pt idx="10689">
                  <c:v>#N/A</c:v>
                </c:pt>
                <c:pt idx="10690">
                  <c:v>#N/A</c:v>
                </c:pt>
                <c:pt idx="10691">
                  <c:v>#N/A</c:v>
                </c:pt>
                <c:pt idx="10692">
                  <c:v>#N/A</c:v>
                </c:pt>
                <c:pt idx="10693">
                  <c:v>#N/A</c:v>
                </c:pt>
                <c:pt idx="10694">
                  <c:v>#N/A</c:v>
                </c:pt>
                <c:pt idx="10695">
                  <c:v>#N/A</c:v>
                </c:pt>
                <c:pt idx="10696">
                  <c:v>#N/A</c:v>
                </c:pt>
                <c:pt idx="10697">
                  <c:v>#N/A</c:v>
                </c:pt>
                <c:pt idx="10698">
                  <c:v>#N/A</c:v>
                </c:pt>
                <c:pt idx="10699">
                  <c:v>#N/A</c:v>
                </c:pt>
                <c:pt idx="10700">
                  <c:v>#N/A</c:v>
                </c:pt>
                <c:pt idx="10701">
                  <c:v>#N/A</c:v>
                </c:pt>
                <c:pt idx="10702">
                  <c:v>#N/A</c:v>
                </c:pt>
                <c:pt idx="10703">
                  <c:v>#N/A</c:v>
                </c:pt>
                <c:pt idx="10704">
                  <c:v>#N/A</c:v>
                </c:pt>
                <c:pt idx="10705">
                  <c:v>#N/A</c:v>
                </c:pt>
                <c:pt idx="10706">
                  <c:v>#N/A</c:v>
                </c:pt>
                <c:pt idx="10707">
                  <c:v>#N/A</c:v>
                </c:pt>
                <c:pt idx="10708">
                  <c:v>#N/A</c:v>
                </c:pt>
                <c:pt idx="10709">
                  <c:v>#N/A</c:v>
                </c:pt>
                <c:pt idx="10710">
                  <c:v>#N/A</c:v>
                </c:pt>
                <c:pt idx="10711">
                  <c:v>#N/A</c:v>
                </c:pt>
                <c:pt idx="10712">
                  <c:v>#N/A</c:v>
                </c:pt>
                <c:pt idx="10713">
                  <c:v>#N/A</c:v>
                </c:pt>
                <c:pt idx="10714">
                  <c:v>#N/A</c:v>
                </c:pt>
                <c:pt idx="10715">
                  <c:v>#N/A</c:v>
                </c:pt>
                <c:pt idx="10716">
                  <c:v>#N/A</c:v>
                </c:pt>
                <c:pt idx="10717">
                  <c:v>#N/A</c:v>
                </c:pt>
                <c:pt idx="10718">
                  <c:v>#N/A</c:v>
                </c:pt>
                <c:pt idx="10719">
                  <c:v>#N/A</c:v>
                </c:pt>
                <c:pt idx="10720">
                  <c:v>#N/A</c:v>
                </c:pt>
                <c:pt idx="10721">
                  <c:v>#N/A</c:v>
                </c:pt>
                <c:pt idx="10722">
                  <c:v>#N/A</c:v>
                </c:pt>
                <c:pt idx="10723">
                  <c:v>#N/A</c:v>
                </c:pt>
                <c:pt idx="10724">
                  <c:v>#N/A</c:v>
                </c:pt>
                <c:pt idx="10725">
                  <c:v>#N/A</c:v>
                </c:pt>
                <c:pt idx="10726">
                  <c:v>#N/A</c:v>
                </c:pt>
                <c:pt idx="10727">
                  <c:v>#N/A</c:v>
                </c:pt>
                <c:pt idx="10728">
                  <c:v>#N/A</c:v>
                </c:pt>
                <c:pt idx="10729">
                  <c:v>#N/A</c:v>
                </c:pt>
                <c:pt idx="10730">
                  <c:v>#N/A</c:v>
                </c:pt>
                <c:pt idx="10731">
                  <c:v>#N/A</c:v>
                </c:pt>
                <c:pt idx="10732">
                  <c:v>4.4054794520547942</c:v>
                </c:pt>
                <c:pt idx="10733">
                  <c:v>#N/A</c:v>
                </c:pt>
                <c:pt idx="10734">
                  <c:v>#N/A</c:v>
                </c:pt>
                <c:pt idx="10735">
                  <c:v>#N/A</c:v>
                </c:pt>
                <c:pt idx="10736">
                  <c:v>#N/A</c:v>
                </c:pt>
                <c:pt idx="10737">
                  <c:v>#N/A</c:v>
                </c:pt>
                <c:pt idx="10738">
                  <c:v>#N/A</c:v>
                </c:pt>
                <c:pt idx="10739">
                  <c:v>#N/A</c:v>
                </c:pt>
                <c:pt idx="10740">
                  <c:v>#N/A</c:v>
                </c:pt>
                <c:pt idx="10741">
                  <c:v>#N/A</c:v>
                </c:pt>
                <c:pt idx="10742">
                  <c:v>#N/A</c:v>
                </c:pt>
                <c:pt idx="10743">
                  <c:v>#N/A</c:v>
                </c:pt>
                <c:pt idx="10744">
                  <c:v>#N/A</c:v>
                </c:pt>
                <c:pt idx="10745">
                  <c:v>#N/A</c:v>
                </c:pt>
                <c:pt idx="10746">
                  <c:v>#N/A</c:v>
                </c:pt>
                <c:pt idx="10747">
                  <c:v>#N/A</c:v>
                </c:pt>
                <c:pt idx="10748">
                  <c:v>#N/A</c:v>
                </c:pt>
                <c:pt idx="10749">
                  <c:v>#N/A</c:v>
                </c:pt>
                <c:pt idx="10750">
                  <c:v>#N/A</c:v>
                </c:pt>
                <c:pt idx="10751">
                  <c:v>#N/A</c:v>
                </c:pt>
                <c:pt idx="10752">
                  <c:v>#N/A</c:v>
                </c:pt>
                <c:pt idx="10753">
                  <c:v>#N/A</c:v>
                </c:pt>
                <c:pt idx="10754">
                  <c:v>#N/A</c:v>
                </c:pt>
                <c:pt idx="10755">
                  <c:v>4.4273972602739722</c:v>
                </c:pt>
                <c:pt idx="10756">
                  <c:v>#N/A</c:v>
                </c:pt>
                <c:pt idx="10757">
                  <c:v>#N/A</c:v>
                </c:pt>
                <c:pt idx="10758">
                  <c:v>#N/A</c:v>
                </c:pt>
                <c:pt idx="10759">
                  <c:v>#N/A</c:v>
                </c:pt>
                <c:pt idx="10760">
                  <c:v>#N/A</c:v>
                </c:pt>
                <c:pt idx="10761">
                  <c:v>#N/A</c:v>
                </c:pt>
                <c:pt idx="10762">
                  <c:v>#N/A</c:v>
                </c:pt>
                <c:pt idx="10763">
                  <c:v>#N/A</c:v>
                </c:pt>
                <c:pt idx="10764">
                  <c:v>#N/A</c:v>
                </c:pt>
                <c:pt idx="10765">
                  <c:v>#N/A</c:v>
                </c:pt>
                <c:pt idx="10766">
                  <c:v>#N/A</c:v>
                </c:pt>
                <c:pt idx="10767">
                  <c:v>#N/A</c:v>
                </c:pt>
                <c:pt idx="10768">
                  <c:v>#N/A</c:v>
                </c:pt>
                <c:pt idx="10769">
                  <c:v>#N/A</c:v>
                </c:pt>
                <c:pt idx="10770">
                  <c:v>#N/A</c:v>
                </c:pt>
                <c:pt idx="10771">
                  <c:v>4.4301369863013695</c:v>
                </c:pt>
                <c:pt idx="10772">
                  <c:v>4.4301369863013695</c:v>
                </c:pt>
                <c:pt idx="10773">
                  <c:v>#N/A</c:v>
                </c:pt>
                <c:pt idx="10774">
                  <c:v>#N/A</c:v>
                </c:pt>
                <c:pt idx="10775">
                  <c:v>#N/A</c:v>
                </c:pt>
                <c:pt idx="10776">
                  <c:v>4.4301369863013695</c:v>
                </c:pt>
                <c:pt idx="10777">
                  <c:v>#N/A</c:v>
                </c:pt>
                <c:pt idx="10778">
                  <c:v>#N/A</c:v>
                </c:pt>
                <c:pt idx="10779">
                  <c:v>#N/A</c:v>
                </c:pt>
                <c:pt idx="10780">
                  <c:v>#N/A</c:v>
                </c:pt>
                <c:pt idx="10781">
                  <c:v>4.4328767123287669</c:v>
                </c:pt>
                <c:pt idx="10782">
                  <c:v>#N/A</c:v>
                </c:pt>
                <c:pt idx="10783">
                  <c:v>#N/A</c:v>
                </c:pt>
                <c:pt idx="10784">
                  <c:v>#N/A</c:v>
                </c:pt>
                <c:pt idx="10785">
                  <c:v>#N/A</c:v>
                </c:pt>
                <c:pt idx="10786">
                  <c:v>#N/A</c:v>
                </c:pt>
                <c:pt idx="10787">
                  <c:v>#N/A</c:v>
                </c:pt>
                <c:pt idx="10788">
                  <c:v>#N/A</c:v>
                </c:pt>
                <c:pt idx="10789">
                  <c:v>#N/A</c:v>
                </c:pt>
                <c:pt idx="10790">
                  <c:v>#N/A</c:v>
                </c:pt>
                <c:pt idx="10791">
                  <c:v>#N/A</c:v>
                </c:pt>
                <c:pt idx="10792">
                  <c:v>#N/A</c:v>
                </c:pt>
                <c:pt idx="10793">
                  <c:v>#N/A</c:v>
                </c:pt>
                <c:pt idx="10794">
                  <c:v>#N/A</c:v>
                </c:pt>
                <c:pt idx="10795">
                  <c:v>#N/A</c:v>
                </c:pt>
                <c:pt idx="10796">
                  <c:v>#N/A</c:v>
                </c:pt>
                <c:pt idx="10797">
                  <c:v>#N/A</c:v>
                </c:pt>
                <c:pt idx="10798">
                  <c:v>#N/A</c:v>
                </c:pt>
                <c:pt idx="10799">
                  <c:v>#N/A</c:v>
                </c:pt>
                <c:pt idx="10800">
                  <c:v>#N/A</c:v>
                </c:pt>
                <c:pt idx="10801">
                  <c:v>#N/A</c:v>
                </c:pt>
                <c:pt idx="10802">
                  <c:v>#N/A</c:v>
                </c:pt>
                <c:pt idx="10803">
                  <c:v>#N/A</c:v>
                </c:pt>
                <c:pt idx="10804">
                  <c:v>#N/A</c:v>
                </c:pt>
                <c:pt idx="10805">
                  <c:v>#N/A</c:v>
                </c:pt>
                <c:pt idx="10806">
                  <c:v>#N/A</c:v>
                </c:pt>
                <c:pt idx="10807">
                  <c:v>#N/A</c:v>
                </c:pt>
                <c:pt idx="10808">
                  <c:v>#N/A</c:v>
                </c:pt>
                <c:pt idx="10809">
                  <c:v>#N/A</c:v>
                </c:pt>
                <c:pt idx="10810">
                  <c:v>#N/A</c:v>
                </c:pt>
                <c:pt idx="10811">
                  <c:v>#N/A</c:v>
                </c:pt>
                <c:pt idx="10812">
                  <c:v>4.4547945205479449</c:v>
                </c:pt>
                <c:pt idx="10813">
                  <c:v>#N/A</c:v>
                </c:pt>
                <c:pt idx="10814">
                  <c:v>#N/A</c:v>
                </c:pt>
                <c:pt idx="10815">
                  <c:v>#N/A</c:v>
                </c:pt>
                <c:pt idx="10816">
                  <c:v>#N/A</c:v>
                </c:pt>
                <c:pt idx="10817">
                  <c:v>#N/A</c:v>
                </c:pt>
                <c:pt idx="10818">
                  <c:v>#N/A</c:v>
                </c:pt>
                <c:pt idx="10819">
                  <c:v>#N/A</c:v>
                </c:pt>
                <c:pt idx="10820">
                  <c:v>#N/A</c:v>
                </c:pt>
                <c:pt idx="10821">
                  <c:v>#N/A</c:v>
                </c:pt>
                <c:pt idx="10822">
                  <c:v>#N/A</c:v>
                </c:pt>
                <c:pt idx="10823">
                  <c:v>#N/A</c:v>
                </c:pt>
                <c:pt idx="10824">
                  <c:v>#N/A</c:v>
                </c:pt>
                <c:pt idx="10825">
                  <c:v>#N/A</c:v>
                </c:pt>
                <c:pt idx="10826">
                  <c:v>#N/A</c:v>
                </c:pt>
                <c:pt idx="10827">
                  <c:v>#N/A</c:v>
                </c:pt>
                <c:pt idx="10828">
                  <c:v>#N/A</c:v>
                </c:pt>
                <c:pt idx="10829">
                  <c:v>#N/A</c:v>
                </c:pt>
                <c:pt idx="10830">
                  <c:v>#N/A</c:v>
                </c:pt>
                <c:pt idx="10831">
                  <c:v>#N/A</c:v>
                </c:pt>
                <c:pt idx="10832">
                  <c:v>#N/A</c:v>
                </c:pt>
                <c:pt idx="10833">
                  <c:v>#N/A</c:v>
                </c:pt>
                <c:pt idx="10834">
                  <c:v>#N/A</c:v>
                </c:pt>
                <c:pt idx="10835">
                  <c:v>#N/A</c:v>
                </c:pt>
                <c:pt idx="10836">
                  <c:v>#N/A</c:v>
                </c:pt>
                <c:pt idx="10837">
                  <c:v>#N/A</c:v>
                </c:pt>
                <c:pt idx="10838">
                  <c:v>#N/A</c:v>
                </c:pt>
                <c:pt idx="10839">
                  <c:v>#N/A</c:v>
                </c:pt>
                <c:pt idx="10840">
                  <c:v>#N/A</c:v>
                </c:pt>
                <c:pt idx="10841">
                  <c:v>#N/A</c:v>
                </c:pt>
                <c:pt idx="10842">
                  <c:v>#N/A</c:v>
                </c:pt>
                <c:pt idx="10843">
                  <c:v>#N/A</c:v>
                </c:pt>
                <c:pt idx="10844">
                  <c:v>#N/A</c:v>
                </c:pt>
                <c:pt idx="10845">
                  <c:v>#N/A</c:v>
                </c:pt>
                <c:pt idx="10846">
                  <c:v>#N/A</c:v>
                </c:pt>
                <c:pt idx="10847">
                  <c:v>#N/A</c:v>
                </c:pt>
                <c:pt idx="10848">
                  <c:v>#N/A</c:v>
                </c:pt>
                <c:pt idx="10849">
                  <c:v>#N/A</c:v>
                </c:pt>
                <c:pt idx="10850">
                  <c:v>#N/A</c:v>
                </c:pt>
                <c:pt idx="10851">
                  <c:v>#N/A</c:v>
                </c:pt>
                <c:pt idx="10852">
                  <c:v>#N/A</c:v>
                </c:pt>
                <c:pt idx="10853">
                  <c:v>#N/A</c:v>
                </c:pt>
                <c:pt idx="10854">
                  <c:v>#N/A</c:v>
                </c:pt>
                <c:pt idx="10855">
                  <c:v>#N/A</c:v>
                </c:pt>
                <c:pt idx="10856">
                  <c:v>#N/A</c:v>
                </c:pt>
                <c:pt idx="10857">
                  <c:v>#N/A</c:v>
                </c:pt>
                <c:pt idx="10858">
                  <c:v>#N/A</c:v>
                </c:pt>
                <c:pt idx="10859">
                  <c:v>#N/A</c:v>
                </c:pt>
                <c:pt idx="10860">
                  <c:v>#N/A</c:v>
                </c:pt>
                <c:pt idx="10861">
                  <c:v>#N/A</c:v>
                </c:pt>
                <c:pt idx="10862">
                  <c:v>#N/A</c:v>
                </c:pt>
                <c:pt idx="10863">
                  <c:v>#N/A</c:v>
                </c:pt>
                <c:pt idx="10864">
                  <c:v>4.4684931506849317</c:v>
                </c:pt>
                <c:pt idx="10865">
                  <c:v>#N/A</c:v>
                </c:pt>
                <c:pt idx="10866">
                  <c:v>#N/A</c:v>
                </c:pt>
                <c:pt idx="10867">
                  <c:v>#N/A</c:v>
                </c:pt>
                <c:pt idx="10868">
                  <c:v>#N/A</c:v>
                </c:pt>
                <c:pt idx="10869">
                  <c:v>#N/A</c:v>
                </c:pt>
                <c:pt idx="10870">
                  <c:v>#N/A</c:v>
                </c:pt>
                <c:pt idx="10871">
                  <c:v>#N/A</c:v>
                </c:pt>
                <c:pt idx="10872">
                  <c:v>#N/A</c:v>
                </c:pt>
                <c:pt idx="10873">
                  <c:v>#N/A</c:v>
                </c:pt>
                <c:pt idx="10874">
                  <c:v>#N/A</c:v>
                </c:pt>
                <c:pt idx="10875">
                  <c:v>#N/A</c:v>
                </c:pt>
                <c:pt idx="10876">
                  <c:v>#N/A</c:v>
                </c:pt>
                <c:pt idx="10877">
                  <c:v>#N/A</c:v>
                </c:pt>
                <c:pt idx="10878">
                  <c:v>#N/A</c:v>
                </c:pt>
                <c:pt idx="10879">
                  <c:v>#N/A</c:v>
                </c:pt>
                <c:pt idx="10880">
                  <c:v>#N/A</c:v>
                </c:pt>
                <c:pt idx="10881">
                  <c:v>#N/A</c:v>
                </c:pt>
                <c:pt idx="10882">
                  <c:v>#N/A</c:v>
                </c:pt>
                <c:pt idx="10883">
                  <c:v>#N/A</c:v>
                </c:pt>
                <c:pt idx="10884">
                  <c:v>#N/A</c:v>
                </c:pt>
                <c:pt idx="10885">
                  <c:v>#N/A</c:v>
                </c:pt>
                <c:pt idx="10886">
                  <c:v>#N/A</c:v>
                </c:pt>
                <c:pt idx="10887">
                  <c:v>#N/A</c:v>
                </c:pt>
                <c:pt idx="10888">
                  <c:v>#N/A</c:v>
                </c:pt>
                <c:pt idx="10889">
                  <c:v>#N/A</c:v>
                </c:pt>
                <c:pt idx="10890">
                  <c:v>#N/A</c:v>
                </c:pt>
                <c:pt idx="10891">
                  <c:v>#N/A</c:v>
                </c:pt>
                <c:pt idx="10892">
                  <c:v>#N/A</c:v>
                </c:pt>
                <c:pt idx="10893">
                  <c:v>#N/A</c:v>
                </c:pt>
                <c:pt idx="10894">
                  <c:v>#N/A</c:v>
                </c:pt>
                <c:pt idx="10895">
                  <c:v>#N/A</c:v>
                </c:pt>
                <c:pt idx="10896">
                  <c:v>#N/A</c:v>
                </c:pt>
                <c:pt idx="10897">
                  <c:v>#N/A</c:v>
                </c:pt>
                <c:pt idx="10898">
                  <c:v>#N/A</c:v>
                </c:pt>
                <c:pt idx="10899">
                  <c:v>#N/A</c:v>
                </c:pt>
                <c:pt idx="10900">
                  <c:v>#N/A</c:v>
                </c:pt>
                <c:pt idx="10901">
                  <c:v>#N/A</c:v>
                </c:pt>
                <c:pt idx="10902">
                  <c:v>#N/A</c:v>
                </c:pt>
                <c:pt idx="10903">
                  <c:v>#N/A</c:v>
                </c:pt>
                <c:pt idx="10904">
                  <c:v>#N/A</c:v>
                </c:pt>
                <c:pt idx="10905">
                  <c:v>#N/A</c:v>
                </c:pt>
                <c:pt idx="10906">
                  <c:v>#N/A</c:v>
                </c:pt>
                <c:pt idx="10907">
                  <c:v>#N/A</c:v>
                </c:pt>
                <c:pt idx="10908">
                  <c:v>#N/A</c:v>
                </c:pt>
                <c:pt idx="10909">
                  <c:v>#N/A</c:v>
                </c:pt>
                <c:pt idx="10910">
                  <c:v>#N/A</c:v>
                </c:pt>
                <c:pt idx="10911">
                  <c:v>#N/A</c:v>
                </c:pt>
                <c:pt idx="10912">
                  <c:v>#N/A</c:v>
                </c:pt>
                <c:pt idx="10913">
                  <c:v>#N/A</c:v>
                </c:pt>
                <c:pt idx="10914">
                  <c:v>#N/A</c:v>
                </c:pt>
                <c:pt idx="10915">
                  <c:v>#N/A</c:v>
                </c:pt>
                <c:pt idx="10916">
                  <c:v>#N/A</c:v>
                </c:pt>
                <c:pt idx="10917">
                  <c:v>#N/A</c:v>
                </c:pt>
                <c:pt idx="10918">
                  <c:v>#N/A</c:v>
                </c:pt>
                <c:pt idx="10919">
                  <c:v>#N/A</c:v>
                </c:pt>
                <c:pt idx="10920">
                  <c:v>#N/A</c:v>
                </c:pt>
                <c:pt idx="10921">
                  <c:v>#N/A</c:v>
                </c:pt>
                <c:pt idx="10922">
                  <c:v>#N/A</c:v>
                </c:pt>
                <c:pt idx="10923">
                  <c:v>#N/A</c:v>
                </c:pt>
                <c:pt idx="10924">
                  <c:v>#N/A</c:v>
                </c:pt>
                <c:pt idx="10925">
                  <c:v>#N/A</c:v>
                </c:pt>
                <c:pt idx="10926">
                  <c:v>#N/A</c:v>
                </c:pt>
                <c:pt idx="10927">
                  <c:v>#N/A</c:v>
                </c:pt>
                <c:pt idx="10928">
                  <c:v>#N/A</c:v>
                </c:pt>
                <c:pt idx="10929">
                  <c:v>#N/A</c:v>
                </c:pt>
                <c:pt idx="10930">
                  <c:v>#N/A</c:v>
                </c:pt>
                <c:pt idx="10931">
                  <c:v>#N/A</c:v>
                </c:pt>
                <c:pt idx="10932">
                  <c:v>#N/A</c:v>
                </c:pt>
                <c:pt idx="10933">
                  <c:v>#N/A</c:v>
                </c:pt>
                <c:pt idx="10934">
                  <c:v>#N/A</c:v>
                </c:pt>
                <c:pt idx="10935">
                  <c:v>#N/A</c:v>
                </c:pt>
                <c:pt idx="10936">
                  <c:v>#N/A</c:v>
                </c:pt>
                <c:pt idx="10937">
                  <c:v>#N/A</c:v>
                </c:pt>
                <c:pt idx="10938">
                  <c:v>#N/A</c:v>
                </c:pt>
                <c:pt idx="10939">
                  <c:v>#N/A</c:v>
                </c:pt>
                <c:pt idx="10940">
                  <c:v>#N/A</c:v>
                </c:pt>
                <c:pt idx="10941">
                  <c:v>#N/A</c:v>
                </c:pt>
                <c:pt idx="10942">
                  <c:v>#N/A</c:v>
                </c:pt>
                <c:pt idx="10943">
                  <c:v>#N/A</c:v>
                </c:pt>
                <c:pt idx="10944">
                  <c:v>#N/A</c:v>
                </c:pt>
                <c:pt idx="10945">
                  <c:v>#N/A</c:v>
                </c:pt>
                <c:pt idx="10946">
                  <c:v>#N/A</c:v>
                </c:pt>
                <c:pt idx="10947">
                  <c:v>#N/A</c:v>
                </c:pt>
                <c:pt idx="10948">
                  <c:v>#N/A</c:v>
                </c:pt>
                <c:pt idx="10949">
                  <c:v>#N/A</c:v>
                </c:pt>
                <c:pt idx="10950">
                  <c:v>#N/A</c:v>
                </c:pt>
                <c:pt idx="10951">
                  <c:v>#N/A</c:v>
                </c:pt>
                <c:pt idx="10952">
                  <c:v>#N/A</c:v>
                </c:pt>
                <c:pt idx="10953">
                  <c:v>#N/A</c:v>
                </c:pt>
                <c:pt idx="10954">
                  <c:v>#N/A</c:v>
                </c:pt>
                <c:pt idx="10955">
                  <c:v>#N/A</c:v>
                </c:pt>
                <c:pt idx="10956">
                  <c:v>#N/A</c:v>
                </c:pt>
                <c:pt idx="10957">
                  <c:v>#N/A</c:v>
                </c:pt>
                <c:pt idx="10958">
                  <c:v>4.506849315068493</c:v>
                </c:pt>
                <c:pt idx="10959">
                  <c:v>#N/A</c:v>
                </c:pt>
                <c:pt idx="10960">
                  <c:v>#N/A</c:v>
                </c:pt>
                <c:pt idx="10961">
                  <c:v>#N/A</c:v>
                </c:pt>
                <c:pt idx="10962">
                  <c:v>#N/A</c:v>
                </c:pt>
                <c:pt idx="10963">
                  <c:v>#N/A</c:v>
                </c:pt>
                <c:pt idx="10964">
                  <c:v>#N/A</c:v>
                </c:pt>
                <c:pt idx="10965">
                  <c:v>#N/A</c:v>
                </c:pt>
                <c:pt idx="10966">
                  <c:v>#N/A</c:v>
                </c:pt>
                <c:pt idx="10967">
                  <c:v>#N/A</c:v>
                </c:pt>
                <c:pt idx="10968">
                  <c:v>#N/A</c:v>
                </c:pt>
                <c:pt idx="10969">
                  <c:v>#N/A</c:v>
                </c:pt>
                <c:pt idx="10970">
                  <c:v>#N/A</c:v>
                </c:pt>
                <c:pt idx="10971">
                  <c:v>#N/A</c:v>
                </c:pt>
                <c:pt idx="10972">
                  <c:v>#N/A</c:v>
                </c:pt>
                <c:pt idx="10973">
                  <c:v>#N/A</c:v>
                </c:pt>
                <c:pt idx="10974">
                  <c:v>#N/A</c:v>
                </c:pt>
                <c:pt idx="10975">
                  <c:v>#N/A</c:v>
                </c:pt>
                <c:pt idx="10976">
                  <c:v>#N/A</c:v>
                </c:pt>
                <c:pt idx="10977">
                  <c:v>#N/A</c:v>
                </c:pt>
                <c:pt idx="10978">
                  <c:v>#N/A</c:v>
                </c:pt>
                <c:pt idx="10979">
                  <c:v>#N/A</c:v>
                </c:pt>
                <c:pt idx="10980">
                  <c:v>#N/A</c:v>
                </c:pt>
                <c:pt idx="10981">
                  <c:v>#N/A</c:v>
                </c:pt>
                <c:pt idx="10982">
                  <c:v>#N/A</c:v>
                </c:pt>
                <c:pt idx="10983">
                  <c:v>#N/A</c:v>
                </c:pt>
                <c:pt idx="10984">
                  <c:v>#N/A</c:v>
                </c:pt>
                <c:pt idx="10985">
                  <c:v>#N/A</c:v>
                </c:pt>
                <c:pt idx="10986">
                  <c:v>#N/A</c:v>
                </c:pt>
                <c:pt idx="10987">
                  <c:v>#N/A</c:v>
                </c:pt>
                <c:pt idx="10988">
                  <c:v>#N/A</c:v>
                </c:pt>
                <c:pt idx="10989">
                  <c:v>#N/A</c:v>
                </c:pt>
                <c:pt idx="10990">
                  <c:v>#N/A</c:v>
                </c:pt>
                <c:pt idx="10991">
                  <c:v>#N/A</c:v>
                </c:pt>
                <c:pt idx="10992">
                  <c:v>#N/A</c:v>
                </c:pt>
                <c:pt idx="10993">
                  <c:v>#N/A</c:v>
                </c:pt>
                <c:pt idx="10994">
                  <c:v>#N/A</c:v>
                </c:pt>
                <c:pt idx="10995">
                  <c:v>#N/A</c:v>
                </c:pt>
                <c:pt idx="10996">
                  <c:v>#N/A</c:v>
                </c:pt>
                <c:pt idx="10997">
                  <c:v>#N/A</c:v>
                </c:pt>
                <c:pt idx="10998">
                  <c:v>#N/A</c:v>
                </c:pt>
                <c:pt idx="10999">
                  <c:v>#N/A</c:v>
                </c:pt>
                <c:pt idx="11000">
                  <c:v>#N/A</c:v>
                </c:pt>
                <c:pt idx="11001">
                  <c:v>#N/A</c:v>
                </c:pt>
                <c:pt idx="11002">
                  <c:v>#N/A</c:v>
                </c:pt>
                <c:pt idx="11003">
                  <c:v>#N/A</c:v>
                </c:pt>
                <c:pt idx="11004">
                  <c:v>#N/A</c:v>
                </c:pt>
                <c:pt idx="11005">
                  <c:v>#N/A</c:v>
                </c:pt>
                <c:pt idx="11006">
                  <c:v>#N/A</c:v>
                </c:pt>
                <c:pt idx="11007">
                  <c:v>#N/A</c:v>
                </c:pt>
                <c:pt idx="11008">
                  <c:v>#N/A</c:v>
                </c:pt>
                <c:pt idx="11009">
                  <c:v>#N/A</c:v>
                </c:pt>
                <c:pt idx="11010">
                  <c:v>#N/A</c:v>
                </c:pt>
                <c:pt idx="11011">
                  <c:v>#N/A</c:v>
                </c:pt>
                <c:pt idx="11012">
                  <c:v>#N/A</c:v>
                </c:pt>
                <c:pt idx="11013">
                  <c:v>#N/A</c:v>
                </c:pt>
                <c:pt idx="11014">
                  <c:v>#N/A</c:v>
                </c:pt>
                <c:pt idx="11015">
                  <c:v>#N/A</c:v>
                </c:pt>
                <c:pt idx="11016">
                  <c:v>#N/A</c:v>
                </c:pt>
                <c:pt idx="11017">
                  <c:v>#N/A</c:v>
                </c:pt>
                <c:pt idx="11018">
                  <c:v>#N/A</c:v>
                </c:pt>
                <c:pt idx="11019">
                  <c:v>#N/A</c:v>
                </c:pt>
                <c:pt idx="11020">
                  <c:v>#N/A</c:v>
                </c:pt>
                <c:pt idx="11021">
                  <c:v>#N/A</c:v>
                </c:pt>
                <c:pt idx="11022">
                  <c:v>#N/A</c:v>
                </c:pt>
                <c:pt idx="11023">
                  <c:v>#N/A</c:v>
                </c:pt>
                <c:pt idx="11024">
                  <c:v>#N/A</c:v>
                </c:pt>
                <c:pt idx="11025">
                  <c:v>#N/A</c:v>
                </c:pt>
                <c:pt idx="11026">
                  <c:v>#N/A</c:v>
                </c:pt>
                <c:pt idx="11027">
                  <c:v>#N/A</c:v>
                </c:pt>
                <c:pt idx="11028">
                  <c:v>#N/A</c:v>
                </c:pt>
                <c:pt idx="11029">
                  <c:v>#N/A</c:v>
                </c:pt>
                <c:pt idx="11030">
                  <c:v>#N/A</c:v>
                </c:pt>
                <c:pt idx="11031">
                  <c:v>#N/A</c:v>
                </c:pt>
                <c:pt idx="11032">
                  <c:v>#N/A</c:v>
                </c:pt>
                <c:pt idx="11033">
                  <c:v>#N/A</c:v>
                </c:pt>
                <c:pt idx="11034">
                  <c:v>#N/A</c:v>
                </c:pt>
                <c:pt idx="11035">
                  <c:v>#N/A</c:v>
                </c:pt>
                <c:pt idx="11036">
                  <c:v>#N/A</c:v>
                </c:pt>
                <c:pt idx="11037">
                  <c:v>#N/A</c:v>
                </c:pt>
                <c:pt idx="11038">
                  <c:v>#N/A</c:v>
                </c:pt>
                <c:pt idx="11039">
                  <c:v>#N/A</c:v>
                </c:pt>
                <c:pt idx="11040">
                  <c:v>#N/A</c:v>
                </c:pt>
                <c:pt idx="11041">
                  <c:v>#N/A</c:v>
                </c:pt>
                <c:pt idx="11042">
                  <c:v>#N/A</c:v>
                </c:pt>
                <c:pt idx="11043">
                  <c:v>#N/A</c:v>
                </c:pt>
                <c:pt idx="11044">
                  <c:v>#N/A</c:v>
                </c:pt>
                <c:pt idx="11045">
                  <c:v>#N/A</c:v>
                </c:pt>
                <c:pt idx="11046">
                  <c:v>#N/A</c:v>
                </c:pt>
                <c:pt idx="11047">
                  <c:v>#N/A</c:v>
                </c:pt>
                <c:pt idx="11048">
                  <c:v>#N/A</c:v>
                </c:pt>
                <c:pt idx="11049">
                  <c:v>#N/A</c:v>
                </c:pt>
                <c:pt idx="11050">
                  <c:v>#N/A</c:v>
                </c:pt>
                <c:pt idx="11051">
                  <c:v>#N/A</c:v>
                </c:pt>
                <c:pt idx="11052">
                  <c:v>#N/A</c:v>
                </c:pt>
                <c:pt idx="11053">
                  <c:v>4.5232876712328771</c:v>
                </c:pt>
                <c:pt idx="11054">
                  <c:v>#N/A</c:v>
                </c:pt>
                <c:pt idx="11055">
                  <c:v>#N/A</c:v>
                </c:pt>
                <c:pt idx="11056">
                  <c:v>#N/A</c:v>
                </c:pt>
                <c:pt idx="11057">
                  <c:v>#N/A</c:v>
                </c:pt>
                <c:pt idx="11058">
                  <c:v>#N/A</c:v>
                </c:pt>
                <c:pt idx="11059">
                  <c:v>#N/A</c:v>
                </c:pt>
                <c:pt idx="11060">
                  <c:v>#N/A</c:v>
                </c:pt>
                <c:pt idx="11061">
                  <c:v>#N/A</c:v>
                </c:pt>
                <c:pt idx="11062">
                  <c:v>#N/A</c:v>
                </c:pt>
                <c:pt idx="11063">
                  <c:v>#N/A</c:v>
                </c:pt>
                <c:pt idx="11064">
                  <c:v>#N/A</c:v>
                </c:pt>
                <c:pt idx="11065">
                  <c:v>#N/A</c:v>
                </c:pt>
                <c:pt idx="11066">
                  <c:v>#N/A</c:v>
                </c:pt>
                <c:pt idx="11067">
                  <c:v>#N/A</c:v>
                </c:pt>
                <c:pt idx="11068">
                  <c:v>#N/A</c:v>
                </c:pt>
                <c:pt idx="11069">
                  <c:v>#N/A</c:v>
                </c:pt>
                <c:pt idx="11070">
                  <c:v>#N/A</c:v>
                </c:pt>
                <c:pt idx="11071">
                  <c:v>#N/A</c:v>
                </c:pt>
                <c:pt idx="11072">
                  <c:v>#N/A</c:v>
                </c:pt>
                <c:pt idx="11073">
                  <c:v>#N/A</c:v>
                </c:pt>
                <c:pt idx="11074">
                  <c:v>#N/A</c:v>
                </c:pt>
                <c:pt idx="11075">
                  <c:v>#N/A</c:v>
                </c:pt>
                <c:pt idx="11076">
                  <c:v>#N/A</c:v>
                </c:pt>
                <c:pt idx="11077">
                  <c:v>#N/A</c:v>
                </c:pt>
                <c:pt idx="11078">
                  <c:v>#N/A</c:v>
                </c:pt>
                <c:pt idx="11079">
                  <c:v>#N/A</c:v>
                </c:pt>
                <c:pt idx="11080">
                  <c:v>#N/A</c:v>
                </c:pt>
                <c:pt idx="11081">
                  <c:v>#N/A</c:v>
                </c:pt>
                <c:pt idx="11082">
                  <c:v>#N/A</c:v>
                </c:pt>
                <c:pt idx="11083">
                  <c:v>#N/A</c:v>
                </c:pt>
                <c:pt idx="11084">
                  <c:v>#N/A</c:v>
                </c:pt>
                <c:pt idx="11085">
                  <c:v>#N/A</c:v>
                </c:pt>
                <c:pt idx="11086">
                  <c:v>#N/A</c:v>
                </c:pt>
                <c:pt idx="11087">
                  <c:v>#N/A</c:v>
                </c:pt>
                <c:pt idx="11088">
                  <c:v>#N/A</c:v>
                </c:pt>
                <c:pt idx="11089">
                  <c:v>#N/A</c:v>
                </c:pt>
                <c:pt idx="11090">
                  <c:v>#N/A</c:v>
                </c:pt>
                <c:pt idx="11091">
                  <c:v>#N/A</c:v>
                </c:pt>
                <c:pt idx="11092">
                  <c:v>#N/A</c:v>
                </c:pt>
                <c:pt idx="11093">
                  <c:v>#N/A</c:v>
                </c:pt>
                <c:pt idx="11094">
                  <c:v>#N/A</c:v>
                </c:pt>
                <c:pt idx="11095">
                  <c:v>#N/A</c:v>
                </c:pt>
                <c:pt idx="11096">
                  <c:v>#N/A</c:v>
                </c:pt>
                <c:pt idx="11097">
                  <c:v>#N/A</c:v>
                </c:pt>
                <c:pt idx="11098">
                  <c:v>#N/A</c:v>
                </c:pt>
                <c:pt idx="11099">
                  <c:v>#N/A</c:v>
                </c:pt>
                <c:pt idx="11100">
                  <c:v>#N/A</c:v>
                </c:pt>
                <c:pt idx="11101">
                  <c:v>#N/A</c:v>
                </c:pt>
                <c:pt idx="11102">
                  <c:v>#N/A</c:v>
                </c:pt>
                <c:pt idx="11103">
                  <c:v>#N/A</c:v>
                </c:pt>
                <c:pt idx="11104">
                  <c:v>#N/A</c:v>
                </c:pt>
                <c:pt idx="11105">
                  <c:v>#N/A</c:v>
                </c:pt>
                <c:pt idx="11106">
                  <c:v>#N/A</c:v>
                </c:pt>
                <c:pt idx="11107">
                  <c:v>#N/A</c:v>
                </c:pt>
                <c:pt idx="11108">
                  <c:v>#N/A</c:v>
                </c:pt>
                <c:pt idx="11109">
                  <c:v>#N/A</c:v>
                </c:pt>
                <c:pt idx="11110">
                  <c:v>#N/A</c:v>
                </c:pt>
                <c:pt idx="11111">
                  <c:v>#N/A</c:v>
                </c:pt>
                <c:pt idx="11112">
                  <c:v>#N/A</c:v>
                </c:pt>
                <c:pt idx="11113">
                  <c:v>4.558904109589041</c:v>
                </c:pt>
                <c:pt idx="11114">
                  <c:v>#N/A</c:v>
                </c:pt>
                <c:pt idx="11115">
                  <c:v>#N/A</c:v>
                </c:pt>
                <c:pt idx="11116">
                  <c:v>#N/A</c:v>
                </c:pt>
                <c:pt idx="11117">
                  <c:v>#N/A</c:v>
                </c:pt>
                <c:pt idx="11118">
                  <c:v>#N/A</c:v>
                </c:pt>
                <c:pt idx="11119">
                  <c:v>#N/A</c:v>
                </c:pt>
                <c:pt idx="11120">
                  <c:v>#N/A</c:v>
                </c:pt>
                <c:pt idx="11121">
                  <c:v>#N/A</c:v>
                </c:pt>
                <c:pt idx="11122">
                  <c:v>#N/A</c:v>
                </c:pt>
                <c:pt idx="11123">
                  <c:v>4.5698630136986305</c:v>
                </c:pt>
                <c:pt idx="11124">
                  <c:v>#N/A</c:v>
                </c:pt>
                <c:pt idx="11125">
                  <c:v>#N/A</c:v>
                </c:pt>
                <c:pt idx="11126">
                  <c:v>#N/A</c:v>
                </c:pt>
                <c:pt idx="11127">
                  <c:v>#N/A</c:v>
                </c:pt>
                <c:pt idx="11128">
                  <c:v>#N/A</c:v>
                </c:pt>
                <c:pt idx="11129">
                  <c:v>#N/A</c:v>
                </c:pt>
                <c:pt idx="11130">
                  <c:v>#N/A</c:v>
                </c:pt>
                <c:pt idx="11131">
                  <c:v>#N/A</c:v>
                </c:pt>
                <c:pt idx="11132">
                  <c:v>#N/A</c:v>
                </c:pt>
                <c:pt idx="11133">
                  <c:v>#N/A</c:v>
                </c:pt>
                <c:pt idx="11134">
                  <c:v>#N/A</c:v>
                </c:pt>
                <c:pt idx="11135">
                  <c:v>#N/A</c:v>
                </c:pt>
                <c:pt idx="11136">
                  <c:v>#N/A</c:v>
                </c:pt>
                <c:pt idx="11137">
                  <c:v>#N/A</c:v>
                </c:pt>
                <c:pt idx="11138">
                  <c:v>#N/A</c:v>
                </c:pt>
                <c:pt idx="11139">
                  <c:v>#N/A</c:v>
                </c:pt>
                <c:pt idx="11140">
                  <c:v>#N/A</c:v>
                </c:pt>
                <c:pt idx="11141">
                  <c:v>#N/A</c:v>
                </c:pt>
                <c:pt idx="11142">
                  <c:v>#N/A</c:v>
                </c:pt>
                <c:pt idx="11143">
                  <c:v>#N/A</c:v>
                </c:pt>
                <c:pt idx="11144">
                  <c:v>#N/A</c:v>
                </c:pt>
                <c:pt idx="11145">
                  <c:v>#N/A</c:v>
                </c:pt>
                <c:pt idx="11146">
                  <c:v>#N/A</c:v>
                </c:pt>
                <c:pt idx="11147">
                  <c:v>#N/A</c:v>
                </c:pt>
                <c:pt idx="11148">
                  <c:v>#N/A</c:v>
                </c:pt>
                <c:pt idx="11149">
                  <c:v>#N/A</c:v>
                </c:pt>
                <c:pt idx="11150">
                  <c:v>#N/A</c:v>
                </c:pt>
                <c:pt idx="11151">
                  <c:v>#N/A</c:v>
                </c:pt>
                <c:pt idx="11152">
                  <c:v>#N/A</c:v>
                </c:pt>
                <c:pt idx="11153">
                  <c:v>#N/A</c:v>
                </c:pt>
                <c:pt idx="11154">
                  <c:v>#N/A</c:v>
                </c:pt>
                <c:pt idx="11155">
                  <c:v>#N/A</c:v>
                </c:pt>
                <c:pt idx="11156">
                  <c:v>#N/A</c:v>
                </c:pt>
                <c:pt idx="11157">
                  <c:v>#N/A</c:v>
                </c:pt>
                <c:pt idx="11158">
                  <c:v>#N/A</c:v>
                </c:pt>
                <c:pt idx="11159">
                  <c:v>#N/A</c:v>
                </c:pt>
                <c:pt idx="11160">
                  <c:v>#N/A</c:v>
                </c:pt>
                <c:pt idx="11161">
                  <c:v>#N/A</c:v>
                </c:pt>
                <c:pt idx="11162">
                  <c:v>#N/A</c:v>
                </c:pt>
                <c:pt idx="11163">
                  <c:v>#N/A</c:v>
                </c:pt>
                <c:pt idx="11164">
                  <c:v>#N/A</c:v>
                </c:pt>
                <c:pt idx="11165">
                  <c:v>#N/A</c:v>
                </c:pt>
                <c:pt idx="11166">
                  <c:v>#N/A</c:v>
                </c:pt>
                <c:pt idx="11167">
                  <c:v>#N/A</c:v>
                </c:pt>
                <c:pt idx="11168">
                  <c:v>#N/A</c:v>
                </c:pt>
                <c:pt idx="11169">
                  <c:v>#N/A</c:v>
                </c:pt>
                <c:pt idx="11170">
                  <c:v>#N/A</c:v>
                </c:pt>
                <c:pt idx="11171">
                  <c:v>#N/A</c:v>
                </c:pt>
                <c:pt idx="11172">
                  <c:v>#N/A</c:v>
                </c:pt>
                <c:pt idx="11173">
                  <c:v>#N/A</c:v>
                </c:pt>
                <c:pt idx="11174">
                  <c:v>#N/A</c:v>
                </c:pt>
                <c:pt idx="11175">
                  <c:v>#N/A</c:v>
                </c:pt>
                <c:pt idx="11176">
                  <c:v>#N/A</c:v>
                </c:pt>
                <c:pt idx="11177">
                  <c:v>#N/A</c:v>
                </c:pt>
                <c:pt idx="11178">
                  <c:v>#N/A</c:v>
                </c:pt>
                <c:pt idx="11179">
                  <c:v>#N/A</c:v>
                </c:pt>
                <c:pt idx="11180">
                  <c:v>#N/A</c:v>
                </c:pt>
                <c:pt idx="11181">
                  <c:v>#N/A</c:v>
                </c:pt>
                <c:pt idx="11182">
                  <c:v>#N/A</c:v>
                </c:pt>
                <c:pt idx="11183">
                  <c:v>#N/A</c:v>
                </c:pt>
                <c:pt idx="11184">
                  <c:v>#N/A</c:v>
                </c:pt>
                <c:pt idx="11185">
                  <c:v>#N/A</c:v>
                </c:pt>
                <c:pt idx="11186">
                  <c:v>#N/A</c:v>
                </c:pt>
                <c:pt idx="11187">
                  <c:v>#N/A</c:v>
                </c:pt>
                <c:pt idx="11188">
                  <c:v>#N/A</c:v>
                </c:pt>
                <c:pt idx="11189">
                  <c:v>#N/A</c:v>
                </c:pt>
                <c:pt idx="11190">
                  <c:v>#N/A</c:v>
                </c:pt>
                <c:pt idx="11191">
                  <c:v>#N/A</c:v>
                </c:pt>
                <c:pt idx="11192">
                  <c:v>#N/A</c:v>
                </c:pt>
                <c:pt idx="11193">
                  <c:v>#N/A</c:v>
                </c:pt>
                <c:pt idx="11194">
                  <c:v>#N/A</c:v>
                </c:pt>
                <c:pt idx="11195">
                  <c:v>#N/A</c:v>
                </c:pt>
                <c:pt idx="11196">
                  <c:v>#N/A</c:v>
                </c:pt>
                <c:pt idx="11197">
                  <c:v>#N/A</c:v>
                </c:pt>
                <c:pt idx="11198">
                  <c:v>#N/A</c:v>
                </c:pt>
                <c:pt idx="11199">
                  <c:v>#N/A</c:v>
                </c:pt>
                <c:pt idx="11200">
                  <c:v>#N/A</c:v>
                </c:pt>
                <c:pt idx="11201">
                  <c:v>#N/A</c:v>
                </c:pt>
                <c:pt idx="11202">
                  <c:v>#N/A</c:v>
                </c:pt>
                <c:pt idx="11203">
                  <c:v>#N/A</c:v>
                </c:pt>
                <c:pt idx="11204">
                  <c:v>#N/A</c:v>
                </c:pt>
                <c:pt idx="11205">
                  <c:v>#N/A</c:v>
                </c:pt>
                <c:pt idx="11206">
                  <c:v>#N/A</c:v>
                </c:pt>
                <c:pt idx="11207">
                  <c:v>#N/A</c:v>
                </c:pt>
                <c:pt idx="11208">
                  <c:v>#N/A</c:v>
                </c:pt>
                <c:pt idx="11209">
                  <c:v>#N/A</c:v>
                </c:pt>
                <c:pt idx="11210">
                  <c:v>#N/A</c:v>
                </c:pt>
                <c:pt idx="11211">
                  <c:v>#N/A</c:v>
                </c:pt>
                <c:pt idx="11212">
                  <c:v>#N/A</c:v>
                </c:pt>
                <c:pt idx="11213">
                  <c:v>4.6931506849315072</c:v>
                </c:pt>
                <c:pt idx="11214">
                  <c:v>4.6931506849315072</c:v>
                </c:pt>
                <c:pt idx="11215">
                  <c:v>#N/A</c:v>
                </c:pt>
                <c:pt idx="11216">
                  <c:v>#N/A</c:v>
                </c:pt>
                <c:pt idx="11217">
                  <c:v>#N/A</c:v>
                </c:pt>
                <c:pt idx="11218">
                  <c:v>4.6931506849315072</c:v>
                </c:pt>
                <c:pt idx="11219">
                  <c:v>4.6931506849315072</c:v>
                </c:pt>
                <c:pt idx="11220">
                  <c:v>4.6931506849315072</c:v>
                </c:pt>
                <c:pt idx="11221">
                  <c:v>#N/A</c:v>
                </c:pt>
                <c:pt idx="11222">
                  <c:v>#N/A</c:v>
                </c:pt>
                <c:pt idx="11223">
                  <c:v>#N/A</c:v>
                </c:pt>
                <c:pt idx="11224">
                  <c:v>#N/A</c:v>
                </c:pt>
                <c:pt idx="11225">
                  <c:v>#N/A</c:v>
                </c:pt>
                <c:pt idx="11226">
                  <c:v>#N/A</c:v>
                </c:pt>
                <c:pt idx="11227">
                  <c:v>#N/A</c:v>
                </c:pt>
                <c:pt idx="11228">
                  <c:v>#N/A</c:v>
                </c:pt>
                <c:pt idx="11229">
                  <c:v>4.7041095890410958</c:v>
                </c:pt>
                <c:pt idx="11230">
                  <c:v>4.7041095890410958</c:v>
                </c:pt>
                <c:pt idx="11231">
                  <c:v>4.7041095890410958</c:v>
                </c:pt>
                <c:pt idx="11232">
                  <c:v>4.7041095890410958</c:v>
                </c:pt>
                <c:pt idx="11233">
                  <c:v>4.7041095890410958</c:v>
                </c:pt>
                <c:pt idx="11234">
                  <c:v>#N/A</c:v>
                </c:pt>
                <c:pt idx="11235">
                  <c:v>#N/A</c:v>
                </c:pt>
                <c:pt idx="11236">
                  <c:v>#N/A</c:v>
                </c:pt>
                <c:pt idx="11237">
                  <c:v>#N/A</c:v>
                </c:pt>
                <c:pt idx="11238">
                  <c:v>#N/A</c:v>
                </c:pt>
                <c:pt idx="11239">
                  <c:v>#N/A</c:v>
                </c:pt>
                <c:pt idx="11240">
                  <c:v>#N/A</c:v>
                </c:pt>
                <c:pt idx="11241">
                  <c:v>#N/A</c:v>
                </c:pt>
                <c:pt idx="11242">
                  <c:v>#N/A</c:v>
                </c:pt>
                <c:pt idx="11243">
                  <c:v>#N/A</c:v>
                </c:pt>
                <c:pt idx="11244">
                  <c:v>#N/A</c:v>
                </c:pt>
                <c:pt idx="11245">
                  <c:v>#N/A</c:v>
                </c:pt>
                <c:pt idx="11246">
                  <c:v>#N/A</c:v>
                </c:pt>
                <c:pt idx="11247">
                  <c:v>#N/A</c:v>
                </c:pt>
                <c:pt idx="11248">
                  <c:v>#N/A</c:v>
                </c:pt>
                <c:pt idx="11249">
                  <c:v>#N/A</c:v>
                </c:pt>
                <c:pt idx="11250">
                  <c:v>#N/A</c:v>
                </c:pt>
                <c:pt idx="11251">
                  <c:v>#N/A</c:v>
                </c:pt>
                <c:pt idx="11252">
                  <c:v>#N/A</c:v>
                </c:pt>
                <c:pt idx="11253">
                  <c:v>#N/A</c:v>
                </c:pt>
                <c:pt idx="11254">
                  <c:v>#N/A</c:v>
                </c:pt>
                <c:pt idx="11255">
                  <c:v>#N/A</c:v>
                </c:pt>
                <c:pt idx="11256">
                  <c:v>#N/A</c:v>
                </c:pt>
                <c:pt idx="11257">
                  <c:v>#N/A</c:v>
                </c:pt>
                <c:pt idx="11258">
                  <c:v>#N/A</c:v>
                </c:pt>
                <c:pt idx="11259">
                  <c:v>#N/A</c:v>
                </c:pt>
                <c:pt idx="11260">
                  <c:v>#N/A</c:v>
                </c:pt>
                <c:pt idx="11261">
                  <c:v>#N/A</c:v>
                </c:pt>
                <c:pt idx="11262">
                  <c:v>#N/A</c:v>
                </c:pt>
                <c:pt idx="11263">
                  <c:v>#N/A</c:v>
                </c:pt>
                <c:pt idx="11264">
                  <c:v>#N/A</c:v>
                </c:pt>
                <c:pt idx="11265">
                  <c:v>#N/A</c:v>
                </c:pt>
                <c:pt idx="11266">
                  <c:v>#N/A</c:v>
                </c:pt>
                <c:pt idx="11267">
                  <c:v>#N/A</c:v>
                </c:pt>
                <c:pt idx="11268">
                  <c:v>#N/A</c:v>
                </c:pt>
                <c:pt idx="11269">
                  <c:v>#N/A</c:v>
                </c:pt>
                <c:pt idx="11270">
                  <c:v>#N/A</c:v>
                </c:pt>
                <c:pt idx="11271">
                  <c:v>#N/A</c:v>
                </c:pt>
                <c:pt idx="11272">
                  <c:v>#N/A</c:v>
                </c:pt>
                <c:pt idx="11273">
                  <c:v>#N/A</c:v>
                </c:pt>
                <c:pt idx="11274">
                  <c:v>#N/A</c:v>
                </c:pt>
                <c:pt idx="11275">
                  <c:v>#N/A</c:v>
                </c:pt>
                <c:pt idx="11276">
                  <c:v>#N/A</c:v>
                </c:pt>
                <c:pt idx="11277">
                  <c:v>#N/A</c:v>
                </c:pt>
                <c:pt idx="11278">
                  <c:v>#N/A</c:v>
                </c:pt>
                <c:pt idx="11279">
                  <c:v>#N/A</c:v>
                </c:pt>
                <c:pt idx="11280">
                  <c:v>#N/A</c:v>
                </c:pt>
                <c:pt idx="11281">
                  <c:v>#N/A</c:v>
                </c:pt>
                <c:pt idx="11282">
                  <c:v>#N/A</c:v>
                </c:pt>
                <c:pt idx="11283">
                  <c:v>#N/A</c:v>
                </c:pt>
                <c:pt idx="11284">
                  <c:v>#N/A</c:v>
                </c:pt>
                <c:pt idx="11285">
                  <c:v>#N/A</c:v>
                </c:pt>
                <c:pt idx="11286">
                  <c:v>#N/A</c:v>
                </c:pt>
                <c:pt idx="11287">
                  <c:v>#N/A</c:v>
                </c:pt>
                <c:pt idx="11288">
                  <c:v>#N/A</c:v>
                </c:pt>
                <c:pt idx="11289">
                  <c:v>#N/A</c:v>
                </c:pt>
                <c:pt idx="11290">
                  <c:v>#N/A</c:v>
                </c:pt>
                <c:pt idx="11291">
                  <c:v>#N/A</c:v>
                </c:pt>
                <c:pt idx="11292">
                  <c:v>#N/A</c:v>
                </c:pt>
                <c:pt idx="11293">
                  <c:v>#N/A</c:v>
                </c:pt>
                <c:pt idx="11294">
                  <c:v>#N/A</c:v>
                </c:pt>
                <c:pt idx="11295">
                  <c:v>#N/A</c:v>
                </c:pt>
                <c:pt idx="11296">
                  <c:v>#N/A</c:v>
                </c:pt>
                <c:pt idx="11297">
                  <c:v>#N/A</c:v>
                </c:pt>
                <c:pt idx="11298">
                  <c:v>#N/A</c:v>
                </c:pt>
                <c:pt idx="11299">
                  <c:v>#N/A</c:v>
                </c:pt>
                <c:pt idx="11300">
                  <c:v>#N/A</c:v>
                </c:pt>
                <c:pt idx="11301">
                  <c:v>#N/A</c:v>
                </c:pt>
                <c:pt idx="11302">
                  <c:v>#N/A</c:v>
                </c:pt>
                <c:pt idx="11303">
                  <c:v>#N/A</c:v>
                </c:pt>
                <c:pt idx="11304">
                  <c:v>#N/A</c:v>
                </c:pt>
                <c:pt idx="11305">
                  <c:v>#N/A</c:v>
                </c:pt>
                <c:pt idx="11306">
                  <c:v>#N/A</c:v>
                </c:pt>
                <c:pt idx="11307">
                  <c:v>#N/A</c:v>
                </c:pt>
                <c:pt idx="11308">
                  <c:v>#N/A</c:v>
                </c:pt>
                <c:pt idx="11309">
                  <c:v>#N/A</c:v>
                </c:pt>
                <c:pt idx="11310">
                  <c:v>#N/A</c:v>
                </c:pt>
                <c:pt idx="11311">
                  <c:v>#N/A</c:v>
                </c:pt>
                <c:pt idx="11312">
                  <c:v>#N/A</c:v>
                </c:pt>
                <c:pt idx="11313">
                  <c:v>#N/A</c:v>
                </c:pt>
                <c:pt idx="11314">
                  <c:v>#N/A</c:v>
                </c:pt>
                <c:pt idx="11315">
                  <c:v>#N/A</c:v>
                </c:pt>
                <c:pt idx="11316">
                  <c:v>#N/A</c:v>
                </c:pt>
                <c:pt idx="11317">
                  <c:v>#N/A</c:v>
                </c:pt>
                <c:pt idx="11318">
                  <c:v>#N/A</c:v>
                </c:pt>
                <c:pt idx="11319">
                  <c:v>#N/A</c:v>
                </c:pt>
                <c:pt idx="11320">
                  <c:v>#N/A</c:v>
                </c:pt>
                <c:pt idx="11321">
                  <c:v>#N/A</c:v>
                </c:pt>
                <c:pt idx="11322">
                  <c:v>#N/A</c:v>
                </c:pt>
                <c:pt idx="11323">
                  <c:v>#N/A</c:v>
                </c:pt>
                <c:pt idx="11324">
                  <c:v>#N/A</c:v>
                </c:pt>
                <c:pt idx="11325">
                  <c:v>#N/A</c:v>
                </c:pt>
                <c:pt idx="11326">
                  <c:v>#N/A</c:v>
                </c:pt>
                <c:pt idx="11327">
                  <c:v>#N/A</c:v>
                </c:pt>
                <c:pt idx="11328">
                  <c:v>#N/A</c:v>
                </c:pt>
                <c:pt idx="11329">
                  <c:v>#N/A</c:v>
                </c:pt>
                <c:pt idx="11330">
                  <c:v>#N/A</c:v>
                </c:pt>
                <c:pt idx="11331">
                  <c:v>#N/A</c:v>
                </c:pt>
                <c:pt idx="11332">
                  <c:v>#N/A</c:v>
                </c:pt>
                <c:pt idx="11333">
                  <c:v>#N/A</c:v>
                </c:pt>
                <c:pt idx="11334">
                  <c:v>#N/A</c:v>
                </c:pt>
                <c:pt idx="11335">
                  <c:v>#N/A</c:v>
                </c:pt>
                <c:pt idx="11336">
                  <c:v>#N/A</c:v>
                </c:pt>
                <c:pt idx="11337">
                  <c:v>#N/A</c:v>
                </c:pt>
                <c:pt idx="11338">
                  <c:v>#N/A</c:v>
                </c:pt>
                <c:pt idx="11339">
                  <c:v>#N/A</c:v>
                </c:pt>
                <c:pt idx="11340">
                  <c:v>#N/A</c:v>
                </c:pt>
                <c:pt idx="11341">
                  <c:v>#N/A</c:v>
                </c:pt>
                <c:pt idx="11342">
                  <c:v>#N/A</c:v>
                </c:pt>
                <c:pt idx="11343">
                  <c:v>#N/A</c:v>
                </c:pt>
                <c:pt idx="11344">
                  <c:v>#N/A</c:v>
                </c:pt>
                <c:pt idx="11345">
                  <c:v>#N/A</c:v>
                </c:pt>
                <c:pt idx="11346">
                  <c:v>#N/A</c:v>
                </c:pt>
                <c:pt idx="11347">
                  <c:v>#N/A</c:v>
                </c:pt>
                <c:pt idx="11348">
                  <c:v>#N/A</c:v>
                </c:pt>
                <c:pt idx="11349">
                  <c:v>#N/A</c:v>
                </c:pt>
                <c:pt idx="11350">
                  <c:v>#N/A</c:v>
                </c:pt>
                <c:pt idx="11351">
                  <c:v>#N/A</c:v>
                </c:pt>
                <c:pt idx="11352">
                  <c:v>#N/A</c:v>
                </c:pt>
                <c:pt idx="11353">
                  <c:v>#N/A</c:v>
                </c:pt>
                <c:pt idx="11354">
                  <c:v>#N/A</c:v>
                </c:pt>
                <c:pt idx="11355">
                  <c:v>#N/A</c:v>
                </c:pt>
                <c:pt idx="11356">
                  <c:v>#N/A</c:v>
                </c:pt>
                <c:pt idx="11357">
                  <c:v>#N/A</c:v>
                </c:pt>
                <c:pt idx="11358">
                  <c:v>#N/A</c:v>
                </c:pt>
                <c:pt idx="11359">
                  <c:v>#N/A</c:v>
                </c:pt>
                <c:pt idx="11360">
                  <c:v>#N/A</c:v>
                </c:pt>
                <c:pt idx="11361">
                  <c:v>5.0082191780821921</c:v>
                </c:pt>
                <c:pt idx="11362">
                  <c:v>5.0082191780821921</c:v>
                </c:pt>
                <c:pt idx="11363">
                  <c:v>#N/A</c:v>
                </c:pt>
                <c:pt idx="11364">
                  <c:v>#N/A</c:v>
                </c:pt>
                <c:pt idx="11365">
                  <c:v>#N/A</c:v>
                </c:pt>
                <c:pt idx="11366">
                  <c:v>#N/A</c:v>
                </c:pt>
                <c:pt idx="11367">
                  <c:v>#N/A</c:v>
                </c:pt>
                <c:pt idx="11368">
                  <c:v>#N/A</c:v>
                </c:pt>
                <c:pt idx="11369">
                  <c:v>#N/A</c:v>
                </c:pt>
                <c:pt idx="11370">
                  <c:v>#N/A</c:v>
                </c:pt>
                <c:pt idx="11371">
                  <c:v>#N/A</c:v>
                </c:pt>
                <c:pt idx="11372">
                  <c:v>#N/A</c:v>
                </c:pt>
                <c:pt idx="11373">
                  <c:v>#N/A</c:v>
                </c:pt>
                <c:pt idx="11374">
                  <c:v>#N/A</c:v>
                </c:pt>
                <c:pt idx="11375">
                  <c:v>#N/A</c:v>
                </c:pt>
                <c:pt idx="11376">
                  <c:v>#N/A</c:v>
                </c:pt>
                <c:pt idx="11377">
                  <c:v>#N/A</c:v>
                </c:pt>
                <c:pt idx="11378">
                  <c:v>#N/A</c:v>
                </c:pt>
                <c:pt idx="11379">
                  <c:v>#N/A</c:v>
                </c:pt>
                <c:pt idx="11380">
                  <c:v>#N/A</c:v>
                </c:pt>
                <c:pt idx="11381">
                  <c:v>#N/A</c:v>
                </c:pt>
                <c:pt idx="11382">
                  <c:v>#N/A</c:v>
                </c:pt>
                <c:pt idx="11383">
                  <c:v>#N/A</c:v>
                </c:pt>
                <c:pt idx="11384">
                  <c:v>#N/A</c:v>
                </c:pt>
                <c:pt idx="11385">
                  <c:v>#N/A</c:v>
                </c:pt>
                <c:pt idx="11386">
                  <c:v>#N/A</c:v>
                </c:pt>
                <c:pt idx="11387">
                  <c:v>#N/A</c:v>
                </c:pt>
                <c:pt idx="11388">
                  <c:v>#N/A</c:v>
                </c:pt>
                <c:pt idx="11389">
                  <c:v>#N/A</c:v>
                </c:pt>
                <c:pt idx="11390">
                  <c:v>#N/A</c:v>
                </c:pt>
                <c:pt idx="11391">
                  <c:v>#N/A</c:v>
                </c:pt>
                <c:pt idx="11392">
                  <c:v>#N/A</c:v>
                </c:pt>
                <c:pt idx="11393">
                  <c:v>#N/A</c:v>
                </c:pt>
                <c:pt idx="11394">
                  <c:v>#N/A</c:v>
                </c:pt>
                <c:pt idx="11395">
                  <c:v>#N/A</c:v>
                </c:pt>
                <c:pt idx="11396">
                  <c:v>#N/A</c:v>
                </c:pt>
                <c:pt idx="11397">
                  <c:v>#N/A</c:v>
                </c:pt>
                <c:pt idx="11398">
                  <c:v>#N/A</c:v>
                </c:pt>
                <c:pt idx="11399">
                  <c:v>#N/A</c:v>
                </c:pt>
                <c:pt idx="11400">
                  <c:v>#N/A</c:v>
                </c:pt>
                <c:pt idx="11401">
                  <c:v>#N/A</c:v>
                </c:pt>
                <c:pt idx="11402">
                  <c:v>#N/A</c:v>
                </c:pt>
                <c:pt idx="11403">
                  <c:v>#N/A</c:v>
                </c:pt>
                <c:pt idx="11404">
                  <c:v>#N/A</c:v>
                </c:pt>
                <c:pt idx="11405">
                  <c:v>#N/A</c:v>
                </c:pt>
                <c:pt idx="11406">
                  <c:v>#N/A</c:v>
                </c:pt>
                <c:pt idx="11407">
                  <c:v>#N/A</c:v>
                </c:pt>
                <c:pt idx="11408">
                  <c:v>#N/A</c:v>
                </c:pt>
                <c:pt idx="11409">
                  <c:v>#N/A</c:v>
                </c:pt>
                <c:pt idx="11410">
                  <c:v>#N/A</c:v>
                </c:pt>
                <c:pt idx="11411">
                  <c:v>#N/A</c:v>
                </c:pt>
                <c:pt idx="11412">
                  <c:v>#N/A</c:v>
                </c:pt>
                <c:pt idx="11413">
                  <c:v>#N/A</c:v>
                </c:pt>
                <c:pt idx="11414">
                  <c:v>#N/A</c:v>
                </c:pt>
                <c:pt idx="11415">
                  <c:v>#N/A</c:v>
                </c:pt>
                <c:pt idx="11416">
                  <c:v>#N/A</c:v>
                </c:pt>
                <c:pt idx="11417">
                  <c:v>#N/A</c:v>
                </c:pt>
                <c:pt idx="11418">
                  <c:v>#N/A</c:v>
                </c:pt>
                <c:pt idx="11419">
                  <c:v>#N/A</c:v>
                </c:pt>
                <c:pt idx="11420">
                  <c:v>#N/A</c:v>
                </c:pt>
                <c:pt idx="11421">
                  <c:v>#N/A</c:v>
                </c:pt>
                <c:pt idx="11422">
                  <c:v>#N/A</c:v>
                </c:pt>
                <c:pt idx="11423">
                  <c:v>#N/A</c:v>
                </c:pt>
                <c:pt idx="11424">
                  <c:v>#N/A</c:v>
                </c:pt>
                <c:pt idx="11425">
                  <c:v>#N/A</c:v>
                </c:pt>
                <c:pt idx="11426">
                  <c:v>#N/A</c:v>
                </c:pt>
                <c:pt idx="11427">
                  <c:v>#N/A</c:v>
                </c:pt>
                <c:pt idx="11428">
                  <c:v>#N/A</c:v>
                </c:pt>
                <c:pt idx="11429">
                  <c:v>#N/A</c:v>
                </c:pt>
                <c:pt idx="11430">
                  <c:v>#N/A</c:v>
                </c:pt>
                <c:pt idx="11431">
                  <c:v>#N/A</c:v>
                </c:pt>
                <c:pt idx="11432">
                  <c:v>#N/A</c:v>
                </c:pt>
                <c:pt idx="11433">
                  <c:v>#N/A</c:v>
                </c:pt>
                <c:pt idx="11434">
                  <c:v>#N/A</c:v>
                </c:pt>
                <c:pt idx="11435">
                  <c:v>#N/A</c:v>
                </c:pt>
                <c:pt idx="11436">
                  <c:v>#N/A</c:v>
                </c:pt>
                <c:pt idx="11437">
                  <c:v>#N/A</c:v>
                </c:pt>
                <c:pt idx="11438">
                  <c:v>#N/A</c:v>
                </c:pt>
                <c:pt idx="11439">
                  <c:v>#N/A</c:v>
                </c:pt>
                <c:pt idx="11440">
                  <c:v>#N/A</c:v>
                </c:pt>
                <c:pt idx="11441">
                  <c:v>#N/A</c:v>
                </c:pt>
                <c:pt idx="11442">
                  <c:v>#N/A</c:v>
                </c:pt>
                <c:pt idx="11443">
                  <c:v>#N/A</c:v>
                </c:pt>
                <c:pt idx="11444">
                  <c:v>#N/A</c:v>
                </c:pt>
                <c:pt idx="11445">
                  <c:v>#N/A</c:v>
                </c:pt>
                <c:pt idx="11446">
                  <c:v>#N/A</c:v>
                </c:pt>
                <c:pt idx="11447">
                  <c:v>#N/A</c:v>
                </c:pt>
                <c:pt idx="11448">
                  <c:v>#N/A</c:v>
                </c:pt>
                <c:pt idx="11449">
                  <c:v>#N/A</c:v>
                </c:pt>
                <c:pt idx="11450">
                  <c:v>#N/A</c:v>
                </c:pt>
                <c:pt idx="11451">
                  <c:v>#N/A</c:v>
                </c:pt>
                <c:pt idx="11452">
                  <c:v>#N/A</c:v>
                </c:pt>
                <c:pt idx="11453">
                  <c:v>#N/A</c:v>
                </c:pt>
                <c:pt idx="11454">
                  <c:v>#N/A</c:v>
                </c:pt>
                <c:pt idx="11455">
                  <c:v>#N/A</c:v>
                </c:pt>
                <c:pt idx="11456">
                  <c:v>#N/A</c:v>
                </c:pt>
                <c:pt idx="11457">
                  <c:v>#N/A</c:v>
                </c:pt>
                <c:pt idx="11458">
                  <c:v>5.043835616438356</c:v>
                </c:pt>
                <c:pt idx="11459">
                  <c:v>5.043835616438356</c:v>
                </c:pt>
                <c:pt idx="11460">
                  <c:v>#N/A</c:v>
                </c:pt>
                <c:pt idx="11461">
                  <c:v>#N/A</c:v>
                </c:pt>
                <c:pt idx="11462">
                  <c:v>#N/A</c:v>
                </c:pt>
                <c:pt idx="11463">
                  <c:v>#N/A</c:v>
                </c:pt>
                <c:pt idx="11464">
                  <c:v>#N/A</c:v>
                </c:pt>
                <c:pt idx="11465">
                  <c:v>#N/A</c:v>
                </c:pt>
                <c:pt idx="11466">
                  <c:v>#N/A</c:v>
                </c:pt>
                <c:pt idx="11467">
                  <c:v>#N/A</c:v>
                </c:pt>
                <c:pt idx="11468">
                  <c:v>#N/A</c:v>
                </c:pt>
                <c:pt idx="11469">
                  <c:v>#N/A</c:v>
                </c:pt>
                <c:pt idx="11470">
                  <c:v>#N/A</c:v>
                </c:pt>
                <c:pt idx="11471">
                  <c:v>#N/A</c:v>
                </c:pt>
                <c:pt idx="11472">
                  <c:v>#N/A</c:v>
                </c:pt>
                <c:pt idx="11473">
                  <c:v>#N/A</c:v>
                </c:pt>
                <c:pt idx="11474">
                  <c:v>5.0630136986301366</c:v>
                </c:pt>
                <c:pt idx="11475">
                  <c:v>#N/A</c:v>
                </c:pt>
                <c:pt idx="11476">
                  <c:v>#N/A</c:v>
                </c:pt>
                <c:pt idx="11477">
                  <c:v>#N/A</c:v>
                </c:pt>
                <c:pt idx="11478">
                  <c:v>#N/A</c:v>
                </c:pt>
                <c:pt idx="11479">
                  <c:v>#N/A</c:v>
                </c:pt>
                <c:pt idx="11480">
                  <c:v>#N/A</c:v>
                </c:pt>
                <c:pt idx="11481">
                  <c:v>#N/A</c:v>
                </c:pt>
                <c:pt idx="11482">
                  <c:v>#N/A</c:v>
                </c:pt>
                <c:pt idx="11483">
                  <c:v>#N/A</c:v>
                </c:pt>
                <c:pt idx="11484">
                  <c:v>#N/A</c:v>
                </c:pt>
                <c:pt idx="11485">
                  <c:v>#N/A</c:v>
                </c:pt>
                <c:pt idx="11486">
                  <c:v>#N/A</c:v>
                </c:pt>
                <c:pt idx="11487">
                  <c:v>#N/A</c:v>
                </c:pt>
                <c:pt idx="11488">
                  <c:v>#N/A</c:v>
                </c:pt>
                <c:pt idx="11489">
                  <c:v>#N/A</c:v>
                </c:pt>
                <c:pt idx="11490">
                  <c:v>#N/A</c:v>
                </c:pt>
                <c:pt idx="11491">
                  <c:v>#N/A</c:v>
                </c:pt>
                <c:pt idx="11492">
                  <c:v>#N/A</c:v>
                </c:pt>
                <c:pt idx="11493">
                  <c:v>#N/A</c:v>
                </c:pt>
                <c:pt idx="11494">
                  <c:v>#N/A</c:v>
                </c:pt>
                <c:pt idx="11495">
                  <c:v>#N/A</c:v>
                </c:pt>
                <c:pt idx="11496">
                  <c:v>#N/A</c:v>
                </c:pt>
                <c:pt idx="11497">
                  <c:v>#N/A</c:v>
                </c:pt>
                <c:pt idx="11498">
                  <c:v>#N/A</c:v>
                </c:pt>
                <c:pt idx="11499">
                  <c:v>#N/A</c:v>
                </c:pt>
                <c:pt idx="11500">
                  <c:v>#N/A</c:v>
                </c:pt>
                <c:pt idx="11501">
                  <c:v>#N/A</c:v>
                </c:pt>
                <c:pt idx="11502">
                  <c:v>#N/A</c:v>
                </c:pt>
                <c:pt idx="11503">
                  <c:v>#N/A</c:v>
                </c:pt>
                <c:pt idx="11504">
                  <c:v>#N/A</c:v>
                </c:pt>
                <c:pt idx="11505">
                  <c:v>#N/A</c:v>
                </c:pt>
                <c:pt idx="11506">
                  <c:v>#N/A</c:v>
                </c:pt>
                <c:pt idx="11507">
                  <c:v>#N/A</c:v>
                </c:pt>
                <c:pt idx="11508">
                  <c:v>#N/A</c:v>
                </c:pt>
                <c:pt idx="11509">
                  <c:v>#N/A</c:v>
                </c:pt>
                <c:pt idx="11510">
                  <c:v>#N/A</c:v>
                </c:pt>
                <c:pt idx="11511">
                  <c:v>5.13972602739726</c:v>
                </c:pt>
                <c:pt idx="11512">
                  <c:v>5.1424657534246574</c:v>
                </c:pt>
                <c:pt idx="11513">
                  <c:v>#N/A</c:v>
                </c:pt>
                <c:pt idx="11514">
                  <c:v>#N/A</c:v>
                </c:pt>
                <c:pt idx="11515">
                  <c:v>#N/A</c:v>
                </c:pt>
                <c:pt idx="11516">
                  <c:v>#N/A</c:v>
                </c:pt>
                <c:pt idx="11517">
                  <c:v>#N/A</c:v>
                </c:pt>
                <c:pt idx="11518">
                  <c:v>#N/A</c:v>
                </c:pt>
                <c:pt idx="11519">
                  <c:v>#N/A</c:v>
                </c:pt>
                <c:pt idx="11520">
                  <c:v>#N/A</c:v>
                </c:pt>
                <c:pt idx="11521">
                  <c:v>#N/A</c:v>
                </c:pt>
                <c:pt idx="11522">
                  <c:v>#N/A</c:v>
                </c:pt>
                <c:pt idx="11523">
                  <c:v>#N/A</c:v>
                </c:pt>
                <c:pt idx="11524">
                  <c:v>#N/A</c:v>
                </c:pt>
                <c:pt idx="11525">
                  <c:v>#N/A</c:v>
                </c:pt>
                <c:pt idx="11526">
                  <c:v>#N/A</c:v>
                </c:pt>
                <c:pt idx="11527">
                  <c:v>#N/A</c:v>
                </c:pt>
                <c:pt idx="11528">
                  <c:v>#N/A</c:v>
                </c:pt>
                <c:pt idx="11529">
                  <c:v>#N/A</c:v>
                </c:pt>
                <c:pt idx="11530">
                  <c:v>#N/A</c:v>
                </c:pt>
                <c:pt idx="11531">
                  <c:v>#N/A</c:v>
                </c:pt>
                <c:pt idx="11532">
                  <c:v>#N/A</c:v>
                </c:pt>
                <c:pt idx="11533">
                  <c:v>#N/A</c:v>
                </c:pt>
                <c:pt idx="11534">
                  <c:v>#N/A</c:v>
                </c:pt>
                <c:pt idx="11535">
                  <c:v>#N/A</c:v>
                </c:pt>
                <c:pt idx="11536">
                  <c:v>#N/A</c:v>
                </c:pt>
                <c:pt idx="11537">
                  <c:v>#N/A</c:v>
                </c:pt>
                <c:pt idx="11538">
                  <c:v>#N/A</c:v>
                </c:pt>
                <c:pt idx="11539">
                  <c:v>#N/A</c:v>
                </c:pt>
                <c:pt idx="11540">
                  <c:v>#N/A</c:v>
                </c:pt>
                <c:pt idx="11541">
                  <c:v>#N/A</c:v>
                </c:pt>
                <c:pt idx="11542">
                  <c:v>#N/A</c:v>
                </c:pt>
                <c:pt idx="11543">
                  <c:v>#N/A</c:v>
                </c:pt>
                <c:pt idx="11544">
                  <c:v>#N/A</c:v>
                </c:pt>
                <c:pt idx="11545">
                  <c:v>#N/A</c:v>
                </c:pt>
                <c:pt idx="11546">
                  <c:v>#N/A</c:v>
                </c:pt>
                <c:pt idx="11547">
                  <c:v>#N/A</c:v>
                </c:pt>
                <c:pt idx="11548">
                  <c:v>#N/A</c:v>
                </c:pt>
                <c:pt idx="11549">
                  <c:v>#N/A</c:v>
                </c:pt>
                <c:pt idx="11550">
                  <c:v>#N/A</c:v>
                </c:pt>
                <c:pt idx="11551">
                  <c:v>#N/A</c:v>
                </c:pt>
                <c:pt idx="11552">
                  <c:v>#N/A</c:v>
                </c:pt>
                <c:pt idx="11553">
                  <c:v>#N/A</c:v>
                </c:pt>
                <c:pt idx="11554">
                  <c:v>#N/A</c:v>
                </c:pt>
                <c:pt idx="11555">
                  <c:v>#N/A</c:v>
                </c:pt>
                <c:pt idx="11556">
                  <c:v>#N/A</c:v>
                </c:pt>
                <c:pt idx="11557">
                  <c:v>#N/A</c:v>
                </c:pt>
                <c:pt idx="11558">
                  <c:v>#N/A</c:v>
                </c:pt>
                <c:pt idx="11559">
                  <c:v>#N/A</c:v>
                </c:pt>
                <c:pt idx="11560">
                  <c:v>#N/A</c:v>
                </c:pt>
                <c:pt idx="11561">
                  <c:v>#N/A</c:v>
                </c:pt>
                <c:pt idx="11562">
                  <c:v>#N/A</c:v>
                </c:pt>
                <c:pt idx="11563">
                  <c:v>#N/A</c:v>
                </c:pt>
                <c:pt idx="11564">
                  <c:v>#N/A</c:v>
                </c:pt>
                <c:pt idx="11565">
                  <c:v>#N/A</c:v>
                </c:pt>
                <c:pt idx="11566">
                  <c:v>#N/A</c:v>
                </c:pt>
                <c:pt idx="11567">
                  <c:v>#N/A</c:v>
                </c:pt>
                <c:pt idx="11568">
                  <c:v>#N/A</c:v>
                </c:pt>
                <c:pt idx="11569">
                  <c:v>#N/A</c:v>
                </c:pt>
                <c:pt idx="11570">
                  <c:v>#N/A</c:v>
                </c:pt>
                <c:pt idx="11571">
                  <c:v>#N/A</c:v>
                </c:pt>
                <c:pt idx="11572">
                  <c:v>#N/A</c:v>
                </c:pt>
                <c:pt idx="11573">
                  <c:v>#N/A</c:v>
                </c:pt>
                <c:pt idx="11574">
                  <c:v>#N/A</c:v>
                </c:pt>
                <c:pt idx="11575">
                  <c:v>#N/A</c:v>
                </c:pt>
                <c:pt idx="11576">
                  <c:v>#N/A</c:v>
                </c:pt>
                <c:pt idx="11577">
                  <c:v>#N/A</c:v>
                </c:pt>
                <c:pt idx="11578">
                  <c:v>#N/A</c:v>
                </c:pt>
                <c:pt idx="11579">
                  <c:v>#N/A</c:v>
                </c:pt>
                <c:pt idx="11580">
                  <c:v>#N/A</c:v>
                </c:pt>
                <c:pt idx="11581">
                  <c:v>#N/A</c:v>
                </c:pt>
                <c:pt idx="11582">
                  <c:v>#N/A</c:v>
                </c:pt>
                <c:pt idx="11583">
                  <c:v>#N/A</c:v>
                </c:pt>
                <c:pt idx="11584">
                  <c:v>#N/A</c:v>
                </c:pt>
                <c:pt idx="11585">
                  <c:v>#N/A</c:v>
                </c:pt>
                <c:pt idx="11586">
                  <c:v>#N/A</c:v>
                </c:pt>
                <c:pt idx="11587">
                  <c:v>#N/A</c:v>
                </c:pt>
                <c:pt idx="11588">
                  <c:v>#N/A</c:v>
                </c:pt>
                <c:pt idx="11589">
                  <c:v>#N/A</c:v>
                </c:pt>
                <c:pt idx="11590">
                  <c:v>#N/A</c:v>
                </c:pt>
                <c:pt idx="11591">
                  <c:v>#N/A</c:v>
                </c:pt>
                <c:pt idx="11592">
                  <c:v>#N/A</c:v>
                </c:pt>
                <c:pt idx="11593">
                  <c:v>#N/A</c:v>
                </c:pt>
                <c:pt idx="11594">
                  <c:v>#N/A</c:v>
                </c:pt>
                <c:pt idx="11595">
                  <c:v>#N/A</c:v>
                </c:pt>
                <c:pt idx="11596">
                  <c:v>#N/A</c:v>
                </c:pt>
                <c:pt idx="11597">
                  <c:v>#N/A</c:v>
                </c:pt>
                <c:pt idx="11598">
                  <c:v>#N/A</c:v>
                </c:pt>
                <c:pt idx="11599">
                  <c:v>#N/A</c:v>
                </c:pt>
                <c:pt idx="11600">
                  <c:v>#N/A</c:v>
                </c:pt>
                <c:pt idx="11601">
                  <c:v>#N/A</c:v>
                </c:pt>
                <c:pt idx="11602">
                  <c:v>#N/A</c:v>
                </c:pt>
                <c:pt idx="11603">
                  <c:v>#N/A</c:v>
                </c:pt>
                <c:pt idx="11604">
                  <c:v>#N/A</c:v>
                </c:pt>
                <c:pt idx="11605">
                  <c:v>#N/A</c:v>
                </c:pt>
                <c:pt idx="11606">
                  <c:v>#N/A</c:v>
                </c:pt>
                <c:pt idx="11607">
                  <c:v>5.3671232876712329</c:v>
                </c:pt>
                <c:pt idx="11608">
                  <c:v>#N/A</c:v>
                </c:pt>
                <c:pt idx="11609">
                  <c:v>#N/A</c:v>
                </c:pt>
                <c:pt idx="11610">
                  <c:v>#N/A</c:v>
                </c:pt>
                <c:pt idx="11611">
                  <c:v>#N/A</c:v>
                </c:pt>
                <c:pt idx="11612">
                  <c:v>#N/A</c:v>
                </c:pt>
                <c:pt idx="11613">
                  <c:v>#N/A</c:v>
                </c:pt>
                <c:pt idx="11614">
                  <c:v>#N/A</c:v>
                </c:pt>
                <c:pt idx="11615">
                  <c:v>#N/A</c:v>
                </c:pt>
                <c:pt idx="11616">
                  <c:v>#N/A</c:v>
                </c:pt>
                <c:pt idx="11617">
                  <c:v>#N/A</c:v>
                </c:pt>
                <c:pt idx="11618">
                  <c:v>#N/A</c:v>
                </c:pt>
                <c:pt idx="11619">
                  <c:v>#N/A</c:v>
                </c:pt>
                <c:pt idx="11620">
                  <c:v>#N/A</c:v>
                </c:pt>
                <c:pt idx="11621">
                  <c:v>#N/A</c:v>
                </c:pt>
                <c:pt idx="11622">
                  <c:v>#N/A</c:v>
                </c:pt>
                <c:pt idx="11623">
                  <c:v>#N/A</c:v>
                </c:pt>
                <c:pt idx="11624">
                  <c:v>#N/A</c:v>
                </c:pt>
                <c:pt idx="11625">
                  <c:v>#N/A</c:v>
                </c:pt>
                <c:pt idx="11626">
                  <c:v>#N/A</c:v>
                </c:pt>
                <c:pt idx="11627">
                  <c:v>#N/A</c:v>
                </c:pt>
                <c:pt idx="11628">
                  <c:v>#N/A</c:v>
                </c:pt>
                <c:pt idx="11629">
                  <c:v>#N/A</c:v>
                </c:pt>
                <c:pt idx="11630">
                  <c:v>#N/A</c:v>
                </c:pt>
                <c:pt idx="11631">
                  <c:v>#N/A</c:v>
                </c:pt>
                <c:pt idx="11632">
                  <c:v>#N/A</c:v>
                </c:pt>
                <c:pt idx="11633">
                  <c:v>#N/A</c:v>
                </c:pt>
                <c:pt idx="11634">
                  <c:v>#N/A</c:v>
                </c:pt>
                <c:pt idx="11635">
                  <c:v>#N/A</c:v>
                </c:pt>
                <c:pt idx="11636">
                  <c:v>#N/A</c:v>
                </c:pt>
                <c:pt idx="11637">
                  <c:v>#N/A</c:v>
                </c:pt>
                <c:pt idx="11638">
                  <c:v>#N/A</c:v>
                </c:pt>
                <c:pt idx="11639">
                  <c:v>#N/A</c:v>
                </c:pt>
                <c:pt idx="11640">
                  <c:v>#N/A</c:v>
                </c:pt>
                <c:pt idx="11641">
                  <c:v>#N/A</c:v>
                </c:pt>
                <c:pt idx="11642">
                  <c:v>#N/A</c:v>
                </c:pt>
                <c:pt idx="11643">
                  <c:v>#N/A</c:v>
                </c:pt>
                <c:pt idx="11644">
                  <c:v>#N/A</c:v>
                </c:pt>
                <c:pt idx="11645">
                  <c:v>#N/A</c:v>
                </c:pt>
                <c:pt idx="11646">
                  <c:v>#N/A</c:v>
                </c:pt>
                <c:pt idx="11647">
                  <c:v>#N/A</c:v>
                </c:pt>
                <c:pt idx="11648">
                  <c:v>#N/A</c:v>
                </c:pt>
                <c:pt idx="11649">
                  <c:v>#N/A</c:v>
                </c:pt>
                <c:pt idx="11650">
                  <c:v>#N/A</c:v>
                </c:pt>
                <c:pt idx="11651">
                  <c:v>#N/A</c:v>
                </c:pt>
                <c:pt idx="11652">
                  <c:v>#N/A</c:v>
                </c:pt>
                <c:pt idx="11653">
                  <c:v>#N/A</c:v>
                </c:pt>
                <c:pt idx="11654">
                  <c:v>#N/A</c:v>
                </c:pt>
                <c:pt idx="11655">
                  <c:v>#N/A</c:v>
                </c:pt>
                <c:pt idx="11656">
                  <c:v>#N/A</c:v>
                </c:pt>
                <c:pt idx="11657">
                  <c:v>#N/A</c:v>
                </c:pt>
                <c:pt idx="11658">
                  <c:v>#N/A</c:v>
                </c:pt>
                <c:pt idx="11659">
                  <c:v>#N/A</c:v>
                </c:pt>
                <c:pt idx="11660">
                  <c:v>#N/A</c:v>
                </c:pt>
                <c:pt idx="11661">
                  <c:v>#N/A</c:v>
                </c:pt>
                <c:pt idx="11662">
                  <c:v>#N/A</c:v>
                </c:pt>
                <c:pt idx="11663">
                  <c:v>#N/A</c:v>
                </c:pt>
                <c:pt idx="11664">
                  <c:v>#N/A</c:v>
                </c:pt>
                <c:pt idx="11665">
                  <c:v>#N/A</c:v>
                </c:pt>
                <c:pt idx="11666">
                  <c:v>#N/A</c:v>
                </c:pt>
                <c:pt idx="11667">
                  <c:v>#N/A</c:v>
                </c:pt>
                <c:pt idx="11668">
                  <c:v>#N/A</c:v>
                </c:pt>
                <c:pt idx="11669">
                  <c:v>#N/A</c:v>
                </c:pt>
                <c:pt idx="11670">
                  <c:v>#N/A</c:v>
                </c:pt>
                <c:pt idx="11671">
                  <c:v>#N/A</c:v>
                </c:pt>
                <c:pt idx="11672">
                  <c:v>#N/A</c:v>
                </c:pt>
                <c:pt idx="11673">
                  <c:v>#N/A</c:v>
                </c:pt>
                <c:pt idx="11674">
                  <c:v>#N/A</c:v>
                </c:pt>
                <c:pt idx="11675">
                  <c:v>#N/A</c:v>
                </c:pt>
                <c:pt idx="11676">
                  <c:v>#N/A</c:v>
                </c:pt>
                <c:pt idx="11677">
                  <c:v>#N/A</c:v>
                </c:pt>
                <c:pt idx="11678">
                  <c:v>#N/A</c:v>
                </c:pt>
                <c:pt idx="11679">
                  <c:v>#N/A</c:v>
                </c:pt>
                <c:pt idx="11680">
                  <c:v>#N/A</c:v>
                </c:pt>
                <c:pt idx="11681">
                  <c:v>#N/A</c:v>
                </c:pt>
                <c:pt idx="11682">
                  <c:v>#N/A</c:v>
                </c:pt>
                <c:pt idx="11683">
                  <c:v>#N/A</c:v>
                </c:pt>
                <c:pt idx="11684">
                  <c:v>#N/A</c:v>
                </c:pt>
                <c:pt idx="11685">
                  <c:v>#N/A</c:v>
                </c:pt>
                <c:pt idx="11686">
                  <c:v>#N/A</c:v>
                </c:pt>
                <c:pt idx="11687">
                  <c:v>#N/A</c:v>
                </c:pt>
                <c:pt idx="11688">
                  <c:v>#N/A</c:v>
                </c:pt>
                <c:pt idx="11689">
                  <c:v>#N/A</c:v>
                </c:pt>
                <c:pt idx="11690">
                  <c:v>#N/A</c:v>
                </c:pt>
                <c:pt idx="11691">
                  <c:v>#N/A</c:v>
                </c:pt>
                <c:pt idx="11692">
                  <c:v>#N/A</c:v>
                </c:pt>
                <c:pt idx="11693">
                  <c:v>#N/A</c:v>
                </c:pt>
                <c:pt idx="11694">
                  <c:v>#N/A</c:v>
                </c:pt>
                <c:pt idx="11695">
                  <c:v>#N/A</c:v>
                </c:pt>
                <c:pt idx="11696">
                  <c:v>#N/A</c:v>
                </c:pt>
                <c:pt idx="11697">
                  <c:v>#N/A</c:v>
                </c:pt>
                <c:pt idx="11698">
                  <c:v>#N/A</c:v>
                </c:pt>
                <c:pt idx="11699">
                  <c:v>#N/A</c:v>
                </c:pt>
                <c:pt idx="11700">
                  <c:v>#N/A</c:v>
                </c:pt>
                <c:pt idx="11701">
                  <c:v>#N/A</c:v>
                </c:pt>
                <c:pt idx="11702">
                  <c:v>#N/A</c:v>
                </c:pt>
                <c:pt idx="11703">
                  <c:v>#N/A</c:v>
                </c:pt>
                <c:pt idx="11704">
                  <c:v>#N/A</c:v>
                </c:pt>
                <c:pt idx="11705">
                  <c:v>#N/A</c:v>
                </c:pt>
                <c:pt idx="11706">
                  <c:v>#N/A</c:v>
                </c:pt>
                <c:pt idx="11707">
                  <c:v>#N/A</c:v>
                </c:pt>
                <c:pt idx="11708">
                  <c:v>#N/A</c:v>
                </c:pt>
                <c:pt idx="11709">
                  <c:v>#N/A</c:v>
                </c:pt>
                <c:pt idx="11710">
                  <c:v>#N/A</c:v>
                </c:pt>
                <c:pt idx="11711">
                  <c:v>#N/A</c:v>
                </c:pt>
                <c:pt idx="11712">
                  <c:v>#N/A</c:v>
                </c:pt>
                <c:pt idx="11713">
                  <c:v>#N/A</c:v>
                </c:pt>
                <c:pt idx="11714">
                  <c:v>#N/A</c:v>
                </c:pt>
                <c:pt idx="11715">
                  <c:v>#N/A</c:v>
                </c:pt>
                <c:pt idx="11716">
                  <c:v>#N/A</c:v>
                </c:pt>
                <c:pt idx="11717">
                  <c:v>#N/A</c:v>
                </c:pt>
                <c:pt idx="11718">
                  <c:v>#N/A</c:v>
                </c:pt>
                <c:pt idx="11719">
                  <c:v>#N/A</c:v>
                </c:pt>
                <c:pt idx="11720">
                  <c:v>#N/A</c:v>
                </c:pt>
                <c:pt idx="11721">
                  <c:v>#N/A</c:v>
                </c:pt>
                <c:pt idx="11722">
                  <c:v>#N/A</c:v>
                </c:pt>
                <c:pt idx="11723">
                  <c:v>#N/A</c:v>
                </c:pt>
                <c:pt idx="11724">
                  <c:v>#N/A</c:v>
                </c:pt>
                <c:pt idx="11725">
                  <c:v>#N/A</c:v>
                </c:pt>
                <c:pt idx="11726">
                  <c:v>#N/A</c:v>
                </c:pt>
                <c:pt idx="11727">
                  <c:v>5.4328767123287669</c:v>
                </c:pt>
                <c:pt idx="11728">
                  <c:v>#N/A</c:v>
                </c:pt>
                <c:pt idx="11729">
                  <c:v>#N/A</c:v>
                </c:pt>
                <c:pt idx="11730">
                  <c:v>#N/A</c:v>
                </c:pt>
                <c:pt idx="11731">
                  <c:v>#N/A</c:v>
                </c:pt>
                <c:pt idx="11732">
                  <c:v>#N/A</c:v>
                </c:pt>
                <c:pt idx="11733">
                  <c:v>#N/A</c:v>
                </c:pt>
                <c:pt idx="11734">
                  <c:v>#N/A</c:v>
                </c:pt>
                <c:pt idx="11735">
                  <c:v>#N/A</c:v>
                </c:pt>
                <c:pt idx="11736">
                  <c:v>#N/A</c:v>
                </c:pt>
                <c:pt idx="11737">
                  <c:v>#N/A</c:v>
                </c:pt>
                <c:pt idx="11738">
                  <c:v>#N/A</c:v>
                </c:pt>
                <c:pt idx="11739">
                  <c:v>#N/A</c:v>
                </c:pt>
                <c:pt idx="11740">
                  <c:v>#N/A</c:v>
                </c:pt>
                <c:pt idx="11741">
                  <c:v>#N/A</c:v>
                </c:pt>
                <c:pt idx="11742">
                  <c:v>#N/A</c:v>
                </c:pt>
                <c:pt idx="11743">
                  <c:v>#N/A</c:v>
                </c:pt>
                <c:pt idx="11744">
                  <c:v>#N/A</c:v>
                </c:pt>
                <c:pt idx="11745">
                  <c:v>#N/A</c:v>
                </c:pt>
                <c:pt idx="11746">
                  <c:v>#N/A</c:v>
                </c:pt>
                <c:pt idx="11747">
                  <c:v>#N/A</c:v>
                </c:pt>
                <c:pt idx="11748">
                  <c:v>#N/A</c:v>
                </c:pt>
                <c:pt idx="11749">
                  <c:v>#N/A</c:v>
                </c:pt>
                <c:pt idx="11750">
                  <c:v>#N/A</c:v>
                </c:pt>
                <c:pt idx="11751">
                  <c:v>#N/A</c:v>
                </c:pt>
                <c:pt idx="11752">
                  <c:v>#N/A</c:v>
                </c:pt>
                <c:pt idx="11753">
                  <c:v>#N/A</c:v>
                </c:pt>
                <c:pt idx="11754">
                  <c:v>#N/A</c:v>
                </c:pt>
                <c:pt idx="11755">
                  <c:v>#N/A</c:v>
                </c:pt>
                <c:pt idx="11756">
                  <c:v>#N/A</c:v>
                </c:pt>
                <c:pt idx="11757">
                  <c:v>#N/A</c:v>
                </c:pt>
                <c:pt idx="11758">
                  <c:v>#N/A</c:v>
                </c:pt>
                <c:pt idx="11759">
                  <c:v>#N/A</c:v>
                </c:pt>
                <c:pt idx="11760">
                  <c:v>#N/A</c:v>
                </c:pt>
                <c:pt idx="11761">
                  <c:v>#N/A</c:v>
                </c:pt>
                <c:pt idx="11762">
                  <c:v>5.4328767123287669</c:v>
                </c:pt>
                <c:pt idx="11763">
                  <c:v>#N/A</c:v>
                </c:pt>
                <c:pt idx="11764">
                  <c:v>#N/A</c:v>
                </c:pt>
                <c:pt idx="11765">
                  <c:v>#N/A</c:v>
                </c:pt>
                <c:pt idx="11766">
                  <c:v>#N/A</c:v>
                </c:pt>
                <c:pt idx="11767">
                  <c:v>5.4328767123287669</c:v>
                </c:pt>
                <c:pt idx="11768">
                  <c:v>#N/A</c:v>
                </c:pt>
                <c:pt idx="11769">
                  <c:v>#N/A</c:v>
                </c:pt>
                <c:pt idx="11770">
                  <c:v>#N/A</c:v>
                </c:pt>
                <c:pt idx="11771">
                  <c:v>#N/A</c:v>
                </c:pt>
                <c:pt idx="11772">
                  <c:v>#N/A</c:v>
                </c:pt>
                <c:pt idx="11773">
                  <c:v>#N/A</c:v>
                </c:pt>
                <c:pt idx="11774">
                  <c:v>#N/A</c:v>
                </c:pt>
                <c:pt idx="11775">
                  <c:v>#N/A</c:v>
                </c:pt>
                <c:pt idx="11776">
                  <c:v>#N/A</c:v>
                </c:pt>
                <c:pt idx="11777">
                  <c:v>#N/A</c:v>
                </c:pt>
                <c:pt idx="11778">
                  <c:v>#N/A</c:v>
                </c:pt>
                <c:pt idx="11779">
                  <c:v>#N/A</c:v>
                </c:pt>
                <c:pt idx="11780">
                  <c:v>#N/A</c:v>
                </c:pt>
                <c:pt idx="11781">
                  <c:v>#N/A</c:v>
                </c:pt>
                <c:pt idx="11782">
                  <c:v>#N/A</c:v>
                </c:pt>
                <c:pt idx="11783">
                  <c:v>#N/A</c:v>
                </c:pt>
                <c:pt idx="11784">
                  <c:v>#N/A</c:v>
                </c:pt>
                <c:pt idx="11785">
                  <c:v>#N/A</c:v>
                </c:pt>
                <c:pt idx="11786">
                  <c:v>#N/A</c:v>
                </c:pt>
                <c:pt idx="11787">
                  <c:v>#N/A</c:v>
                </c:pt>
                <c:pt idx="11788">
                  <c:v>#N/A</c:v>
                </c:pt>
                <c:pt idx="11789">
                  <c:v>#N/A</c:v>
                </c:pt>
                <c:pt idx="11790">
                  <c:v>#N/A</c:v>
                </c:pt>
                <c:pt idx="11791">
                  <c:v>#N/A</c:v>
                </c:pt>
                <c:pt idx="11792">
                  <c:v>#N/A</c:v>
                </c:pt>
                <c:pt idx="11793">
                  <c:v>#N/A</c:v>
                </c:pt>
                <c:pt idx="11794">
                  <c:v>#N/A</c:v>
                </c:pt>
                <c:pt idx="11795">
                  <c:v>#N/A</c:v>
                </c:pt>
                <c:pt idx="11796">
                  <c:v>#N/A</c:v>
                </c:pt>
                <c:pt idx="11797">
                  <c:v>5.4465753424657537</c:v>
                </c:pt>
                <c:pt idx="11798">
                  <c:v>#N/A</c:v>
                </c:pt>
                <c:pt idx="11799">
                  <c:v>#N/A</c:v>
                </c:pt>
                <c:pt idx="11800">
                  <c:v>5.4465753424657537</c:v>
                </c:pt>
                <c:pt idx="11801">
                  <c:v>5.4465753424657537</c:v>
                </c:pt>
                <c:pt idx="11802">
                  <c:v>#N/A</c:v>
                </c:pt>
                <c:pt idx="11803">
                  <c:v>#N/A</c:v>
                </c:pt>
                <c:pt idx="11804">
                  <c:v>#N/A</c:v>
                </c:pt>
                <c:pt idx="11805">
                  <c:v>#N/A</c:v>
                </c:pt>
                <c:pt idx="11806">
                  <c:v>#N/A</c:v>
                </c:pt>
                <c:pt idx="11807">
                  <c:v>#N/A</c:v>
                </c:pt>
                <c:pt idx="11808">
                  <c:v>#N/A</c:v>
                </c:pt>
                <c:pt idx="11809">
                  <c:v>#N/A</c:v>
                </c:pt>
                <c:pt idx="11810">
                  <c:v>#N/A</c:v>
                </c:pt>
                <c:pt idx="11811">
                  <c:v>#N/A</c:v>
                </c:pt>
                <c:pt idx="11812">
                  <c:v>#N/A</c:v>
                </c:pt>
                <c:pt idx="11813">
                  <c:v>#N/A</c:v>
                </c:pt>
                <c:pt idx="11814">
                  <c:v>#N/A</c:v>
                </c:pt>
                <c:pt idx="11815">
                  <c:v>#N/A</c:v>
                </c:pt>
                <c:pt idx="11816">
                  <c:v>#N/A</c:v>
                </c:pt>
                <c:pt idx="11817">
                  <c:v>#N/A</c:v>
                </c:pt>
                <c:pt idx="11818">
                  <c:v>#N/A</c:v>
                </c:pt>
                <c:pt idx="11819">
                  <c:v>#N/A</c:v>
                </c:pt>
                <c:pt idx="11820">
                  <c:v>#N/A</c:v>
                </c:pt>
                <c:pt idx="11821">
                  <c:v>#N/A</c:v>
                </c:pt>
                <c:pt idx="11822">
                  <c:v>#N/A</c:v>
                </c:pt>
                <c:pt idx="11823">
                  <c:v>#N/A</c:v>
                </c:pt>
                <c:pt idx="11824">
                  <c:v>#N/A</c:v>
                </c:pt>
                <c:pt idx="11825">
                  <c:v>#N/A</c:v>
                </c:pt>
                <c:pt idx="11826">
                  <c:v>#N/A</c:v>
                </c:pt>
                <c:pt idx="11827">
                  <c:v>#N/A</c:v>
                </c:pt>
                <c:pt idx="11828">
                  <c:v>#N/A</c:v>
                </c:pt>
                <c:pt idx="11829">
                  <c:v>#N/A</c:v>
                </c:pt>
                <c:pt idx="11830">
                  <c:v>#N/A</c:v>
                </c:pt>
                <c:pt idx="11831">
                  <c:v>#N/A</c:v>
                </c:pt>
                <c:pt idx="11832">
                  <c:v>#N/A</c:v>
                </c:pt>
                <c:pt idx="11833">
                  <c:v>#N/A</c:v>
                </c:pt>
                <c:pt idx="11834">
                  <c:v>#N/A</c:v>
                </c:pt>
                <c:pt idx="11835">
                  <c:v>#N/A</c:v>
                </c:pt>
                <c:pt idx="11836">
                  <c:v>#N/A</c:v>
                </c:pt>
                <c:pt idx="11837">
                  <c:v>#N/A</c:v>
                </c:pt>
                <c:pt idx="11838">
                  <c:v>#N/A</c:v>
                </c:pt>
                <c:pt idx="11839">
                  <c:v>#N/A</c:v>
                </c:pt>
                <c:pt idx="11840">
                  <c:v>#N/A</c:v>
                </c:pt>
                <c:pt idx="11841">
                  <c:v>#N/A</c:v>
                </c:pt>
                <c:pt idx="11842">
                  <c:v>#N/A</c:v>
                </c:pt>
                <c:pt idx="11843">
                  <c:v>#N/A</c:v>
                </c:pt>
                <c:pt idx="11844">
                  <c:v>#N/A</c:v>
                </c:pt>
                <c:pt idx="11845">
                  <c:v>#N/A</c:v>
                </c:pt>
                <c:pt idx="11846">
                  <c:v>#N/A</c:v>
                </c:pt>
                <c:pt idx="11847">
                  <c:v>#N/A</c:v>
                </c:pt>
                <c:pt idx="11848">
                  <c:v>#N/A</c:v>
                </c:pt>
                <c:pt idx="11849">
                  <c:v>#N/A</c:v>
                </c:pt>
                <c:pt idx="11850">
                  <c:v>#N/A</c:v>
                </c:pt>
                <c:pt idx="11851">
                  <c:v>#N/A</c:v>
                </c:pt>
                <c:pt idx="11852">
                  <c:v>#N/A</c:v>
                </c:pt>
                <c:pt idx="11853">
                  <c:v>#N/A</c:v>
                </c:pt>
                <c:pt idx="11854">
                  <c:v>#N/A</c:v>
                </c:pt>
                <c:pt idx="11855">
                  <c:v>#N/A</c:v>
                </c:pt>
                <c:pt idx="11856">
                  <c:v>#N/A</c:v>
                </c:pt>
                <c:pt idx="11857">
                  <c:v>#N/A</c:v>
                </c:pt>
                <c:pt idx="11858">
                  <c:v>#N/A</c:v>
                </c:pt>
                <c:pt idx="11859">
                  <c:v>#N/A</c:v>
                </c:pt>
                <c:pt idx="11860">
                  <c:v>#N/A</c:v>
                </c:pt>
                <c:pt idx="11861">
                  <c:v>#N/A</c:v>
                </c:pt>
                <c:pt idx="11862">
                  <c:v>#N/A</c:v>
                </c:pt>
                <c:pt idx="11863">
                  <c:v>#N/A</c:v>
                </c:pt>
                <c:pt idx="11864">
                  <c:v>#N/A</c:v>
                </c:pt>
                <c:pt idx="11865">
                  <c:v>#N/A</c:v>
                </c:pt>
                <c:pt idx="11866">
                  <c:v>#N/A</c:v>
                </c:pt>
                <c:pt idx="11867">
                  <c:v>#N/A</c:v>
                </c:pt>
                <c:pt idx="11868">
                  <c:v>#N/A</c:v>
                </c:pt>
                <c:pt idx="11869">
                  <c:v>#N/A</c:v>
                </c:pt>
                <c:pt idx="11870">
                  <c:v>#N/A</c:v>
                </c:pt>
                <c:pt idx="11871">
                  <c:v>#N/A</c:v>
                </c:pt>
                <c:pt idx="11872">
                  <c:v>5.4821917808219176</c:v>
                </c:pt>
                <c:pt idx="11873">
                  <c:v>#N/A</c:v>
                </c:pt>
                <c:pt idx="11874">
                  <c:v>#N/A</c:v>
                </c:pt>
                <c:pt idx="11875">
                  <c:v>#N/A</c:v>
                </c:pt>
                <c:pt idx="11876">
                  <c:v>#N/A</c:v>
                </c:pt>
                <c:pt idx="11877">
                  <c:v>#N/A</c:v>
                </c:pt>
                <c:pt idx="11878">
                  <c:v>#N/A</c:v>
                </c:pt>
                <c:pt idx="11879">
                  <c:v>#N/A</c:v>
                </c:pt>
                <c:pt idx="11880">
                  <c:v>#N/A</c:v>
                </c:pt>
                <c:pt idx="11881">
                  <c:v>#N/A</c:v>
                </c:pt>
                <c:pt idx="11882">
                  <c:v>#N/A</c:v>
                </c:pt>
                <c:pt idx="11883">
                  <c:v>#N/A</c:v>
                </c:pt>
                <c:pt idx="11884">
                  <c:v>#N/A</c:v>
                </c:pt>
                <c:pt idx="11885">
                  <c:v>#N/A</c:v>
                </c:pt>
                <c:pt idx="11886">
                  <c:v>#N/A</c:v>
                </c:pt>
                <c:pt idx="11887">
                  <c:v>#N/A</c:v>
                </c:pt>
                <c:pt idx="11888">
                  <c:v>#N/A</c:v>
                </c:pt>
                <c:pt idx="11889">
                  <c:v>#N/A</c:v>
                </c:pt>
                <c:pt idx="11890">
                  <c:v>#N/A</c:v>
                </c:pt>
                <c:pt idx="11891">
                  <c:v>#N/A</c:v>
                </c:pt>
                <c:pt idx="11892">
                  <c:v>#N/A</c:v>
                </c:pt>
                <c:pt idx="11893">
                  <c:v>#N/A</c:v>
                </c:pt>
                <c:pt idx="11894">
                  <c:v>#N/A</c:v>
                </c:pt>
                <c:pt idx="11895">
                  <c:v>#N/A</c:v>
                </c:pt>
                <c:pt idx="11896">
                  <c:v>#N/A</c:v>
                </c:pt>
                <c:pt idx="11897">
                  <c:v>#N/A</c:v>
                </c:pt>
                <c:pt idx="11898">
                  <c:v>#N/A</c:v>
                </c:pt>
                <c:pt idx="11899">
                  <c:v>#N/A</c:v>
                </c:pt>
                <c:pt idx="11900">
                  <c:v>#N/A</c:v>
                </c:pt>
                <c:pt idx="11901">
                  <c:v>#N/A</c:v>
                </c:pt>
                <c:pt idx="11902">
                  <c:v>#N/A</c:v>
                </c:pt>
                <c:pt idx="11903">
                  <c:v>#N/A</c:v>
                </c:pt>
                <c:pt idx="11904">
                  <c:v>#N/A</c:v>
                </c:pt>
                <c:pt idx="11905">
                  <c:v>#N/A</c:v>
                </c:pt>
                <c:pt idx="11906">
                  <c:v>#N/A</c:v>
                </c:pt>
                <c:pt idx="11907">
                  <c:v>#N/A</c:v>
                </c:pt>
                <c:pt idx="11908">
                  <c:v>#N/A</c:v>
                </c:pt>
                <c:pt idx="11909">
                  <c:v>#N/A</c:v>
                </c:pt>
                <c:pt idx="11910">
                  <c:v>#N/A</c:v>
                </c:pt>
                <c:pt idx="11911">
                  <c:v>#N/A</c:v>
                </c:pt>
                <c:pt idx="11912">
                  <c:v>#N/A</c:v>
                </c:pt>
                <c:pt idx="11913">
                  <c:v>#N/A</c:v>
                </c:pt>
                <c:pt idx="11914">
                  <c:v>#N/A</c:v>
                </c:pt>
                <c:pt idx="11915">
                  <c:v>#N/A</c:v>
                </c:pt>
                <c:pt idx="11916">
                  <c:v>#N/A</c:v>
                </c:pt>
                <c:pt idx="11917">
                  <c:v>#N/A</c:v>
                </c:pt>
                <c:pt idx="11918">
                  <c:v>#N/A</c:v>
                </c:pt>
                <c:pt idx="11919">
                  <c:v>#N/A</c:v>
                </c:pt>
                <c:pt idx="11920">
                  <c:v>#N/A</c:v>
                </c:pt>
                <c:pt idx="11921">
                  <c:v>#N/A</c:v>
                </c:pt>
                <c:pt idx="11922">
                  <c:v>#N/A</c:v>
                </c:pt>
                <c:pt idx="11923">
                  <c:v>#N/A</c:v>
                </c:pt>
                <c:pt idx="11924">
                  <c:v>#N/A</c:v>
                </c:pt>
                <c:pt idx="11925">
                  <c:v>#N/A</c:v>
                </c:pt>
                <c:pt idx="11926">
                  <c:v>#N/A</c:v>
                </c:pt>
                <c:pt idx="11927">
                  <c:v>#N/A</c:v>
                </c:pt>
                <c:pt idx="11928">
                  <c:v>#N/A</c:v>
                </c:pt>
                <c:pt idx="11929">
                  <c:v>#N/A</c:v>
                </c:pt>
                <c:pt idx="11930">
                  <c:v>#N/A</c:v>
                </c:pt>
                <c:pt idx="11931">
                  <c:v>#N/A</c:v>
                </c:pt>
                <c:pt idx="11932">
                  <c:v>#N/A</c:v>
                </c:pt>
                <c:pt idx="11933">
                  <c:v>#N/A</c:v>
                </c:pt>
                <c:pt idx="11934">
                  <c:v>#N/A</c:v>
                </c:pt>
                <c:pt idx="11935">
                  <c:v>#N/A</c:v>
                </c:pt>
                <c:pt idx="11936">
                  <c:v>#N/A</c:v>
                </c:pt>
                <c:pt idx="11937">
                  <c:v>#N/A</c:v>
                </c:pt>
                <c:pt idx="11938">
                  <c:v>#N/A</c:v>
                </c:pt>
                <c:pt idx="11939">
                  <c:v>#N/A</c:v>
                </c:pt>
                <c:pt idx="11940">
                  <c:v>#N/A</c:v>
                </c:pt>
                <c:pt idx="11941">
                  <c:v>#N/A</c:v>
                </c:pt>
                <c:pt idx="11942">
                  <c:v>#N/A</c:v>
                </c:pt>
                <c:pt idx="11943">
                  <c:v>#N/A</c:v>
                </c:pt>
                <c:pt idx="11944">
                  <c:v>#N/A</c:v>
                </c:pt>
                <c:pt idx="11945">
                  <c:v>#N/A</c:v>
                </c:pt>
                <c:pt idx="11946">
                  <c:v>#N/A</c:v>
                </c:pt>
                <c:pt idx="11947">
                  <c:v>#N/A</c:v>
                </c:pt>
                <c:pt idx="11948">
                  <c:v>#N/A</c:v>
                </c:pt>
                <c:pt idx="11949">
                  <c:v>#N/A</c:v>
                </c:pt>
                <c:pt idx="11950">
                  <c:v>#N/A</c:v>
                </c:pt>
                <c:pt idx="11951">
                  <c:v>#N/A</c:v>
                </c:pt>
                <c:pt idx="11952">
                  <c:v>#N/A</c:v>
                </c:pt>
                <c:pt idx="11953">
                  <c:v>#N/A</c:v>
                </c:pt>
                <c:pt idx="11954">
                  <c:v>#N/A</c:v>
                </c:pt>
                <c:pt idx="11955">
                  <c:v>#N/A</c:v>
                </c:pt>
                <c:pt idx="11956">
                  <c:v>#N/A</c:v>
                </c:pt>
                <c:pt idx="11957">
                  <c:v>#N/A</c:v>
                </c:pt>
                <c:pt idx="11958">
                  <c:v>#N/A</c:v>
                </c:pt>
                <c:pt idx="11959">
                  <c:v>#N/A</c:v>
                </c:pt>
                <c:pt idx="11960">
                  <c:v>#N/A</c:v>
                </c:pt>
                <c:pt idx="11961">
                  <c:v>#N/A</c:v>
                </c:pt>
                <c:pt idx="11962">
                  <c:v>#N/A</c:v>
                </c:pt>
                <c:pt idx="11963">
                  <c:v>#N/A</c:v>
                </c:pt>
                <c:pt idx="11964">
                  <c:v>#N/A</c:v>
                </c:pt>
                <c:pt idx="11965">
                  <c:v>#N/A</c:v>
                </c:pt>
                <c:pt idx="11966">
                  <c:v>#N/A</c:v>
                </c:pt>
                <c:pt idx="11967">
                  <c:v>#N/A</c:v>
                </c:pt>
                <c:pt idx="11968">
                  <c:v>#N/A</c:v>
                </c:pt>
                <c:pt idx="11969">
                  <c:v>#N/A</c:v>
                </c:pt>
                <c:pt idx="11970">
                  <c:v>#N/A</c:v>
                </c:pt>
                <c:pt idx="11971">
                  <c:v>#N/A</c:v>
                </c:pt>
                <c:pt idx="11972">
                  <c:v>#N/A</c:v>
                </c:pt>
                <c:pt idx="11973">
                  <c:v>#N/A</c:v>
                </c:pt>
                <c:pt idx="11974">
                  <c:v>#N/A</c:v>
                </c:pt>
                <c:pt idx="11975">
                  <c:v>#N/A</c:v>
                </c:pt>
                <c:pt idx="11976">
                  <c:v>#N/A</c:v>
                </c:pt>
                <c:pt idx="11977">
                  <c:v>#N/A</c:v>
                </c:pt>
                <c:pt idx="11978">
                  <c:v>#N/A</c:v>
                </c:pt>
                <c:pt idx="11979">
                  <c:v>#N/A</c:v>
                </c:pt>
                <c:pt idx="11980">
                  <c:v>#N/A</c:v>
                </c:pt>
                <c:pt idx="11981">
                  <c:v>#N/A</c:v>
                </c:pt>
                <c:pt idx="11982">
                  <c:v>#N/A</c:v>
                </c:pt>
                <c:pt idx="11983">
                  <c:v>#N/A</c:v>
                </c:pt>
                <c:pt idx="11984">
                  <c:v>#N/A</c:v>
                </c:pt>
                <c:pt idx="11985">
                  <c:v>#N/A</c:v>
                </c:pt>
                <c:pt idx="11986">
                  <c:v>#N/A</c:v>
                </c:pt>
                <c:pt idx="11987">
                  <c:v>#N/A</c:v>
                </c:pt>
                <c:pt idx="11988">
                  <c:v>#N/A</c:v>
                </c:pt>
                <c:pt idx="11989">
                  <c:v>#N/A</c:v>
                </c:pt>
                <c:pt idx="11990">
                  <c:v>#N/A</c:v>
                </c:pt>
                <c:pt idx="11991">
                  <c:v>#N/A</c:v>
                </c:pt>
                <c:pt idx="11992">
                  <c:v>#N/A</c:v>
                </c:pt>
                <c:pt idx="11993">
                  <c:v>#N/A</c:v>
                </c:pt>
                <c:pt idx="11994">
                  <c:v>#N/A</c:v>
                </c:pt>
                <c:pt idx="11995">
                  <c:v>#N/A</c:v>
                </c:pt>
                <c:pt idx="11996">
                  <c:v>#N/A</c:v>
                </c:pt>
                <c:pt idx="11997">
                  <c:v>#N/A</c:v>
                </c:pt>
                <c:pt idx="11998">
                  <c:v>#N/A</c:v>
                </c:pt>
                <c:pt idx="11999">
                  <c:v>#N/A</c:v>
                </c:pt>
                <c:pt idx="12000">
                  <c:v>#N/A</c:v>
                </c:pt>
                <c:pt idx="12001">
                  <c:v>#N/A</c:v>
                </c:pt>
                <c:pt idx="12002">
                  <c:v>#N/A</c:v>
                </c:pt>
                <c:pt idx="12003">
                  <c:v>#N/A</c:v>
                </c:pt>
                <c:pt idx="12004">
                  <c:v>#N/A</c:v>
                </c:pt>
                <c:pt idx="12005">
                  <c:v>#N/A</c:v>
                </c:pt>
                <c:pt idx="12006">
                  <c:v>#N/A</c:v>
                </c:pt>
                <c:pt idx="12007">
                  <c:v>#N/A</c:v>
                </c:pt>
                <c:pt idx="12008">
                  <c:v>#N/A</c:v>
                </c:pt>
                <c:pt idx="12009">
                  <c:v>#N/A</c:v>
                </c:pt>
                <c:pt idx="12010">
                  <c:v>#N/A</c:v>
                </c:pt>
                <c:pt idx="12011">
                  <c:v>#N/A</c:v>
                </c:pt>
                <c:pt idx="12012">
                  <c:v>#N/A</c:v>
                </c:pt>
                <c:pt idx="12013">
                  <c:v>#N/A</c:v>
                </c:pt>
                <c:pt idx="12014">
                  <c:v>#N/A</c:v>
                </c:pt>
                <c:pt idx="12015">
                  <c:v>#N/A</c:v>
                </c:pt>
                <c:pt idx="12016">
                  <c:v>#N/A</c:v>
                </c:pt>
                <c:pt idx="12017">
                  <c:v>#N/A</c:v>
                </c:pt>
                <c:pt idx="12018">
                  <c:v>#N/A</c:v>
                </c:pt>
                <c:pt idx="12019">
                  <c:v>#N/A</c:v>
                </c:pt>
                <c:pt idx="12020">
                  <c:v>#N/A</c:v>
                </c:pt>
                <c:pt idx="12021">
                  <c:v>#N/A</c:v>
                </c:pt>
                <c:pt idx="12022">
                  <c:v>#N/A</c:v>
                </c:pt>
                <c:pt idx="12023">
                  <c:v>#N/A</c:v>
                </c:pt>
                <c:pt idx="12024">
                  <c:v>#N/A</c:v>
                </c:pt>
                <c:pt idx="12025">
                  <c:v>#N/A</c:v>
                </c:pt>
                <c:pt idx="12026">
                  <c:v>#N/A</c:v>
                </c:pt>
                <c:pt idx="12027">
                  <c:v>#N/A</c:v>
                </c:pt>
                <c:pt idx="12028">
                  <c:v>#N/A</c:v>
                </c:pt>
                <c:pt idx="12029">
                  <c:v>#N/A</c:v>
                </c:pt>
                <c:pt idx="12030">
                  <c:v>#N/A</c:v>
                </c:pt>
                <c:pt idx="12031">
                  <c:v>#N/A</c:v>
                </c:pt>
                <c:pt idx="12032">
                  <c:v>#N/A</c:v>
                </c:pt>
                <c:pt idx="12033">
                  <c:v>#N/A</c:v>
                </c:pt>
                <c:pt idx="12034">
                  <c:v>#N/A</c:v>
                </c:pt>
                <c:pt idx="12035">
                  <c:v>#N/A</c:v>
                </c:pt>
                <c:pt idx="12036">
                  <c:v>#N/A</c:v>
                </c:pt>
                <c:pt idx="12037">
                  <c:v>#N/A</c:v>
                </c:pt>
                <c:pt idx="12038">
                  <c:v>#N/A</c:v>
                </c:pt>
                <c:pt idx="12039">
                  <c:v>#N/A</c:v>
                </c:pt>
                <c:pt idx="12040">
                  <c:v>#N/A</c:v>
                </c:pt>
                <c:pt idx="12041">
                  <c:v>#N/A</c:v>
                </c:pt>
                <c:pt idx="12042">
                  <c:v>#N/A</c:v>
                </c:pt>
                <c:pt idx="12043">
                  <c:v>#N/A</c:v>
                </c:pt>
                <c:pt idx="12044">
                  <c:v>#N/A</c:v>
                </c:pt>
                <c:pt idx="12045">
                  <c:v>#N/A</c:v>
                </c:pt>
                <c:pt idx="12046">
                  <c:v>#N/A</c:v>
                </c:pt>
                <c:pt idx="12047">
                  <c:v>#N/A</c:v>
                </c:pt>
                <c:pt idx="12048">
                  <c:v>#N/A</c:v>
                </c:pt>
                <c:pt idx="12049">
                  <c:v>#N/A</c:v>
                </c:pt>
                <c:pt idx="12050">
                  <c:v>#N/A</c:v>
                </c:pt>
                <c:pt idx="12051">
                  <c:v>#N/A</c:v>
                </c:pt>
                <c:pt idx="12052">
                  <c:v>#N/A</c:v>
                </c:pt>
                <c:pt idx="12053">
                  <c:v>#N/A</c:v>
                </c:pt>
                <c:pt idx="12054">
                  <c:v>#N/A</c:v>
                </c:pt>
                <c:pt idx="12055">
                  <c:v>#N/A</c:v>
                </c:pt>
                <c:pt idx="12056">
                  <c:v>#N/A</c:v>
                </c:pt>
                <c:pt idx="12057">
                  <c:v>#N/A</c:v>
                </c:pt>
                <c:pt idx="12058">
                  <c:v>#N/A</c:v>
                </c:pt>
                <c:pt idx="12059">
                  <c:v>#N/A</c:v>
                </c:pt>
                <c:pt idx="12060">
                  <c:v>#N/A</c:v>
                </c:pt>
                <c:pt idx="12061">
                  <c:v>#N/A</c:v>
                </c:pt>
                <c:pt idx="12062">
                  <c:v>#N/A</c:v>
                </c:pt>
                <c:pt idx="12063">
                  <c:v>#N/A</c:v>
                </c:pt>
                <c:pt idx="12064">
                  <c:v>#N/A</c:v>
                </c:pt>
                <c:pt idx="12065">
                  <c:v>#N/A</c:v>
                </c:pt>
                <c:pt idx="12066">
                  <c:v>#N/A</c:v>
                </c:pt>
                <c:pt idx="12067">
                  <c:v>#N/A</c:v>
                </c:pt>
                <c:pt idx="12068">
                  <c:v>#N/A</c:v>
                </c:pt>
                <c:pt idx="12069">
                  <c:v>#N/A</c:v>
                </c:pt>
                <c:pt idx="12070">
                  <c:v>#N/A</c:v>
                </c:pt>
                <c:pt idx="12071">
                  <c:v>#N/A</c:v>
                </c:pt>
                <c:pt idx="12072">
                  <c:v>#N/A</c:v>
                </c:pt>
                <c:pt idx="12073">
                  <c:v>#N/A</c:v>
                </c:pt>
                <c:pt idx="12074">
                  <c:v>#N/A</c:v>
                </c:pt>
                <c:pt idx="12075">
                  <c:v>#N/A</c:v>
                </c:pt>
                <c:pt idx="12076">
                  <c:v>#N/A</c:v>
                </c:pt>
                <c:pt idx="12077">
                  <c:v>#N/A</c:v>
                </c:pt>
                <c:pt idx="12078">
                  <c:v>#N/A</c:v>
                </c:pt>
                <c:pt idx="12079">
                  <c:v>#N/A</c:v>
                </c:pt>
                <c:pt idx="12080">
                  <c:v>#N/A</c:v>
                </c:pt>
                <c:pt idx="12081">
                  <c:v>#N/A</c:v>
                </c:pt>
                <c:pt idx="12082">
                  <c:v>#N/A</c:v>
                </c:pt>
                <c:pt idx="12083">
                  <c:v>#N/A</c:v>
                </c:pt>
                <c:pt idx="12084">
                  <c:v>#N/A</c:v>
                </c:pt>
                <c:pt idx="12085">
                  <c:v>#N/A</c:v>
                </c:pt>
                <c:pt idx="12086">
                  <c:v>#N/A</c:v>
                </c:pt>
                <c:pt idx="12087">
                  <c:v>#N/A</c:v>
                </c:pt>
                <c:pt idx="12088">
                  <c:v>#N/A</c:v>
                </c:pt>
                <c:pt idx="12089">
                  <c:v>#N/A</c:v>
                </c:pt>
                <c:pt idx="12090">
                  <c:v>#N/A</c:v>
                </c:pt>
                <c:pt idx="12091">
                  <c:v>#N/A</c:v>
                </c:pt>
                <c:pt idx="12092">
                  <c:v>#N/A</c:v>
                </c:pt>
                <c:pt idx="12093">
                  <c:v>#N/A</c:v>
                </c:pt>
                <c:pt idx="12094">
                  <c:v>#N/A</c:v>
                </c:pt>
                <c:pt idx="12095">
                  <c:v>#N/A</c:v>
                </c:pt>
                <c:pt idx="12096">
                  <c:v>#N/A</c:v>
                </c:pt>
                <c:pt idx="12097">
                  <c:v>#N/A</c:v>
                </c:pt>
                <c:pt idx="12098">
                  <c:v>#N/A</c:v>
                </c:pt>
                <c:pt idx="12099">
                  <c:v>#N/A</c:v>
                </c:pt>
                <c:pt idx="12100">
                  <c:v>#N/A</c:v>
                </c:pt>
                <c:pt idx="12101">
                  <c:v>#N/A</c:v>
                </c:pt>
                <c:pt idx="12102">
                  <c:v>#N/A</c:v>
                </c:pt>
                <c:pt idx="12103">
                  <c:v>#N/A</c:v>
                </c:pt>
                <c:pt idx="12104">
                  <c:v>#N/A</c:v>
                </c:pt>
                <c:pt idx="12105">
                  <c:v>#N/A</c:v>
                </c:pt>
                <c:pt idx="12106">
                  <c:v>#N/A</c:v>
                </c:pt>
                <c:pt idx="12107">
                  <c:v>#N/A</c:v>
                </c:pt>
                <c:pt idx="12108">
                  <c:v>#N/A</c:v>
                </c:pt>
                <c:pt idx="12109">
                  <c:v>#N/A</c:v>
                </c:pt>
                <c:pt idx="12110">
                  <c:v>#N/A</c:v>
                </c:pt>
                <c:pt idx="12111">
                  <c:v>#N/A</c:v>
                </c:pt>
                <c:pt idx="12112">
                  <c:v>#N/A</c:v>
                </c:pt>
                <c:pt idx="12113">
                  <c:v>#N/A</c:v>
                </c:pt>
                <c:pt idx="12114">
                  <c:v>#N/A</c:v>
                </c:pt>
                <c:pt idx="12115">
                  <c:v>#N/A</c:v>
                </c:pt>
                <c:pt idx="12116">
                  <c:v>#N/A</c:v>
                </c:pt>
                <c:pt idx="12117">
                  <c:v>#N/A</c:v>
                </c:pt>
                <c:pt idx="12118">
                  <c:v>#N/A</c:v>
                </c:pt>
                <c:pt idx="12119">
                  <c:v>#N/A</c:v>
                </c:pt>
                <c:pt idx="12120">
                  <c:v>#N/A</c:v>
                </c:pt>
                <c:pt idx="12121">
                  <c:v>#N/A</c:v>
                </c:pt>
                <c:pt idx="12122">
                  <c:v>#N/A</c:v>
                </c:pt>
                <c:pt idx="12123">
                  <c:v>#N/A</c:v>
                </c:pt>
                <c:pt idx="12124">
                  <c:v>#N/A</c:v>
                </c:pt>
                <c:pt idx="12125">
                  <c:v>#N/A</c:v>
                </c:pt>
                <c:pt idx="12126">
                  <c:v>#N/A</c:v>
                </c:pt>
                <c:pt idx="12127">
                  <c:v>#N/A</c:v>
                </c:pt>
                <c:pt idx="12128">
                  <c:v>#N/A</c:v>
                </c:pt>
                <c:pt idx="12129">
                  <c:v>#N/A</c:v>
                </c:pt>
                <c:pt idx="12130">
                  <c:v>#N/A</c:v>
                </c:pt>
                <c:pt idx="12131">
                  <c:v>#N/A</c:v>
                </c:pt>
                <c:pt idx="12132">
                  <c:v>#N/A</c:v>
                </c:pt>
                <c:pt idx="12133">
                  <c:v>#N/A</c:v>
                </c:pt>
                <c:pt idx="12134">
                  <c:v>#N/A</c:v>
                </c:pt>
                <c:pt idx="12135">
                  <c:v>#N/A</c:v>
                </c:pt>
                <c:pt idx="12136">
                  <c:v>#N/A</c:v>
                </c:pt>
                <c:pt idx="12137">
                  <c:v>#N/A</c:v>
                </c:pt>
                <c:pt idx="12138">
                  <c:v>#N/A</c:v>
                </c:pt>
                <c:pt idx="12139">
                  <c:v>#N/A</c:v>
                </c:pt>
                <c:pt idx="12140">
                  <c:v>#N/A</c:v>
                </c:pt>
                <c:pt idx="12141">
                  <c:v>#N/A</c:v>
                </c:pt>
                <c:pt idx="12142">
                  <c:v>#N/A</c:v>
                </c:pt>
                <c:pt idx="12143">
                  <c:v>#N/A</c:v>
                </c:pt>
                <c:pt idx="12144">
                  <c:v>#N/A</c:v>
                </c:pt>
                <c:pt idx="12145">
                  <c:v>#N/A</c:v>
                </c:pt>
                <c:pt idx="12146">
                  <c:v>#N/A</c:v>
                </c:pt>
                <c:pt idx="12147">
                  <c:v>#N/A</c:v>
                </c:pt>
                <c:pt idx="12148">
                  <c:v>#N/A</c:v>
                </c:pt>
                <c:pt idx="12149">
                  <c:v>#N/A</c:v>
                </c:pt>
                <c:pt idx="12150">
                  <c:v>#N/A</c:v>
                </c:pt>
                <c:pt idx="12151">
                  <c:v>#N/A</c:v>
                </c:pt>
                <c:pt idx="12152">
                  <c:v>#N/A</c:v>
                </c:pt>
                <c:pt idx="12153">
                  <c:v>#N/A</c:v>
                </c:pt>
                <c:pt idx="12154">
                  <c:v>#N/A</c:v>
                </c:pt>
                <c:pt idx="12155">
                  <c:v>#N/A</c:v>
                </c:pt>
                <c:pt idx="12156">
                  <c:v>#N/A</c:v>
                </c:pt>
                <c:pt idx="12157">
                  <c:v>#N/A</c:v>
                </c:pt>
                <c:pt idx="12158">
                  <c:v>6.0164383561643833</c:v>
                </c:pt>
                <c:pt idx="12159">
                  <c:v>#N/A</c:v>
                </c:pt>
                <c:pt idx="12160">
                  <c:v>#N/A</c:v>
                </c:pt>
                <c:pt idx="12161">
                  <c:v>#N/A</c:v>
                </c:pt>
                <c:pt idx="12162">
                  <c:v>#N/A</c:v>
                </c:pt>
                <c:pt idx="12163">
                  <c:v>#N/A</c:v>
                </c:pt>
                <c:pt idx="12164">
                  <c:v>#N/A</c:v>
                </c:pt>
                <c:pt idx="12165">
                  <c:v>#N/A</c:v>
                </c:pt>
                <c:pt idx="12166">
                  <c:v>#N/A</c:v>
                </c:pt>
                <c:pt idx="12167">
                  <c:v>#N/A</c:v>
                </c:pt>
                <c:pt idx="12168">
                  <c:v>#N/A</c:v>
                </c:pt>
                <c:pt idx="12169">
                  <c:v>#N/A</c:v>
                </c:pt>
                <c:pt idx="12170">
                  <c:v>#N/A</c:v>
                </c:pt>
                <c:pt idx="12171">
                  <c:v>#N/A</c:v>
                </c:pt>
                <c:pt idx="12172">
                  <c:v>#N/A</c:v>
                </c:pt>
                <c:pt idx="12173">
                  <c:v>#N/A</c:v>
                </c:pt>
                <c:pt idx="12174">
                  <c:v>#N/A</c:v>
                </c:pt>
                <c:pt idx="12175">
                  <c:v>#N/A</c:v>
                </c:pt>
                <c:pt idx="12176">
                  <c:v>#N/A</c:v>
                </c:pt>
                <c:pt idx="12177">
                  <c:v>#N/A</c:v>
                </c:pt>
                <c:pt idx="12178">
                  <c:v>#N/A</c:v>
                </c:pt>
                <c:pt idx="12179">
                  <c:v>#N/A</c:v>
                </c:pt>
                <c:pt idx="12180">
                  <c:v>#N/A</c:v>
                </c:pt>
                <c:pt idx="12181">
                  <c:v>#N/A</c:v>
                </c:pt>
                <c:pt idx="12182">
                  <c:v>#N/A</c:v>
                </c:pt>
                <c:pt idx="12183">
                  <c:v>#N/A</c:v>
                </c:pt>
                <c:pt idx="12184">
                  <c:v>#N/A</c:v>
                </c:pt>
                <c:pt idx="12185">
                  <c:v>#N/A</c:v>
                </c:pt>
                <c:pt idx="12186">
                  <c:v>#N/A</c:v>
                </c:pt>
                <c:pt idx="12187">
                  <c:v>#N/A</c:v>
                </c:pt>
                <c:pt idx="12188">
                  <c:v>#N/A</c:v>
                </c:pt>
                <c:pt idx="12189">
                  <c:v>#N/A</c:v>
                </c:pt>
                <c:pt idx="12190">
                  <c:v>#N/A</c:v>
                </c:pt>
                <c:pt idx="12191">
                  <c:v>#N/A</c:v>
                </c:pt>
                <c:pt idx="12192">
                  <c:v>#N/A</c:v>
                </c:pt>
                <c:pt idx="12193">
                  <c:v>#N/A</c:v>
                </c:pt>
                <c:pt idx="12194">
                  <c:v>#N/A</c:v>
                </c:pt>
                <c:pt idx="12195">
                  <c:v>#N/A</c:v>
                </c:pt>
                <c:pt idx="12196">
                  <c:v>#N/A</c:v>
                </c:pt>
                <c:pt idx="12197">
                  <c:v>#N/A</c:v>
                </c:pt>
                <c:pt idx="12198">
                  <c:v>#N/A</c:v>
                </c:pt>
                <c:pt idx="12199">
                  <c:v>#N/A</c:v>
                </c:pt>
                <c:pt idx="12200">
                  <c:v>#N/A</c:v>
                </c:pt>
                <c:pt idx="12201">
                  <c:v>#N/A</c:v>
                </c:pt>
                <c:pt idx="12202">
                  <c:v>#N/A</c:v>
                </c:pt>
                <c:pt idx="12203">
                  <c:v>#N/A</c:v>
                </c:pt>
                <c:pt idx="12204">
                  <c:v>#N/A</c:v>
                </c:pt>
                <c:pt idx="12205">
                  <c:v>#N/A</c:v>
                </c:pt>
                <c:pt idx="12206">
                  <c:v>#N/A</c:v>
                </c:pt>
                <c:pt idx="12207">
                  <c:v>#N/A</c:v>
                </c:pt>
                <c:pt idx="12208">
                  <c:v>#N/A</c:v>
                </c:pt>
                <c:pt idx="12209">
                  <c:v>#N/A</c:v>
                </c:pt>
                <c:pt idx="12210">
                  <c:v>#N/A</c:v>
                </c:pt>
                <c:pt idx="12211">
                  <c:v>#N/A</c:v>
                </c:pt>
                <c:pt idx="12212">
                  <c:v>#N/A</c:v>
                </c:pt>
                <c:pt idx="12213">
                  <c:v>#N/A</c:v>
                </c:pt>
                <c:pt idx="12214">
                  <c:v>#N/A</c:v>
                </c:pt>
                <c:pt idx="12215">
                  <c:v>#N/A</c:v>
                </c:pt>
                <c:pt idx="12216">
                  <c:v>#N/A</c:v>
                </c:pt>
                <c:pt idx="12217">
                  <c:v>#N/A</c:v>
                </c:pt>
                <c:pt idx="12218">
                  <c:v>#N/A</c:v>
                </c:pt>
                <c:pt idx="12219">
                  <c:v>#N/A</c:v>
                </c:pt>
                <c:pt idx="12220">
                  <c:v>#N/A</c:v>
                </c:pt>
                <c:pt idx="12221">
                  <c:v>#N/A</c:v>
                </c:pt>
                <c:pt idx="12222">
                  <c:v>#N/A</c:v>
                </c:pt>
                <c:pt idx="12223">
                  <c:v>#N/A</c:v>
                </c:pt>
                <c:pt idx="12224">
                  <c:v>#N/A</c:v>
                </c:pt>
                <c:pt idx="12225">
                  <c:v>#N/A</c:v>
                </c:pt>
                <c:pt idx="12226">
                  <c:v>#N/A</c:v>
                </c:pt>
                <c:pt idx="12227">
                  <c:v>#N/A</c:v>
                </c:pt>
                <c:pt idx="12228">
                  <c:v>#N/A</c:v>
                </c:pt>
                <c:pt idx="12229">
                  <c:v>#N/A</c:v>
                </c:pt>
                <c:pt idx="12230">
                  <c:v>#N/A</c:v>
                </c:pt>
                <c:pt idx="12231">
                  <c:v>#N/A</c:v>
                </c:pt>
                <c:pt idx="12232">
                  <c:v>#N/A</c:v>
                </c:pt>
                <c:pt idx="12233">
                  <c:v>#N/A</c:v>
                </c:pt>
                <c:pt idx="12234">
                  <c:v>#N/A</c:v>
                </c:pt>
                <c:pt idx="12235">
                  <c:v>#N/A</c:v>
                </c:pt>
                <c:pt idx="12236">
                  <c:v>#N/A</c:v>
                </c:pt>
                <c:pt idx="12237">
                  <c:v>#N/A</c:v>
                </c:pt>
                <c:pt idx="12238">
                  <c:v>#N/A</c:v>
                </c:pt>
                <c:pt idx="12239">
                  <c:v>#N/A</c:v>
                </c:pt>
                <c:pt idx="12240">
                  <c:v>#N/A</c:v>
                </c:pt>
                <c:pt idx="12241">
                  <c:v>#N/A</c:v>
                </c:pt>
                <c:pt idx="12242">
                  <c:v>#N/A</c:v>
                </c:pt>
                <c:pt idx="12243">
                  <c:v>#N/A</c:v>
                </c:pt>
                <c:pt idx="12244">
                  <c:v>#N/A</c:v>
                </c:pt>
                <c:pt idx="12245">
                  <c:v>#N/A</c:v>
                </c:pt>
                <c:pt idx="12246">
                  <c:v>#N/A</c:v>
                </c:pt>
                <c:pt idx="12247">
                  <c:v>#N/A</c:v>
                </c:pt>
                <c:pt idx="12248">
                  <c:v>#N/A</c:v>
                </c:pt>
                <c:pt idx="12249">
                  <c:v>#N/A</c:v>
                </c:pt>
                <c:pt idx="12250">
                  <c:v>#N/A</c:v>
                </c:pt>
                <c:pt idx="12251">
                  <c:v>#N/A</c:v>
                </c:pt>
                <c:pt idx="12252">
                  <c:v>#N/A</c:v>
                </c:pt>
                <c:pt idx="12253">
                  <c:v>#N/A</c:v>
                </c:pt>
                <c:pt idx="12254">
                  <c:v>#N/A</c:v>
                </c:pt>
                <c:pt idx="12255">
                  <c:v>#N/A</c:v>
                </c:pt>
                <c:pt idx="12256">
                  <c:v>#N/A</c:v>
                </c:pt>
                <c:pt idx="12257">
                  <c:v>#N/A</c:v>
                </c:pt>
                <c:pt idx="12258">
                  <c:v>#N/A</c:v>
                </c:pt>
                <c:pt idx="12259">
                  <c:v>#N/A</c:v>
                </c:pt>
                <c:pt idx="12260">
                  <c:v>#N/A</c:v>
                </c:pt>
                <c:pt idx="12261">
                  <c:v>#N/A</c:v>
                </c:pt>
                <c:pt idx="12262">
                  <c:v>#N/A</c:v>
                </c:pt>
                <c:pt idx="12263">
                  <c:v>#N/A</c:v>
                </c:pt>
                <c:pt idx="12264">
                  <c:v>#N/A</c:v>
                </c:pt>
                <c:pt idx="12265">
                  <c:v>#N/A</c:v>
                </c:pt>
                <c:pt idx="12266">
                  <c:v>#N/A</c:v>
                </c:pt>
                <c:pt idx="12267">
                  <c:v>#N/A</c:v>
                </c:pt>
                <c:pt idx="12268">
                  <c:v>#N/A</c:v>
                </c:pt>
                <c:pt idx="12269">
                  <c:v>#N/A</c:v>
                </c:pt>
                <c:pt idx="12270">
                  <c:v>#N/A</c:v>
                </c:pt>
                <c:pt idx="12271">
                  <c:v>#N/A</c:v>
                </c:pt>
                <c:pt idx="12272">
                  <c:v>#N/A</c:v>
                </c:pt>
                <c:pt idx="12273">
                  <c:v>#N/A</c:v>
                </c:pt>
                <c:pt idx="12274">
                  <c:v>#N/A</c:v>
                </c:pt>
                <c:pt idx="12275">
                  <c:v>#N/A</c:v>
                </c:pt>
                <c:pt idx="12276">
                  <c:v>#N/A</c:v>
                </c:pt>
                <c:pt idx="12277">
                  <c:v>#N/A</c:v>
                </c:pt>
                <c:pt idx="12278">
                  <c:v>#N/A</c:v>
                </c:pt>
                <c:pt idx="12279">
                  <c:v>#N/A</c:v>
                </c:pt>
                <c:pt idx="12280">
                  <c:v>#N/A</c:v>
                </c:pt>
                <c:pt idx="12281">
                  <c:v>#N/A</c:v>
                </c:pt>
                <c:pt idx="12282">
                  <c:v>#N/A</c:v>
                </c:pt>
                <c:pt idx="12283">
                  <c:v>#N/A</c:v>
                </c:pt>
                <c:pt idx="12284">
                  <c:v>#N/A</c:v>
                </c:pt>
                <c:pt idx="12285">
                  <c:v>#N/A</c:v>
                </c:pt>
                <c:pt idx="12286">
                  <c:v>#N/A</c:v>
                </c:pt>
                <c:pt idx="12287">
                  <c:v>#N/A</c:v>
                </c:pt>
                <c:pt idx="12288">
                  <c:v>#N/A</c:v>
                </c:pt>
                <c:pt idx="12289">
                  <c:v>#N/A</c:v>
                </c:pt>
                <c:pt idx="12290">
                  <c:v>#N/A</c:v>
                </c:pt>
                <c:pt idx="12291">
                  <c:v>#N/A</c:v>
                </c:pt>
                <c:pt idx="12292">
                  <c:v>#N/A</c:v>
                </c:pt>
                <c:pt idx="12293">
                  <c:v>#N/A</c:v>
                </c:pt>
                <c:pt idx="12294">
                  <c:v>#N/A</c:v>
                </c:pt>
                <c:pt idx="12295">
                  <c:v>#N/A</c:v>
                </c:pt>
                <c:pt idx="12296">
                  <c:v>#N/A</c:v>
                </c:pt>
                <c:pt idx="12297">
                  <c:v>#N/A</c:v>
                </c:pt>
                <c:pt idx="12298">
                  <c:v>#N/A</c:v>
                </c:pt>
                <c:pt idx="12299">
                  <c:v>#N/A</c:v>
                </c:pt>
                <c:pt idx="12300">
                  <c:v>#N/A</c:v>
                </c:pt>
                <c:pt idx="12301">
                  <c:v>#N/A</c:v>
                </c:pt>
                <c:pt idx="12302">
                  <c:v>#N/A</c:v>
                </c:pt>
                <c:pt idx="12303">
                  <c:v>#N/A</c:v>
                </c:pt>
                <c:pt idx="12304">
                  <c:v>#N/A</c:v>
                </c:pt>
                <c:pt idx="12305">
                  <c:v>#N/A</c:v>
                </c:pt>
                <c:pt idx="12306">
                  <c:v>#N/A</c:v>
                </c:pt>
                <c:pt idx="12307">
                  <c:v>#N/A</c:v>
                </c:pt>
                <c:pt idx="12308">
                  <c:v>6.441095890410959</c:v>
                </c:pt>
                <c:pt idx="12309">
                  <c:v>#N/A</c:v>
                </c:pt>
                <c:pt idx="12310">
                  <c:v>#N/A</c:v>
                </c:pt>
                <c:pt idx="12311">
                  <c:v>#N/A</c:v>
                </c:pt>
                <c:pt idx="12312">
                  <c:v>#N/A</c:v>
                </c:pt>
                <c:pt idx="12313">
                  <c:v>#N/A</c:v>
                </c:pt>
                <c:pt idx="12314">
                  <c:v>#N/A</c:v>
                </c:pt>
                <c:pt idx="12315">
                  <c:v>#N/A</c:v>
                </c:pt>
                <c:pt idx="12316">
                  <c:v>#N/A</c:v>
                </c:pt>
                <c:pt idx="12317">
                  <c:v>#N/A</c:v>
                </c:pt>
                <c:pt idx="12318">
                  <c:v>#N/A</c:v>
                </c:pt>
                <c:pt idx="12319">
                  <c:v>#N/A</c:v>
                </c:pt>
                <c:pt idx="12320">
                  <c:v>#N/A</c:v>
                </c:pt>
                <c:pt idx="12321">
                  <c:v>#N/A</c:v>
                </c:pt>
                <c:pt idx="12322">
                  <c:v>#N/A</c:v>
                </c:pt>
                <c:pt idx="12323">
                  <c:v>#N/A</c:v>
                </c:pt>
                <c:pt idx="12324">
                  <c:v>#N/A</c:v>
                </c:pt>
                <c:pt idx="12325">
                  <c:v>#N/A</c:v>
                </c:pt>
                <c:pt idx="12326">
                  <c:v>#N/A</c:v>
                </c:pt>
                <c:pt idx="12327">
                  <c:v>#N/A</c:v>
                </c:pt>
                <c:pt idx="12328">
                  <c:v>#N/A</c:v>
                </c:pt>
                <c:pt idx="12329">
                  <c:v>#N/A</c:v>
                </c:pt>
                <c:pt idx="12330">
                  <c:v>#N/A</c:v>
                </c:pt>
                <c:pt idx="12331">
                  <c:v>#N/A</c:v>
                </c:pt>
                <c:pt idx="12332">
                  <c:v>#N/A</c:v>
                </c:pt>
                <c:pt idx="12333">
                  <c:v>#N/A</c:v>
                </c:pt>
                <c:pt idx="12334">
                  <c:v>#N/A</c:v>
                </c:pt>
                <c:pt idx="12335">
                  <c:v>#N/A</c:v>
                </c:pt>
                <c:pt idx="12336">
                  <c:v>#N/A</c:v>
                </c:pt>
                <c:pt idx="12337">
                  <c:v>#N/A</c:v>
                </c:pt>
                <c:pt idx="12338">
                  <c:v>#N/A</c:v>
                </c:pt>
                <c:pt idx="12339">
                  <c:v>#N/A</c:v>
                </c:pt>
                <c:pt idx="12340">
                  <c:v>#N/A</c:v>
                </c:pt>
                <c:pt idx="12341">
                  <c:v>#N/A</c:v>
                </c:pt>
                <c:pt idx="12342">
                  <c:v>#N/A</c:v>
                </c:pt>
                <c:pt idx="12343">
                  <c:v>#N/A</c:v>
                </c:pt>
                <c:pt idx="12344">
                  <c:v>#N/A</c:v>
                </c:pt>
                <c:pt idx="12345">
                  <c:v>#N/A</c:v>
                </c:pt>
                <c:pt idx="12346">
                  <c:v>#N/A</c:v>
                </c:pt>
                <c:pt idx="12347">
                  <c:v>#N/A</c:v>
                </c:pt>
                <c:pt idx="12348">
                  <c:v>6.4684931506849317</c:v>
                </c:pt>
                <c:pt idx="12349">
                  <c:v>#N/A</c:v>
                </c:pt>
                <c:pt idx="12350">
                  <c:v>#N/A</c:v>
                </c:pt>
                <c:pt idx="12351">
                  <c:v>#N/A</c:v>
                </c:pt>
                <c:pt idx="12352">
                  <c:v>#N/A</c:v>
                </c:pt>
                <c:pt idx="12353">
                  <c:v>#N/A</c:v>
                </c:pt>
                <c:pt idx="12354">
                  <c:v>#N/A</c:v>
                </c:pt>
                <c:pt idx="12355">
                  <c:v>#N/A</c:v>
                </c:pt>
                <c:pt idx="12356">
                  <c:v>#N/A</c:v>
                </c:pt>
                <c:pt idx="12357">
                  <c:v>#N/A</c:v>
                </c:pt>
                <c:pt idx="12358">
                  <c:v>#N/A</c:v>
                </c:pt>
                <c:pt idx="12359">
                  <c:v>#N/A</c:v>
                </c:pt>
                <c:pt idx="12360">
                  <c:v>#N/A</c:v>
                </c:pt>
                <c:pt idx="12361">
                  <c:v>#N/A</c:v>
                </c:pt>
                <c:pt idx="12362">
                  <c:v>#N/A</c:v>
                </c:pt>
                <c:pt idx="12363">
                  <c:v>#N/A</c:v>
                </c:pt>
                <c:pt idx="12364">
                  <c:v>#N/A</c:v>
                </c:pt>
                <c:pt idx="12365">
                  <c:v>#N/A</c:v>
                </c:pt>
                <c:pt idx="12366">
                  <c:v>#N/A</c:v>
                </c:pt>
                <c:pt idx="12367">
                  <c:v>#N/A</c:v>
                </c:pt>
                <c:pt idx="12368">
                  <c:v>#N/A</c:v>
                </c:pt>
                <c:pt idx="12369">
                  <c:v>#N/A</c:v>
                </c:pt>
                <c:pt idx="12370">
                  <c:v>#N/A</c:v>
                </c:pt>
                <c:pt idx="12371">
                  <c:v>#N/A</c:v>
                </c:pt>
                <c:pt idx="12372">
                  <c:v>#N/A</c:v>
                </c:pt>
                <c:pt idx="12373">
                  <c:v>#N/A</c:v>
                </c:pt>
                <c:pt idx="12374">
                  <c:v>#N/A</c:v>
                </c:pt>
                <c:pt idx="12375">
                  <c:v>#N/A</c:v>
                </c:pt>
                <c:pt idx="12376">
                  <c:v>#N/A</c:v>
                </c:pt>
                <c:pt idx="12377">
                  <c:v>#N/A</c:v>
                </c:pt>
                <c:pt idx="12378">
                  <c:v>#N/A</c:v>
                </c:pt>
                <c:pt idx="12379">
                  <c:v>#N/A</c:v>
                </c:pt>
                <c:pt idx="12380">
                  <c:v>#N/A</c:v>
                </c:pt>
                <c:pt idx="12381">
                  <c:v>#N/A</c:v>
                </c:pt>
                <c:pt idx="12382">
                  <c:v>#N/A</c:v>
                </c:pt>
                <c:pt idx="12383">
                  <c:v>#N/A</c:v>
                </c:pt>
                <c:pt idx="12384">
                  <c:v>#N/A</c:v>
                </c:pt>
                <c:pt idx="12385">
                  <c:v>#N/A</c:v>
                </c:pt>
                <c:pt idx="12386">
                  <c:v>#N/A</c:v>
                </c:pt>
                <c:pt idx="12387">
                  <c:v>#N/A</c:v>
                </c:pt>
                <c:pt idx="12388">
                  <c:v>#N/A</c:v>
                </c:pt>
                <c:pt idx="12389">
                  <c:v>#N/A</c:v>
                </c:pt>
                <c:pt idx="12390">
                  <c:v>#N/A</c:v>
                </c:pt>
                <c:pt idx="12391">
                  <c:v>#N/A</c:v>
                </c:pt>
                <c:pt idx="12392">
                  <c:v>#N/A</c:v>
                </c:pt>
                <c:pt idx="12393">
                  <c:v>#N/A</c:v>
                </c:pt>
                <c:pt idx="12394">
                  <c:v>#N/A</c:v>
                </c:pt>
                <c:pt idx="12395">
                  <c:v>#N/A</c:v>
                </c:pt>
                <c:pt idx="12396">
                  <c:v>#N/A</c:v>
                </c:pt>
                <c:pt idx="12397">
                  <c:v>#N/A</c:v>
                </c:pt>
                <c:pt idx="12398">
                  <c:v>#N/A</c:v>
                </c:pt>
                <c:pt idx="12399">
                  <c:v>#N/A</c:v>
                </c:pt>
                <c:pt idx="12400">
                  <c:v>#N/A</c:v>
                </c:pt>
                <c:pt idx="12401">
                  <c:v>#N/A</c:v>
                </c:pt>
                <c:pt idx="12402">
                  <c:v>#N/A</c:v>
                </c:pt>
                <c:pt idx="12403">
                  <c:v>#N/A</c:v>
                </c:pt>
                <c:pt idx="12404">
                  <c:v>#N/A</c:v>
                </c:pt>
                <c:pt idx="12405">
                  <c:v>#N/A</c:v>
                </c:pt>
                <c:pt idx="12406">
                  <c:v>#N/A</c:v>
                </c:pt>
                <c:pt idx="12407">
                  <c:v>#N/A</c:v>
                </c:pt>
                <c:pt idx="12408">
                  <c:v>#N/A</c:v>
                </c:pt>
                <c:pt idx="12409">
                  <c:v>#N/A</c:v>
                </c:pt>
                <c:pt idx="12410">
                  <c:v>#N/A</c:v>
                </c:pt>
                <c:pt idx="12411">
                  <c:v>#N/A</c:v>
                </c:pt>
                <c:pt idx="12412">
                  <c:v>#N/A</c:v>
                </c:pt>
                <c:pt idx="12413">
                  <c:v>#N/A</c:v>
                </c:pt>
                <c:pt idx="12414">
                  <c:v>#N/A</c:v>
                </c:pt>
                <c:pt idx="12415">
                  <c:v>#N/A</c:v>
                </c:pt>
                <c:pt idx="12416">
                  <c:v>#N/A</c:v>
                </c:pt>
                <c:pt idx="12417">
                  <c:v>#N/A</c:v>
                </c:pt>
                <c:pt idx="12418">
                  <c:v>#N/A</c:v>
                </c:pt>
                <c:pt idx="12419">
                  <c:v>#N/A</c:v>
                </c:pt>
                <c:pt idx="12420">
                  <c:v>#N/A</c:v>
                </c:pt>
                <c:pt idx="12421">
                  <c:v>#N/A</c:v>
                </c:pt>
                <c:pt idx="12422">
                  <c:v>#N/A</c:v>
                </c:pt>
                <c:pt idx="12423">
                  <c:v>#N/A</c:v>
                </c:pt>
                <c:pt idx="12424">
                  <c:v>#N/A</c:v>
                </c:pt>
                <c:pt idx="12425">
                  <c:v>#N/A</c:v>
                </c:pt>
                <c:pt idx="12426">
                  <c:v>#N/A</c:v>
                </c:pt>
                <c:pt idx="12427">
                  <c:v>#N/A</c:v>
                </c:pt>
                <c:pt idx="12428">
                  <c:v>#N/A</c:v>
                </c:pt>
                <c:pt idx="12429">
                  <c:v>#N/A</c:v>
                </c:pt>
                <c:pt idx="12430">
                  <c:v>#N/A</c:v>
                </c:pt>
                <c:pt idx="12431">
                  <c:v>#N/A</c:v>
                </c:pt>
                <c:pt idx="12432">
                  <c:v>#N/A</c:v>
                </c:pt>
                <c:pt idx="12433">
                  <c:v>#N/A</c:v>
                </c:pt>
                <c:pt idx="12434">
                  <c:v>#N/A</c:v>
                </c:pt>
                <c:pt idx="12435">
                  <c:v>6.5753424657534243</c:v>
                </c:pt>
                <c:pt idx="12436">
                  <c:v>#N/A</c:v>
                </c:pt>
                <c:pt idx="12437">
                  <c:v>6.5753424657534243</c:v>
                </c:pt>
                <c:pt idx="12438">
                  <c:v>#N/A</c:v>
                </c:pt>
                <c:pt idx="12439">
                  <c:v>#N/A</c:v>
                </c:pt>
                <c:pt idx="12440">
                  <c:v>#N/A</c:v>
                </c:pt>
                <c:pt idx="12441">
                  <c:v>#N/A</c:v>
                </c:pt>
                <c:pt idx="12442">
                  <c:v>6.6136986301369864</c:v>
                </c:pt>
                <c:pt idx="12443">
                  <c:v>#N/A</c:v>
                </c:pt>
                <c:pt idx="12444">
                  <c:v>#N/A</c:v>
                </c:pt>
                <c:pt idx="12445">
                  <c:v>#N/A</c:v>
                </c:pt>
                <c:pt idx="12446">
                  <c:v>#N/A</c:v>
                </c:pt>
                <c:pt idx="12447">
                  <c:v>#N/A</c:v>
                </c:pt>
                <c:pt idx="12448">
                  <c:v>#N/A</c:v>
                </c:pt>
                <c:pt idx="12449">
                  <c:v>#N/A</c:v>
                </c:pt>
                <c:pt idx="12450">
                  <c:v>#N/A</c:v>
                </c:pt>
                <c:pt idx="12451">
                  <c:v>#N/A</c:v>
                </c:pt>
                <c:pt idx="12452">
                  <c:v>#N/A</c:v>
                </c:pt>
                <c:pt idx="12453">
                  <c:v>#N/A</c:v>
                </c:pt>
                <c:pt idx="12454">
                  <c:v>#N/A</c:v>
                </c:pt>
                <c:pt idx="12455">
                  <c:v>#N/A</c:v>
                </c:pt>
                <c:pt idx="12456">
                  <c:v>#N/A</c:v>
                </c:pt>
                <c:pt idx="12457">
                  <c:v>6.7863013698630139</c:v>
                </c:pt>
                <c:pt idx="12458">
                  <c:v>#N/A</c:v>
                </c:pt>
                <c:pt idx="12459">
                  <c:v>#N/A</c:v>
                </c:pt>
                <c:pt idx="12460">
                  <c:v>#N/A</c:v>
                </c:pt>
                <c:pt idx="12461">
                  <c:v>#N/A</c:v>
                </c:pt>
                <c:pt idx="12462">
                  <c:v>#N/A</c:v>
                </c:pt>
                <c:pt idx="12463">
                  <c:v>#N/A</c:v>
                </c:pt>
                <c:pt idx="12464">
                  <c:v>#N/A</c:v>
                </c:pt>
                <c:pt idx="12465">
                  <c:v>#N/A</c:v>
                </c:pt>
                <c:pt idx="12466">
                  <c:v>#N/A</c:v>
                </c:pt>
                <c:pt idx="12467">
                  <c:v>#N/A</c:v>
                </c:pt>
                <c:pt idx="12468">
                  <c:v>#N/A</c:v>
                </c:pt>
                <c:pt idx="12469">
                  <c:v>#N/A</c:v>
                </c:pt>
                <c:pt idx="12470">
                  <c:v>#N/A</c:v>
                </c:pt>
                <c:pt idx="12471">
                  <c:v>#N/A</c:v>
                </c:pt>
                <c:pt idx="12472">
                  <c:v>#N/A</c:v>
                </c:pt>
                <c:pt idx="12473">
                  <c:v>#N/A</c:v>
                </c:pt>
                <c:pt idx="12474">
                  <c:v>#N/A</c:v>
                </c:pt>
                <c:pt idx="12475">
                  <c:v>#N/A</c:v>
                </c:pt>
                <c:pt idx="12476">
                  <c:v>#N/A</c:v>
                </c:pt>
                <c:pt idx="12477">
                  <c:v>#N/A</c:v>
                </c:pt>
                <c:pt idx="12478">
                  <c:v>#N/A</c:v>
                </c:pt>
                <c:pt idx="12479">
                  <c:v>#N/A</c:v>
                </c:pt>
                <c:pt idx="12480">
                  <c:v>#N/A</c:v>
                </c:pt>
                <c:pt idx="12481">
                  <c:v>#N/A</c:v>
                </c:pt>
                <c:pt idx="12482">
                  <c:v>#N/A</c:v>
                </c:pt>
                <c:pt idx="12483">
                  <c:v>#N/A</c:v>
                </c:pt>
                <c:pt idx="12484">
                  <c:v>#N/A</c:v>
                </c:pt>
                <c:pt idx="12485">
                  <c:v>#N/A</c:v>
                </c:pt>
                <c:pt idx="12486">
                  <c:v>#N/A</c:v>
                </c:pt>
                <c:pt idx="12487">
                  <c:v>#N/A</c:v>
                </c:pt>
                <c:pt idx="12488">
                  <c:v>#N/A</c:v>
                </c:pt>
                <c:pt idx="12489">
                  <c:v>#N/A</c:v>
                </c:pt>
                <c:pt idx="12490">
                  <c:v>#N/A</c:v>
                </c:pt>
                <c:pt idx="12491">
                  <c:v>#N/A</c:v>
                </c:pt>
                <c:pt idx="12492">
                  <c:v>#N/A</c:v>
                </c:pt>
                <c:pt idx="12493">
                  <c:v>#N/A</c:v>
                </c:pt>
                <c:pt idx="12494">
                  <c:v>#N/A</c:v>
                </c:pt>
                <c:pt idx="12495">
                  <c:v>#N/A</c:v>
                </c:pt>
                <c:pt idx="12496">
                  <c:v>#N/A</c:v>
                </c:pt>
                <c:pt idx="12497">
                  <c:v>#N/A</c:v>
                </c:pt>
                <c:pt idx="12498">
                  <c:v>#N/A</c:v>
                </c:pt>
                <c:pt idx="12499">
                  <c:v>#N/A</c:v>
                </c:pt>
                <c:pt idx="12500">
                  <c:v>#N/A</c:v>
                </c:pt>
                <c:pt idx="12501">
                  <c:v>#N/A</c:v>
                </c:pt>
                <c:pt idx="12502">
                  <c:v>#N/A</c:v>
                </c:pt>
                <c:pt idx="12503">
                  <c:v>#N/A</c:v>
                </c:pt>
                <c:pt idx="12504">
                  <c:v>#N/A</c:v>
                </c:pt>
                <c:pt idx="12505">
                  <c:v>#N/A</c:v>
                </c:pt>
                <c:pt idx="12506">
                  <c:v>#N/A</c:v>
                </c:pt>
                <c:pt idx="12507">
                  <c:v>#N/A</c:v>
                </c:pt>
                <c:pt idx="12508">
                  <c:v>#N/A</c:v>
                </c:pt>
                <c:pt idx="12509">
                  <c:v>6.8712328767123285</c:v>
                </c:pt>
                <c:pt idx="12510">
                  <c:v>#N/A</c:v>
                </c:pt>
                <c:pt idx="12511">
                  <c:v>#N/A</c:v>
                </c:pt>
                <c:pt idx="12512">
                  <c:v>#N/A</c:v>
                </c:pt>
                <c:pt idx="12513">
                  <c:v>#N/A</c:v>
                </c:pt>
                <c:pt idx="12514">
                  <c:v>#N/A</c:v>
                </c:pt>
                <c:pt idx="12515">
                  <c:v>#N/A</c:v>
                </c:pt>
                <c:pt idx="12516">
                  <c:v>#N/A</c:v>
                </c:pt>
                <c:pt idx="12517">
                  <c:v>#N/A</c:v>
                </c:pt>
                <c:pt idx="12518">
                  <c:v>#N/A</c:v>
                </c:pt>
                <c:pt idx="12519">
                  <c:v>#N/A</c:v>
                </c:pt>
                <c:pt idx="12520">
                  <c:v>#N/A</c:v>
                </c:pt>
                <c:pt idx="12521">
                  <c:v>#N/A</c:v>
                </c:pt>
                <c:pt idx="12522">
                  <c:v>#N/A</c:v>
                </c:pt>
                <c:pt idx="12523">
                  <c:v>#N/A</c:v>
                </c:pt>
                <c:pt idx="12524">
                  <c:v>#N/A</c:v>
                </c:pt>
                <c:pt idx="12525">
                  <c:v>#N/A</c:v>
                </c:pt>
                <c:pt idx="12526">
                  <c:v>#N/A</c:v>
                </c:pt>
                <c:pt idx="12527">
                  <c:v>#N/A</c:v>
                </c:pt>
                <c:pt idx="12528">
                  <c:v>#N/A</c:v>
                </c:pt>
                <c:pt idx="12529">
                  <c:v>#N/A</c:v>
                </c:pt>
                <c:pt idx="12530">
                  <c:v>#N/A</c:v>
                </c:pt>
                <c:pt idx="12531">
                  <c:v>#N/A</c:v>
                </c:pt>
                <c:pt idx="12532">
                  <c:v>#N/A</c:v>
                </c:pt>
                <c:pt idx="12533">
                  <c:v>#N/A</c:v>
                </c:pt>
                <c:pt idx="12534">
                  <c:v>#N/A</c:v>
                </c:pt>
                <c:pt idx="12535">
                  <c:v>#N/A</c:v>
                </c:pt>
                <c:pt idx="12536">
                  <c:v>#N/A</c:v>
                </c:pt>
                <c:pt idx="12537">
                  <c:v>#N/A</c:v>
                </c:pt>
                <c:pt idx="12538">
                  <c:v>#N/A</c:v>
                </c:pt>
                <c:pt idx="12539">
                  <c:v>#N/A</c:v>
                </c:pt>
                <c:pt idx="12540">
                  <c:v>#N/A</c:v>
                </c:pt>
                <c:pt idx="12541">
                  <c:v>#N/A</c:v>
                </c:pt>
                <c:pt idx="12542">
                  <c:v>#N/A</c:v>
                </c:pt>
                <c:pt idx="12543">
                  <c:v>#N/A</c:v>
                </c:pt>
                <c:pt idx="12544">
                  <c:v>#N/A</c:v>
                </c:pt>
                <c:pt idx="12545">
                  <c:v>#N/A</c:v>
                </c:pt>
                <c:pt idx="12546">
                  <c:v>#N/A</c:v>
                </c:pt>
                <c:pt idx="12547">
                  <c:v>#N/A</c:v>
                </c:pt>
                <c:pt idx="12548">
                  <c:v>#N/A</c:v>
                </c:pt>
                <c:pt idx="12549">
                  <c:v>#N/A</c:v>
                </c:pt>
                <c:pt idx="12550">
                  <c:v>#N/A</c:v>
                </c:pt>
                <c:pt idx="12551">
                  <c:v>#N/A</c:v>
                </c:pt>
                <c:pt idx="12552">
                  <c:v>#N/A</c:v>
                </c:pt>
                <c:pt idx="12553">
                  <c:v>#N/A</c:v>
                </c:pt>
                <c:pt idx="12554">
                  <c:v>#N/A</c:v>
                </c:pt>
                <c:pt idx="12555">
                  <c:v>#N/A</c:v>
                </c:pt>
                <c:pt idx="12556">
                  <c:v>#N/A</c:v>
                </c:pt>
                <c:pt idx="12557">
                  <c:v>#N/A</c:v>
                </c:pt>
                <c:pt idx="12558">
                  <c:v>#N/A</c:v>
                </c:pt>
                <c:pt idx="12559">
                  <c:v>#N/A</c:v>
                </c:pt>
                <c:pt idx="12560">
                  <c:v>#N/A</c:v>
                </c:pt>
                <c:pt idx="12561">
                  <c:v>#N/A</c:v>
                </c:pt>
                <c:pt idx="12562">
                  <c:v>#N/A</c:v>
                </c:pt>
                <c:pt idx="12563">
                  <c:v>#N/A</c:v>
                </c:pt>
                <c:pt idx="12564">
                  <c:v>#N/A</c:v>
                </c:pt>
                <c:pt idx="12565">
                  <c:v>#N/A</c:v>
                </c:pt>
                <c:pt idx="12566">
                  <c:v>#N/A</c:v>
                </c:pt>
                <c:pt idx="12567">
                  <c:v>#N/A</c:v>
                </c:pt>
                <c:pt idx="12568">
                  <c:v>#N/A</c:v>
                </c:pt>
                <c:pt idx="12569">
                  <c:v>#N/A</c:v>
                </c:pt>
                <c:pt idx="12570">
                  <c:v>#N/A</c:v>
                </c:pt>
                <c:pt idx="12571">
                  <c:v>#N/A</c:v>
                </c:pt>
                <c:pt idx="12572">
                  <c:v>#N/A</c:v>
                </c:pt>
                <c:pt idx="12573">
                  <c:v>#N/A</c:v>
                </c:pt>
                <c:pt idx="12574">
                  <c:v>#N/A</c:v>
                </c:pt>
                <c:pt idx="12575">
                  <c:v>#N/A</c:v>
                </c:pt>
                <c:pt idx="12576">
                  <c:v>#N/A</c:v>
                </c:pt>
                <c:pt idx="12577">
                  <c:v>#N/A</c:v>
                </c:pt>
                <c:pt idx="12578">
                  <c:v>#N/A</c:v>
                </c:pt>
                <c:pt idx="12579">
                  <c:v>#N/A</c:v>
                </c:pt>
                <c:pt idx="12580">
                  <c:v>#N/A</c:v>
                </c:pt>
                <c:pt idx="12581">
                  <c:v>#N/A</c:v>
                </c:pt>
                <c:pt idx="12582">
                  <c:v>#N/A</c:v>
                </c:pt>
                <c:pt idx="12583">
                  <c:v>#N/A</c:v>
                </c:pt>
                <c:pt idx="12584">
                  <c:v>#N/A</c:v>
                </c:pt>
                <c:pt idx="12585">
                  <c:v>#N/A</c:v>
                </c:pt>
                <c:pt idx="12586">
                  <c:v>#N/A</c:v>
                </c:pt>
                <c:pt idx="12587">
                  <c:v>#N/A</c:v>
                </c:pt>
                <c:pt idx="12588">
                  <c:v>#N/A</c:v>
                </c:pt>
                <c:pt idx="12589">
                  <c:v>#N/A</c:v>
                </c:pt>
                <c:pt idx="12590">
                  <c:v>#N/A</c:v>
                </c:pt>
                <c:pt idx="12591">
                  <c:v>#N/A</c:v>
                </c:pt>
                <c:pt idx="12592">
                  <c:v>7.3013698630136989</c:v>
                </c:pt>
                <c:pt idx="12593">
                  <c:v>#N/A</c:v>
                </c:pt>
                <c:pt idx="12594">
                  <c:v>#N/A</c:v>
                </c:pt>
                <c:pt idx="12595">
                  <c:v>#N/A</c:v>
                </c:pt>
                <c:pt idx="12596">
                  <c:v>#N/A</c:v>
                </c:pt>
                <c:pt idx="12597">
                  <c:v>#N/A</c:v>
                </c:pt>
                <c:pt idx="12598">
                  <c:v>#N/A</c:v>
                </c:pt>
                <c:pt idx="12599">
                  <c:v>#N/A</c:v>
                </c:pt>
                <c:pt idx="12600">
                  <c:v>#N/A</c:v>
                </c:pt>
                <c:pt idx="12601">
                  <c:v>#N/A</c:v>
                </c:pt>
                <c:pt idx="12602">
                  <c:v>#N/A</c:v>
                </c:pt>
                <c:pt idx="12603">
                  <c:v>#N/A</c:v>
                </c:pt>
                <c:pt idx="12604">
                  <c:v>#N/A</c:v>
                </c:pt>
                <c:pt idx="12605">
                  <c:v>#N/A</c:v>
                </c:pt>
                <c:pt idx="12606">
                  <c:v>#N/A</c:v>
                </c:pt>
                <c:pt idx="12607">
                  <c:v>#N/A</c:v>
                </c:pt>
                <c:pt idx="12608">
                  <c:v>#N/A</c:v>
                </c:pt>
                <c:pt idx="12609">
                  <c:v>#N/A</c:v>
                </c:pt>
                <c:pt idx="12610">
                  <c:v>#N/A</c:v>
                </c:pt>
                <c:pt idx="12611">
                  <c:v>#N/A</c:v>
                </c:pt>
                <c:pt idx="12612">
                  <c:v>#N/A</c:v>
                </c:pt>
                <c:pt idx="12613">
                  <c:v>#N/A</c:v>
                </c:pt>
                <c:pt idx="12614">
                  <c:v>#N/A</c:v>
                </c:pt>
                <c:pt idx="12615">
                  <c:v>#N/A</c:v>
                </c:pt>
                <c:pt idx="12616">
                  <c:v>#N/A</c:v>
                </c:pt>
                <c:pt idx="12617">
                  <c:v>#N/A</c:v>
                </c:pt>
                <c:pt idx="12618">
                  <c:v>#N/A</c:v>
                </c:pt>
                <c:pt idx="12619">
                  <c:v>#N/A</c:v>
                </c:pt>
                <c:pt idx="12620">
                  <c:v>#N/A</c:v>
                </c:pt>
                <c:pt idx="12621">
                  <c:v>#N/A</c:v>
                </c:pt>
                <c:pt idx="12622">
                  <c:v>#N/A</c:v>
                </c:pt>
                <c:pt idx="12623">
                  <c:v>#N/A</c:v>
                </c:pt>
                <c:pt idx="12624">
                  <c:v>#N/A</c:v>
                </c:pt>
                <c:pt idx="12625">
                  <c:v>#N/A</c:v>
                </c:pt>
                <c:pt idx="12626">
                  <c:v>#N/A</c:v>
                </c:pt>
                <c:pt idx="12627">
                  <c:v>#N/A</c:v>
                </c:pt>
                <c:pt idx="12628">
                  <c:v>#N/A</c:v>
                </c:pt>
                <c:pt idx="12629">
                  <c:v>#N/A</c:v>
                </c:pt>
                <c:pt idx="12630">
                  <c:v>#N/A</c:v>
                </c:pt>
                <c:pt idx="12631">
                  <c:v>#N/A</c:v>
                </c:pt>
                <c:pt idx="12632">
                  <c:v>#N/A</c:v>
                </c:pt>
                <c:pt idx="12633">
                  <c:v>#N/A</c:v>
                </c:pt>
                <c:pt idx="12634">
                  <c:v>#N/A</c:v>
                </c:pt>
                <c:pt idx="12635">
                  <c:v>#N/A</c:v>
                </c:pt>
                <c:pt idx="12636">
                  <c:v>#N/A</c:v>
                </c:pt>
                <c:pt idx="12637">
                  <c:v>#N/A</c:v>
                </c:pt>
                <c:pt idx="12638">
                  <c:v>#N/A</c:v>
                </c:pt>
                <c:pt idx="12639">
                  <c:v>#N/A</c:v>
                </c:pt>
                <c:pt idx="12640">
                  <c:v>#N/A</c:v>
                </c:pt>
                <c:pt idx="12641">
                  <c:v>#N/A</c:v>
                </c:pt>
                <c:pt idx="12642">
                  <c:v>#N/A</c:v>
                </c:pt>
                <c:pt idx="12643">
                  <c:v>#N/A</c:v>
                </c:pt>
                <c:pt idx="12644">
                  <c:v>#N/A</c:v>
                </c:pt>
                <c:pt idx="12645">
                  <c:v>#N/A</c:v>
                </c:pt>
                <c:pt idx="12646">
                  <c:v>#N/A</c:v>
                </c:pt>
                <c:pt idx="12647">
                  <c:v>#N/A</c:v>
                </c:pt>
                <c:pt idx="12648">
                  <c:v>#N/A</c:v>
                </c:pt>
                <c:pt idx="12649">
                  <c:v>#N/A</c:v>
                </c:pt>
                <c:pt idx="12650">
                  <c:v>#N/A</c:v>
                </c:pt>
                <c:pt idx="12651">
                  <c:v>#N/A</c:v>
                </c:pt>
                <c:pt idx="12652">
                  <c:v>7.4027397260273968</c:v>
                </c:pt>
                <c:pt idx="12653">
                  <c:v>7.4027397260273968</c:v>
                </c:pt>
                <c:pt idx="12654">
                  <c:v>#N/A</c:v>
                </c:pt>
                <c:pt idx="12655">
                  <c:v>#N/A</c:v>
                </c:pt>
                <c:pt idx="12656">
                  <c:v>#N/A</c:v>
                </c:pt>
                <c:pt idx="12657">
                  <c:v>#N/A</c:v>
                </c:pt>
                <c:pt idx="12658">
                  <c:v>#N/A</c:v>
                </c:pt>
                <c:pt idx="12659">
                  <c:v>#N/A</c:v>
                </c:pt>
                <c:pt idx="12660">
                  <c:v>#N/A</c:v>
                </c:pt>
                <c:pt idx="12661">
                  <c:v>#N/A</c:v>
                </c:pt>
                <c:pt idx="12662">
                  <c:v>#N/A</c:v>
                </c:pt>
                <c:pt idx="12663">
                  <c:v>#N/A</c:v>
                </c:pt>
                <c:pt idx="12664">
                  <c:v>#N/A</c:v>
                </c:pt>
                <c:pt idx="12665">
                  <c:v>#N/A</c:v>
                </c:pt>
                <c:pt idx="12666">
                  <c:v>#N/A</c:v>
                </c:pt>
                <c:pt idx="12667">
                  <c:v>#N/A</c:v>
                </c:pt>
                <c:pt idx="12668">
                  <c:v>#N/A</c:v>
                </c:pt>
                <c:pt idx="12669">
                  <c:v>#N/A</c:v>
                </c:pt>
                <c:pt idx="12670">
                  <c:v>#N/A</c:v>
                </c:pt>
                <c:pt idx="12671">
                  <c:v>#N/A</c:v>
                </c:pt>
                <c:pt idx="12672">
                  <c:v>#N/A</c:v>
                </c:pt>
                <c:pt idx="12673">
                  <c:v>#N/A</c:v>
                </c:pt>
                <c:pt idx="12674">
                  <c:v>#N/A</c:v>
                </c:pt>
                <c:pt idx="12675">
                  <c:v>#N/A</c:v>
                </c:pt>
                <c:pt idx="12676">
                  <c:v>#N/A</c:v>
                </c:pt>
                <c:pt idx="12677">
                  <c:v>#N/A</c:v>
                </c:pt>
                <c:pt idx="12678">
                  <c:v>#N/A</c:v>
                </c:pt>
                <c:pt idx="12679">
                  <c:v>#N/A</c:v>
                </c:pt>
                <c:pt idx="12680">
                  <c:v>#N/A</c:v>
                </c:pt>
                <c:pt idx="12681">
                  <c:v>#N/A</c:v>
                </c:pt>
                <c:pt idx="12682">
                  <c:v>#N/A</c:v>
                </c:pt>
                <c:pt idx="12683">
                  <c:v>#N/A</c:v>
                </c:pt>
                <c:pt idx="12684">
                  <c:v>#N/A</c:v>
                </c:pt>
                <c:pt idx="12685">
                  <c:v>#N/A</c:v>
                </c:pt>
                <c:pt idx="12686">
                  <c:v>#N/A</c:v>
                </c:pt>
                <c:pt idx="12687">
                  <c:v>#N/A</c:v>
                </c:pt>
                <c:pt idx="12688">
                  <c:v>#N/A</c:v>
                </c:pt>
                <c:pt idx="12689">
                  <c:v>#N/A</c:v>
                </c:pt>
                <c:pt idx="12690">
                  <c:v>#N/A</c:v>
                </c:pt>
                <c:pt idx="12691">
                  <c:v>#N/A</c:v>
                </c:pt>
                <c:pt idx="12692">
                  <c:v>#N/A</c:v>
                </c:pt>
                <c:pt idx="12693">
                  <c:v>#N/A</c:v>
                </c:pt>
                <c:pt idx="12694">
                  <c:v>#N/A</c:v>
                </c:pt>
                <c:pt idx="12695">
                  <c:v>#N/A</c:v>
                </c:pt>
                <c:pt idx="12696">
                  <c:v>#N/A</c:v>
                </c:pt>
                <c:pt idx="12697">
                  <c:v>#N/A</c:v>
                </c:pt>
                <c:pt idx="12698">
                  <c:v>#N/A</c:v>
                </c:pt>
                <c:pt idx="12699">
                  <c:v>#N/A</c:v>
                </c:pt>
                <c:pt idx="12700">
                  <c:v>#N/A</c:v>
                </c:pt>
                <c:pt idx="12701">
                  <c:v>#N/A</c:v>
                </c:pt>
                <c:pt idx="12702">
                  <c:v>#N/A</c:v>
                </c:pt>
                <c:pt idx="12703">
                  <c:v>#N/A</c:v>
                </c:pt>
                <c:pt idx="12704">
                  <c:v>#N/A</c:v>
                </c:pt>
                <c:pt idx="12705">
                  <c:v>#N/A</c:v>
                </c:pt>
                <c:pt idx="12706">
                  <c:v>#N/A</c:v>
                </c:pt>
                <c:pt idx="12707">
                  <c:v>#N/A</c:v>
                </c:pt>
                <c:pt idx="12708">
                  <c:v>#N/A</c:v>
                </c:pt>
                <c:pt idx="12709">
                  <c:v>#N/A</c:v>
                </c:pt>
                <c:pt idx="12710">
                  <c:v>#N/A</c:v>
                </c:pt>
                <c:pt idx="12711">
                  <c:v>#N/A</c:v>
                </c:pt>
                <c:pt idx="12712">
                  <c:v>#N/A</c:v>
                </c:pt>
                <c:pt idx="12713">
                  <c:v>#N/A</c:v>
                </c:pt>
                <c:pt idx="12714">
                  <c:v>#N/A</c:v>
                </c:pt>
                <c:pt idx="12715">
                  <c:v>#N/A</c:v>
                </c:pt>
                <c:pt idx="12716">
                  <c:v>#N/A</c:v>
                </c:pt>
                <c:pt idx="12717">
                  <c:v>#N/A</c:v>
                </c:pt>
                <c:pt idx="12718">
                  <c:v>#N/A</c:v>
                </c:pt>
                <c:pt idx="12719">
                  <c:v>#N/A</c:v>
                </c:pt>
                <c:pt idx="12720">
                  <c:v>#N/A</c:v>
                </c:pt>
                <c:pt idx="12721">
                  <c:v>#N/A</c:v>
                </c:pt>
                <c:pt idx="12722">
                  <c:v>#N/A</c:v>
                </c:pt>
                <c:pt idx="12723">
                  <c:v>#N/A</c:v>
                </c:pt>
                <c:pt idx="12724">
                  <c:v>#N/A</c:v>
                </c:pt>
                <c:pt idx="12725">
                  <c:v>#N/A</c:v>
                </c:pt>
                <c:pt idx="12726">
                  <c:v>#N/A</c:v>
                </c:pt>
                <c:pt idx="12727">
                  <c:v>#N/A</c:v>
                </c:pt>
                <c:pt idx="12728">
                  <c:v>#N/A</c:v>
                </c:pt>
                <c:pt idx="12729">
                  <c:v>#N/A</c:v>
                </c:pt>
                <c:pt idx="12730">
                  <c:v>#N/A</c:v>
                </c:pt>
                <c:pt idx="12731">
                  <c:v>#N/A</c:v>
                </c:pt>
                <c:pt idx="12732">
                  <c:v>#N/A</c:v>
                </c:pt>
                <c:pt idx="12733">
                  <c:v>#N/A</c:v>
                </c:pt>
                <c:pt idx="12734">
                  <c:v>#N/A</c:v>
                </c:pt>
                <c:pt idx="12735">
                  <c:v>#N/A</c:v>
                </c:pt>
                <c:pt idx="12736">
                  <c:v>#N/A</c:v>
                </c:pt>
                <c:pt idx="12737">
                  <c:v>#N/A</c:v>
                </c:pt>
                <c:pt idx="12738">
                  <c:v>#N/A</c:v>
                </c:pt>
                <c:pt idx="12739">
                  <c:v>#N/A</c:v>
                </c:pt>
                <c:pt idx="12740">
                  <c:v>#N/A</c:v>
                </c:pt>
                <c:pt idx="12741">
                  <c:v>#N/A</c:v>
                </c:pt>
                <c:pt idx="12742">
                  <c:v>#N/A</c:v>
                </c:pt>
                <c:pt idx="12743">
                  <c:v>#N/A</c:v>
                </c:pt>
                <c:pt idx="12744">
                  <c:v>#N/A</c:v>
                </c:pt>
                <c:pt idx="12745">
                  <c:v>#N/A</c:v>
                </c:pt>
                <c:pt idx="12746">
                  <c:v>#N/A</c:v>
                </c:pt>
                <c:pt idx="12747">
                  <c:v>#N/A</c:v>
                </c:pt>
                <c:pt idx="12748">
                  <c:v>#N/A</c:v>
                </c:pt>
                <c:pt idx="12749">
                  <c:v>#N/A</c:v>
                </c:pt>
                <c:pt idx="12750">
                  <c:v>#N/A</c:v>
                </c:pt>
                <c:pt idx="12751">
                  <c:v>#N/A</c:v>
                </c:pt>
                <c:pt idx="12752">
                  <c:v>#N/A</c:v>
                </c:pt>
                <c:pt idx="12753">
                  <c:v>#N/A</c:v>
                </c:pt>
                <c:pt idx="12754">
                  <c:v>#N/A</c:v>
                </c:pt>
                <c:pt idx="12755">
                  <c:v>#N/A</c:v>
                </c:pt>
                <c:pt idx="12756">
                  <c:v>#N/A</c:v>
                </c:pt>
                <c:pt idx="12757">
                  <c:v>#N/A</c:v>
                </c:pt>
                <c:pt idx="12758">
                  <c:v>#N/A</c:v>
                </c:pt>
                <c:pt idx="12759">
                  <c:v>#N/A</c:v>
                </c:pt>
                <c:pt idx="12760">
                  <c:v>#N/A</c:v>
                </c:pt>
                <c:pt idx="12761">
                  <c:v>#N/A</c:v>
                </c:pt>
                <c:pt idx="12762">
                  <c:v>#N/A</c:v>
                </c:pt>
                <c:pt idx="12763">
                  <c:v>#N/A</c:v>
                </c:pt>
                <c:pt idx="12764">
                  <c:v>#N/A</c:v>
                </c:pt>
                <c:pt idx="12765">
                  <c:v>#N/A</c:v>
                </c:pt>
                <c:pt idx="12766">
                  <c:v>#N/A</c:v>
                </c:pt>
                <c:pt idx="12767">
                  <c:v>#N/A</c:v>
                </c:pt>
                <c:pt idx="12768">
                  <c:v>#N/A</c:v>
                </c:pt>
                <c:pt idx="12769">
                  <c:v>#N/A</c:v>
                </c:pt>
                <c:pt idx="12770">
                  <c:v>#N/A</c:v>
                </c:pt>
                <c:pt idx="12771">
                  <c:v>#N/A</c:v>
                </c:pt>
                <c:pt idx="12772">
                  <c:v>#N/A</c:v>
                </c:pt>
                <c:pt idx="12773">
                  <c:v>#N/A</c:v>
                </c:pt>
                <c:pt idx="12774">
                  <c:v>#N/A</c:v>
                </c:pt>
                <c:pt idx="12775">
                  <c:v>#N/A</c:v>
                </c:pt>
                <c:pt idx="12776">
                  <c:v>#N/A</c:v>
                </c:pt>
                <c:pt idx="12777">
                  <c:v>#N/A</c:v>
                </c:pt>
                <c:pt idx="12778">
                  <c:v>#N/A</c:v>
                </c:pt>
                <c:pt idx="12779">
                  <c:v>#N/A</c:v>
                </c:pt>
                <c:pt idx="12780">
                  <c:v>#N/A</c:v>
                </c:pt>
                <c:pt idx="12781">
                  <c:v>#N/A</c:v>
                </c:pt>
                <c:pt idx="12782">
                  <c:v>#N/A</c:v>
                </c:pt>
                <c:pt idx="12783">
                  <c:v>#N/A</c:v>
                </c:pt>
                <c:pt idx="12784">
                  <c:v>#N/A</c:v>
                </c:pt>
                <c:pt idx="12785">
                  <c:v>#N/A</c:v>
                </c:pt>
                <c:pt idx="12786">
                  <c:v>#N/A</c:v>
                </c:pt>
                <c:pt idx="12787">
                  <c:v>#N/A</c:v>
                </c:pt>
                <c:pt idx="12788">
                  <c:v>#N/A</c:v>
                </c:pt>
                <c:pt idx="12789">
                  <c:v>#N/A</c:v>
                </c:pt>
                <c:pt idx="12790">
                  <c:v>#N/A</c:v>
                </c:pt>
                <c:pt idx="12791">
                  <c:v>#N/A</c:v>
                </c:pt>
                <c:pt idx="12792">
                  <c:v>#N/A</c:v>
                </c:pt>
                <c:pt idx="12793">
                  <c:v>#N/A</c:v>
                </c:pt>
                <c:pt idx="12794">
                  <c:v>8.0164383561643842</c:v>
                </c:pt>
                <c:pt idx="12795">
                  <c:v>#N/A</c:v>
                </c:pt>
                <c:pt idx="12796">
                  <c:v>#N/A</c:v>
                </c:pt>
                <c:pt idx="12797">
                  <c:v>#N/A</c:v>
                </c:pt>
                <c:pt idx="12798">
                  <c:v>#N/A</c:v>
                </c:pt>
                <c:pt idx="12799">
                  <c:v>#N/A</c:v>
                </c:pt>
                <c:pt idx="12800">
                  <c:v>#N/A</c:v>
                </c:pt>
                <c:pt idx="12801">
                  <c:v>#N/A</c:v>
                </c:pt>
                <c:pt idx="12802">
                  <c:v>#N/A</c:v>
                </c:pt>
                <c:pt idx="12803">
                  <c:v>#N/A</c:v>
                </c:pt>
                <c:pt idx="12804">
                  <c:v>#N/A</c:v>
                </c:pt>
                <c:pt idx="12805">
                  <c:v>#N/A</c:v>
                </c:pt>
                <c:pt idx="12806">
                  <c:v>#N/A</c:v>
                </c:pt>
                <c:pt idx="12807">
                  <c:v>#N/A</c:v>
                </c:pt>
                <c:pt idx="12808">
                  <c:v>#N/A</c:v>
                </c:pt>
                <c:pt idx="12809">
                  <c:v>#N/A</c:v>
                </c:pt>
                <c:pt idx="12810">
                  <c:v>#N/A</c:v>
                </c:pt>
                <c:pt idx="12811">
                  <c:v>#N/A</c:v>
                </c:pt>
                <c:pt idx="12812">
                  <c:v>#N/A</c:v>
                </c:pt>
                <c:pt idx="12813">
                  <c:v>#N/A</c:v>
                </c:pt>
                <c:pt idx="12814">
                  <c:v>#N/A</c:v>
                </c:pt>
                <c:pt idx="12815">
                  <c:v>#N/A</c:v>
                </c:pt>
                <c:pt idx="12816">
                  <c:v>#N/A</c:v>
                </c:pt>
                <c:pt idx="12817">
                  <c:v>#N/A</c:v>
                </c:pt>
                <c:pt idx="12818">
                  <c:v>#N/A</c:v>
                </c:pt>
                <c:pt idx="12819">
                  <c:v>#N/A</c:v>
                </c:pt>
                <c:pt idx="12820">
                  <c:v>#N/A</c:v>
                </c:pt>
                <c:pt idx="12821">
                  <c:v>#N/A</c:v>
                </c:pt>
                <c:pt idx="12822">
                  <c:v>#N/A</c:v>
                </c:pt>
                <c:pt idx="12823">
                  <c:v>#N/A</c:v>
                </c:pt>
                <c:pt idx="12824">
                  <c:v>#N/A</c:v>
                </c:pt>
                <c:pt idx="12825">
                  <c:v>#N/A</c:v>
                </c:pt>
                <c:pt idx="12826">
                  <c:v>#N/A</c:v>
                </c:pt>
                <c:pt idx="12827">
                  <c:v>#N/A</c:v>
                </c:pt>
                <c:pt idx="12828">
                  <c:v>#N/A</c:v>
                </c:pt>
                <c:pt idx="12829">
                  <c:v>#N/A</c:v>
                </c:pt>
                <c:pt idx="12830">
                  <c:v>#N/A</c:v>
                </c:pt>
                <c:pt idx="12831">
                  <c:v>#N/A</c:v>
                </c:pt>
                <c:pt idx="12832">
                  <c:v>#N/A</c:v>
                </c:pt>
                <c:pt idx="12833">
                  <c:v>#N/A</c:v>
                </c:pt>
                <c:pt idx="12834">
                  <c:v>#N/A</c:v>
                </c:pt>
                <c:pt idx="12835">
                  <c:v>#N/A</c:v>
                </c:pt>
                <c:pt idx="12836">
                  <c:v>#N/A</c:v>
                </c:pt>
                <c:pt idx="12837">
                  <c:v>#N/A</c:v>
                </c:pt>
                <c:pt idx="12838">
                  <c:v>#N/A</c:v>
                </c:pt>
                <c:pt idx="12839">
                  <c:v>#N/A</c:v>
                </c:pt>
                <c:pt idx="12840">
                  <c:v>#N/A</c:v>
                </c:pt>
                <c:pt idx="12841">
                  <c:v>#N/A</c:v>
                </c:pt>
                <c:pt idx="12842">
                  <c:v>#N/A</c:v>
                </c:pt>
                <c:pt idx="12843">
                  <c:v>#N/A</c:v>
                </c:pt>
                <c:pt idx="12844">
                  <c:v>#N/A</c:v>
                </c:pt>
                <c:pt idx="12845">
                  <c:v>#N/A</c:v>
                </c:pt>
                <c:pt idx="12846">
                  <c:v>#N/A</c:v>
                </c:pt>
                <c:pt idx="12847">
                  <c:v>#N/A</c:v>
                </c:pt>
                <c:pt idx="12848">
                  <c:v>#N/A</c:v>
                </c:pt>
                <c:pt idx="12849">
                  <c:v>#N/A</c:v>
                </c:pt>
                <c:pt idx="12850">
                  <c:v>#N/A</c:v>
                </c:pt>
                <c:pt idx="12851">
                  <c:v>#N/A</c:v>
                </c:pt>
                <c:pt idx="12852">
                  <c:v>#N/A</c:v>
                </c:pt>
                <c:pt idx="12853">
                  <c:v>#N/A</c:v>
                </c:pt>
                <c:pt idx="12854">
                  <c:v>8.4136986301369863</c:v>
                </c:pt>
                <c:pt idx="12855">
                  <c:v>#N/A</c:v>
                </c:pt>
                <c:pt idx="12856">
                  <c:v>#N/A</c:v>
                </c:pt>
                <c:pt idx="12857">
                  <c:v>#N/A</c:v>
                </c:pt>
                <c:pt idx="12858">
                  <c:v>#N/A</c:v>
                </c:pt>
                <c:pt idx="12859">
                  <c:v>#N/A</c:v>
                </c:pt>
                <c:pt idx="12860">
                  <c:v>#N/A</c:v>
                </c:pt>
                <c:pt idx="12861">
                  <c:v>#N/A</c:v>
                </c:pt>
                <c:pt idx="12862">
                  <c:v>#N/A</c:v>
                </c:pt>
                <c:pt idx="12863">
                  <c:v>#N/A</c:v>
                </c:pt>
                <c:pt idx="12864">
                  <c:v>#N/A</c:v>
                </c:pt>
                <c:pt idx="12865">
                  <c:v>#N/A</c:v>
                </c:pt>
                <c:pt idx="12866">
                  <c:v>#N/A</c:v>
                </c:pt>
                <c:pt idx="12867">
                  <c:v>#N/A</c:v>
                </c:pt>
                <c:pt idx="12868">
                  <c:v>#N/A</c:v>
                </c:pt>
                <c:pt idx="12869">
                  <c:v>#N/A</c:v>
                </c:pt>
                <c:pt idx="12870">
                  <c:v>#N/A</c:v>
                </c:pt>
                <c:pt idx="12871">
                  <c:v>#N/A</c:v>
                </c:pt>
                <c:pt idx="12872">
                  <c:v>#N/A</c:v>
                </c:pt>
                <c:pt idx="12873">
                  <c:v>#N/A</c:v>
                </c:pt>
                <c:pt idx="12874">
                  <c:v>#N/A</c:v>
                </c:pt>
                <c:pt idx="12875">
                  <c:v>#N/A</c:v>
                </c:pt>
                <c:pt idx="12876">
                  <c:v>#N/A</c:v>
                </c:pt>
                <c:pt idx="12877">
                  <c:v>#N/A</c:v>
                </c:pt>
                <c:pt idx="12878">
                  <c:v>#N/A</c:v>
                </c:pt>
                <c:pt idx="12879">
                  <c:v>#N/A</c:v>
                </c:pt>
                <c:pt idx="12880">
                  <c:v>#N/A</c:v>
                </c:pt>
                <c:pt idx="12881">
                  <c:v>#N/A</c:v>
                </c:pt>
                <c:pt idx="12882">
                  <c:v>#N/A</c:v>
                </c:pt>
                <c:pt idx="12883">
                  <c:v>8.4410958904109581</c:v>
                </c:pt>
                <c:pt idx="12884">
                  <c:v>#N/A</c:v>
                </c:pt>
                <c:pt idx="12885">
                  <c:v>#N/A</c:v>
                </c:pt>
                <c:pt idx="12886">
                  <c:v>#N/A</c:v>
                </c:pt>
                <c:pt idx="12887">
                  <c:v>#N/A</c:v>
                </c:pt>
                <c:pt idx="12888">
                  <c:v>#N/A</c:v>
                </c:pt>
                <c:pt idx="12889">
                  <c:v>#N/A</c:v>
                </c:pt>
                <c:pt idx="12890">
                  <c:v>#N/A</c:v>
                </c:pt>
                <c:pt idx="12891">
                  <c:v>#N/A</c:v>
                </c:pt>
                <c:pt idx="12892">
                  <c:v>#N/A</c:v>
                </c:pt>
                <c:pt idx="12893">
                  <c:v>#N/A</c:v>
                </c:pt>
                <c:pt idx="12894">
                  <c:v>#N/A</c:v>
                </c:pt>
                <c:pt idx="12895">
                  <c:v>#N/A</c:v>
                </c:pt>
                <c:pt idx="12896">
                  <c:v>#N/A</c:v>
                </c:pt>
                <c:pt idx="12897">
                  <c:v>#N/A</c:v>
                </c:pt>
                <c:pt idx="12898">
                  <c:v>#N/A</c:v>
                </c:pt>
                <c:pt idx="12899">
                  <c:v>#N/A</c:v>
                </c:pt>
                <c:pt idx="12900">
                  <c:v>#N/A</c:v>
                </c:pt>
                <c:pt idx="12901">
                  <c:v>#N/A</c:v>
                </c:pt>
                <c:pt idx="12902">
                  <c:v>#N/A</c:v>
                </c:pt>
                <c:pt idx="12903">
                  <c:v>#N/A</c:v>
                </c:pt>
                <c:pt idx="12904">
                  <c:v>#N/A</c:v>
                </c:pt>
                <c:pt idx="12905">
                  <c:v>#N/A</c:v>
                </c:pt>
                <c:pt idx="12906">
                  <c:v>#N/A</c:v>
                </c:pt>
                <c:pt idx="12907">
                  <c:v>#N/A</c:v>
                </c:pt>
                <c:pt idx="12908">
                  <c:v>#N/A</c:v>
                </c:pt>
                <c:pt idx="12909">
                  <c:v>#N/A</c:v>
                </c:pt>
                <c:pt idx="12910">
                  <c:v>#N/A</c:v>
                </c:pt>
                <c:pt idx="12911">
                  <c:v>#N/A</c:v>
                </c:pt>
                <c:pt idx="12912">
                  <c:v>#N/A</c:v>
                </c:pt>
                <c:pt idx="12913">
                  <c:v>#N/A</c:v>
                </c:pt>
                <c:pt idx="12914">
                  <c:v>#N/A</c:v>
                </c:pt>
                <c:pt idx="12915">
                  <c:v>#N/A</c:v>
                </c:pt>
                <c:pt idx="12916">
                  <c:v>8.8849315068493144</c:v>
                </c:pt>
                <c:pt idx="12917">
                  <c:v>#N/A</c:v>
                </c:pt>
                <c:pt idx="12918">
                  <c:v>#N/A</c:v>
                </c:pt>
                <c:pt idx="12919">
                  <c:v>8.9013698630136986</c:v>
                </c:pt>
                <c:pt idx="12920">
                  <c:v>#N/A</c:v>
                </c:pt>
                <c:pt idx="12921">
                  <c:v>#N/A</c:v>
                </c:pt>
                <c:pt idx="12922">
                  <c:v>#N/A</c:v>
                </c:pt>
                <c:pt idx="12923">
                  <c:v>#N/A</c:v>
                </c:pt>
                <c:pt idx="12924">
                  <c:v>#N/A</c:v>
                </c:pt>
                <c:pt idx="12925">
                  <c:v>#N/A</c:v>
                </c:pt>
                <c:pt idx="12926">
                  <c:v>#N/A</c:v>
                </c:pt>
                <c:pt idx="12927">
                  <c:v>#N/A</c:v>
                </c:pt>
                <c:pt idx="12928">
                  <c:v>#N/A</c:v>
                </c:pt>
                <c:pt idx="12929">
                  <c:v>8.9534246575342458</c:v>
                </c:pt>
                <c:pt idx="12930">
                  <c:v>8.9534246575342458</c:v>
                </c:pt>
                <c:pt idx="12931">
                  <c:v>8.9534246575342458</c:v>
                </c:pt>
                <c:pt idx="12932">
                  <c:v>#N/A</c:v>
                </c:pt>
                <c:pt idx="12933">
                  <c:v>8.9808219178082194</c:v>
                </c:pt>
                <c:pt idx="12934">
                  <c:v>#N/A</c:v>
                </c:pt>
                <c:pt idx="12935">
                  <c:v>#N/A</c:v>
                </c:pt>
                <c:pt idx="12936">
                  <c:v>#N/A</c:v>
                </c:pt>
                <c:pt idx="12937">
                  <c:v>9.0109589041095894</c:v>
                </c:pt>
                <c:pt idx="12938">
                  <c:v>9.0109589041095894</c:v>
                </c:pt>
                <c:pt idx="12939">
                  <c:v>#N/A</c:v>
                </c:pt>
                <c:pt idx="12940">
                  <c:v>#N/A</c:v>
                </c:pt>
                <c:pt idx="12941">
                  <c:v>#N/A</c:v>
                </c:pt>
                <c:pt idx="12942">
                  <c:v>#N/A</c:v>
                </c:pt>
                <c:pt idx="12943">
                  <c:v>#N/A</c:v>
                </c:pt>
                <c:pt idx="12944">
                  <c:v>#N/A</c:v>
                </c:pt>
                <c:pt idx="12945">
                  <c:v>#N/A</c:v>
                </c:pt>
                <c:pt idx="12946">
                  <c:v>#N/A</c:v>
                </c:pt>
                <c:pt idx="12947">
                  <c:v>#N/A</c:v>
                </c:pt>
                <c:pt idx="12948">
                  <c:v>#N/A</c:v>
                </c:pt>
                <c:pt idx="12949">
                  <c:v>#N/A</c:v>
                </c:pt>
                <c:pt idx="12950">
                  <c:v>#N/A</c:v>
                </c:pt>
                <c:pt idx="12951">
                  <c:v>#N/A</c:v>
                </c:pt>
                <c:pt idx="12952">
                  <c:v>#N/A</c:v>
                </c:pt>
                <c:pt idx="12953">
                  <c:v>#N/A</c:v>
                </c:pt>
                <c:pt idx="12954">
                  <c:v>#N/A</c:v>
                </c:pt>
                <c:pt idx="12955">
                  <c:v>#N/A</c:v>
                </c:pt>
                <c:pt idx="12956">
                  <c:v>#N/A</c:v>
                </c:pt>
                <c:pt idx="12957">
                  <c:v>#N/A</c:v>
                </c:pt>
                <c:pt idx="12958">
                  <c:v>#N/A</c:v>
                </c:pt>
                <c:pt idx="12959">
                  <c:v>#N/A</c:v>
                </c:pt>
                <c:pt idx="12960">
                  <c:v>#N/A</c:v>
                </c:pt>
                <c:pt idx="12961">
                  <c:v>#N/A</c:v>
                </c:pt>
                <c:pt idx="12962">
                  <c:v>#N/A</c:v>
                </c:pt>
                <c:pt idx="12963">
                  <c:v>#N/A</c:v>
                </c:pt>
                <c:pt idx="12964">
                  <c:v>#N/A</c:v>
                </c:pt>
                <c:pt idx="12965">
                  <c:v>#N/A</c:v>
                </c:pt>
                <c:pt idx="12966">
                  <c:v>#N/A</c:v>
                </c:pt>
                <c:pt idx="12967">
                  <c:v>#N/A</c:v>
                </c:pt>
                <c:pt idx="12968">
                  <c:v>#N/A</c:v>
                </c:pt>
                <c:pt idx="12969">
                  <c:v>#N/A</c:v>
                </c:pt>
                <c:pt idx="12970">
                  <c:v>#N/A</c:v>
                </c:pt>
                <c:pt idx="12971">
                  <c:v>#N/A</c:v>
                </c:pt>
                <c:pt idx="12972">
                  <c:v>#N/A</c:v>
                </c:pt>
                <c:pt idx="12973">
                  <c:v>#N/A</c:v>
                </c:pt>
                <c:pt idx="12974">
                  <c:v>#N/A</c:v>
                </c:pt>
                <c:pt idx="12975">
                  <c:v>#N/A</c:v>
                </c:pt>
                <c:pt idx="12976">
                  <c:v>#N/A</c:v>
                </c:pt>
                <c:pt idx="12977">
                  <c:v>#N/A</c:v>
                </c:pt>
                <c:pt idx="12978">
                  <c:v>9.9780821917808211</c:v>
                </c:pt>
                <c:pt idx="12979">
                  <c:v>#N/A</c:v>
                </c:pt>
                <c:pt idx="12980">
                  <c:v>#N/A</c:v>
                </c:pt>
                <c:pt idx="12981">
                  <c:v>#N/A</c:v>
                </c:pt>
                <c:pt idx="12982">
                  <c:v>10.112328767123287</c:v>
                </c:pt>
                <c:pt idx="12983">
                  <c:v>#N/A</c:v>
                </c:pt>
                <c:pt idx="12984">
                  <c:v>10.216438356164383</c:v>
                </c:pt>
                <c:pt idx="12985">
                  <c:v>#N/A</c:v>
                </c:pt>
                <c:pt idx="12986">
                  <c:v>#N/A</c:v>
                </c:pt>
                <c:pt idx="12987">
                  <c:v>#N/A</c:v>
                </c:pt>
                <c:pt idx="12988">
                  <c:v>#N/A</c:v>
                </c:pt>
                <c:pt idx="12989">
                  <c:v>#N/A</c:v>
                </c:pt>
                <c:pt idx="12990">
                  <c:v>#N/A</c:v>
                </c:pt>
                <c:pt idx="12991">
                  <c:v>#N/A</c:v>
                </c:pt>
                <c:pt idx="12992">
                  <c:v>#N/A</c:v>
                </c:pt>
                <c:pt idx="12993">
                  <c:v>10.608219178082193</c:v>
                </c:pt>
                <c:pt idx="12994">
                  <c:v>#N/A</c:v>
                </c:pt>
                <c:pt idx="12995">
                  <c:v>#N/A</c:v>
                </c:pt>
                <c:pt idx="12996">
                  <c:v>#N/A</c:v>
                </c:pt>
                <c:pt idx="12997">
                  <c:v>#N/A</c:v>
                </c:pt>
                <c:pt idx="12998">
                  <c:v>#N/A</c:v>
                </c:pt>
                <c:pt idx="12999">
                  <c:v>#N/A</c:v>
                </c:pt>
                <c:pt idx="13000">
                  <c:v>11.183561643835617</c:v>
                </c:pt>
                <c:pt idx="13001">
                  <c:v>#N/A</c:v>
                </c:pt>
                <c:pt idx="13002">
                  <c:v>11.375342465753425</c:v>
                </c:pt>
                <c:pt idx="13003">
                  <c:v>#N/A</c:v>
                </c:pt>
                <c:pt idx="13004">
                  <c:v>#N/A</c:v>
                </c:pt>
                <c:pt idx="13005">
                  <c:v>#N/A</c:v>
                </c:pt>
                <c:pt idx="13006">
                  <c:v>#N/A</c:v>
                </c:pt>
                <c:pt idx="13007">
                  <c:v>#N/A</c:v>
                </c:pt>
                <c:pt idx="13008">
                  <c:v>#N/A</c:v>
                </c:pt>
                <c:pt idx="13009">
                  <c:v>#N/A</c:v>
                </c:pt>
                <c:pt idx="13010">
                  <c:v>#N/A</c:v>
                </c:pt>
                <c:pt idx="13011">
                  <c:v>#N/A</c:v>
                </c:pt>
                <c:pt idx="13012">
                  <c:v>#N/A</c:v>
                </c:pt>
                <c:pt idx="13013">
                  <c:v>#N/A</c:v>
                </c:pt>
                <c:pt idx="13014">
                  <c:v>#N/A</c:v>
                </c:pt>
                <c:pt idx="13015">
                  <c:v>#N/A</c:v>
                </c:pt>
                <c:pt idx="13016">
                  <c:v>#N/A</c:v>
                </c:pt>
                <c:pt idx="13017">
                  <c:v>#N/A</c:v>
                </c:pt>
                <c:pt idx="13018">
                  <c:v>#N/A</c:v>
                </c:pt>
                <c:pt idx="13019">
                  <c:v>#N/A</c:v>
                </c:pt>
                <c:pt idx="13020">
                  <c:v>#N/A</c:v>
                </c:pt>
                <c:pt idx="13021">
                  <c:v>#N/A</c:v>
                </c:pt>
                <c:pt idx="13022">
                  <c:v>#N/A</c:v>
                </c:pt>
                <c:pt idx="13023">
                  <c:v>#N/A</c:v>
                </c:pt>
                <c:pt idx="13024">
                  <c:v>#N/A</c:v>
                </c:pt>
                <c:pt idx="13025">
                  <c:v>#N/A</c:v>
                </c:pt>
                <c:pt idx="13026">
                  <c:v>#N/A</c:v>
                </c:pt>
                <c:pt idx="13027">
                  <c:v>#N/A</c:v>
                </c:pt>
                <c:pt idx="13028">
                  <c:v>#N/A</c:v>
                </c:pt>
                <c:pt idx="13029">
                  <c:v>#N/A</c:v>
                </c:pt>
                <c:pt idx="13030">
                  <c:v>#N/A</c:v>
                </c:pt>
                <c:pt idx="13031">
                  <c:v>#N/A</c:v>
                </c:pt>
                <c:pt idx="13032">
                  <c:v>#N/A</c:v>
                </c:pt>
                <c:pt idx="13033">
                  <c:v>#N/A</c:v>
                </c:pt>
                <c:pt idx="13034">
                  <c:v>#N/A</c:v>
                </c:pt>
                <c:pt idx="13035">
                  <c:v>#N/A</c:v>
                </c:pt>
                <c:pt idx="13036">
                  <c:v>#N/A</c:v>
                </c:pt>
                <c:pt idx="13037">
                  <c:v>#N/A</c:v>
                </c:pt>
                <c:pt idx="13038">
                  <c:v>#N/A</c:v>
                </c:pt>
                <c:pt idx="13039">
                  <c:v>#N/A</c:v>
                </c:pt>
                <c:pt idx="13040">
                  <c:v>#N/A</c:v>
                </c:pt>
                <c:pt idx="13041">
                  <c:v>#N/A</c:v>
                </c:pt>
                <c:pt idx="13042">
                  <c:v>#N/A</c:v>
                </c:pt>
                <c:pt idx="13043">
                  <c:v>#N/A</c:v>
                </c:pt>
                <c:pt idx="13044">
                  <c:v>#N/A</c:v>
                </c:pt>
                <c:pt idx="13045">
                  <c:v>#N/A</c:v>
                </c:pt>
                <c:pt idx="13046">
                  <c:v>#N/A</c:v>
                </c:pt>
                <c:pt idx="13047">
                  <c:v>#N/A</c:v>
                </c:pt>
                <c:pt idx="13048">
                  <c:v>#N/A</c:v>
                </c:pt>
                <c:pt idx="13049">
                  <c:v>#N/A</c:v>
                </c:pt>
                <c:pt idx="13050">
                  <c:v>#N/A</c:v>
                </c:pt>
                <c:pt idx="13051">
                  <c:v>#N/A</c:v>
                </c:pt>
                <c:pt idx="13052">
                  <c:v>#N/A</c:v>
                </c:pt>
                <c:pt idx="13053">
                  <c:v>#N/A</c:v>
                </c:pt>
                <c:pt idx="13054">
                  <c:v>#N/A</c:v>
                </c:pt>
                <c:pt idx="13055">
                  <c:v>#N/A</c:v>
                </c:pt>
                <c:pt idx="13056">
                  <c:v>#N/A</c:v>
                </c:pt>
                <c:pt idx="13057">
                  <c:v>#N/A</c:v>
                </c:pt>
                <c:pt idx="13058">
                  <c:v>#N/A</c:v>
                </c:pt>
                <c:pt idx="13059">
                  <c:v>#N/A</c:v>
                </c:pt>
                <c:pt idx="13060">
                  <c:v>#N/A</c:v>
                </c:pt>
                <c:pt idx="13061">
                  <c:v>#N/A</c:v>
                </c:pt>
                <c:pt idx="13062">
                  <c:v>#N/A</c:v>
                </c:pt>
                <c:pt idx="13063">
                  <c:v>#N/A</c:v>
                </c:pt>
                <c:pt idx="13064">
                  <c:v>#N/A</c:v>
                </c:pt>
                <c:pt idx="13065">
                  <c:v>#N/A</c:v>
                </c:pt>
                <c:pt idx="13066">
                  <c:v>#N/A</c:v>
                </c:pt>
                <c:pt idx="13067">
                  <c:v>#N/A</c:v>
                </c:pt>
                <c:pt idx="13068">
                  <c:v>#N/A</c:v>
                </c:pt>
                <c:pt idx="13069">
                  <c:v>#N/A</c:v>
                </c:pt>
                <c:pt idx="13070">
                  <c:v>#N/A</c:v>
                </c:pt>
                <c:pt idx="13071">
                  <c:v>#N/A</c:v>
                </c:pt>
                <c:pt idx="13072">
                  <c:v>#N/A</c:v>
                </c:pt>
                <c:pt idx="13073">
                  <c:v>#N/A</c:v>
                </c:pt>
                <c:pt idx="13074">
                  <c:v>#N/A</c:v>
                </c:pt>
                <c:pt idx="13075">
                  <c:v>#N/A</c:v>
                </c:pt>
                <c:pt idx="13076">
                  <c:v>#N/A</c:v>
                </c:pt>
                <c:pt idx="13077">
                  <c:v>#N/A</c:v>
                </c:pt>
                <c:pt idx="13078">
                  <c:v>#N/A</c:v>
                </c:pt>
                <c:pt idx="13079">
                  <c:v>#N/A</c:v>
                </c:pt>
                <c:pt idx="13080">
                  <c:v>#N/A</c:v>
                </c:pt>
              </c:numCache>
            </c:numRef>
          </c:xVal>
          <c:yVal>
            <c:numRef>
              <c:f>'power_generator-2024-09-23T (2)'!$U$2:$U$13082</c:f>
              <c:numCache>
                <c:formatCode>General</c:formatCode>
                <c:ptCount val="13081"/>
                <c:pt idx="0">
                  <c:v>5.0423620058489318</c:v>
                </c:pt>
                <c:pt idx="1">
                  <c:v>5.9984969734300204</c:v>
                </c:pt>
                <c:pt idx="2">
                  <c:v>6.028243266869449</c:v>
                </c:pt>
                <c:pt idx="3">
                  <c:v>6.027615680892267</c:v>
                </c:pt>
                <c:pt idx="4">
                  <c:v>6.0968802963641044</c:v>
                </c:pt>
                <c:pt idx="5">
                  <c:v>5.0833740576969442</c:v>
                </c:pt>
                <c:pt idx="6">
                  <c:v>4.8649706859237121</c:v>
                </c:pt>
                <c:pt idx="7">
                  <c:v>4.9838127763822371</c:v>
                </c:pt>
                <c:pt idx="8">
                  <c:v>3.9330733837753398</c:v>
                </c:pt>
                <c:pt idx="9">
                  <c:v>5.0274272656549748</c:v>
                </c:pt>
                <c:pt idx="10">
                  <c:v>4.2713519971552012</c:v>
                </c:pt>
                <c:pt idx="11">
                  <c:v>4.0230424193938301</c:v>
                </c:pt>
                <c:pt idx="12">
                  <c:v>5.1093266698785786</c:v>
                </c:pt>
                <c:pt idx="13">
                  <c:v>3.7789549155485394</c:v>
                </c:pt>
                <c:pt idx="14">
                  <c:v>5.1135823180669</c:v>
                </c:pt>
                <c:pt idx="15">
                  <c:v>5.1470967119613782</c:v>
                </c:pt>
                <c:pt idx="16">
                  <c:v>5.0933798732621636</c:v>
                </c:pt>
                <c:pt idx="17">
                  <c:v>6.1148849603222679</c:v>
                </c:pt>
                <c:pt idx="18">
                  <c:v>5.1840351127786324</c:v>
                </c:pt>
                <c:pt idx="19">
                  <c:v>4.9326101929562061</c:v>
                </c:pt>
                <c:pt idx="20">
                  <c:v>4.891495675253843</c:v>
                </c:pt>
                <c:pt idx="21">
                  <c:v>5.0342251415695536</c:v>
                </c:pt>
                <c:pt idx="22">
                  <c:v>5.0857390895175936</c:v>
                </c:pt>
                <c:pt idx="23">
                  <c:v>6.0305374433227987</c:v>
                </c:pt>
                <c:pt idx="24">
                  <c:v>5.867703502113379</c:v>
                </c:pt>
                <c:pt idx="25">
                  <c:v>5.2281367546392428</c:v>
                </c:pt>
                <c:pt idx="26">
                  <c:v>6.0403565569171107</c:v>
                </c:pt>
                <c:pt idx="27">
                  <c:v>4.9230729141968723</c:v>
                </c:pt>
                <c:pt idx="28">
                  <c:v>5.0047761039437617</c:v>
                </c:pt>
                <c:pt idx="29">
                  <c:v>4.1601352771088891</c:v>
                </c:pt>
                <c:pt idx="30">
                  <c:v>4.8531316785957088</c:v>
                </c:pt>
                <c:pt idx="31">
                  <c:v>5.1731757707995758</c:v>
                </c:pt>
                <c:pt idx="32">
                  <c:v>3.8841641575482173</c:v>
                </c:pt>
                <c:pt idx="33">
                  <c:v>4.9633263593285042</c:v>
                </c:pt>
                <c:pt idx="34">
                  <c:v>5.7934833686737042</c:v>
                </c:pt>
                <c:pt idx="35">
                  <c:v>5.776250892404355</c:v>
                </c:pt>
                <c:pt idx="36">
                  <c:v>4.9795114960604261</c:v>
                </c:pt>
                <c:pt idx="37">
                  <c:v>7.0567515492551678</c:v>
                </c:pt>
                <c:pt idx="38">
                  <c:v>5.9107818677330508</c:v>
                </c:pt>
                <c:pt idx="39">
                  <c:v>3.9863828012207243</c:v>
                </c:pt>
                <c:pt idx="40">
                  <c:v>5.0730218962980711</c:v>
                </c:pt>
                <c:pt idx="41">
                  <c:v>4.912029944991863</c:v>
                </c:pt>
                <c:pt idx="42">
                  <c:v>5.0048101777829253</c:v>
                </c:pt>
                <c:pt idx="43">
                  <c:v>5.8595127855509057</c:v>
                </c:pt>
                <c:pt idx="44">
                  <c:v>4.1076766125286248</c:v>
                </c:pt>
                <c:pt idx="45">
                  <c:v>6.9813927063759165</c:v>
                </c:pt>
                <c:pt idx="46">
                  <c:v>6.1455680024709345</c:v>
                </c:pt>
                <c:pt idx="47">
                  <c:v>5.002322790238539</c:v>
                </c:pt>
                <c:pt idx="48">
                  <c:v>3.9556188004152095</c:v>
                </c:pt>
                <c:pt idx="49">
                  <c:v>5.9668690691198574</c:v>
                </c:pt>
                <c:pt idx="50">
                  <c:v>6.1061528519625874</c:v>
                </c:pt>
                <c:pt idx="51">
                  <c:v>4.9568554683781558</c:v>
                </c:pt>
                <c:pt idx="52">
                  <c:v>5.9705560961442199</c:v>
                </c:pt>
                <c:pt idx="53">
                  <c:v>3.8649575757968564</c:v>
                </c:pt>
                <c:pt idx="54">
                  <c:v>5.0505858619730901</c:v>
                </c:pt>
                <c:pt idx="55">
                  <c:v>5.094145874629155</c:v>
                </c:pt>
                <c:pt idx="56">
                  <c:v>5.8074269643065435</c:v>
                </c:pt>
                <c:pt idx="57">
                  <c:v>5.953659090889821</c:v>
                </c:pt>
                <c:pt idx="58">
                  <c:v>4.8031963268992515</c:v>
                </c:pt>
                <c:pt idx="59">
                  <c:v>4.0680530396243464</c:v>
                </c:pt>
                <c:pt idx="60">
                  <c:v>5.1313087767133325</c:v>
                </c:pt>
                <c:pt idx="61">
                  <c:v>3.8579803787173397</c:v>
                </c:pt>
                <c:pt idx="62">
                  <c:v>5.8664847588884204</c:v>
                </c:pt>
                <c:pt idx="63">
                  <c:v>9.0794018642177576</c:v>
                </c:pt>
                <c:pt idx="64">
                  <c:v>5.0592714449641276</c:v>
                </c:pt>
                <c:pt idx="65">
                  <c:v>6.1206365581012303</c:v>
                </c:pt>
                <c:pt idx="66">
                  <c:v>4.8865991374950877</c:v>
                </c:pt>
                <c:pt idx="67">
                  <c:v>4.9021862801652549</c:v>
                </c:pt>
                <c:pt idx="68">
                  <c:v>5.1710506636393925</c:v>
                </c:pt>
                <c:pt idx="69">
                  <c:v>6.1361049125818008</c:v>
                </c:pt>
                <c:pt idx="70">
                  <c:v>5.9186018762335406</c:v>
                </c:pt>
                <c:pt idx="71">
                  <c:v>6.0127675753564214</c:v>
                </c:pt>
                <c:pt idx="72">
                  <c:v>5.9751240711200326</c:v>
                </c:pt>
                <c:pt idx="73">
                  <c:v>5.9048754423423997</c:v>
                </c:pt>
                <c:pt idx="74">
                  <c:v>6.0030827812151504</c:v>
                </c:pt>
                <c:pt idx="75">
                  <c:v>5.9356058018936881</c:v>
                </c:pt>
                <c:pt idx="76">
                  <c:v>4.9025467418290649</c:v>
                </c:pt>
                <c:pt idx="77">
                  <c:v>5.8577519470087003</c:v>
                </c:pt>
                <c:pt idx="78">
                  <c:v>4.917646632103513</c:v>
                </c:pt>
                <c:pt idx="79">
                  <c:v>4.9490580642890647</c:v>
                </c:pt>
                <c:pt idx="80">
                  <c:v>5.0974975255379489</c:v>
                </c:pt>
                <c:pt idx="81">
                  <c:v>5.9318785407512555</c:v>
                </c:pt>
                <c:pt idx="82">
                  <c:v>4.9220516310285447</c:v>
                </c:pt>
                <c:pt idx="83">
                  <c:v>5.078016067201184</c:v>
                </c:pt>
                <c:pt idx="84">
                  <c:v>5.1051260061440606</c:v>
                </c:pt>
                <c:pt idx="85">
                  <c:v>4.9754304970155259</c:v>
                </c:pt>
                <c:pt idx="86">
                  <c:v>5.9431455999129463</c:v>
                </c:pt>
                <c:pt idx="87">
                  <c:v>6.0190873451923839</c:v>
                </c:pt>
                <c:pt idx="88">
                  <c:v>5.1276009043277524</c:v>
                </c:pt>
                <c:pt idx="89">
                  <c:v>6.0970598419303919</c:v>
                </c:pt>
                <c:pt idx="90">
                  <c:v>5.0061002985165173</c:v>
                </c:pt>
                <c:pt idx="91">
                  <c:v>6.0247791384179923</c:v>
                </c:pt>
                <c:pt idx="92">
                  <c:v>5.9782425106237085</c:v>
                </c:pt>
                <c:pt idx="93">
                  <c:v>4.9007286570651205</c:v>
                </c:pt>
                <c:pt idx="94">
                  <c:v>5.962445986496177</c:v>
                </c:pt>
                <c:pt idx="95">
                  <c:v>6.1226960261946486</c:v>
                </c:pt>
                <c:pt idx="96">
                  <c:v>5.0999749424204692</c:v>
                </c:pt>
                <c:pt idx="97">
                  <c:v>5.0223016162710925</c:v>
                </c:pt>
                <c:pt idx="98">
                  <c:v>5.925556808952706</c:v>
                </c:pt>
                <c:pt idx="99">
                  <c:v>5.9122627195450885</c:v>
                </c:pt>
                <c:pt idx="100">
                  <c:v>5.9604077256928312</c:v>
                </c:pt>
                <c:pt idx="101">
                  <c:v>6.0114538526580734</c:v>
                </c:pt>
                <c:pt idx="102">
                  <c:v>6.2095468873314248</c:v>
                </c:pt>
                <c:pt idx="103">
                  <c:v>4.9598970253977299</c:v>
                </c:pt>
                <c:pt idx="104">
                  <c:v>6.1295661774850361</c:v>
                </c:pt>
                <c:pt idx="105">
                  <c:v>6.0973062095551605</c:v>
                </c:pt>
                <c:pt idx="106">
                  <c:v>4.973498553324597</c:v>
                </c:pt>
                <c:pt idx="107">
                  <c:v>4.9186300478743785</c:v>
                </c:pt>
                <c:pt idx="108">
                  <c:v>5.0099753647069001</c:v>
                </c:pt>
                <c:pt idx="109">
                  <c:v>4.9343798874746421</c:v>
                </c:pt>
                <c:pt idx="110">
                  <c:v>4.8266720303695108</c:v>
                </c:pt>
                <c:pt idx="111">
                  <c:v>4.9887374921046366</c:v>
                </c:pt>
                <c:pt idx="112">
                  <c:v>5.9214695848801044</c:v>
                </c:pt>
                <c:pt idx="113">
                  <c:v>5.2496843542288083</c:v>
                </c:pt>
                <c:pt idx="114">
                  <c:v>6.9017115400496101</c:v>
                </c:pt>
                <c:pt idx="115">
                  <c:v>4.8642807759450353</c:v>
                </c:pt>
                <c:pt idx="116">
                  <c:v>4.0107633082364842</c:v>
                </c:pt>
                <c:pt idx="117">
                  <c:v>5.716100812085207</c:v>
                </c:pt>
                <c:pt idx="118">
                  <c:v>3.9643128178614315</c:v>
                </c:pt>
                <c:pt idx="119">
                  <c:v>4.9274400474862983</c:v>
                </c:pt>
                <c:pt idx="120">
                  <c:v>5.9118105434917032</c:v>
                </c:pt>
                <c:pt idx="121">
                  <c:v>4.9687323800346315</c:v>
                </c:pt>
                <c:pt idx="122">
                  <c:v>5.0709090838859856</c:v>
                </c:pt>
                <c:pt idx="123">
                  <c:v>6.1895441805595812</c:v>
                </c:pt>
                <c:pt idx="124">
                  <c:v>5.0240952862107973</c:v>
                </c:pt>
                <c:pt idx="125">
                  <c:v>5.0158145501548654</c:v>
                </c:pt>
                <c:pt idx="126">
                  <c:v>4.9110702561664219</c:v>
                </c:pt>
                <c:pt idx="127">
                  <c:v>4.9505232340569609</c:v>
                </c:pt>
                <c:pt idx="128">
                  <c:v>4.9914528394628972</c:v>
                </c:pt>
                <c:pt idx="129">
                  <c:v>5.0485988376627606</c:v>
                </c:pt>
                <c:pt idx="130">
                  <c:v>5.9040392126915098</c:v>
                </c:pt>
                <c:pt idx="131">
                  <c:v>5.1263152877492377</c:v>
                </c:pt>
                <c:pt idx="132">
                  <c:v>3.8780653190770926</c:v>
                </c:pt>
                <c:pt idx="133">
                  <c:v>7.0810924603937728</c:v>
                </c:pt>
                <c:pt idx="134">
                  <c:v>4.1695790557500478</c:v>
                </c:pt>
                <c:pt idx="135">
                  <c:v>4.8333544444253231</c:v>
                </c:pt>
                <c:pt idx="136">
                  <c:v>5.047786140001068</c:v>
                </c:pt>
                <c:pt idx="137">
                  <c:v>4.9850374742404373</c:v>
                </c:pt>
                <c:pt idx="138">
                  <c:v>5.9966655440644159</c:v>
                </c:pt>
                <c:pt idx="139">
                  <c:v>5.9464070761871151</c:v>
                </c:pt>
                <c:pt idx="140">
                  <c:v>5.0261577459183897</c:v>
                </c:pt>
                <c:pt idx="141">
                  <c:v>6.0492630038458195</c:v>
                </c:pt>
                <c:pt idx="142">
                  <c:v>5.9904079223632039</c:v>
                </c:pt>
                <c:pt idx="143">
                  <c:v>5.1123386361373644</c:v>
                </c:pt>
                <c:pt idx="144">
                  <c:v>5.9627487621356012</c:v>
                </c:pt>
                <c:pt idx="145">
                  <c:v>5.0191285834595094</c:v>
                </c:pt>
                <c:pt idx="146">
                  <c:v>4.8464054626331707</c:v>
                </c:pt>
                <c:pt idx="147">
                  <c:v>6.1887514766896352</c:v>
                </c:pt>
                <c:pt idx="148">
                  <c:v>5.0198268604449474</c:v>
                </c:pt>
                <c:pt idx="149">
                  <c:v>4.9449494860754672</c:v>
                </c:pt>
                <c:pt idx="150">
                  <c:v>6.0367281491066711</c:v>
                </c:pt>
                <c:pt idx="151">
                  <c:v>5.0934908623560897</c:v>
                </c:pt>
                <c:pt idx="152">
                  <c:v>3.9807678242223608</c:v>
                </c:pt>
                <c:pt idx="153">
                  <c:v>6.0355725917546055</c:v>
                </c:pt>
                <c:pt idx="154">
                  <c:v>5.9603480468779209</c:v>
                </c:pt>
                <c:pt idx="155">
                  <c:v>5.9638408615907457</c:v>
                </c:pt>
                <c:pt idx="156">
                  <c:v>3.9539837663113113</c:v>
                </c:pt>
                <c:pt idx="157">
                  <c:v>4.1731656536706145</c:v>
                </c:pt>
                <c:pt idx="158">
                  <c:v>4.0214970395963894</c:v>
                </c:pt>
                <c:pt idx="159">
                  <c:v>6.8408029881742465</c:v>
                </c:pt>
                <c:pt idx="160">
                  <c:v>4.910736369240956</c:v>
                </c:pt>
                <c:pt idx="161">
                  <c:v>3.803027586613863</c:v>
                </c:pt>
                <c:pt idx="162">
                  <c:v>4.8912904841671416</c:v>
                </c:pt>
                <c:pt idx="163">
                  <c:v>5.0828837914567213</c:v>
                </c:pt>
                <c:pt idx="164">
                  <c:v>5.9008980929160826</c:v>
                </c:pt>
                <c:pt idx="165">
                  <c:v>5.0204716450650793</c:v>
                </c:pt>
                <c:pt idx="166">
                  <c:v>5.8305132069850591</c:v>
                </c:pt>
                <c:pt idx="167">
                  <c:v>7.0406017735940996</c:v>
                </c:pt>
                <c:pt idx="168">
                  <c:v>5.9859054573296024</c:v>
                </c:pt>
                <c:pt idx="169">
                  <c:v>4.9997223872251988</c:v>
                </c:pt>
                <c:pt idx="170">
                  <c:v>6.0103278301842487</c:v>
                </c:pt>
                <c:pt idx="171">
                  <c:v>7.1055740348015242</c:v>
                </c:pt>
                <c:pt idx="172">
                  <c:v>5.0173008044384222</c:v>
                </c:pt>
                <c:pt idx="173">
                  <c:v>6.1730306603458152</c:v>
                </c:pt>
                <c:pt idx="174">
                  <c:v>6.1826816457524929</c:v>
                </c:pt>
                <c:pt idx="175">
                  <c:v>4.9729191662701808</c:v>
                </c:pt>
                <c:pt idx="176">
                  <c:v>5.0330274337650973</c:v>
                </c:pt>
                <c:pt idx="177">
                  <c:v>7.1317304266108064</c:v>
                </c:pt>
                <c:pt idx="178">
                  <c:v>5.0889509198750593</c:v>
                </c:pt>
                <c:pt idx="179">
                  <c:v>6.8172523782089272</c:v>
                </c:pt>
                <c:pt idx="180">
                  <c:v>6.1648282916004895</c:v>
                </c:pt>
                <c:pt idx="181">
                  <c:v>6.9722014193880693</c:v>
                </c:pt>
                <c:pt idx="182">
                  <c:v>4.9969252129256176</c:v>
                </c:pt>
                <c:pt idx="183">
                  <c:v>4.8497439597186318</c:v>
                </c:pt>
                <c:pt idx="184">
                  <c:v>6.1491410038074044</c:v>
                </c:pt>
                <c:pt idx="185">
                  <c:v>6.8212694297105489</c:v>
                </c:pt>
                <c:pt idx="186">
                  <c:v>4.9067617809449633</c:v>
                </c:pt>
                <c:pt idx="187">
                  <c:v>5.9926035340808115</c:v>
                </c:pt>
                <c:pt idx="188">
                  <c:v>5.1682307987036351</c:v>
                </c:pt>
                <c:pt idx="189">
                  <c:v>4.9957825970204937</c:v>
                </c:pt>
                <c:pt idx="190">
                  <c:v>5.0982241597762847</c:v>
                </c:pt>
                <c:pt idx="191">
                  <c:v>6.0282998980335787</c:v>
                </c:pt>
                <c:pt idx="192">
                  <c:v>5.0541895358524371</c:v>
                </c:pt>
                <c:pt idx="193">
                  <c:v>4.9970709057776794</c:v>
                </c:pt>
                <c:pt idx="194">
                  <c:v>3.8003804184922676</c:v>
                </c:pt>
                <c:pt idx="195">
                  <c:v>7.0466582274554277</c:v>
                </c:pt>
                <c:pt idx="196">
                  <c:v>6.0212963952618574</c:v>
                </c:pt>
                <c:pt idx="197">
                  <c:v>4.793230031026722</c:v>
                </c:pt>
                <c:pt idx="198">
                  <c:v>6.080865798418067</c:v>
                </c:pt>
                <c:pt idx="199">
                  <c:v>4.8861636674611866</c:v>
                </c:pt>
                <c:pt idx="200">
                  <c:v>6.1234908645295203</c:v>
                </c:pt>
                <c:pt idx="201">
                  <c:v>4.999357389225942</c:v>
                </c:pt>
                <c:pt idx="202">
                  <c:v>5.980716292650639</c:v>
                </c:pt>
                <c:pt idx="203">
                  <c:v>6.0332082211200744</c:v>
                </c:pt>
                <c:pt idx="204">
                  <c:v>6.0915285932885723</c:v>
                </c:pt>
                <c:pt idx="205">
                  <c:v>6.0278542981032821</c:v>
                </c:pt>
                <c:pt idx="206">
                  <c:v>2.9477775731227913</c:v>
                </c:pt>
                <c:pt idx="207">
                  <c:v>6.0840400342303207</c:v>
                </c:pt>
                <c:pt idx="208">
                  <c:v>6.1682895985196717</c:v>
                </c:pt>
                <c:pt idx="209">
                  <c:v>5.0584110563120026</c:v>
                </c:pt>
                <c:pt idx="210">
                  <c:v>5.9020192961825133</c:v>
                </c:pt>
                <c:pt idx="211">
                  <c:v>5.0820017355251439</c:v>
                </c:pt>
                <c:pt idx="212">
                  <c:v>6.1041879349566557</c:v>
                </c:pt>
                <c:pt idx="213">
                  <c:v>4.842808517381517</c:v>
                </c:pt>
                <c:pt idx="214">
                  <c:v>5.0700700097661784</c:v>
                </c:pt>
                <c:pt idx="215">
                  <c:v>5.9056577603186318</c:v>
                </c:pt>
                <c:pt idx="216">
                  <c:v>5.9642940476681057</c:v>
                </c:pt>
                <c:pt idx="217">
                  <c:v>5.8165689246558028</c:v>
                </c:pt>
                <c:pt idx="218">
                  <c:v>6.0108322739224</c:v>
                </c:pt>
                <c:pt idx="219">
                  <c:v>4.8831536474413122</c:v>
                </c:pt>
                <c:pt idx="220">
                  <c:v>4.9390785790196503</c:v>
                </c:pt>
                <c:pt idx="221">
                  <c:v>6.8765981783800934</c:v>
                </c:pt>
                <c:pt idx="222">
                  <c:v>5.8793298720437672</c:v>
                </c:pt>
                <c:pt idx="223">
                  <c:v>5.962042194731616</c:v>
                </c:pt>
                <c:pt idx="224">
                  <c:v>7.1114495938419244</c:v>
                </c:pt>
                <c:pt idx="225">
                  <c:v>4.9892365360762199</c:v>
                </c:pt>
                <c:pt idx="226">
                  <c:v>4.9188345427678497</c:v>
                </c:pt>
                <c:pt idx="227">
                  <c:v>4.843636773135592</c:v>
                </c:pt>
                <c:pt idx="228">
                  <c:v>4.8146486174694072</c:v>
                </c:pt>
                <c:pt idx="229">
                  <c:v>6.9030673957482822</c:v>
                </c:pt>
                <c:pt idx="230">
                  <c:v>4.880718752787109</c:v>
                </c:pt>
                <c:pt idx="231">
                  <c:v>4.9002960353052485</c:v>
                </c:pt>
                <c:pt idx="232">
                  <c:v>4.7193027084078878</c:v>
                </c:pt>
                <c:pt idx="233">
                  <c:v>2.8697434451342234</c:v>
                </c:pt>
                <c:pt idx="234">
                  <c:v>5.0756071344489966</c:v>
                </c:pt>
                <c:pt idx="235">
                  <c:v>5.8944544926968101</c:v>
                </c:pt>
                <c:pt idx="236">
                  <c:v>4.9127453877650717</c:v>
                </c:pt>
                <c:pt idx="237">
                  <c:v>4.8017985781301844</c:v>
                </c:pt>
                <c:pt idx="238">
                  <c:v>5.9327315458412953</c:v>
                </c:pt>
                <c:pt idx="239">
                  <c:v>5.9041896594131291</c:v>
                </c:pt>
                <c:pt idx="240">
                  <c:v>4.8016771338059607</c:v>
                </c:pt>
                <c:pt idx="241">
                  <c:v>5.9641380952762617</c:v>
                </c:pt>
                <c:pt idx="242">
                  <c:v>5.952300035164785</c:v>
                </c:pt>
                <c:pt idx="243">
                  <c:v>6.0619676921819243</c:v>
                </c:pt>
                <c:pt idx="244">
                  <c:v>6.0111006631843953</c:v>
                </c:pt>
                <c:pt idx="245">
                  <c:v>4.851244598195402</c:v>
                </c:pt>
                <c:pt idx="246">
                  <c:v>4.9906080186302466</c:v>
                </c:pt>
                <c:pt idx="247">
                  <c:v>4.9064243993438685</c:v>
                </c:pt>
                <c:pt idx="248">
                  <c:v>5.8970273293123032</c:v>
                </c:pt>
                <c:pt idx="249">
                  <c:v>5.0452739296327449</c:v>
                </c:pt>
                <c:pt idx="250">
                  <c:v>5.1689640835037789</c:v>
                </c:pt>
                <c:pt idx="251">
                  <c:v>5.7823981166963154</c:v>
                </c:pt>
                <c:pt idx="252">
                  <c:v>5.9882387546657707</c:v>
                </c:pt>
                <c:pt idx="253">
                  <c:v>4.9312738496139774</c:v>
                </c:pt>
                <c:pt idx="254">
                  <c:v>4.9625860723113746</c:v>
                </c:pt>
                <c:pt idx="255">
                  <c:v>5.0109173225453576</c:v>
                </c:pt>
                <c:pt idx="256">
                  <c:v>5.2733558191826919</c:v>
                </c:pt>
                <c:pt idx="257">
                  <c:v>4.9274546571206894</c:v>
                </c:pt>
                <c:pt idx="258">
                  <c:v>5.9450012077590904</c:v>
                </c:pt>
                <c:pt idx="259">
                  <c:v>4.7775452926105935</c:v>
                </c:pt>
                <c:pt idx="260">
                  <c:v>5.073238990658262</c:v>
                </c:pt>
                <c:pt idx="261">
                  <c:v>5.0522821710366914</c:v>
                </c:pt>
                <c:pt idx="262">
                  <c:v>5.2364283529770788</c:v>
                </c:pt>
                <c:pt idx="263">
                  <c:v>5.0524473201889153</c:v>
                </c:pt>
                <c:pt idx="264">
                  <c:v>5.9465842556328274</c:v>
                </c:pt>
                <c:pt idx="265">
                  <c:v>4.8895291818552256</c:v>
                </c:pt>
                <c:pt idx="266">
                  <c:v>5.0805123652886399</c:v>
                </c:pt>
                <c:pt idx="267">
                  <c:v>4.8794320382777912</c:v>
                </c:pt>
                <c:pt idx="268">
                  <c:v>5.01838177870472</c:v>
                </c:pt>
                <c:pt idx="269">
                  <c:v>4.9918274488573955</c:v>
                </c:pt>
                <c:pt idx="270">
                  <c:v>6.1200409172211074</c:v>
                </c:pt>
                <c:pt idx="271">
                  <c:v>5.932653920391326</c:v>
                </c:pt>
                <c:pt idx="272">
                  <c:v>5.9701727787049306</c:v>
                </c:pt>
                <c:pt idx="273">
                  <c:v>6.1478878161993809</c:v>
                </c:pt>
                <c:pt idx="274">
                  <c:v>4.8317009545328231</c:v>
                </c:pt>
                <c:pt idx="275">
                  <c:v>2.9634620591025471</c:v>
                </c:pt>
                <c:pt idx="276">
                  <c:v>3.9806464797880272</c:v>
                </c:pt>
                <c:pt idx="277">
                  <c:v>5.9867573979320845</c:v>
                </c:pt>
                <c:pt idx="278">
                  <c:v>6.0781911475850325</c:v>
                </c:pt>
                <c:pt idx="279">
                  <c:v>6.0342051834257191</c:v>
                </c:pt>
                <c:pt idx="280">
                  <c:v>5.9271561542908229</c:v>
                </c:pt>
                <c:pt idx="281">
                  <c:v>6.1122342121904909</c:v>
                </c:pt>
                <c:pt idx="282">
                  <c:v>5.815451475759053</c:v>
                </c:pt>
                <c:pt idx="283">
                  <c:v>5.8798628396886503</c:v>
                </c:pt>
                <c:pt idx="284">
                  <c:v>4.9700053532855195</c:v>
                </c:pt>
                <c:pt idx="285">
                  <c:v>5.1303753972439967</c:v>
                </c:pt>
                <c:pt idx="286">
                  <c:v>4.9920553925093136</c:v>
                </c:pt>
                <c:pt idx="287">
                  <c:v>6.9827118123280414</c:v>
                </c:pt>
                <c:pt idx="288">
                  <c:v>5.9880190527504773</c:v>
                </c:pt>
                <c:pt idx="289">
                  <c:v>3.9919881112683298</c:v>
                </c:pt>
                <c:pt idx="290">
                  <c:v>6.0840417778173324</c:v>
                </c:pt>
                <c:pt idx="291">
                  <c:v>6.0194571192955193</c:v>
                </c:pt>
                <c:pt idx="292">
                  <c:v>6.1022896422957089</c:v>
                </c:pt>
                <c:pt idx="293">
                  <c:v>5.0392997264935273</c:v>
                </c:pt>
                <c:pt idx="294">
                  <c:v>6.0363952575660953</c:v>
                </c:pt>
                <c:pt idx="295">
                  <c:v>4.9871365582278697</c:v>
                </c:pt>
                <c:pt idx="296">
                  <c:v>6.0088966354097133</c:v>
                </c:pt>
                <c:pt idx="297">
                  <c:v>5.0622778632756074</c:v>
                </c:pt>
                <c:pt idx="298">
                  <c:v>3.9427991134193787</c:v>
                </c:pt>
                <c:pt idx="299">
                  <c:v>4.8892441963980575</c:v>
                </c:pt>
                <c:pt idx="300">
                  <c:v>5.0413153770015597</c:v>
                </c:pt>
                <c:pt idx="301">
                  <c:v>5.0652707849752199</c:v>
                </c:pt>
                <c:pt idx="302">
                  <c:v>5.0239740289447949</c:v>
                </c:pt>
                <c:pt idx="303">
                  <c:v>5.968839313017182</c:v>
                </c:pt>
                <c:pt idx="304">
                  <c:v>6.033625409387751</c:v>
                </c:pt>
                <c:pt idx="305">
                  <c:v>4.9154251328101868</c:v>
                </c:pt>
                <c:pt idx="306">
                  <c:v>5.0960135237818402</c:v>
                </c:pt>
                <c:pt idx="307">
                  <c:v>4.9013306189490136</c:v>
                </c:pt>
                <c:pt idx="308">
                  <c:v>5.8767408005972879</c:v>
                </c:pt>
                <c:pt idx="309">
                  <c:v>3.8219548454663124</c:v>
                </c:pt>
                <c:pt idx="310">
                  <c:v>5.1852830532321361</c:v>
                </c:pt>
                <c:pt idx="311">
                  <c:v>5.9895204201191588</c:v>
                </c:pt>
                <c:pt idx="312">
                  <c:v>6.2069554504064888</c:v>
                </c:pt>
                <c:pt idx="313">
                  <c:v>5.161462854999523</c:v>
                </c:pt>
                <c:pt idx="314">
                  <c:v>5.1493373094064729</c:v>
                </c:pt>
                <c:pt idx="315">
                  <c:v>4.8440120114589256</c:v>
                </c:pt>
                <c:pt idx="316">
                  <c:v>3.9032997784716916</c:v>
                </c:pt>
                <c:pt idx="317">
                  <c:v>4.9576213770016144</c:v>
                </c:pt>
                <c:pt idx="318">
                  <c:v>4.8503244241720846</c:v>
                </c:pt>
                <c:pt idx="319">
                  <c:v>5.9600145107325364</c:v>
                </c:pt>
                <c:pt idx="320">
                  <c:v>5.8987295344287523</c:v>
                </c:pt>
                <c:pt idx="321">
                  <c:v>6.057050866882923</c:v>
                </c:pt>
                <c:pt idx="322">
                  <c:v>6.0487230419033526</c:v>
                </c:pt>
                <c:pt idx="323">
                  <c:v>6.1336847944682846</c:v>
                </c:pt>
                <c:pt idx="324">
                  <c:v>6.9544399674089181</c:v>
                </c:pt>
                <c:pt idx="325">
                  <c:v>4.808816710036723</c:v>
                </c:pt>
                <c:pt idx="326">
                  <c:v>4.9794913942623946</c:v>
                </c:pt>
                <c:pt idx="327">
                  <c:v>6.1644405081891041</c:v>
                </c:pt>
                <c:pt idx="328">
                  <c:v>3.9218760587372112</c:v>
                </c:pt>
                <c:pt idx="329">
                  <c:v>4.8872602261411595</c:v>
                </c:pt>
                <c:pt idx="330">
                  <c:v>4.9853337761105507</c:v>
                </c:pt>
                <c:pt idx="331">
                  <c:v>7.065037717679794</c:v>
                </c:pt>
                <c:pt idx="332">
                  <c:v>5.2737874926974966</c:v>
                </c:pt>
                <c:pt idx="333">
                  <c:v>6.0572261608642428</c:v>
                </c:pt>
                <c:pt idx="334">
                  <c:v>4.8764830148170111</c:v>
                </c:pt>
                <c:pt idx="335">
                  <c:v>5.9679167828210709</c:v>
                </c:pt>
                <c:pt idx="336">
                  <c:v>5.1131043128302176</c:v>
                </c:pt>
                <c:pt idx="337">
                  <c:v>6.1343592522027919</c:v>
                </c:pt>
                <c:pt idx="338">
                  <c:v>6.0301297223411812</c:v>
                </c:pt>
                <c:pt idx="339">
                  <c:v>4.9457066337093911</c:v>
                </c:pt>
                <c:pt idx="340">
                  <c:v>5.0605160671991198</c:v>
                </c:pt>
                <c:pt idx="341">
                  <c:v>5.9550894755082133</c:v>
                </c:pt>
                <c:pt idx="342">
                  <c:v>6.0746855578257133</c:v>
                </c:pt>
                <c:pt idx="343">
                  <c:v>6.0978608957887674</c:v>
                </c:pt>
                <c:pt idx="344">
                  <c:v>5.8756101884225522</c:v>
                </c:pt>
                <c:pt idx="345">
                  <c:v>4.9188368870531995</c:v>
                </c:pt>
                <c:pt idx="346">
                  <c:v>5.0844212910354836</c:v>
                </c:pt>
                <c:pt idx="347">
                  <c:v>4.9181079764859836</c:v>
                </c:pt>
                <c:pt idx="348">
                  <c:v>5.044646254830921</c:v>
                </c:pt>
                <c:pt idx="349">
                  <c:v>5.8356833278369562</c:v>
                </c:pt>
                <c:pt idx="350">
                  <c:v>5.0884302924375566</c:v>
                </c:pt>
                <c:pt idx="351">
                  <c:v>5.0422446718746547</c:v>
                </c:pt>
                <c:pt idx="352">
                  <c:v>4.9106652376792059</c:v>
                </c:pt>
                <c:pt idx="353">
                  <c:v>6.0630771991423824</c:v>
                </c:pt>
                <c:pt idx="354">
                  <c:v>6.1129968480713783</c:v>
                </c:pt>
                <c:pt idx="355">
                  <c:v>6.0094966980013664</c:v>
                </c:pt>
                <c:pt idx="356">
                  <c:v>4.9610035780420514</c:v>
                </c:pt>
                <c:pt idx="357">
                  <c:v>4.9157121492655946</c:v>
                </c:pt>
                <c:pt idx="358">
                  <c:v>5.8033729384724273</c:v>
                </c:pt>
                <c:pt idx="359">
                  <c:v>4.9302084871776231</c:v>
                </c:pt>
                <c:pt idx="360">
                  <c:v>6.1025270978055346</c:v>
                </c:pt>
                <c:pt idx="361">
                  <c:v>5.0724853358064692</c:v>
                </c:pt>
                <c:pt idx="362">
                  <c:v>5.9053768351829614</c:v>
                </c:pt>
                <c:pt idx="363">
                  <c:v>5.926839235613806</c:v>
                </c:pt>
                <c:pt idx="364">
                  <c:v>6.0328040695080274</c:v>
                </c:pt>
                <c:pt idx="365">
                  <c:v>5.0406055666312701</c:v>
                </c:pt>
                <c:pt idx="366">
                  <c:v>4.9025989861004344</c:v>
                </c:pt>
                <c:pt idx="367">
                  <c:v>5.0939324641028891</c:v>
                </c:pt>
                <c:pt idx="368">
                  <c:v>4.9662255802727948</c:v>
                </c:pt>
                <c:pt idx="369">
                  <c:v>4.8765438556883014</c:v>
                </c:pt>
                <c:pt idx="370">
                  <c:v>4.9015945723515708</c:v>
                </c:pt>
                <c:pt idx="371">
                  <c:v>5.9417459041058338</c:v>
                </c:pt>
                <c:pt idx="372">
                  <c:v>4.9331555610057825</c:v>
                </c:pt>
                <c:pt idx="373">
                  <c:v>4.7366043874871453</c:v>
                </c:pt>
                <c:pt idx="374">
                  <c:v>6.0078344154387979</c:v>
                </c:pt>
                <c:pt idx="375">
                  <c:v>6.0603739624748609</c:v>
                </c:pt>
                <c:pt idx="376">
                  <c:v>6.0991121085320419</c:v>
                </c:pt>
                <c:pt idx="377">
                  <c:v>5.9089415303033306</c:v>
                </c:pt>
                <c:pt idx="378">
                  <c:v>5.0495417255407711</c:v>
                </c:pt>
                <c:pt idx="379">
                  <c:v>6.93794890130473</c:v>
                </c:pt>
                <c:pt idx="380">
                  <c:v>6.0602720675591666</c:v>
                </c:pt>
                <c:pt idx="381">
                  <c:v>5.0993048867104873</c:v>
                </c:pt>
                <c:pt idx="382">
                  <c:v>4.9905666272203675</c:v>
                </c:pt>
                <c:pt idx="383">
                  <c:v>6.1090324312273285</c:v>
                </c:pt>
                <c:pt idx="384">
                  <c:v>5.9780361767082599</c:v>
                </c:pt>
                <c:pt idx="385">
                  <c:v>5.8890602924289173</c:v>
                </c:pt>
                <c:pt idx="386">
                  <c:v>5.056646385808234</c:v>
                </c:pt>
                <c:pt idx="387">
                  <c:v>5.284458925171287</c:v>
                </c:pt>
                <c:pt idx="388">
                  <c:v>5.1113687628078281</c:v>
                </c:pt>
                <c:pt idx="389">
                  <c:v>4.9183420952386276</c:v>
                </c:pt>
                <c:pt idx="390">
                  <c:v>5.030871823904314</c:v>
                </c:pt>
                <c:pt idx="391">
                  <c:v>4.8765433610651749</c:v>
                </c:pt>
                <c:pt idx="392">
                  <c:v>7.0124312933875661</c:v>
                </c:pt>
                <c:pt idx="393">
                  <c:v>7.0693160854753057</c:v>
                </c:pt>
                <c:pt idx="394">
                  <c:v>6.9371584626636755</c:v>
                </c:pt>
                <c:pt idx="395">
                  <c:v>6.0898278013704354</c:v>
                </c:pt>
                <c:pt idx="396">
                  <c:v>6.0426094078689827</c:v>
                </c:pt>
                <c:pt idx="397">
                  <c:v>5.9611745825794724</c:v>
                </c:pt>
                <c:pt idx="398">
                  <c:v>7.0412816939840264</c:v>
                </c:pt>
                <c:pt idx="399">
                  <c:v>4.9447325019026582</c:v>
                </c:pt>
                <c:pt idx="400">
                  <c:v>6.2075700765928659</c:v>
                </c:pt>
                <c:pt idx="401">
                  <c:v>5.0110885648677801</c:v>
                </c:pt>
                <c:pt idx="402">
                  <c:v>4.9623912758908704</c:v>
                </c:pt>
                <c:pt idx="403">
                  <c:v>6.9167230423717045</c:v>
                </c:pt>
                <c:pt idx="404">
                  <c:v>5.9956243446709019</c:v>
                </c:pt>
                <c:pt idx="405">
                  <c:v>3.9446384928454195</c:v>
                </c:pt>
                <c:pt idx="406">
                  <c:v>3.9870649018227589</c:v>
                </c:pt>
                <c:pt idx="407">
                  <c:v>5.0742112911596777</c:v>
                </c:pt>
                <c:pt idx="408">
                  <c:v>1.7600022717928372</c:v>
                </c:pt>
                <c:pt idx="409">
                  <c:v>5.9346645359748305</c:v>
                </c:pt>
                <c:pt idx="410">
                  <c:v>6.0801702978504073</c:v>
                </c:pt>
                <c:pt idx="411">
                  <c:v>5.0839586460577895</c:v>
                </c:pt>
                <c:pt idx="412">
                  <c:v>4.9558819881149896</c:v>
                </c:pt>
                <c:pt idx="413">
                  <c:v>4.8559971816590046</c:v>
                </c:pt>
                <c:pt idx="414">
                  <c:v>5.0313173037435819</c:v>
                </c:pt>
                <c:pt idx="415">
                  <c:v>6.1549351502432712</c:v>
                </c:pt>
                <c:pt idx="416">
                  <c:v>4.8927343512993247</c:v>
                </c:pt>
                <c:pt idx="417">
                  <c:v>5.8652685620920781</c:v>
                </c:pt>
                <c:pt idx="418">
                  <c:v>4.7475229628460927</c:v>
                </c:pt>
                <c:pt idx="419">
                  <c:v>6.1363518309517993</c:v>
                </c:pt>
                <c:pt idx="420">
                  <c:v>6.2697334490773962</c:v>
                </c:pt>
                <c:pt idx="421">
                  <c:v>6.0831397145979444</c:v>
                </c:pt>
                <c:pt idx="422">
                  <c:v>4.8768987171812483</c:v>
                </c:pt>
                <c:pt idx="423">
                  <c:v>4.9988179492249971</c:v>
                </c:pt>
                <c:pt idx="424">
                  <c:v>5.1273767037704152</c:v>
                </c:pt>
                <c:pt idx="425">
                  <c:v>6.0770025717210405</c:v>
                </c:pt>
                <c:pt idx="426">
                  <c:v>5.0407145733156238</c:v>
                </c:pt>
                <c:pt idx="427">
                  <c:v>6.0124995025209005</c:v>
                </c:pt>
                <c:pt idx="428">
                  <c:v>4.95841273892598</c:v>
                </c:pt>
                <c:pt idx="429">
                  <c:v>5.9838594759965966</c:v>
                </c:pt>
                <c:pt idx="430">
                  <c:v>5.1257689989498116</c:v>
                </c:pt>
                <c:pt idx="431">
                  <c:v>6.1442562333815882</c:v>
                </c:pt>
                <c:pt idx="432">
                  <c:v>4.9527336553167869</c:v>
                </c:pt>
                <c:pt idx="433">
                  <c:v>4.8830023036906276</c:v>
                </c:pt>
                <c:pt idx="434">
                  <c:v>6.0424297172320465</c:v>
                </c:pt>
                <c:pt idx="435">
                  <c:v>7.0730754837387675</c:v>
                </c:pt>
                <c:pt idx="436">
                  <c:v>5.1106844708238697</c:v>
                </c:pt>
                <c:pt idx="437">
                  <c:v>4.9243033397499616</c:v>
                </c:pt>
                <c:pt idx="438">
                  <c:v>7.142942607756491</c:v>
                </c:pt>
                <c:pt idx="439">
                  <c:v>4.9392168898925641</c:v>
                </c:pt>
                <c:pt idx="440">
                  <c:v>4.9087847398426492</c:v>
                </c:pt>
                <c:pt idx="441">
                  <c:v>4.9832167176425646</c:v>
                </c:pt>
                <c:pt idx="442">
                  <c:v>4.976125437489392</c:v>
                </c:pt>
                <c:pt idx="443">
                  <c:v>6.9590335179699041</c:v>
                </c:pt>
                <c:pt idx="444">
                  <c:v>5.9202017444246904</c:v>
                </c:pt>
                <c:pt idx="445">
                  <c:v>4.9046364658992578</c:v>
                </c:pt>
                <c:pt idx="446">
                  <c:v>4.7539650406056442</c:v>
                </c:pt>
                <c:pt idx="447">
                  <c:v>4.8640678087130818</c:v>
                </c:pt>
                <c:pt idx="448">
                  <c:v>4.9710367438373471</c:v>
                </c:pt>
                <c:pt idx="449">
                  <c:v>5.046449567870396</c:v>
                </c:pt>
                <c:pt idx="450">
                  <c:v>6.0133449032723583</c:v>
                </c:pt>
                <c:pt idx="451">
                  <c:v>4.9882724840849413</c:v>
                </c:pt>
                <c:pt idx="452">
                  <c:v>6.0699392675876291</c:v>
                </c:pt>
                <c:pt idx="453">
                  <c:v>5.9879698578349432</c:v>
                </c:pt>
                <c:pt idx="454">
                  <c:v>4.8818067925804618</c:v>
                </c:pt>
                <c:pt idx="455">
                  <c:v>5.1562528075250125</c:v>
                </c:pt>
                <c:pt idx="456">
                  <c:v>5.0053652935344379</c:v>
                </c:pt>
                <c:pt idx="457">
                  <c:v>5.8727677645621474</c:v>
                </c:pt>
                <c:pt idx="458">
                  <c:v>5.0227111564056708</c:v>
                </c:pt>
                <c:pt idx="459">
                  <c:v>5.1001965331268959</c:v>
                </c:pt>
                <c:pt idx="460">
                  <c:v>5.9644951933147752</c:v>
                </c:pt>
                <c:pt idx="461">
                  <c:v>5.932992221100875</c:v>
                </c:pt>
                <c:pt idx="462">
                  <c:v>5.9399762568550099</c:v>
                </c:pt>
                <c:pt idx="463">
                  <c:v>6.2171061850162017</c:v>
                </c:pt>
                <c:pt idx="464">
                  <c:v>4.9800882624731342</c:v>
                </c:pt>
                <c:pt idx="465">
                  <c:v>5.8591225369495694</c:v>
                </c:pt>
                <c:pt idx="466">
                  <c:v>7.0686959545127346</c:v>
                </c:pt>
                <c:pt idx="467">
                  <c:v>4.8891792626019779</c:v>
                </c:pt>
                <c:pt idx="468">
                  <c:v>2.0789821234075188</c:v>
                </c:pt>
                <c:pt idx="469">
                  <c:v>5.144535094063575</c:v>
                </c:pt>
                <c:pt idx="470">
                  <c:v>5.8112500471987278</c:v>
                </c:pt>
                <c:pt idx="471">
                  <c:v>5.0253740512820171</c:v>
                </c:pt>
                <c:pt idx="472">
                  <c:v>5.0038668143292737</c:v>
                </c:pt>
                <c:pt idx="473">
                  <c:v>5.9977404018087057</c:v>
                </c:pt>
                <c:pt idx="474">
                  <c:v>4.9569426596837083</c:v>
                </c:pt>
                <c:pt idx="475">
                  <c:v>7.1971207960538592</c:v>
                </c:pt>
                <c:pt idx="476">
                  <c:v>5.9641893202534995</c:v>
                </c:pt>
                <c:pt idx="477">
                  <c:v>7.0047404854594966</c:v>
                </c:pt>
                <c:pt idx="478">
                  <c:v>6.0773687954956026</c:v>
                </c:pt>
                <c:pt idx="479">
                  <c:v>4.8875322584532306</c:v>
                </c:pt>
                <c:pt idx="480">
                  <c:v>4.8729472162900382</c:v>
                </c:pt>
                <c:pt idx="481">
                  <c:v>4.955627760016867</c:v>
                </c:pt>
                <c:pt idx="482">
                  <c:v>4.0566347213905187</c:v>
                </c:pt>
                <c:pt idx="483">
                  <c:v>4.8760667485759575</c:v>
                </c:pt>
                <c:pt idx="484">
                  <c:v>5.1049491871044372</c:v>
                </c:pt>
                <c:pt idx="485">
                  <c:v>5.7092205972022043</c:v>
                </c:pt>
                <c:pt idx="486">
                  <c:v>4.9594590522043731</c:v>
                </c:pt>
                <c:pt idx="487">
                  <c:v>4.9845482241049632</c:v>
                </c:pt>
                <c:pt idx="488">
                  <c:v>6.0150473616108071</c:v>
                </c:pt>
                <c:pt idx="489">
                  <c:v>4.174348773748056</c:v>
                </c:pt>
                <c:pt idx="490">
                  <c:v>6.9914659195835176</c:v>
                </c:pt>
                <c:pt idx="491">
                  <c:v>5.9400590151004051</c:v>
                </c:pt>
                <c:pt idx="492">
                  <c:v>4.9900032418761509</c:v>
                </c:pt>
                <c:pt idx="493">
                  <c:v>5.9498861002395707</c:v>
                </c:pt>
                <c:pt idx="494">
                  <c:v>4.8429191507405829</c:v>
                </c:pt>
                <c:pt idx="495">
                  <c:v>6.010832665229441</c:v>
                </c:pt>
                <c:pt idx="496">
                  <c:v>5.0234638782179513</c:v>
                </c:pt>
                <c:pt idx="497">
                  <c:v>5.9791631416215747</c:v>
                </c:pt>
                <c:pt idx="498">
                  <c:v>5.8490511271560894</c:v>
                </c:pt>
                <c:pt idx="499">
                  <c:v>4.8819831735620518</c:v>
                </c:pt>
                <c:pt idx="500">
                  <c:v>5.99716102455087</c:v>
                </c:pt>
                <c:pt idx="501">
                  <c:v>4.9830454288073369</c:v>
                </c:pt>
                <c:pt idx="502">
                  <c:v>4.9558829228165244</c:v>
                </c:pt>
                <c:pt idx="503">
                  <c:v>6.0557071127145399</c:v>
                </c:pt>
                <c:pt idx="504">
                  <c:v>6.0418878242014182</c:v>
                </c:pt>
                <c:pt idx="505">
                  <c:v>4.9783429164453548</c:v>
                </c:pt>
                <c:pt idx="506">
                  <c:v>5.8539470259696778</c:v>
                </c:pt>
                <c:pt idx="507">
                  <c:v>5.9516471558783577</c:v>
                </c:pt>
                <c:pt idx="508">
                  <c:v>5.9596734318073983</c:v>
                </c:pt>
                <c:pt idx="509">
                  <c:v>4.9641565685302149</c:v>
                </c:pt>
                <c:pt idx="510">
                  <c:v>6.9370217508740888</c:v>
                </c:pt>
                <c:pt idx="511">
                  <c:v>4.9280293121360668</c:v>
                </c:pt>
                <c:pt idx="512">
                  <c:v>4.9972366971669961</c:v>
                </c:pt>
                <c:pt idx="513">
                  <c:v>4.9268457886269648</c:v>
                </c:pt>
                <c:pt idx="514">
                  <c:v>5.9818627829398769</c:v>
                </c:pt>
                <c:pt idx="515">
                  <c:v>5.8209843973272148</c:v>
                </c:pt>
                <c:pt idx="516">
                  <c:v>5.9691501049851512</c:v>
                </c:pt>
                <c:pt idx="517">
                  <c:v>5.864935341405797</c:v>
                </c:pt>
                <c:pt idx="518">
                  <c:v>4.9843645371099674</c:v>
                </c:pt>
                <c:pt idx="519">
                  <c:v>4.09479677216813</c:v>
                </c:pt>
                <c:pt idx="520">
                  <c:v>6.1147883997539214</c:v>
                </c:pt>
                <c:pt idx="521">
                  <c:v>6.1117924724012855</c:v>
                </c:pt>
                <c:pt idx="522">
                  <c:v>5.1571815579707181</c:v>
                </c:pt>
                <c:pt idx="523">
                  <c:v>6.0620587845262177</c:v>
                </c:pt>
                <c:pt idx="524">
                  <c:v>4.9390376884006697</c:v>
                </c:pt>
                <c:pt idx="525">
                  <c:v>6.0779986422861629</c:v>
                </c:pt>
                <c:pt idx="526">
                  <c:v>6.0761853083399675</c:v>
                </c:pt>
                <c:pt idx="527">
                  <c:v>5.836437396181795</c:v>
                </c:pt>
                <c:pt idx="528">
                  <c:v>5.089248381933249</c:v>
                </c:pt>
                <c:pt idx="529">
                  <c:v>4.8920484673590945</c:v>
                </c:pt>
                <c:pt idx="530">
                  <c:v>5.0069960578263428</c:v>
                </c:pt>
                <c:pt idx="531">
                  <c:v>5.0705690019953193</c:v>
                </c:pt>
                <c:pt idx="532">
                  <c:v>5.9311126295820946</c:v>
                </c:pt>
                <c:pt idx="533">
                  <c:v>6.1071057909256607</c:v>
                </c:pt>
                <c:pt idx="534">
                  <c:v>7.1907957106306268</c:v>
                </c:pt>
                <c:pt idx="535">
                  <c:v>5.967270109776976</c:v>
                </c:pt>
                <c:pt idx="536">
                  <c:v>6.8813375871100027</c:v>
                </c:pt>
                <c:pt idx="537">
                  <c:v>6.1119370594381772</c:v>
                </c:pt>
                <c:pt idx="538">
                  <c:v>4.9812148007211556</c:v>
                </c:pt>
                <c:pt idx="539">
                  <c:v>4.9429126646839352</c:v>
                </c:pt>
                <c:pt idx="540">
                  <c:v>4.9320082423108946</c:v>
                </c:pt>
                <c:pt idx="541">
                  <c:v>6.0601631704968622</c:v>
                </c:pt>
                <c:pt idx="542">
                  <c:v>6.0556232472663432</c:v>
                </c:pt>
                <c:pt idx="543">
                  <c:v>5.1511358126799012</c:v>
                </c:pt>
                <c:pt idx="544">
                  <c:v>6.1293449254959667</c:v>
                </c:pt>
                <c:pt idx="545">
                  <c:v>4.9243692058923338</c:v>
                </c:pt>
                <c:pt idx="546">
                  <c:v>6.1027027544233379</c:v>
                </c:pt>
                <c:pt idx="547">
                  <c:v>6.0018490055461706</c:v>
                </c:pt>
                <c:pt idx="548">
                  <c:v>5.9663473222944203</c:v>
                </c:pt>
                <c:pt idx="549">
                  <c:v>6.1427213087020904</c:v>
                </c:pt>
                <c:pt idx="550">
                  <c:v>5.0047458646239464</c:v>
                </c:pt>
                <c:pt idx="551">
                  <c:v>5.8326016540467611</c:v>
                </c:pt>
                <c:pt idx="552">
                  <c:v>5.0193388266842085</c:v>
                </c:pt>
                <c:pt idx="553">
                  <c:v>6.0663035500825657</c:v>
                </c:pt>
                <c:pt idx="554">
                  <c:v>7.0357569489189942</c:v>
                </c:pt>
                <c:pt idx="555">
                  <c:v>5.9285337621616705</c:v>
                </c:pt>
                <c:pt idx="556">
                  <c:v>4.1234153126108888</c:v>
                </c:pt>
                <c:pt idx="557">
                  <c:v>5.8927965560181841</c:v>
                </c:pt>
                <c:pt idx="558">
                  <c:v>4.9718655718117288</c:v>
                </c:pt>
                <c:pt idx="559">
                  <c:v>7.1178711692216599</c:v>
                </c:pt>
                <c:pt idx="560">
                  <c:v>5.92141689027462</c:v>
                </c:pt>
                <c:pt idx="561">
                  <c:v>6.9773375268472062</c:v>
                </c:pt>
                <c:pt idx="562">
                  <c:v>7.0036115778822632</c:v>
                </c:pt>
                <c:pt idx="563">
                  <c:v>6.0197897211962292</c:v>
                </c:pt>
                <c:pt idx="564">
                  <c:v>6.1235295898718629</c:v>
                </c:pt>
                <c:pt idx="565">
                  <c:v>5.0927209876131938</c:v>
                </c:pt>
                <c:pt idx="566">
                  <c:v>5.1281030787682367</c:v>
                </c:pt>
                <c:pt idx="567">
                  <c:v>6.8730891328019066</c:v>
                </c:pt>
                <c:pt idx="568">
                  <c:v>5.9686392646104345</c:v>
                </c:pt>
                <c:pt idx="569">
                  <c:v>4.971714375725556</c:v>
                </c:pt>
                <c:pt idx="570">
                  <c:v>5.8854602361295667</c:v>
                </c:pt>
                <c:pt idx="571">
                  <c:v>7.0398045222047756</c:v>
                </c:pt>
                <c:pt idx="572">
                  <c:v>5.9335411534803546</c:v>
                </c:pt>
                <c:pt idx="573">
                  <c:v>6.0035084357344166</c:v>
                </c:pt>
                <c:pt idx="574">
                  <c:v>7.1612744563814932</c:v>
                </c:pt>
                <c:pt idx="575">
                  <c:v>5.9452007217816636</c:v>
                </c:pt>
                <c:pt idx="576">
                  <c:v>7.055492723278312</c:v>
                </c:pt>
                <c:pt idx="577">
                  <c:v>5.8867145007453718</c:v>
                </c:pt>
                <c:pt idx="578">
                  <c:v>6.980548029110988</c:v>
                </c:pt>
                <c:pt idx="579">
                  <c:v>5.8752362394512714</c:v>
                </c:pt>
                <c:pt idx="580">
                  <c:v>5.8603638362785668</c:v>
                </c:pt>
                <c:pt idx="581">
                  <c:v>5.8677916975003814</c:v>
                </c:pt>
                <c:pt idx="582">
                  <c:v>5.9861379334826763</c:v>
                </c:pt>
                <c:pt idx="583">
                  <c:v>7.0565611747645836</c:v>
                </c:pt>
                <c:pt idx="584">
                  <c:v>5.8768930731023001</c:v>
                </c:pt>
                <c:pt idx="585">
                  <c:v>7.0621236672951646</c:v>
                </c:pt>
                <c:pt idx="586">
                  <c:v>5.089166866244045</c:v>
                </c:pt>
                <c:pt idx="587">
                  <c:v>5.9636188153419383</c:v>
                </c:pt>
                <c:pt idx="588">
                  <c:v>4.8648246674029867</c:v>
                </c:pt>
                <c:pt idx="589">
                  <c:v>6.0143599725321515</c:v>
                </c:pt>
                <c:pt idx="590">
                  <c:v>4.8998527678363448</c:v>
                </c:pt>
                <c:pt idx="591">
                  <c:v>6.8797959050947535</c:v>
                </c:pt>
                <c:pt idx="592">
                  <c:v>5.029047616128377</c:v>
                </c:pt>
                <c:pt idx="593">
                  <c:v>7.0347699581971446</c:v>
                </c:pt>
                <c:pt idx="594">
                  <c:v>4.8291517897494671</c:v>
                </c:pt>
                <c:pt idx="595">
                  <c:v>4.031403780656226</c:v>
                </c:pt>
                <c:pt idx="596">
                  <c:v>6.1269427418719715</c:v>
                </c:pt>
                <c:pt idx="597">
                  <c:v>4.9142345699245169</c:v>
                </c:pt>
                <c:pt idx="598">
                  <c:v>6.1943912085750386</c:v>
                </c:pt>
                <c:pt idx="599">
                  <c:v>6.7639804192699682</c:v>
                </c:pt>
                <c:pt idx="600">
                  <c:v>5.7436495356945851</c:v>
                </c:pt>
                <c:pt idx="601">
                  <c:v>5.9006472239152803</c:v>
                </c:pt>
                <c:pt idx="602">
                  <c:v>6.8903700477329828</c:v>
                </c:pt>
                <c:pt idx="603">
                  <c:v>5.9847035858058328</c:v>
                </c:pt>
                <c:pt idx="604">
                  <c:v>6.1014073460012321</c:v>
                </c:pt>
                <c:pt idx="605">
                  <c:v>6.9476119244658614</c:v>
                </c:pt>
                <c:pt idx="606">
                  <c:v>5.9183023279340778</c:v>
                </c:pt>
                <c:pt idx="607">
                  <c:v>6.9949621686481036</c:v>
                </c:pt>
                <c:pt idx="608">
                  <c:v>4.8182265516766343</c:v>
                </c:pt>
                <c:pt idx="609">
                  <c:v>6.0707340111036299</c:v>
                </c:pt>
                <c:pt idx="610">
                  <c:v>5.0141668880829009</c:v>
                </c:pt>
                <c:pt idx="611">
                  <c:v>6.0134030899012973</c:v>
                </c:pt>
                <c:pt idx="612">
                  <c:v>5.7998851498196577</c:v>
                </c:pt>
                <c:pt idx="613">
                  <c:v>5.9863590122170613</c:v>
                </c:pt>
                <c:pt idx="614">
                  <c:v>4.9356085556178781</c:v>
                </c:pt>
                <c:pt idx="615">
                  <c:v>4.8900164311956553</c:v>
                </c:pt>
                <c:pt idx="616">
                  <c:v>7.1121094455930685</c:v>
                </c:pt>
                <c:pt idx="617">
                  <c:v>4.8710757785302858</c:v>
                </c:pt>
                <c:pt idx="618">
                  <c:v>6.023599076821478</c:v>
                </c:pt>
                <c:pt idx="619">
                  <c:v>3.030097819577978</c:v>
                </c:pt>
                <c:pt idx="620">
                  <c:v>5.0438936748186922</c:v>
                </c:pt>
                <c:pt idx="621">
                  <c:v>4.8237993741904495</c:v>
                </c:pt>
                <c:pt idx="622">
                  <c:v>5.0269797190947543</c:v>
                </c:pt>
                <c:pt idx="623">
                  <c:v>6.0275580308425916</c:v>
                </c:pt>
                <c:pt idx="624">
                  <c:v>7.1054191459963194</c:v>
                </c:pt>
                <c:pt idx="625">
                  <c:v>6.0152244191930873</c:v>
                </c:pt>
                <c:pt idx="626">
                  <c:v>6.0580160494681419</c:v>
                </c:pt>
                <c:pt idx="627">
                  <c:v>6.9082141625157547</c:v>
                </c:pt>
                <c:pt idx="628">
                  <c:v>5.0435697615513568</c:v>
                </c:pt>
                <c:pt idx="629">
                  <c:v>4.8827759191360167</c:v>
                </c:pt>
                <c:pt idx="630">
                  <c:v>4.9174590834182901</c:v>
                </c:pt>
                <c:pt idx="631">
                  <c:v>6.0576916913892918</c:v>
                </c:pt>
                <c:pt idx="632">
                  <c:v>5.8728421651923384</c:v>
                </c:pt>
                <c:pt idx="633">
                  <c:v>6.9778702641966337</c:v>
                </c:pt>
                <c:pt idx="634">
                  <c:v>5.9792270220913908</c:v>
                </c:pt>
                <c:pt idx="635">
                  <c:v>5.997971492755326</c:v>
                </c:pt>
                <c:pt idx="636">
                  <c:v>5.0679384448401565</c:v>
                </c:pt>
                <c:pt idx="637">
                  <c:v>6.9044002479461462</c:v>
                </c:pt>
                <c:pt idx="638">
                  <c:v>5.7691517499992608</c:v>
                </c:pt>
                <c:pt idx="639">
                  <c:v>7.096003893743382</c:v>
                </c:pt>
                <c:pt idx="640">
                  <c:v>4.9027893845836044</c:v>
                </c:pt>
                <c:pt idx="641">
                  <c:v>6.0980826625567834</c:v>
                </c:pt>
                <c:pt idx="642">
                  <c:v>5.9331690126096257</c:v>
                </c:pt>
                <c:pt idx="643">
                  <c:v>5.0583774211971164</c:v>
                </c:pt>
                <c:pt idx="644">
                  <c:v>5.9593419816854363</c:v>
                </c:pt>
                <c:pt idx="645">
                  <c:v>4.9867513000124042</c:v>
                </c:pt>
                <c:pt idx="646">
                  <c:v>6.0504145213085572</c:v>
                </c:pt>
                <c:pt idx="647">
                  <c:v>5.0125710764540754</c:v>
                </c:pt>
                <c:pt idx="648">
                  <c:v>6.0214535101464532</c:v>
                </c:pt>
                <c:pt idx="649">
                  <c:v>7.013959127165835</c:v>
                </c:pt>
                <c:pt idx="650">
                  <c:v>5.1181213579530249</c:v>
                </c:pt>
                <c:pt idx="651">
                  <c:v>5.8899754547095826</c:v>
                </c:pt>
                <c:pt idx="652">
                  <c:v>7.0677057228342699</c:v>
                </c:pt>
                <c:pt idx="653">
                  <c:v>5.0297295721735544</c:v>
                </c:pt>
                <c:pt idx="654">
                  <c:v>5.9521601889807512</c:v>
                </c:pt>
                <c:pt idx="655">
                  <c:v>5.8833212712352916</c:v>
                </c:pt>
                <c:pt idx="656">
                  <c:v>6.1239388457086781</c:v>
                </c:pt>
                <c:pt idx="657">
                  <c:v>5.8651524146257907</c:v>
                </c:pt>
                <c:pt idx="658">
                  <c:v>5.8538554542600352</c:v>
                </c:pt>
                <c:pt idx="659">
                  <c:v>5.9516342646591021</c:v>
                </c:pt>
                <c:pt idx="660">
                  <c:v>4.8607865505231613</c:v>
                </c:pt>
                <c:pt idx="661">
                  <c:v>7.0454579172298297</c:v>
                </c:pt>
                <c:pt idx="662">
                  <c:v>4.9037723259106434</c:v>
                </c:pt>
                <c:pt idx="663">
                  <c:v>5.9861973870843954</c:v>
                </c:pt>
                <c:pt idx="664">
                  <c:v>5.8659859631213065</c:v>
                </c:pt>
                <c:pt idx="665">
                  <c:v>7.1094859313012355</c:v>
                </c:pt>
                <c:pt idx="666">
                  <c:v>6.0834839658043203</c:v>
                </c:pt>
                <c:pt idx="667">
                  <c:v>6.012323560754127</c:v>
                </c:pt>
                <c:pt idx="668">
                  <c:v>6.0103491501487598</c:v>
                </c:pt>
                <c:pt idx="669">
                  <c:v>4.8930707977688952</c:v>
                </c:pt>
                <c:pt idx="670">
                  <c:v>6.0846969200908889</c:v>
                </c:pt>
                <c:pt idx="671">
                  <c:v>6.0475143532445577</c:v>
                </c:pt>
                <c:pt idx="672">
                  <c:v>4.0327839027679211</c:v>
                </c:pt>
                <c:pt idx="673">
                  <c:v>4.9152307621705917</c:v>
                </c:pt>
                <c:pt idx="674">
                  <c:v>6.1517742633524408</c:v>
                </c:pt>
                <c:pt idx="675">
                  <c:v>5.789051433536323</c:v>
                </c:pt>
                <c:pt idx="676">
                  <c:v>5.9784793280406721</c:v>
                </c:pt>
                <c:pt idx="677">
                  <c:v>4.9556223170404055</c:v>
                </c:pt>
                <c:pt idx="678">
                  <c:v>4.979502177483476</c:v>
                </c:pt>
                <c:pt idx="679">
                  <c:v>5.7842397610883216</c:v>
                </c:pt>
                <c:pt idx="680">
                  <c:v>5.077071400108883</c:v>
                </c:pt>
                <c:pt idx="681">
                  <c:v>4.852694990757815</c:v>
                </c:pt>
                <c:pt idx="682">
                  <c:v>6.1605018138623064</c:v>
                </c:pt>
                <c:pt idx="683">
                  <c:v>4.9516845940075589</c:v>
                </c:pt>
                <c:pt idx="684">
                  <c:v>5.8998864420676229</c:v>
                </c:pt>
                <c:pt idx="685">
                  <c:v>6.9503215079455209</c:v>
                </c:pt>
                <c:pt idx="686">
                  <c:v>7.0085356648546933</c:v>
                </c:pt>
                <c:pt idx="687">
                  <c:v>3.9778997973554486</c:v>
                </c:pt>
                <c:pt idx="688">
                  <c:v>4.8399531395618522</c:v>
                </c:pt>
                <c:pt idx="689">
                  <c:v>6.16960366363051</c:v>
                </c:pt>
                <c:pt idx="690">
                  <c:v>5.9020755639961333</c:v>
                </c:pt>
                <c:pt idx="691">
                  <c:v>5.985567106456573</c:v>
                </c:pt>
                <c:pt idx="692">
                  <c:v>5.240237020499106</c:v>
                </c:pt>
                <c:pt idx="693">
                  <c:v>6.1141759877248854</c:v>
                </c:pt>
                <c:pt idx="694">
                  <c:v>5.9548714025466847</c:v>
                </c:pt>
                <c:pt idx="695">
                  <c:v>5.2447775159633645</c:v>
                </c:pt>
                <c:pt idx="696">
                  <c:v>5.8271842296203431</c:v>
                </c:pt>
                <c:pt idx="697">
                  <c:v>4.9248630477986426</c:v>
                </c:pt>
                <c:pt idx="698">
                  <c:v>5.7138960203288987</c:v>
                </c:pt>
                <c:pt idx="699">
                  <c:v>6.062984410203522</c:v>
                </c:pt>
                <c:pt idx="700">
                  <c:v>5.071695813188084</c:v>
                </c:pt>
                <c:pt idx="701">
                  <c:v>5.0393378175552161</c:v>
                </c:pt>
                <c:pt idx="702">
                  <c:v>5.8839010460873507</c:v>
                </c:pt>
                <c:pt idx="703">
                  <c:v>4.9160592059606332</c:v>
                </c:pt>
                <c:pt idx="704">
                  <c:v>7.001859122520858</c:v>
                </c:pt>
                <c:pt idx="705">
                  <c:v>5.9583545022985716</c:v>
                </c:pt>
                <c:pt idx="706">
                  <c:v>5.9485476612870398</c:v>
                </c:pt>
                <c:pt idx="707">
                  <c:v>5.7671051006638931</c:v>
                </c:pt>
                <c:pt idx="708">
                  <c:v>4.1087069779647249</c:v>
                </c:pt>
                <c:pt idx="709">
                  <c:v>5.8203750980134012</c:v>
                </c:pt>
                <c:pt idx="710">
                  <c:v>5.9367377825053653</c:v>
                </c:pt>
                <c:pt idx="711">
                  <c:v>5.9574234285617624</c:v>
                </c:pt>
                <c:pt idx="712">
                  <c:v>4.8816364909532748</c:v>
                </c:pt>
                <c:pt idx="713">
                  <c:v>4.966545764200375</c:v>
                </c:pt>
                <c:pt idx="714">
                  <c:v>7.0494294721736388</c:v>
                </c:pt>
                <c:pt idx="715">
                  <c:v>5.997431175120207</c:v>
                </c:pt>
                <c:pt idx="716">
                  <c:v>6.1705777825956272</c:v>
                </c:pt>
                <c:pt idx="717">
                  <c:v>7.0527832885124928</c:v>
                </c:pt>
                <c:pt idx="718">
                  <c:v>4.9335782430709729</c:v>
                </c:pt>
                <c:pt idx="719">
                  <c:v>5.9674931496114079</c:v>
                </c:pt>
                <c:pt idx="720">
                  <c:v>5.1360164023790382</c:v>
                </c:pt>
                <c:pt idx="721">
                  <c:v>5.0405618615207493</c:v>
                </c:pt>
                <c:pt idx="722">
                  <c:v>6.1827801898479207</c:v>
                </c:pt>
                <c:pt idx="723">
                  <c:v>5.0406365618325184</c:v>
                </c:pt>
                <c:pt idx="724">
                  <c:v>5.8609124534205419</c:v>
                </c:pt>
                <c:pt idx="725">
                  <c:v>5.9130838098849345</c:v>
                </c:pt>
                <c:pt idx="726">
                  <c:v>5.0553302493755554</c:v>
                </c:pt>
                <c:pt idx="727">
                  <c:v>6.015942493556719</c:v>
                </c:pt>
                <c:pt idx="728">
                  <c:v>5.0513696387559595</c:v>
                </c:pt>
                <c:pt idx="729">
                  <c:v>7.1277211120771549</c:v>
                </c:pt>
                <c:pt idx="730">
                  <c:v>7.1348879575039135</c:v>
                </c:pt>
                <c:pt idx="731">
                  <c:v>7.0458042552761073</c:v>
                </c:pt>
                <c:pt idx="732">
                  <c:v>6.046245962920473</c:v>
                </c:pt>
                <c:pt idx="733">
                  <c:v>3.8544608910195532</c:v>
                </c:pt>
                <c:pt idx="734">
                  <c:v>7.1207531400216855</c:v>
                </c:pt>
                <c:pt idx="735">
                  <c:v>7.0614368142566812</c:v>
                </c:pt>
                <c:pt idx="736">
                  <c:v>5.9369369946447179</c:v>
                </c:pt>
                <c:pt idx="737">
                  <c:v>4.9066319239341363</c:v>
                </c:pt>
                <c:pt idx="738">
                  <c:v>5.1040302234343242</c:v>
                </c:pt>
                <c:pt idx="739">
                  <c:v>6.1776592527352356</c:v>
                </c:pt>
                <c:pt idx="740">
                  <c:v>7.0776761252081224</c:v>
                </c:pt>
                <c:pt idx="741">
                  <c:v>4.9735445587587606</c:v>
                </c:pt>
                <c:pt idx="742">
                  <c:v>3.9638340558752256</c:v>
                </c:pt>
                <c:pt idx="743">
                  <c:v>4.0282277927915757</c:v>
                </c:pt>
                <c:pt idx="744">
                  <c:v>6.978967942546995</c:v>
                </c:pt>
                <c:pt idx="745">
                  <c:v>5.9287941896140728</c:v>
                </c:pt>
                <c:pt idx="746">
                  <c:v>3.9830338785105321</c:v>
                </c:pt>
                <c:pt idx="747">
                  <c:v>5.9372304509173057</c:v>
                </c:pt>
                <c:pt idx="748">
                  <c:v>6.0499601620319892</c:v>
                </c:pt>
                <c:pt idx="749">
                  <c:v>6.0287392345630169</c:v>
                </c:pt>
                <c:pt idx="750">
                  <c:v>3.9785380952296183</c:v>
                </c:pt>
                <c:pt idx="751">
                  <c:v>4.8558962662704142</c:v>
                </c:pt>
                <c:pt idx="752">
                  <c:v>5.8872295683394498</c:v>
                </c:pt>
                <c:pt idx="753">
                  <c:v>4.0286727066372725</c:v>
                </c:pt>
                <c:pt idx="754">
                  <c:v>6.1007255320643781</c:v>
                </c:pt>
                <c:pt idx="755">
                  <c:v>6.1142092748035726</c:v>
                </c:pt>
                <c:pt idx="756">
                  <c:v>6.7647031750322757</c:v>
                </c:pt>
                <c:pt idx="757">
                  <c:v>4.8579594584882555</c:v>
                </c:pt>
                <c:pt idx="758">
                  <c:v>6.9875093373978263</c:v>
                </c:pt>
                <c:pt idx="759">
                  <c:v>6.0348146587576332</c:v>
                </c:pt>
                <c:pt idx="760">
                  <c:v>7.0420993778991186</c:v>
                </c:pt>
                <c:pt idx="761">
                  <c:v>6.9875112787319225</c:v>
                </c:pt>
                <c:pt idx="762">
                  <c:v>6.1150124822105631</c:v>
                </c:pt>
                <c:pt idx="763">
                  <c:v>6.1124094299093414</c:v>
                </c:pt>
                <c:pt idx="764">
                  <c:v>5.1241850666039879</c:v>
                </c:pt>
                <c:pt idx="765">
                  <c:v>5.9969423478700232</c:v>
                </c:pt>
                <c:pt idx="766">
                  <c:v>4.0288689739788888</c:v>
                </c:pt>
                <c:pt idx="767">
                  <c:v>7.1657511020335001</c:v>
                </c:pt>
                <c:pt idx="768">
                  <c:v>6.0248594583677448</c:v>
                </c:pt>
                <c:pt idx="769">
                  <c:v>6.0620097518403826</c:v>
                </c:pt>
                <c:pt idx="770">
                  <c:v>6.0631564673239033</c:v>
                </c:pt>
                <c:pt idx="771">
                  <c:v>5.9602952854345395</c:v>
                </c:pt>
                <c:pt idx="772">
                  <c:v>6.022706270436017</c:v>
                </c:pt>
                <c:pt idx="773">
                  <c:v>7.1620687599989177</c:v>
                </c:pt>
                <c:pt idx="774">
                  <c:v>5.8756435383941801</c:v>
                </c:pt>
                <c:pt idx="775">
                  <c:v>4.9639742620202281</c:v>
                </c:pt>
                <c:pt idx="776">
                  <c:v>6.1838736033217536</c:v>
                </c:pt>
                <c:pt idx="777">
                  <c:v>5.9639107702160201</c:v>
                </c:pt>
                <c:pt idx="778">
                  <c:v>4.9368071688932904</c:v>
                </c:pt>
                <c:pt idx="779">
                  <c:v>5.0621748528312072</c:v>
                </c:pt>
                <c:pt idx="780">
                  <c:v>5.856551748277699</c:v>
                </c:pt>
                <c:pt idx="781">
                  <c:v>4.9505028481606432</c:v>
                </c:pt>
                <c:pt idx="782">
                  <c:v>5.8756016234608008</c:v>
                </c:pt>
                <c:pt idx="783">
                  <c:v>4.0509162802827658</c:v>
                </c:pt>
                <c:pt idx="784">
                  <c:v>5.0178427292095273</c:v>
                </c:pt>
                <c:pt idx="785">
                  <c:v>4.8952445371369961</c:v>
                </c:pt>
                <c:pt idx="786">
                  <c:v>4.8973502476456012</c:v>
                </c:pt>
                <c:pt idx="787">
                  <c:v>6.0263964982924492</c:v>
                </c:pt>
                <c:pt idx="788">
                  <c:v>4.8297668107338509</c:v>
                </c:pt>
                <c:pt idx="789">
                  <c:v>6.0141083970772442</c:v>
                </c:pt>
                <c:pt idx="790">
                  <c:v>4.0112816868375889</c:v>
                </c:pt>
                <c:pt idx="791">
                  <c:v>6.0379931744781041</c:v>
                </c:pt>
                <c:pt idx="792">
                  <c:v>4.9770591439736682</c:v>
                </c:pt>
                <c:pt idx="793">
                  <c:v>6.0007836547433433</c:v>
                </c:pt>
                <c:pt idx="794">
                  <c:v>5.9813766968460298</c:v>
                </c:pt>
                <c:pt idx="795">
                  <c:v>6.1089928407146417</c:v>
                </c:pt>
                <c:pt idx="796">
                  <c:v>6.122121980080216</c:v>
                </c:pt>
                <c:pt idx="797">
                  <c:v>4.1055534308908053</c:v>
                </c:pt>
                <c:pt idx="798">
                  <c:v>6.0349238720149927</c:v>
                </c:pt>
                <c:pt idx="799">
                  <c:v>4.9973939743865516</c:v>
                </c:pt>
                <c:pt idx="800">
                  <c:v>5.1067164232216999</c:v>
                </c:pt>
                <c:pt idx="801">
                  <c:v>6.1934782714673293</c:v>
                </c:pt>
                <c:pt idx="802">
                  <c:v>6.006057224487952</c:v>
                </c:pt>
                <c:pt idx="803">
                  <c:v>6.8252063077723424</c:v>
                </c:pt>
                <c:pt idx="804">
                  <c:v>6.0643699451897941</c:v>
                </c:pt>
                <c:pt idx="805">
                  <c:v>6.043804330140671</c:v>
                </c:pt>
                <c:pt idx="806">
                  <c:v>5.116290615961133</c:v>
                </c:pt>
                <c:pt idx="807">
                  <c:v>5.9150392433899839</c:v>
                </c:pt>
                <c:pt idx="808">
                  <c:v>5.1623743612193653</c:v>
                </c:pt>
                <c:pt idx="809">
                  <c:v>5.1306127339122742</c:v>
                </c:pt>
                <c:pt idx="810">
                  <c:v>5.0023875144900858</c:v>
                </c:pt>
                <c:pt idx="811">
                  <c:v>6.0000242496083205</c:v>
                </c:pt>
                <c:pt idx="812">
                  <c:v>3.7911259443148637</c:v>
                </c:pt>
                <c:pt idx="813">
                  <c:v>6.1140787335836873</c:v>
                </c:pt>
                <c:pt idx="814">
                  <c:v>5.0190798336904745</c:v>
                </c:pt>
                <c:pt idx="815">
                  <c:v>6.0280939314997095</c:v>
                </c:pt>
                <c:pt idx="816">
                  <c:v>7.1194130032016325</c:v>
                </c:pt>
                <c:pt idx="817">
                  <c:v>6.068858140036915</c:v>
                </c:pt>
                <c:pt idx="818">
                  <c:v>6.9848586749113659</c:v>
                </c:pt>
                <c:pt idx="819">
                  <c:v>6.1318449598935976</c:v>
                </c:pt>
                <c:pt idx="820">
                  <c:v>5.0177554448607999</c:v>
                </c:pt>
                <c:pt idx="821">
                  <c:v>5.005417260514502</c:v>
                </c:pt>
                <c:pt idx="822">
                  <c:v>6.1003114967705532</c:v>
                </c:pt>
                <c:pt idx="823">
                  <c:v>6.0207621682761232</c:v>
                </c:pt>
                <c:pt idx="824">
                  <c:v>5.9971871915989308</c:v>
                </c:pt>
                <c:pt idx="825">
                  <c:v>6.0593277441675006</c:v>
                </c:pt>
                <c:pt idx="826">
                  <c:v>5.0494401026641951</c:v>
                </c:pt>
                <c:pt idx="827">
                  <c:v>5.9066200881038089</c:v>
                </c:pt>
                <c:pt idx="828">
                  <c:v>6.0512585448868128</c:v>
                </c:pt>
                <c:pt idx="829">
                  <c:v>6.0614691645466703</c:v>
                </c:pt>
                <c:pt idx="830">
                  <c:v>5.0018436561632678</c:v>
                </c:pt>
                <c:pt idx="831">
                  <c:v>7.1135294376657425</c:v>
                </c:pt>
                <c:pt idx="832">
                  <c:v>5.0589578424734363</c:v>
                </c:pt>
                <c:pt idx="833">
                  <c:v>5.1023055811659974</c:v>
                </c:pt>
                <c:pt idx="834">
                  <c:v>5.0237768638580169</c:v>
                </c:pt>
                <c:pt idx="835">
                  <c:v>5.0701649328321849</c:v>
                </c:pt>
                <c:pt idx="836">
                  <c:v>6.0126540138380058</c:v>
                </c:pt>
                <c:pt idx="837">
                  <c:v>7.0630501682634481</c:v>
                </c:pt>
                <c:pt idx="838">
                  <c:v>4.9567667568314393</c:v>
                </c:pt>
                <c:pt idx="839">
                  <c:v>4.9640115256924764</c:v>
                </c:pt>
                <c:pt idx="840">
                  <c:v>5.0414799214725585</c:v>
                </c:pt>
                <c:pt idx="841">
                  <c:v>4.8477445209853309</c:v>
                </c:pt>
                <c:pt idx="842">
                  <c:v>5.1204633024957893</c:v>
                </c:pt>
                <c:pt idx="843">
                  <c:v>4.9043029658105182</c:v>
                </c:pt>
                <c:pt idx="844">
                  <c:v>5.0210310522825052</c:v>
                </c:pt>
                <c:pt idx="845">
                  <c:v>4.0134933752688369</c:v>
                </c:pt>
                <c:pt idx="846">
                  <c:v>5.9650133408702271</c:v>
                </c:pt>
                <c:pt idx="847">
                  <c:v>5.9473834304652478</c:v>
                </c:pt>
                <c:pt idx="848">
                  <c:v>6.9080573491115524</c:v>
                </c:pt>
                <c:pt idx="849">
                  <c:v>4.964684548303544</c:v>
                </c:pt>
                <c:pt idx="850">
                  <c:v>4.0003085600062898</c:v>
                </c:pt>
                <c:pt idx="851">
                  <c:v>6.1365548992331327</c:v>
                </c:pt>
                <c:pt idx="852">
                  <c:v>5.9173810314860118</c:v>
                </c:pt>
                <c:pt idx="853">
                  <c:v>6.0059492824562994</c:v>
                </c:pt>
                <c:pt idx="854">
                  <c:v>6.0967667345234391</c:v>
                </c:pt>
                <c:pt idx="855">
                  <c:v>6.0779837494195537</c:v>
                </c:pt>
                <c:pt idx="856">
                  <c:v>5.0498823639165868</c:v>
                </c:pt>
                <c:pt idx="857">
                  <c:v>3.9670239660117046</c:v>
                </c:pt>
                <c:pt idx="858">
                  <c:v>4.9188677274937422</c:v>
                </c:pt>
                <c:pt idx="859">
                  <c:v>5.9754812553843504</c:v>
                </c:pt>
                <c:pt idx="860">
                  <c:v>5.2847792141901859</c:v>
                </c:pt>
                <c:pt idx="861">
                  <c:v>5.8712158286888041</c:v>
                </c:pt>
                <c:pt idx="862">
                  <c:v>6.0301776063826606</c:v>
                </c:pt>
                <c:pt idx="863">
                  <c:v>4.8600828078083245</c:v>
                </c:pt>
                <c:pt idx="864">
                  <c:v>6.0030917777830952</c:v>
                </c:pt>
                <c:pt idx="865">
                  <c:v>6.0585358897557144</c:v>
                </c:pt>
                <c:pt idx="866">
                  <c:v>6.0553802398676622</c:v>
                </c:pt>
                <c:pt idx="867">
                  <c:v>6.9486274246651636</c:v>
                </c:pt>
                <c:pt idx="868">
                  <c:v>5.0723803958118152</c:v>
                </c:pt>
                <c:pt idx="869">
                  <c:v>3.8382710890088449</c:v>
                </c:pt>
                <c:pt idx="870">
                  <c:v>5.9516736415968037</c:v>
                </c:pt>
                <c:pt idx="871">
                  <c:v>5.9050895065832449</c:v>
                </c:pt>
                <c:pt idx="872">
                  <c:v>7.0277092355540942</c:v>
                </c:pt>
                <c:pt idx="873">
                  <c:v>6.1219900202880373</c:v>
                </c:pt>
                <c:pt idx="874">
                  <c:v>6.9758359612121961</c:v>
                </c:pt>
                <c:pt idx="875">
                  <c:v>6.1207044627386988</c:v>
                </c:pt>
                <c:pt idx="876">
                  <c:v>6.1228377691718059</c:v>
                </c:pt>
                <c:pt idx="877">
                  <c:v>6.0578642215836851</c:v>
                </c:pt>
                <c:pt idx="878">
                  <c:v>4.844428767952019</c:v>
                </c:pt>
                <c:pt idx="879">
                  <c:v>6.9535215737507841</c:v>
                </c:pt>
                <c:pt idx="880">
                  <c:v>5.8793146336187467</c:v>
                </c:pt>
                <c:pt idx="881">
                  <c:v>6.1475129872445873</c:v>
                </c:pt>
                <c:pt idx="882">
                  <c:v>6.0948848599190208</c:v>
                </c:pt>
                <c:pt idx="883">
                  <c:v>6.0572501991170133</c:v>
                </c:pt>
                <c:pt idx="884">
                  <c:v>5.9295454518542305</c:v>
                </c:pt>
                <c:pt idx="885">
                  <c:v>7.1386272851174475</c:v>
                </c:pt>
                <c:pt idx="886">
                  <c:v>5.9000831533647382</c:v>
                </c:pt>
                <c:pt idx="887">
                  <c:v>6.1030878441115597</c:v>
                </c:pt>
                <c:pt idx="888">
                  <c:v>6.1534991448845968</c:v>
                </c:pt>
                <c:pt idx="889">
                  <c:v>4.9525350316955956</c:v>
                </c:pt>
                <c:pt idx="890">
                  <c:v>4.0460458038214098</c:v>
                </c:pt>
                <c:pt idx="891">
                  <c:v>4.978883531507444</c:v>
                </c:pt>
                <c:pt idx="892">
                  <c:v>4.8946780322056389</c:v>
                </c:pt>
                <c:pt idx="893">
                  <c:v>6.0859875182900653</c:v>
                </c:pt>
                <c:pt idx="894">
                  <c:v>4.071537229956494</c:v>
                </c:pt>
                <c:pt idx="895">
                  <c:v>5.0762892116051761</c:v>
                </c:pt>
                <c:pt idx="896">
                  <c:v>4.9652310584216712</c:v>
                </c:pt>
                <c:pt idx="897">
                  <c:v>6.959391390476414</c:v>
                </c:pt>
                <c:pt idx="898">
                  <c:v>6.09071639422221</c:v>
                </c:pt>
                <c:pt idx="899">
                  <c:v>6.0470404938803224</c:v>
                </c:pt>
                <c:pt idx="900">
                  <c:v>7.0601493640390673</c:v>
                </c:pt>
                <c:pt idx="901">
                  <c:v>6.1641700429508361</c:v>
                </c:pt>
                <c:pt idx="902">
                  <c:v>7.1149391367029571</c:v>
                </c:pt>
                <c:pt idx="903">
                  <c:v>4.8354568202326949</c:v>
                </c:pt>
                <c:pt idx="904">
                  <c:v>4.9854366724571113</c:v>
                </c:pt>
                <c:pt idx="905">
                  <c:v>6.0306160859396494</c:v>
                </c:pt>
                <c:pt idx="906">
                  <c:v>5.8142483484516987</c:v>
                </c:pt>
                <c:pt idx="907">
                  <c:v>6.0442836243940237</c:v>
                </c:pt>
                <c:pt idx="908">
                  <c:v>4.6804394592949006</c:v>
                </c:pt>
                <c:pt idx="909">
                  <c:v>5.863265140007738</c:v>
                </c:pt>
                <c:pt idx="910">
                  <c:v>4.8624745337823629</c:v>
                </c:pt>
                <c:pt idx="911">
                  <c:v>4.9438793167837964</c:v>
                </c:pt>
                <c:pt idx="912">
                  <c:v>5.7433109205260191</c:v>
                </c:pt>
                <c:pt idx="913">
                  <c:v>6.1871972408344833</c:v>
                </c:pt>
                <c:pt idx="914">
                  <c:v>4.9824725284955491</c:v>
                </c:pt>
                <c:pt idx="915">
                  <c:v>6.2691389178725165</c:v>
                </c:pt>
                <c:pt idx="916">
                  <c:v>5.0204197926301886</c:v>
                </c:pt>
                <c:pt idx="917">
                  <c:v>5.00337170300197</c:v>
                </c:pt>
                <c:pt idx="918">
                  <c:v>5.0079438060825865</c:v>
                </c:pt>
                <c:pt idx="919">
                  <c:v>5.6966615132923168</c:v>
                </c:pt>
                <c:pt idx="920">
                  <c:v>6.1076127106342115</c:v>
                </c:pt>
                <c:pt idx="921">
                  <c:v>7.0739069323434629</c:v>
                </c:pt>
                <c:pt idx="922">
                  <c:v>5.0312090146245625</c:v>
                </c:pt>
                <c:pt idx="923">
                  <c:v>4.7094172847978832</c:v>
                </c:pt>
                <c:pt idx="924">
                  <c:v>6.7958250194545382</c:v>
                </c:pt>
                <c:pt idx="925">
                  <c:v>6.990700684606252</c:v>
                </c:pt>
                <c:pt idx="926">
                  <c:v>6.970441882034244</c:v>
                </c:pt>
                <c:pt idx="927">
                  <c:v>6.0299929431429211</c:v>
                </c:pt>
                <c:pt idx="928">
                  <c:v>6.312741385739864</c:v>
                </c:pt>
                <c:pt idx="929">
                  <c:v>6.053224781560635</c:v>
                </c:pt>
                <c:pt idx="930">
                  <c:v>5.174974989632152</c:v>
                </c:pt>
                <c:pt idx="931">
                  <c:v>5.1747556327084725</c:v>
                </c:pt>
                <c:pt idx="932">
                  <c:v>5.0801015988579152</c:v>
                </c:pt>
                <c:pt idx="933">
                  <c:v>5.7619396679183419</c:v>
                </c:pt>
                <c:pt idx="934">
                  <c:v>5.9213350058212937</c:v>
                </c:pt>
                <c:pt idx="935">
                  <c:v>6.0514727486381394</c:v>
                </c:pt>
                <c:pt idx="936">
                  <c:v>5.0174263034462028</c:v>
                </c:pt>
                <c:pt idx="937">
                  <c:v>5.9095902500144684</c:v>
                </c:pt>
                <c:pt idx="938">
                  <c:v>7.017391779112593</c:v>
                </c:pt>
                <c:pt idx="939">
                  <c:v>5.0872515108566176</c:v>
                </c:pt>
                <c:pt idx="940">
                  <c:v>5.9071605665773559</c:v>
                </c:pt>
                <c:pt idx="941">
                  <c:v>5.1005728985179317</c:v>
                </c:pt>
                <c:pt idx="942">
                  <c:v>4.8685566156969546</c:v>
                </c:pt>
                <c:pt idx="943">
                  <c:v>6.156165719566113</c:v>
                </c:pt>
                <c:pt idx="944">
                  <c:v>5.8647693934870828</c:v>
                </c:pt>
                <c:pt idx="945">
                  <c:v>5.9843310335340147</c:v>
                </c:pt>
                <c:pt idx="946">
                  <c:v>7.0155951698143131</c:v>
                </c:pt>
                <c:pt idx="947">
                  <c:v>6.1119619242546346</c:v>
                </c:pt>
                <c:pt idx="948">
                  <c:v>5.9713134176075293</c:v>
                </c:pt>
                <c:pt idx="949">
                  <c:v>5.1921044650501988</c:v>
                </c:pt>
                <c:pt idx="950">
                  <c:v>4.9517360047542516</c:v>
                </c:pt>
                <c:pt idx="951">
                  <c:v>4.8640810556490699</c:v>
                </c:pt>
                <c:pt idx="952">
                  <c:v>4.9567643580437837</c:v>
                </c:pt>
                <c:pt idx="953">
                  <c:v>5.8654044329838504</c:v>
                </c:pt>
                <c:pt idx="954">
                  <c:v>4.988333021295885</c:v>
                </c:pt>
                <c:pt idx="955">
                  <c:v>6.037842134619325</c:v>
                </c:pt>
                <c:pt idx="956">
                  <c:v>4.9807179799714874</c:v>
                </c:pt>
                <c:pt idx="957">
                  <c:v>6.1216887893635166</c:v>
                </c:pt>
                <c:pt idx="958">
                  <c:v>4.920965192217726</c:v>
                </c:pt>
                <c:pt idx="959">
                  <c:v>5.8224171278872481</c:v>
                </c:pt>
                <c:pt idx="960">
                  <c:v>7.1666342108251042</c:v>
                </c:pt>
                <c:pt idx="961">
                  <c:v>6.8545225042416424</c:v>
                </c:pt>
                <c:pt idx="962">
                  <c:v>5.9519490479133728</c:v>
                </c:pt>
                <c:pt idx="963">
                  <c:v>6.0461278506257115</c:v>
                </c:pt>
                <c:pt idx="964">
                  <c:v>4.8565759163348075</c:v>
                </c:pt>
                <c:pt idx="965">
                  <c:v>5.908935374250512</c:v>
                </c:pt>
                <c:pt idx="966">
                  <c:v>5.7845222864471335</c:v>
                </c:pt>
                <c:pt idx="967">
                  <c:v>6.065377642791554</c:v>
                </c:pt>
                <c:pt idx="968">
                  <c:v>6.0504867611032829</c:v>
                </c:pt>
                <c:pt idx="969">
                  <c:v>7.0101787763309931</c:v>
                </c:pt>
                <c:pt idx="970">
                  <c:v>4.9968760136781425</c:v>
                </c:pt>
                <c:pt idx="971">
                  <c:v>4.9214411420843795</c:v>
                </c:pt>
                <c:pt idx="972">
                  <c:v>7.0553312560323498</c:v>
                </c:pt>
                <c:pt idx="973">
                  <c:v>4.9716817422120565</c:v>
                </c:pt>
                <c:pt idx="974">
                  <c:v>4.839310295791619</c:v>
                </c:pt>
                <c:pt idx="975">
                  <c:v>6.0168149141882461</c:v>
                </c:pt>
                <c:pt idx="976">
                  <c:v>5.0547430271997049</c:v>
                </c:pt>
                <c:pt idx="977">
                  <c:v>6.0755411528715326</c:v>
                </c:pt>
                <c:pt idx="978">
                  <c:v>5.1546814934983587</c:v>
                </c:pt>
                <c:pt idx="979">
                  <c:v>5.1836480298721712</c:v>
                </c:pt>
                <c:pt idx="980">
                  <c:v>5.0004366801315658</c:v>
                </c:pt>
                <c:pt idx="981">
                  <c:v>4.9802795943895353</c:v>
                </c:pt>
                <c:pt idx="982">
                  <c:v>5.0451624051801991</c:v>
                </c:pt>
                <c:pt idx="983">
                  <c:v>6.1000362388280109</c:v>
                </c:pt>
                <c:pt idx="984">
                  <c:v>4.9029631448508253</c:v>
                </c:pt>
                <c:pt idx="985">
                  <c:v>6.0547112734188975</c:v>
                </c:pt>
                <c:pt idx="986">
                  <c:v>4.9525064308429583</c:v>
                </c:pt>
                <c:pt idx="987">
                  <c:v>5.8488194596365819</c:v>
                </c:pt>
                <c:pt idx="988">
                  <c:v>6.0460220774941016</c:v>
                </c:pt>
                <c:pt idx="989">
                  <c:v>4.9966243890728173</c:v>
                </c:pt>
                <c:pt idx="990">
                  <c:v>5.9987729705280586</c:v>
                </c:pt>
                <c:pt idx="991">
                  <c:v>4.9817285880514799</c:v>
                </c:pt>
                <c:pt idx="992">
                  <c:v>6.0300810672983651</c:v>
                </c:pt>
                <c:pt idx="993">
                  <c:v>5.0245837035817873</c:v>
                </c:pt>
                <c:pt idx="994">
                  <c:v>4.6962356533655987</c:v>
                </c:pt>
                <c:pt idx="995">
                  <c:v>6.0806397384360347</c:v>
                </c:pt>
                <c:pt idx="996">
                  <c:v>6.0384929110691239</c:v>
                </c:pt>
                <c:pt idx="997">
                  <c:v>4.8857231785234889</c:v>
                </c:pt>
                <c:pt idx="998">
                  <c:v>5.9624120036314681</c:v>
                </c:pt>
                <c:pt idx="999">
                  <c:v>6.0876370056968581</c:v>
                </c:pt>
                <c:pt idx="1000">
                  <c:v>6.00750628026596</c:v>
                </c:pt>
                <c:pt idx="1001">
                  <c:v>6.0598575542225008</c:v>
                </c:pt>
                <c:pt idx="1002">
                  <c:v>6.118437401325262</c:v>
                </c:pt>
                <c:pt idx="1003">
                  <c:v>5.9781909117473671</c:v>
                </c:pt>
                <c:pt idx="1004">
                  <c:v>6.0182884812290451</c:v>
                </c:pt>
                <c:pt idx="1005">
                  <c:v>5.037060460229128</c:v>
                </c:pt>
                <c:pt idx="1006">
                  <c:v>6.034238654538699</c:v>
                </c:pt>
                <c:pt idx="1007">
                  <c:v>5.1357186012924458</c:v>
                </c:pt>
                <c:pt idx="1008">
                  <c:v>5.9683448823380134</c:v>
                </c:pt>
                <c:pt idx="1009">
                  <c:v>5.0172715460527808</c:v>
                </c:pt>
                <c:pt idx="1010">
                  <c:v>4.9366325934173743</c:v>
                </c:pt>
                <c:pt idx="1011">
                  <c:v>4.8600545734431915</c:v>
                </c:pt>
                <c:pt idx="1012">
                  <c:v>4.9682970041332046</c:v>
                </c:pt>
                <c:pt idx="1013">
                  <c:v>5.0105608574516065</c:v>
                </c:pt>
                <c:pt idx="1014">
                  <c:v>4.9423992236916554</c:v>
                </c:pt>
                <c:pt idx="1015">
                  <c:v>5.9445190236830756</c:v>
                </c:pt>
                <c:pt idx="1016">
                  <c:v>6.0801427988981338</c:v>
                </c:pt>
                <c:pt idx="1017">
                  <c:v>5.1329012867515802</c:v>
                </c:pt>
                <c:pt idx="1018">
                  <c:v>6.004748960132086</c:v>
                </c:pt>
                <c:pt idx="1019">
                  <c:v>4.9595290805728469</c:v>
                </c:pt>
                <c:pt idx="1020">
                  <c:v>5.9740008951881265</c:v>
                </c:pt>
                <c:pt idx="1021">
                  <c:v>5.0004176042915685</c:v>
                </c:pt>
                <c:pt idx="1022">
                  <c:v>6.2001474738687818</c:v>
                </c:pt>
                <c:pt idx="1023">
                  <c:v>4.8819066741586612</c:v>
                </c:pt>
                <c:pt idx="1024">
                  <c:v>4.9495867344097784</c:v>
                </c:pt>
                <c:pt idx="1025">
                  <c:v>5.9159248409278229</c:v>
                </c:pt>
                <c:pt idx="1026">
                  <c:v>5.0048953091008892</c:v>
                </c:pt>
                <c:pt idx="1027">
                  <c:v>6.053598410237119</c:v>
                </c:pt>
                <c:pt idx="1028">
                  <c:v>6.0332816011095884</c:v>
                </c:pt>
                <c:pt idx="1029">
                  <c:v>5.1112891395629223</c:v>
                </c:pt>
                <c:pt idx="1030">
                  <c:v>4.9223358018006733</c:v>
                </c:pt>
                <c:pt idx="1031">
                  <c:v>4.8852460864742495</c:v>
                </c:pt>
                <c:pt idx="1032">
                  <c:v>6.1218974448867742</c:v>
                </c:pt>
                <c:pt idx="1033">
                  <c:v>5.0881465611073518</c:v>
                </c:pt>
                <c:pt idx="1034">
                  <c:v>5.1133327137901867</c:v>
                </c:pt>
                <c:pt idx="1035">
                  <c:v>4.9415019277643166</c:v>
                </c:pt>
                <c:pt idx="1036">
                  <c:v>6.0480171780265195</c:v>
                </c:pt>
                <c:pt idx="1037">
                  <c:v>5.2435714191000455</c:v>
                </c:pt>
                <c:pt idx="1038">
                  <c:v>4.8690930718758567</c:v>
                </c:pt>
                <c:pt idx="1039">
                  <c:v>5.9460558520155624</c:v>
                </c:pt>
                <c:pt idx="1040">
                  <c:v>6.9279696608418897</c:v>
                </c:pt>
                <c:pt idx="1041">
                  <c:v>6.8402356024202238</c:v>
                </c:pt>
                <c:pt idx="1042">
                  <c:v>6.0364155301419746</c:v>
                </c:pt>
                <c:pt idx="1043">
                  <c:v>4.9785560646985081</c:v>
                </c:pt>
                <c:pt idx="1044">
                  <c:v>4.9392511284872533</c:v>
                </c:pt>
                <c:pt idx="1045">
                  <c:v>5.1020693786701008</c:v>
                </c:pt>
                <c:pt idx="1046">
                  <c:v>4.8769594640057843</c:v>
                </c:pt>
                <c:pt idx="1047">
                  <c:v>6.0933982771622617</c:v>
                </c:pt>
                <c:pt idx="1048">
                  <c:v>5.0848456254239593</c:v>
                </c:pt>
                <c:pt idx="1049">
                  <c:v>6.1289201227865018</c:v>
                </c:pt>
                <c:pt idx="1050">
                  <c:v>5.061692310818291</c:v>
                </c:pt>
                <c:pt idx="1051">
                  <c:v>6.0369344369402622</c:v>
                </c:pt>
                <c:pt idx="1052">
                  <c:v>5.8428009143610389</c:v>
                </c:pt>
                <c:pt idx="1053">
                  <c:v>6.0150586130096784</c:v>
                </c:pt>
                <c:pt idx="1054">
                  <c:v>5.9586639380716191</c:v>
                </c:pt>
                <c:pt idx="1055">
                  <c:v>4.8692216019165215</c:v>
                </c:pt>
                <c:pt idx="1056">
                  <c:v>5.8464858747693063</c:v>
                </c:pt>
                <c:pt idx="1057">
                  <c:v>6.1958178944125901</c:v>
                </c:pt>
                <c:pt idx="1058">
                  <c:v>5.9768001325465256</c:v>
                </c:pt>
                <c:pt idx="1059">
                  <c:v>5.0355992473164193</c:v>
                </c:pt>
                <c:pt idx="1060">
                  <c:v>7.03602977681029</c:v>
                </c:pt>
                <c:pt idx="1061">
                  <c:v>7.2141396315667778</c:v>
                </c:pt>
                <c:pt idx="1062">
                  <c:v>5.942366251177579</c:v>
                </c:pt>
                <c:pt idx="1063">
                  <c:v>6.994436044260433</c:v>
                </c:pt>
                <c:pt idx="1064">
                  <c:v>6.0101999717973174</c:v>
                </c:pt>
                <c:pt idx="1065">
                  <c:v>6.920836631288986</c:v>
                </c:pt>
                <c:pt idx="1066">
                  <c:v>5.0941478421408126</c:v>
                </c:pt>
                <c:pt idx="1067">
                  <c:v>6.9227427207498522</c:v>
                </c:pt>
                <c:pt idx="1068">
                  <c:v>5.7758711596886636</c:v>
                </c:pt>
                <c:pt idx="1069">
                  <c:v>6.0936985955903538</c:v>
                </c:pt>
                <c:pt idx="1070">
                  <c:v>6.0399325857778914</c:v>
                </c:pt>
                <c:pt idx="1071">
                  <c:v>5.9436313347603509</c:v>
                </c:pt>
                <c:pt idx="1072">
                  <c:v>6.0937451638781353</c:v>
                </c:pt>
                <c:pt idx="1073">
                  <c:v>6.9709166776727223</c:v>
                </c:pt>
                <c:pt idx="1074">
                  <c:v>6.0497560704099413</c:v>
                </c:pt>
                <c:pt idx="1075">
                  <c:v>7.048980394854695</c:v>
                </c:pt>
                <c:pt idx="1076">
                  <c:v>4.9620480362098647</c:v>
                </c:pt>
                <c:pt idx="1077">
                  <c:v>5.8404736875863117</c:v>
                </c:pt>
                <c:pt idx="1078">
                  <c:v>6.0149249696513252</c:v>
                </c:pt>
                <c:pt idx="1079">
                  <c:v>1.8020404022741703</c:v>
                </c:pt>
                <c:pt idx="1080">
                  <c:v>4.9608694385285821</c:v>
                </c:pt>
                <c:pt idx="1081">
                  <c:v>2.0842096056649915</c:v>
                </c:pt>
                <c:pt idx="1082">
                  <c:v>2.0579764488184389</c:v>
                </c:pt>
                <c:pt idx="1083">
                  <c:v>4.9480537703392278</c:v>
                </c:pt>
                <c:pt idx="1084">
                  <c:v>4.9716474125309302</c:v>
                </c:pt>
                <c:pt idx="1085">
                  <c:v>4.7815276216284008</c:v>
                </c:pt>
                <c:pt idx="1086">
                  <c:v>5.0884955727283394</c:v>
                </c:pt>
                <c:pt idx="1087">
                  <c:v>4.8789376459622398</c:v>
                </c:pt>
                <c:pt idx="1088">
                  <c:v>4.0228247636492869</c:v>
                </c:pt>
                <c:pt idx="1089">
                  <c:v>5.0087963483019209</c:v>
                </c:pt>
                <c:pt idx="1090">
                  <c:v>3.9926765530203046</c:v>
                </c:pt>
                <c:pt idx="1091">
                  <c:v>4.9913314043258907</c:v>
                </c:pt>
                <c:pt idx="1092">
                  <c:v>7.0678872191635858</c:v>
                </c:pt>
                <c:pt idx="1093">
                  <c:v>3.8762940355032804</c:v>
                </c:pt>
                <c:pt idx="1094">
                  <c:v>5.969322668158707</c:v>
                </c:pt>
                <c:pt idx="1095">
                  <c:v>6.1297201505746903</c:v>
                </c:pt>
                <c:pt idx="1096">
                  <c:v>6.8308096943748362</c:v>
                </c:pt>
                <c:pt idx="1097">
                  <c:v>6.9983263017224955</c:v>
                </c:pt>
                <c:pt idx="1098">
                  <c:v>6.0903983451463075</c:v>
                </c:pt>
                <c:pt idx="1099">
                  <c:v>6.0540902055188912</c:v>
                </c:pt>
                <c:pt idx="1100">
                  <c:v>6.0275675224655831</c:v>
                </c:pt>
                <c:pt idx="1101">
                  <c:v>6.1304209594871697</c:v>
                </c:pt>
                <c:pt idx="1102">
                  <c:v>6.9535174674094327</c:v>
                </c:pt>
                <c:pt idx="1103">
                  <c:v>6.1367203196466846</c:v>
                </c:pt>
                <c:pt idx="1104">
                  <c:v>5.0017461076024583</c:v>
                </c:pt>
                <c:pt idx="1105">
                  <c:v>6.0006581460278072</c:v>
                </c:pt>
                <c:pt idx="1106">
                  <c:v>6.8578150117009073</c:v>
                </c:pt>
                <c:pt idx="1107">
                  <c:v>5.9670126782502821</c:v>
                </c:pt>
                <c:pt idx="1108">
                  <c:v>6.0370172988503681</c:v>
                </c:pt>
                <c:pt idx="1109">
                  <c:v>4.9646233495839143</c:v>
                </c:pt>
                <c:pt idx="1110">
                  <c:v>5.0113204694098581</c:v>
                </c:pt>
                <c:pt idx="1111">
                  <c:v>4.8511085198431552</c:v>
                </c:pt>
                <c:pt idx="1112">
                  <c:v>4.9958837406795205</c:v>
                </c:pt>
                <c:pt idx="1113">
                  <c:v>5.0639348083019051</c:v>
                </c:pt>
                <c:pt idx="1114">
                  <c:v>6.0695405520546863</c:v>
                </c:pt>
                <c:pt idx="1115">
                  <c:v>5.1033911301702064</c:v>
                </c:pt>
                <c:pt idx="1116">
                  <c:v>4.0188097688577864</c:v>
                </c:pt>
                <c:pt idx="1117">
                  <c:v>5.1182746610944214</c:v>
                </c:pt>
                <c:pt idx="1118">
                  <c:v>4.9880447994259285</c:v>
                </c:pt>
                <c:pt idx="1119">
                  <c:v>6.8322729272032952</c:v>
                </c:pt>
                <c:pt idx="1120">
                  <c:v>5.1579672963696765</c:v>
                </c:pt>
                <c:pt idx="1121">
                  <c:v>5.0989848067206358</c:v>
                </c:pt>
                <c:pt idx="1122">
                  <c:v>4.8097196849473303</c:v>
                </c:pt>
                <c:pt idx="1123">
                  <c:v>5.1994404060124344</c:v>
                </c:pt>
                <c:pt idx="1124">
                  <c:v>4.7613275411598508</c:v>
                </c:pt>
                <c:pt idx="1125">
                  <c:v>6.0459858455444291</c:v>
                </c:pt>
                <c:pt idx="1126">
                  <c:v>5.8297177066167007</c:v>
                </c:pt>
                <c:pt idx="1127">
                  <c:v>6.0142923320201715</c:v>
                </c:pt>
                <c:pt idx="1128">
                  <c:v>6.969184187942087</c:v>
                </c:pt>
                <c:pt idx="1129">
                  <c:v>6.0390193979694047</c:v>
                </c:pt>
                <c:pt idx="1130">
                  <c:v>6.1264251904412861</c:v>
                </c:pt>
                <c:pt idx="1131">
                  <c:v>4.9596808429260513</c:v>
                </c:pt>
                <c:pt idx="1132">
                  <c:v>4.9198843581666987</c:v>
                </c:pt>
                <c:pt idx="1133">
                  <c:v>5.1170589232618093</c:v>
                </c:pt>
                <c:pt idx="1134">
                  <c:v>5.9140812401904794</c:v>
                </c:pt>
                <c:pt idx="1135">
                  <c:v>5.9634419156769241</c:v>
                </c:pt>
                <c:pt idx="1136">
                  <c:v>4.855980348851431</c:v>
                </c:pt>
                <c:pt idx="1137">
                  <c:v>6.2731576660144057</c:v>
                </c:pt>
                <c:pt idx="1138">
                  <c:v>6.0494790695568303</c:v>
                </c:pt>
                <c:pt idx="1139">
                  <c:v>4.9291168063837816</c:v>
                </c:pt>
                <c:pt idx="1140">
                  <c:v>5.7806460050958348</c:v>
                </c:pt>
                <c:pt idx="1141">
                  <c:v>4.8952100478639116</c:v>
                </c:pt>
                <c:pt idx="1142">
                  <c:v>4.849459012689521</c:v>
                </c:pt>
                <c:pt idx="1143">
                  <c:v>1.880461267430666</c:v>
                </c:pt>
                <c:pt idx="1144">
                  <c:v>4.9628394212364748</c:v>
                </c:pt>
                <c:pt idx="1145">
                  <c:v>4.9883034826306547</c:v>
                </c:pt>
                <c:pt idx="1146">
                  <c:v>4.9571178109552472</c:v>
                </c:pt>
                <c:pt idx="1147">
                  <c:v>4.9096935146834015</c:v>
                </c:pt>
                <c:pt idx="1148">
                  <c:v>4.9176829499414758</c:v>
                </c:pt>
                <c:pt idx="1149">
                  <c:v>5.9930982989444725</c:v>
                </c:pt>
                <c:pt idx="1150">
                  <c:v>5.8668775259382651</c:v>
                </c:pt>
                <c:pt idx="1151">
                  <c:v>6.1857443889640011</c:v>
                </c:pt>
                <c:pt idx="1152">
                  <c:v>6.172905002901544</c:v>
                </c:pt>
                <c:pt idx="1153">
                  <c:v>5.9684888083657297</c:v>
                </c:pt>
                <c:pt idx="1154">
                  <c:v>6.1545983028293145</c:v>
                </c:pt>
                <c:pt idx="1155">
                  <c:v>5.9736281795041517</c:v>
                </c:pt>
                <c:pt idx="1156">
                  <c:v>5.014424150386648</c:v>
                </c:pt>
                <c:pt idx="1157">
                  <c:v>4.7742834610029083</c:v>
                </c:pt>
                <c:pt idx="1158">
                  <c:v>5.9246862839447099</c:v>
                </c:pt>
                <c:pt idx="1159">
                  <c:v>5.9905533351908407</c:v>
                </c:pt>
                <c:pt idx="1160">
                  <c:v>6.0101028293552918</c:v>
                </c:pt>
                <c:pt idx="1161">
                  <c:v>6.0927237371024408</c:v>
                </c:pt>
                <c:pt idx="1162">
                  <c:v>4.9876894904153897</c:v>
                </c:pt>
                <c:pt idx="1163">
                  <c:v>4.8698358071745806</c:v>
                </c:pt>
                <c:pt idx="1164">
                  <c:v>6.1100311959223275</c:v>
                </c:pt>
                <c:pt idx="1165">
                  <c:v>5.1078641938878873</c:v>
                </c:pt>
                <c:pt idx="1166">
                  <c:v>6.8102438011207695</c:v>
                </c:pt>
                <c:pt idx="1167">
                  <c:v>5.9125924875234155</c:v>
                </c:pt>
                <c:pt idx="1168">
                  <c:v>5.0470289887937501</c:v>
                </c:pt>
                <c:pt idx="1169">
                  <c:v>5.9826063123410398</c:v>
                </c:pt>
                <c:pt idx="1170">
                  <c:v>4.9539123793248567</c:v>
                </c:pt>
                <c:pt idx="1171">
                  <c:v>5.793857577840412</c:v>
                </c:pt>
                <c:pt idx="1172">
                  <c:v>4.9944382091493633</c:v>
                </c:pt>
                <c:pt idx="1173">
                  <c:v>5.9913409313068495</c:v>
                </c:pt>
                <c:pt idx="1174">
                  <c:v>5.1529224057098455</c:v>
                </c:pt>
                <c:pt idx="1175">
                  <c:v>5.8551416207356324</c:v>
                </c:pt>
                <c:pt idx="1176">
                  <c:v>5.1469082790601624</c:v>
                </c:pt>
                <c:pt idx="1177">
                  <c:v>5.8309547820159757</c:v>
                </c:pt>
                <c:pt idx="1178">
                  <c:v>5.9044394537169822</c:v>
                </c:pt>
                <c:pt idx="1179">
                  <c:v>4.8584504402623967</c:v>
                </c:pt>
                <c:pt idx="1180">
                  <c:v>5.0791902510254676</c:v>
                </c:pt>
                <c:pt idx="1181">
                  <c:v>5.129236014518904</c:v>
                </c:pt>
                <c:pt idx="1182">
                  <c:v>5.1237175345299901</c:v>
                </c:pt>
                <c:pt idx="1183">
                  <c:v>4.8603742478369787</c:v>
                </c:pt>
                <c:pt idx="1184">
                  <c:v>5.1397845164377811</c:v>
                </c:pt>
                <c:pt idx="1185">
                  <c:v>5.8918350631344225</c:v>
                </c:pt>
                <c:pt idx="1186">
                  <c:v>5.8780112019879684</c:v>
                </c:pt>
                <c:pt idx="1187">
                  <c:v>4.7807559994769901</c:v>
                </c:pt>
                <c:pt idx="1188">
                  <c:v>4.9999332308235553</c:v>
                </c:pt>
                <c:pt idx="1189">
                  <c:v>5.1128366620468526</c:v>
                </c:pt>
                <c:pt idx="1190">
                  <c:v>4.9679515436143955</c:v>
                </c:pt>
                <c:pt idx="1191">
                  <c:v>6.1287444069815438</c:v>
                </c:pt>
                <c:pt idx="1192">
                  <c:v>5.2343301958928157</c:v>
                </c:pt>
                <c:pt idx="1193">
                  <c:v>5.8796517497125862</c:v>
                </c:pt>
                <c:pt idx="1194">
                  <c:v>6.0647752622294782</c:v>
                </c:pt>
                <c:pt idx="1195">
                  <c:v>6.0470114279335725</c:v>
                </c:pt>
                <c:pt idx="1196">
                  <c:v>5.0223933274248633</c:v>
                </c:pt>
                <c:pt idx="1197">
                  <c:v>5.9684086545060433</c:v>
                </c:pt>
                <c:pt idx="1198">
                  <c:v>6.11181466536146</c:v>
                </c:pt>
                <c:pt idx="1199">
                  <c:v>4.9216550036654461</c:v>
                </c:pt>
                <c:pt idx="1200">
                  <c:v>4.9846980866382156</c:v>
                </c:pt>
                <c:pt idx="1201">
                  <c:v>5.9136421376089405</c:v>
                </c:pt>
                <c:pt idx="1202">
                  <c:v>4.9752609183981242</c:v>
                </c:pt>
                <c:pt idx="1203">
                  <c:v>5.9963957675584654</c:v>
                </c:pt>
                <c:pt idx="1204">
                  <c:v>5.8750779725188238</c:v>
                </c:pt>
                <c:pt idx="1205">
                  <c:v>5.9506684984529459</c:v>
                </c:pt>
                <c:pt idx="1206">
                  <c:v>6.0167739971013638</c:v>
                </c:pt>
                <c:pt idx="1207">
                  <c:v>6.9727659793367502</c:v>
                </c:pt>
                <c:pt idx="1208">
                  <c:v>4.9480154595479009</c:v>
                </c:pt>
                <c:pt idx="1209">
                  <c:v>6.0138021592680753</c:v>
                </c:pt>
                <c:pt idx="1210">
                  <c:v>5.0341250447693167</c:v>
                </c:pt>
                <c:pt idx="1211">
                  <c:v>4.8707639023168605</c:v>
                </c:pt>
                <c:pt idx="1212">
                  <c:v>6.9618781097786879</c:v>
                </c:pt>
                <c:pt idx="1213">
                  <c:v>5.9142751381327274</c:v>
                </c:pt>
                <c:pt idx="1214">
                  <c:v>6.1428492939065595</c:v>
                </c:pt>
                <c:pt idx="1215">
                  <c:v>4.8967339175505682</c:v>
                </c:pt>
                <c:pt idx="1216">
                  <c:v>6.1237999196329227</c:v>
                </c:pt>
                <c:pt idx="1217">
                  <c:v>4.8211062624990495</c:v>
                </c:pt>
                <c:pt idx="1218">
                  <c:v>5.9965030496854554</c:v>
                </c:pt>
                <c:pt idx="1219">
                  <c:v>6.0775477176425428</c:v>
                </c:pt>
                <c:pt idx="1220">
                  <c:v>5.9732250081347678</c:v>
                </c:pt>
                <c:pt idx="1221">
                  <c:v>5.0133360421380111</c:v>
                </c:pt>
                <c:pt idx="1222">
                  <c:v>6.0034424187009767</c:v>
                </c:pt>
                <c:pt idx="1223">
                  <c:v>4.9347105635491788</c:v>
                </c:pt>
                <c:pt idx="1224">
                  <c:v>6.0422732372380015</c:v>
                </c:pt>
                <c:pt idx="1225">
                  <c:v>6.0384262018229302</c:v>
                </c:pt>
                <c:pt idx="1226">
                  <c:v>6.0778971374403152</c:v>
                </c:pt>
                <c:pt idx="1227">
                  <c:v>5.9804993965635198</c:v>
                </c:pt>
                <c:pt idx="1228">
                  <c:v>4.9215229964939304</c:v>
                </c:pt>
                <c:pt idx="1229">
                  <c:v>6.0312728741344577</c:v>
                </c:pt>
                <c:pt idx="1230">
                  <c:v>4.9469514960824377</c:v>
                </c:pt>
                <c:pt idx="1231">
                  <c:v>6.0320368389289545</c:v>
                </c:pt>
                <c:pt idx="1232">
                  <c:v>4.9861494589567554</c:v>
                </c:pt>
                <c:pt idx="1233">
                  <c:v>5.9336837570864471</c:v>
                </c:pt>
                <c:pt idx="1234">
                  <c:v>5.9393038349390039</c:v>
                </c:pt>
                <c:pt idx="1235">
                  <c:v>5.161600397741255</c:v>
                </c:pt>
                <c:pt idx="1236">
                  <c:v>7.1799318068910338</c:v>
                </c:pt>
                <c:pt idx="1237">
                  <c:v>5.8982305502841221</c:v>
                </c:pt>
                <c:pt idx="1238">
                  <c:v>5.0976875196955822</c:v>
                </c:pt>
                <c:pt idx="1239">
                  <c:v>5.0279030556485784</c:v>
                </c:pt>
                <c:pt idx="1240">
                  <c:v>5.0727419810020855</c:v>
                </c:pt>
                <c:pt idx="1241">
                  <c:v>6.0374538485421629</c:v>
                </c:pt>
                <c:pt idx="1242">
                  <c:v>4.886885684819811</c:v>
                </c:pt>
                <c:pt idx="1243">
                  <c:v>4.9880982104190048</c:v>
                </c:pt>
                <c:pt idx="1244">
                  <c:v>5.8493883801285689</c:v>
                </c:pt>
                <c:pt idx="1245">
                  <c:v>6.1805386434566003</c:v>
                </c:pt>
                <c:pt idx="1246">
                  <c:v>5.9396342783185592</c:v>
                </c:pt>
                <c:pt idx="1247">
                  <c:v>6.2160644657873334</c:v>
                </c:pt>
                <c:pt idx="1248">
                  <c:v>5.9825210356691496</c:v>
                </c:pt>
                <c:pt idx="1249">
                  <c:v>5.1369690041724763</c:v>
                </c:pt>
                <c:pt idx="1250">
                  <c:v>5.0221966236123219</c:v>
                </c:pt>
                <c:pt idx="1251">
                  <c:v>6.0154054347101535</c:v>
                </c:pt>
                <c:pt idx="1252">
                  <c:v>6.0867566745558239</c:v>
                </c:pt>
                <c:pt idx="1253">
                  <c:v>4.873243441785422</c:v>
                </c:pt>
                <c:pt idx="1254">
                  <c:v>4.9957323869107446</c:v>
                </c:pt>
                <c:pt idx="1255">
                  <c:v>4.889870112321975</c:v>
                </c:pt>
                <c:pt idx="1256">
                  <c:v>4.9599819746119298</c:v>
                </c:pt>
                <c:pt idx="1257">
                  <c:v>5.171621569218896</c:v>
                </c:pt>
                <c:pt idx="1258">
                  <c:v>6.8553231298788431</c:v>
                </c:pt>
                <c:pt idx="1259">
                  <c:v>6.0482897909055104</c:v>
                </c:pt>
                <c:pt idx="1260">
                  <c:v>6.0579560362997871</c:v>
                </c:pt>
                <c:pt idx="1261">
                  <c:v>4.8199923853267377</c:v>
                </c:pt>
                <c:pt idx="1262">
                  <c:v>4.9046135088136902</c:v>
                </c:pt>
                <c:pt idx="1263">
                  <c:v>6.2039967967010679</c:v>
                </c:pt>
                <c:pt idx="1264">
                  <c:v>4.0240260664449075</c:v>
                </c:pt>
                <c:pt idx="1265">
                  <c:v>6.0061902554062243</c:v>
                </c:pt>
                <c:pt idx="1266">
                  <c:v>5.0310594323256046</c:v>
                </c:pt>
                <c:pt idx="1267">
                  <c:v>5.0517036643949256</c:v>
                </c:pt>
                <c:pt idx="1268">
                  <c:v>4.7861088688639457</c:v>
                </c:pt>
                <c:pt idx="1269">
                  <c:v>4.9463953038497817</c:v>
                </c:pt>
                <c:pt idx="1270">
                  <c:v>5.9953765175932272</c:v>
                </c:pt>
                <c:pt idx="1271">
                  <c:v>4.9911525067395255</c:v>
                </c:pt>
                <c:pt idx="1272">
                  <c:v>5.0828147471179834</c:v>
                </c:pt>
                <c:pt idx="1273">
                  <c:v>4.9806501227196183</c:v>
                </c:pt>
                <c:pt idx="1274">
                  <c:v>4.9942868029490546</c:v>
                </c:pt>
                <c:pt idx="1275">
                  <c:v>4.9345697470396814</c:v>
                </c:pt>
                <c:pt idx="1276">
                  <c:v>5.9774752413790813</c:v>
                </c:pt>
                <c:pt idx="1277">
                  <c:v>5.8637488992337143</c:v>
                </c:pt>
                <c:pt idx="1278">
                  <c:v>4.9277256376821423</c:v>
                </c:pt>
                <c:pt idx="1279">
                  <c:v>4.9255483004024754</c:v>
                </c:pt>
                <c:pt idx="1280">
                  <c:v>5.0822149117891469</c:v>
                </c:pt>
                <c:pt idx="1281">
                  <c:v>4.9102393078799569</c:v>
                </c:pt>
                <c:pt idx="1282">
                  <c:v>5.0359681131119878</c:v>
                </c:pt>
                <c:pt idx="1283">
                  <c:v>6.0722855727548426</c:v>
                </c:pt>
                <c:pt idx="1284">
                  <c:v>6.0295110839206876</c:v>
                </c:pt>
                <c:pt idx="1285">
                  <c:v>5.9767608520710152</c:v>
                </c:pt>
                <c:pt idx="1286">
                  <c:v>5.9164507493710774</c:v>
                </c:pt>
                <c:pt idx="1287">
                  <c:v>5.9870766083004172</c:v>
                </c:pt>
                <c:pt idx="1288">
                  <c:v>5.0392672788402608</c:v>
                </c:pt>
                <c:pt idx="1289">
                  <c:v>7.0014514135287067</c:v>
                </c:pt>
                <c:pt idx="1290">
                  <c:v>3.898410058709044</c:v>
                </c:pt>
                <c:pt idx="1291">
                  <c:v>5.9402127550990134</c:v>
                </c:pt>
                <c:pt idx="1292">
                  <c:v>6.0582402894423986</c:v>
                </c:pt>
                <c:pt idx="1293">
                  <c:v>6.0138218529128622</c:v>
                </c:pt>
                <c:pt idx="1294">
                  <c:v>5.873374104205249</c:v>
                </c:pt>
                <c:pt idx="1295">
                  <c:v>5.9342478379668648</c:v>
                </c:pt>
                <c:pt idx="1296">
                  <c:v>6.9811545445836893</c:v>
                </c:pt>
                <c:pt idx="1297">
                  <c:v>4.0137913029180075</c:v>
                </c:pt>
                <c:pt idx="1298">
                  <c:v>6.0987711270121583</c:v>
                </c:pt>
                <c:pt idx="1299">
                  <c:v>4.1424189347965541</c:v>
                </c:pt>
                <c:pt idx="1300">
                  <c:v>7.0743652401819785</c:v>
                </c:pt>
                <c:pt idx="1301">
                  <c:v>3.8959814801654926</c:v>
                </c:pt>
                <c:pt idx="1302">
                  <c:v>5.1212353435677</c:v>
                </c:pt>
                <c:pt idx="1303">
                  <c:v>4.8971437179423463</c:v>
                </c:pt>
                <c:pt idx="1304">
                  <c:v>4.060143560013584</c:v>
                </c:pt>
                <c:pt idx="1305">
                  <c:v>3.9474749458040508</c:v>
                </c:pt>
                <c:pt idx="1306">
                  <c:v>5.9242919043409721</c:v>
                </c:pt>
                <c:pt idx="1307">
                  <c:v>5.9278610418376845</c:v>
                </c:pt>
                <c:pt idx="1308">
                  <c:v>4.0831830561481182</c:v>
                </c:pt>
                <c:pt idx="1309">
                  <c:v>3.9045467394547448</c:v>
                </c:pt>
                <c:pt idx="1310">
                  <c:v>6.0059351610928928</c:v>
                </c:pt>
                <c:pt idx="1311">
                  <c:v>3.8607298906425154</c:v>
                </c:pt>
                <c:pt idx="1312">
                  <c:v>3.9196966763330217</c:v>
                </c:pt>
                <c:pt idx="1313">
                  <c:v>5.9885758632359156</c:v>
                </c:pt>
                <c:pt idx="1314">
                  <c:v>4.0415946338975459</c:v>
                </c:pt>
                <c:pt idx="1315">
                  <c:v>5.8653770470749391</c:v>
                </c:pt>
                <c:pt idx="1316">
                  <c:v>6.908043134992595</c:v>
                </c:pt>
                <c:pt idx="1317">
                  <c:v>5.8382174903226112</c:v>
                </c:pt>
                <c:pt idx="1318">
                  <c:v>3.0764210309773001</c:v>
                </c:pt>
                <c:pt idx="1319">
                  <c:v>4.9830200083195217</c:v>
                </c:pt>
                <c:pt idx="1320">
                  <c:v>5.9646493233462472</c:v>
                </c:pt>
                <c:pt idx="1321">
                  <c:v>4.9817455511156616</c:v>
                </c:pt>
                <c:pt idx="1322">
                  <c:v>4.9805737109812762</c:v>
                </c:pt>
                <c:pt idx="1323">
                  <c:v>5.9242752769108984</c:v>
                </c:pt>
                <c:pt idx="1324">
                  <c:v>5.9834618256863266</c:v>
                </c:pt>
                <c:pt idx="1325">
                  <c:v>5.9788862064182302</c:v>
                </c:pt>
                <c:pt idx="1326">
                  <c:v>6.0663888091662379</c:v>
                </c:pt>
                <c:pt idx="1327">
                  <c:v>5.0056757942699868</c:v>
                </c:pt>
                <c:pt idx="1328">
                  <c:v>4.9205242738598924</c:v>
                </c:pt>
                <c:pt idx="1329">
                  <c:v>5.1929855674517915</c:v>
                </c:pt>
                <c:pt idx="1330">
                  <c:v>5.9386583149666867</c:v>
                </c:pt>
                <c:pt idx="1331">
                  <c:v>6.1178138351065137</c:v>
                </c:pt>
                <c:pt idx="1332">
                  <c:v>5.9549584175971759</c:v>
                </c:pt>
                <c:pt idx="1333">
                  <c:v>5.8114799877316798</c:v>
                </c:pt>
                <c:pt idx="1334">
                  <c:v>6.0536752726426659</c:v>
                </c:pt>
                <c:pt idx="1335">
                  <c:v>5.006035343239704</c:v>
                </c:pt>
                <c:pt idx="1336">
                  <c:v>5.8377112580218764</c:v>
                </c:pt>
                <c:pt idx="1337">
                  <c:v>6.0729296513079252</c:v>
                </c:pt>
                <c:pt idx="1338">
                  <c:v>4.9267095791197804</c:v>
                </c:pt>
                <c:pt idx="1339">
                  <c:v>5.869148650606216</c:v>
                </c:pt>
                <c:pt idx="1340">
                  <c:v>5.9994889858098546</c:v>
                </c:pt>
                <c:pt idx="1341">
                  <c:v>5.0332614606429678</c:v>
                </c:pt>
                <c:pt idx="1342">
                  <c:v>4.9629550034342165</c:v>
                </c:pt>
                <c:pt idx="1343">
                  <c:v>4.8232071816765316</c:v>
                </c:pt>
                <c:pt idx="1344">
                  <c:v>6.0744932362099204</c:v>
                </c:pt>
                <c:pt idx="1345">
                  <c:v>4.841822659327657</c:v>
                </c:pt>
                <c:pt idx="1346">
                  <c:v>5.1051303114906545</c:v>
                </c:pt>
                <c:pt idx="1347">
                  <c:v>4.8303257228659167</c:v>
                </c:pt>
                <c:pt idx="1348">
                  <c:v>4.881233584551679</c:v>
                </c:pt>
                <c:pt idx="1349">
                  <c:v>5.0062349146591387</c:v>
                </c:pt>
                <c:pt idx="1350">
                  <c:v>4.9451875923022657</c:v>
                </c:pt>
                <c:pt idx="1351">
                  <c:v>4.9409947632190443</c:v>
                </c:pt>
                <c:pt idx="1352">
                  <c:v>5.0232576741344825</c:v>
                </c:pt>
                <c:pt idx="1353">
                  <c:v>5.0105978597858938</c:v>
                </c:pt>
                <c:pt idx="1354">
                  <c:v>7.0942246347704927</c:v>
                </c:pt>
                <c:pt idx="1355">
                  <c:v>5.987480026826602</c:v>
                </c:pt>
                <c:pt idx="1356">
                  <c:v>6.0246276848364992</c:v>
                </c:pt>
                <c:pt idx="1357">
                  <c:v>5.8962077728354014</c:v>
                </c:pt>
                <c:pt idx="1358">
                  <c:v>4.934880258800864</c:v>
                </c:pt>
                <c:pt idx="1359">
                  <c:v>5.0014357001490151</c:v>
                </c:pt>
                <c:pt idx="1360">
                  <c:v>5.0511400536336311</c:v>
                </c:pt>
                <c:pt idx="1361">
                  <c:v>5.0820162551342483</c:v>
                </c:pt>
                <c:pt idx="1362">
                  <c:v>4.9603223592627783</c:v>
                </c:pt>
                <c:pt idx="1363">
                  <c:v>6.9792695705815149</c:v>
                </c:pt>
                <c:pt idx="1364">
                  <c:v>6.9445393156323583</c:v>
                </c:pt>
                <c:pt idx="1365">
                  <c:v>7.1712692504040003</c:v>
                </c:pt>
                <c:pt idx="1366">
                  <c:v>6.9792710739848971</c:v>
                </c:pt>
                <c:pt idx="1367">
                  <c:v>7.0513999009911155</c:v>
                </c:pt>
                <c:pt idx="1368">
                  <c:v>1.9793943847948936</c:v>
                </c:pt>
                <c:pt idx="1369">
                  <c:v>5.080627825660434</c:v>
                </c:pt>
                <c:pt idx="1370">
                  <c:v>5.0768117786924902</c:v>
                </c:pt>
                <c:pt idx="1371">
                  <c:v>5.9863907183798997</c:v>
                </c:pt>
                <c:pt idx="1372">
                  <c:v>7.0097455584935489</c:v>
                </c:pt>
                <c:pt idx="1373">
                  <c:v>4.9323637479060043</c:v>
                </c:pt>
                <c:pt idx="1374">
                  <c:v>3.9594953769512626</c:v>
                </c:pt>
                <c:pt idx="1375">
                  <c:v>6.1259545423670856</c:v>
                </c:pt>
                <c:pt idx="1376">
                  <c:v>6.0155176735457863</c:v>
                </c:pt>
                <c:pt idx="1377">
                  <c:v>4.9648324611698573</c:v>
                </c:pt>
                <c:pt idx="1378">
                  <c:v>5.8230115379932172</c:v>
                </c:pt>
                <c:pt idx="1379">
                  <c:v>4.8840219819051205</c:v>
                </c:pt>
                <c:pt idx="1380">
                  <c:v>4.9113812998690785</c:v>
                </c:pt>
                <c:pt idx="1381">
                  <c:v>5.1251622912547123</c:v>
                </c:pt>
                <c:pt idx="1382">
                  <c:v>4.9388626220239304</c:v>
                </c:pt>
                <c:pt idx="1383">
                  <c:v>5.0397902297288244</c:v>
                </c:pt>
                <c:pt idx="1384">
                  <c:v>5.963786773601818</c:v>
                </c:pt>
                <c:pt idx="1385">
                  <c:v>4.8984293157617911</c:v>
                </c:pt>
                <c:pt idx="1386">
                  <c:v>5.1965480594019633</c:v>
                </c:pt>
                <c:pt idx="1387">
                  <c:v>4.0686126281394532</c:v>
                </c:pt>
                <c:pt idx="1388">
                  <c:v>4.798171037923936</c:v>
                </c:pt>
                <c:pt idx="1389">
                  <c:v>5.1190927719649029</c:v>
                </c:pt>
                <c:pt idx="1390">
                  <c:v>5.0476955555260723</c:v>
                </c:pt>
                <c:pt idx="1391">
                  <c:v>4.8976018669312307</c:v>
                </c:pt>
                <c:pt idx="1392">
                  <c:v>5.1779858978338682</c:v>
                </c:pt>
                <c:pt idx="1393">
                  <c:v>4.9290939816535992</c:v>
                </c:pt>
                <c:pt idx="1394">
                  <c:v>5.0001841419889406</c:v>
                </c:pt>
                <c:pt idx="1395">
                  <c:v>5.0807904249191616</c:v>
                </c:pt>
                <c:pt idx="1396">
                  <c:v>5.1799587623890373</c:v>
                </c:pt>
                <c:pt idx="1397">
                  <c:v>5.9796873852068009</c:v>
                </c:pt>
                <c:pt idx="1398">
                  <c:v>5.9691198156768799</c:v>
                </c:pt>
                <c:pt idx="1399">
                  <c:v>5.0123888640240617</c:v>
                </c:pt>
                <c:pt idx="1400">
                  <c:v>6.1133864167127872</c:v>
                </c:pt>
                <c:pt idx="1401">
                  <c:v>5.1436884479239211</c:v>
                </c:pt>
                <c:pt idx="1402">
                  <c:v>4.9410037378272014</c:v>
                </c:pt>
                <c:pt idx="1403">
                  <c:v>4.9295508033281932</c:v>
                </c:pt>
                <c:pt idx="1404">
                  <c:v>5.1554477348669465</c:v>
                </c:pt>
                <c:pt idx="1405">
                  <c:v>4.9977165106870194</c:v>
                </c:pt>
                <c:pt idx="1406">
                  <c:v>4.9719489191025446</c:v>
                </c:pt>
                <c:pt idx="1407">
                  <c:v>4.928060510215035</c:v>
                </c:pt>
                <c:pt idx="1408">
                  <c:v>5.9093728722460446</c:v>
                </c:pt>
                <c:pt idx="1409">
                  <c:v>5.9068608806681473</c:v>
                </c:pt>
                <c:pt idx="1410">
                  <c:v>4.9614862669910256</c:v>
                </c:pt>
                <c:pt idx="1411">
                  <c:v>5.1034139978938091</c:v>
                </c:pt>
                <c:pt idx="1412">
                  <c:v>4.8336695059631474</c:v>
                </c:pt>
                <c:pt idx="1413">
                  <c:v>6.0544046773089972</c:v>
                </c:pt>
                <c:pt idx="1414">
                  <c:v>4.9103532390083018</c:v>
                </c:pt>
                <c:pt idx="1415">
                  <c:v>5.9873769656755185</c:v>
                </c:pt>
                <c:pt idx="1416">
                  <c:v>6.0413923748262501</c:v>
                </c:pt>
                <c:pt idx="1417">
                  <c:v>5.050596756365838</c:v>
                </c:pt>
                <c:pt idx="1418">
                  <c:v>6.0091084948240203</c:v>
                </c:pt>
                <c:pt idx="1419">
                  <c:v>5.0636938607266098</c:v>
                </c:pt>
                <c:pt idx="1420">
                  <c:v>4.76490557917404</c:v>
                </c:pt>
                <c:pt idx="1421">
                  <c:v>6.0031929132650177</c:v>
                </c:pt>
                <c:pt idx="1422">
                  <c:v>6.2309384834672752</c:v>
                </c:pt>
                <c:pt idx="1423">
                  <c:v>5.9340190164528055</c:v>
                </c:pt>
                <c:pt idx="1424">
                  <c:v>5.0061494600984418</c:v>
                </c:pt>
                <c:pt idx="1425">
                  <c:v>4.0866424694728192</c:v>
                </c:pt>
                <c:pt idx="1426">
                  <c:v>5.0794036309425659</c:v>
                </c:pt>
                <c:pt idx="1427">
                  <c:v>6.2221107199630348</c:v>
                </c:pt>
                <c:pt idx="1428">
                  <c:v>5.1006731088775634</c:v>
                </c:pt>
                <c:pt idx="1429">
                  <c:v>3.9671980336702366</c:v>
                </c:pt>
                <c:pt idx="1430">
                  <c:v>4.960111809379419</c:v>
                </c:pt>
                <c:pt idx="1431">
                  <c:v>4.9946245141371062</c:v>
                </c:pt>
                <c:pt idx="1432">
                  <c:v>6.0081300559175848</c:v>
                </c:pt>
                <c:pt idx="1433">
                  <c:v>5.1077217826048074</c:v>
                </c:pt>
                <c:pt idx="1434">
                  <c:v>4.7857215788933356</c:v>
                </c:pt>
                <c:pt idx="1435">
                  <c:v>4.0185837209383299</c:v>
                </c:pt>
                <c:pt idx="1436">
                  <c:v>5.803840817283505</c:v>
                </c:pt>
                <c:pt idx="1437">
                  <c:v>5.0768424395758398</c:v>
                </c:pt>
                <c:pt idx="1438">
                  <c:v>5.942387681661125</c:v>
                </c:pt>
                <c:pt idx="1439">
                  <c:v>4.9306598793130565</c:v>
                </c:pt>
                <c:pt idx="1440">
                  <c:v>5.0609695230528962</c:v>
                </c:pt>
                <c:pt idx="1441">
                  <c:v>4.8264570712997896</c:v>
                </c:pt>
                <c:pt idx="1442">
                  <c:v>6.013104687216928</c:v>
                </c:pt>
                <c:pt idx="1443">
                  <c:v>4.8261587874841521</c:v>
                </c:pt>
                <c:pt idx="1444">
                  <c:v>5.0748590455741267</c:v>
                </c:pt>
                <c:pt idx="1445">
                  <c:v>5.9105886004566166</c:v>
                </c:pt>
                <c:pt idx="1446">
                  <c:v>5.127280408851802</c:v>
                </c:pt>
                <c:pt idx="1447">
                  <c:v>5.1667941397074184</c:v>
                </c:pt>
                <c:pt idx="1448">
                  <c:v>6.0001812221193971</c:v>
                </c:pt>
                <c:pt idx="1449">
                  <c:v>5.0951106336919114</c:v>
                </c:pt>
                <c:pt idx="1450">
                  <c:v>5.0912139543028703</c:v>
                </c:pt>
                <c:pt idx="1451">
                  <c:v>6.0587822331602652</c:v>
                </c:pt>
                <c:pt idx="1452">
                  <c:v>3.0125944993891767</c:v>
                </c:pt>
                <c:pt idx="1453">
                  <c:v>4.957947351554056</c:v>
                </c:pt>
                <c:pt idx="1454">
                  <c:v>5.8034542487009251</c:v>
                </c:pt>
                <c:pt idx="1455">
                  <c:v>6.1094647571735221</c:v>
                </c:pt>
                <c:pt idx="1456">
                  <c:v>6.0049705405221889</c:v>
                </c:pt>
                <c:pt idx="1457">
                  <c:v>4.2234822839722597</c:v>
                </c:pt>
                <c:pt idx="1458">
                  <c:v>5.9360942756479274</c:v>
                </c:pt>
                <c:pt idx="1459">
                  <c:v>3.9256748416193856</c:v>
                </c:pt>
                <c:pt idx="1460">
                  <c:v>7.0754724328139691</c:v>
                </c:pt>
                <c:pt idx="1461">
                  <c:v>4.2068758414270819</c:v>
                </c:pt>
                <c:pt idx="1462">
                  <c:v>3.8464166921739213</c:v>
                </c:pt>
                <c:pt idx="1463">
                  <c:v>5.9589041719070011</c:v>
                </c:pt>
                <c:pt idx="1464">
                  <c:v>6.1208132326889269</c:v>
                </c:pt>
                <c:pt idx="1465">
                  <c:v>5.8886609250135384</c:v>
                </c:pt>
                <c:pt idx="1466">
                  <c:v>5.0460561376856106</c:v>
                </c:pt>
                <c:pt idx="1467">
                  <c:v>4.8198742997931969</c:v>
                </c:pt>
                <c:pt idx="1468">
                  <c:v>4.9295587074474696</c:v>
                </c:pt>
                <c:pt idx="1469">
                  <c:v>5.0062397146295501</c:v>
                </c:pt>
                <c:pt idx="1470">
                  <c:v>4.9377848731278249</c:v>
                </c:pt>
                <c:pt idx="1471">
                  <c:v>6.166417736570815</c:v>
                </c:pt>
                <c:pt idx="1472">
                  <c:v>5.9681733384796232</c:v>
                </c:pt>
                <c:pt idx="1473">
                  <c:v>6.2288233801681869</c:v>
                </c:pt>
                <c:pt idx="1474">
                  <c:v>5.0018259817421304</c:v>
                </c:pt>
                <c:pt idx="1475">
                  <c:v>4.8655432909700629</c:v>
                </c:pt>
                <c:pt idx="1476">
                  <c:v>6.0851694506913061</c:v>
                </c:pt>
                <c:pt idx="1477">
                  <c:v>5.937423178829663</c:v>
                </c:pt>
                <c:pt idx="1478">
                  <c:v>6.1474050634347366</c:v>
                </c:pt>
                <c:pt idx="1479">
                  <c:v>5.0689121840075853</c:v>
                </c:pt>
                <c:pt idx="1480">
                  <c:v>6.0565132522056944</c:v>
                </c:pt>
                <c:pt idx="1481">
                  <c:v>5.0811605290360795</c:v>
                </c:pt>
                <c:pt idx="1482">
                  <c:v>6.1170220653615548</c:v>
                </c:pt>
                <c:pt idx="1483">
                  <c:v>5.9547202219675244</c:v>
                </c:pt>
                <c:pt idx="1484">
                  <c:v>5.9967052923574222</c:v>
                </c:pt>
                <c:pt idx="1485">
                  <c:v>5.867229812440141</c:v>
                </c:pt>
                <c:pt idx="1486">
                  <c:v>5.0047521938986765</c:v>
                </c:pt>
                <c:pt idx="1487">
                  <c:v>5.0873052644601984</c:v>
                </c:pt>
                <c:pt idx="1488">
                  <c:v>6.824897125124723</c:v>
                </c:pt>
                <c:pt idx="1489">
                  <c:v>5.8697049294707702</c:v>
                </c:pt>
                <c:pt idx="1490">
                  <c:v>5.0449656711705382</c:v>
                </c:pt>
                <c:pt idx="1491">
                  <c:v>6.0023947426902664</c:v>
                </c:pt>
                <c:pt idx="1492">
                  <c:v>4.9595013318108974</c:v>
                </c:pt>
                <c:pt idx="1493">
                  <c:v>6.9822484941734739</c:v>
                </c:pt>
                <c:pt idx="1494">
                  <c:v>6.0416476113902942</c:v>
                </c:pt>
                <c:pt idx="1495">
                  <c:v>6.0408243042656284</c:v>
                </c:pt>
                <c:pt idx="1496">
                  <c:v>5.0231741696928225</c:v>
                </c:pt>
                <c:pt idx="1497">
                  <c:v>7.0111092441233875</c:v>
                </c:pt>
                <c:pt idx="1498">
                  <c:v>5.1850180564593389</c:v>
                </c:pt>
                <c:pt idx="1499">
                  <c:v>4.9447529385054105</c:v>
                </c:pt>
                <c:pt idx="1500">
                  <c:v>4.9491127328295796</c:v>
                </c:pt>
                <c:pt idx="1501">
                  <c:v>4.9171128588765258</c:v>
                </c:pt>
                <c:pt idx="1502">
                  <c:v>4.9570236729721371</c:v>
                </c:pt>
                <c:pt idx="1503">
                  <c:v>6.0348319279866391</c:v>
                </c:pt>
                <c:pt idx="1504">
                  <c:v>6.132555238612408</c:v>
                </c:pt>
                <c:pt idx="1505">
                  <c:v>4.0916030770846445</c:v>
                </c:pt>
                <c:pt idx="1506">
                  <c:v>5.8985141638030365</c:v>
                </c:pt>
                <c:pt idx="1507">
                  <c:v>4.9198960450744851</c:v>
                </c:pt>
                <c:pt idx="1508">
                  <c:v>3.9897154610321497</c:v>
                </c:pt>
                <c:pt idx="1509">
                  <c:v>5.1214094591127628</c:v>
                </c:pt>
                <c:pt idx="1510">
                  <c:v>4.9853155500174013</c:v>
                </c:pt>
                <c:pt idx="1511">
                  <c:v>5.845340387382949</c:v>
                </c:pt>
                <c:pt idx="1512">
                  <c:v>5.9613120285002772</c:v>
                </c:pt>
                <c:pt idx="1513">
                  <c:v>5.9976844460363532</c:v>
                </c:pt>
                <c:pt idx="1514">
                  <c:v>5.8490509193759559</c:v>
                </c:pt>
                <c:pt idx="1515">
                  <c:v>5.8668597343559705</c:v>
                </c:pt>
                <c:pt idx="1516">
                  <c:v>5.9962755347430585</c:v>
                </c:pt>
                <c:pt idx="1517">
                  <c:v>5.8398314730361607</c:v>
                </c:pt>
                <c:pt idx="1518">
                  <c:v>4.8924849355596374</c:v>
                </c:pt>
                <c:pt idx="1519">
                  <c:v>3.80005061718412</c:v>
                </c:pt>
                <c:pt idx="1520">
                  <c:v>6.1082069735763804</c:v>
                </c:pt>
                <c:pt idx="1521">
                  <c:v>6.0095975437153797</c:v>
                </c:pt>
                <c:pt idx="1522">
                  <c:v>6.050015229774159</c:v>
                </c:pt>
                <c:pt idx="1523">
                  <c:v>5.9789608443947246</c:v>
                </c:pt>
                <c:pt idx="1524">
                  <c:v>5.0810875706787408</c:v>
                </c:pt>
                <c:pt idx="1525">
                  <c:v>6.0089238318436884</c:v>
                </c:pt>
                <c:pt idx="1526">
                  <c:v>4.9589766269081865</c:v>
                </c:pt>
                <c:pt idx="1527">
                  <c:v>5.9611178247271734</c:v>
                </c:pt>
                <c:pt idx="1528">
                  <c:v>5.0825362569435022</c:v>
                </c:pt>
                <c:pt idx="1529">
                  <c:v>5.0827426836464635</c:v>
                </c:pt>
                <c:pt idx="1530">
                  <c:v>5.1003037719494486</c:v>
                </c:pt>
                <c:pt idx="1531">
                  <c:v>6.0279643208098097</c:v>
                </c:pt>
                <c:pt idx="1532">
                  <c:v>4.9839882418753607</c:v>
                </c:pt>
                <c:pt idx="1533">
                  <c:v>5.0493054115778877</c:v>
                </c:pt>
                <c:pt idx="1534">
                  <c:v>4.9861222900984492</c:v>
                </c:pt>
                <c:pt idx="1535">
                  <c:v>4.9357568475741074</c:v>
                </c:pt>
                <c:pt idx="1536">
                  <c:v>6.0461429726130911</c:v>
                </c:pt>
                <c:pt idx="1537">
                  <c:v>5.9494815782719543</c:v>
                </c:pt>
                <c:pt idx="1538">
                  <c:v>6.0038469414858948</c:v>
                </c:pt>
                <c:pt idx="1539">
                  <c:v>6.9367057866765238</c:v>
                </c:pt>
                <c:pt idx="1540">
                  <c:v>4.9301986046023707</c:v>
                </c:pt>
                <c:pt idx="1541">
                  <c:v>6.0208611233070659</c:v>
                </c:pt>
                <c:pt idx="1542">
                  <c:v>4.9680537468823802</c:v>
                </c:pt>
                <c:pt idx="1543">
                  <c:v>4.9586338018187623</c:v>
                </c:pt>
                <c:pt idx="1544">
                  <c:v>5.9662026325308553</c:v>
                </c:pt>
                <c:pt idx="1545">
                  <c:v>5.0892076914677906</c:v>
                </c:pt>
                <c:pt idx="1546">
                  <c:v>5.9781483995940707</c:v>
                </c:pt>
                <c:pt idx="1547">
                  <c:v>4.9893715651338493</c:v>
                </c:pt>
                <c:pt idx="1548">
                  <c:v>4.842799659739053</c:v>
                </c:pt>
                <c:pt idx="1549">
                  <c:v>4.9734519425762747</c:v>
                </c:pt>
                <c:pt idx="1550">
                  <c:v>5.020292087287717</c:v>
                </c:pt>
                <c:pt idx="1551">
                  <c:v>6.0068706048375207</c:v>
                </c:pt>
                <c:pt idx="1552">
                  <c:v>6.0718880310546481</c:v>
                </c:pt>
                <c:pt idx="1553">
                  <c:v>5.998508225613949</c:v>
                </c:pt>
                <c:pt idx="1554">
                  <c:v>6.0716885945889638</c:v>
                </c:pt>
                <c:pt idx="1555">
                  <c:v>5.0859131990079707</c:v>
                </c:pt>
                <c:pt idx="1556">
                  <c:v>4.9464327856672323</c:v>
                </c:pt>
                <c:pt idx="1557">
                  <c:v>5.8791336148930418</c:v>
                </c:pt>
                <c:pt idx="1558">
                  <c:v>5.1766695391056103</c:v>
                </c:pt>
                <c:pt idx="1559">
                  <c:v>4.8618784390254053</c:v>
                </c:pt>
                <c:pt idx="1560">
                  <c:v>5.0449327600918412</c:v>
                </c:pt>
                <c:pt idx="1561">
                  <c:v>4.9111122226586978</c:v>
                </c:pt>
                <c:pt idx="1562">
                  <c:v>4.8186737710605234</c:v>
                </c:pt>
                <c:pt idx="1563">
                  <c:v>6.9457952130843079</c:v>
                </c:pt>
                <c:pt idx="1564">
                  <c:v>4.9709100423699129</c:v>
                </c:pt>
                <c:pt idx="1565">
                  <c:v>5.9577685815713579</c:v>
                </c:pt>
                <c:pt idx="1566">
                  <c:v>4.934277153790779</c:v>
                </c:pt>
                <c:pt idx="1567">
                  <c:v>5.9040487725448729</c:v>
                </c:pt>
                <c:pt idx="1568">
                  <c:v>5.8285529105939844</c:v>
                </c:pt>
                <c:pt idx="1569">
                  <c:v>4.9837375453025823</c:v>
                </c:pt>
                <c:pt idx="1570">
                  <c:v>4.9242642634943348</c:v>
                </c:pt>
                <c:pt idx="1571">
                  <c:v>4.9688893393770837</c:v>
                </c:pt>
                <c:pt idx="1572">
                  <c:v>6.032121785399104</c:v>
                </c:pt>
                <c:pt idx="1573">
                  <c:v>5.0155669475592015</c:v>
                </c:pt>
                <c:pt idx="1574">
                  <c:v>4.8680456786225319</c:v>
                </c:pt>
                <c:pt idx="1575">
                  <c:v>5.0530441721977386</c:v>
                </c:pt>
                <c:pt idx="1576">
                  <c:v>5.0849779806945614</c:v>
                </c:pt>
                <c:pt idx="1577">
                  <c:v>6.1540344951898067</c:v>
                </c:pt>
                <c:pt idx="1578">
                  <c:v>4.7086337071285058</c:v>
                </c:pt>
                <c:pt idx="1579">
                  <c:v>4.814989713853139</c:v>
                </c:pt>
                <c:pt idx="1580">
                  <c:v>4.9764006832320486</c:v>
                </c:pt>
                <c:pt idx="1581">
                  <c:v>6.9741159047159256</c:v>
                </c:pt>
                <c:pt idx="1582">
                  <c:v>5.0064865789554736</c:v>
                </c:pt>
                <c:pt idx="1583">
                  <c:v>5.0645121141125049</c:v>
                </c:pt>
                <c:pt idx="1584">
                  <c:v>5.8480751106768398</c:v>
                </c:pt>
                <c:pt idx="1585">
                  <c:v>4.9174315224445513</c:v>
                </c:pt>
                <c:pt idx="1586">
                  <c:v>5.1358141486388256</c:v>
                </c:pt>
                <c:pt idx="1587">
                  <c:v>6.0550148369395904</c:v>
                </c:pt>
                <c:pt idx="1588">
                  <c:v>6.0388756549651772</c:v>
                </c:pt>
                <c:pt idx="1589">
                  <c:v>5.9456037897608294</c:v>
                </c:pt>
                <c:pt idx="1590">
                  <c:v>4.8876612059468556</c:v>
                </c:pt>
                <c:pt idx="1591">
                  <c:v>4.9302834662293611</c:v>
                </c:pt>
                <c:pt idx="1592">
                  <c:v>5.1248780853269942</c:v>
                </c:pt>
                <c:pt idx="1593">
                  <c:v>4.9889656192643015</c:v>
                </c:pt>
                <c:pt idx="1594">
                  <c:v>6.0423308486376932</c:v>
                </c:pt>
                <c:pt idx="1595">
                  <c:v>5.1482429645527796</c:v>
                </c:pt>
                <c:pt idx="1596">
                  <c:v>6.0698520783869965</c:v>
                </c:pt>
                <c:pt idx="1597">
                  <c:v>6.0198787373307292</c:v>
                </c:pt>
                <c:pt idx="1598">
                  <c:v>5.0239392257237467</c:v>
                </c:pt>
                <c:pt idx="1599">
                  <c:v>6.8994519357586439</c:v>
                </c:pt>
                <c:pt idx="1600">
                  <c:v>5.9426898908134733</c:v>
                </c:pt>
                <c:pt idx="1601">
                  <c:v>4.9512737368493571</c:v>
                </c:pt>
                <c:pt idx="1602">
                  <c:v>5.016811751011204</c:v>
                </c:pt>
                <c:pt idx="1603">
                  <c:v>6.0769687858037562</c:v>
                </c:pt>
                <c:pt idx="1604">
                  <c:v>5.02756902148887</c:v>
                </c:pt>
                <c:pt idx="1605">
                  <c:v>6.0794510723030273</c:v>
                </c:pt>
                <c:pt idx="1606">
                  <c:v>4.8138925518741527</c:v>
                </c:pt>
                <c:pt idx="1607">
                  <c:v>6.097146003314041</c:v>
                </c:pt>
                <c:pt idx="1608">
                  <c:v>6.1640262583258547</c:v>
                </c:pt>
                <c:pt idx="1609">
                  <c:v>5.1013682409547076</c:v>
                </c:pt>
                <c:pt idx="1610">
                  <c:v>5.8740073363986181</c:v>
                </c:pt>
                <c:pt idx="1611">
                  <c:v>5.9468040461806471</c:v>
                </c:pt>
                <c:pt idx="1612">
                  <c:v>6.0935087929108755</c:v>
                </c:pt>
                <c:pt idx="1613">
                  <c:v>5.8299598981463721</c:v>
                </c:pt>
                <c:pt idx="1614">
                  <c:v>6.0754805607255946</c:v>
                </c:pt>
                <c:pt idx="1615">
                  <c:v>5.8292385078480349</c:v>
                </c:pt>
                <c:pt idx="1616">
                  <c:v>6.0644635907741922</c:v>
                </c:pt>
                <c:pt idx="1617">
                  <c:v>6.0222869053474186</c:v>
                </c:pt>
                <c:pt idx="1618">
                  <c:v>5.0072494557642573</c:v>
                </c:pt>
                <c:pt idx="1619">
                  <c:v>6.0446459550889147</c:v>
                </c:pt>
                <c:pt idx="1620">
                  <c:v>5.9832665587517972</c:v>
                </c:pt>
                <c:pt idx="1621">
                  <c:v>5.0484286958392097</c:v>
                </c:pt>
                <c:pt idx="1622">
                  <c:v>4.8636805950710738</c:v>
                </c:pt>
                <c:pt idx="1623">
                  <c:v>6.1621290160024627</c:v>
                </c:pt>
                <c:pt idx="1624">
                  <c:v>4.9402358825573875</c:v>
                </c:pt>
                <c:pt idx="1625">
                  <c:v>5.7991090339238625</c:v>
                </c:pt>
                <c:pt idx="1626">
                  <c:v>5.7918254713655486</c:v>
                </c:pt>
                <c:pt idx="1627">
                  <c:v>5.9632265721059179</c:v>
                </c:pt>
                <c:pt idx="1628">
                  <c:v>4.8876202473119834</c:v>
                </c:pt>
                <c:pt idx="1629">
                  <c:v>6.1437152396836439</c:v>
                </c:pt>
                <c:pt idx="1630">
                  <c:v>6.1221903983915524</c:v>
                </c:pt>
                <c:pt idx="1631">
                  <c:v>4.9624739134349811</c:v>
                </c:pt>
                <c:pt idx="1632">
                  <c:v>4.9683110444877849</c:v>
                </c:pt>
                <c:pt idx="1633">
                  <c:v>5.2480588608432202</c:v>
                </c:pt>
                <c:pt idx="1634">
                  <c:v>4.74735852812295</c:v>
                </c:pt>
                <c:pt idx="1635">
                  <c:v>7.1588568522628044</c:v>
                </c:pt>
                <c:pt idx="1636">
                  <c:v>5.0122034919857708</c:v>
                </c:pt>
                <c:pt idx="1637">
                  <c:v>4.8858732119302015</c:v>
                </c:pt>
                <c:pt idx="1638">
                  <c:v>5.0445430634380815</c:v>
                </c:pt>
                <c:pt idx="1639">
                  <c:v>4.8368747116876625</c:v>
                </c:pt>
                <c:pt idx="1640">
                  <c:v>4.9130102368451931</c:v>
                </c:pt>
                <c:pt idx="1641">
                  <c:v>4.0568087796770982</c:v>
                </c:pt>
                <c:pt idx="1642">
                  <c:v>4.0717940008802334</c:v>
                </c:pt>
                <c:pt idx="1643">
                  <c:v>4.8460173896114078</c:v>
                </c:pt>
                <c:pt idx="1644">
                  <c:v>3.9652083442792754</c:v>
                </c:pt>
                <c:pt idx="1645">
                  <c:v>4.8560107311468821</c:v>
                </c:pt>
                <c:pt idx="1646">
                  <c:v>4.9902981786801428</c:v>
                </c:pt>
                <c:pt idx="1647">
                  <c:v>5.0519511087515392</c:v>
                </c:pt>
                <c:pt idx="1648">
                  <c:v>5.9849069029894393</c:v>
                </c:pt>
                <c:pt idx="1649">
                  <c:v>4.9805979476424724</c:v>
                </c:pt>
                <c:pt idx="1650">
                  <c:v>4.9518561966153616</c:v>
                </c:pt>
                <c:pt idx="1651">
                  <c:v>6.1268435304747006</c:v>
                </c:pt>
                <c:pt idx="1652">
                  <c:v>5.9277779476882824</c:v>
                </c:pt>
                <c:pt idx="1653">
                  <c:v>6.0044324793110224</c:v>
                </c:pt>
                <c:pt idx="1654">
                  <c:v>4.9794921156654501</c:v>
                </c:pt>
                <c:pt idx="1655">
                  <c:v>5.8965083023047935</c:v>
                </c:pt>
                <c:pt idx="1656">
                  <c:v>6.1129733354065028</c:v>
                </c:pt>
                <c:pt idx="1657">
                  <c:v>6.0824156767470159</c:v>
                </c:pt>
                <c:pt idx="1658">
                  <c:v>6.0056174527730937</c:v>
                </c:pt>
                <c:pt idx="1659">
                  <c:v>5.9551203512054007</c:v>
                </c:pt>
                <c:pt idx="1660">
                  <c:v>5.0800268402610413</c:v>
                </c:pt>
                <c:pt idx="1661">
                  <c:v>6.0953871116214504</c:v>
                </c:pt>
                <c:pt idx="1662">
                  <c:v>5.9780243316345674</c:v>
                </c:pt>
                <c:pt idx="1663">
                  <c:v>5.9467183379880728</c:v>
                </c:pt>
                <c:pt idx="1664">
                  <c:v>5.8480393291786585</c:v>
                </c:pt>
                <c:pt idx="1665">
                  <c:v>4.946190586525085</c:v>
                </c:pt>
                <c:pt idx="1666">
                  <c:v>5.1425426393122367</c:v>
                </c:pt>
                <c:pt idx="1667">
                  <c:v>5.0231568680827436</c:v>
                </c:pt>
                <c:pt idx="1668">
                  <c:v>5.1124419254701312</c:v>
                </c:pt>
                <c:pt idx="1669">
                  <c:v>5.9345883324534938</c:v>
                </c:pt>
                <c:pt idx="1670">
                  <c:v>4.9552258568370311</c:v>
                </c:pt>
                <c:pt idx="1671">
                  <c:v>5.8927047473224166</c:v>
                </c:pt>
                <c:pt idx="1672">
                  <c:v>5.1849156909881531</c:v>
                </c:pt>
                <c:pt idx="1673">
                  <c:v>4.9808950406419763</c:v>
                </c:pt>
                <c:pt idx="1674">
                  <c:v>5.989677831311548</c:v>
                </c:pt>
                <c:pt idx="1675">
                  <c:v>5.9834037971231284</c:v>
                </c:pt>
                <c:pt idx="1676">
                  <c:v>5.8324936232081148</c:v>
                </c:pt>
                <c:pt idx="1677">
                  <c:v>6.116095836878543</c:v>
                </c:pt>
                <c:pt idx="1678">
                  <c:v>5.0078871522200297</c:v>
                </c:pt>
                <c:pt idx="1679">
                  <c:v>4.8590788787663</c:v>
                </c:pt>
                <c:pt idx="1680">
                  <c:v>6.2000239635277765</c:v>
                </c:pt>
                <c:pt idx="1681">
                  <c:v>5.1116560927838535</c:v>
                </c:pt>
                <c:pt idx="1682">
                  <c:v>6.0350862199330519</c:v>
                </c:pt>
                <c:pt idx="1683">
                  <c:v>4.9431397368560051</c:v>
                </c:pt>
                <c:pt idx="1684">
                  <c:v>6.0529166820082789</c:v>
                </c:pt>
                <c:pt idx="1685">
                  <c:v>5.937878870251426</c:v>
                </c:pt>
                <c:pt idx="1686">
                  <c:v>5.9030984466826073</c:v>
                </c:pt>
                <c:pt idx="1687">
                  <c:v>5.9663760687832061</c:v>
                </c:pt>
                <c:pt idx="1688">
                  <c:v>4.9958593621578995</c:v>
                </c:pt>
                <c:pt idx="1689">
                  <c:v>5.956308523364144</c:v>
                </c:pt>
                <c:pt idx="1690">
                  <c:v>5.2379020443299034</c:v>
                </c:pt>
                <c:pt idx="1691">
                  <c:v>4.9019466371206377</c:v>
                </c:pt>
                <c:pt idx="1692">
                  <c:v>6.0422790651991205</c:v>
                </c:pt>
                <c:pt idx="1693">
                  <c:v>7.0536372004064978</c:v>
                </c:pt>
                <c:pt idx="1694">
                  <c:v>5.1463293766966212</c:v>
                </c:pt>
                <c:pt idx="1695">
                  <c:v>4.9174754394265676</c:v>
                </c:pt>
                <c:pt idx="1696">
                  <c:v>5.1675038119243979</c:v>
                </c:pt>
                <c:pt idx="1697">
                  <c:v>6.142760437741388</c:v>
                </c:pt>
                <c:pt idx="1698">
                  <c:v>5.003157606942624</c:v>
                </c:pt>
                <c:pt idx="1699">
                  <c:v>4.7997180646578732</c:v>
                </c:pt>
                <c:pt idx="1700">
                  <c:v>7.010775156421472</c:v>
                </c:pt>
                <c:pt idx="1701">
                  <c:v>6.0642888112883773</c:v>
                </c:pt>
                <c:pt idx="1702">
                  <c:v>5.8794314586448877</c:v>
                </c:pt>
                <c:pt idx="1703">
                  <c:v>6.1073940019664716</c:v>
                </c:pt>
                <c:pt idx="1704">
                  <c:v>6.1173287459887611</c:v>
                </c:pt>
                <c:pt idx="1705">
                  <c:v>4.8421319744324975</c:v>
                </c:pt>
                <c:pt idx="1706">
                  <c:v>4.9481736878241378</c:v>
                </c:pt>
                <c:pt idx="1707">
                  <c:v>5.9997440973033127</c:v>
                </c:pt>
                <c:pt idx="1708">
                  <c:v>5.9998158504125998</c:v>
                </c:pt>
                <c:pt idx="1709">
                  <c:v>5.8872233950937289</c:v>
                </c:pt>
                <c:pt idx="1710">
                  <c:v>5.0577872971097904</c:v>
                </c:pt>
                <c:pt idx="1711">
                  <c:v>6.0402280299672482</c:v>
                </c:pt>
                <c:pt idx="1712">
                  <c:v>5.0369402998500341</c:v>
                </c:pt>
                <c:pt idx="1713">
                  <c:v>6.0687542663535732</c:v>
                </c:pt>
                <c:pt idx="1714">
                  <c:v>5.1074470609559572</c:v>
                </c:pt>
                <c:pt idx="1715">
                  <c:v>4.9591039636061085</c:v>
                </c:pt>
                <c:pt idx="1716">
                  <c:v>4.9589175018003067</c:v>
                </c:pt>
                <c:pt idx="1717">
                  <c:v>6.0324211720092968</c:v>
                </c:pt>
                <c:pt idx="1718">
                  <c:v>4.9557464030816485</c:v>
                </c:pt>
                <c:pt idx="1719">
                  <c:v>5.0073470099336355</c:v>
                </c:pt>
                <c:pt idx="1720">
                  <c:v>4.9585231271684975</c:v>
                </c:pt>
                <c:pt idx="1721">
                  <c:v>4.9536980162583486</c:v>
                </c:pt>
                <c:pt idx="1722">
                  <c:v>5.0104799381652452</c:v>
                </c:pt>
                <c:pt idx="1723">
                  <c:v>4.9535526185937231</c:v>
                </c:pt>
                <c:pt idx="1724">
                  <c:v>5.8030444491984543</c:v>
                </c:pt>
                <c:pt idx="1725">
                  <c:v>8.0813146389412704</c:v>
                </c:pt>
                <c:pt idx="1726">
                  <c:v>6.0318079781479916</c:v>
                </c:pt>
                <c:pt idx="1727">
                  <c:v>6.0818817929035802</c:v>
                </c:pt>
                <c:pt idx="1728">
                  <c:v>5.0428860601789696</c:v>
                </c:pt>
                <c:pt idx="1729">
                  <c:v>6.0640122191981476</c:v>
                </c:pt>
                <c:pt idx="1730">
                  <c:v>4.8299553514755331</c:v>
                </c:pt>
                <c:pt idx="1731">
                  <c:v>4.8820492691416222</c:v>
                </c:pt>
                <c:pt idx="1732">
                  <c:v>6.0178369732750516</c:v>
                </c:pt>
                <c:pt idx="1733">
                  <c:v>6.0749891336618438</c:v>
                </c:pt>
                <c:pt idx="1734">
                  <c:v>5.0981179937987813</c:v>
                </c:pt>
                <c:pt idx="1735">
                  <c:v>6.0193022339934394</c:v>
                </c:pt>
                <c:pt idx="1736">
                  <c:v>5.9783379240996233</c:v>
                </c:pt>
                <c:pt idx="1737">
                  <c:v>4.9935769857790069</c:v>
                </c:pt>
                <c:pt idx="1738">
                  <c:v>6.0173771631129753</c:v>
                </c:pt>
                <c:pt idx="1739">
                  <c:v>5.9564139151139628</c:v>
                </c:pt>
                <c:pt idx="1740">
                  <c:v>6.0186644143235517</c:v>
                </c:pt>
                <c:pt idx="1741">
                  <c:v>6.0841275744077707</c:v>
                </c:pt>
                <c:pt idx="1742">
                  <c:v>4.939363854198823</c:v>
                </c:pt>
                <c:pt idx="1743">
                  <c:v>5.0209056256243576</c:v>
                </c:pt>
                <c:pt idx="1744">
                  <c:v>5.0896914770945445</c:v>
                </c:pt>
                <c:pt idx="1745">
                  <c:v>4.8843353109940315</c:v>
                </c:pt>
                <c:pt idx="1746">
                  <c:v>5.8573581035146836</c:v>
                </c:pt>
                <c:pt idx="1747">
                  <c:v>5.1464830439188232</c:v>
                </c:pt>
                <c:pt idx="1748">
                  <c:v>4.9875841425473002</c:v>
                </c:pt>
                <c:pt idx="1749">
                  <c:v>5.137286263988261</c:v>
                </c:pt>
                <c:pt idx="1750">
                  <c:v>4.9382685892016598</c:v>
                </c:pt>
                <c:pt idx="1751">
                  <c:v>5.0948724969759258</c:v>
                </c:pt>
                <c:pt idx="1752">
                  <c:v>4.95963643336645</c:v>
                </c:pt>
                <c:pt idx="1753">
                  <c:v>6.1155271975919199</c:v>
                </c:pt>
                <c:pt idx="1754">
                  <c:v>6.1934810136891558</c:v>
                </c:pt>
                <c:pt idx="1755">
                  <c:v>5.9722855793114773</c:v>
                </c:pt>
                <c:pt idx="1756">
                  <c:v>5.0330797874487541</c:v>
                </c:pt>
                <c:pt idx="1757">
                  <c:v>5.8649112305885911</c:v>
                </c:pt>
                <c:pt idx="1758">
                  <c:v>5.0288746708351661</c:v>
                </c:pt>
                <c:pt idx="1759">
                  <c:v>5.0759050376335875</c:v>
                </c:pt>
                <c:pt idx="1760">
                  <c:v>6.1808745233986278</c:v>
                </c:pt>
                <c:pt idx="1761">
                  <c:v>5.0849757094733441</c:v>
                </c:pt>
                <c:pt idx="1762">
                  <c:v>5.9705043357779886</c:v>
                </c:pt>
                <c:pt idx="1763">
                  <c:v>6.9432394029726252</c:v>
                </c:pt>
                <c:pt idx="1764">
                  <c:v>5.1736793779655557</c:v>
                </c:pt>
                <c:pt idx="1765">
                  <c:v>6.0415193177578388</c:v>
                </c:pt>
                <c:pt idx="1766">
                  <c:v>4.9525124879857083</c:v>
                </c:pt>
                <c:pt idx="1767">
                  <c:v>6.0577004633358085</c:v>
                </c:pt>
                <c:pt idx="1768">
                  <c:v>5.9480296879828245</c:v>
                </c:pt>
                <c:pt idx="1769">
                  <c:v>7.1208564105923857</c:v>
                </c:pt>
                <c:pt idx="1770">
                  <c:v>5.7847013161717866</c:v>
                </c:pt>
                <c:pt idx="1771">
                  <c:v>5.1916110196543119</c:v>
                </c:pt>
                <c:pt idx="1772">
                  <c:v>4.8849252239357535</c:v>
                </c:pt>
                <c:pt idx="1773">
                  <c:v>5.0728877469520119</c:v>
                </c:pt>
                <c:pt idx="1774">
                  <c:v>5.1090630346135741</c:v>
                </c:pt>
                <c:pt idx="1775">
                  <c:v>5.0460749940729777</c:v>
                </c:pt>
                <c:pt idx="1776">
                  <c:v>4.9338329237332026</c:v>
                </c:pt>
                <c:pt idx="1777">
                  <c:v>6.0756324752865707</c:v>
                </c:pt>
                <c:pt idx="1778">
                  <c:v>4.9998709419589282</c:v>
                </c:pt>
                <c:pt idx="1779">
                  <c:v>7.0985852971509864</c:v>
                </c:pt>
                <c:pt idx="1780">
                  <c:v>6.0140461442834425</c:v>
                </c:pt>
                <c:pt idx="1781">
                  <c:v>6.9825589629116482</c:v>
                </c:pt>
                <c:pt idx="1782">
                  <c:v>7.2185148878607013</c:v>
                </c:pt>
                <c:pt idx="1783">
                  <c:v>7.0078224728425278</c:v>
                </c:pt>
                <c:pt idx="1784">
                  <c:v>5.1230315443199412</c:v>
                </c:pt>
                <c:pt idx="1785">
                  <c:v>6.1878968537699546</c:v>
                </c:pt>
                <c:pt idx="1786">
                  <c:v>4.9935645686681669</c:v>
                </c:pt>
                <c:pt idx="1787">
                  <c:v>6.0023284724834332</c:v>
                </c:pt>
                <c:pt idx="1788">
                  <c:v>5.0262893481954203</c:v>
                </c:pt>
                <c:pt idx="1789">
                  <c:v>5.9382634541594994</c:v>
                </c:pt>
                <c:pt idx="1790">
                  <c:v>5.8400088778920471</c:v>
                </c:pt>
                <c:pt idx="1791">
                  <c:v>5.0536722797038207</c:v>
                </c:pt>
                <c:pt idx="1792">
                  <c:v>6.0152948395605774</c:v>
                </c:pt>
                <c:pt idx="1793">
                  <c:v>6.1051945765989455</c:v>
                </c:pt>
                <c:pt idx="1794">
                  <c:v>5.9485971436265626</c:v>
                </c:pt>
                <c:pt idx="1795">
                  <c:v>6.0994079050710681</c:v>
                </c:pt>
                <c:pt idx="1796">
                  <c:v>5.9605744693683071</c:v>
                </c:pt>
                <c:pt idx="1797">
                  <c:v>5.0236891580984402</c:v>
                </c:pt>
                <c:pt idx="1798">
                  <c:v>6.1593456100323625</c:v>
                </c:pt>
                <c:pt idx="1799">
                  <c:v>6.8705454235806798</c:v>
                </c:pt>
                <c:pt idx="1800">
                  <c:v>5.0574122244510091</c:v>
                </c:pt>
                <c:pt idx="1801">
                  <c:v>6.0501801321697926</c:v>
                </c:pt>
                <c:pt idx="1802">
                  <c:v>6.0045373223512968</c:v>
                </c:pt>
                <c:pt idx="1803">
                  <c:v>5.1425369371948211</c:v>
                </c:pt>
                <c:pt idx="1804">
                  <c:v>6.9094969449193639</c:v>
                </c:pt>
                <c:pt idx="1805">
                  <c:v>5.9816075003194928</c:v>
                </c:pt>
                <c:pt idx="1806">
                  <c:v>5.1240520206668814</c:v>
                </c:pt>
                <c:pt idx="1807">
                  <c:v>6.9828091622477046</c:v>
                </c:pt>
                <c:pt idx="1808">
                  <c:v>4.9648246369158358</c:v>
                </c:pt>
                <c:pt idx="1809">
                  <c:v>7.0948237282542603</c:v>
                </c:pt>
                <c:pt idx="1810">
                  <c:v>5.9185876423196371</c:v>
                </c:pt>
                <c:pt idx="1811">
                  <c:v>6.6928135937604365</c:v>
                </c:pt>
                <c:pt idx="1812">
                  <c:v>7.0282815141466841</c:v>
                </c:pt>
                <c:pt idx="1813">
                  <c:v>5.0153821084628545</c:v>
                </c:pt>
                <c:pt idx="1814">
                  <c:v>6.0114208270581546</c:v>
                </c:pt>
                <c:pt idx="1815">
                  <c:v>4.0784058792096687</c:v>
                </c:pt>
                <c:pt idx="1816">
                  <c:v>6.0778495647403474</c:v>
                </c:pt>
                <c:pt idx="1817">
                  <c:v>5.8753582455585649</c:v>
                </c:pt>
                <c:pt idx="1818">
                  <c:v>7.0697175170187849</c:v>
                </c:pt>
                <c:pt idx="1819">
                  <c:v>5.927838985661924</c:v>
                </c:pt>
                <c:pt idx="1820">
                  <c:v>5.7897193056260097</c:v>
                </c:pt>
                <c:pt idx="1821">
                  <c:v>5.063664285905813</c:v>
                </c:pt>
                <c:pt idx="1822">
                  <c:v>6.0337025687798889</c:v>
                </c:pt>
                <c:pt idx="1823">
                  <c:v>6.1096741120324429</c:v>
                </c:pt>
                <c:pt idx="1824">
                  <c:v>6.1021831526157611</c:v>
                </c:pt>
                <c:pt idx="1825">
                  <c:v>5.9030721402528537</c:v>
                </c:pt>
                <c:pt idx="1826">
                  <c:v>9.0264528855788395</c:v>
                </c:pt>
                <c:pt idx="1827">
                  <c:v>4.9722096660373989</c:v>
                </c:pt>
                <c:pt idx="1828">
                  <c:v>4.9955433140996455</c:v>
                </c:pt>
                <c:pt idx="1829">
                  <c:v>4.9052724023850178</c:v>
                </c:pt>
                <c:pt idx="1830">
                  <c:v>4.8319370422073895</c:v>
                </c:pt>
                <c:pt idx="1831">
                  <c:v>3.8452586645193469</c:v>
                </c:pt>
                <c:pt idx="1832">
                  <c:v>4.9736679309340319</c:v>
                </c:pt>
                <c:pt idx="1833">
                  <c:v>5.2016210025587339</c:v>
                </c:pt>
                <c:pt idx="1834">
                  <c:v>5.0365078410291551</c:v>
                </c:pt>
                <c:pt idx="1835">
                  <c:v>6.0234611055650644</c:v>
                </c:pt>
                <c:pt idx="1836">
                  <c:v>4.9337381282089101</c:v>
                </c:pt>
                <c:pt idx="1837">
                  <c:v>5.0018988814874339</c:v>
                </c:pt>
                <c:pt idx="1838">
                  <c:v>4.8986097686540955</c:v>
                </c:pt>
                <c:pt idx="1839">
                  <c:v>3.9371597052199263</c:v>
                </c:pt>
                <c:pt idx="1840">
                  <c:v>6.0051959529422065</c:v>
                </c:pt>
                <c:pt idx="1841">
                  <c:v>3.9764402739304296</c:v>
                </c:pt>
                <c:pt idx="1842">
                  <c:v>5.1612670897312363</c:v>
                </c:pt>
                <c:pt idx="1843">
                  <c:v>4.9464850020154456</c:v>
                </c:pt>
                <c:pt idx="1844">
                  <c:v>5.9201482252619035</c:v>
                </c:pt>
                <c:pt idx="1845">
                  <c:v>5.0399797319303916</c:v>
                </c:pt>
                <c:pt idx="1846">
                  <c:v>5.9733481112363345</c:v>
                </c:pt>
                <c:pt idx="1847">
                  <c:v>6.9959540668243907</c:v>
                </c:pt>
                <c:pt idx="1848">
                  <c:v>5.9726826650189535</c:v>
                </c:pt>
                <c:pt idx="1849">
                  <c:v>5.1643763870214432</c:v>
                </c:pt>
                <c:pt idx="1850">
                  <c:v>6.9997728129432053</c:v>
                </c:pt>
                <c:pt idx="1851">
                  <c:v>6.2093573522551004</c:v>
                </c:pt>
                <c:pt idx="1852">
                  <c:v>5.9736306742073797</c:v>
                </c:pt>
                <c:pt idx="1853">
                  <c:v>6.164324825083189</c:v>
                </c:pt>
                <c:pt idx="1854">
                  <c:v>5.9377180463280697</c:v>
                </c:pt>
                <c:pt idx="1855">
                  <c:v>6.8469999152980749</c:v>
                </c:pt>
                <c:pt idx="1856">
                  <c:v>7.2107083768768581</c:v>
                </c:pt>
                <c:pt idx="1857">
                  <c:v>4.9827418743435326</c:v>
                </c:pt>
                <c:pt idx="1858">
                  <c:v>7.0158578223459189</c:v>
                </c:pt>
                <c:pt idx="1859">
                  <c:v>6.8634451223068647</c:v>
                </c:pt>
                <c:pt idx="1860">
                  <c:v>5.8691784540447642</c:v>
                </c:pt>
                <c:pt idx="1861">
                  <c:v>6.9767166690993552</c:v>
                </c:pt>
                <c:pt idx="1862">
                  <c:v>6.7847223872921925</c:v>
                </c:pt>
                <c:pt idx="1863">
                  <c:v>7.0048115452333963</c:v>
                </c:pt>
                <c:pt idx="1864">
                  <c:v>4.9926160491588263</c:v>
                </c:pt>
                <c:pt idx="1865">
                  <c:v>6.0090736399530753</c:v>
                </c:pt>
                <c:pt idx="1866">
                  <c:v>4.9345205908277388</c:v>
                </c:pt>
                <c:pt idx="1867">
                  <c:v>5.9671194134384713</c:v>
                </c:pt>
                <c:pt idx="1868">
                  <c:v>5.098150801505021</c:v>
                </c:pt>
                <c:pt idx="1869">
                  <c:v>5.0027293020226296</c:v>
                </c:pt>
                <c:pt idx="1870">
                  <c:v>4.9821591746138054</c:v>
                </c:pt>
                <c:pt idx="1871">
                  <c:v>7.236976377514746</c:v>
                </c:pt>
                <c:pt idx="1872">
                  <c:v>5.990309492725971</c:v>
                </c:pt>
                <c:pt idx="1873">
                  <c:v>7.0523038038789458</c:v>
                </c:pt>
                <c:pt idx="1874">
                  <c:v>6.050852088859072</c:v>
                </c:pt>
                <c:pt idx="1875">
                  <c:v>3.9546035724120947</c:v>
                </c:pt>
                <c:pt idx="1876">
                  <c:v>5.9237584542453376</c:v>
                </c:pt>
                <c:pt idx="1877">
                  <c:v>4.8266800447999074</c:v>
                </c:pt>
                <c:pt idx="1878">
                  <c:v>4.9894959677160786</c:v>
                </c:pt>
                <c:pt idx="1879">
                  <c:v>4.9443488125340407</c:v>
                </c:pt>
                <c:pt idx="1880">
                  <c:v>5.1154399311175309</c:v>
                </c:pt>
                <c:pt idx="1881">
                  <c:v>7.0624530791436699</c:v>
                </c:pt>
                <c:pt idx="1882">
                  <c:v>5.9684993877819945</c:v>
                </c:pt>
                <c:pt idx="1883">
                  <c:v>6.7399487272290592</c:v>
                </c:pt>
                <c:pt idx="1884">
                  <c:v>5.1098282424249888</c:v>
                </c:pt>
                <c:pt idx="1885">
                  <c:v>6.0495952957151369</c:v>
                </c:pt>
                <c:pt idx="1886">
                  <c:v>6.0379423850912843</c:v>
                </c:pt>
                <c:pt idx="1887">
                  <c:v>5.0454735206953538</c:v>
                </c:pt>
                <c:pt idx="1888">
                  <c:v>4.8600351507445456</c:v>
                </c:pt>
                <c:pt idx="1889">
                  <c:v>3.9244732684930441</c:v>
                </c:pt>
                <c:pt idx="1890">
                  <c:v>4.8916104560981752</c:v>
                </c:pt>
                <c:pt idx="1891">
                  <c:v>5.9768451022882125</c:v>
                </c:pt>
                <c:pt idx="1892">
                  <c:v>5.9541704901579449</c:v>
                </c:pt>
                <c:pt idx="1893">
                  <c:v>5.900173842055831</c:v>
                </c:pt>
                <c:pt idx="1894">
                  <c:v>5.9961541018956339</c:v>
                </c:pt>
                <c:pt idx="1895">
                  <c:v>6.0541956601608318</c:v>
                </c:pt>
                <c:pt idx="1896">
                  <c:v>5.0906290641826812</c:v>
                </c:pt>
                <c:pt idx="1897">
                  <c:v>5.0255564854339845</c:v>
                </c:pt>
                <c:pt idx="1898">
                  <c:v>6.0626070962485867</c:v>
                </c:pt>
                <c:pt idx="1899">
                  <c:v>4.8829600865698453</c:v>
                </c:pt>
                <c:pt idx="1900">
                  <c:v>6.1724697856415291</c:v>
                </c:pt>
                <c:pt idx="1901">
                  <c:v>6.0028870091899318</c:v>
                </c:pt>
                <c:pt idx="1902">
                  <c:v>6.0423748444841854</c:v>
                </c:pt>
                <c:pt idx="1903">
                  <c:v>6.1468604925921388</c:v>
                </c:pt>
                <c:pt idx="1904">
                  <c:v>6.1579492756514176</c:v>
                </c:pt>
                <c:pt idx="1905">
                  <c:v>5.0223187403029517</c:v>
                </c:pt>
                <c:pt idx="1906">
                  <c:v>4.9821010100152145</c:v>
                </c:pt>
                <c:pt idx="1907">
                  <c:v>4.9311953469482468</c:v>
                </c:pt>
                <c:pt idx="1908">
                  <c:v>3.9742719081528666</c:v>
                </c:pt>
                <c:pt idx="1909">
                  <c:v>4.9987070934797702</c:v>
                </c:pt>
                <c:pt idx="1910">
                  <c:v>5.2375940601534801</c:v>
                </c:pt>
                <c:pt idx="1911">
                  <c:v>5.0544509451820296</c:v>
                </c:pt>
                <c:pt idx="1912">
                  <c:v>7.0848699782358366</c:v>
                </c:pt>
                <c:pt idx="1913">
                  <c:v>4.8439263444115408</c:v>
                </c:pt>
                <c:pt idx="1914">
                  <c:v>5.1335664016556457</c:v>
                </c:pt>
                <c:pt idx="1915">
                  <c:v>5.0478045656623065</c:v>
                </c:pt>
                <c:pt idx="1916">
                  <c:v>4.9115574321741704</c:v>
                </c:pt>
                <c:pt idx="1917">
                  <c:v>5.8900067926553143</c:v>
                </c:pt>
                <c:pt idx="1918">
                  <c:v>6.1599049583320671</c:v>
                </c:pt>
                <c:pt idx="1919">
                  <c:v>5.0890651847006643</c:v>
                </c:pt>
                <c:pt idx="1920">
                  <c:v>4.8854062854152707</c:v>
                </c:pt>
                <c:pt idx="1921">
                  <c:v>5.9211598840395965</c:v>
                </c:pt>
                <c:pt idx="1922">
                  <c:v>5.2352997497559546</c:v>
                </c:pt>
                <c:pt idx="1923">
                  <c:v>4.8753165222245887</c:v>
                </c:pt>
                <c:pt idx="1924">
                  <c:v>5.0623654828201197</c:v>
                </c:pt>
                <c:pt idx="1925">
                  <c:v>4.9877180592343304</c:v>
                </c:pt>
                <c:pt idx="1926">
                  <c:v>5.0381475471163926</c:v>
                </c:pt>
                <c:pt idx="1927">
                  <c:v>5.1132958907190122</c:v>
                </c:pt>
                <c:pt idx="1928">
                  <c:v>5.973265708379496</c:v>
                </c:pt>
                <c:pt idx="1929">
                  <c:v>6.0380260803014423</c:v>
                </c:pt>
                <c:pt idx="1930">
                  <c:v>5.1243461755671502</c:v>
                </c:pt>
                <c:pt idx="1931">
                  <c:v>5.2682552168417711</c:v>
                </c:pt>
                <c:pt idx="1932">
                  <c:v>5.9044223634971589</c:v>
                </c:pt>
                <c:pt idx="1933">
                  <c:v>5.1731981729495997</c:v>
                </c:pt>
                <c:pt idx="1934">
                  <c:v>5.1571840674846952</c:v>
                </c:pt>
                <c:pt idx="1935">
                  <c:v>5.8648746132395058</c:v>
                </c:pt>
                <c:pt idx="1936">
                  <c:v>6.0815479551659237</c:v>
                </c:pt>
                <c:pt idx="1937">
                  <c:v>5.0747648859491594</c:v>
                </c:pt>
                <c:pt idx="1938">
                  <c:v>5.9076631291276129</c:v>
                </c:pt>
                <c:pt idx="1939">
                  <c:v>4.9607035691445738</c:v>
                </c:pt>
                <c:pt idx="1940">
                  <c:v>5.1195092703349276</c:v>
                </c:pt>
                <c:pt idx="1941">
                  <c:v>6.1426128237295812</c:v>
                </c:pt>
                <c:pt idx="1942">
                  <c:v>6.1430170196857503</c:v>
                </c:pt>
                <c:pt idx="1943">
                  <c:v>5.0779475503779654</c:v>
                </c:pt>
                <c:pt idx="1944">
                  <c:v>3.8988316500062763</c:v>
                </c:pt>
                <c:pt idx="1945">
                  <c:v>4.1718932029342506</c:v>
                </c:pt>
                <c:pt idx="1946">
                  <c:v>5.9871867617552645</c:v>
                </c:pt>
                <c:pt idx="1947">
                  <c:v>4.9032504043529075</c:v>
                </c:pt>
                <c:pt idx="1948">
                  <c:v>5.1555794910644837</c:v>
                </c:pt>
                <c:pt idx="1949">
                  <c:v>6.0477721353514786</c:v>
                </c:pt>
                <c:pt idx="1950">
                  <c:v>7.1139018533435969</c:v>
                </c:pt>
                <c:pt idx="1951">
                  <c:v>5.9877073230997349</c:v>
                </c:pt>
                <c:pt idx="1952">
                  <c:v>6.8317610331480001</c:v>
                </c:pt>
                <c:pt idx="1953">
                  <c:v>7.0689215210281127</c:v>
                </c:pt>
                <c:pt idx="1954">
                  <c:v>6.9297816574994116</c:v>
                </c:pt>
                <c:pt idx="1955">
                  <c:v>6.9107329068019219</c:v>
                </c:pt>
                <c:pt idx="1956">
                  <c:v>2.797583864084964</c:v>
                </c:pt>
                <c:pt idx="1957">
                  <c:v>3.197216439017426</c:v>
                </c:pt>
                <c:pt idx="1958">
                  <c:v>5.0770728902413271</c:v>
                </c:pt>
                <c:pt idx="1959">
                  <c:v>6.0166256968430218</c:v>
                </c:pt>
                <c:pt idx="1960">
                  <c:v>5.9886367569074839</c:v>
                </c:pt>
                <c:pt idx="1961">
                  <c:v>4.0305606253963555</c:v>
                </c:pt>
                <c:pt idx="1962">
                  <c:v>4.8665892393337984</c:v>
                </c:pt>
                <c:pt idx="1963">
                  <c:v>6.1718954041466905</c:v>
                </c:pt>
                <c:pt idx="1964">
                  <c:v>5.1029006991763328</c:v>
                </c:pt>
                <c:pt idx="1965">
                  <c:v>5.9020042574259666</c:v>
                </c:pt>
                <c:pt idx="1966">
                  <c:v>6.0844835021909818</c:v>
                </c:pt>
                <c:pt idx="1967">
                  <c:v>5.1401193917595478</c:v>
                </c:pt>
                <c:pt idx="1968">
                  <c:v>4.9715652921437314</c:v>
                </c:pt>
                <c:pt idx="1969">
                  <c:v>6.0878675711627519</c:v>
                </c:pt>
                <c:pt idx="1970">
                  <c:v>5.0131134139539606</c:v>
                </c:pt>
                <c:pt idx="1971">
                  <c:v>5.7964402549602712</c:v>
                </c:pt>
                <c:pt idx="1972">
                  <c:v>4.9401197265655039</c:v>
                </c:pt>
                <c:pt idx="1973">
                  <c:v>4.7997627548285005</c:v>
                </c:pt>
                <c:pt idx="1974">
                  <c:v>4.9638669211834365</c:v>
                </c:pt>
                <c:pt idx="1975">
                  <c:v>4.8983820726440364</c:v>
                </c:pt>
                <c:pt idx="1976">
                  <c:v>5.0993948533761726</c:v>
                </c:pt>
                <c:pt idx="1977">
                  <c:v>5.9142214611728505</c:v>
                </c:pt>
                <c:pt idx="1978">
                  <c:v>6.0432246853087488</c:v>
                </c:pt>
                <c:pt idx="1979">
                  <c:v>7.1272966162828757</c:v>
                </c:pt>
                <c:pt idx="1980">
                  <c:v>5.0256909776592238</c:v>
                </c:pt>
                <c:pt idx="1981">
                  <c:v>4.1064953581291173</c:v>
                </c:pt>
                <c:pt idx="1982">
                  <c:v>5.9510808574532215</c:v>
                </c:pt>
                <c:pt idx="1983">
                  <c:v>5.8985813047496203</c:v>
                </c:pt>
                <c:pt idx="1984">
                  <c:v>5.086771792815119</c:v>
                </c:pt>
                <c:pt idx="1985">
                  <c:v>5.1399639989610071</c:v>
                </c:pt>
                <c:pt idx="1986">
                  <c:v>6.1416787002541895</c:v>
                </c:pt>
                <c:pt idx="1987">
                  <c:v>4.9412500369435968</c:v>
                </c:pt>
                <c:pt idx="1988">
                  <c:v>4.9982725344325134</c:v>
                </c:pt>
                <c:pt idx="1989">
                  <c:v>6.1570457573228579</c:v>
                </c:pt>
                <c:pt idx="1990">
                  <c:v>5.9907953317181324</c:v>
                </c:pt>
                <c:pt idx="1991">
                  <c:v>5.0628328959894606</c:v>
                </c:pt>
                <c:pt idx="1992">
                  <c:v>4.9932476108637616</c:v>
                </c:pt>
                <c:pt idx="1993">
                  <c:v>4.9484983798102267</c:v>
                </c:pt>
                <c:pt idx="1994">
                  <c:v>5.8724310046679893</c:v>
                </c:pt>
                <c:pt idx="1995">
                  <c:v>5.0961987707497736</c:v>
                </c:pt>
                <c:pt idx="1996">
                  <c:v>4.9756522556913056</c:v>
                </c:pt>
                <c:pt idx="1997">
                  <c:v>4.9624995185135985</c:v>
                </c:pt>
                <c:pt idx="1998">
                  <c:v>5.0033239730765242</c:v>
                </c:pt>
                <c:pt idx="1999">
                  <c:v>5.1305913396836127</c:v>
                </c:pt>
                <c:pt idx="2000">
                  <c:v>4.8632111624174668</c:v>
                </c:pt>
                <c:pt idx="2001">
                  <c:v>5.9666202691926182</c:v>
                </c:pt>
                <c:pt idx="2002">
                  <c:v>6.0642225536139094</c:v>
                </c:pt>
                <c:pt idx="2003">
                  <c:v>4.909228998199481</c:v>
                </c:pt>
                <c:pt idx="2004">
                  <c:v>5.8184983044560177</c:v>
                </c:pt>
                <c:pt idx="2005">
                  <c:v>5.9571472657548519</c:v>
                </c:pt>
                <c:pt idx="2006">
                  <c:v>6.9592142640214831</c:v>
                </c:pt>
                <c:pt idx="2007">
                  <c:v>6.8312585848229599</c:v>
                </c:pt>
                <c:pt idx="2008">
                  <c:v>6.8717917282909662</c:v>
                </c:pt>
                <c:pt idx="2009">
                  <c:v>4.732988008414404</c:v>
                </c:pt>
                <c:pt idx="2010">
                  <c:v>4.9905935034364557</c:v>
                </c:pt>
                <c:pt idx="2011">
                  <c:v>6.9725267509328699</c:v>
                </c:pt>
                <c:pt idx="2012">
                  <c:v>4.9466032194469927</c:v>
                </c:pt>
                <c:pt idx="2013">
                  <c:v>4.8389718095562637</c:v>
                </c:pt>
                <c:pt idx="2014">
                  <c:v>4.957193180011795</c:v>
                </c:pt>
                <c:pt idx="2015">
                  <c:v>5.9924268124107751</c:v>
                </c:pt>
                <c:pt idx="2016">
                  <c:v>5.9684256053215039</c:v>
                </c:pt>
                <c:pt idx="2017">
                  <c:v>5.0119620073564093</c:v>
                </c:pt>
                <c:pt idx="2018">
                  <c:v>4.8814558838820759</c:v>
                </c:pt>
                <c:pt idx="2019">
                  <c:v>7.0952098356679718</c:v>
                </c:pt>
                <c:pt idx="2020">
                  <c:v>5.1795951622734302</c:v>
                </c:pt>
                <c:pt idx="2021">
                  <c:v>4.8964069592354473</c:v>
                </c:pt>
                <c:pt idx="2022">
                  <c:v>5.0128001711244474</c:v>
                </c:pt>
                <c:pt idx="2023">
                  <c:v>5.0583833684213566</c:v>
                </c:pt>
                <c:pt idx="2024">
                  <c:v>6.2088767909185165</c:v>
                </c:pt>
                <c:pt idx="2025">
                  <c:v>4.8177481906763679</c:v>
                </c:pt>
                <c:pt idx="2026">
                  <c:v>6.073236050552814</c:v>
                </c:pt>
                <c:pt idx="2027">
                  <c:v>5.2044437246253779</c:v>
                </c:pt>
                <c:pt idx="2028">
                  <c:v>5.0020409726491275</c:v>
                </c:pt>
                <c:pt idx="2029">
                  <c:v>5.1581391191424784</c:v>
                </c:pt>
                <c:pt idx="2030">
                  <c:v>4.9267707365389981</c:v>
                </c:pt>
                <c:pt idx="2031">
                  <c:v>4.9946770950291954</c:v>
                </c:pt>
                <c:pt idx="2032">
                  <c:v>5.0406911646214771</c:v>
                </c:pt>
                <c:pt idx="2033">
                  <c:v>4.9353287474741219</c:v>
                </c:pt>
                <c:pt idx="2034">
                  <c:v>5.9149084403950551</c:v>
                </c:pt>
                <c:pt idx="2035">
                  <c:v>6.0718350787802153</c:v>
                </c:pt>
                <c:pt idx="2036">
                  <c:v>6.1528167900553381</c:v>
                </c:pt>
                <c:pt idx="2037">
                  <c:v>4.8800224922546427</c:v>
                </c:pt>
                <c:pt idx="2038">
                  <c:v>5.0935168488012987</c:v>
                </c:pt>
                <c:pt idx="2039">
                  <c:v>6.0525226120756352</c:v>
                </c:pt>
                <c:pt idx="2040">
                  <c:v>6.1170333153119785</c:v>
                </c:pt>
                <c:pt idx="2041">
                  <c:v>5.9854568557757988</c:v>
                </c:pt>
                <c:pt idx="2042">
                  <c:v>5.9943228691460169</c:v>
                </c:pt>
                <c:pt idx="2043">
                  <c:v>6.2497312548658535</c:v>
                </c:pt>
                <c:pt idx="2044">
                  <c:v>5.9340655124191475</c:v>
                </c:pt>
                <c:pt idx="2045">
                  <c:v>4.1260549176157317</c:v>
                </c:pt>
                <c:pt idx="2046">
                  <c:v>4.9588575920326603</c:v>
                </c:pt>
                <c:pt idx="2047">
                  <c:v>5.9675651103412628</c:v>
                </c:pt>
                <c:pt idx="2048">
                  <c:v>4.7877509085392482</c:v>
                </c:pt>
                <c:pt idx="2049">
                  <c:v>7.0976084138947657</c:v>
                </c:pt>
                <c:pt idx="2050">
                  <c:v>4.9403013646466185</c:v>
                </c:pt>
                <c:pt idx="2051">
                  <c:v>6.0775840907101264</c:v>
                </c:pt>
                <c:pt idx="2052">
                  <c:v>5.9501502801054231</c:v>
                </c:pt>
                <c:pt idx="2053">
                  <c:v>6.1081217018798233</c:v>
                </c:pt>
                <c:pt idx="2054">
                  <c:v>4.8879480753050384</c:v>
                </c:pt>
                <c:pt idx="2055">
                  <c:v>4.0157927779781062</c:v>
                </c:pt>
                <c:pt idx="2056">
                  <c:v>4.9824919416600437</c:v>
                </c:pt>
                <c:pt idx="2057">
                  <c:v>6.0318449466710709</c:v>
                </c:pt>
                <c:pt idx="2058">
                  <c:v>4.9873248135916404</c:v>
                </c:pt>
                <c:pt idx="2059">
                  <c:v>5.0404414499775907</c:v>
                </c:pt>
                <c:pt idx="2060">
                  <c:v>6.0129688685603391</c:v>
                </c:pt>
                <c:pt idx="2061">
                  <c:v>4.0013527550873684</c:v>
                </c:pt>
                <c:pt idx="2062">
                  <c:v>4.9352462959747099</c:v>
                </c:pt>
                <c:pt idx="2063">
                  <c:v>6.9591024149118681</c:v>
                </c:pt>
                <c:pt idx="2064">
                  <c:v>7.2020437798898218</c:v>
                </c:pt>
                <c:pt idx="2065">
                  <c:v>5.0610092768702577</c:v>
                </c:pt>
                <c:pt idx="2066">
                  <c:v>5.0056435520762035</c:v>
                </c:pt>
                <c:pt idx="2067">
                  <c:v>6.1565089527234704</c:v>
                </c:pt>
                <c:pt idx="2068">
                  <c:v>5.9943241372244751</c:v>
                </c:pt>
                <c:pt idx="2069">
                  <c:v>4.9975117094762354</c:v>
                </c:pt>
                <c:pt idx="2070">
                  <c:v>4.7205717881093436</c:v>
                </c:pt>
                <c:pt idx="2071">
                  <c:v>5.9728146728888483</c:v>
                </c:pt>
                <c:pt idx="2072">
                  <c:v>6.0126982772054891</c:v>
                </c:pt>
                <c:pt idx="2073">
                  <c:v>5.9071173769918497</c:v>
                </c:pt>
                <c:pt idx="2074">
                  <c:v>5.1547477647318765</c:v>
                </c:pt>
                <c:pt idx="2075">
                  <c:v>4.8993930631815559</c:v>
                </c:pt>
                <c:pt idx="2076">
                  <c:v>6.2471290559528549</c:v>
                </c:pt>
                <c:pt idx="2077">
                  <c:v>6.1698759858208634</c:v>
                </c:pt>
                <c:pt idx="2078">
                  <c:v>4.8712650523003456</c:v>
                </c:pt>
                <c:pt idx="2079">
                  <c:v>4.9182634091703292</c:v>
                </c:pt>
                <c:pt idx="2080">
                  <c:v>5.9810778329331784</c:v>
                </c:pt>
                <c:pt idx="2081">
                  <c:v>5.8907794259055999</c:v>
                </c:pt>
                <c:pt idx="2082">
                  <c:v>5.8688067163532853</c:v>
                </c:pt>
                <c:pt idx="2083">
                  <c:v>6.0863452995340968</c:v>
                </c:pt>
                <c:pt idx="2084">
                  <c:v>4.8953438120863266</c:v>
                </c:pt>
                <c:pt idx="2085">
                  <c:v>7.0504616180091615</c:v>
                </c:pt>
                <c:pt idx="2086">
                  <c:v>5.0807022812056593</c:v>
                </c:pt>
                <c:pt idx="2087">
                  <c:v>5.0289677864723332</c:v>
                </c:pt>
                <c:pt idx="2088">
                  <c:v>6.098027344168365</c:v>
                </c:pt>
                <c:pt idx="2089">
                  <c:v>4.8770355949143767</c:v>
                </c:pt>
                <c:pt idx="2090">
                  <c:v>6.1327441785871537</c:v>
                </c:pt>
                <c:pt idx="2091">
                  <c:v>5.1973508615915414</c:v>
                </c:pt>
                <c:pt idx="2092">
                  <c:v>4.9393591140679156</c:v>
                </c:pt>
                <c:pt idx="2093">
                  <c:v>4.9084625387215208</c:v>
                </c:pt>
                <c:pt idx="2094">
                  <c:v>6.2965374800106284</c:v>
                </c:pt>
                <c:pt idx="2095">
                  <c:v>5.0315894267007533</c:v>
                </c:pt>
                <c:pt idx="2096">
                  <c:v>5.9397068305523018</c:v>
                </c:pt>
                <c:pt idx="2097">
                  <c:v>5.1062822587290926</c:v>
                </c:pt>
                <c:pt idx="2098">
                  <c:v>7.0386900855139229</c:v>
                </c:pt>
                <c:pt idx="2099">
                  <c:v>4.9721037187322255</c:v>
                </c:pt>
                <c:pt idx="2100">
                  <c:v>5.9845909145634026</c:v>
                </c:pt>
                <c:pt idx="2101">
                  <c:v>5.9232133451933269</c:v>
                </c:pt>
                <c:pt idx="2102">
                  <c:v>4.8692358374414733</c:v>
                </c:pt>
                <c:pt idx="2103">
                  <c:v>5.9607534392818708</c:v>
                </c:pt>
                <c:pt idx="2104">
                  <c:v>5.0168322231368077</c:v>
                </c:pt>
                <c:pt idx="2105">
                  <c:v>6.8989660640341777</c:v>
                </c:pt>
                <c:pt idx="2106">
                  <c:v>6.2257658284564759</c:v>
                </c:pt>
                <c:pt idx="2107">
                  <c:v>6.0971127679752524</c:v>
                </c:pt>
                <c:pt idx="2108">
                  <c:v>5.9372251073109146</c:v>
                </c:pt>
                <c:pt idx="2109">
                  <c:v>6.044574697859181</c:v>
                </c:pt>
                <c:pt idx="2110">
                  <c:v>6.0093470718561175</c:v>
                </c:pt>
                <c:pt idx="2111">
                  <c:v>3.9350798519012797</c:v>
                </c:pt>
                <c:pt idx="2112">
                  <c:v>6.0385416291666534</c:v>
                </c:pt>
                <c:pt idx="2113">
                  <c:v>5.082657933278238</c:v>
                </c:pt>
                <c:pt idx="2114">
                  <c:v>5.9679280727255284</c:v>
                </c:pt>
                <c:pt idx="2115">
                  <c:v>5.875762456634015</c:v>
                </c:pt>
                <c:pt idx="2116">
                  <c:v>4.9949461536617896</c:v>
                </c:pt>
                <c:pt idx="2117">
                  <c:v>3.9730948533739969</c:v>
                </c:pt>
                <c:pt idx="2118">
                  <c:v>4.9995064144102264</c:v>
                </c:pt>
                <c:pt idx="2119">
                  <c:v>4.8781058671262416</c:v>
                </c:pt>
                <c:pt idx="2120">
                  <c:v>6.0028372538918502</c:v>
                </c:pt>
                <c:pt idx="2121">
                  <c:v>5.0988182562572799</c:v>
                </c:pt>
                <c:pt idx="2122">
                  <c:v>5.0612987385647266</c:v>
                </c:pt>
                <c:pt idx="2123">
                  <c:v>3.9791676460793348</c:v>
                </c:pt>
                <c:pt idx="2124">
                  <c:v>6.844902585206837</c:v>
                </c:pt>
                <c:pt idx="2125">
                  <c:v>5.0611579440179932</c:v>
                </c:pt>
                <c:pt idx="2126">
                  <c:v>5.0615656297046048</c:v>
                </c:pt>
                <c:pt idx="2127">
                  <c:v>4.8409953861462114</c:v>
                </c:pt>
                <c:pt idx="2128">
                  <c:v>6.0752019627370801</c:v>
                </c:pt>
                <c:pt idx="2129">
                  <c:v>5.0077872331149216</c:v>
                </c:pt>
                <c:pt idx="2130">
                  <c:v>4.8567218803642813</c:v>
                </c:pt>
                <c:pt idx="2131">
                  <c:v>7.0017895086351629</c:v>
                </c:pt>
                <c:pt idx="2132">
                  <c:v>6.0919314126813049</c:v>
                </c:pt>
                <c:pt idx="2133">
                  <c:v>7.0320585800120599</c:v>
                </c:pt>
                <c:pt idx="2134">
                  <c:v>4.7994444368880451</c:v>
                </c:pt>
                <c:pt idx="2135">
                  <c:v>5.9882568419975222</c:v>
                </c:pt>
                <c:pt idx="2136">
                  <c:v>6.1948932108900499</c:v>
                </c:pt>
                <c:pt idx="2137">
                  <c:v>4.970643803248552</c:v>
                </c:pt>
                <c:pt idx="2138">
                  <c:v>5.7994721932798159</c:v>
                </c:pt>
                <c:pt idx="2139">
                  <c:v>6.0206851483075345</c:v>
                </c:pt>
                <c:pt idx="2140">
                  <c:v>5.8732340715989553</c:v>
                </c:pt>
                <c:pt idx="2141">
                  <c:v>5.9849238827516835</c:v>
                </c:pt>
                <c:pt idx="2142">
                  <c:v>7.0639405023431125</c:v>
                </c:pt>
                <c:pt idx="2143">
                  <c:v>4.8859979770253039</c:v>
                </c:pt>
                <c:pt idx="2144">
                  <c:v>4.9660576255723301</c:v>
                </c:pt>
                <c:pt idx="2145">
                  <c:v>4.9862814890747709</c:v>
                </c:pt>
                <c:pt idx="2146">
                  <c:v>6.0705314182641619</c:v>
                </c:pt>
                <c:pt idx="2147">
                  <c:v>7.1423640555957277</c:v>
                </c:pt>
                <c:pt idx="2148">
                  <c:v>5.0225126077016924</c:v>
                </c:pt>
                <c:pt idx="2149">
                  <c:v>6.1099777142617313</c:v>
                </c:pt>
                <c:pt idx="2150">
                  <c:v>5.1050253322222554</c:v>
                </c:pt>
                <c:pt idx="2151">
                  <c:v>5.9311155431875129</c:v>
                </c:pt>
                <c:pt idx="2152">
                  <c:v>6.0665120938680168</c:v>
                </c:pt>
                <c:pt idx="2153">
                  <c:v>5.0040457789447252</c:v>
                </c:pt>
                <c:pt idx="2154">
                  <c:v>4.802387087403666</c:v>
                </c:pt>
                <c:pt idx="2155">
                  <c:v>5.0337835161708639</c:v>
                </c:pt>
                <c:pt idx="2156">
                  <c:v>5.9699547471546612</c:v>
                </c:pt>
                <c:pt idx="2157">
                  <c:v>4.9139546737630466</c:v>
                </c:pt>
                <c:pt idx="2158">
                  <c:v>6.9960604435499354</c:v>
                </c:pt>
                <c:pt idx="2159">
                  <c:v>6.1136913790554397</c:v>
                </c:pt>
                <c:pt idx="2160">
                  <c:v>7.0050345974415755</c:v>
                </c:pt>
                <c:pt idx="2161">
                  <c:v>4.8692878164079945</c:v>
                </c:pt>
                <c:pt idx="2162">
                  <c:v>5.1117133972111111</c:v>
                </c:pt>
                <c:pt idx="2163">
                  <c:v>5.0124258573382612</c:v>
                </c:pt>
                <c:pt idx="2164">
                  <c:v>6.8804304783939942</c:v>
                </c:pt>
                <c:pt idx="2165">
                  <c:v>4.8716336011871126</c:v>
                </c:pt>
                <c:pt idx="2166">
                  <c:v>5.9781125053205812</c:v>
                </c:pt>
                <c:pt idx="2167">
                  <c:v>5.9378455972992406</c:v>
                </c:pt>
                <c:pt idx="2168">
                  <c:v>5.9113929634969127</c:v>
                </c:pt>
                <c:pt idx="2169">
                  <c:v>5.8884850542118707</c:v>
                </c:pt>
                <c:pt idx="2170">
                  <c:v>3.9343123065467309</c:v>
                </c:pt>
                <c:pt idx="2171">
                  <c:v>5.0326199331190011</c:v>
                </c:pt>
                <c:pt idx="2172">
                  <c:v>6.1040969207003553</c:v>
                </c:pt>
                <c:pt idx="2173">
                  <c:v>4.89309558232946</c:v>
                </c:pt>
                <c:pt idx="2174">
                  <c:v>6.0550845859342717</c:v>
                </c:pt>
                <c:pt idx="2175">
                  <c:v>5.0974959696802848</c:v>
                </c:pt>
                <c:pt idx="2176">
                  <c:v>4.974289014318293</c:v>
                </c:pt>
                <c:pt idx="2177">
                  <c:v>3.8632293904689292</c:v>
                </c:pt>
                <c:pt idx="2178">
                  <c:v>5.9575205737631718</c:v>
                </c:pt>
                <c:pt idx="2179">
                  <c:v>5.8352162774121528</c:v>
                </c:pt>
                <c:pt idx="2180">
                  <c:v>5.9537055080054921</c:v>
                </c:pt>
                <c:pt idx="2181">
                  <c:v>5.9792052205799342</c:v>
                </c:pt>
                <c:pt idx="2182">
                  <c:v>6.1266564549767972</c:v>
                </c:pt>
                <c:pt idx="2183">
                  <c:v>6.094267625558933</c:v>
                </c:pt>
                <c:pt idx="2184">
                  <c:v>5.8922799799159753</c:v>
                </c:pt>
                <c:pt idx="2185">
                  <c:v>6.055423359629768</c:v>
                </c:pt>
                <c:pt idx="2186">
                  <c:v>5.8911078938114789</c:v>
                </c:pt>
                <c:pt idx="2187">
                  <c:v>5.883567899258602</c:v>
                </c:pt>
                <c:pt idx="2188">
                  <c:v>6.0030942466853077</c:v>
                </c:pt>
                <c:pt idx="2189">
                  <c:v>5.900474291171208</c:v>
                </c:pt>
                <c:pt idx="2190">
                  <c:v>5.947508763618103</c:v>
                </c:pt>
                <c:pt idx="2191">
                  <c:v>5.9205576025524973</c:v>
                </c:pt>
                <c:pt idx="2192">
                  <c:v>5.9332161508831671</c:v>
                </c:pt>
                <c:pt idx="2193">
                  <c:v>6.1838498016278294</c:v>
                </c:pt>
                <c:pt idx="2194">
                  <c:v>4.9718635431837841</c:v>
                </c:pt>
                <c:pt idx="2195">
                  <c:v>6.0221266717525932</c:v>
                </c:pt>
                <c:pt idx="2196">
                  <c:v>6.0277784124143938</c:v>
                </c:pt>
                <c:pt idx="2197">
                  <c:v>6.0876184867294478</c:v>
                </c:pt>
                <c:pt idx="2198">
                  <c:v>6.0581339040978133</c:v>
                </c:pt>
                <c:pt idx="2199">
                  <c:v>4.989135461505386</c:v>
                </c:pt>
                <c:pt idx="2200">
                  <c:v>5.07847261005102</c:v>
                </c:pt>
                <c:pt idx="2201">
                  <c:v>4.958498640361463</c:v>
                </c:pt>
                <c:pt idx="2202">
                  <c:v>5.0378221447085387</c:v>
                </c:pt>
                <c:pt idx="2203">
                  <c:v>5.9980384182629738</c:v>
                </c:pt>
                <c:pt idx="2204">
                  <c:v>5.8789491498782507</c:v>
                </c:pt>
                <c:pt idx="2205">
                  <c:v>6.9423905871917224</c:v>
                </c:pt>
                <c:pt idx="2206">
                  <c:v>5.9578847447816079</c:v>
                </c:pt>
                <c:pt idx="2207">
                  <c:v>4.9471416142183591</c:v>
                </c:pt>
                <c:pt idx="2208">
                  <c:v>5.0446026674137814</c:v>
                </c:pt>
                <c:pt idx="2209">
                  <c:v>5.0224437817703667</c:v>
                </c:pt>
                <c:pt idx="2210">
                  <c:v>4.9142830734166898</c:v>
                </c:pt>
                <c:pt idx="2211">
                  <c:v>5.9252890026219607</c:v>
                </c:pt>
                <c:pt idx="2212">
                  <c:v>5.8805224115659582</c:v>
                </c:pt>
                <c:pt idx="2213">
                  <c:v>5.7997518151041447</c:v>
                </c:pt>
                <c:pt idx="2214">
                  <c:v>2.0089465280072418</c:v>
                </c:pt>
                <c:pt idx="2215">
                  <c:v>4.9622694296182113</c:v>
                </c:pt>
                <c:pt idx="2216">
                  <c:v>5.9109846797498964</c:v>
                </c:pt>
                <c:pt idx="2217">
                  <c:v>2.2111931190340686</c:v>
                </c:pt>
                <c:pt idx="2218">
                  <c:v>5.9952364071715465</c:v>
                </c:pt>
                <c:pt idx="2219">
                  <c:v>5.8302510149512923</c:v>
                </c:pt>
                <c:pt idx="2220">
                  <c:v>1.8950131147393481</c:v>
                </c:pt>
                <c:pt idx="2221">
                  <c:v>6.1051260791468858</c:v>
                </c:pt>
                <c:pt idx="2222">
                  <c:v>2.1066048450870163</c:v>
                </c:pt>
                <c:pt idx="2223">
                  <c:v>5.8640100532914845</c:v>
                </c:pt>
                <c:pt idx="2224">
                  <c:v>6.0411665790376512</c:v>
                </c:pt>
                <c:pt idx="2225">
                  <c:v>6.022014771025388</c:v>
                </c:pt>
                <c:pt idx="2226">
                  <c:v>6.0058503327747124</c:v>
                </c:pt>
                <c:pt idx="2227">
                  <c:v>5.0182272453110528</c:v>
                </c:pt>
                <c:pt idx="2228">
                  <c:v>6.0579111469513087</c:v>
                </c:pt>
                <c:pt idx="2229">
                  <c:v>6.1032097258013795</c:v>
                </c:pt>
                <c:pt idx="2230">
                  <c:v>3.9666654740055711</c:v>
                </c:pt>
                <c:pt idx="2231">
                  <c:v>5.974450042599166</c:v>
                </c:pt>
                <c:pt idx="2232">
                  <c:v>5.8188350944389313</c:v>
                </c:pt>
                <c:pt idx="2233">
                  <c:v>6.1981999535772534</c:v>
                </c:pt>
                <c:pt idx="2234">
                  <c:v>3.9582802369069667</c:v>
                </c:pt>
                <c:pt idx="2235">
                  <c:v>5.0730173334154589</c:v>
                </c:pt>
                <c:pt idx="2236">
                  <c:v>5.7939645871962009</c:v>
                </c:pt>
                <c:pt idx="2237">
                  <c:v>1.9634612099840498</c:v>
                </c:pt>
                <c:pt idx="2238">
                  <c:v>5.9336198252783952</c:v>
                </c:pt>
                <c:pt idx="2239">
                  <c:v>6.0831818502897512</c:v>
                </c:pt>
                <c:pt idx="2240">
                  <c:v>5.9919524261868959</c:v>
                </c:pt>
                <c:pt idx="2241">
                  <c:v>5.982103853787426</c:v>
                </c:pt>
                <c:pt idx="2242">
                  <c:v>5.0190983705948771</c:v>
                </c:pt>
                <c:pt idx="2243">
                  <c:v>6.0900482179291133</c:v>
                </c:pt>
                <c:pt idx="2244">
                  <c:v>5.0019588138983284</c:v>
                </c:pt>
                <c:pt idx="2245">
                  <c:v>6.0400970515821157</c:v>
                </c:pt>
                <c:pt idx="2246">
                  <c:v>5.0507314934723526</c:v>
                </c:pt>
                <c:pt idx="2247">
                  <c:v>5.1163952375860937</c:v>
                </c:pt>
                <c:pt idx="2248">
                  <c:v>5.005845240151868</c:v>
                </c:pt>
                <c:pt idx="2249">
                  <c:v>5.0763239198890524</c:v>
                </c:pt>
                <c:pt idx="2250">
                  <c:v>5.9543878284761469</c:v>
                </c:pt>
                <c:pt idx="2251">
                  <c:v>7.0264946613070869</c:v>
                </c:pt>
                <c:pt idx="2252">
                  <c:v>5.9090359798759611</c:v>
                </c:pt>
                <c:pt idx="2253">
                  <c:v>6.0256638602461861</c:v>
                </c:pt>
                <c:pt idx="2254">
                  <c:v>4.8738881690485085</c:v>
                </c:pt>
                <c:pt idx="2255">
                  <c:v>6.0445775917309712</c:v>
                </c:pt>
                <c:pt idx="2256">
                  <c:v>4.993500513574479</c:v>
                </c:pt>
                <c:pt idx="2257">
                  <c:v>5.1679157411120933</c:v>
                </c:pt>
                <c:pt idx="2258">
                  <c:v>5.0801971198356188</c:v>
                </c:pt>
                <c:pt idx="2259">
                  <c:v>5.9369422949526172</c:v>
                </c:pt>
                <c:pt idx="2260">
                  <c:v>5.0344675514870243</c:v>
                </c:pt>
                <c:pt idx="2261">
                  <c:v>5.0708340723223184</c:v>
                </c:pt>
                <c:pt idx="2262">
                  <c:v>5.0129133027062363</c:v>
                </c:pt>
                <c:pt idx="2263">
                  <c:v>6.2057409596141655</c:v>
                </c:pt>
                <c:pt idx="2264">
                  <c:v>5.020866495385234</c:v>
                </c:pt>
                <c:pt idx="2265">
                  <c:v>6.009072142658014</c:v>
                </c:pt>
                <c:pt idx="2266">
                  <c:v>5.0072914647669835</c:v>
                </c:pt>
                <c:pt idx="2267">
                  <c:v>4.098084744128168</c:v>
                </c:pt>
                <c:pt idx="2268">
                  <c:v>5.0162638819120042</c:v>
                </c:pt>
                <c:pt idx="2269">
                  <c:v>6.1508551294039098</c:v>
                </c:pt>
                <c:pt idx="2270">
                  <c:v>5.9776504223873621</c:v>
                </c:pt>
                <c:pt idx="2271">
                  <c:v>5.9873766209352315</c:v>
                </c:pt>
                <c:pt idx="2272">
                  <c:v>5.9970685311422853</c:v>
                </c:pt>
                <c:pt idx="2273">
                  <c:v>5.9462409092923441</c:v>
                </c:pt>
                <c:pt idx="2274">
                  <c:v>6.0947429657137597</c:v>
                </c:pt>
                <c:pt idx="2275">
                  <c:v>5.9984256205549258</c:v>
                </c:pt>
                <c:pt idx="2276">
                  <c:v>7.0156268451035499</c:v>
                </c:pt>
                <c:pt idx="2277">
                  <c:v>5.0692561793128545</c:v>
                </c:pt>
                <c:pt idx="2278">
                  <c:v>5.0570223664417187</c:v>
                </c:pt>
                <c:pt idx="2279">
                  <c:v>4.9441418251656142</c:v>
                </c:pt>
                <c:pt idx="2280">
                  <c:v>4.9214097073824483</c:v>
                </c:pt>
                <c:pt idx="2281">
                  <c:v>5.9224803002861783</c:v>
                </c:pt>
                <c:pt idx="2282">
                  <c:v>5.0809632877125885</c:v>
                </c:pt>
                <c:pt idx="2283">
                  <c:v>6.0997025809721661</c:v>
                </c:pt>
                <c:pt idx="2284">
                  <c:v>4.0753381597852369</c:v>
                </c:pt>
                <c:pt idx="2285">
                  <c:v>3.9129080312986497</c:v>
                </c:pt>
                <c:pt idx="2286">
                  <c:v>5.9486779474057752</c:v>
                </c:pt>
                <c:pt idx="2287">
                  <c:v>4.9321674579299408</c:v>
                </c:pt>
                <c:pt idx="2288">
                  <c:v>6.1900690531276759</c:v>
                </c:pt>
                <c:pt idx="2289">
                  <c:v>5.9507327258948131</c:v>
                </c:pt>
                <c:pt idx="2290">
                  <c:v>6.0503781417856173</c:v>
                </c:pt>
                <c:pt idx="2291">
                  <c:v>5.0841337053594273</c:v>
                </c:pt>
                <c:pt idx="2292">
                  <c:v>6.0604877164099644</c:v>
                </c:pt>
                <c:pt idx="2293">
                  <c:v>6.0146743791454309</c:v>
                </c:pt>
                <c:pt idx="2294">
                  <c:v>5.0439303989943101</c:v>
                </c:pt>
                <c:pt idx="2295">
                  <c:v>4.9643056035647852</c:v>
                </c:pt>
                <c:pt idx="2296">
                  <c:v>6.8338258169025394</c:v>
                </c:pt>
                <c:pt idx="2297">
                  <c:v>5.9090735315262828</c:v>
                </c:pt>
                <c:pt idx="2298">
                  <c:v>5.1054204866197823</c:v>
                </c:pt>
                <c:pt idx="2299">
                  <c:v>5.9796484632310332</c:v>
                </c:pt>
                <c:pt idx="2300">
                  <c:v>6.0725676266335844</c:v>
                </c:pt>
                <c:pt idx="2301">
                  <c:v>6.0349939294188193</c:v>
                </c:pt>
                <c:pt idx="2302">
                  <c:v>6.0110715553844054</c:v>
                </c:pt>
                <c:pt idx="2303">
                  <c:v>7.0285506932165385</c:v>
                </c:pt>
                <c:pt idx="2304">
                  <c:v>6.9465341034090837</c:v>
                </c:pt>
                <c:pt idx="2305">
                  <c:v>6.202106001856496</c:v>
                </c:pt>
                <c:pt idx="2306">
                  <c:v>4.8986678942838582</c:v>
                </c:pt>
                <c:pt idx="2307">
                  <c:v>4.7827372193094675</c:v>
                </c:pt>
                <c:pt idx="2308">
                  <c:v>5.0737617592447695</c:v>
                </c:pt>
                <c:pt idx="2309">
                  <c:v>4.8455845092617063</c:v>
                </c:pt>
                <c:pt idx="2310">
                  <c:v>4.9937695709932548</c:v>
                </c:pt>
                <c:pt idx="2311">
                  <c:v>5.0013794794093176</c:v>
                </c:pt>
                <c:pt idx="2312">
                  <c:v>4.8448912004173765</c:v>
                </c:pt>
                <c:pt idx="2313">
                  <c:v>5.93968687666609</c:v>
                </c:pt>
                <c:pt idx="2314">
                  <c:v>5.8733765089434584</c:v>
                </c:pt>
                <c:pt idx="2315">
                  <c:v>4.9548886875971396</c:v>
                </c:pt>
                <c:pt idx="2316">
                  <c:v>6.0128130900128154</c:v>
                </c:pt>
                <c:pt idx="2317">
                  <c:v>5.8678729008914852</c:v>
                </c:pt>
                <c:pt idx="2318">
                  <c:v>5.9073206759017269</c:v>
                </c:pt>
                <c:pt idx="2319">
                  <c:v>6.8473669280492606</c:v>
                </c:pt>
                <c:pt idx="2320">
                  <c:v>5.9532400171302129</c:v>
                </c:pt>
                <c:pt idx="2321">
                  <c:v>5.0255744335271846</c:v>
                </c:pt>
                <c:pt idx="2322">
                  <c:v>4.9735694590715402</c:v>
                </c:pt>
                <c:pt idx="2323">
                  <c:v>6.1346473623740829</c:v>
                </c:pt>
                <c:pt idx="2324">
                  <c:v>5.0655488032895359</c:v>
                </c:pt>
                <c:pt idx="2325">
                  <c:v>6.1552401663414713</c:v>
                </c:pt>
                <c:pt idx="2326">
                  <c:v>5.0638272047439665</c:v>
                </c:pt>
                <c:pt idx="2327">
                  <c:v>6.0192619705485786</c:v>
                </c:pt>
                <c:pt idx="2328">
                  <c:v>6.0216059257337911</c:v>
                </c:pt>
                <c:pt idx="2329">
                  <c:v>5.0150578520527516</c:v>
                </c:pt>
                <c:pt idx="2330">
                  <c:v>4.7974649415006878</c:v>
                </c:pt>
                <c:pt idx="2331">
                  <c:v>4.8669737237992026</c:v>
                </c:pt>
                <c:pt idx="2332">
                  <c:v>6.0652477204084656</c:v>
                </c:pt>
                <c:pt idx="2333">
                  <c:v>7.0816668625169505</c:v>
                </c:pt>
                <c:pt idx="2334">
                  <c:v>6.2033832056303728</c:v>
                </c:pt>
                <c:pt idx="2335">
                  <c:v>5.8156697206809493</c:v>
                </c:pt>
                <c:pt idx="2336">
                  <c:v>5.0214856632577058</c:v>
                </c:pt>
                <c:pt idx="2337">
                  <c:v>5.007136447575121</c:v>
                </c:pt>
                <c:pt idx="2338">
                  <c:v>5.9934332376027948</c:v>
                </c:pt>
                <c:pt idx="2339">
                  <c:v>4.8919149485698341</c:v>
                </c:pt>
                <c:pt idx="2340">
                  <c:v>5.9649760474823568</c:v>
                </c:pt>
                <c:pt idx="2341">
                  <c:v>5.0420645621059865</c:v>
                </c:pt>
                <c:pt idx="2342">
                  <c:v>5.9521563203336019</c:v>
                </c:pt>
                <c:pt idx="2343">
                  <c:v>5.0862142321887278</c:v>
                </c:pt>
                <c:pt idx="2344">
                  <c:v>6.0471797404845189</c:v>
                </c:pt>
                <c:pt idx="2345">
                  <c:v>7.1094116378903722</c:v>
                </c:pt>
                <c:pt idx="2346">
                  <c:v>5.0341159188462665</c:v>
                </c:pt>
                <c:pt idx="2347">
                  <c:v>5.0407509107320747</c:v>
                </c:pt>
                <c:pt idx="2348">
                  <c:v>6.0277518085296924</c:v>
                </c:pt>
                <c:pt idx="2349">
                  <c:v>4.9480025719207639</c:v>
                </c:pt>
                <c:pt idx="2350">
                  <c:v>4.8967238160517299</c:v>
                </c:pt>
                <c:pt idx="2351">
                  <c:v>6.6925553689334629</c:v>
                </c:pt>
                <c:pt idx="2352">
                  <c:v>5.9046225252189579</c:v>
                </c:pt>
                <c:pt idx="2353">
                  <c:v>7.0377790318779345</c:v>
                </c:pt>
                <c:pt idx="2354">
                  <c:v>6.0570347233391919</c:v>
                </c:pt>
                <c:pt idx="2355">
                  <c:v>6.9140070927016639</c:v>
                </c:pt>
                <c:pt idx="2356">
                  <c:v>5.9561908375342121</c:v>
                </c:pt>
                <c:pt idx="2357">
                  <c:v>5.0810416116497299</c:v>
                </c:pt>
                <c:pt idx="2358">
                  <c:v>5.0580026365133426</c:v>
                </c:pt>
                <c:pt idx="2359">
                  <c:v>6.1159038339935936</c:v>
                </c:pt>
                <c:pt idx="2360">
                  <c:v>5.1718752747766628</c:v>
                </c:pt>
                <c:pt idx="2361">
                  <c:v>5.0312972890359253</c:v>
                </c:pt>
                <c:pt idx="2362">
                  <c:v>5.9817050618348802</c:v>
                </c:pt>
                <c:pt idx="2363">
                  <c:v>4.8497194824603422</c:v>
                </c:pt>
                <c:pt idx="2364">
                  <c:v>5.0496286336823548</c:v>
                </c:pt>
                <c:pt idx="2365">
                  <c:v>6.0336272203528871</c:v>
                </c:pt>
                <c:pt idx="2366">
                  <c:v>5.9217162248415081</c:v>
                </c:pt>
                <c:pt idx="2367">
                  <c:v>4.8911996052594864</c:v>
                </c:pt>
                <c:pt idx="2368">
                  <c:v>5.1720157995039644</c:v>
                </c:pt>
                <c:pt idx="2369">
                  <c:v>6.0253239626776649</c:v>
                </c:pt>
                <c:pt idx="2370">
                  <c:v>5.0768149861396044</c:v>
                </c:pt>
                <c:pt idx="2371">
                  <c:v>5.0060675064659392</c:v>
                </c:pt>
                <c:pt idx="2372">
                  <c:v>5.9822984391393907</c:v>
                </c:pt>
                <c:pt idx="2373">
                  <c:v>5.8379873256981378</c:v>
                </c:pt>
                <c:pt idx="2374">
                  <c:v>4.9778184039221989</c:v>
                </c:pt>
                <c:pt idx="2375">
                  <c:v>6.0615909086565356</c:v>
                </c:pt>
                <c:pt idx="2376">
                  <c:v>5.182785365216283</c:v>
                </c:pt>
                <c:pt idx="2377">
                  <c:v>8.9693284511431042</c:v>
                </c:pt>
                <c:pt idx="2378">
                  <c:v>6.9988780991351707</c:v>
                </c:pt>
                <c:pt idx="2379">
                  <c:v>6.0450034708587603</c:v>
                </c:pt>
                <c:pt idx="2380">
                  <c:v>4.9352856096522082</c:v>
                </c:pt>
                <c:pt idx="2381">
                  <c:v>5.0852168979423373</c:v>
                </c:pt>
                <c:pt idx="2382">
                  <c:v>6.1227525371855851</c:v>
                </c:pt>
                <c:pt idx="2383">
                  <c:v>4.9212337205297816</c:v>
                </c:pt>
                <c:pt idx="2384">
                  <c:v>5.3076856437737252</c:v>
                </c:pt>
                <c:pt idx="2385">
                  <c:v>4.946677651082716</c:v>
                </c:pt>
                <c:pt idx="2386">
                  <c:v>6.1297405840115609</c:v>
                </c:pt>
                <c:pt idx="2387">
                  <c:v>6.0363261825063201</c:v>
                </c:pt>
                <c:pt idx="2388">
                  <c:v>5.0538746438061377</c:v>
                </c:pt>
                <c:pt idx="2389">
                  <c:v>5.1995529049196669</c:v>
                </c:pt>
                <c:pt idx="2390">
                  <c:v>5.0840126966917749</c:v>
                </c:pt>
                <c:pt idx="2391">
                  <c:v>4.8924830266373673</c:v>
                </c:pt>
                <c:pt idx="2392">
                  <c:v>5.8709770341918368</c:v>
                </c:pt>
                <c:pt idx="2393">
                  <c:v>4.8604976628686636</c:v>
                </c:pt>
                <c:pt idx="2394">
                  <c:v>4.8351235349497852</c:v>
                </c:pt>
                <c:pt idx="2395">
                  <c:v>5.8887965416510433</c:v>
                </c:pt>
                <c:pt idx="2396">
                  <c:v>4.0232532089182627</c:v>
                </c:pt>
                <c:pt idx="2397">
                  <c:v>4.9221528420798135</c:v>
                </c:pt>
                <c:pt idx="2398">
                  <c:v>6.0297913285094564</c:v>
                </c:pt>
                <c:pt idx="2399">
                  <c:v>5.9125830946513123</c:v>
                </c:pt>
                <c:pt idx="2400">
                  <c:v>5.0746959747338183</c:v>
                </c:pt>
                <c:pt idx="2401">
                  <c:v>4.8549359087497805</c:v>
                </c:pt>
                <c:pt idx="2402">
                  <c:v>5.0554585654366502</c:v>
                </c:pt>
                <c:pt idx="2403">
                  <c:v>6.141269084005752</c:v>
                </c:pt>
                <c:pt idx="2404">
                  <c:v>7.0153771863644776</c:v>
                </c:pt>
                <c:pt idx="2405">
                  <c:v>5.9889043617268021</c:v>
                </c:pt>
                <c:pt idx="2406">
                  <c:v>5.8475928541848639</c:v>
                </c:pt>
                <c:pt idx="2407">
                  <c:v>4.9597468607114958</c:v>
                </c:pt>
                <c:pt idx="2408">
                  <c:v>5.0281490253919809</c:v>
                </c:pt>
                <c:pt idx="2409">
                  <c:v>6.913294389228299</c:v>
                </c:pt>
                <c:pt idx="2410">
                  <c:v>6.0195838440372684</c:v>
                </c:pt>
                <c:pt idx="2411">
                  <c:v>5.0867945311115728</c:v>
                </c:pt>
                <c:pt idx="2412">
                  <c:v>5.0136429138632703</c:v>
                </c:pt>
                <c:pt idx="2413">
                  <c:v>4.9573713632105765</c:v>
                </c:pt>
                <c:pt idx="2414">
                  <c:v>4.1850661159427087</c:v>
                </c:pt>
                <c:pt idx="2415">
                  <c:v>3.7620822821371807</c:v>
                </c:pt>
                <c:pt idx="2416">
                  <c:v>4.0675778510880258</c:v>
                </c:pt>
                <c:pt idx="2417">
                  <c:v>5.8960688191361772</c:v>
                </c:pt>
                <c:pt idx="2418">
                  <c:v>5.1476511634571116</c:v>
                </c:pt>
                <c:pt idx="2419">
                  <c:v>5.1944161100793806</c:v>
                </c:pt>
                <c:pt idx="2420">
                  <c:v>4.9748212967115224</c:v>
                </c:pt>
                <c:pt idx="2421">
                  <c:v>6.9991682724874806</c:v>
                </c:pt>
                <c:pt idx="2422">
                  <c:v>4.8449550730816746</c:v>
                </c:pt>
                <c:pt idx="2423">
                  <c:v>5.9156438582234774</c:v>
                </c:pt>
                <c:pt idx="2424">
                  <c:v>5.0722447859389179</c:v>
                </c:pt>
                <c:pt idx="2425">
                  <c:v>5.963224450656492</c:v>
                </c:pt>
                <c:pt idx="2426">
                  <c:v>4.993199139145263</c:v>
                </c:pt>
                <c:pt idx="2427">
                  <c:v>6.094436643625202</c:v>
                </c:pt>
                <c:pt idx="2428">
                  <c:v>5.9777991188252573</c:v>
                </c:pt>
                <c:pt idx="2429">
                  <c:v>6.0421265216528122</c:v>
                </c:pt>
                <c:pt idx="2430">
                  <c:v>5.9535763605098975</c:v>
                </c:pt>
                <c:pt idx="2431">
                  <c:v>5.9064562083097272</c:v>
                </c:pt>
                <c:pt idx="2432">
                  <c:v>7.1560545167643301</c:v>
                </c:pt>
                <c:pt idx="2433">
                  <c:v>3.9480728043286279</c:v>
                </c:pt>
                <c:pt idx="2434">
                  <c:v>3.9703972167724957</c:v>
                </c:pt>
                <c:pt idx="2435">
                  <c:v>4.0545945711472857</c:v>
                </c:pt>
                <c:pt idx="2436">
                  <c:v>6.0608755806184824</c:v>
                </c:pt>
                <c:pt idx="2437">
                  <c:v>5.9586001028708289</c:v>
                </c:pt>
                <c:pt idx="2438">
                  <c:v>6.0229910218420057</c:v>
                </c:pt>
                <c:pt idx="2439">
                  <c:v>5.2367000317076657</c:v>
                </c:pt>
                <c:pt idx="2440">
                  <c:v>4.8709532630691337</c:v>
                </c:pt>
                <c:pt idx="2441">
                  <c:v>5.0093234039033385</c:v>
                </c:pt>
                <c:pt idx="2442">
                  <c:v>5.8452392482821836</c:v>
                </c:pt>
                <c:pt idx="2443">
                  <c:v>4.951017763662616</c:v>
                </c:pt>
                <c:pt idx="2444">
                  <c:v>4.8208351725737639</c:v>
                </c:pt>
                <c:pt idx="2445">
                  <c:v>5.0553071179573221</c:v>
                </c:pt>
                <c:pt idx="2446">
                  <c:v>4.9811324029830724</c:v>
                </c:pt>
                <c:pt idx="2447">
                  <c:v>5.9521816683183291</c:v>
                </c:pt>
                <c:pt idx="2448">
                  <c:v>5.2714400500523748</c:v>
                </c:pt>
                <c:pt idx="2449">
                  <c:v>4.9034456363123171</c:v>
                </c:pt>
                <c:pt idx="2450">
                  <c:v>6.092864693177324</c:v>
                </c:pt>
                <c:pt idx="2451">
                  <c:v>6.0111678754628315</c:v>
                </c:pt>
                <c:pt idx="2452">
                  <c:v>6.1355334081052648</c:v>
                </c:pt>
                <c:pt idx="2453">
                  <c:v>4.8766580927776726</c:v>
                </c:pt>
                <c:pt idx="2454">
                  <c:v>6.0746564665803371</c:v>
                </c:pt>
                <c:pt idx="2455">
                  <c:v>4.8040599031604634</c:v>
                </c:pt>
                <c:pt idx="2456">
                  <c:v>5.9544971249241421</c:v>
                </c:pt>
                <c:pt idx="2457">
                  <c:v>6.1770834356449837</c:v>
                </c:pt>
                <c:pt idx="2458">
                  <c:v>6.0806366425468363</c:v>
                </c:pt>
                <c:pt idx="2459">
                  <c:v>6.0669202059885867</c:v>
                </c:pt>
                <c:pt idx="2460">
                  <c:v>6.0500472931355631</c:v>
                </c:pt>
                <c:pt idx="2461">
                  <c:v>5.9891095435746537</c:v>
                </c:pt>
                <c:pt idx="2462">
                  <c:v>6.0768012195204459</c:v>
                </c:pt>
                <c:pt idx="2463">
                  <c:v>6.0176032709316827</c:v>
                </c:pt>
                <c:pt idx="2464">
                  <c:v>6.0839421951371282</c:v>
                </c:pt>
                <c:pt idx="2465">
                  <c:v>5.9909519282683767</c:v>
                </c:pt>
                <c:pt idx="2466">
                  <c:v>5.948111449797822</c:v>
                </c:pt>
                <c:pt idx="2467">
                  <c:v>6.0792639184521367</c:v>
                </c:pt>
                <c:pt idx="2468">
                  <c:v>6.0716196910885509</c:v>
                </c:pt>
                <c:pt idx="2469">
                  <c:v>6.1174653472451324</c:v>
                </c:pt>
                <c:pt idx="2470">
                  <c:v>6.0691645180808251</c:v>
                </c:pt>
                <c:pt idx="2471">
                  <c:v>6.012966599484681</c:v>
                </c:pt>
                <c:pt idx="2472">
                  <c:v>6.0391783481041763</c:v>
                </c:pt>
                <c:pt idx="2473">
                  <c:v>5.8929698416924667</c:v>
                </c:pt>
                <c:pt idx="2474">
                  <c:v>4.8543155393363095</c:v>
                </c:pt>
                <c:pt idx="2475">
                  <c:v>5.9843318344761833</c:v>
                </c:pt>
                <c:pt idx="2476">
                  <c:v>6.0834402377585581</c:v>
                </c:pt>
                <c:pt idx="2477">
                  <c:v>5.1098390562453675</c:v>
                </c:pt>
                <c:pt idx="2478">
                  <c:v>5.0872009317603624</c:v>
                </c:pt>
                <c:pt idx="2479">
                  <c:v>6.0853739912129177</c:v>
                </c:pt>
                <c:pt idx="2480">
                  <c:v>5.015947372813641</c:v>
                </c:pt>
                <c:pt idx="2481">
                  <c:v>4.9306063198111145</c:v>
                </c:pt>
                <c:pt idx="2482">
                  <c:v>5.9821926836883845</c:v>
                </c:pt>
                <c:pt idx="2483">
                  <c:v>6.1126023523015993</c:v>
                </c:pt>
                <c:pt idx="2484">
                  <c:v>3.9622357754936384</c:v>
                </c:pt>
                <c:pt idx="2485">
                  <c:v>4.8872685791962205</c:v>
                </c:pt>
                <c:pt idx="2486">
                  <c:v>5.0577861029170217</c:v>
                </c:pt>
                <c:pt idx="2487">
                  <c:v>3.9874253958147117</c:v>
                </c:pt>
                <c:pt idx="2488">
                  <c:v>4.9043579820659469</c:v>
                </c:pt>
                <c:pt idx="2489">
                  <c:v>7.1049720601006952</c:v>
                </c:pt>
                <c:pt idx="2490">
                  <c:v>6.0761776874487197</c:v>
                </c:pt>
                <c:pt idx="2491">
                  <c:v>4.8594825245064195</c:v>
                </c:pt>
                <c:pt idx="2492">
                  <c:v>5.939517925921824</c:v>
                </c:pt>
                <c:pt idx="2493">
                  <c:v>4.9692311616489659</c:v>
                </c:pt>
                <c:pt idx="2494">
                  <c:v>4.984307977808685</c:v>
                </c:pt>
                <c:pt idx="2495">
                  <c:v>5.8965405189024915</c:v>
                </c:pt>
                <c:pt idx="2496">
                  <c:v>4.9084801855317721</c:v>
                </c:pt>
                <c:pt idx="2497">
                  <c:v>5.9538421470285154</c:v>
                </c:pt>
                <c:pt idx="2498">
                  <c:v>5.9428668474940931</c:v>
                </c:pt>
                <c:pt idx="2499">
                  <c:v>6.0377019905913158</c:v>
                </c:pt>
                <c:pt idx="2500">
                  <c:v>6.0415411400794738</c:v>
                </c:pt>
                <c:pt idx="2501">
                  <c:v>5.9674164071598108</c:v>
                </c:pt>
                <c:pt idx="2502">
                  <c:v>6.013269735965511</c:v>
                </c:pt>
                <c:pt idx="2503">
                  <c:v>5.1103067912291307</c:v>
                </c:pt>
                <c:pt idx="2504">
                  <c:v>6.0541100603746614</c:v>
                </c:pt>
                <c:pt idx="2505">
                  <c:v>6.0856352355477954</c:v>
                </c:pt>
                <c:pt idx="2506">
                  <c:v>4.9440537612667796</c:v>
                </c:pt>
                <c:pt idx="2507">
                  <c:v>5.7965080303224683</c:v>
                </c:pt>
                <c:pt idx="2508">
                  <c:v>6.0122696688737394</c:v>
                </c:pt>
                <c:pt idx="2509">
                  <c:v>5.085702644337867</c:v>
                </c:pt>
                <c:pt idx="2510">
                  <c:v>6.0976599587923044</c:v>
                </c:pt>
                <c:pt idx="2511">
                  <c:v>5.0570222259685487</c:v>
                </c:pt>
                <c:pt idx="2512">
                  <c:v>6.8986057901847166</c:v>
                </c:pt>
                <c:pt idx="2513">
                  <c:v>4.9306689766975822</c:v>
                </c:pt>
                <c:pt idx="2514">
                  <c:v>5.8800045957260503</c:v>
                </c:pt>
                <c:pt idx="2515">
                  <c:v>6.0531733934922176</c:v>
                </c:pt>
                <c:pt idx="2516">
                  <c:v>5.1334904198465976</c:v>
                </c:pt>
                <c:pt idx="2517">
                  <c:v>6.1272677051390136</c:v>
                </c:pt>
                <c:pt idx="2518">
                  <c:v>6.0866595820700153</c:v>
                </c:pt>
                <c:pt idx="2519">
                  <c:v>4.9081899468018069</c:v>
                </c:pt>
                <c:pt idx="2520">
                  <c:v>5.0616589576431155</c:v>
                </c:pt>
                <c:pt idx="2521">
                  <c:v>4.8005263543139796</c:v>
                </c:pt>
                <c:pt idx="2522">
                  <c:v>6.0870124839832798</c:v>
                </c:pt>
                <c:pt idx="2523">
                  <c:v>5.0520122529460014</c:v>
                </c:pt>
                <c:pt idx="2524">
                  <c:v>6.0071074816933878</c:v>
                </c:pt>
                <c:pt idx="2525">
                  <c:v>3.8408279126004565</c:v>
                </c:pt>
                <c:pt idx="2526">
                  <c:v>5.1566655400333845</c:v>
                </c:pt>
                <c:pt idx="2527">
                  <c:v>6.0561429351577569</c:v>
                </c:pt>
                <c:pt idx="2528">
                  <c:v>4.9917183689486482</c:v>
                </c:pt>
                <c:pt idx="2529">
                  <c:v>6.0577230439833549</c:v>
                </c:pt>
                <c:pt idx="2530">
                  <c:v>5.0472861999443257</c:v>
                </c:pt>
                <c:pt idx="2531">
                  <c:v>4.8578739665534192</c:v>
                </c:pt>
                <c:pt idx="2532">
                  <c:v>5.0288707907589618</c:v>
                </c:pt>
                <c:pt idx="2533">
                  <c:v>5.2015575218177208</c:v>
                </c:pt>
                <c:pt idx="2534">
                  <c:v>6.0019639233055031</c:v>
                </c:pt>
                <c:pt idx="2535">
                  <c:v>7.1844024949557967</c:v>
                </c:pt>
                <c:pt idx="2536">
                  <c:v>6.1327200770558292</c:v>
                </c:pt>
                <c:pt idx="2537">
                  <c:v>4.7960220354903793</c:v>
                </c:pt>
                <c:pt idx="2538">
                  <c:v>5.00492067495931</c:v>
                </c:pt>
                <c:pt idx="2539">
                  <c:v>4.9681947124621164</c:v>
                </c:pt>
                <c:pt idx="2540">
                  <c:v>4.9860224802143573</c:v>
                </c:pt>
                <c:pt idx="2541">
                  <c:v>4.996882834491319</c:v>
                </c:pt>
                <c:pt idx="2542">
                  <c:v>4.9364329709090953</c:v>
                </c:pt>
                <c:pt idx="2543">
                  <c:v>5.9992251364965448</c:v>
                </c:pt>
                <c:pt idx="2544">
                  <c:v>5.0397288634711908</c:v>
                </c:pt>
                <c:pt idx="2545">
                  <c:v>5.8559885668752649</c:v>
                </c:pt>
                <c:pt idx="2546">
                  <c:v>5.1327580127454002</c:v>
                </c:pt>
                <c:pt idx="2547">
                  <c:v>5.826429056504435</c:v>
                </c:pt>
                <c:pt idx="2548">
                  <c:v>4.8514888051819778</c:v>
                </c:pt>
                <c:pt idx="2549">
                  <c:v>6.071713955561254</c:v>
                </c:pt>
                <c:pt idx="2550">
                  <c:v>4.9504552550016641</c:v>
                </c:pt>
                <c:pt idx="2551">
                  <c:v>6.0366217520638861</c:v>
                </c:pt>
                <c:pt idx="2552">
                  <c:v>4.9008374201761686</c:v>
                </c:pt>
                <c:pt idx="2553">
                  <c:v>5.9374280066023113</c:v>
                </c:pt>
                <c:pt idx="2554">
                  <c:v>5.0737027499721847</c:v>
                </c:pt>
                <c:pt idx="2555">
                  <c:v>6.1465540659459847</c:v>
                </c:pt>
                <c:pt idx="2556">
                  <c:v>6.8754152699111595</c:v>
                </c:pt>
                <c:pt idx="2557">
                  <c:v>5.9232413848584731</c:v>
                </c:pt>
                <c:pt idx="2558">
                  <c:v>5.162535956926674</c:v>
                </c:pt>
                <c:pt idx="2559">
                  <c:v>6.0995300819903946</c:v>
                </c:pt>
                <c:pt idx="2560">
                  <c:v>7.0110943036507729</c:v>
                </c:pt>
                <c:pt idx="2561">
                  <c:v>6.0035609440245814</c:v>
                </c:pt>
                <c:pt idx="2562">
                  <c:v>6.1185942611634117</c:v>
                </c:pt>
                <c:pt idx="2563">
                  <c:v>4.8935349083257487</c:v>
                </c:pt>
                <c:pt idx="2564">
                  <c:v>5.1205977674223311</c:v>
                </c:pt>
                <c:pt idx="2565">
                  <c:v>4.8942744382541123</c:v>
                </c:pt>
                <c:pt idx="2566">
                  <c:v>5.0038663785345792</c:v>
                </c:pt>
                <c:pt idx="2567">
                  <c:v>6.0687873139274071</c:v>
                </c:pt>
                <c:pt idx="2568">
                  <c:v>5.92154383539589</c:v>
                </c:pt>
                <c:pt idx="2569">
                  <c:v>6.0142957732288389</c:v>
                </c:pt>
                <c:pt idx="2570">
                  <c:v>4.8954616694267026</c:v>
                </c:pt>
                <c:pt idx="2571">
                  <c:v>6.0677900612419267</c:v>
                </c:pt>
                <c:pt idx="2572">
                  <c:v>5.9305056489271903</c:v>
                </c:pt>
                <c:pt idx="2573">
                  <c:v>5.0974647427491533</c:v>
                </c:pt>
                <c:pt idx="2574">
                  <c:v>5.0041454004838464</c:v>
                </c:pt>
                <c:pt idx="2575">
                  <c:v>6.0429469408276235</c:v>
                </c:pt>
                <c:pt idx="2576">
                  <c:v>4.9065530513225459</c:v>
                </c:pt>
                <c:pt idx="2577">
                  <c:v>5.0115333325499307</c:v>
                </c:pt>
                <c:pt idx="2578">
                  <c:v>5.0532150222705763</c:v>
                </c:pt>
                <c:pt idx="2579">
                  <c:v>5.9125682600452469</c:v>
                </c:pt>
                <c:pt idx="2580">
                  <c:v>6.0096264164435915</c:v>
                </c:pt>
                <c:pt idx="2581">
                  <c:v>5.0149185486346299</c:v>
                </c:pt>
                <c:pt idx="2582">
                  <c:v>5.8916615854205299</c:v>
                </c:pt>
                <c:pt idx="2583">
                  <c:v>6.1470382794860363</c:v>
                </c:pt>
                <c:pt idx="2584">
                  <c:v>6.0744622739866028</c:v>
                </c:pt>
                <c:pt idx="2585">
                  <c:v>7.1397231674523693</c:v>
                </c:pt>
                <c:pt idx="2586">
                  <c:v>5.9961672423361998</c:v>
                </c:pt>
                <c:pt idx="2587">
                  <c:v>4.8772987144475213</c:v>
                </c:pt>
                <c:pt idx="2588">
                  <c:v>5.0326282854480189</c:v>
                </c:pt>
                <c:pt idx="2589">
                  <c:v>6.1945722244010604</c:v>
                </c:pt>
                <c:pt idx="2590">
                  <c:v>5.9732025164339024</c:v>
                </c:pt>
                <c:pt idx="2591">
                  <c:v>6.0617042364514226</c:v>
                </c:pt>
                <c:pt idx="2592">
                  <c:v>5.8234613180889081</c:v>
                </c:pt>
                <c:pt idx="2593">
                  <c:v>4.9925844897629883</c:v>
                </c:pt>
                <c:pt idx="2594">
                  <c:v>5.8287512164183557</c:v>
                </c:pt>
                <c:pt idx="2595">
                  <c:v>6.0792643343976298</c:v>
                </c:pt>
                <c:pt idx="2596">
                  <c:v>4.9291717889185209</c:v>
                </c:pt>
                <c:pt idx="2597">
                  <c:v>5.9587693590891124</c:v>
                </c:pt>
                <c:pt idx="2598">
                  <c:v>5.0480770796375474</c:v>
                </c:pt>
                <c:pt idx="2599">
                  <c:v>6.0209332339017712</c:v>
                </c:pt>
                <c:pt idx="2600">
                  <c:v>5.9715366065071755</c:v>
                </c:pt>
                <c:pt idx="2601">
                  <c:v>4.8708988934479391</c:v>
                </c:pt>
                <c:pt idx="2602">
                  <c:v>6.0335936895427649</c:v>
                </c:pt>
                <c:pt idx="2603">
                  <c:v>6.2938335455363807</c:v>
                </c:pt>
                <c:pt idx="2604">
                  <c:v>5.9856815120684006</c:v>
                </c:pt>
                <c:pt idx="2605">
                  <c:v>7.0596212708866402</c:v>
                </c:pt>
                <c:pt idx="2606">
                  <c:v>6.026066124470038</c:v>
                </c:pt>
                <c:pt idx="2607">
                  <c:v>5.9086390144749794</c:v>
                </c:pt>
                <c:pt idx="2608">
                  <c:v>5.9028082426598489</c:v>
                </c:pt>
                <c:pt idx="2609">
                  <c:v>5.8122032318314183</c:v>
                </c:pt>
                <c:pt idx="2610">
                  <c:v>4.8502572523481327</c:v>
                </c:pt>
                <c:pt idx="2611">
                  <c:v>4.8930648443206923</c:v>
                </c:pt>
                <c:pt idx="2612">
                  <c:v>4.8686860235669371</c:v>
                </c:pt>
                <c:pt idx="2613">
                  <c:v>5.1060114503204304</c:v>
                </c:pt>
                <c:pt idx="2614">
                  <c:v>7.089366131956047</c:v>
                </c:pt>
                <c:pt idx="2615">
                  <c:v>5.8983872874971688</c:v>
                </c:pt>
                <c:pt idx="2616">
                  <c:v>6.164918615262053</c:v>
                </c:pt>
                <c:pt idx="2617">
                  <c:v>5.9102828767499123</c:v>
                </c:pt>
                <c:pt idx="2618">
                  <c:v>7.0647199738836077</c:v>
                </c:pt>
                <c:pt idx="2619">
                  <c:v>3.9364676096566713</c:v>
                </c:pt>
                <c:pt idx="2620">
                  <c:v>5.0866368812741722</c:v>
                </c:pt>
                <c:pt idx="2621">
                  <c:v>4.9787681033556375</c:v>
                </c:pt>
                <c:pt idx="2622">
                  <c:v>4.7888275216880318</c:v>
                </c:pt>
                <c:pt idx="2623">
                  <c:v>6.1791424824549823</c:v>
                </c:pt>
                <c:pt idx="2624">
                  <c:v>5.0939187717532528</c:v>
                </c:pt>
                <c:pt idx="2625">
                  <c:v>6.0140977383496539</c:v>
                </c:pt>
                <c:pt idx="2626">
                  <c:v>6.0579830343415404</c:v>
                </c:pt>
                <c:pt idx="2627">
                  <c:v>6.0204417118218387</c:v>
                </c:pt>
                <c:pt idx="2628">
                  <c:v>4.8947638609658757</c:v>
                </c:pt>
                <c:pt idx="2629">
                  <c:v>6.0429527616385101</c:v>
                </c:pt>
                <c:pt idx="2630">
                  <c:v>4.8825191813925164</c:v>
                </c:pt>
                <c:pt idx="2631">
                  <c:v>6.1335283089705648</c:v>
                </c:pt>
                <c:pt idx="2632">
                  <c:v>2.0019872462384649</c:v>
                </c:pt>
                <c:pt idx="2633">
                  <c:v>3.080783958541979</c:v>
                </c:pt>
                <c:pt idx="2634">
                  <c:v>5.0100978255472368</c:v>
                </c:pt>
                <c:pt idx="2635">
                  <c:v>4.9212878674049723</c:v>
                </c:pt>
                <c:pt idx="2636">
                  <c:v>5.0380285317440254</c:v>
                </c:pt>
                <c:pt idx="2637">
                  <c:v>2.9598307045521244</c:v>
                </c:pt>
                <c:pt idx="2638">
                  <c:v>6.1175484118078227</c:v>
                </c:pt>
                <c:pt idx="2639">
                  <c:v>6.8973666588171305</c:v>
                </c:pt>
                <c:pt idx="2640">
                  <c:v>5.9683945036660822</c:v>
                </c:pt>
                <c:pt idx="2641">
                  <c:v>6.9803537453395048</c:v>
                </c:pt>
                <c:pt idx="2642">
                  <c:v>4.9696708150620061</c:v>
                </c:pt>
                <c:pt idx="2643">
                  <c:v>5.9285534946359384</c:v>
                </c:pt>
                <c:pt idx="2644">
                  <c:v>4.8632471211097279</c:v>
                </c:pt>
                <c:pt idx="2645">
                  <c:v>5.0245881745168575</c:v>
                </c:pt>
                <c:pt idx="2646">
                  <c:v>5.1227616957049369</c:v>
                </c:pt>
                <c:pt idx="2647">
                  <c:v>4.047950356467573</c:v>
                </c:pt>
                <c:pt idx="2648">
                  <c:v>5.0476382184363784</c:v>
                </c:pt>
                <c:pt idx="2649">
                  <c:v>4.9352579923116799</c:v>
                </c:pt>
                <c:pt idx="2650">
                  <c:v>5.0812050927651367</c:v>
                </c:pt>
                <c:pt idx="2651">
                  <c:v>5.0445168000952822</c:v>
                </c:pt>
                <c:pt idx="2652">
                  <c:v>5.8309898967946463</c:v>
                </c:pt>
                <c:pt idx="2653">
                  <c:v>6.0153250425696028</c:v>
                </c:pt>
                <c:pt idx="2654">
                  <c:v>4.0333117956132174</c:v>
                </c:pt>
                <c:pt idx="2655">
                  <c:v>2.9287696178667368</c:v>
                </c:pt>
                <c:pt idx="2656">
                  <c:v>4.8481380164172201</c:v>
                </c:pt>
                <c:pt idx="2657">
                  <c:v>4.7916464094709781</c:v>
                </c:pt>
                <c:pt idx="2658">
                  <c:v>5.0806479052675426</c:v>
                </c:pt>
                <c:pt idx="2659">
                  <c:v>4.8861720436130325</c:v>
                </c:pt>
                <c:pt idx="2660">
                  <c:v>3.8487782947857894</c:v>
                </c:pt>
                <c:pt idx="2661">
                  <c:v>6.0812425538231363</c:v>
                </c:pt>
                <c:pt idx="2662">
                  <c:v>4.0435566821510847</c:v>
                </c:pt>
                <c:pt idx="2663">
                  <c:v>3.9584363625461059</c:v>
                </c:pt>
                <c:pt idx="2664">
                  <c:v>4.8276991875232982</c:v>
                </c:pt>
                <c:pt idx="2665">
                  <c:v>4.8697619248380768</c:v>
                </c:pt>
                <c:pt idx="2666">
                  <c:v>2.9051017967003747</c:v>
                </c:pt>
                <c:pt idx="2667">
                  <c:v>4.0301861747171497</c:v>
                </c:pt>
                <c:pt idx="2668">
                  <c:v>5.0084596790686753</c:v>
                </c:pt>
                <c:pt idx="2669">
                  <c:v>5.9719106107932669</c:v>
                </c:pt>
                <c:pt idx="2670">
                  <c:v>5.9761738245806626</c:v>
                </c:pt>
                <c:pt idx="2671">
                  <c:v>4.9662829058169926</c:v>
                </c:pt>
                <c:pt idx="2672">
                  <c:v>5.9160805288338203</c:v>
                </c:pt>
                <c:pt idx="2673">
                  <c:v>2.9136450868945389</c:v>
                </c:pt>
                <c:pt idx="2674">
                  <c:v>4.8151517212207544</c:v>
                </c:pt>
                <c:pt idx="2675">
                  <c:v>5.8528684239077684</c:v>
                </c:pt>
                <c:pt idx="2676">
                  <c:v>6.9807557040252881</c:v>
                </c:pt>
                <c:pt idx="2677">
                  <c:v>4.9895889827432374</c:v>
                </c:pt>
                <c:pt idx="2678">
                  <c:v>5.9749666813374871</c:v>
                </c:pt>
                <c:pt idx="2679">
                  <c:v>4.9731926436916387</c:v>
                </c:pt>
                <c:pt idx="2680">
                  <c:v>4.995176272170271</c:v>
                </c:pt>
                <c:pt idx="2681">
                  <c:v>4.8942081705575555</c:v>
                </c:pt>
                <c:pt idx="2682">
                  <c:v>6.0288775921519555</c:v>
                </c:pt>
                <c:pt idx="2683">
                  <c:v>6.0882043814713809</c:v>
                </c:pt>
                <c:pt idx="2684">
                  <c:v>5.0261025173891634</c:v>
                </c:pt>
                <c:pt idx="2685">
                  <c:v>4.0067496110208065</c:v>
                </c:pt>
                <c:pt idx="2686">
                  <c:v>5.9784748866812647</c:v>
                </c:pt>
                <c:pt idx="2687">
                  <c:v>3.9775589269959362</c:v>
                </c:pt>
                <c:pt idx="2688">
                  <c:v>6.0265191764657624</c:v>
                </c:pt>
                <c:pt idx="2689">
                  <c:v>4.8007867530719279</c:v>
                </c:pt>
                <c:pt idx="2690">
                  <c:v>6.0773664626404811</c:v>
                </c:pt>
                <c:pt idx="2691">
                  <c:v>5.0545764203414727</c:v>
                </c:pt>
                <c:pt idx="2692">
                  <c:v>5.8032267297427822</c:v>
                </c:pt>
                <c:pt idx="2693">
                  <c:v>4.874297447991645</c:v>
                </c:pt>
                <c:pt idx="2694">
                  <c:v>5.9071480698802432</c:v>
                </c:pt>
                <c:pt idx="2695">
                  <c:v>4.9713236903023272</c:v>
                </c:pt>
                <c:pt idx="2696">
                  <c:v>5.9958751245830673</c:v>
                </c:pt>
                <c:pt idx="2697">
                  <c:v>6.1066067715632872</c:v>
                </c:pt>
                <c:pt idx="2698">
                  <c:v>4.975442965803281</c:v>
                </c:pt>
                <c:pt idx="2699">
                  <c:v>5.0956840726930128</c:v>
                </c:pt>
                <c:pt idx="2700">
                  <c:v>6.0929042740208077</c:v>
                </c:pt>
                <c:pt idx="2701">
                  <c:v>6.1326737025625562</c:v>
                </c:pt>
                <c:pt idx="2702">
                  <c:v>5.9037766056190932</c:v>
                </c:pt>
                <c:pt idx="2703">
                  <c:v>5.1239397687255597</c:v>
                </c:pt>
                <c:pt idx="2704">
                  <c:v>5.0109875296615041</c:v>
                </c:pt>
                <c:pt idx="2705">
                  <c:v>5.9952519812194964</c:v>
                </c:pt>
                <c:pt idx="2706">
                  <c:v>5.0572122528446561</c:v>
                </c:pt>
                <c:pt idx="2707">
                  <c:v>5.0197701237582377</c:v>
                </c:pt>
                <c:pt idx="2708">
                  <c:v>4.7541207485551933</c:v>
                </c:pt>
                <c:pt idx="2709">
                  <c:v>5.9414831444017375</c:v>
                </c:pt>
                <c:pt idx="2710">
                  <c:v>5.0253224629586999</c:v>
                </c:pt>
                <c:pt idx="2711">
                  <c:v>4.9069660103782073</c:v>
                </c:pt>
                <c:pt idx="2712">
                  <c:v>4.988477996485047</c:v>
                </c:pt>
                <c:pt idx="2713">
                  <c:v>6.0434392077676229</c:v>
                </c:pt>
                <c:pt idx="2714">
                  <c:v>5.0556750440481428</c:v>
                </c:pt>
                <c:pt idx="2715">
                  <c:v>3.7544630509847403</c:v>
                </c:pt>
                <c:pt idx="2716">
                  <c:v>4.9690133988510308</c:v>
                </c:pt>
                <c:pt idx="2717">
                  <c:v>5.8869180769289624</c:v>
                </c:pt>
                <c:pt idx="2718">
                  <c:v>4.9135376704763996</c:v>
                </c:pt>
                <c:pt idx="2719">
                  <c:v>3.7770996940627959</c:v>
                </c:pt>
                <c:pt idx="2720">
                  <c:v>4.9955778844798591</c:v>
                </c:pt>
                <c:pt idx="2721">
                  <c:v>3.8348362285517239</c:v>
                </c:pt>
                <c:pt idx="2722">
                  <c:v>5.8337823661418442</c:v>
                </c:pt>
                <c:pt idx="2723">
                  <c:v>5.1534573921188809</c:v>
                </c:pt>
                <c:pt idx="2724">
                  <c:v>3.6421782317195408</c:v>
                </c:pt>
                <c:pt idx="2725">
                  <c:v>5.9298715521920426</c:v>
                </c:pt>
                <c:pt idx="2726">
                  <c:v>8.9662551027221831</c:v>
                </c:pt>
                <c:pt idx="2727">
                  <c:v>6.049415517059308</c:v>
                </c:pt>
                <c:pt idx="2728">
                  <c:v>5.8575430940055879</c:v>
                </c:pt>
                <c:pt idx="2729">
                  <c:v>6.2239201865486047</c:v>
                </c:pt>
                <c:pt idx="2730">
                  <c:v>4.9135614596075445</c:v>
                </c:pt>
                <c:pt idx="2731">
                  <c:v>5.0294151451494962</c:v>
                </c:pt>
                <c:pt idx="2732">
                  <c:v>6.1162437083022656</c:v>
                </c:pt>
                <c:pt idx="2733">
                  <c:v>5.1325283207192269</c:v>
                </c:pt>
                <c:pt idx="2734">
                  <c:v>5.0866470906814758</c:v>
                </c:pt>
                <c:pt idx="2735">
                  <c:v>5.912631303011473</c:v>
                </c:pt>
                <c:pt idx="2736">
                  <c:v>6.0395828004568912</c:v>
                </c:pt>
                <c:pt idx="2737">
                  <c:v>4.8363684269320046</c:v>
                </c:pt>
                <c:pt idx="2738">
                  <c:v>4.8351611045881988</c:v>
                </c:pt>
                <c:pt idx="2739">
                  <c:v>6.0483389647255379</c:v>
                </c:pt>
                <c:pt idx="2740">
                  <c:v>5.872516478881793</c:v>
                </c:pt>
                <c:pt idx="2741">
                  <c:v>5.1314808340631863</c:v>
                </c:pt>
                <c:pt idx="2742">
                  <c:v>5.8965797038045178</c:v>
                </c:pt>
                <c:pt idx="2743">
                  <c:v>5.1185617648917301</c:v>
                </c:pt>
                <c:pt idx="2744">
                  <c:v>5.9608630237704823</c:v>
                </c:pt>
                <c:pt idx="2745">
                  <c:v>6.1066902063829422</c:v>
                </c:pt>
                <c:pt idx="2746">
                  <c:v>5.0248386530855935</c:v>
                </c:pt>
                <c:pt idx="2747">
                  <c:v>5.0503767182877057</c:v>
                </c:pt>
                <c:pt idx="2748">
                  <c:v>6.1855879765845163</c:v>
                </c:pt>
                <c:pt idx="2749">
                  <c:v>4.9721846100818015</c:v>
                </c:pt>
                <c:pt idx="2750">
                  <c:v>5.1077358196481635</c:v>
                </c:pt>
                <c:pt idx="2751">
                  <c:v>4.9573433010231245</c:v>
                </c:pt>
                <c:pt idx="2752">
                  <c:v>4.9672223159350652</c:v>
                </c:pt>
                <c:pt idx="2753">
                  <c:v>5.0013821165121524</c:v>
                </c:pt>
                <c:pt idx="2754">
                  <c:v>5.0033561916900995</c:v>
                </c:pt>
                <c:pt idx="2755">
                  <c:v>6.0169965755310999</c:v>
                </c:pt>
                <c:pt idx="2756">
                  <c:v>3.9851384003763592</c:v>
                </c:pt>
                <c:pt idx="2757">
                  <c:v>7.0778944145423965</c:v>
                </c:pt>
                <c:pt idx="2758">
                  <c:v>5.015295965438554</c:v>
                </c:pt>
                <c:pt idx="2759">
                  <c:v>4.9142487593140958</c:v>
                </c:pt>
                <c:pt idx="2760">
                  <c:v>5.0843278846029314</c:v>
                </c:pt>
                <c:pt idx="2761">
                  <c:v>5.0132137548147018</c:v>
                </c:pt>
                <c:pt idx="2762">
                  <c:v>5.8479829282031313</c:v>
                </c:pt>
                <c:pt idx="2763">
                  <c:v>4.879712510809803</c:v>
                </c:pt>
                <c:pt idx="2764">
                  <c:v>5.1938484426406175</c:v>
                </c:pt>
                <c:pt idx="2765">
                  <c:v>5.1491618960681329</c:v>
                </c:pt>
                <c:pt idx="2766">
                  <c:v>5.0503662861144258</c:v>
                </c:pt>
                <c:pt idx="2767">
                  <c:v>5.1619827383979366</c:v>
                </c:pt>
                <c:pt idx="2768">
                  <c:v>6.0131091378319583</c:v>
                </c:pt>
                <c:pt idx="2769">
                  <c:v>4.032626752804501</c:v>
                </c:pt>
                <c:pt idx="2770">
                  <c:v>5.1098297446247045</c:v>
                </c:pt>
                <c:pt idx="2771">
                  <c:v>5.0305168103225153</c:v>
                </c:pt>
                <c:pt idx="2772">
                  <c:v>4.9233644299508628</c:v>
                </c:pt>
                <c:pt idx="2773">
                  <c:v>4.8915625754910845</c:v>
                </c:pt>
                <c:pt idx="2774">
                  <c:v>4.1431789811746631</c:v>
                </c:pt>
                <c:pt idx="2775">
                  <c:v>6.0419529227073436</c:v>
                </c:pt>
                <c:pt idx="2776">
                  <c:v>6.063193689346833</c:v>
                </c:pt>
                <c:pt idx="2777">
                  <c:v>5.8792679915756763</c:v>
                </c:pt>
                <c:pt idx="2778">
                  <c:v>4.1566937478611248</c:v>
                </c:pt>
                <c:pt idx="2779">
                  <c:v>6.0804915319780175</c:v>
                </c:pt>
                <c:pt idx="2780">
                  <c:v>5.9730918141946558</c:v>
                </c:pt>
                <c:pt idx="2781">
                  <c:v>6.0402745645335409</c:v>
                </c:pt>
                <c:pt idx="2782">
                  <c:v>4.9428547247483232</c:v>
                </c:pt>
                <c:pt idx="2783">
                  <c:v>6.0753365467313127</c:v>
                </c:pt>
                <c:pt idx="2784">
                  <c:v>6.0876459217547554</c:v>
                </c:pt>
                <c:pt idx="2785">
                  <c:v>5.9641061083658</c:v>
                </c:pt>
                <c:pt idx="2786">
                  <c:v>6.0023836307066647</c:v>
                </c:pt>
                <c:pt idx="2787">
                  <c:v>6.1193967229152086</c:v>
                </c:pt>
                <c:pt idx="2788">
                  <c:v>5.9757748729616003</c:v>
                </c:pt>
                <c:pt idx="2789">
                  <c:v>6.0460208259711221</c:v>
                </c:pt>
                <c:pt idx="2790">
                  <c:v>6.3167523813677882</c:v>
                </c:pt>
                <c:pt idx="2791">
                  <c:v>5.9574804745879479</c:v>
                </c:pt>
                <c:pt idx="2792">
                  <c:v>5.0944894386381856</c:v>
                </c:pt>
                <c:pt idx="2793">
                  <c:v>6.016920268248132</c:v>
                </c:pt>
                <c:pt idx="2794">
                  <c:v>6.0959944216221764</c:v>
                </c:pt>
                <c:pt idx="2795">
                  <c:v>5.1675642100854562</c:v>
                </c:pt>
                <c:pt idx="2796">
                  <c:v>6.2405267956523121</c:v>
                </c:pt>
                <c:pt idx="2797">
                  <c:v>7.0751631375727309</c:v>
                </c:pt>
                <c:pt idx="2798">
                  <c:v>4.9159084185687387</c:v>
                </c:pt>
                <c:pt idx="2799">
                  <c:v>6.1114575796116526</c:v>
                </c:pt>
                <c:pt idx="2800">
                  <c:v>7.0240130497895858</c:v>
                </c:pt>
                <c:pt idx="2801">
                  <c:v>5.8659363404440992</c:v>
                </c:pt>
                <c:pt idx="2802">
                  <c:v>6.0615731067701821</c:v>
                </c:pt>
                <c:pt idx="2803">
                  <c:v>5.9078089320424496</c:v>
                </c:pt>
                <c:pt idx="2804">
                  <c:v>6.0557225191949939</c:v>
                </c:pt>
                <c:pt idx="2805">
                  <c:v>5.9421686878922362</c:v>
                </c:pt>
                <c:pt idx="2806">
                  <c:v>5.9173437316996518</c:v>
                </c:pt>
                <c:pt idx="2807">
                  <c:v>5.0108313699572893</c:v>
                </c:pt>
                <c:pt idx="2808">
                  <c:v>4.1182387941867926</c:v>
                </c:pt>
                <c:pt idx="2809">
                  <c:v>5.9650330992386182</c:v>
                </c:pt>
                <c:pt idx="2810">
                  <c:v>5.0220753320646256</c:v>
                </c:pt>
                <c:pt idx="2811">
                  <c:v>5.9949434775291275</c:v>
                </c:pt>
                <c:pt idx="2812">
                  <c:v>4.8501145403290113</c:v>
                </c:pt>
                <c:pt idx="2813">
                  <c:v>5.9881815126894029</c:v>
                </c:pt>
                <c:pt idx="2814">
                  <c:v>6.0973414177970389</c:v>
                </c:pt>
                <c:pt idx="2815">
                  <c:v>6.2345785571258743</c:v>
                </c:pt>
                <c:pt idx="2816">
                  <c:v>6.0352478836200589</c:v>
                </c:pt>
                <c:pt idx="2817">
                  <c:v>3.961124982474117</c:v>
                </c:pt>
                <c:pt idx="2818">
                  <c:v>6.0230942749956204</c:v>
                </c:pt>
                <c:pt idx="2819">
                  <c:v>4.9903703754053179</c:v>
                </c:pt>
                <c:pt idx="2820">
                  <c:v>3.9500256702121037</c:v>
                </c:pt>
                <c:pt idx="2821">
                  <c:v>3.8989394408782769</c:v>
                </c:pt>
                <c:pt idx="2822">
                  <c:v>5.1526899863499622</c:v>
                </c:pt>
                <c:pt idx="2823">
                  <c:v>5.9926623941433785</c:v>
                </c:pt>
                <c:pt idx="2824">
                  <c:v>4.9396947252278824</c:v>
                </c:pt>
                <c:pt idx="2825">
                  <c:v>5.9220883420844537</c:v>
                </c:pt>
                <c:pt idx="2826">
                  <c:v>6.0349330509719472</c:v>
                </c:pt>
                <c:pt idx="2827">
                  <c:v>5.950386215993162</c:v>
                </c:pt>
                <c:pt idx="2828">
                  <c:v>5.9989588523568091</c:v>
                </c:pt>
                <c:pt idx="2829">
                  <c:v>4.8951462167317619</c:v>
                </c:pt>
                <c:pt idx="2830">
                  <c:v>5.0806566026001461</c:v>
                </c:pt>
                <c:pt idx="2831">
                  <c:v>4.0176046622027464</c:v>
                </c:pt>
                <c:pt idx="2832">
                  <c:v>4.9956005049410974</c:v>
                </c:pt>
                <c:pt idx="2833">
                  <c:v>4.8430160002117502</c:v>
                </c:pt>
                <c:pt idx="2834">
                  <c:v>5.9504148263106034</c:v>
                </c:pt>
                <c:pt idx="2835">
                  <c:v>4.9058119336605266</c:v>
                </c:pt>
                <c:pt idx="2836">
                  <c:v>3.9550900428509701</c:v>
                </c:pt>
                <c:pt idx="2837">
                  <c:v>4.0253574279285331</c:v>
                </c:pt>
                <c:pt idx="2838">
                  <c:v>6.0919859544519364</c:v>
                </c:pt>
                <c:pt idx="2839">
                  <c:v>6.0213922521712124</c:v>
                </c:pt>
                <c:pt idx="2840">
                  <c:v>4.9353851190001459</c:v>
                </c:pt>
                <c:pt idx="2841">
                  <c:v>3.924329957336417</c:v>
                </c:pt>
                <c:pt idx="2842">
                  <c:v>4.9179551721301911</c:v>
                </c:pt>
                <c:pt idx="2843">
                  <c:v>6.0727420160288101</c:v>
                </c:pt>
                <c:pt idx="2844">
                  <c:v>4.0020317550408437</c:v>
                </c:pt>
                <c:pt idx="2845">
                  <c:v>6.1090249208861991</c:v>
                </c:pt>
                <c:pt idx="2846">
                  <c:v>5.0832734537023319</c:v>
                </c:pt>
                <c:pt idx="2847">
                  <c:v>5.9047063767205445</c:v>
                </c:pt>
                <c:pt idx="2848">
                  <c:v>4.8633640612113744</c:v>
                </c:pt>
                <c:pt idx="2849">
                  <c:v>5.0892098373345798</c:v>
                </c:pt>
                <c:pt idx="2850">
                  <c:v>5.8213735765218839</c:v>
                </c:pt>
                <c:pt idx="2851">
                  <c:v>5.8760777058449118</c:v>
                </c:pt>
                <c:pt idx="2852">
                  <c:v>4.9096190045401826</c:v>
                </c:pt>
                <c:pt idx="2853">
                  <c:v>4.9989571736930092</c:v>
                </c:pt>
                <c:pt idx="2854">
                  <c:v>6.1018874072117972</c:v>
                </c:pt>
                <c:pt idx="2855">
                  <c:v>5.954907304431539</c:v>
                </c:pt>
                <c:pt idx="2856">
                  <c:v>5.9842078977183437</c:v>
                </c:pt>
                <c:pt idx="2857">
                  <c:v>5.8948286008358544</c:v>
                </c:pt>
                <c:pt idx="2858">
                  <c:v>4.8145527621091606</c:v>
                </c:pt>
                <c:pt idx="2859">
                  <c:v>4.984340622139233</c:v>
                </c:pt>
                <c:pt idx="2860">
                  <c:v>6.0332240346492183</c:v>
                </c:pt>
                <c:pt idx="2861">
                  <c:v>7.1475247844747578</c:v>
                </c:pt>
                <c:pt idx="2862">
                  <c:v>5.9964774606390847</c:v>
                </c:pt>
                <c:pt idx="2863">
                  <c:v>5.0080339420433777</c:v>
                </c:pt>
                <c:pt idx="2864">
                  <c:v>6.1081097819818879</c:v>
                </c:pt>
                <c:pt idx="2865">
                  <c:v>6.0434386399048794</c:v>
                </c:pt>
                <c:pt idx="2866">
                  <c:v>5.888154693152134</c:v>
                </c:pt>
                <c:pt idx="2867">
                  <c:v>5.0232077532361581</c:v>
                </c:pt>
                <c:pt idx="2868">
                  <c:v>4.873421600832593</c:v>
                </c:pt>
                <c:pt idx="2869">
                  <c:v>5.9325094367185844</c:v>
                </c:pt>
                <c:pt idx="2870">
                  <c:v>4.9014595754155446</c:v>
                </c:pt>
                <c:pt idx="2871">
                  <c:v>6.9637479509646596</c:v>
                </c:pt>
                <c:pt idx="2872">
                  <c:v>4.9231327576228026</c:v>
                </c:pt>
                <c:pt idx="2873">
                  <c:v>6.0077958599872803</c:v>
                </c:pt>
                <c:pt idx="2874">
                  <c:v>6.1017998546466901</c:v>
                </c:pt>
                <c:pt idx="2875">
                  <c:v>5.008947591066268</c:v>
                </c:pt>
                <c:pt idx="2876">
                  <c:v>5.9728885259541116</c:v>
                </c:pt>
                <c:pt idx="2877">
                  <c:v>5.1552439782164914</c:v>
                </c:pt>
                <c:pt idx="2878">
                  <c:v>4.8304206219878489</c:v>
                </c:pt>
                <c:pt idx="2879">
                  <c:v>6.1397422107711872</c:v>
                </c:pt>
                <c:pt idx="2880">
                  <c:v>6.1116687181186524</c:v>
                </c:pt>
                <c:pt idx="2881">
                  <c:v>5.8097615342968965</c:v>
                </c:pt>
                <c:pt idx="2882">
                  <c:v>5.0459622909538595</c:v>
                </c:pt>
                <c:pt idx="2883">
                  <c:v>5.6017887509581126</c:v>
                </c:pt>
                <c:pt idx="2884">
                  <c:v>6.9056090615372687</c:v>
                </c:pt>
                <c:pt idx="2885">
                  <c:v>4.875649856655472</c:v>
                </c:pt>
                <c:pt idx="2886">
                  <c:v>5.1223383913646225</c:v>
                </c:pt>
                <c:pt idx="2887">
                  <c:v>4.9820488002532617</c:v>
                </c:pt>
                <c:pt idx="2888">
                  <c:v>4.96348275640345</c:v>
                </c:pt>
                <c:pt idx="2889">
                  <c:v>7.0057823202157232</c:v>
                </c:pt>
                <c:pt idx="2890">
                  <c:v>5.1075251082778612</c:v>
                </c:pt>
                <c:pt idx="2891">
                  <c:v>4.9354404529603144</c:v>
                </c:pt>
                <c:pt idx="2892">
                  <c:v>6.148992393805675</c:v>
                </c:pt>
                <c:pt idx="2893">
                  <c:v>5.0249834922026286</c:v>
                </c:pt>
                <c:pt idx="2894">
                  <c:v>5.0056499575928539</c:v>
                </c:pt>
                <c:pt idx="2895">
                  <c:v>4.9829489332641925</c:v>
                </c:pt>
                <c:pt idx="2896">
                  <c:v>4.9030268743007133</c:v>
                </c:pt>
                <c:pt idx="2897">
                  <c:v>6.1967015692036433</c:v>
                </c:pt>
                <c:pt idx="2898">
                  <c:v>6.9381339802947908</c:v>
                </c:pt>
                <c:pt idx="2899">
                  <c:v>6.0619853098002556</c:v>
                </c:pt>
                <c:pt idx="2900">
                  <c:v>4.8619483063095545</c:v>
                </c:pt>
                <c:pt idx="2901">
                  <c:v>4.963517954739407</c:v>
                </c:pt>
                <c:pt idx="2902">
                  <c:v>5.9660399229940611</c:v>
                </c:pt>
                <c:pt idx="2903">
                  <c:v>6.9788986229887966</c:v>
                </c:pt>
                <c:pt idx="2904">
                  <c:v>7.0716555255776949</c:v>
                </c:pt>
                <c:pt idx="2905">
                  <c:v>5.0936499968392219</c:v>
                </c:pt>
                <c:pt idx="2906">
                  <c:v>6.125897014889226</c:v>
                </c:pt>
                <c:pt idx="2907">
                  <c:v>6.9761037796297147</c:v>
                </c:pt>
                <c:pt idx="2908">
                  <c:v>5.0067208670434331</c:v>
                </c:pt>
                <c:pt idx="2909">
                  <c:v>4.9956632407372714</c:v>
                </c:pt>
                <c:pt idx="2910">
                  <c:v>6.0329453589333006</c:v>
                </c:pt>
                <c:pt idx="2911">
                  <c:v>7.0198298641989254</c:v>
                </c:pt>
                <c:pt idx="2912">
                  <c:v>4.905863056912291</c:v>
                </c:pt>
                <c:pt idx="2913">
                  <c:v>5.0404384240951012</c:v>
                </c:pt>
                <c:pt idx="2914">
                  <c:v>5.9492519181822292</c:v>
                </c:pt>
                <c:pt idx="2915">
                  <c:v>5.0817652677880787</c:v>
                </c:pt>
                <c:pt idx="2916">
                  <c:v>5.0180621660288569</c:v>
                </c:pt>
                <c:pt idx="2917">
                  <c:v>6.9560618511466501</c:v>
                </c:pt>
                <c:pt idx="2918">
                  <c:v>5.0245730735936336</c:v>
                </c:pt>
                <c:pt idx="2919">
                  <c:v>5.1383574098352325</c:v>
                </c:pt>
                <c:pt idx="2920">
                  <c:v>6.1232976922532325</c:v>
                </c:pt>
                <c:pt idx="2921">
                  <c:v>5.0192540756905526</c:v>
                </c:pt>
                <c:pt idx="2922">
                  <c:v>5.9301647912924675</c:v>
                </c:pt>
                <c:pt idx="2923">
                  <c:v>5.0596875386437539</c:v>
                </c:pt>
                <c:pt idx="2924">
                  <c:v>5.8386039894531532</c:v>
                </c:pt>
                <c:pt idx="2925">
                  <c:v>6.1979944043807738</c:v>
                </c:pt>
                <c:pt idx="2926">
                  <c:v>5.1413949364584983</c:v>
                </c:pt>
                <c:pt idx="2927">
                  <c:v>5.9674310878643597</c:v>
                </c:pt>
                <c:pt idx="2928">
                  <c:v>5.0241066934888536</c:v>
                </c:pt>
                <c:pt idx="2929">
                  <c:v>5.9760881388882465</c:v>
                </c:pt>
                <c:pt idx="2930">
                  <c:v>5.9097380261017101</c:v>
                </c:pt>
                <c:pt idx="2931">
                  <c:v>4.892008265889757</c:v>
                </c:pt>
                <c:pt idx="2932">
                  <c:v>4.9275825378513538</c:v>
                </c:pt>
                <c:pt idx="2933">
                  <c:v>5.0562802625303469</c:v>
                </c:pt>
                <c:pt idx="2934">
                  <c:v>4.818545182284578</c:v>
                </c:pt>
                <c:pt idx="2935">
                  <c:v>5.0857536536019055</c:v>
                </c:pt>
                <c:pt idx="2936">
                  <c:v>6.0409469551921422</c:v>
                </c:pt>
                <c:pt idx="2937">
                  <c:v>4.8699735788735614</c:v>
                </c:pt>
                <c:pt idx="2938">
                  <c:v>4.9209622066097749</c:v>
                </c:pt>
                <c:pt idx="2939">
                  <c:v>3.9032332907816656</c:v>
                </c:pt>
                <c:pt idx="2940">
                  <c:v>4.9193255389468149</c:v>
                </c:pt>
                <c:pt idx="2941">
                  <c:v>5.9290804733414317</c:v>
                </c:pt>
                <c:pt idx="2942">
                  <c:v>5.9887875854379766</c:v>
                </c:pt>
                <c:pt idx="2943">
                  <c:v>4.8888152539737693</c:v>
                </c:pt>
                <c:pt idx="2944">
                  <c:v>5.0830444060228892</c:v>
                </c:pt>
                <c:pt idx="2945">
                  <c:v>4.8469075911575885</c:v>
                </c:pt>
                <c:pt idx="2946">
                  <c:v>5.8944782920973298</c:v>
                </c:pt>
                <c:pt idx="2947">
                  <c:v>6.0757437402098597</c:v>
                </c:pt>
                <c:pt idx="2948">
                  <c:v>5.8407229695124823</c:v>
                </c:pt>
                <c:pt idx="2949">
                  <c:v>4.9458884114053108</c:v>
                </c:pt>
                <c:pt idx="2950">
                  <c:v>4.9517177091993547</c:v>
                </c:pt>
                <c:pt idx="2951">
                  <c:v>6.2050173175007357</c:v>
                </c:pt>
                <c:pt idx="2952">
                  <c:v>4.8931074474657592</c:v>
                </c:pt>
                <c:pt idx="2953">
                  <c:v>6.1767108265342987</c:v>
                </c:pt>
                <c:pt idx="2954">
                  <c:v>4.8895192286047502</c:v>
                </c:pt>
                <c:pt idx="2955">
                  <c:v>5.9321357659252039</c:v>
                </c:pt>
                <c:pt idx="2956">
                  <c:v>6.0260895440517546</c:v>
                </c:pt>
                <c:pt idx="2957">
                  <c:v>6.0218450216457979</c:v>
                </c:pt>
                <c:pt idx="2958">
                  <c:v>6.0450111511169666</c:v>
                </c:pt>
                <c:pt idx="2959">
                  <c:v>5.9709909477148537</c:v>
                </c:pt>
                <c:pt idx="2960">
                  <c:v>5.9479220267201889</c:v>
                </c:pt>
                <c:pt idx="2961">
                  <c:v>4.9345107042089875</c:v>
                </c:pt>
                <c:pt idx="2962">
                  <c:v>4.8867799825411566</c:v>
                </c:pt>
                <c:pt idx="2963">
                  <c:v>4.9638366318085145</c:v>
                </c:pt>
                <c:pt idx="2964">
                  <c:v>6.1444920552531626</c:v>
                </c:pt>
                <c:pt idx="2965">
                  <c:v>4.9662499538727678</c:v>
                </c:pt>
                <c:pt idx="2966">
                  <c:v>4.8857799875696815</c:v>
                </c:pt>
                <c:pt idx="2967">
                  <c:v>5.0959104390189411</c:v>
                </c:pt>
                <c:pt idx="2968">
                  <c:v>4.9687422386951647</c:v>
                </c:pt>
                <c:pt idx="2969">
                  <c:v>5.7312775628434451</c:v>
                </c:pt>
                <c:pt idx="2970">
                  <c:v>5.9116562012025522</c:v>
                </c:pt>
                <c:pt idx="2971">
                  <c:v>5.0206328060219523</c:v>
                </c:pt>
                <c:pt idx="2972">
                  <c:v>4.8777787602622906</c:v>
                </c:pt>
                <c:pt idx="2973">
                  <c:v>6.0863734297576411</c:v>
                </c:pt>
                <c:pt idx="2974">
                  <c:v>5.874241660513257</c:v>
                </c:pt>
                <c:pt idx="2975">
                  <c:v>5.9861899815068833</c:v>
                </c:pt>
                <c:pt idx="2976">
                  <c:v>5.109243874640276</c:v>
                </c:pt>
                <c:pt idx="2977">
                  <c:v>5.8096743831078319</c:v>
                </c:pt>
                <c:pt idx="2978">
                  <c:v>6.0064917735407093</c:v>
                </c:pt>
                <c:pt idx="2979">
                  <c:v>5.931564205971501</c:v>
                </c:pt>
                <c:pt idx="2980">
                  <c:v>5.0819653782712857</c:v>
                </c:pt>
                <c:pt idx="2981">
                  <c:v>5.0443851650820868</c:v>
                </c:pt>
                <c:pt idx="2982">
                  <c:v>5.193843136586235</c:v>
                </c:pt>
                <c:pt idx="2983">
                  <c:v>6.1677016278124963</c:v>
                </c:pt>
                <c:pt idx="2984">
                  <c:v>4.8539782620645147</c:v>
                </c:pt>
                <c:pt idx="2985">
                  <c:v>4.9517506665105424</c:v>
                </c:pt>
                <c:pt idx="2986">
                  <c:v>5.1150743928150346</c:v>
                </c:pt>
                <c:pt idx="2987">
                  <c:v>4.7574386320052584</c:v>
                </c:pt>
                <c:pt idx="2988">
                  <c:v>5.0913291252602066</c:v>
                </c:pt>
                <c:pt idx="2989">
                  <c:v>6.1357508997813648</c:v>
                </c:pt>
                <c:pt idx="2990">
                  <c:v>4.9964791885364415</c:v>
                </c:pt>
                <c:pt idx="2991">
                  <c:v>6.0487166010749043</c:v>
                </c:pt>
                <c:pt idx="2992">
                  <c:v>5.0532062828564781</c:v>
                </c:pt>
                <c:pt idx="2993">
                  <c:v>5.0433915545234251</c:v>
                </c:pt>
                <c:pt idx="2994">
                  <c:v>6.0502945759139575</c:v>
                </c:pt>
                <c:pt idx="2995">
                  <c:v>6.1173824866224606</c:v>
                </c:pt>
                <c:pt idx="2996">
                  <c:v>6.0373141824889194</c:v>
                </c:pt>
                <c:pt idx="2997">
                  <c:v>5.1736675318943988</c:v>
                </c:pt>
                <c:pt idx="2998">
                  <c:v>5.104219345512603</c:v>
                </c:pt>
                <c:pt idx="2999">
                  <c:v>4.9530183945985309</c:v>
                </c:pt>
                <c:pt idx="3000">
                  <c:v>5.0136228609982494</c:v>
                </c:pt>
                <c:pt idx="3001">
                  <c:v>5.9688464242601977</c:v>
                </c:pt>
                <c:pt idx="3002">
                  <c:v>5.9628702564721632</c:v>
                </c:pt>
                <c:pt idx="3003">
                  <c:v>5.7841462993714412</c:v>
                </c:pt>
                <c:pt idx="3004">
                  <c:v>5.1169793677571702</c:v>
                </c:pt>
                <c:pt idx="3005">
                  <c:v>4.9892799765676203</c:v>
                </c:pt>
                <c:pt idx="3006">
                  <c:v>6.0888098975381926</c:v>
                </c:pt>
                <c:pt idx="3007">
                  <c:v>6.0481156096598276</c:v>
                </c:pt>
                <c:pt idx="3008">
                  <c:v>4.999787561404295</c:v>
                </c:pt>
                <c:pt idx="3009">
                  <c:v>6.0841350901568081</c:v>
                </c:pt>
                <c:pt idx="3010">
                  <c:v>5.9684544888300692</c:v>
                </c:pt>
                <c:pt idx="3011">
                  <c:v>5.0870028359950723</c:v>
                </c:pt>
                <c:pt idx="3012">
                  <c:v>5.9834479528475928</c:v>
                </c:pt>
                <c:pt idx="3013">
                  <c:v>6.1144871787684583</c:v>
                </c:pt>
                <c:pt idx="3014">
                  <c:v>5.9971792222490876</c:v>
                </c:pt>
                <c:pt idx="3015">
                  <c:v>4.8682342557684226</c:v>
                </c:pt>
                <c:pt idx="3016">
                  <c:v>4.8746512354316707</c:v>
                </c:pt>
                <c:pt idx="3017">
                  <c:v>4.8409680602118765</c:v>
                </c:pt>
                <c:pt idx="3018">
                  <c:v>6.0265399970627165</c:v>
                </c:pt>
                <c:pt idx="3019">
                  <c:v>4.9928539830874978</c:v>
                </c:pt>
                <c:pt idx="3020">
                  <c:v>6.089791800071569</c:v>
                </c:pt>
                <c:pt idx="3021">
                  <c:v>6.0174645801363127</c:v>
                </c:pt>
                <c:pt idx="3022">
                  <c:v>4.9234010270288007</c:v>
                </c:pt>
                <c:pt idx="3023">
                  <c:v>5.0826783352618499</c:v>
                </c:pt>
                <c:pt idx="3024">
                  <c:v>5.0559740580380108</c:v>
                </c:pt>
                <c:pt idx="3025">
                  <c:v>6.1112700158625319</c:v>
                </c:pt>
                <c:pt idx="3026">
                  <c:v>5.7752595366751809</c:v>
                </c:pt>
                <c:pt idx="3027">
                  <c:v>5.9665880384078669</c:v>
                </c:pt>
                <c:pt idx="3028">
                  <c:v>4.9895250271598321</c:v>
                </c:pt>
                <c:pt idx="3029">
                  <c:v>4.9784488941624234</c:v>
                </c:pt>
                <c:pt idx="3030">
                  <c:v>4.9815032897103446</c:v>
                </c:pt>
                <c:pt idx="3031">
                  <c:v>4.8785555474562949</c:v>
                </c:pt>
                <c:pt idx="3032">
                  <c:v>6.1427370979617129</c:v>
                </c:pt>
                <c:pt idx="3033">
                  <c:v>5.0294513295842469</c:v>
                </c:pt>
                <c:pt idx="3034">
                  <c:v>5.830853242525281</c:v>
                </c:pt>
                <c:pt idx="3035">
                  <c:v>5.0780389708028038</c:v>
                </c:pt>
                <c:pt idx="3036">
                  <c:v>4.9505081761825016</c:v>
                </c:pt>
                <c:pt idx="3037">
                  <c:v>6.1734209170173466</c:v>
                </c:pt>
                <c:pt idx="3038">
                  <c:v>6.0945572192069548</c:v>
                </c:pt>
                <c:pt idx="3039">
                  <c:v>4.0084647361630248</c:v>
                </c:pt>
                <c:pt idx="3040">
                  <c:v>5.0523016788658612</c:v>
                </c:pt>
                <c:pt idx="3041">
                  <c:v>4.91675697452854</c:v>
                </c:pt>
                <c:pt idx="3042">
                  <c:v>6.0452370329441223</c:v>
                </c:pt>
                <c:pt idx="3043">
                  <c:v>5.072621405645557</c:v>
                </c:pt>
                <c:pt idx="3044">
                  <c:v>4.9283634937607541</c:v>
                </c:pt>
                <c:pt idx="3045">
                  <c:v>5.0551994446588706</c:v>
                </c:pt>
                <c:pt idx="3046">
                  <c:v>5.1311937166072186</c:v>
                </c:pt>
                <c:pt idx="3047">
                  <c:v>6.0315350504810539</c:v>
                </c:pt>
                <c:pt idx="3048">
                  <c:v>6.0042553840580313</c:v>
                </c:pt>
                <c:pt idx="3049">
                  <c:v>4.6495444375815191</c:v>
                </c:pt>
                <c:pt idx="3050">
                  <c:v>5.0164956693811309</c:v>
                </c:pt>
                <c:pt idx="3051">
                  <c:v>5.9455085377012287</c:v>
                </c:pt>
                <c:pt idx="3052">
                  <c:v>5.7812715587096246</c:v>
                </c:pt>
                <c:pt idx="3053">
                  <c:v>5.1678290061982253</c:v>
                </c:pt>
                <c:pt idx="3054">
                  <c:v>5.02973562231288</c:v>
                </c:pt>
                <c:pt idx="3055">
                  <c:v>4.8796010327735813</c:v>
                </c:pt>
                <c:pt idx="3056">
                  <c:v>5.0413804094136285</c:v>
                </c:pt>
                <c:pt idx="3057">
                  <c:v>5.8895297181617874</c:v>
                </c:pt>
                <c:pt idx="3058">
                  <c:v>5.0828374205656672</c:v>
                </c:pt>
                <c:pt idx="3059">
                  <c:v>5.986112219121388</c:v>
                </c:pt>
                <c:pt idx="3060">
                  <c:v>6.1396289750241664</c:v>
                </c:pt>
                <c:pt idx="3061">
                  <c:v>5.7955633897386756</c:v>
                </c:pt>
                <c:pt idx="3062">
                  <c:v>4.9536775016220957</c:v>
                </c:pt>
                <c:pt idx="3063">
                  <c:v>5.9648799135558059</c:v>
                </c:pt>
                <c:pt idx="3064">
                  <c:v>5.0348184657764286</c:v>
                </c:pt>
                <c:pt idx="3065">
                  <c:v>6.0646475832774591</c:v>
                </c:pt>
                <c:pt idx="3066">
                  <c:v>5.0021791288001278</c:v>
                </c:pt>
                <c:pt idx="3067">
                  <c:v>5.9318697540166836</c:v>
                </c:pt>
                <c:pt idx="3068">
                  <c:v>5.0721205435648793</c:v>
                </c:pt>
                <c:pt idx="3069">
                  <c:v>5.1204007673582241</c:v>
                </c:pt>
                <c:pt idx="3070">
                  <c:v>6.1464262242771879</c:v>
                </c:pt>
                <c:pt idx="3071">
                  <c:v>4.9308306519422906</c:v>
                </c:pt>
                <c:pt idx="3072">
                  <c:v>6.1176229716791362</c:v>
                </c:pt>
                <c:pt idx="3073">
                  <c:v>5.0560637921248466</c:v>
                </c:pt>
                <c:pt idx="3074">
                  <c:v>4.8227622579600302</c:v>
                </c:pt>
                <c:pt idx="3075">
                  <c:v>5.8978036321624634</c:v>
                </c:pt>
                <c:pt idx="3076">
                  <c:v>5.8553295479539678</c:v>
                </c:pt>
                <c:pt idx="3077">
                  <c:v>5.1384303538077791</c:v>
                </c:pt>
                <c:pt idx="3078">
                  <c:v>5.0415496488869778</c:v>
                </c:pt>
                <c:pt idx="3079">
                  <c:v>4.8972121373363402</c:v>
                </c:pt>
                <c:pt idx="3080">
                  <c:v>4.9737354331990389</c:v>
                </c:pt>
                <c:pt idx="3081">
                  <c:v>5.1107373651577293</c:v>
                </c:pt>
                <c:pt idx="3082">
                  <c:v>4.8752015090494929</c:v>
                </c:pt>
                <c:pt idx="3083">
                  <c:v>5.0809849092070181</c:v>
                </c:pt>
                <c:pt idx="3084">
                  <c:v>4.933450353971339</c:v>
                </c:pt>
                <c:pt idx="3085">
                  <c:v>6.85809939002338</c:v>
                </c:pt>
                <c:pt idx="3086">
                  <c:v>5.1685460188382697</c:v>
                </c:pt>
                <c:pt idx="3087">
                  <c:v>5.9730710665126407</c:v>
                </c:pt>
                <c:pt idx="3088">
                  <c:v>3.9835324160956116</c:v>
                </c:pt>
                <c:pt idx="3089">
                  <c:v>5.1439258993317551</c:v>
                </c:pt>
                <c:pt idx="3090">
                  <c:v>4.9223128018624935</c:v>
                </c:pt>
                <c:pt idx="3091">
                  <c:v>6.0691681866951868</c:v>
                </c:pt>
                <c:pt idx="3092">
                  <c:v>4.8696740104071656</c:v>
                </c:pt>
                <c:pt idx="3093">
                  <c:v>6.0698451894303496</c:v>
                </c:pt>
                <c:pt idx="3094">
                  <c:v>5.9528397076534265</c:v>
                </c:pt>
                <c:pt idx="3095">
                  <c:v>4.9223428469931507</c:v>
                </c:pt>
                <c:pt idx="3096">
                  <c:v>3.7957362477976408</c:v>
                </c:pt>
                <c:pt idx="3097">
                  <c:v>4.966167961061621</c:v>
                </c:pt>
                <c:pt idx="3098">
                  <c:v>5.0048679905664262</c:v>
                </c:pt>
                <c:pt idx="3099">
                  <c:v>6.0925605946355459</c:v>
                </c:pt>
                <c:pt idx="3100">
                  <c:v>5.0993062276918248</c:v>
                </c:pt>
                <c:pt idx="3101">
                  <c:v>6.0309818080215702</c:v>
                </c:pt>
                <c:pt idx="3102">
                  <c:v>4.9403750766116454</c:v>
                </c:pt>
                <c:pt idx="3103">
                  <c:v>6.1350486330822429</c:v>
                </c:pt>
                <c:pt idx="3104">
                  <c:v>6.9204307649185646</c:v>
                </c:pt>
                <c:pt idx="3105">
                  <c:v>5.0016072431254477</c:v>
                </c:pt>
                <c:pt idx="3106">
                  <c:v>5.0644193554298802</c:v>
                </c:pt>
                <c:pt idx="3107">
                  <c:v>5.9281071269822148</c:v>
                </c:pt>
                <c:pt idx="3108">
                  <c:v>3.044502515767967</c:v>
                </c:pt>
                <c:pt idx="3109">
                  <c:v>6.1487810824817783</c:v>
                </c:pt>
                <c:pt idx="3110">
                  <c:v>5.9837925874843263</c:v>
                </c:pt>
                <c:pt idx="3111">
                  <c:v>7.0247053125195889</c:v>
                </c:pt>
                <c:pt idx="3112">
                  <c:v>6.1110279815590669</c:v>
                </c:pt>
                <c:pt idx="3113">
                  <c:v>2.0120504609962389</c:v>
                </c:pt>
                <c:pt idx="3114">
                  <c:v>4.9690895889441347</c:v>
                </c:pt>
                <c:pt idx="3115">
                  <c:v>5.1429589049825193</c:v>
                </c:pt>
                <c:pt idx="3116">
                  <c:v>1.9501203725964871</c:v>
                </c:pt>
                <c:pt idx="3117">
                  <c:v>5.9643922917608121</c:v>
                </c:pt>
                <c:pt idx="3118">
                  <c:v>5.0482274104189395</c:v>
                </c:pt>
                <c:pt idx="3119">
                  <c:v>5.9493709538986623</c:v>
                </c:pt>
                <c:pt idx="3120">
                  <c:v>5.0682115262702414</c:v>
                </c:pt>
                <c:pt idx="3121">
                  <c:v>2.0151657986977329</c:v>
                </c:pt>
                <c:pt idx="3122">
                  <c:v>5.9736743683580773</c:v>
                </c:pt>
                <c:pt idx="3123">
                  <c:v>6.0246578770310952</c:v>
                </c:pt>
                <c:pt idx="3124">
                  <c:v>7.0893216516547266</c:v>
                </c:pt>
                <c:pt idx="3125">
                  <c:v>5.9771984911801974</c:v>
                </c:pt>
                <c:pt idx="3126">
                  <c:v>5.052119943962496</c:v>
                </c:pt>
                <c:pt idx="3127">
                  <c:v>4.9628247938045718</c:v>
                </c:pt>
                <c:pt idx="3128">
                  <c:v>7.1143531943091807</c:v>
                </c:pt>
                <c:pt idx="3129">
                  <c:v>4.9317393198034578</c:v>
                </c:pt>
                <c:pt idx="3130">
                  <c:v>5.8765071931060655</c:v>
                </c:pt>
                <c:pt idx="3131">
                  <c:v>6.2223388680473724</c:v>
                </c:pt>
                <c:pt idx="3132">
                  <c:v>4.9425660461557666</c:v>
                </c:pt>
                <c:pt idx="3133">
                  <c:v>5.8390731410513705</c:v>
                </c:pt>
                <c:pt idx="3134">
                  <c:v>6.7315754947929447</c:v>
                </c:pt>
                <c:pt idx="3135">
                  <c:v>4.969779865486541</c:v>
                </c:pt>
                <c:pt idx="3136">
                  <c:v>5.8773895293998555</c:v>
                </c:pt>
                <c:pt idx="3137">
                  <c:v>5.0784576891512634</c:v>
                </c:pt>
                <c:pt idx="3138">
                  <c:v>5.9547643362628664</c:v>
                </c:pt>
                <c:pt idx="3139">
                  <c:v>7.0294427613976485</c:v>
                </c:pt>
                <c:pt idx="3140">
                  <c:v>6.8209027353597529</c:v>
                </c:pt>
                <c:pt idx="3141">
                  <c:v>5.0773697406659348</c:v>
                </c:pt>
                <c:pt idx="3142">
                  <c:v>5.004735590826539</c:v>
                </c:pt>
                <c:pt idx="3143">
                  <c:v>5.9415582764780499</c:v>
                </c:pt>
                <c:pt idx="3144">
                  <c:v>6.1247538788857003</c:v>
                </c:pt>
                <c:pt idx="3145">
                  <c:v>6.0006792921565175</c:v>
                </c:pt>
                <c:pt idx="3146">
                  <c:v>5.9270136771546165</c:v>
                </c:pt>
                <c:pt idx="3147">
                  <c:v>4.9294684462451874</c:v>
                </c:pt>
                <c:pt idx="3148">
                  <c:v>6.0317942369888824</c:v>
                </c:pt>
                <c:pt idx="3149">
                  <c:v>7.1268308639443978</c:v>
                </c:pt>
                <c:pt idx="3150">
                  <c:v>5.1981891218126126</c:v>
                </c:pt>
                <c:pt idx="3151">
                  <c:v>6.0745049909906754</c:v>
                </c:pt>
                <c:pt idx="3152">
                  <c:v>5.0082161353620087</c:v>
                </c:pt>
                <c:pt idx="3153">
                  <c:v>5.1711494151552477</c:v>
                </c:pt>
                <c:pt idx="3154">
                  <c:v>5.0254948701616504</c:v>
                </c:pt>
                <c:pt idx="3155">
                  <c:v>5.0789078699107018</c:v>
                </c:pt>
                <c:pt idx="3156">
                  <c:v>4.8775384720723522</c:v>
                </c:pt>
                <c:pt idx="3157">
                  <c:v>6.0318730087856771</c:v>
                </c:pt>
                <c:pt idx="3158">
                  <c:v>4.0004578595790017</c:v>
                </c:pt>
                <c:pt idx="3159">
                  <c:v>7.0894765041473429</c:v>
                </c:pt>
                <c:pt idx="3160">
                  <c:v>3.9123309861812507</c:v>
                </c:pt>
                <c:pt idx="3161">
                  <c:v>4.9069234146238792</c:v>
                </c:pt>
                <c:pt idx="3162">
                  <c:v>5.1569758255884324</c:v>
                </c:pt>
                <c:pt idx="3163">
                  <c:v>5.995740790450272</c:v>
                </c:pt>
                <c:pt idx="3164">
                  <c:v>4.9646321915326475</c:v>
                </c:pt>
                <c:pt idx="3165">
                  <c:v>4.9323367384300409</c:v>
                </c:pt>
                <c:pt idx="3166">
                  <c:v>5.0243879812769654</c:v>
                </c:pt>
                <c:pt idx="3167">
                  <c:v>5.1121796270948794</c:v>
                </c:pt>
                <c:pt idx="3168">
                  <c:v>6.9644571470069883</c:v>
                </c:pt>
                <c:pt idx="3169">
                  <c:v>4.9055322837360515</c:v>
                </c:pt>
                <c:pt idx="3170">
                  <c:v>4.880839157472054</c:v>
                </c:pt>
                <c:pt idx="3171">
                  <c:v>4.7485175775521249</c:v>
                </c:pt>
                <c:pt idx="3172">
                  <c:v>5.2273107223857371</c:v>
                </c:pt>
                <c:pt idx="3173">
                  <c:v>5.0138217737712951</c:v>
                </c:pt>
                <c:pt idx="3174">
                  <c:v>5.9630753942229227</c:v>
                </c:pt>
                <c:pt idx="3175">
                  <c:v>4.8151361712564116</c:v>
                </c:pt>
                <c:pt idx="3176">
                  <c:v>4.9717572401782038</c:v>
                </c:pt>
                <c:pt idx="3177">
                  <c:v>5.0813792834656839</c:v>
                </c:pt>
                <c:pt idx="3178">
                  <c:v>4.9284480661231118</c:v>
                </c:pt>
                <c:pt idx="3179">
                  <c:v>6.1947627481410006</c:v>
                </c:pt>
                <c:pt idx="3180">
                  <c:v>5.9622839704668937</c:v>
                </c:pt>
                <c:pt idx="3181">
                  <c:v>5.0041742004570056</c:v>
                </c:pt>
                <c:pt idx="3182">
                  <c:v>6.9792183348791177</c:v>
                </c:pt>
                <c:pt idx="3183">
                  <c:v>6.0159419337223969</c:v>
                </c:pt>
                <c:pt idx="3184">
                  <c:v>7.0334694640591602</c:v>
                </c:pt>
                <c:pt idx="3185">
                  <c:v>5.1143661605418282</c:v>
                </c:pt>
                <c:pt idx="3186">
                  <c:v>5.1289045163578928</c:v>
                </c:pt>
                <c:pt idx="3187">
                  <c:v>5.9806892129348599</c:v>
                </c:pt>
                <c:pt idx="3188">
                  <c:v>5.0246594507505229</c:v>
                </c:pt>
                <c:pt idx="3189">
                  <c:v>5.8759415565638156</c:v>
                </c:pt>
                <c:pt idx="3190">
                  <c:v>4.9389362497397897</c:v>
                </c:pt>
                <c:pt idx="3191">
                  <c:v>4.9504954538764956</c:v>
                </c:pt>
                <c:pt idx="3192">
                  <c:v>6.0160487451528528</c:v>
                </c:pt>
                <c:pt idx="3193">
                  <c:v>5.9092915315105241</c:v>
                </c:pt>
                <c:pt idx="3194">
                  <c:v>4.8827470912132291</c:v>
                </c:pt>
                <c:pt idx="3195">
                  <c:v>5.0080559803567102</c:v>
                </c:pt>
                <c:pt idx="3196">
                  <c:v>6.7794179863662549</c:v>
                </c:pt>
                <c:pt idx="3197">
                  <c:v>5.0954766991707672</c:v>
                </c:pt>
                <c:pt idx="3198">
                  <c:v>6.0378921324573822</c:v>
                </c:pt>
                <c:pt idx="3199">
                  <c:v>6.9383656811045302</c:v>
                </c:pt>
                <c:pt idx="3200">
                  <c:v>4.9809282489560252</c:v>
                </c:pt>
                <c:pt idx="3201">
                  <c:v>5.1278392411238567</c:v>
                </c:pt>
                <c:pt idx="3202">
                  <c:v>5.8998474380631496</c:v>
                </c:pt>
                <c:pt idx="3203">
                  <c:v>4.8361955433020061</c:v>
                </c:pt>
                <c:pt idx="3204">
                  <c:v>4.8146560294032827</c:v>
                </c:pt>
                <c:pt idx="3205">
                  <c:v>5.0146292960375911</c:v>
                </c:pt>
                <c:pt idx="3206">
                  <c:v>5.0426782758996023</c:v>
                </c:pt>
                <c:pt idx="3207">
                  <c:v>5.9027360998097151</c:v>
                </c:pt>
                <c:pt idx="3208">
                  <c:v>5.7336051344263854</c:v>
                </c:pt>
                <c:pt idx="3209">
                  <c:v>6.0122811937052356</c:v>
                </c:pt>
                <c:pt idx="3210">
                  <c:v>5.9319937730338639</c:v>
                </c:pt>
                <c:pt idx="3211">
                  <c:v>5.07719644203575</c:v>
                </c:pt>
                <c:pt idx="3212">
                  <c:v>5.9204238418083062</c:v>
                </c:pt>
                <c:pt idx="3213">
                  <c:v>5.0194070133407029</c:v>
                </c:pt>
                <c:pt idx="3214">
                  <c:v>4.9545489644941005</c:v>
                </c:pt>
                <c:pt idx="3215">
                  <c:v>5.0137543640225033</c:v>
                </c:pt>
                <c:pt idx="3216">
                  <c:v>4.9208068719151399</c:v>
                </c:pt>
                <c:pt idx="3217">
                  <c:v>5.8724098235081383</c:v>
                </c:pt>
                <c:pt idx="3218">
                  <c:v>6.0395657060564378</c:v>
                </c:pt>
                <c:pt idx="3219">
                  <c:v>5.0454666454252619</c:v>
                </c:pt>
                <c:pt idx="3220">
                  <c:v>4.9197052345020875</c:v>
                </c:pt>
                <c:pt idx="3221">
                  <c:v>5.011888294136587</c:v>
                </c:pt>
                <c:pt idx="3222">
                  <c:v>4.9925523335469615</c:v>
                </c:pt>
                <c:pt idx="3223">
                  <c:v>5.0046380317481063</c:v>
                </c:pt>
                <c:pt idx="3224">
                  <c:v>5.0495076891636792</c:v>
                </c:pt>
                <c:pt idx="3225">
                  <c:v>4.9171593157475</c:v>
                </c:pt>
                <c:pt idx="3226">
                  <c:v>4.7733157332284737</c:v>
                </c:pt>
                <c:pt idx="3227">
                  <c:v>5.0701046947392188</c:v>
                </c:pt>
                <c:pt idx="3228">
                  <c:v>5.9211693587466945</c:v>
                </c:pt>
                <c:pt idx="3229">
                  <c:v>5.9245478912605822</c:v>
                </c:pt>
                <c:pt idx="3230">
                  <c:v>4.926030847292302</c:v>
                </c:pt>
                <c:pt idx="3231">
                  <c:v>4.8396418146813547</c:v>
                </c:pt>
                <c:pt idx="3232">
                  <c:v>5.0847948515285939</c:v>
                </c:pt>
                <c:pt idx="3233">
                  <c:v>5.0829854293317709</c:v>
                </c:pt>
                <c:pt idx="3234">
                  <c:v>4.9297413662631175</c:v>
                </c:pt>
                <c:pt idx="3235">
                  <c:v>5.0532484177936565</c:v>
                </c:pt>
                <c:pt idx="3236">
                  <c:v>5.7779848882831342</c:v>
                </c:pt>
                <c:pt idx="3237">
                  <c:v>6.0068377119969725</c:v>
                </c:pt>
                <c:pt idx="3238">
                  <c:v>6.0641596835949745</c:v>
                </c:pt>
                <c:pt idx="3239">
                  <c:v>5.1459039910132836</c:v>
                </c:pt>
                <c:pt idx="3240">
                  <c:v>4.9827669096602278</c:v>
                </c:pt>
                <c:pt idx="3241">
                  <c:v>6.1521092848467651</c:v>
                </c:pt>
                <c:pt idx="3242">
                  <c:v>5.0887263905087581</c:v>
                </c:pt>
                <c:pt idx="3243">
                  <c:v>5.0421599666686578</c:v>
                </c:pt>
                <c:pt idx="3244">
                  <c:v>4.9890399087475963</c:v>
                </c:pt>
                <c:pt idx="3245">
                  <c:v>6.0057703575299115</c:v>
                </c:pt>
                <c:pt idx="3246">
                  <c:v>4.9941073000951581</c:v>
                </c:pt>
                <c:pt idx="3247">
                  <c:v>4.7704496102120615</c:v>
                </c:pt>
                <c:pt idx="3248">
                  <c:v>5.0601972580178947</c:v>
                </c:pt>
                <c:pt idx="3249">
                  <c:v>6.0678866311397393</c:v>
                </c:pt>
                <c:pt idx="3250">
                  <c:v>5.0569958636713439</c:v>
                </c:pt>
                <c:pt idx="3251">
                  <c:v>5.0174436806610281</c:v>
                </c:pt>
                <c:pt idx="3252">
                  <c:v>5.073853377331079</c:v>
                </c:pt>
                <c:pt idx="3253">
                  <c:v>5.0082690976194151</c:v>
                </c:pt>
                <c:pt idx="3254">
                  <c:v>6.112602344441421</c:v>
                </c:pt>
                <c:pt idx="3255">
                  <c:v>6.0721405943614863</c:v>
                </c:pt>
                <c:pt idx="3256">
                  <c:v>5.9220067888104317</c:v>
                </c:pt>
                <c:pt idx="3257">
                  <c:v>5.0133202927463305</c:v>
                </c:pt>
                <c:pt idx="3258">
                  <c:v>5.0928392497621058</c:v>
                </c:pt>
                <c:pt idx="3259">
                  <c:v>5.9706978924360161</c:v>
                </c:pt>
                <c:pt idx="3260">
                  <c:v>6.1598807359154097</c:v>
                </c:pt>
                <c:pt idx="3261">
                  <c:v>4.9362116746919673</c:v>
                </c:pt>
                <c:pt idx="3262">
                  <c:v>6.086926288083732</c:v>
                </c:pt>
                <c:pt idx="3263">
                  <c:v>7.0727462723487688</c:v>
                </c:pt>
                <c:pt idx="3264">
                  <c:v>5.0402124460231477</c:v>
                </c:pt>
                <c:pt idx="3265">
                  <c:v>5.0584426236875508</c:v>
                </c:pt>
                <c:pt idx="3266">
                  <c:v>5.9758360326710793</c:v>
                </c:pt>
                <c:pt idx="3267">
                  <c:v>4.9014605297018123</c:v>
                </c:pt>
                <c:pt idx="3268">
                  <c:v>4.9198877198744313</c:v>
                </c:pt>
                <c:pt idx="3269">
                  <c:v>6.2142250341082015</c:v>
                </c:pt>
                <c:pt idx="3270">
                  <c:v>7.016849462993723</c:v>
                </c:pt>
                <c:pt idx="3271">
                  <c:v>4.9612617276271012</c:v>
                </c:pt>
                <c:pt idx="3272">
                  <c:v>6.1270422395790334</c:v>
                </c:pt>
                <c:pt idx="3273">
                  <c:v>4.9202338754618316</c:v>
                </c:pt>
                <c:pt idx="3274">
                  <c:v>5.0770370077296914</c:v>
                </c:pt>
                <c:pt idx="3275">
                  <c:v>5.0647160505548836</c:v>
                </c:pt>
                <c:pt idx="3276">
                  <c:v>4.912959959877357</c:v>
                </c:pt>
                <c:pt idx="3277">
                  <c:v>5.9840344514663082</c:v>
                </c:pt>
                <c:pt idx="3278">
                  <c:v>4.9787954316430136</c:v>
                </c:pt>
                <c:pt idx="3279">
                  <c:v>5.0959065036353062</c:v>
                </c:pt>
                <c:pt idx="3280">
                  <c:v>4.9858332569565311</c:v>
                </c:pt>
                <c:pt idx="3281">
                  <c:v>6.1102397290716777</c:v>
                </c:pt>
                <c:pt idx="3282">
                  <c:v>5.0878427450970225</c:v>
                </c:pt>
                <c:pt idx="3283">
                  <c:v>5.935681689005829</c:v>
                </c:pt>
                <c:pt idx="3284">
                  <c:v>6.1062524220405772</c:v>
                </c:pt>
                <c:pt idx="3285">
                  <c:v>5.0680159415917982</c:v>
                </c:pt>
                <c:pt idx="3286">
                  <c:v>5.0457699154527624</c:v>
                </c:pt>
                <c:pt idx="3287">
                  <c:v>6.0062759243854664</c:v>
                </c:pt>
                <c:pt idx="3288">
                  <c:v>5.0595690670647322</c:v>
                </c:pt>
                <c:pt idx="3289">
                  <c:v>5.1584890435460391</c:v>
                </c:pt>
                <c:pt idx="3290">
                  <c:v>5.094462195108366</c:v>
                </c:pt>
                <c:pt idx="3291">
                  <c:v>4.8817052802211451</c:v>
                </c:pt>
                <c:pt idx="3292">
                  <c:v>5.0640200778038036</c:v>
                </c:pt>
                <c:pt idx="3293">
                  <c:v>5.9877007004569283</c:v>
                </c:pt>
                <c:pt idx="3294">
                  <c:v>5.1236922845063715</c:v>
                </c:pt>
                <c:pt idx="3295">
                  <c:v>5.0289938571772659</c:v>
                </c:pt>
                <c:pt idx="3296">
                  <c:v>5.900465557765763</c:v>
                </c:pt>
                <c:pt idx="3297">
                  <c:v>4.8899241404823321</c:v>
                </c:pt>
                <c:pt idx="3298">
                  <c:v>4.8787246439503171</c:v>
                </c:pt>
                <c:pt idx="3299">
                  <c:v>4.8360982759062772</c:v>
                </c:pt>
                <c:pt idx="3300">
                  <c:v>4.9109434449124416</c:v>
                </c:pt>
                <c:pt idx="3301">
                  <c:v>6.1067567242531515</c:v>
                </c:pt>
                <c:pt idx="3302">
                  <c:v>4.9768601226388842</c:v>
                </c:pt>
                <c:pt idx="3303">
                  <c:v>4.9843552779073068</c:v>
                </c:pt>
                <c:pt idx="3304">
                  <c:v>4.991044934248384</c:v>
                </c:pt>
                <c:pt idx="3305">
                  <c:v>4.9802013327852652</c:v>
                </c:pt>
                <c:pt idx="3306">
                  <c:v>6.241554493008187</c:v>
                </c:pt>
                <c:pt idx="3307">
                  <c:v>4.8403866462638545</c:v>
                </c:pt>
                <c:pt idx="3308">
                  <c:v>5.0196913361377735</c:v>
                </c:pt>
                <c:pt idx="3309">
                  <c:v>5.0277352027508444</c:v>
                </c:pt>
                <c:pt idx="3310">
                  <c:v>6.101227512457946</c:v>
                </c:pt>
                <c:pt idx="3311">
                  <c:v>6.1962998100959004</c:v>
                </c:pt>
                <c:pt idx="3312">
                  <c:v>6.0416299789721819</c:v>
                </c:pt>
                <c:pt idx="3313">
                  <c:v>5.0227679078365748</c:v>
                </c:pt>
                <c:pt idx="3314">
                  <c:v>5.0185456775918187</c:v>
                </c:pt>
                <c:pt idx="3315">
                  <c:v>7.1151087972039218</c:v>
                </c:pt>
                <c:pt idx="3316">
                  <c:v>5.1067569670710569</c:v>
                </c:pt>
                <c:pt idx="3317">
                  <c:v>5.1993390718766817</c:v>
                </c:pt>
                <c:pt idx="3318">
                  <c:v>6.0015579943093886</c:v>
                </c:pt>
                <c:pt idx="3319">
                  <c:v>4.8613566950834226</c:v>
                </c:pt>
                <c:pt idx="3320">
                  <c:v>5.9458458710683928</c:v>
                </c:pt>
                <c:pt idx="3321">
                  <c:v>4.9444231144620696</c:v>
                </c:pt>
                <c:pt idx="3322">
                  <c:v>5.9408779673245737</c:v>
                </c:pt>
                <c:pt idx="3323">
                  <c:v>5.0101000602853132</c:v>
                </c:pt>
                <c:pt idx="3324">
                  <c:v>5.0401460526684101</c:v>
                </c:pt>
                <c:pt idx="3325">
                  <c:v>4.9557478594427185</c:v>
                </c:pt>
                <c:pt idx="3326">
                  <c:v>6.0349152527579291</c:v>
                </c:pt>
                <c:pt idx="3327">
                  <c:v>5.9741148514725166</c:v>
                </c:pt>
                <c:pt idx="3328">
                  <c:v>4.8518220406522587</c:v>
                </c:pt>
                <c:pt idx="3329">
                  <c:v>6.0943009073697691</c:v>
                </c:pt>
                <c:pt idx="3330">
                  <c:v>5.9374525387135781</c:v>
                </c:pt>
                <c:pt idx="3331">
                  <c:v>4.948060602694448</c:v>
                </c:pt>
                <c:pt idx="3332">
                  <c:v>6.1676803479470683</c:v>
                </c:pt>
                <c:pt idx="3333">
                  <c:v>5.0485031259486703</c:v>
                </c:pt>
                <c:pt idx="3334">
                  <c:v>4.8796668357453603</c:v>
                </c:pt>
                <c:pt idx="3335">
                  <c:v>5.0667564626265786</c:v>
                </c:pt>
                <c:pt idx="3336">
                  <c:v>5.1124629690054659</c:v>
                </c:pt>
                <c:pt idx="3337">
                  <c:v>5.1433351762136637</c:v>
                </c:pt>
                <c:pt idx="3338">
                  <c:v>4.8356097413729868</c:v>
                </c:pt>
                <c:pt idx="3339">
                  <c:v>5.0120694520417253</c:v>
                </c:pt>
                <c:pt idx="3340">
                  <c:v>4.9474361362265027</c:v>
                </c:pt>
                <c:pt idx="3341">
                  <c:v>5.1425248176913376</c:v>
                </c:pt>
                <c:pt idx="3342">
                  <c:v>5.9502268082747198</c:v>
                </c:pt>
                <c:pt idx="3343">
                  <c:v>5.842853341376367</c:v>
                </c:pt>
                <c:pt idx="3344">
                  <c:v>5.8435387317662322</c:v>
                </c:pt>
                <c:pt idx="3345">
                  <c:v>5.0127538356277253</c:v>
                </c:pt>
                <c:pt idx="3346">
                  <c:v>6.0545655149289743</c:v>
                </c:pt>
                <c:pt idx="3347">
                  <c:v>5.9789698387180703</c:v>
                </c:pt>
                <c:pt idx="3348">
                  <c:v>4.9614720481947225</c:v>
                </c:pt>
                <c:pt idx="3349">
                  <c:v>5.9713580179423937</c:v>
                </c:pt>
                <c:pt idx="3350">
                  <c:v>4.9463542750295009</c:v>
                </c:pt>
                <c:pt idx="3351">
                  <c:v>4.9069349441470491</c:v>
                </c:pt>
                <c:pt idx="3352">
                  <c:v>6.0526601858308515</c:v>
                </c:pt>
                <c:pt idx="3353">
                  <c:v>3.0137917626950004</c:v>
                </c:pt>
                <c:pt idx="3354">
                  <c:v>5.1480449665583059</c:v>
                </c:pt>
                <c:pt idx="3355">
                  <c:v>6.0832633011922681</c:v>
                </c:pt>
                <c:pt idx="3356">
                  <c:v>4.9845152185535309</c:v>
                </c:pt>
                <c:pt idx="3357">
                  <c:v>4.9937903849868208</c:v>
                </c:pt>
                <c:pt idx="3358">
                  <c:v>5.0602246971104794</c:v>
                </c:pt>
                <c:pt idx="3359">
                  <c:v>5.9194226096994011</c:v>
                </c:pt>
                <c:pt idx="3360">
                  <c:v>4.9398980880532868</c:v>
                </c:pt>
                <c:pt idx="3361">
                  <c:v>5.0511356591061949</c:v>
                </c:pt>
                <c:pt idx="3362">
                  <c:v>5.0983999900777164</c:v>
                </c:pt>
                <c:pt idx="3363">
                  <c:v>5.8116227644942882</c:v>
                </c:pt>
                <c:pt idx="3364">
                  <c:v>5.2860288176197274</c:v>
                </c:pt>
                <c:pt idx="3365">
                  <c:v>5.0654527157151339</c:v>
                </c:pt>
                <c:pt idx="3366">
                  <c:v>5.1659574724623223</c:v>
                </c:pt>
                <c:pt idx="3367">
                  <c:v>5.0740723900742157</c:v>
                </c:pt>
                <c:pt idx="3368">
                  <c:v>4.9958377450485267</c:v>
                </c:pt>
                <c:pt idx="3369">
                  <c:v>5.155111351322442</c:v>
                </c:pt>
                <c:pt idx="3370">
                  <c:v>5.0685104055767889</c:v>
                </c:pt>
                <c:pt idx="3371">
                  <c:v>5.045436046729411</c:v>
                </c:pt>
                <c:pt idx="3372">
                  <c:v>4.9954526082115374</c:v>
                </c:pt>
                <c:pt idx="3373">
                  <c:v>4.9241413493928929</c:v>
                </c:pt>
                <c:pt idx="3374">
                  <c:v>5.7932252836849791</c:v>
                </c:pt>
                <c:pt idx="3375">
                  <c:v>5.8327110645984535</c:v>
                </c:pt>
                <c:pt idx="3376">
                  <c:v>5.0616054105357469</c:v>
                </c:pt>
                <c:pt idx="3377">
                  <c:v>5.9063029094624673</c:v>
                </c:pt>
                <c:pt idx="3378">
                  <c:v>5.9376153670588376</c:v>
                </c:pt>
                <c:pt idx="3379">
                  <c:v>4.8343594581334965</c:v>
                </c:pt>
                <c:pt idx="3380">
                  <c:v>5.0684054399985552</c:v>
                </c:pt>
                <c:pt idx="3381">
                  <c:v>5.1211909311264456</c:v>
                </c:pt>
                <c:pt idx="3382">
                  <c:v>5.055809452584203</c:v>
                </c:pt>
                <c:pt idx="3383">
                  <c:v>6.0580638670976468</c:v>
                </c:pt>
                <c:pt idx="3384">
                  <c:v>5.014265749108997</c:v>
                </c:pt>
                <c:pt idx="3385">
                  <c:v>5.1941679481513319</c:v>
                </c:pt>
                <c:pt idx="3386">
                  <c:v>4.9757067178495378</c:v>
                </c:pt>
                <c:pt idx="3387">
                  <c:v>4.9312731905444966</c:v>
                </c:pt>
                <c:pt idx="3388">
                  <c:v>5.7544124394277087</c:v>
                </c:pt>
                <c:pt idx="3389">
                  <c:v>5.0330062893472691</c:v>
                </c:pt>
                <c:pt idx="3390">
                  <c:v>4.9282103130241888</c:v>
                </c:pt>
                <c:pt idx="3391">
                  <c:v>6.0374293578587395</c:v>
                </c:pt>
                <c:pt idx="3392">
                  <c:v>4.9652635538936476</c:v>
                </c:pt>
                <c:pt idx="3393">
                  <c:v>6.0885197551787034</c:v>
                </c:pt>
                <c:pt idx="3394">
                  <c:v>5.0530629935761748</c:v>
                </c:pt>
                <c:pt idx="3395">
                  <c:v>5.0027739059334388</c:v>
                </c:pt>
                <c:pt idx="3396">
                  <c:v>4.917857636030881</c:v>
                </c:pt>
                <c:pt idx="3397">
                  <c:v>4.903517384218457</c:v>
                </c:pt>
                <c:pt idx="3398">
                  <c:v>5.0996423547302143</c:v>
                </c:pt>
                <c:pt idx="3399">
                  <c:v>4.9533512520606129</c:v>
                </c:pt>
                <c:pt idx="3400">
                  <c:v>4.9231202930271962</c:v>
                </c:pt>
                <c:pt idx="3401">
                  <c:v>5.0317039401757206</c:v>
                </c:pt>
                <c:pt idx="3402">
                  <c:v>5.0817555657441833</c:v>
                </c:pt>
                <c:pt idx="3403">
                  <c:v>5.0349317610308661</c:v>
                </c:pt>
                <c:pt idx="3404">
                  <c:v>5.0539861700181161</c:v>
                </c:pt>
                <c:pt idx="3405">
                  <c:v>5.0518084884491934</c:v>
                </c:pt>
                <c:pt idx="3406">
                  <c:v>6.1945155132076994</c:v>
                </c:pt>
                <c:pt idx="3407">
                  <c:v>5.9820520348554131</c:v>
                </c:pt>
                <c:pt idx="3408">
                  <c:v>5.9358418057719273</c:v>
                </c:pt>
                <c:pt idx="3409">
                  <c:v>5.9899057955854147</c:v>
                </c:pt>
                <c:pt idx="3410">
                  <c:v>5.1279632341902559</c:v>
                </c:pt>
                <c:pt idx="3411">
                  <c:v>5.0424394228215483</c:v>
                </c:pt>
                <c:pt idx="3412">
                  <c:v>4.9840780918756078</c:v>
                </c:pt>
                <c:pt idx="3413">
                  <c:v>4.8281353299414622</c:v>
                </c:pt>
                <c:pt idx="3414">
                  <c:v>5.176913800509281</c:v>
                </c:pt>
                <c:pt idx="3415">
                  <c:v>4.9239398142601658</c:v>
                </c:pt>
                <c:pt idx="3416">
                  <c:v>5.9071814801800686</c:v>
                </c:pt>
                <c:pt idx="3417">
                  <c:v>5.0237271025253945</c:v>
                </c:pt>
                <c:pt idx="3418">
                  <c:v>5.0009828100434017</c:v>
                </c:pt>
                <c:pt idx="3419">
                  <c:v>4.9105992894150239</c:v>
                </c:pt>
                <c:pt idx="3420">
                  <c:v>5.9740910814993713</c:v>
                </c:pt>
                <c:pt idx="3421">
                  <c:v>4.8590548652679004</c:v>
                </c:pt>
                <c:pt idx="3422">
                  <c:v>5.0804108620070245</c:v>
                </c:pt>
                <c:pt idx="3423">
                  <c:v>6.2299993989953695</c:v>
                </c:pt>
                <c:pt idx="3424">
                  <c:v>4.8729778334103839</c:v>
                </c:pt>
                <c:pt idx="3425">
                  <c:v>4.9580784582497381</c:v>
                </c:pt>
                <c:pt idx="3426">
                  <c:v>4.9621643657051706</c:v>
                </c:pt>
                <c:pt idx="3427">
                  <c:v>5.0915944160358331</c:v>
                </c:pt>
                <c:pt idx="3428">
                  <c:v>6.2516033571012528</c:v>
                </c:pt>
                <c:pt idx="3429">
                  <c:v>4.9947100773287403</c:v>
                </c:pt>
                <c:pt idx="3430">
                  <c:v>5.0097309857104078</c:v>
                </c:pt>
                <c:pt idx="3431">
                  <c:v>4.9578807513309746</c:v>
                </c:pt>
                <c:pt idx="3432">
                  <c:v>5.138256589211406</c:v>
                </c:pt>
                <c:pt idx="3433">
                  <c:v>4.9025726799813434</c:v>
                </c:pt>
                <c:pt idx="3434">
                  <c:v>5.9328544352118557</c:v>
                </c:pt>
                <c:pt idx="3435">
                  <c:v>4.8887012443904858</c:v>
                </c:pt>
                <c:pt idx="3436">
                  <c:v>4.9976343411434589</c:v>
                </c:pt>
                <c:pt idx="3437">
                  <c:v>5.2760713346855184</c:v>
                </c:pt>
                <c:pt idx="3438">
                  <c:v>4.9234458039225402</c:v>
                </c:pt>
                <c:pt idx="3439">
                  <c:v>7.1686470201596659</c:v>
                </c:pt>
                <c:pt idx="3440">
                  <c:v>6.0831107705601157</c:v>
                </c:pt>
                <c:pt idx="3441">
                  <c:v>5.9227537584304013</c:v>
                </c:pt>
                <c:pt idx="3442">
                  <c:v>5.0155654786880204</c:v>
                </c:pt>
                <c:pt idx="3443">
                  <c:v>5.9281468745672266</c:v>
                </c:pt>
                <c:pt idx="3444">
                  <c:v>5.2269153898867673</c:v>
                </c:pt>
                <c:pt idx="3445">
                  <c:v>5.9297947558416721</c:v>
                </c:pt>
                <c:pt idx="3446">
                  <c:v>5.9243593189215522</c:v>
                </c:pt>
                <c:pt idx="3447">
                  <c:v>5.9047255078885685</c:v>
                </c:pt>
                <c:pt idx="3448">
                  <c:v>5.0558989027199379</c:v>
                </c:pt>
                <c:pt idx="3449">
                  <c:v>6.8648405875368228</c:v>
                </c:pt>
                <c:pt idx="3450">
                  <c:v>5.9330083770643327</c:v>
                </c:pt>
                <c:pt idx="3451">
                  <c:v>4.9883565471356199</c:v>
                </c:pt>
                <c:pt idx="3452">
                  <c:v>5.108631254163476</c:v>
                </c:pt>
                <c:pt idx="3453">
                  <c:v>5.0779510228604714</c:v>
                </c:pt>
                <c:pt idx="3454">
                  <c:v>4.8386246633988428</c:v>
                </c:pt>
                <c:pt idx="3455">
                  <c:v>5.1367521039866322</c:v>
                </c:pt>
                <c:pt idx="3456">
                  <c:v>6.0631309507242941</c:v>
                </c:pt>
                <c:pt idx="3457">
                  <c:v>5.0365459018328416</c:v>
                </c:pt>
                <c:pt idx="3458">
                  <c:v>5.0942469231372964</c:v>
                </c:pt>
                <c:pt idx="3459">
                  <c:v>6.0876237233379191</c:v>
                </c:pt>
                <c:pt idx="3460">
                  <c:v>6.0056818556725675</c:v>
                </c:pt>
                <c:pt idx="3461">
                  <c:v>6.8106164465895178</c:v>
                </c:pt>
                <c:pt idx="3462">
                  <c:v>4.9726950373206344</c:v>
                </c:pt>
                <c:pt idx="3463">
                  <c:v>4.8503453817182969</c:v>
                </c:pt>
                <c:pt idx="3464">
                  <c:v>5.0334425957807785</c:v>
                </c:pt>
                <c:pt idx="3465">
                  <c:v>5.1356463410592212</c:v>
                </c:pt>
                <c:pt idx="3466">
                  <c:v>4.9806606804912397</c:v>
                </c:pt>
                <c:pt idx="3467">
                  <c:v>5.9983352760434254</c:v>
                </c:pt>
                <c:pt idx="3468">
                  <c:v>5.9554545409317585</c:v>
                </c:pt>
                <c:pt idx="3469">
                  <c:v>4.9515883279358262</c:v>
                </c:pt>
                <c:pt idx="3470">
                  <c:v>6.0266517748293005</c:v>
                </c:pt>
                <c:pt idx="3471">
                  <c:v>5.1432026920571632</c:v>
                </c:pt>
                <c:pt idx="3472">
                  <c:v>5.0234089411862914</c:v>
                </c:pt>
                <c:pt idx="3473">
                  <c:v>4.960120398252359</c:v>
                </c:pt>
                <c:pt idx="3474">
                  <c:v>5.9969781898937526</c:v>
                </c:pt>
                <c:pt idx="3475">
                  <c:v>5.0377466295747322</c:v>
                </c:pt>
                <c:pt idx="3476">
                  <c:v>5.0169540442927314</c:v>
                </c:pt>
                <c:pt idx="3477">
                  <c:v>5.9616383109727726</c:v>
                </c:pt>
                <c:pt idx="3478">
                  <c:v>5.0302126827943514</c:v>
                </c:pt>
                <c:pt idx="3479">
                  <c:v>5.0024585433633542</c:v>
                </c:pt>
                <c:pt idx="3480">
                  <c:v>5.8558136865376014</c:v>
                </c:pt>
                <c:pt idx="3481">
                  <c:v>4.8599625181549424</c:v>
                </c:pt>
                <c:pt idx="3482">
                  <c:v>6.0716489493550698</c:v>
                </c:pt>
                <c:pt idx="3483">
                  <c:v>4.8425593036805452</c:v>
                </c:pt>
                <c:pt idx="3484">
                  <c:v>4.864086550772778</c:v>
                </c:pt>
                <c:pt idx="3485">
                  <c:v>5.0647609381732197</c:v>
                </c:pt>
                <c:pt idx="3486">
                  <c:v>4.7665817579781713</c:v>
                </c:pt>
                <c:pt idx="3487">
                  <c:v>4.9423047289852313</c:v>
                </c:pt>
                <c:pt idx="3488">
                  <c:v>4.925738614142122</c:v>
                </c:pt>
                <c:pt idx="3489">
                  <c:v>4.9256436882898695</c:v>
                </c:pt>
                <c:pt idx="3490">
                  <c:v>4.9179212593625508</c:v>
                </c:pt>
                <c:pt idx="3491">
                  <c:v>5.971060535593022</c:v>
                </c:pt>
                <c:pt idx="3492">
                  <c:v>5.8595130059852689</c:v>
                </c:pt>
                <c:pt idx="3493">
                  <c:v>4.9746575817907761</c:v>
                </c:pt>
                <c:pt idx="3494">
                  <c:v>4.8901168011068314</c:v>
                </c:pt>
                <c:pt idx="3495">
                  <c:v>5.0984465866470208</c:v>
                </c:pt>
                <c:pt idx="3496">
                  <c:v>4.9075888062389934</c:v>
                </c:pt>
                <c:pt idx="3497">
                  <c:v>5.055413384032394</c:v>
                </c:pt>
                <c:pt idx="3498">
                  <c:v>7.1242229946166393</c:v>
                </c:pt>
                <c:pt idx="3499">
                  <c:v>5.1489087396608859</c:v>
                </c:pt>
                <c:pt idx="3500">
                  <c:v>6.2180138572777439</c:v>
                </c:pt>
                <c:pt idx="3501">
                  <c:v>6.0371125095543245</c:v>
                </c:pt>
                <c:pt idx="3502">
                  <c:v>5.0450630215899084</c:v>
                </c:pt>
                <c:pt idx="3503">
                  <c:v>5.019545859548237</c:v>
                </c:pt>
                <c:pt idx="3504">
                  <c:v>6.0035491429712504</c:v>
                </c:pt>
                <c:pt idx="3505">
                  <c:v>4.8546330212731696</c:v>
                </c:pt>
                <c:pt idx="3506">
                  <c:v>5.0151314095961004</c:v>
                </c:pt>
                <c:pt idx="3507">
                  <c:v>4.9682323265172394</c:v>
                </c:pt>
                <c:pt idx="3508">
                  <c:v>5.1643944222363656</c:v>
                </c:pt>
                <c:pt idx="3509">
                  <c:v>5.9116287300624393</c:v>
                </c:pt>
                <c:pt idx="3510">
                  <c:v>4.9608049512487495</c:v>
                </c:pt>
                <c:pt idx="3511">
                  <c:v>4.9515176439084181</c:v>
                </c:pt>
                <c:pt idx="3512">
                  <c:v>5.9864442196315242</c:v>
                </c:pt>
                <c:pt idx="3513">
                  <c:v>5.1827599494916408</c:v>
                </c:pt>
                <c:pt idx="3514">
                  <c:v>6.0391361597717674</c:v>
                </c:pt>
                <c:pt idx="3515">
                  <c:v>5.901004240047464</c:v>
                </c:pt>
                <c:pt idx="3516">
                  <c:v>4.9564809305846165</c:v>
                </c:pt>
                <c:pt idx="3517">
                  <c:v>6.081222053083347</c:v>
                </c:pt>
                <c:pt idx="3518">
                  <c:v>6.8910459644913065</c:v>
                </c:pt>
                <c:pt idx="3519">
                  <c:v>5.0579131727821993</c:v>
                </c:pt>
                <c:pt idx="3520">
                  <c:v>5.0509853566263896</c:v>
                </c:pt>
                <c:pt idx="3521">
                  <c:v>4.7481852301240011</c:v>
                </c:pt>
                <c:pt idx="3522">
                  <c:v>4.7995247886221364</c:v>
                </c:pt>
                <c:pt idx="3523">
                  <c:v>4.9869838363301477</c:v>
                </c:pt>
                <c:pt idx="3524">
                  <c:v>5.0589066433394114</c:v>
                </c:pt>
                <c:pt idx="3525">
                  <c:v>4.9759461924201407</c:v>
                </c:pt>
                <c:pt idx="3526">
                  <c:v>5.003108200122127</c:v>
                </c:pt>
                <c:pt idx="3527">
                  <c:v>5.0501744920259517</c:v>
                </c:pt>
                <c:pt idx="3528">
                  <c:v>5.0164368118242768</c:v>
                </c:pt>
                <c:pt idx="3529">
                  <c:v>5.0270221538786899</c:v>
                </c:pt>
                <c:pt idx="3530">
                  <c:v>4.9583070340556175</c:v>
                </c:pt>
                <c:pt idx="3531">
                  <c:v>6.0540341285947852</c:v>
                </c:pt>
                <c:pt idx="3532">
                  <c:v>4.9671977771007212</c:v>
                </c:pt>
                <c:pt idx="3533">
                  <c:v>5.0224983050243637</c:v>
                </c:pt>
                <c:pt idx="3534">
                  <c:v>7.0243721594059467</c:v>
                </c:pt>
                <c:pt idx="3535">
                  <c:v>5.0546283227948878</c:v>
                </c:pt>
                <c:pt idx="3536">
                  <c:v>5.0589149878622379</c:v>
                </c:pt>
                <c:pt idx="3537">
                  <c:v>5.0117334307966477</c:v>
                </c:pt>
                <c:pt idx="3538">
                  <c:v>5.0532342864011666</c:v>
                </c:pt>
                <c:pt idx="3539">
                  <c:v>5.8886200952965906</c:v>
                </c:pt>
                <c:pt idx="3540">
                  <c:v>4.9394067245292277</c:v>
                </c:pt>
                <c:pt idx="3541">
                  <c:v>5.1559449969212396</c:v>
                </c:pt>
                <c:pt idx="3542">
                  <c:v>4.9425987244457472</c:v>
                </c:pt>
                <c:pt idx="3543">
                  <c:v>5.1448086416063878</c:v>
                </c:pt>
                <c:pt idx="3544">
                  <c:v>5.9497860658882802</c:v>
                </c:pt>
                <c:pt idx="3545">
                  <c:v>5.0420024396537002</c:v>
                </c:pt>
                <c:pt idx="3546">
                  <c:v>5.0282312865948899</c:v>
                </c:pt>
                <c:pt idx="3547">
                  <c:v>5.0256214322045256</c:v>
                </c:pt>
                <c:pt idx="3548">
                  <c:v>5.0716007756689807</c:v>
                </c:pt>
                <c:pt idx="3549">
                  <c:v>4.8963887817075209</c:v>
                </c:pt>
                <c:pt idx="3550">
                  <c:v>4.9090543342436881</c:v>
                </c:pt>
                <c:pt idx="3551">
                  <c:v>6.1329260362647489</c:v>
                </c:pt>
                <c:pt idx="3552">
                  <c:v>5.9779194817100132</c:v>
                </c:pt>
                <c:pt idx="3553">
                  <c:v>5.9721011666909991</c:v>
                </c:pt>
                <c:pt idx="3554">
                  <c:v>5.799900483256649</c:v>
                </c:pt>
                <c:pt idx="3555">
                  <c:v>4.8832886407943956</c:v>
                </c:pt>
                <c:pt idx="3556">
                  <c:v>4.9967517220151842</c:v>
                </c:pt>
                <c:pt idx="3557">
                  <c:v>5.034808963911126</c:v>
                </c:pt>
                <c:pt idx="3558">
                  <c:v>5.0546988930767833</c:v>
                </c:pt>
                <c:pt idx="3559">
                  <c:v>5.9576229072672264</c:v>
                </c:pt>
                <c:pt idx="3560">
                  <c:v>5.1354155383270506</c:v>
                </c:pt>
                <c:pt idx="3561">
                  <c:v>5.1051403464226421</c:v>
                </c:pt>
                <c:pt idx="3562">
                  <c:v>5.9359972667845815</c:v>
                </c:pt>
                <c:pt idx="3563">
                  <c:v>4.9431014026503188</c:v>
                </c:pt>
                <c:pt idx="3564">
                  <c:v>6.1238265262053124</c:v>
                </c:pt>
                <c:pt idx="3565">
                  <c:v>4.9218883081741716</c:v>
                </c:pt>
                <c:pt idx="3566">
                  <c:v>5.2497884739473237</c:v>
                </c:pt>
                <c:pt idx="3567">
                  <c:v>5.055701743566595</c:v>
                </c:pt>
                <c:pt idx="3568">
                  <c:v>4.9731883584577643</c:v>
                </c:pt>
                <c:pt idx="3569">
                  <c:v>4.7943951503908977</c:v>
                </c:pt>
                <c:pt idx="3570">
                  <c:v>4.9358770425050524</c:v>
                </c:pt>
                <c:pt idx="3571">
                  <c:v>5.6878149825030535</c:v>
                </c:pt>
                <c:pt idx="3572">
                  <c:v>5.2042713800849905</c:v>
                </c:pt>
                <c:pt idx="3573">
                  <c:v>4.9622003420586598</c:v>
                </c:pt>
                <c:pt idx="3574">
                  <c:v>4.9461864426804087</c:v>
                </c:pt>
                <c:pt idx="3575">
                  <c:v>5.0079286404284602</c:v>
                </c:pt>
                <c:pt idx="3576">
                  <c:v>4.8321083567262875</c:v>
                </c:pt>
                <c:pt idx="3577">
                  <c:v>5.1299056384230859</c:v>
                </c:pt>
                <c:pt idx="3578">
                  <c:v>5.0193115856954185</c:v>
                </c:pt>
                <c:pt idx="3579">
                  <c:v>5.1561186026410484</c:v>
                </c:pt>
                <c:pt idx="3580">
                  <c:v>6.020069803723846</c:v>
                </c:pt>
                <c:pt idx="3581">
                  <c:v>5.0346002901140086</c:v>
                </c:pt>
                <c:pt idx="3582">
                  <c:v>5.0021112033127029</c:v>
                </c:pt>
                <c:pt idx="3583">
                  <c:v>4.8507879451899161</c:v>
                </c:pt>
                <c:pt idx="3584">
                  <c:v>5.0927040272866053</c:v>
                </c:pt>
                <c:pt idx="3585">
                  <c:v>5.0397105884043683</c:v>
                </c:pt>
                <c:pt idx="3586">
                  <c:v>5.1489730890664394</c:v>
                </c:pt>
                <c:pt idx="3587">
                  <c:v>4.8696544766310339</c:v>
                </c:pt>
                <c:pt idx="3588">
                  <c:v>4.9176581152882965</c:v>
                </c:pt>
                <c:pt idx="3589">
                  <c:v>5.1584469149073229</c:v>
                </c:pt>
                <c:pt idx="3590">
                  <c:v>5.0311717012464836</c:v>
                </c:pt>
                <c:pt idx="3591">
                  <c:v>4.9612113428969744</c:v>
                </c:pt>
                <c:pt idx="3592">
                  <c:v>4.9299631899100511</c:v>
                </c:pt>
                <c:pt idx="3593">
                  <c:v>5.9745834131266786</c:v>
                </c:pt>
                <c:pt idx="3594">
                  <c:v>4.9893831941452653</c:v>
                </c:pt>
                <c:pt idx="3595">
                  <c:v>5.0914508246616155</c:v>
                </c:pt>
                <c:pt idx="3596">
                  <c:v>4.994328288328088</c:v>
                </c:pt>
                <c:pt idx="3597">
                  <c:v>5.0400154650223925</c:v>
                </c:pt>
                <c:pt idx="3598">
                  <c:v>4.8393521460457469</c:v>
                </c:pt>
                <c:pt idx="3599">
                  <c:v>4.8902579775715891</c:v>
                </c:pt>
                <c:pt idx="3600">
                  <c:v>4.9960064820158276</c:v>
                </c:pt>
                <c:pt idx="3601">
                  <c:v>5.0206952657313781</c:v>
                </c:pt>
                <c:pt idx="3602">
                  <c:v>4.9699504546416122</c:v>
                </c:pt>
                <c:pt idx="3603">
                  <c:v>5.9196407882042372</c:v>
                </c:pt>
                <c:pt idx="3604">
                  <c:v>6.109687114460014</c:v>
                </c:pt>
                <c:pt idx="3605">
                  <c:v>6.0942469105752055</c:v>
                </c:pt>
                <c:pt idx="3606">
                  <c:v>4.8933131502032579</c:v>
                </c:pt>
                <c:pt idx="3607">
                  <c:v>5.9876962526381892</c:v>
                </c:pt>
                <c:pt idx="3608">
                  <c:v>4.9952339480811263</c:v>
                </c:pt>
                <c:pt idx="3609">
                  <c:v>5.0396435591599005</c:v>
                </c:pt>
                <c:pt idx="3610">
                  <c:v>4.9007866460867548</c:v>
                </c:pt>
                <c:pt idx="3611">
                  <c:v>4.9199583861233975</c:v>
                </c:pt>
                <c:pt idx="3612">
                  <c:v>5.7899820159414226</c:v>
                </c:pt>
                <c:pt idx="3613">
                  <c:v>4.9044137293143333</c:v>
                </c:pt>
                <c:pt idx="3614">
                  <c:v>5.0756274097673222</c:v>
                </c:pt>
                <c:pt idx="3615">
                  <c:v>4.8941088844443081</c:v>
                </c:pt>
                <c:pt idx="3616">
                  <c:v>5.0917102054522969</c:v>
                </c:pt>
                <c:pt idx="3617">
                  <c:v>5.0350493988730687</c:v>
                </c:pt>
                <c:pt idx="3618">
                  <c:v>5.8919327135314603</c:v>
                </c:pt>
                <c:pt idx="3619">
                  <c:v>5.0628316684529588</c:v>
                </c:pt>
                <c:pt idx="3620">
                  <c:v>4.9819069581147479</c:v>
                </c:pt>
                <c:pt idx="3621">
                  <c:v>4.9831812550347845</c:v>
                </c:pt>
                <c:pt idx="3622">
                  <c:v>5.1853958871015546</c:v>
                </c:pt>
                <c:pt idx="3623">
                  <c:v>6.1330951310626407</c:v>
                </c:pt>
                <c:pt idx="3624">
                  <c:v>5.1453646045755175</c:v>
                </c:pt>
                <c:pt idx="3625">
                  <c:v>5.1748869884940305</c:v>
                </c:pt>
                <c:pt idx="3626">
                  <c:v>4.9446531820799402</c:v>
                </c:pt>
                <c:pt idx="3627">
                  <c:v>5.1715788617507652</c:v>
                </c:pt>
                <c:pt idx="3628">
                  <c:v>5.9348137692323801</c:v>
                </c:pt>
                <c:pt idx="3629">
                  <c:v>4.7982050172666337</c:v>
                </c:pt>
                <c:pt idx="3630">
                  <c:v>5.0751341416474096</c:v>
                </c:pt>
                <c:pt idx="3631">
                  <c:v>4.9089586670246472</c:v>
                </c:pt>
                <c:pt idx="3632">
                  <c:v>6.0075918619050457</c:v>
                </c:pt>
                <c:pt idx="3633">
                  <c:v>4.8934301457013003</c:v>
                </c:pt>
                <c:pt idx="3634">
                  <c:v>4.9837502463669416</c:v>
                </c:pt>
                <c:pt idx="3635">
                  <c:v>5.1075042519283631</c:v>
                </c:pt>
                <c:pt idx="3636">
                  <c:v>5.0570412066990311</c:v>
                </c:pt>
                <c:pt idx="3637">
                  <c:v>5.0231693032336864</c:v>
                </c:pt>
                <c:pt idx="3638">
                  <c:v>5.0304101708411313</c:v>
                </c:pt>
                <c:pt idx="3639">
                  <c:v>6.0163809382345965</c:v>
                </c:pt>
                <c:pt idx="3640">
                  <c:v>5.9975190296377452</c:v>
                </c:pt>
                <c:pt idx="3641">
                  <c:v>5.9984211958141405</c:v>
                </c:pt>
                <c:pt idx="3642">
                  <c:v>5.0099229154346938</c:v>
                </c:pt>
                <c:pt idx="3643">
                  <c:v>5.0356436716805328</c:v>
                </c:pt>
                <c:pt idx="3644">
                  <c:v>5.9260757818274739</c:v>
                </c:pt>
                <c:pt idx="3645">
                  <c:v>5.1337939162131683</c:v>
                </c:pt>
                <c:pt idx="3646">
                  <c:v>5.0622029306302307</c:v>
                </c:pt>
                <c:pt idx="3647">
                  <c:v>4.9199443665624898</c:v>
                </c:pt>
                <c:pt idx="3648">
                  <c:v>5.0626330610024315</c:v>
                </c:pt>
                <c:pt idx="3649">
                  <c:v>4.9804879010867937</c:v>
                </c:pt>
                <c:pt idx="3650">
                  <c:v>5.9129421027085893</c:v>
                </c:pt>
                <c:pt idx="3651">
                  <c:v>4.8701865841654355</c:v>
                </c:pt>
                <c:pt idx="3652">
                  <c:v>6.1490032472601293</c:v>
                </c:pt>
                <c:pt idx="3653">
                  <c:v>5.0040860490836154</c:v>
                </c:pt>
                <c:pt idx="3654">
                  <c:v>5.1755531123864902</c:v>
                </c:pt>
                <c:pt idx="3655">
                  <c:v>5.8942061998147013</c:v>
                </c:pt>
                <c:pt idx="3656">
                  <c:v>5.0619072017618922</c:v>
                </c:pt>
                <c:pt idx="3657">
                  <c:v>6.0565720605471984</c:v>
                </c:pt>
                <c:pt idx="3658">
                  <c:v>4.9914688694131444</c:v>
                </c:pt>
                <c:pt idx="3659">
                  <c:v>5.0206154279002142</c:v>
                </c:pt>
                <c:pt idx="3660">
                  <c:v>4.9528284790360999</c:v>
                </c:pt>
                <c:pt idx="3661">
                  <c:v>5.1600848247327553</c:v>
                </c:pt>
                <c:pt idx="3662">
                  <c:v>5.9272316016477724</c:v>
                </c:pt>
                <c:pt idx="3663">
                  <c:v>6.0131488798304682</c:v>
                </c:pt>
                <c:pt idx="3664">
                  <c:v>5.1070239839642415</c:v>
                </c:pt>
                <c:pt idx="3665">
                  <c:v>4.9742927096415555</c:v>
                </c:pt>
                <c:pt idx="3666">
                  <c:v>4.9089206043298299</c:v>
                </c:pt>
                <c:pt idx="3667">
                  <c:v>6.0513814759654405</c:v>
                </c:pt>
                <c:pt idx="3668">
                  <c:v>4.8925689849000076</c:v>
                </c:pt>
                <c:pt idx="3669">
                  <c:v>5.054836681886572</c:v>
                </c:pt>
                <c:pt idx="3670">
                  <c:v>5.1080028235952692</c:v>
                </c:pt>
                <c:pt idx="3671">
                  <c:v>5.0939475333253244</c:v>
                </c:pt>
                <c:pt idx="3672">
                  <c:v>5.1073846483190106</c:v>
                </c:pt>
                <c:pt idx="3673">
                  <c:v>4.9189346641492353</c:v>
                </c:pt>
                <c:pt idx="3674">
                  <c:v>5.0751828125281495</c:v>
                </c:pt>
                <c:pt idx="3675">
                  <c:v>5.9785521239284742</c:v>
                </c:pt>
                <c:pt idx="3676">
                  <c:v>4.9589209968814991</c:v>
                </c:pt>
                <c:pt idx="3677">
                  <c:v>5.0548996607683359</c:v>
                </c:pt>
                <c:pt idx="3678">
                  <c:v>5.9703789433342633</c:v>
                </c:pt>
                <c:pt idx="3679">
                  <c:v>6.1016998904915623</c:v>
                </c:pt>
                <c:pt idx="3680">
                  <c:v>4.9105623530716693</c:v>
                </c:pt>
                <c:pt idx="3681">
                  <c:v>5.9222573848132729</c:v>
                </c:pt>
                <c:pt idx="3682">
                  <c:v>5.9477192047162664</c:v>
                </c:pt>
                <c:pt idx="3683">
                  <c:v>6.1295114875804675</c:v>
                </c:pt>
                <c:pt idx="3684">
                  <c:v>6.0703917730643937</c:v>
                </c:pt>
                <c:pt idx="3685">
                  <c:v>4.9743300871469129</c:v>
                </c:pt>
                <c:pt idx="3686">
                  <c:v>6.0371619023966758</c:v>
                </c:pt>
                <c:pt idx="3687">
                  <c:v>6.0265845471883797</c:v>
                </c:pt>
                <c:pt idx="3688">
                  <c:v>6.9495440425538968</c:v>
                </c:pt>
                <c:pt idx="3689">
                  <c:v>5.0860638229653183</c:v>
                </c:pt>
                <c:pt idx="3690">
                  <c:v>4.95310703035637</c:v>
                </c:pt>
                <c:pt idx="3691">
                  <c:v>5.9842830741770934</c:v>
                </c:pt>
                <c:pt idx="3692">
                  <c:v>6.8930192613259997</c:v>
                </c:pt>
                <c:pt idx="3693">
                  <c:v>4.9937220466490988</c:v>
                </c:pt>
                <c:pt idx="3694">
                  <c:v>4.8863127129533082</c:v>
                </c:pt>
                <c:pt idx="3695">
                  <c:v>4.8365637979484344</c:v>
                </c:pt>
                <c:pt idx="3696">
                  <c:v>5.1246255001976628</c:v>
                </c:pt>
                <c:pt idx="3697">
                  <c:v>4.9222153015795858</c:v>
                </c:pt>
                <c:pt idx="3698">
                  <c:v>4.9351757422499674</c:v>
                </c:pt>
                <c:pt idx="3699">
                  <c:v>5.1736673956825285</c:v>
                </c:pt>
                <c:pt idx="3700">
                  <c:v>4.8684345607464881</c:v>
                </c:pt>
                <c:pt idx="3701">
                  <c:v>4.8726783464715249</c:v>
                </c:pt>
                <c:pt idx="3702">
                  <c:v>6.0638124808339189</c:v>
                </c:pt>
                <c:pt idx="3703">
                  <c:v>6.0945862283443395</c:v>
                </c:pt>
                <c:pt idx="3704">
                  <c:v>7.0063075547995624</c:v>
                </c:pt>
                <c:pt idx="3705">
                  <c:v>6.1091316121936892</c:v>
                </c:pt>
                <c:pt idx="3706">
                  <c:v>6.0092524596069934</c:v>
                </c:pt>
                <c:pt idx="3707">
                  <c:v>5.0046875836449463</c:v>
                </c:pt>
                <c:pt idx="3708">
                  <c:v>5.0243127905909368</c:v>
                </c:pt>
                <c:pt idx="3709">
                  <c:v>5.8882482795299982</c:v>
                </c:pt>
                <c:pt idx="3710">
                  <c:v>4.8741213260132197</c:v>
                </c:pt>
                <c:pt idx="3711">
                  <c:v>5.0611074866792132</c:v>
                </c:pt>
                <c:pt idx="3712">
                  <c:v>5.1874826732858406</c:v>
                </c:pt>
                <c:pt idx="3713">
                  <c:v>6.2075434925156312</c:v>
                </c:pt>
                <c:pt idx="3714">
                  <c:v>5.9977953046786645</c:v>
                </c:pt>
                <c:pt idx="3715">
                  <c:v>5.9252131617741997</c:v>
                </c:pt>
                <c:pt idx="3716">
                  <c:v>5.9303549935326538</c:v>
                </c:pt>
                <c:pt idx="3717">
                  <c:v>6.0172842176797028</c:v>
                </c:pt>
                <c:pt idx="3718">
                  <c:v>4.9709357487304677</c:v>
                </c:pt>
                <c:pt idx="3719">
                  <c:v>5.0624487380197838</c:v>
                </c:pt>
                <c:pt idx="3720">
                  <c:v>5.8449861717630833</c:v>
                </c:pt>
                <c:pt idx="3721">
                  <c:v>4.9193802511630853</c:v>
                </c:pt>
                <c:pt idx="3722">
                  <c:v>4.9399914430780258</c:v>
                </c:pt>
                <c:pt idx="3723">
                  <c:v>4.947883894804078</c:v>
                </c:pt>
                <c:pt idx="3724">
                  <c:v>5.1437212985500356</c:v>
                </c:pt>
                <c:pt idx="3725">
                  <c:v>5.1529023559200242</c:v>
                </c:pt>
                <c:pt idx="3726">
                  <c:v>6.0196152503180507</c:v>
                </c:pt>
                <c:pt idx="3727">
                  <c:v>5.0276996725487031</c:v>
                </c:pt>
                <c:pt idx="3728">
                  <c:v>4.8835658401284592</c:v>
                </c:pt>
                <c:pt idx="3729">
                  <c:v>6.0476216094302462</c:v>
                </c:pt>
                <c:pt idx="3730">
                  <c:v>5.8403158742761212</c:v>
                </c:pt>
                <c:pt idx="3731">
                  <c:v>5.2191237704543987</c:v>
                </c:pt>
                <c:pt idx="3732">
                  <c:v>5.1533357984584445</c:v>
                </c:pt>
                <c:pt idx="3733">
                  <c:v>4.9032043233710407</c:v>
                </c:pt>
                <c:pt idx="3734">
                  <c:v>5.0867583590299903</c:v>
                </c:pt>
                <c:pt idx="3735">
                  <c:v>6.1235226574483361</c:v>
                </c:pt>
                <c:pt idx="3736">
                  <c:v>5.0658359137203863</c:v>
                </c:pt>
                <c:pt idx="3737">
                  <c:v>6.0326755064905742</c:v>
                </c:pt>
                <c:pt idx="3738">
                  <c:v>4.9078775462414628</c:v>
                </c:pt>
                <c:pt idx="3739">
                  <c:v>5.0787344525900071</c:v>
                </c:pt>
                <c:pt idx="3740">
                  <c:v>4.9191309026073009</c:v>
                </c:pt>
                <c:pt idx="3741">
                  <c:v>5.9648098734585693</c:v>
                </c:pt>
                <c:pt idx="3742">
                  <c:v>5.0029906361592165</c:v>
                </c:pt>
                <c:pt idx="3743">
                  <c:v>4.9982125410221752</c:v>
                </c:pt>
                <c:pt idx="3744">
                  <c:v>5.0414706455659113</c:v>
                </c:pt>
                <c:pt idx="3745">
                  <c:v>4.9545346356216946</c:v>
                </c:pt>
                <c:pt idx="3746">
                  <c:v>5.1665729740001645</c:v>
                </c:pt>
                <c:pt idx="3747">
                  <c:v>6.2317246845692749</c:v>
                </c:pt>
                <c:pt idx="3748">
                  <c:v>4.883374972482545</c:v>
                </c:pt>
                <c:pt idx="3749">
                  <c:v>4.932252775498406</c:v>
                </c:pt>
                <c:pt idx="3750">
                  <c:v>4.9897227155000845</c:v>
                </c:pt>
                <c:pt idx="3751">
                  <c:v>5.9779805134004782</c:v>
                </c:pt>
                <c:pt idx="3752">
                  <c:v>4.8646498650782792</c:v>
                </c:pt>
                <c:pt idx="3753">
                  <c:v>5.9615522555765681</c:v>
                </c:pt>
                <c:pt idx="3754">
                  <c:v>6.1029479759428336</c:v>
                </c:pt>
                <c:pt idx="3755">
                  <c:v>5.0946704235295881</c:v>
                </c:pt>
                <c:pt idx="3756">
                  <c:v>5.9525920674458304</c:v>
                </c:pt>
                <c:pt idx="3757">
                  <c:v>4.9632618107782527</c:v>
                </c:pt>
                <c:pt idx="3758">
                  <c:v>6.933680276826192</c:v>
                </c:pt>
                <c:pt idx="3759">
                  <c:v>6.0333553343201416</c:v>
                </c:pt>
                <c:pt idx="3760">
                  <c:v>5.0131262581381097</c:v>
                </c:pt>
                <c:pt idx="3761">
                  <c:v>5.9628191184004695</c:v>
                </c:pt>
                <c:pt idx="3762">
                  <c:v>6.126460808681232</c:v>
                </c:pt>
                <c:pt idx="3763">
                  <c:v>6.0517370698775625</c:v>
                </c:pt>
                <c:pt idx="3764">
                  <c:v>5.0364437744554467</c:v>
                </c:pt>
                <c:pt idx="3765">
                  <c:v>6.0395059575574974</c:v>
                </c:pt>
                <c:pt idx="3766">
                  <c:v>5.0404698908249115</c:v>
                </c:pt>
                <c:pt idx="3767">
                  <c:v>4.9140184154826105</c:v>
                </c:pt>
                <c:pt idx="3768">
                  <c:v>6.0321920637959661</c:v>
                </c:pt>
                <c:pt idx="3769">
                  <c:v>6.1436562954473288</c:v>
                </c:pt>
                <c:pt idx="3770">
                  <c:v>5.0705074356910007</c:v>
                </c:pt>
                <c:pt idx="3771">
                  <c:v>5.9396379648880604</c:v>
                </c:pt>
                <c:pt idx="3772">
                  <c:v>4.9444867690980843</c:v>
                </c:pt>
                <c:pt idx="3773">
                  <c:v>6.0276603890067415</c:v>
                </c:pt>
                <c:pt idx="3774">
                  <c:v>4.9490293391915312</c:v>
                </c:pt>
                <c:pt idx="3775">
                  <c:v>5.8938267548433174</c:v>
                </c:pt>
                <c:pt idx="3776">
                  <c:v>5.0735618551604142</c:v>
                </c:pt>
                <c:pt idx="3777">
                  <c:v>5.1121872367380172</c:v>
                </c:pt>
                <c:pt idx="3778">
                  <c:v>5.825614669074092</c:v>
                </c:pt>
                <c:pt idx="3779">
                  <c:v>5.2318318386078513</c:v>
                </c:pt>
                <c:pt idx="3780">
                  <c:v>4.8567728759028288</c:v>
                </c:pt>
                <c:pt idx="3781">
                  <c:v>5.9580883839005594</c:v>
                </c:pt>
                <c:pt idx="3782">
                  <c:v>5.0354203340699328</c:v>
                </c:pt>
                <c:pt idx="3783">
                  <c:v>6.0006764553796827</c:v>
                </c:pt>
                <c:pt idx="3784">
                  <c:v>4.8678725708153783</c:v>
                </c:pt>
                <c:pt idx="3785">
                  <c:v>4.8144902494156199</c:v>
                </c:pt>
                <c:pt idx="3786">
                  <c:v>6.0244221174428265</c:v>
                </c:pt>
                <c:pt idx="3787">
                  <c:v>6.1112737257240983</c:v>
                </c:pt>
                <c:pt idx="3788">
                  <c:v>4.8253354378161282</c:v>
                </c:pt>
                <c:pt idx="3789">
                  <c:v>5.0300389167446626</c:v>
                </c:pt>
                <c:pt idx="3790">
                  <c:v>5.9575739499038258</c:v>
                </c:pt>
                <c:pt idx="3791">
                  <c:v>6.1151145142275531</c:v>
                </c:pt>
                <c:pt idx="3792">
                  <c:v>6.1513846030478172</c:v>
                </c:pt>
                <c:pt idx="3793">
                  <c:v>4.9938151490601097</c:v>
                </c:pt>
                <c:pt idx="3794">
                  <c:v>4.8164556280098587</c:v>
                </c:pt>
                <c:pt idx="3795">
                  <c:v>4.9367284607157442</c:v>
                </c:pt>
                <c:pt idx="3796">
                  <c:v>5.1115144916093129</c:v>
                </c:pt>
                <c:pt idx="3797">
                  <c:v>5.7473592104673941</c:v>
                </c:pt>
                <c:pt idx="3798">
                  <c:v>5.1730926983644911</c:v>
                </c:pt>
                <c:pt idx="3799">
                  <c:v>4.8830818053913649</c:v>
                </c:pt>
                <c:pt idx="3800">
                  <c:v>6.2423828482970887</c:v>
                </c:pt>
                <c:pt idx="3801">
                  <c:v>4.9639218474209237</c:v>
                </c:pt>
                <c:pt idx="3802">
                  <c:v>5.8145799562762299</c:v>
                </c:pt>
                <c:pt idx="3803">
                  <c:v>5.9404468051231438</c:v>
                </c:pt>
                <c:pt idx="3804">
                  <c:v>5.1018952972448988</c:v>
                </c:pt>
                <c:pt idx="3805">
                  <c:v>4.7852921395073071</c:v>
                </c:pt>
                <c:pt idx="3806">
                  <c:v>5.9338012208514295</c:v>
                </c:pt>
                <c:pt idx="3807">
                  <c:v>5.0484906113328494</c:v>
                </c:pt>
                <c:pt idx="3808">
                  <c:v>4.9262500389111494</c:v>
                </c:pt>
                <c:pt idx="3809">
                  <c:v>4.9627833997181821</c:v>
                </c:pt>
                <c:pt idx="3810">
                  <c:v>4.9638952727532741</c:v>
                </c:pt>
                <c:pt idx="3811">
                  <c:v>5.0041020448045783</c:v>
                </c:pt>
                <c:pt idx="3812">
                  <c:v>5.1186917365778708</c:v>
                </c:pt>
                <c:pt idx="3813">
                  <c:v>5.142570660938139</c:v>
                </c:pt>
                <c:pt idx="3814">
                  <c:v>5.0884637227419933</c:v>
                </c:pt>
                <c:pt idx="3815">
                  <c:v>5.0319356138252713</c:v>
                </c:pt>
                <c:pt idx="3816">
                  <c:v>7.0694194412339506</c:v>
                </c:pt>
                <c:pt idx="3817">
                  <c:v>5.1539176748106428</c:v>
                </c:pt>
                <c:pt idx="3818">
                  <c:v>4.9970786080145952</c:v>
                </c:pt>
                <c:pt idx="3819">
                  <c:v>4.9861193990231438</c:v>
                </c:pt>
                <c:pt idx="3820">
                  <c:v>6.2013286390872988</c:v>
                </c:pt>
                <c:pt idx="3821">
                  <c:v>6.0084323139771252</c:v>
                </c:pt>
                <c:pt idx="3822">
                  <c:v>5.0746833543808778</c:v>
                </c:pt>
                <c:pt idx="3823">
                  <c:v>4.8556043562332096</c:v>
                </c:pt>
                <c:pt idx="3824">
                  <c:v>4.899735758616548</c:v>
                </c:pt>
                <c:pt idx="3825">
                  <c:v>6.0149075778485148</c:v>
                </c:pt>
                <c:pt idx="3826">
                  <c:v>5.8336868372436772</c:v>
                </c:pt>
                <c:pt idx="3827">
                  <c:v>4.9983600244469963</c:v>
                </c:pt>
                <c:pt idx="3828">
                  <c:v>6.0819463619223004</c:v>
                </c:pt>
                <c:pt idx="3829">
                  <c:v>4.9775051374231634</c:v>
                </c:pt>
                <c:pt idx="3830">
                  <c:v>4.940018857945593</c:v>
                </c:pt>
                <c:pt idx="3831">
                  <c:v>6.0485926328236275</c:v>
                </c:pt>
                <c:pt idx="3832">
                  <c:v>6.0293022442270097</c:v>
                </c:pt>
                <c:pt idx="3833">
                  <c:v>4.9187660736978556</c:v>
                </c:pt>
                <c:pt idx="3834">
                  <c:v>5.9605261776785738</c:v>
                </c:pt>
                <c:pt idx="3835">
                  <c:v>5.0544937301616946</c:v>
                </c:pt>
                <c:pt idx="3836">
                  <c:v>4.955057426028497</c:v>
                </c:pt>
                <c:pt idx="3837">
                  <c:v>4.9498581425158283</c:v>
                </c:pt>
                <c:pt idx="3838">
                  <c:v>6.0218880938455808</c:v>
                </c:pt>
                <c:pt idx="3839">
                  <c:v>5.0623893059286775</c:v>
                </c:pt>
                <c:pt idx="3840">
                  <c:v>6.0713572015117583</c:v>
                </c:pt>
                <c:pt idx="3841">
                  <c:v>5.0099351654213766</c:v>
                </c:pt>
                <c:pt idx="3842">
                  <c:v>6.9035909676492695</c:v>
                </c:pt>
                <c:pt idx="3843">
                  <c:v>5.0186737263141881</c:v>
                </c:pt>
                <c:pt idx="3844">
                  <c:v>6.8923909513706318</c:v>
                </c:pt>
                <c:pt idx="3845">
                  <c:v>6.0211021264138971</c:v>
                </c:pt>
                <c:pt idx="3846">
                  <c:v>4.9875989165341936</c:v>
                </c:pt>
                <c:pt idx="3847">
                  <c:v>5.0463071759874172</c:v>
                </c:pt>
                <c:pt idx="3848">
                  <c:v>5.0402406742591328</c:v>
                </c:pt>
                <c:pt idx="3849">
                  <c:v>5.1181200575725043</c:v>
                </c:pt>
                <c:pt idx="3850">
                  <c:v>6.1265884778960755</c:v>
                </c:pt>
                <c:pt idx="3851">
                  <c:v>4.9880887413682506</c:v>
                </c:pt>
                <c:pt idx="3852">
                  <c:v>4.9893615954586954</c:v>
                </c:pt>
                <c:pt idx="3853">
                  <c:v>5.1434890307685937</c:v>
                </c:pt>
                <c:pt idx="3854">
                  <c:v>5.0083705967005114</c:v>
                </c:pt>
                <c:pt idx="3855">
                  <c:v>4.9417213759824783</c:v>
                </c:pt>
                <c:pt idx="3856">
                  <c:v>6.1328176802534831</c:v>
                </c:pt>
                <c:pt idx="3857">
                  <c:v>5.9635343822755189</c:v>
                </c:pt>
                <c:pt idx="3858">
                  <c:v>4.6973758673558432</c:v>
                </c:pt>
                <c:pt idx="3859">
                  <c:v>4.768116013846381</c:v>
                </c:pt>
                <c:pt idx="3860">
                  <c:v>5.9534695505908317</c:v>
                </c:pt>
                <c:pt idx="3861">
                  <c:v>6.0767925658620694</c:v>
                </c:pt>
                <c:pt idx="3862">
                  <c:v>5.076808740012023</c:v>
                </c:pt>
                <c:pt idx="3863">
                  <c:v>4.9629331751657135</c:v>
                </c:pt>
                <c:pt idx="3864">
                  <c:v>4.9843911654639887</c:v>
                </c:pt>
                <c:pt idx="3865">
                  <c:v>4.9021198746322314</c:v>
                </c:pt>
                <c:pt idx="3866">
                  <c:v>5.0386105455289547</c:v>
                </c:pt>
                <c:pt idx="3867">
                  <c:v>5.0816998729115994</c:v>
                </c:pt>
                <c:pt idx="3868">
                  <c:v>4.8404672114446052</c:v>
                </c:pt>
                <c:pt idx="3869">
                  <c:v>5.0418312700645114</c:v>
                </c:pt>
                <c:pt idx="3870">
                  <c:v>5.0749750191180327</c:v>
                </c:pt>
                <c:pt idx="3871">
                  <c:v>5.0936099857040631</c:v>
                </c:pt>
                <c:pt idx="3872">
                  <c:v>5.1576053237886628</c:v>
                </c:pt>
                <c:pt idx="3873">
                  <c:v>5.0049930889379395</c:v>
                </c:pt>
                <c:pt idx="3874">
                  <c:v>4.9205590634286969</c:v>
                </c:pt>
                <c:pt idx="3875">
                  <c:v>5.022311354407198</c:v>
                </c:pt>
                <c:pt idx="3876">
                  <c:v>5.1430413524672351</c:v>
                </c:pt>
                <c:pt idx="3877">
                  <c:v>6.0028482242710091</c:v>
                </c:pt>
                <c:pt idx="3878">
                  <c:v>5.0642095437986736</c:v>
                </c:pt>
                <c:pt idx="3879">
                  <c:v>4.9035343340970989</c:v>
                </c:pt>
                <c:pt idx="3880">
                  <c:v>6.0500594336943259</c:v>
                </c:pt>
                <c:pt idx="3881">
                  <c:v>5.1298403978226625</c:v>
                </c:pt>
                <c:pt idx="3882">
                  <c:v>4.9588723917466409</c:v>
                </c:pt>
                <c:pt idx="3883">
                  <c:v>4.8887896113671827</c:v>
                </c:pt>
                <c:pt idx="3884">
                  <c:v>4.9565792975421008</c:v>
                </c:pt>
                <c:pt idx="3885">
                  <c:v>6.0164816580145217</c:v>
                </c:pt>
                <c:pt idx="3886">
                  <c:v>4.9289419147774538</c:v>
                </c:pt>
                <c:pt idx="3887">
                  <c:v>4.8873414246923419</c:v>
                </c:pt>
                <c:pt idx="3888">
                  <c:v>5.0168609940242028</c:v>
                </c:pt>
                <c:pt idx="3889">
                  <c:v>6.0124215578027655</c:v>
                </c:pt>
                <c:pt idx="3890">
                  <c:v>5.9562936550828738</c:v>
                </c:pt>
                <c:pt idx="3891">
                  <c:v>5.0370822415492711</c:v>
                </c:pt>
                <c:pt idx="3892">
                  <c:v>4.9067502558387917</c:v>
                </c:pt>
                <c:pt idx="3893">
                  <c:v>4.941000885638033</c:v>
                </c:pt>
                <c:pt idx="3894">
                  <c:v>5.9246038415522486</c:v>
                </c:pt>
                <c:pt idx="3895">
                  <c:v>4.9646122583731369</c:v>
                </c:pt>
                <c:pt idx="3896">
                  <c:v>5.0186541680382506</c:v>
                </c:pt>
                <c:pt idx="3897">
                  <c:v>4.9999341602565313</c:v>
                </c:pt>
                <c:pt idx="3898">
                  <c:v>5.0376627566436101</c:v>
                </c:pt>
                <c:pt idx="3899">
                  <c:v>4.9686607315152234</c:v>
                </c:pt>
                <c:pt idx="3900">
                  <c:v>5.0469942775129368</c:v>
                </c:pt>
                <c:pt idx="3901">
                  <c:v>4.9644740808799579</c:v>
                </c:pt>
                <c:pt idx="3902">
                  <c:v>6.0219606110500692</c:v>
                </c:pt>
                <c:pt idx="3903">
                  <c:v>5.9985875992934172</c:v>
                </c:pt>
                <c:pt idx="3904">
                  <c:v>4.9707918881630668</c:v>
                </c:pt>
                <c:pt idx="3905">
                  <c:v>5.191753675082718</c:v>
                </c:pt>
                <c:pt idx="3906">
                  <c:v>4.9039467992800212</c:v>
                </c:pt>
                <c:pt idx="3907">
                  <c:v>5.0015916234784648</c:v>
                </c:pt>
                <c:pt idx="3908">
                  <c:v>4.9976394464038147</c:v>
                </c:pt>
                <c:pt idx="3909">
                  <c:v>5.9476447933905128</c:v>
                </c:pt>
                <c:pt idx="3910">
                  <c:v>5.1572638301911056</c:v>
                </c:pt>
                <c:pt idx="3911">
                  <c:v>6.033982938280082</c:v>
                </c:pt>
                <c:pt idx="3912">
                  <c:v>5.1876980708394926</c:v>
                </c:pt>
                <c:pt idx="3913">
                  <c:v>4.949010613260584</c:v>
                </c:pt>
                <c:pt idx="3914">
                  <c:v>3.8695712749384379</c:v>
                </c:pt>
                <c:pt idx="3915">
                  <c:v>4.9408046387440985</c:v>
                </c:pt>
                <c:pt idx="3916">
                  <c:v>3.9463057054216435</c:v>
                </c:pt>
                <c:pt idx="3917">
                  <c:v>6.998980599338041</c:v>
                </c:pt>
                <c:pt idx="3918">
                  <c:v>6.7972194441897331</c:v>
                </c:pt>
                <c:pt idx="3919">
                  <c:v>6.0356343541459143</c:v>
                </c:pt>
                <c:pt idx="3920">
                  <c:v>5.8044495306427581</c:v>
                </c:pt>
                <c:pt idx="3921">
                  <c:v>5.9633222113700963</c:v>
                </c:pt>
                <c:pt idx="3922">
                  <c:v>5.0660931111983381</c:v>
                </c:pt>
                <c:pt idx="3923">
                  <c:v>4.970279919655912</c:v>
                </c:pt>
                <c:pt idx="3924">
                  <c:v>5.8951310198741966</c:v>
                </c:pt>
                <c:pt idx="3925">
                  <c:v>6.0741019817055015</c:v>
                </c:pt>
                <c:pt idx="3926">
                  <c:v>5.8201156154297378</c:v>
                </c:pt>
                <c:pt idx="3927">
                  <c:v>5.0400125024655242</c:v>
                </c:pt>
                <c:pt idx="3928">
                  <c:v>5.0762007631740049</c:v>
                </c:pt>
                <c:pt idx="3929">
                  <c:v>5.8956115007972896</c:v>
                </c:pt>
                <c:pt idx="3930">
                  <c:v>5.8573235633302057</c:v>
                </c:pt>
                <c:pt idx="3931">
                  <c:v>7.0843660487004412</c:v>
                </c:pt>
                <c:pt idx="3932">
                  <c:v>5.0414620499700566</c:v>
                </c:pt>
                <c:pt idx="3933">
                  <c:v>4.9612410692456672</c:v>
                </c:pt>
                <c:pt idx="3934">
                  <c:v>4.8114032640729683</c:v>
                </c:pt>
                <c:pt idx="3935">
                  <c:v>7.0110495002471902</c:v>
                </c:pt>
                <c:pt idx="3936">
                  <c:v>6.0551294477728828</c:v>
                </c:pt>
                <c:pt idx="3937">
                  <c:v>6.0751753075367612</c:v>
                </c:pt>
                <c:pt idx="3938">
                  <c:v>5.9954987484442892</c:v>
                </c:pt>
                <c:pt idx="3939">
                  <c:v>4.9323693242257711</c:v>
                </c:pt>
                <c:pt idx="3940">
                  <c:v>4.9260640932082191</c:v>
                </c:pt>
                <c:pt idx="3941">
                  <c:v>6.0147391217239639</c:v>
                </c:pt>
                <c:pt idx="3942">
                  <c:v>5.0391908357947841</c:v>
                </c:pt>
                <c:pt idx="3943">
                  <c:v>4.9197403013302523</c:v>
                </c:pt>
                <c:pt idx="3944">
                  <c:v>4.9933080266167371</c:v>
                </c:pt>
                <c:pt idx="3945">
                  <c:v>6.1440328785806733</c:v>
                </c:pt>
                <c:pt idx="3946">
                  <c:v>6.1339713902342803</c:v>
                </c:pt>
                <c:pt idx="3947">
                  <c:v>6.0521509326796181</c:v>
                </c:pt>
                <c:pt idx="3948">
                  <c:v>4.9810349044767097</c:v>
                </c:pt>
                <c:pt idx="3949">
                  <c:v>5.9661787452254442</c:v>
                </c:pt>
                <c:pt idx="3950">
                  <c:v>6.1264318749619582</c:v>
                </c:pt>
                <c:pt idx="3951">
                  <c:v>4.8901262679023398</c:v>
                </c:pt>
                <c:pt idx="3952">
                  <c:v>5.049527832024082</c:v>
                </c:pt>
                <c:pt idx="3953">
                  <c:v>6.0562756100646693</c:v>
                </c:pt>
                <c:pt idx="3954">
                  <c:v>5.0415882385597488</c:v>
                </c:pt>
                <c:pt idx="3955">
                  <c:v>5.1485620651856872</c:v>
                </c:pt>
                <c:pt idx="3956">
                  <c:v>5.8364833427866483</c:v>
                </c:pt>
                <c:pt idx="3957">
                  <c:v>5.9795854629645904</c:v>
                </c:pt>
                <c:pt idx="3958">
                  <c:v>6.9903463275957884</c:v>
                </c:pt>
                <c:pt idx="3959">
                  <c:v>5.0744835444368785</c:v>
                </c:pt>
                <c:pt idx="3960">
                  <c:v>7.0034987028199644</c:v>
                </c:pt>
                <c:pt idx="3961">
                  <c:v>5.8440663706247848</c:v>
                </c:pt>
                <c:pt idx="3962">
                  <c:v>5.8830617446906617</c:v>
                </c:pt>
                <c:pt idx="3963">
                  <c:v>5.9252768667850333</c:v>
                </c:pt>
                <c:pt idx="3964">
                  <c:v>4.8895950743321954</c:v>
                </c:pt>
                <c:pt idx="3965">
                  <c:v>5.0817201524737881</c:v>
                </c:pt>
                <c:pt idx="3966">
                  <c:v>4.9477242420020628</c:v>
                </c:pt>
                <c:pt idx="3967">
                  <c:v>6.0762497795815973</c:v>
                </c:pt>
                <c:pt idx="3968">
                  <c:v>3.9604721961326539</c:v>
                </c:pt>
                <c:pt idx="3969">
                  <c:v>5.0512456635789738</c:v>
                </c:pt>
                <c:pt idx="3970">
                  <c:v>4.7269149414454938</c:v>
                </c:pt>
                <c:pt idx="3971">
                  <c:v>5.1628244430074233</c:v>
                </c:pt>
                <c:pt idx="3972">
                  <c:v>5.9732294846212657</c:v>
                </c:pt>
                <c:pt idx="3973">
                  <c:v>5.1888349294066778</c:v>
                </c:pt>
                <c:pt idx="3974">
                  <c:v>6.9439485471590787</c:v>
                </c:pt>
                <c:pt idx="3975">
                  <c:v>7.0916388548225511</c:v>
                </c:pt>
                <c:pt idx="3976">
                  <c:v>6.1254831643905172</c:v>
                </c:pt>
                <c:pt idx="3977">
                  <c:v>5.7772601540626782</c:v>
                </c:pt>
                <c:pt idx="3978">
                  <c:v>5.9866418410510542</c:v>
                </c:pt>
                <c:pt idx="3979">
                  <c:v>5.1084671607779555</c:v>
                </c:pt>
                <c:pt idx="3980">
                  <c:v>5.0421119276789659</c:v>
                </c:pt>
                <c:pt idx="3981">
                  <c:v>4.9742858897737454</c:v>
                </c:pt>
                <c:pt idx="3982">
                  <c:v>5.9922445959806359</c:v>
                </c:pt>
                <c:pt idx="3983">
                  <c:v>5.0742270582203881</c:v>
                </c:pt>
                <c:pt idx="3984">
                  <c:v>6.0134245141051235</c:v>
                </c:pt>
                <c:pt idx="3985">
                  <c:v>4.9773683186188427</c:v>
                </c:pt>
                <c:pt idx="3986">
                  <c:v>4.8217609195084661</c:v>
                </c:pt>
                <c:pt idx="3987">
                  <c:v>5.9950992337676139</c:v>
                </c:pt>
                <c:pt idx="3988">
                  <c:v>5.0504307260447829</c:v>
                </c:pt>
                <c:pt idx="3989">
                  <c:v>5.0107657118750346</c:v>
                </c:pt>
                <c:pt idx="3990">
                  <c:v>5.1076407086282929</c:v>
                </c:pt>
                <c:pt idx="3991">
                  <c:v>5.0602229767873679</c:v>
                </c:pt>
                <c:pt idx="3992">
                  <c:v>4.9644089803703331</c:v>
                </c:pt>
                <c:pt idx="3993">
                  <c:v>5.0910152779007554</c:v>
                </c:pt>
                <c:pt idx="3994">
                  <c:v>5.0640717167841025</c:v>
                </c:pt>
                <c:pt idx="3995">
                  <c:v>4.7931523193411669</c:v>
                </c:pt>
                <c:pt idx="3996">
                  <c:v>5.9531797726619757</c:v>
                </c:pt>
                <c:pt idx="3997">
                  <c:v>4.8997441675702174</c:v>
                </c:pt>
                <c:pt idx="3998">
                  <c:v>6.096541227283196</c:v>
                </c:pt>
                <c:pt idx="3999">
                  <c:v>4.901534350867637</c:v>
                </c:pt>
                <c:pt idx="4000">
                  <c:v>5.9611337611562494</c:v>
                </c:pt>
                <c:pt idx="4001">
                  <c:v>6.0445188768097013</c:v>
                </c:pt>
                <c:pt idx="4002">
                  <c:v>4.9653458861754212</c:v>
                </c:pt>
                <c:pt idx="4003">
                  <c:v>5.9404137906361054</c:v>
                </c:pt>
                <c:pt idx="4004">
                  <c:v>5.9653080994172019</c:v>
                </c:pt>
                <c:pt idx="4005">
                  <c:v>4.8272382034028603</c:v>
                </c:pt>
                <c:pt idx="4006">
                  <c:v>6.0759994792390319</c:v>
                </c:pt>
                <c:pt idx="4007">
                  <c:v>5.9836379634203878</c:v>
                </c:pt>
                <c:pt idx="4008">
                  <c:v>5.0472173511071752</c:v>
                </c:pt>
                <c:pt idx="4009">
                  <c:v>5.0135065042194986</c:v>
                </c:pt>
                <c:pt idx="4010">
                  <c:v>4.9344184034892917</c:v>
                </c:pt>
                <c:pt idx="4011">
                  <c:v>4.9867777460686673</c:v>
                </c:pt>
                <c:pt idx="4012">
                  <c:v>6.0062734313588289</c:v>
                </c:pt>
                <c:pt idx="4013">
                  <c:v>7.1150379674672708</c:v>
                </c:pt>
                <c:pt idx="4014">
                  <c:v>5.1369547282374368</c:v>
                </c:pt>
                <c:pt idx="4015">
                  <c:v>5.0495308171256825</c:v>
                </c:pt>
                <c:pt idx="4016">
                  <c:v>5.0575881482230409</c:v>
                </c:pt>
                <c:pt idx="4017">
                  <c:v>4.9733616189892649</c:v>
                </c:pt>
                <c:pt idx="4018">
                  <c:v>5.109662293481132</c:v>
                </c:pt>
                <c:pt idx="4019">
                  <c:v>4.7949054487304963</c:v>
                </c:pt>
                <c:pt idx="4020">
                  <c:v>4.9217830269898544</c:v>
                </c:pt>
                <c:pt idx="4021">
                  <c:v>4.957198446443666</c:v>
                </c:pt>
                <c:pt idx="4022">
                  <c:v>5.8046266120735366</c:v>
                </c:pt>
                <c:pt idx="4023">
                  <c:v>5.9534785828701633</c:v>
                </c:pt>
                <c:pt idx="4024">
                  <c:v>4.9552569313220971</c:v>
                </c:pt>
                <c:pt idx="4025">
                  <c:v>5.0610447213437295</c:v>
                </c:pt>
                <c:pt idx="4026">
                  <c:v>5.1259217323702222</c:v>
                </c:pt>
                <c:pt idx="4027">
                  <c:v>5.7906408308810349</c:v>
                </c:pt>
                <c:pt idx="4028">
                  <c:v>5.93688548309742</c:v>
                </c:pt>
                <c:pt idx="4029">
                  <c:v>6.2201041571186364</c:v>
                </c:pt>
                <c:pt idx="4030">
                  <c:v>4.8842224498140432</c:v>
                </c:pt>
                <c:pt idx="4031">
                  <c:v>7.034773252022374</c:v>
                </c:pt>
                <c:pt idx="4032">
                  <c:v>5.9637980044367493</c:v>
                </c:pt>
                <c:pt idx="4033">
                  <c:v>5.0756214145510858</c:v>
                </c:pt>
                <c:pt idx="4034">
                  <c:v>5.0458980342867568</c:v>
                </c:pt>
                <c:pt idx="4035">
                  <c:v>5.0237730093026123</c:v>
                </c:pt>
                <c:pt idx="4036">
                  <c:v>5.7610386755219976</c:v>
                </c:pt>
                <c:pt idx="4037">
                  <c:v>5.7379868839178583</c:v>
                </c:pt>
                <c:pt idx="4038">
                  <c:v>6.0242406111236351</c:v>
                </c:pt>
                <c:pt idx="4039">
                  <c:v>6.0496796146405698</c:v>
                </c:pt>
                <c:pt idx="4040">
                  <c:v>5.0984328228003557</c:v>
                </c:pt>
                <c:pt idx="4041">
                  <c:v>6.1350270035102428</c:v>
                </c:pt>
                <c:pt idx="4042">
                  <c:v>4.8691942608820469</c:v>
                </c:pt>
                <c:pt idx="4043">
                  <c:v>5.1496853388025903</c:v>
                </c:pt>
                <c:pt idx="4044">
                  <c:v>5.9526650222941706</c:v>
                </c:pt>
                <c:pt idx="4045">
                  <c:v>5.902435800432114</c:v>
                </c:pt>
                <c:pt idx="4046">
                  <c:v>5.0005942884679957</c:v>
                </c:pt>
                <c:pt idx="4047">
                  <c:v>5.9509370954632281</c:v>
                </c:pt>
                <c:pt idx="4048">
                  <c:v>5.1050311054347803</c:v>
                </c:pt>
                <c:pt idx="4049">
                  <c:v>5.0269718276093247</c:v>
                </c:pt>
                <c:pt idx="4050">
                  <c:v>6.0113548497670388</c:v>
                </c:pt>
                <c:pt idx="4051">
                  <c:v>4.9734897634390132</c:v>
                </c:pt>
                <c:pt idx="4052">
                  <c:v>5.0323609348160412</c:v>
                </c:pt>
                <c:pt idx="4053">
                  <c:v>6.0148812406540291</c:v>
                </c:pt>
                <c:pt idx="4054">
                  <c:v>6.0427155796833896</c:v>
                </c:pt>
                <c:pt idx="4055">
                  <c:v>5.0089777627719823</c:v>
                </c:pt>
                <c:pt idx="4056">
                  <c:v>5.9725111914354185</c:v>
                </c:pt>
                <c:pt idx="4057">
                  <c:v>6.050270421926121</c:v>
                </c:pt>
                <c:pt idx="4058">
                  <c:v>7.0999589438252695</c:v>
                </c:pt>
                <c:pt idx="4059">
                  <c:v>5.1340364086216033</c:v>
                </c:pt>
                <c:pt idx="4060">
                  <c:v>5.9953001306355613</c:v>
                </c:pt>
                <c:pt idx="4061">
                  <c:v>5.8685530434543658</c:v>
                </c:pt>
                <c:pt idx="4062">
                  <c:v>6.1707316009106297</c:v>
                </c:pt>
                <c:pt idx="4063">
                  <c:v>5.0551493212182104</c:v>
                </c:pt>
                <c:pt idx="4064">
                  <c:v>6.8971093721827295</c:v>
                </c:pt>
                <c:pt idx="4065">
                  <c:v>6.0682492543646394</c:v>
                </c:pt>
                <c:pt idx="4066">
                  <c:v>5.0636394091450248</c:v>
                </c:pt>
                <c:pt idx="4067">
                  <c:v>6.9923514705955405</c:v>
                </c:pt>
                <c:pt idx="4068">
                  <c:v>5.0303154629897602</c:v>
                </c:pt>
                <c:pt idx="4069">
                  <c:v>7.0475938871263883</c:v>
                </c:pt>
                <c:pt idx="4070">
                  <c:v>6.0501303823920392</c:v>
                </c:pt>
                <c:pt idx="4071">
                  <c:v>4.9414958031981469</c:v>
                </c:pt>
                <c:pt idx="4072">
                  <c:v>6.871810362223937</c:v>
                </c:pt>
                <c:pt idx="4073">
                  <c:v>7.0049773491910505</c:v>
                </c:pt>
                <c:pt idx="4074">
                  <c:v>5.9722893395312289</c:v>
                </c:pt>
                <c:pt idx="4075">
                  <c:v>5.0763663164909962</c:v>
                </c:pt>
                <c:pt idx="4076">
                  <c:v>4.0950245083037862</c:v>
                </c:pt>
                <c:pt idx="4077">
                  <c:v>5.0813879013226675</c:v>
                </c:pt>
                <c:pt idx="4078">
                  <c:v>3.8960831876132604</c:v>
                </c:pt>
                <c:pt idx="4079">
                  <c:v>4.9552722591246523</c:v>
                </c:pt>
                <c:pt idx="4080">
                  <c:v>5.8970996750677509</c:v>
                </c:pt>
                <c:pt idx="4081">
                  <c:v>5.0448975151210078</c:v>
                </c:pt>
                <c:pt idx="4082">
                  <c:v>5.9894576823621932</c:v>
                </c:pt>
                <c:pt idx="4083">
                  <c:v>5.0100576441539522</c:v>
                </c:pt>
                <c:pt idx="4084">
                  <c:v>4.8305270802996958</c:v>
                </c:pt>
                <c:pt idx="4085">
                  <c:v>6.0227697289652706</c:v>
                </c:pt>
                <c:pt idx="4086">
                  <c:v>6.0776469108529758</c:v>
                </c:pt>
                <c:pt idx="4087">
                  <c:v>7.0196183663879559</c:v>
                </c:pt>
                <c:pt idx="4088">
                  <c:v>4.9873990827833241</c:v>
                </c:pt>
                <c:pt idx="4089">
                  <c:v>5.0536217225754294</c:v>
                </c:pt>
                <c:pt idx="4090">
                  <c:v>4.9839711213727167</c:v>
                </c:pt>
                <c:pt idx="4091">
                  <c:v>5.0809858437595006</c:v>
                </c:pt>
                <c:pt idx="4092">
                  <c:v>5.0864984503288042</c:v>
                </c:pt>
                <c:pt idx="4093">
                  <c:v>5.8790900148510143</c:v>
                </c:pt>
                <c:pt idx="4094">
                  <c:v>6.0395159643750276</c:v>
                </c:pt>
                <c:pt idx="4095">
                  <c:v>4.9823813173840703</c:v>
                </c:pt>
                <c:pt idx="4096">
                  <c:v>7.0351168782158275</c:v>
                </c:pt>
                <c:pt idx="4097">
                  <c:v>5.0667081478428901</c:v>
                </c:pt>
                <c:pt idx="4098">
                  <c:v>4.9475803315368463</c:v>
                </c:pt>
                <c:pt idx="4099">
                  <c:v>2.9858527516942246</c:v>
                </c:pt>
                <c:pt idx="4100">
                  <c:v>7.1217313055201599</c:v>
                </c:pt>
                <c:pt idx="4101">
                  <c:v>6.0666463427966448</c:v>
                </c:pt>
                <c:pt idx="4102">
                  <c:v>6.204059728254391</c:v>
                </c:pt>
                <c:pt idx="4103">
                  <c:v>6.0436903082615272</c:v>
                </c:pt>
                <c:pt idx="4104">
                  <c:v>5.8654170002334576</c:v>
                </c:pt>
                <c:pt idx="4105">
                  <c:v>5.8908105806382096</c:v>
                </c:pt>
                <c:pt idx="4106">
                  <c:v>4.9149620112420935</c:v>
                </c:pt>
                <c:pt idx="4107">
                  <c:v>5.9234589640474553</c:v>
                </c:pt>
                <c:pt idx="4108">
                  <c:v>5.9406724760605734</c:v>
                </c:pt>
                <c:pt idx="4109">
                  <c:v>5.9051657821816095</c:v>
                </c:pt>
                <c:pt idx="4110">
                  <c:v>5.2457270881376949</c:v>
                </c:pt>
                <c:pt idx="4111">
                  <c:v>5.0372900296404231</c:v>
                </c:pt>
                <c:pt idx="4112">
                  <c:v>4.9283286453870661</c:v>
                </c:pt>
                <c:pt idx="4113">
                  <c:v>5.9981927209936226</c:v>
                </c:pt>
                <c:pt idx="4114">
                  <c:v>4.8431357933351187</c:v>
                </c:pt>
                <c:pt idx="4115">
                  <c:v>5.0405070642741112</c:v>
                </c:pt>
                <c:pt idx="4116">
                  <c:v>6.0674727910519852</c:v>
                </c:pt>
                <c:pt idx="4117">
                  <c:v>6.2372352381349137</c:v>
                </c:pt>
                <c:pt idx="4118">
                  <c:v>4.9840690070352993</c:v>
                </c:pt>
                <c:pt idx="4119">
                  <c:v>6.0736013546764847</c:v>
                </c:pt>
                <c:pt idx="4120">
                  <c:v>5.0266469388181241</c:v>
                </c:pt>
                <c:pt idx="4121">
                  <c:v>5.9423032914582539</c:v>
                </c:pt>
                <c:pt idx="4122">
                  <c:v>4.9450244462720274</c:v>
                </c:pt>
                <c:pt idx="4123">
                  <c:v>7.0955673809816968</c:v>
                </c:pt>
                <c:pt idx="4124">
                  <c:v>4.904906641314839</c:v>
                </c:pt>
                <c:pt idx="4125">
                  <c:v>5.8839770459029799</c:v>
                </c:pt>
                <c:pt idx="4126">
                  <c:v>4.9453494082015013</c:v>
                </c:pt>
                <c:pt idx="4127">
                  <c:v>5.1088836623833398</c:v>
                </c:pt>
                <c:pt idx="4128">
                  <c:v>5.9793234737306991</c:v>
                </c:pt>
                <c:pt idx="4129">
                  <c:v>4.8994675806974879</c:v>
                </c:pt>
                <c:pt idx="4130">
                  <c:v>4.8948902246717658</c:v>
                </c:pt>
                <c:pt idx="4131">
                  <c:v>4.9483863462425539</c:v>
                </c:pt>
                <c:pt idx="4132">
                  <c:v>4.816304734368023</c:v>
                </c:pt>
                <c:pt idx="4133">
                  <c:v>5.9641116287156271</c:v>
                </c:pt>
                <c:pt idx="4134">
                  <c:v>5.0544281514561575</c:v>
                </c:pt>
                <c:pt idx="4135">
                  <c:v>5.1689779300914811</c:v>
                </c:pt>
                <c:pt idx="4136">
                  <c:v>5.0181521143589176</c:v>
                </c:pt>
                <c:pt idx="4137">
                  <c:v>5.9972767501978588</c:v>
                </c:pt>
                <c:pt idx="4138">
                  <c:v>4.9547000327977972</c:v>
                </c:pt>
                <c:pt idx="4139">
                  <c:v>5.1179297721862298</c:v>
                </c:pt>
                <c:pt idx="4140">
                  <c:v>4.7830351467226144</c:v>
                </c:pt>
                <c:pt idx="4141">
                  <c:v>6.0015790385254739</c:v>
                </c:pt>
                <c:pt idx="4142">
                  <c:v>6.0998743166582647</c:v>
                </c:pt>
                <c:pt idx="4143">
                  <c:v>4.9639798217177304</c:v>
                </c:pt>
                <c:pt idx="4144">
                  <c:v>4.9692878383242265</c:v>
                </c:pt>
                <c:pt idx="4145">
                  <c:v>5.0990854611478804</c:v>
                </c:pt>
                <c:pt idx="4146">
                  <c:v>5.9681043855993181</c:v>
                </c:pt>
                <c:pt idx="4147">
                  <c:v>7.1050843731017714</c:v>
                </c:pt>
                <c:pt idx="4148">
                  <c:v>5.0068709656507435</c:v>
                </c:pt>
                <c:pt idx="4149">
                  <c:v>5.9451790847733017</c:v>
                </c:pt>
                <c:pt idx="4150">
                  <c:v>5.0255094519959709</c:v>
                </c:pt>
                <c:pt idx="4151">
                  <c:v>6.0827622868830549</c:v>
                </c:pt>
                <c:pt idx="4152">
                  <c:v>6.9852511164241911</c:v>
                </c:pt>
                <c:pt idx="4153">
                  <c:v>7.0300231794764398</c:v>
                </c:pt>
                <c:pt idx="4154">
                  <c:v>4.9876816584992785</c:v>
                </c:pt>
                <c:pt idx="4155">
                  <c:v>7.0846695007332938</c:v>
                </c:pt>
                <c:pt idx="4156">
                  <c:v>5.9412605599630899</c:v>
                </c:pt>
                <c:pt idx="4157">
                  <c:v>6.0542632734920954</c:v>
                </c:pt>
                <c:pt idx="4158">
                  <c:v>6.9021337463812573</c:v>
                </c:pt>
                <c:pt idx="4159">
                  <c:v>6.8359920332431727</c:v>
                </c:pt>
                <c:pt idx="4160">
                  <c:v>5.0042710897424261</c:v>
                </c:pt>
                <c:pt idx="4161">
                  <c:v>7.0349376929078797</c:v>
                </c:pt>
                <c:pt idx="4162">
                  <c:v>6.95758891337434</c:v>
                </c:pt>
                <c:pt idx="4163">
                  <c:v>7.0638933810207742</c:v>
                </c:pt>
                <c:pt idx="4164">
                  <c:v>6.9729377311048797</c:v>
                </c:pt>
                <c:pt idx="4165">
                  <c:v>5.1774553328357182</c:v>
                </c:pt>
                <c:pt idx="4166">
                  <c:v>5.1034425083149628</c:v>
                </c:pt>
                <c:pt idx="4167">
                  <c:v>6.8353910816923626</c:v>
                </c:pt>
                <c:pt idx="4168">
                  <c:v>5.1685895386687708</c:v>
                </c:pt>
                <c:pt idx="4169">
                  <c:v>6.9555287115909188</c:v>
                </c:pt>
                <c:pt idx="4170">
                  <c:v>5.9468233191474811</c:v>
                </c:pt>
                <c:pt idx="4171">
                  <c:v>4.9584947037997216</c:v>
                </c:pt>
                <c:pt idx="4172">
                  <c:v>5.9708250157113341</c:v>
                </c:pt>
                <c:pt idx="4173">
                  <c:v>5.0151903322428577</c:v>
                </c:pt>
                <c:pt idx="4174">
                  <c:v>4.999301519924531</c:v>
                </c:pt>
                <c:pt idx="4175">
                  <c:v>6.2639142802026626</c:v>
                </c:pt>
                <c:pt idx="4176">
                  <c:v>4.845676869750581</c:v>
                </c:pt>
                <c:pt idx="4177">
                  <c:v>4.9638270451256652</c:v>
                </c:pt>
                <c:pt idx="4178">
                  <c:v>5.938493867635902</c:v>
                </c:pt>
                <c:pt idx="4179">
                  <c:v>5.076317090221738</c:v>
                </c:pt>
                <c:pt idx="4180">
                  <c:v>5.1009443732012052</c:v>
                </c:pt>
                <c:pt idx="4181">
                  <c:v>5.9855841959641625</c:v>
                </c:pt>
                <c:pt idx="4182">
                  <c:v>4.9858395934218063</c:v>
                </c:pt>
                <c:pt idx="4183">
                  <c:v>5.0939396820832821</c:v>
                </c:pt>
                <c:pt idx="4184">
                  <c:v>5.0940516443009383</c:v>
                </c:pt>
                <c:pt idx="4185">
                  <c:v>4.9802398608153116</c:v>
                </c:pt>
                <c:pt idx="4186">
                  <c:v>4.9570743970165445</c:v>
                </c:pt>
                <c:pt idx="4187">
                  <c:v>4.9801661030050095</c:v>
                </c:pt>
                <c:pt idx="4188">
                  <c:v>6.0808983850632989</c:v>
                </c:pt>
                <c:pt idx="4189">
                  <c:v>5.0624186387232974</c:v>
                </c:pt>
                <c:pt idx="4190">
                  <c:v>5.0967858440275018</c:v>
                </c:pt>
                <c:pt idx="4191">
                  <c:v>5.0124754090250105</c:v>
                </c:pt>
                <c:pt idx="4192">
                  <c:v>4.940550430354512</c:v>
                </c:pt>
                <c:pt idx="4193">
                  <c:v>5.0207281347389872</c:v>
                </c:pt>
                <c:pt idx="4194">
                  <c:v>4.796709736630576</c:v>
                </c:pt>
                <c:pt idx="4195">
                  <c:v>5.2421566813666818</c:v>
                </c:pt>
                <c:pt idx="4196">
                  <c:v>4.9646693303753739</c:v>
                </c:pt>
                <c:pt idx="4197">
                  <c:v>6.0533817062977215</c:v>
                </c:pt>
                <c:pt idx="4198">
                  <c:v>4.9996104967819885</c:v>
                </c:pt>
                <c:pt idx="4199">
                  <c:v>5.1080685670502133</c:v>
                </c:pt>
                <c:pt idx="4200">
                  <c:v>4.8495836710543294</c:v>
                </c:pt>
                <c:pt idx="4201">
                  <c:v>5.1439292987220711</c:v>
                </c:pt>
                <c:pt idx="4202">
                  <c:v>5.0131620468278495</c:v>
                </c:pt>
                <c:pt idx="4203">
                  <c:v>6.0069969215233465</c:v>
                </c:pt>
                <c:pt idx="4204">
                  <c:v>5.881495391323452</c:v>
                </c:pt>
                <c:pt idx="4205">
                  <c:v>4.9040017682447248</c:v>
                </c:pt>
                <c:pt idx="4206">
                  <c:v>6.1061869502246084</c:v>
                </c:pt>
                <c:pt idx="4207">
                  <c:v>5.1023393592353807</c:v>
                </c:pt>
                <c:pt idx="4208">
                  <c:v>5.2121969480851629</c:v>
                </c:pt>
                <c:pt idx="4209">
                  <c:v>5.0101988706000329</c:v>
                </c:pt>
                <c:pt idx="4210">
                  <c:v>6.0902990788972442</c:v>
                </c:pt>
                <c:pt idx="4211">
                  <c:v>5.8348237130656431</c:v>
                </c:pt>
                <c:pt idx="4212">
                  <c:v>4.9871845453153654</c:v>
                </c:pt>
                <c:pt idx="4213">
                  <c:v>5.1158533847677852</c:v>
                </c:pt>
                <c:pt idx="4214">
                  <c:v>5.0037863524838206</c:v>
                </c:pt>
                <c:pt idx="4215">
                  <c:v>4.9375397674493247</c:v>
                </c:pt>
                <c:pt idx="4216">
                  <c:v>6.0075643693815568</c:v>
                </c:pt>
                <c:pt idx="4217">
                  <c:v>6.2541813711160801</c:v>
                </c:pt>
                <c:pt idx="4218">
                  <c:v>5.0682547920137306</c:v>
                </c:pt>
                <c:pt idx="4219">
                  <c:v>5.9616824043380099</c:v>
                </c:pt>
                <c:pt idx="4220">
                  <c:v>4.9709264885830002</c:v>
                </c:pt>
                <c:pt idx="4221">
                  <c:v>6.8526353576480172</c:v>
                </c:pt>
                <c:pt idx="4222">
                  <c:v>5.0186457323913505</c:v>
                </c:pt>
                <c:pt idx="4223">
                  <c:v>5.9560673969735571</c:v>
                </c:pt>
                <c:pt idx="4224">
                  <c:v>5.0061484695645682</c:v>
                </c:pt>
                <c:pt idx="4225">
                  <c:v>4.996240113671707</c:v>
                </c:pt>
                <c:pt idx="4226">
                  <c:v>6.203164573123404</c:v>
                </c:pt>
                <c:pt idx="4227">
                  <c:v>6.0444419250822818</c:v>
                </c:pt>
                <c:pt idx="4228">
                  <c:v>5.9685293435859288</c:v>
                </c:pt>
                <c:pt idx="4229">
                  <c:v>6.022884598454973</c:v>
                </c:pt>
                <c:pt idx="4230">
                  <c:v>4.957508191623508</c:v>
                </c:pt>
                <c:pt idx="4231">
                  <c:v>4.9906317689686093</c:v>
                </c:pt>
                <c:pt idx="4232">
                  <c:v>5.1539669833683481</c:v>
                </c:pt>
                <c:pt idx="4233">
                  <c:v>5.0276943246612005</c:v>
                </c:pt>
                <c:pt idx="4234">
                  <c:v>6.0058727994010033</c:v>
                </c:pt>
                <c:pt idx="4235">
                  <c:v>4.9934643738223885</c:v>
                </c:pt>
                <c:pt idx="4236">
                  <c:v>7.0806514830218648</c:v>
                </c:pt>
                <c:pt idx="4237">
                  <c:v>6.1490610094068936</c:v>
                </c:pt>
                <c:pt idx="4238">
                  <c:v>4.8949542418686791</c:v>
                </c:pt>
                <c:pt idx="4239">
                  <c:v>7.0181128736973974</c:v>
                </c:pt>
                <c:pt idx="4240">
                  <c:v>4.8943534369859476</c:v>
                </c:pt>
                <c:pt idx="4241">
                  <c:v>5.1790671608481249</c:v>
                </c:pt>
                <c:pt idx="4242">
                  <c:v>4.9172663373812142</c:v>
                </c:pt>
                <c:pt idx="4243">
                  <c:v>4.9470796207801415</c:v>
                </c:pt>
                <c:pt idx="4244">
                  <c:v>7.1528561955491679</c:v>
                </c:pt>
                <c:pt idx="4245">
                  <c:v>5.082182005906013</c:v>
                </c:pt>
                <c:pt idx="4246">
                  <c:v>4.8608196337160896</c:v>
                </c:pt>
                <c:pt idx="4247">
                  <c:v>5.054267784338915</c:v>
                </c:pt>
                <c:pt idx="4248">
                  <c:v>4.8730188084038124</c:v>
                </c:pt>
                <c:pt idx="4249">
                  <c:v>7.1112782733891411</c:v>
                </c:pt>
                <c:pt idx="4250">
                  <c:v>6.0670046444795567</c:v>
                </c:pt>
                <c:pt idx="4251">
                  <c:v>5.8872623240941024</c:v>
                </c:pt>
                <c:pt idx="4252">
                  <c:v>5.8638665714793898</c:v>
                </c:pt>
                <c:pt idx="4253">
                  <c:v>5.054638854852981</c:v>
                </c:pt>
                <c:pt idx="4254">
                  <c:v>5.067060520031891</c:v>
                </c:pt>
                <c:pt idx="4255">
                  <c:v>5.0976067957522648</c:v>
                </c:pt>
                <c:pt idx="4256">
                  <c:v>6.0638676888185969</c:v>
                </c:pt>
                <c:pt idx="4257">
                  <c:v>5.1005859741225619</c:v>
                </c:pt>
                <c:pt idx="4258">
                  <c:v>4.8672217410461265</c:v>
                </c:pt>
                <c:pt idx="4259">
                  <c:v>5.9952141840946389</c:v>
                </c:pt>
                <c:pt idx="4260">
                  <c:v>5.9709242755722096</c:v>
                </c:pt>
                <c:pt idx="4261">
                  <c:v>4.9519821510157174</c:v>
                </c:pt>
                <c:pt idx="4262">
                  <c:v>5.048076721828135</c:v>
                </c:pt>
                <c:pt idx="4263">
                  <c:v>4.9286067499500437</c:v>
                </c:pt>
                <c:pt idx="4264">
                  <c:v>5.1402578139269322</c:v>
                </c:pt>
                <c:pt idx="4265">
                  <c:v>4.001051704878523</c:v>
                </c:pt>
                <c:pt idx="4266">
                  <c:v>5.0644185562626216</c:v>
                </c:pt>
                <c:pt idx="4267">
                  <c:v>4.8665391111037808</c:v>
                </c:pt>
                <c:pt idx="4268">
                  <c:v>5.0823181867790241</c:v>
                </c:pt>
                <c:pt idx="4269">
                  <c:v>5.0352845017196763</c:v>
                </c:pt>
                <c:pt idx="4270">
                  <c:v>5.1675983201723179</c:v>
                </c:pt>
                <c:pt idx="4271">
                  <c:v>4.9262849338175005</c:v>
                </c:pt>
                <c:pt idx="4272">
                  <c:v>5.0335966597793957</c:v>
                </c:pt>
                <c:pt idx="4273">
                  <c:v>5.0029192518405488</c:v>
                </c:pt>
                <c:pt idx="4274">
                  <c:v>5.1015228573719593</c:v>
                </c:pt>
                <c:pt idx="4275">
                  <c:v>4.9335208045431305</c:v>
                </c:pt>
                <c:pt idx="4276">
                  <c:v>4.8899598407951723</c:v>
                </c:pt>
                <c:pt idx="4277">
                  <c:v>4.9233370701545898</c:v>
                </c:pt>
                <c:pt idx="4278">
                  <c:v>5.7124374656304955</c:v>
                </c:pt>
                <c:pt idx="4279">
                  <c:v>4.816716662051153</c:v>
                </c:pt>
                <c:pt idx="4280">
                  <c:v>5.8534355051522811</c:v>
                </c:pt>
                <c:pt idx="4281">
                  <c:v>6.9889303456971321</c:v>
                </c:pt>
                <c:pt idx="4282">
                  <c:v>6.0584593967564055</c:v>
                </c:pt>
                <c:pt idx="4283">
                  <c:v>6.0455986443636043</c:v>
                </c:pt>
                <c:pt idx="4284">
                  <c:v>4.9970752040470749</c:v>
                </c:pt>
                <c:pt idx="4285">
                  <c:v>5.0354453607152214</c:v>
                </c:pt>
                <c:pt idx="4286">
                  <c:v>4.8580635906206933</c:v>
                </c:pt>
                <c:pt idx="4287">
                  <c:v>5.8213498668139545</c:v>
                </c:pt>
                <c:pt idx="4288">
                  <c:v>5.9040762246902183</c:v>
                </c:pt>
                <c:pt idx="4289">
                  <c:v>7.0462244935927609</c:v>
                </c:pt>
                <c:pt idx="4290">
                  <c:v>4.9808702486954095</c:v>
                </c:pt>
                <c:pt idx="4291">
                  <c:v>6.022757765848298</c:v>
                </c:pt>
                <c:pt idx="4292">
                  <c:v>6.12633890626332</c:v>
                </c:pt>
                <c:pt idx="4293">
                  <c:v>4.9350172564717099</c:v>
                </c:pt>
                <c:pt idx="4294">
                  <c:v>7.1826944257398182</c:v>
                </c:pt>
                <c:pt idx="4295">
                  <c:v>5.9904704379232578</c:v>
                </c:pt>
                <c:pt idx="4296">
                  <c:v>6.0086313262418587</c:v>
                </c:pt>
                <c:pt idx="4297">
                  <c:v>7.1654905327753085</c:v>
                </c:pt>
                <c:pt idx="4298">
                  <c:v>4.8719061240977677</c:v>
                </c:pt>
                <c:pt idx="4299">
                  <c:v>5.1873565700874851</c:v>
                </c:pt>
                <c:pt idx="4300">
                  <c:v>5.95769125587214</c:v>
                </c:pt>
                <c:pt idx="4301">
                  <c:v>5.0148647413630778</c:v>
                </c:pt>
                <c:pt idx="4302">
                  <c:v>5.930826813092696</c:v>
                </c:pt>
                <c:pt idx="4303">
                  <c:v>6.7365037901870526</c:v>
                </c:pt>
                <c:pt idx="4304">
                  <c:v>5.0383512581651253</c:v>
                </c:pt>
                <c:pt idx="4305">
                  <c:v>5.0231168774549584</c:v>
                </c:pt>
                <c:pt idx="4306">
                  <c:v>6.9342681573570006</c:v>
                </c:pt>
                <c:pt idx="4307">
                  <c:v>5.8970699485571174</c:v>
                </c:pt>
                <c:pt idx="4308">
                  <c:v>5.8988291481711208</c:v>
                </c:pt>
                <c:pt idx="4309">
                  <c:v>4.9562653814578983</c:v>
                </c:pt>
                <c:pt idx="4310">
                  <c:v>6.0312412364382864</c:v>
                </c:pt>
                <c:pt idx="4311">
                  <c:v>5.1062760232943969</c:v>
                </c:pt>
                <c:pt idx="4312">
                  <c:v>5.1089588142446578</c:v>
                </c:pt>
                <c:pt idx="4313">
                  <c:v>4.0104242328298305</c:v>
                </c:pt>
                <c:pt idx="4314">
                  <c:v>7.0647931145077747</c:v>
                </c:pt>
                <c:pt idx="4315">
                  <c:v>5.0250303512713632</c:v>
                </c:pt>
                <c:pt idx="4316">
                  <c:v>4.98075799060768</c:v>
                </c:pt>
                <c:pt idx="4317">
                  <c:v>5.8922050296338551</c:v>
                </c:pt>
                <c:pt idx="4318">
                  <c:v>5.0770697222577095</c:v>
                </c:pt>
                <c:pt idx="4319">
                  <c:v>4.9915302499395828</c:v>
                </c:pt>
                <c:pt idx="4320">
                  <c:v>5.021385771033291</c:v>
                </c:pt>
                <c:pt idx="4321">
                  <c:v>5.9051499325790653</c:v>
                </c:pt>
                <c:pt idx="4322">
                  <c:v>5.2192914262392707</c:v>
                </c:pt>
                <c:pt idx="4323">
                  <c:v>5.9127378560679498</c:v>
                </c:pt>
                <c:pt idx="4324">
                  <c:v>4.9989106253741999</c:v>
                </c:pt>
                <c:pt idx="4325">
                  <c:v>6.2320720087940922</c:v>
                </c:pt>
                <c:pt idx="4326">
                  <c:v>6.0406498227701544</c:v>
                </c:pt>
                <c:pt idx="4327">
                  <c:v>4.8265640902047249</c:v>
                </c:pt>
                <c:pt idx="4328">
                  <c:v>4.9172905364027502</c:v>
                </c:pt>
                <c:pt idx="4329">
                  <c:v>5.0672938993402781</c:v>
                </c:pt>
                <c:pt idx="4330">
                  <c:v>5.12638488995833</c:v>
                </c:pt>
                <c:pt idx="4331">
                  <c:v>4.881319188625862</c:v>
                </c:pt>
                <c:pt idx="4332">
                  <c:v>5.0072780504468124</c:v>
                </c:pt>
                <c:pt idx="4333">
                  <c:v>3.9532258124489594</c:v>
                </c:pt>
                <c:pt idx="4334">
                  <c:v>5.8685619479914228</c:v>
                </c:pt>
                <c:pt idx="4335">
                  <c:v>4.9533749010400463</c:v>
                </c:pt>
                <c:pt idx="4336">
                  <c:v>5.9335782455842629</c:v>
                </c:pt>
                <c:pt idx="4337">
                  <c:v>4.940809966335113</c:v>
                </c:pt>
                <c:pt idx="4338">
                  <c:v>5.9135304060300689</c:v>
                </c:pt>
                <c:pt idx="4339">
                  <c:v>4.8950138783734722</c:v>
                </c:pt>
                <c:pt idx="4340">
                  <c:v>6.9261938617824637</c:v>
                </c:pt>
                <c:pt idx="4341">
                  <c:v>5.8074734873857219</c:v>
                </c:pt>
                <c:pt idx="4342">
                  <c:v>5.8606645363485343</c:v>
                </c:pt>
                <c:pt idx="4343">
                  <c:v>5.184677652780314</c:v>
                </c:pt>
                <c:pt idx="4344">
                  <c:v>5.0982591839163991</c:v>
                </c:pt>
                <c:pt idx="4345">
                  <c:v>5.0757304703781569</c:v>
                </c:pt>
                <c:pt idx="4346">
                  <c:v>4.9078298626039389</c:v>
                </c:pt>
                <c:pt idx="4347">
                  <c:v>4.9616392143715435</c:v>
                </c:pt>
                <c:pt idx="4348">
                  <c:v>6.0366235142175499</c:v>
                </c:pt>
                <c:pt idx="4349">
                  <c:v>4.9089619366734034</c:v>
                </c:pt>
                <c:pt idx="4350">
                  <c:v>5.2305171485189765</c:v>
                </c:pt>
                <c:pt idx="4351">
                  <c:v>5.7914741143575954</c:v>
                </c:pt>
                <c:pt idx="4352">
                  <c:v>6.0202545718980334</c:v>
                </c:pt>
                <c:pt idx="4353">
                  <c:v>5.1212090333774869</c:v>
                </c:pt>
                <c:pt idx="4354">
                  <c:v>5.8992712285292468</c:v>
                </c:pt>
                <c:pt idx="4355">
                  <c:v>5.0653259795651833</c:v>
                </c:pt>
                <c:pt idx="4356">
                  <c:v>5.9425318921478603</c:v>
                </c:pt>
                <c:pt idx="4357">
                  <c:v>7.1326119897817533</c:v>
                </c:pt>
                <c:pt idx="4358">
                  <c:v>4.9600075250717719</c:v>
                </c:pt>
                <c:pt idx="4359">
                  <c:v>4.9329346128770535</c:v>
                </c:pt>
                <c:pt idx="4360">
                  <c:v>4.9323708260837735</c:v>
                </c:pt>
                <c:pt idx="4361">
                  <c:v>4.8816622871550646</c:v>
                </c:pt>
                <c:pt idx="4362">
                  <c:v>6.0268582967730993</c:v>
                </c:pt>
                <c:pt idx="4363">
                  <c:v>6.9230645750695938</c:v>
                </c:pt>
                <c:pt idx="4364">
                  <c:v>5.0600515320743522</c:v>
                </c:pt>
                <c:pt idx="4365">
                  <c:v>4.9867877438202379</c:v>
                </c:pt>
                <c:pt idx="4366">
                  <c:v>5.1255253170298971</c:v>
                </c:pt>
                <c:pt idx="4367">
                  <c:v>4.8326919707836122</c:v>
                </c:pt>
                <c:pt idx="4368">
                  <c:v>5.0147927453911647</c:v>
                </c:pt>
                <c:pt idx="4369">
                  <c:v>5.0489568293068485</c:v>
                </c:pt>
                <c:pt idx="4370">
                  <c:v>5.9256638668980308</c:v>
                </c:pt>
                <c:pt idx="4371">
                  <c:v>6.1550627260674062</c:v>
                </c:pt>
                <c:pt idx="4372">
                  <c:v>4.8931620267337497</c:v>
                </c:pt>
                <c:pt idx="4373">
                  <c:v>5.9372161693032588</c:v>
                </c:pt>
                <c:pt idx="4374">
                  <c:v>6.2408843863311638</c:v>
                </c:pt>
                <c:pt idx="4375">
                  <c:v>5.0729594326674352</c:v>
                </c:pt>
                <c:pt idx="4376">
                  <c:v>6.0304339884616613</c:v>
                </c:pt>
                <c:pt idx="4377">
                  <c:v>5.0468347205032922</c:v>
                </c:pt>
                <c:pt idx="4378">
                  <c:v>6.0173969112747185</c:v>
                </c:pt>
                <c:pt idx="4379">
                  <c:v>4.9482203755249641</c:v>
                </c:pt>
                <c:pt idx="4380">
                  <c:v>6.0208030413290752</c:v>
                </c:pt>
                <c:pt idx="4381">
                  <c:v>6.031888318143853</c:v>
                </c:pt>
                <c:pt idx="4382">
                  <c:v>4.9040572713472086</c:v>
                </c:pt>
                <c:pt idx="4383">
                  <c:v>5.9714432335224412</c:v>
                </c:pt>
                <c:pt idx="4384">
                  <c:v>3.9194828788431773</c:v>
                </c:pt>
                <c:pt idx="4385">
                  <c:v>6.018907437381892</c:v>
                </c:pt>
                <c:pt idx="4386">
                  <c:v>6.01260572748199</c:v>
                </c:pt>
                <c:pt idx="4387">
                  <c:v>6.1725326868410377</c:v>
                </c:pt>
                <c:pt idx="4388">
                  <c:v>4.9725071993809999</c:v>
                </c:pt>
                <c:pt idx="4389">
                  <c:v>6.07346432980414</c:v>
                </c:pt>
                <c:pt idx="4390">
                  <c:v>6.0127524814991622</c:v>
                </c:pt>
                <c:pt idx="4391">
                  <c:v>6.0532880826277085</c:v>
                </c:pt>
                <c:pt idx="4392">
                  <c:v>5.2472564792408232</c:v>
                </c:pt>
                <c:pt idx="4393">
                  <c:v>5.040987169282527</c:v>
                </c:pt>
                <c:pt idx="4394">
                  <c:v>5.0517204979314743</c:v>
                </c:pt>
                <c:pt idx="4395">
                  <c:v>5.1228095948705175</c:v>
                </c:pt>
                <c:pt idx="4396">
                  <c:v>4.9589218562201705</c:v>
                </c:pt>
                <c:pt idx="4397">
                  <c:v>6.0532419229516572</c:v>
                </c:pt>
                <c:pt idx="4398">
                  <c:v>5.7710897647848451</c:v>
                </c:pt>
                <c:pt idx="4399">
                  <c:v>6.0644832739141448</c:v>
                </c:pt>
                <c:pt idx="4400">
                  <c:v>6.7976613293641215</c:v>
                </c:pt>
                <c:pt idx="4401">
                  <c:v>6.0467245722116623</c:v>
                </c:pt>
                <c:pt idx="4402">
                  <c:v>5.9295970809296037</c:v>
                </c:pt>
                <c:pt idx="4403">
                  <c:v>4.9536868122626174</c:v>
                </c:pt>
                <c:pt idx="4404">
                  <c:v>6.0238408445145151</c:v>
                </c:pt>
                <c:pt idx="4405">
                  <c:v>4.9895155619139002</c:v>
                </c:pt>
                <c:pt idx="4406">
                  <c:v>5.0000492243247328</c:v>
                </c:pt>
                <c:pt idx="4407">
                  <c:v>5.9240558796837712</c:v>
                </c:pt>
                <c:pt idx="4408">
                  <c:v>5.0741816038360668</c:v>
                </c:pt>
                <c:pt idx="4409">
                  <c:v>7.0637482485241883</c:v>
                </c:pt>
                <c:pt idx="4410">
                  <c:v>5.0159517990226261</c:v>
                </c:pt>
                <c:pt idx="4411">
                  <c:v>4.9510991546549832</c:v>
                </c:pt>
                <c:pt idx="4412">
                  <c:v>6.1973375841573404</c:v>
                </c:pt>
                <c:pt idx="4413">
                  <c:v>5.778807440347542</c:v>
                </c:pt>
                <c:pt idx="4414">
                  <c:v>4.9219790562460952</c:v>
                </c:pt>
                <c:pt idx="4415">
                  <c:v>5.8745180669394479</c:v>
                </c:pt>
                <c:pt idx="4416">
                  <c:v>5.8878336068015598</c:v>
                </c:pt>
                <c:pt idx="4417">
                  <c:v>5.978245889932964</c:v>
                </c:pt>
                <c:pt idx="4418">
                  <c:v>5.0436382344335309</c:v>
                </c:pt>
                <c:pt idx="4419">
                  <c:v>6.0453154587982629</c:v>
                </c:pt>
                <c:pt idx="4420">
                  <c:v>6.0655151430853849</c:v>
                </c:pt>
                <c:pt idx="4421">
                  <c:v>5.1292954068926822</c:v>
                </c:pt>
                <c:pt idx="4422">
                  <c:v>5.0523986888736356</c:v>
                </c:pt>
                <c:pt idx="4423">
                  <c:v>5.0908507299765775</c:v>
                </c:pt>
                <c:pt idx="4424">
                  <c:v>6.0206193974796758</c:v>
                </c:pt>
                <c:pt idx="4425">
                  <c:v>4.9978527682802447</c:v>
                </c:pt>
                <c:pt idx="4426">
                  <c:v>4.8852175577188603</c:v>
                </c:pt>
                <c:pt idx="4427">
                  <c:v>8.0317367771759542</c:v>
                </c:pt>
                <c:pt idx="4428">
                  <c:v>4.0370747812271359</c:v>
                </c:pt>
                <c:pt idx="4429">
                  <c:v>4.9334587520663407</c:v>
                </c:pt>
                <c:pt idx="4430">
                  <c:v>5.2263468579476493</c:v>
                </c:pt>
                <c:pt idx="4431">
                  <c:v>5.9408971687346233</c:v>
                </c:pt>
                <c:pt idx="4432">
                  <c:v>5.1163165832143171</c:v>
                </c:pt>
                <c:pt idx="4433">
                  <c:v>5.0768354344127067</c:v>
                </c:pt>
                <c:pt idx="4434">
                  <c:v>5.0507421571195481</c:v>
                </c:pt>
                <c:pt idx="4435">
                  <c:v>6.0963058359162723</c:v>
                </c:pt>
                <c:pt idx="4436">
                  <c:v>5.9485043071321995</c:v>
                </c:pt>
                <c:pt idx="4437">
                  <c:v>4.0151443755956517</c:v>
                </c:pt>
                <c:pt idx="4438">
                  <c:v>5.1613926877667913</c:v>
                </c:pt>
                <c:pt idx="4439">
                  <c:v>4.8894846589136227</c:v>
                </c:pt>
                <c:pt idx="4440">
                  <c:v>5.9962749196134055</c:v>
                </c:pt>
                <c:pt idx="4441">
                  <c:v>6.1957948576605002</c:v>
                </c:pt>
                <c:pt idx="4442">
                  <c:v>4.947813652811524</c:v>
                </c:pt>
                <c:pt idx="4443">
                  <c:v>5.089408386384239</c:v>
                </c:pt>
                <c:pt idx="4444">
                  <c:v>5.1288795631506749</c:v>
                </c:pt>
                <c:pt idx="4445">
                  <c:v>5.8237314125220072</c:v>
                </c:pt>
                <c:pt idx="4446">
                  <c:v>4.9686409164167804</c:v>
                </c:pt>
                <c:pt idx="4447">
                  <c:v>4.9296324995156144</c:v>
                </c:pt>
                <c:pt idx="4448">
                  <c:v>5.0473012942733906</c:v>
                </c:pt>
                <c:pt idx="4449">
                  <c:v>4.9094090347038506</c:v>
                </c:pt>
                <c:pt idx="4450">
                  <c:v>5.1258121333574644</c:v>
                </c:pt>
                <c:pt idx="4451">
                  <c:v>5.9773368941781175</c:v>
                </c:pt>
                <c:pt idx="4452">
                  <c:v>4.985885688346646</c:v>
                </c:pt>
                <c:pt idx="4453">
                  <c:v>4.9460573489328263</c:v>
                </c:pt>
                <c:pt idx="4454">
                  <c:v>6.0233817045387914</c:v>
                </c:pt>
                <c:pt idx="4455">
                  <c:v>4.9342280363534785</c:v>
                </c:pt>
                <c:pt idx="4456">
                  <c:v>6.0011031747578132</c:v>
                </c:pt>
                <c:pt idx="4457">
                  <c:v>5.9645945394469289</c:v>
                </c:pt>
                <c:pt idx="4458">
                  <c:v>6.1086746618135619</c:v>
                </c:pt>
                <c:pt idx="4459">
                  <c:v>5.9875714139365845</c:v>
                </c:pt>
                <c:pt idx="4460">
                  <c:v>4.02547647041541</c:v>
                </c:pt>
                <c:pt idx="4461">
                  <c:v>4.9845244938278128</c:v>
                </c:pt>
                <c:pt idx="4462">
                  <c:v>6.1388157601178053</c:v>
                </c:pt>
                <c:pt idx="4463">
                  <c:v>6.009744332618526</c:v>
                </c:pt>
                <c:pt idx="4464">
                  <c:v>5.924209244080104</c:v>
                </c:pt>
                <c:pt idx="4465">
                  <c:v>4.9533549304865563</c:v>
                </c:pt>
                <c:pt idx="4466">
                  <c:v>5.9450106576197896</c:v>
                </c:pt>
                <c:pt idx="4467">
                  <c:v>4.9498588570791089</c:v>
                </c:pt>
                <c:pt idx="4468">
                  <c:v>6.0393399903717393</c:v>
                </c:pt>
                <c:pt idx="4469">
                  <c:v>6.0380979401283659</c:v>
                </c:pt>
                <c:pt idx="4470">
                  <c:v>4.9254946527994212</c:v>
                </c:pt>
                <c:pt idx="4471">
                  <c:v>5.0081728873816616</c:v>
                </c:pt>
                <c:pt idx="4472">
                  <c:v>5.0384671474631713</c:v>
                </c:pt>
                <c:pt idx="4473">
                  <c:v>6.1429297779774323</c:v>
                </c:pt>
                <c:pt idx="4474">
                  <c:v>4.8763519556220842</c:v>
                </c:pt>
                <c:pt idx="4475">
                  <c:v>4.9547935756292469</c:v>
                </c:pt>
                <c:pt idx="4476">
                  <c:v>6.1332362986789102</c:v>
                </c:pt>
                <c:pt idx="4477">
                  <c:v>6.0162783005311509</c:v>
                </c:pt>
                <c:pt idx="4478">
                  <c:v>6.0021251321205584</c:v>
                </c:pt>
                <c:pt idx="4479">
                  <c:v>6.0282634577148331</c:v>
                </c:pt>
                <c:pt idx="4480">
                  <c:v>5.9438011834839308</c:v>
                </c:pt>
                <c:pt idx="4481">
                  <c:v>5.9307557279523939</c:v>
                </c:pt>
                <c:pt idx="4482">
                  <c:v>5.956678134922778</c:v>
                </c:pt>
                <c:pt idx="4483">
                  <c:v>5.890405435745758</c:v>
                </c:pt>
                <c:pt idx="4484">
                  <c:v>6.0231710279700241</c:v>
                </c:pt>
                <c:pt idx="4485">
                  <c:v>5.9674630832998341</c:v>
                </c:pt>
                <c:pt idx="4486">
                  <c:v>6.0813366072409663</c:v>
                </c:pt>
                <c:pt idx="4487">
                  <c:v>6.033557579933353</c:v>
                </c:pt>
                <c:pt idx="4488">
                  <c:v>6.0152782187897582</c:v>
                </c:pt>
                <c:pt idx="4489">
                  <c:v>5.903699736674251</c:v>
                </c:pt>
                <c:pt idx="4490">
                  <c:v>5.9846873733158219</c:v>
                </c:pt>
                <c:pt idx="4491">
                  <c:v>6.0962889523619426</c:v>
                </c:pt>
                <c:pt idx="4492">
                  <c:v>6.1307360883036051</c:v>
                </c:pt>
                <c:pt idx="4493">
                  <c:v>5.7689787545653886</c:v>
                </c:pt>
                <c:pt idx="4494">
                  <c:v>5.9522691630265054</c:v>
                </c:pt>
                <c:pt idx="4495">
                  <c:v>5.9294301827296341</c:v>
                </c:pt>
                <c:pt idx="4496">
                  <c:v>5.9256148932843411</c:v>
                </c:pt>
                <c:pt idx="4497">
                  <c:v>5.9212308509033065</c:v>
                </c:pt>
                <c:pt idx="4498">
                  <c:v>6.067994863582971</c:v>
                </c:pt>
                <c:pt idx="4499">
                  <c:v>5.9016880023885072</c:v>
                </c:pt>
                <c:pt idx="4500">
                  <c:v>6.0979470151355297</c:v>
                </c:pt>
                <c:pt idx="4501">
                  <c:v>6.0144701004376913</c:v>
                </c:pt>
                <c:pt idx="4502">
                  <c:v>5.8536861051056306</c:v>
                </c:pt>
                <c:pt idx="4503">
                  <c:v>5.9769463959509199</c:v>
                </c:pt>
                <c:pt idx="4504">
                  <c:v>5.9809233488784166</c:v>
                </c:pt>
                <c:pt idx="4505">
                  <c:v>5.975999335785894</c:v>
                </c:pt>
                <c:pt idx="4506">
                  <c:v>6.0591537286188926</c:v>
                </c:pt>
                <c:pt idx="4507">
                  <c:v>6.0830724455216707</c:v>
                </c:pt>
                <c:pt idx="4508">
                  <c:v>6.1240832044739015</c:v>
                </c:pt>
                <c:pt idx="4509">
                  <c:v>5.9322312212464583</c:v>
                </c:pt>
                <c:pt idx="4510">
                  <c:v>6.0752421408750097</c:v>
                </c:pt>
                <c:pt idx="4511">
                  <c:v>5.9896142645638966</c:v>
                </c:pt>
                <c:pt idx="4512">
                  <c:v>5.9972960913812994</c:v>
                </c:pt>
                <c:pt idx="4513">
                  <c:v>5.8886840668526323</c:v>
                </c:pt>
                <c:pt idx="4514">
                  <c:v>5.8266013513251345</c:v>
                </c:pt>
                <c:pt idx="4515">
                  <c:v>6.0990420057124597</c:v>
                </c:pt>
                <c:pt idx="4516">
                  <c:v>4.9745591808025171</c:v>
                </c:pt>
                <c:pt idx="4517">
                  <c:v>6.0469427430922176</c:v>
                </c:pt>
                <c:pt idx="4518">
                  <c:v>6.0474178385768562</c:v>
                </c:pt>
                <c:pt idx="4519">
                  <c:v>5.9628973219343369</c:v>
                </c:pt>
                <c:pt idx="4520">
                  <c:v>5.886287722288114</c:v>
                </c:pt>
                <c:pt idx="4521">
                  <c:v>5.7467431741679889</c:v>
                </c:pt>
                <c:pt idx="4522">
                  <c:v>5.8105443952452216</c:v>
                </c:pt>
                <c:pt idx="4523">
                  <c:v>5.9272121798424431</c:v>
                </c:pt>
                <c:pt idx="4524">
                  <c:v>5.8879291396578468</c:v>
                </c:pt>
                <c:pt idx="4525">
                  <c:v>6.042857695947438</c:v>
                </c:pt>
                <c:pt idx="4526">
                  <c:v>5.9846430783226685</c:v>
                </c:pt>
                <c:pt idx="4527">
                  <c:v>6.078838627148893</c:v>
                </c:pt>
                <c:pt idx="4528">
                  <c:v>5.8968726542306777</c:v>
                </c:pt>
                <c:pt idx="4529">
                  <c:v>5.9277183785267091</c:v>
                </c:pt>
                <c:pt idx="4530">
                  <c:v>5.0593030680265576</c:v>
                </c:pt>
                <c:pt idx="4531">
                  <c:v>6.0197545796630241</c:v>
                </c:pt>
                <c:pt idx="4532">
                  <c:v>6.0725961468795058</c:v>
                </c:pt>
                <c:pt idx="4533">
                  <c:v>6.0484303822624037</c:v>
                </c:pt>
                <c:pt idx="4534">
                  <c:v>5.919059293146395</c:v>
                </c:pt>
                <c:pt idx="4535">
                  <c:v>6.1203902386272455</c:v>
                </c:pt>
                <c:pt idx="4536">
                  <c:v>5.9540270915312146</c:v>
                </c:pt>
                <c:pt idx="4537">
                  <c:v>6.1262507841959515</c:v>
                </c:pt>
                <c:pt idx="4538">
                  <c:v>6.1477078067356654</c:v>
                </c:pt>
                <c:pt idx="4539">
                  <c:v>5.8430018812538247</c:v>
                </c:pt>
                <c:pt idx="4540">
                  <c:v>6.0447835061844568</c:v>
                </c:pt>
                <c:pt idx="4541">
                  <c:v>6.0871567469709902</c:v>
                </c:pt>
                <c:pt idx="4542">
                  <c:v>5.0657909389867104</c:v>
                </c:pt>
                <c:pt idx="4543">
                  <c:v>4.9675313859927401</c:v>
                </c:pt>
                <c:pt idx="4544">
                  <c:v>5.0354920789579101</c:v>
                </c:pt>
                <c:pt idx="4545">
                  <c:v>5.8608426339376072</c:v>
                </c:pt>
                <c:pt idx="4546">
                  <c:v>6.1687660141919363</c:v>
                </c:pt>
                <c:pt idx="4547">
                  <c:v>5.0122944575556456</c:v>
                </c:pt>
                <c:pt idx="4548">
                  <c:v>4.9784956419825699</c:v>
                </c:pt>
                <c:pt idx="4549">
                  <c:v>4.8228382424170331</c:v>
                </c:pt>
                <c:pt idx="4550">
                  <c:v>5.17091120574631</c:v>
                </c:pt>
                <c:pt idx="4551">
                  <c:v>6.1539239127293603</c:v>
                </c:pt>
                <c:pt idx="4552">
                  <c:v>7.071544136391001</c:v>
                </c:pt>
                <c:pt idx="4553">
                  <c:v>5.1855723734689532</c:v>
                </c:pt>
                <c:pt idx="4554">
                  <c:v>6.1577412767055604</c:v>
                </c:pt>
                <c:pt idx="4555">
                  <c:v>7.0016020904616365</c:v>
                </c:pt>
                <c:pt idx="4556">
                  <c:v>6.2073324857826773</c:v>
                </c:pt>
                <c:pt idx="4557">
                  <c:v>5.9219128338132325</c:v>
                </c:pt>
                <c:pt idx="4558">
                  <c:v>4.9506564058124001</c:v>
                </c:pt>
                <c:pt idx="4559">
                  <c:v>4.9300904593052239</c:v>
                </c:pt>
                <c:pt idx="4560">
                  <c:v>5.0530872093039445</c:v>
                </c:pt>
                <c:pt idx="4561">
                  <c:v>6.0364544669671831</c:v>
                </c:pt>
                <c:pt idx="4562">
                  <c:v>5.9881516193280113</c:v>
                </c:pt>
                <c:pt idx="4563">
                  <c:v>5.0617046447684286</c:v>
                </c:pt>
                <c:pt idx="4564">
                  <c:v>5.8655945839623254</c:v>
                </c:pt>
                <c:pt idx="4565">
                  <c:v>6.0797720875963641</c:v>
                </c:pt>
                <c:pt idx="4566">
                  <c:v>5.9697013292894114</c:v>
                </c:pt>
                <c:pt idx="4567">
                  <c:v>6.0408457839431202</c:v>
                </c:pt>
                <c:pt idx="4568">
                  <c:v>4.8578616648868813</c:v>
                </c:pt>
                <c:pt idx="4569">
                  <c:v>6.0782173251487501</c:v>
                </c:pt>
                <c:pt idx="4570">
                  <c:v>5.7803740394142826</c:v>
                </c:pt>
                <c:pt idx="4571">
                  <c:v>5.134228843373891</c:v>
                </c:pt>
                <c:pt idx="4572">
                  <c:v>4.9290963968243879</c:v>
                </c:pt>
                <c:pt idx="4573">
                  <c:v>5.221952434560885</c:v>
                </c:pt>
                <c:pt idx="4574">
                  <c:v>5.0108914366190387</c:v>
                </c:pt>
                <c:pt idx="4575">
                  <c:v>5.8418033487499823</c:v>
                </c:pt>
                <c:pt idx="4576">
                  <c:v>4.9331701187177286</c:v>
                </c:pt>
                <c:pt idx="4577">
                  <c:v>6.0440278700690175</c:v>
                </c:pt>
                <c:pt idx="4578">
                  <c:v>5.9042625779060529</c:v>
                </c:pt>
                <c:pt idx="4579">
                  <c:v>6.0743383220116991</c:v>
                </c:pt>
                <c:pt idx="4580">
                  <c:v>6.2589044701603598</c:v>
                </c:pt>
                <c:pt idx="4581">
                  <c:v>5.9716399674200114</c:v>
                </c:pt>
                <c:pt idx="4582">
                  <c:v>4.9324909755743462</c:v>
                </c:pt>
                <c:pt idx="4583">
                  <c:v>6.0445902885011025</c:v>
                </c:pt>
                <c:pt idx="4584">
                  <c:v>4.9767391195633603</c:v>
                </c:pt>
                <c:pt idx="4585">
                  <c:v>6.9965020072465283</c:v>
                </c:pt>
                <c:pt idx="4586">
                  <c:v>4.0847108495557887</c:v>
                </c:pt>
                <c:pt idx="4587">
                  <c:v>5.0278824071075841</c:v>
                </c:pt>
                <c:pt idx="4588">
                  <c:v>6.8925373019249978</c:v>
                </c:pt>
                <c:pt idx="4589">
                  <c:v>5.0393065565035453</c:v>
                </c:pt>
                <c:pt idx="4590">
                  <c:v>4.9968361443081601</c:v>
                </c:pt>
                <c:pt idx="4591">
                  <c:v>4.8352419199226535</c:v>
                </c:pt>
                <c:pt idx="4592">
                  <c:v>4.7999532233501139</c:v>
                </c:pt>
                <c:pt idx="4593">
                  <c:v>4.9927473665088087</c:v>
                </c:pt>
                <c:pt idx="4594">
                  <c:v>5.0354282032125628</c:v>
                </c:pt>
                <c:pt idx="4595">
                  <c:v>4.8914920098288448</c:v>
                </c:pt>
                <c:pt idx="4596">
                  <c:v>5.0362101482834989</c:v>
                </c:pt>
                <c:pt idx="4597">
                  <c:v>5.0773398566854278</c:v>
                </c:pt>
                <c:pt idx="4598">
                  <c:v>4.9398898466649328</c:v>
                </c:pt>
                <c:pt idx="4599">
                  <c:v>6.0181309897640443</c:v>
                </c:pt>
                <c:pt idx="4600">
                  <c:v>5.9690771770957722</c:v>
                </c:pt>
                <c:pt idx="4601">
                  <c:v>6.0634102159640708</c:v>
                </c:pt>
                <c:pt idx="4602">
                  <c:v>3.8281120535220845</c:v>
                </c:pt>
                <c:pt idx="4603">
                  <c:v>5.8282702443756218</c:v>
                </c:pt>
                <c:pt idx="4604">
                  <c:v>5.0199564038371456</c:v>
                </c:pt>
                <c:pt idx="4605">
                  <c:v>5.1691764369507229</c:v>
                </c:pt>
                <c:pt idx="4606">
                  <c:v>5.9928654747266972</c:v>
                </c:pt>
                <c:pt idx="4607">
                  <c:v>5.8746758431497001</c:v>
                </c:pt>
                <c:pt idx="4608">
                  <c:v>5.0793304119615961</c:v>
                </c:pt>
                <c:pt idx="4609">
                  <c:v>5.1237183592559115</c:v>
                </c:pt>
                <c:pt idx="4610">
                  <c:v>6.1280023990113799</c:v>
                </c:pt>
                <c:pt idx="4611">
                  <c:v>4.980121093578024</c:v>
                </c:pt>
                <c:pt idx="4612">
                  <c:v>5.1359763769404267</c:v>
                </c:pt>
                <c:pt idx="4613">
                  <c:v>5.9421002660233802</c:v>
                </c:pt>
                <c:pt idx="4614">
                  <c:v>4.0568202330497041</c:v>
                </c:pt>
                <c:pt idx="4615">
                  <c:v>4.9219049874494889</c:v>
                </c:pt>
                <c:pt idx="4616">
                  <c:v>6.9219899068676627</c:v>
                </c:pt>
                <c:pt idx="4617">
                  <c:v>4.8331351931009969</c:v>
                </c:pt>
                <c:pt idx="4618">
                  <c:v>5.9728077093664327</c:v>
                </c:pt>
                <c:pt idx="4619">
                  <c:v>5.0730273272765745</c:v>
                </c:pt>
                <c:pt idx="4620">
                  <c:v>6.0236869179455219</c:v>
                </c:pt>
                <c:pt idx="4621">
                  <c:v>5.9576154780920989</c:v>
                </c:pt>
                <c:pt idx="4622">
                  <c:v>4.8464307234825919</c:v>
                </c:pt>
                <c:pt idx="4623">
                  <c:v>3.0110575929625925</c:v>
                </c:pt>
                <c:pt idx="4624">
                  <c:v>5.9811174289779583</c:v>
                </c:pt>
                <c:pt idx="4625">
                  <c:v>4.0738400176168348</c:v>
                </c:pt>
                <c:pt idx="4626">
                  <c:v>4.854928344764323</c:v>
                </c:pt>
                <c:pt idx="4627">
                  <c:v>5.9395235392996142</c:v>
                </c:pt>
                <c:pt idx="4628">
                  <c:v>4.9014850426133707</c:v>
                </c:pt>
                <c:pt idx="4629">
                  <c:v>5.9023397088334892</c:v>
                </c:pt>
                <c:pt idx="4630">
                  <c:v>4.8599079497575586</c:v>
                </c:pt>
                <c:pt idx="4631">
                  <c:v>6.9588969874991786</c:v>
                </c:pt>
                <c:pt idx="4632">
                  <c:v>5.8137044025651701</c:v>
                </c:pt>
                <c:pt idx="4633">
                  <c:v>4.9359612637557317</c:v>
                </c:pt>
                <c:pt idx="4634">
                  <c:v>6.2847222764694051</c:v>
                </c:pt>
                <c:pt idx="4635">
                  <c:v>5.0626881218107922</c:v>
                </c:pt>
                <c:pt idx="4636">
                  <c:v>4.9634689959066689</c:v>
                </c:pt>
                <c:pt idx="4637">
                  <c:v>4.936990020073214</c:v>
                </c:pt>
                <c:pt idx="4638">
                  <c:v>5.9955514483111854</c:v>
                </c:pt>
                <c:pt idx="4639">
                  <c:v>5.0074125615470937</c:v>
                </c:pt>
                <c:pt idx="4640">
                  <c:v>6.0010511430357614</c:v>
                </c:pt>
                <c:pt idx="4641">
                  <c:v>5.0889404889736713</c:v>
                </c:pt>
                <c:pt idx="4642">
                  <c:v>6.0593206534830797</c:v>
                </c:pt>
                <c:pt idx="4643">
                  <c:v>4.1645748833277167</c:v>
                </c:pt>
                <c:pt idx="4644">
                  <c:v>5.0909997789237993</c:v>
                </c:pt>
                <c:pt idx="4645">
                  <c:v>6.9880138910765375</c:v>
                </c:pt>
                <c:pt idx="4646">
                  <c:v>4.9886475149356437</c:v>
                </c:pt>
                <c:pt idx="4647">
                  <c:v>6.0535168137853548</c:v>
                </c:pt>
                <c:pt idx="4648">
                  <c:v>4.8478871800368006</c:v>
                </c:pt>
                <c:pt idx="4649">
                  <c:v>6.0982912252267667</c:v>
                </c:pt>
                <c:pt idx="4650">
                  <c:v>4.9928799256021819</c:v>
                </c:pt>
                <c:pt idx="4651">
                  <c:v>5.2245651613534374</c:v>
                </c:pt>
                <c:pt idx="4652">
                  <c:v>5.9102384967185655</c:v>
                </c:pt>
                <c:pt idx="4653">
                  <c:v>5.0223789104958554</c:v>
                </c:pt>
                <c:pt idx="4654">
                  <c:v>6.0179770103728174</c:v>
                </c:pt>
                <c:pt idx="4655">
                  <c:v>5.9482324538323956</c:v>
                </c:pt>
                <c:pt idx="4656">
                  <c:v>5.7221088186205931</c:v>
                </c:pt>
                <c:pt idx="4657">
                  <c:v>4.946169038565964</c:v>
                </c:pt>
                <c:pt idx="4658">
                  <c:v>6.1907812342596671</c:v>
                </c:pt>
                <c:pt idx="4659">
                  <c:v>5.86206287327522</c:v>
                </c:pt>
                <c:pt idx="4660">
                  <c:v>5.8660867406517578</c:v>
                </c:pt>
                <c:pt idx="4661">
                  <c:v>5.0071824052265876</c:v>
                </c:pt>
                <c:pt idx="4662">
                  <c:v>4.9386816694086466</c:v>
                </c:pt>
                <c:pt idx="4663">
                  <c:v>5.9584715519688531</c:v>
                </c:pt>
                <c:pt idx="4664">
                  <c:v>5.1125991154836363</c:v>
                </c:pt>
                <c:pt idx="4665">
                  <c:v>5.0620171906644869</c:v>
                </c:pt>
                <c:pt idx="4666">
                  <c:v>3.8726031027464005</c:v>
                </c:pt>
                <c:pt idx="4667">
                  <c:v>5.0502714614475579</c:v>
                </c:pt>
                <c:pt idx="4668">
                  <c:v>6.0166263464269099</c:v>
                </c:pt>
                <c:pt idx="4669">
                  <c:v>5.00740398222921</c:v>
                </c:pt>
                <c:pt idx="4670">
                  <c:v>5.9413075472996431</c:v>
                </c:pt>
                <c:pt idx="4671">
                  <c:v>5.1975433876780608</c:v>
                </c:pt>
                <c:pt idx="4672">
                  <c:v>4.9294244920811492</c:v>
                </c:pt>
                <c:pt idx="4673">
                  <c:v>5.0067538575047807</c:v>
                </c:pt>
                <c:pt idx="4674">
                  <c:v>5.1105928571888857</c:v>
                </c:pt>
                <c:pt idx="4675">
                  <c:v>4.9227790802864444</c:v>
                </c:pt>
                <c:pt idx="4676">
                  <c:v>5.9837018815140537</c:v>
                </c:pt>
                <c:pt idx="4677">
                  <c:v>5.0303525830906128</c:v>
                </c:pt>
                <c:pt idx="4678">
                  <c:v>3.9727834138912965</c:v>
                </c:pt>
                <c:pt idx="4679">
                  <c:v>5.9242104339880326</c:v>
                </c:pt>
                <c:pt idx="4680">
                  <c:v>6.0105578472990455</c:v>
                </c:pt>
                <c:pt idx="4681">
                  <c:v>5.0492063192211685</c:v>
                </c:pt>
                <c:pt idx="4682">
                  <c:v>5.2038856879952027</c:v>
                </c:pt>
                <c:pt idx="4683">
                  <c:v>5.9605456443695966</c:v>
                </c:pt>
                <c:pt idx="4684">
                  <c:v>4.9428684728245385</c:v>
                </c:pt>
                <c:pt idx="4685">
                  <c:v>3.0811602771966777</c:v>
                </c:pt>
                <c:pt idx="4686">
                  <c:v>6.0351829367525065</c:v>
                </c:pt>
                <c:pt idx="4687">
                  <c:v>6.0136874442667745</c:v>
                </c:pt>
                <c:pt idx="4688">
                  <c:v>6.1429133408066736</c:v>
                </c:pt>
                <c:pt idx="4689">
                  <c:v>5.1674659902726647</c:v>
                </c:pt>
                <c:pt idx="4690">
                  <c:v>4.9158169486236361</c:v>
                </c:pt>
                <c:pt idx="4691">
                  <c:v>4.8999250701619133</c:v>
                </c:pt>
                <c:pt idx="4692">
                  <c:v>4.9534093227008835</c:v>
                </c:pt>
                <c:pt idx="4693">
                  <c:v>5.1071241627696118</c:v>
                </c:pt>
                <c:pt idx="4694">
                  <c:v>5.957720991842006</c:v>
                </c:pt>
                <c:pt idx="4695">
                  <c:v>4.1689103303500268</c:v>
                </c:pt>
                <c:pt idx="4696">
                  <c:v>5.7763883763692929</c:v>
                </c:pt>
                <c:pt idx="4697">
                  <c:v>6.005713730581876</c:v>
                </c:pt>
                <c:pt idx="4698">
                  <c:v>4.8507894248103769</c:v>
                </c:pt>
                <c:pt idx="4699">
                  <c:v>5.9605946573665447</c:v>
                </c:pt>
                <c:pt idx="4700">
                  <c:v>4.9745090588320293</c:v>
                </c:pt>
                <c:pt idx="4701">
                  <c:v>6.9759337085575321</c:v>
                </c:pt>
                <c:pt idx="4702">
                  <c:v>6.0272048168660337</c:v>
                </c:pt>
                <c:pt idx="4703">
                  <c:v>5.0780500683854131</c:v>
                </c:pt>
                <c:pt idx="4704">
                  <c:v>6.1873053487627327</c:v>
                </c:pt>
                <c:pt idx="4705">
                  <c:v>5.208483905370203</c:v>
                </c:pt>
                <c:pt idx="4706">
                  <c:v>5.1403915376455007</c:v>
                </c:pt>
                <c:pt idx="4707">
                  <c:v>5.0058090608652028</c:v>
                </c:pt>
                <c:pt idx="4708">
                  <c:v>4.925937340706926</c:v>
                </c:pt>
                <c:pt idx="4709">
                  <c:v>5.0038093236502101</c:v>
                </c:pt>
                <c:pt idx="4710">
                  <c:v>5.9110881702251676</c:v>
                </c:pt>
                <c:pt idx="4711">
                  <c:v>6.0399095640432208</c:v>
                </c:pt>
                <c:pt idx="4712">
                  <c:v>6.1451389695570686</c:v>
                </c:pt>
                <c:pt idx="4713">
                  <c:v>4.9448249004691123</c:v>
                </c:pt>
                <c:pt idx="4714">
                  <c:v>4.8313390700757992</c:v>
                </c:pt>
                <c:pt idx="4715">
                  <c:v>6.1184682849374141</c:v>
                </c:pt>
                <c:pt idx="4716">
                  <c:v>4.996375700659387</c:v>
                </c:pt>
                <c:pt idx="4717">
                  <c:v>6.047906694808999</c:v>
                </c:pt>
                <c:pt idx="4718">
                  <c:v>6.9925683284645173</c:v>
                </c:pt>
                <c:pt idx="4719">
                  <c:v>5.0969773405965908</c:v>
                </c:pt>
                <c:pt idx="4720">
                  <c:v>6.0064270067018013</c:v>
                </c:pt>
                <c:pt idx="4721">
                  <c:v>2.0475776868443525</c:v>
                </c:pt>
                <c:pt idx="4722">
                  <c:v>4.8396510018065015</c:v>
                </c:pt>
                <c:pt idx="4723">
                  <c:v>4.8740592625883759</c:v>
                </c:pt>
                <c:pt idx="4724">
                  <c:v>5.0290092329852891</c:v>
                </c:pt>
                <c:pt idx="4725">
                  <c:v>5.1615250367175438</c:v>
                </c:pt>
                <c:pt idx="4726">
                  <c:v>5.9916626300226712</c:v>
                </c:pt>
                <c:pt idx="4727">
                  <c:v>4.9707454800195245</c:v>
                </c:pt>
                <c:pt idx="4728">
                  <c:v>6.0089695576348632</c:v>
                </c:pt>
                <c:pt idx="4729">
                  <c:v>4.9806054014602816</c:v>
                </c:pt>
                <c:pt idx="4730">
                  <c:v>4.9558184884529171</c:v>
                </c:pt>
                <c:pt idx="4731">
                  <c:v>5.9056571577269832</c:v>
                </c:pt>
                <c:pt idx="4732">
                  <c:v>6.0108119337735513</c:v>
                </c:pt>
                <c:pt idx="4733">
                  <c:v>5.0155706370113124</c:v>
                </c:pt>
                <c:pt idx="4734">
                  <c:v>4.9947503314879924</c:v>
                </c:pt>
                <c:pt idx="4735">
                  <c:v>5.1289621075152247</c:v>
                </c:pt>
                <c:pt idx="4736">
                  <c:v>4.9533964504686265</c:v>
                </c:pt>
                <c:pt idx="4737">
                  <c:v>6.0462178867833645</c:v>
                </c:pt>
                <c:pt idx="4738">
                  <c:v>5.051507524139792</c:v>
                </c:pt>
                <c:pt idx="4739">
                  <c:v>5.8642773976933738</c:v>
                </c:pt>
                <c:pt idx="4740">
                  <c:v>4.9330773042958347</c:v>
                </c:pt>
                <c:pt idx="4741">
                  <c:v>5.0244158398450525</c:v>
                </c:pt>
                <c:pt idx="4742">
                  <c:v>5.0984287129727477</c:v>
                </c:pt>
                <c:pt idx="4743">
                  <c:v>5.8384210205342315</c:v>
                </c:pt>
                <c:pt idx="4744">
                  <c:v>5.8615906020423481</c:v>
                </c:pt>
                <c:pt idx="4745">
                  <c:v>6.0374410001208663</c:v>
                </c:pt>
                <c:pt idx="4746">
                  <c:v>7.1364037111289838</c:v>
                </c:pt>
                <c:pt idx="4747">
                  <c:v>5.9919810913090412</c:v>
                </c:pt>
                <c:pt idx="4748">
                  <c:v>4.9347636033798778</c:v>
                </c:pt>
                <c:pt idx="4749">
                  <c:v>5.0830996821375392</c:v>
                </c:pt>
                <c:pt idx="4750">
                  <c:v>5.900668594061802</c:v>
                </c:pt>
                <c:pt idx="4751">
                  <c:v>4.8629749816425933</c:v>
                </c:pt>
                <c:pt idx="4752">
                  <c:v>5.9073664105909733</c:v>
                </c:pt>
                <c:pt idx="4753">
                  <c:v>5.8537629302954262</c:v>
                </c:pt>
                <c:pt idx="4754">
                  <c:v>6.8574031011177574</c:v>
                </c:pt>
                <c:pt idx="4755">
                  <c:v>7.092771796918993</c:v>
                </c:pt>
                <c:pt idx="4756">
                  <c:v>6.0495965985140305</c:v>
                </c:pt>
                <c:pt idx="4757">
                  <c:v>4.9008683416815835</c:v>
                </c:pt>
                <c:pt idx="4758">
                  <c:v>4.9598487157606517</c:v>
                </c:pt>
                <c:pt idx="4759">
                  <c:v>3.7861809160641506</c:v>
                </c:pt>
                <c:pt idx="4760">
                  <c:v>6.0256618829814386</c:v>
                </c:pt>
                <c:pt idx="4761">
                  <c:v>5.0644875653213122</c:v>
                </c:pt>
                <c:pt idx="4762">
                  <c:v>6.012229577066754</c:v>
                </c:pt>
                <c:pt idx="4763">
                  <c:v>5.1328074250676421</c:v>
                </c:pt>
                <c:pt idx="4764">
                  <c:v>5.993710458233509</c:v>
                </c:pt>
                <c:pt idx="4765">
                  <c:v>4.8514313468405215</c:v>
                </c:pt>
                <c:pt idx="4766">
                  <c:v>5.0795531544485959</c:v>
                </c:pt>
                <c:pt idx="4767">
                  <c:v>5.0341446680279569</c:v>
                </c:pt>
                <c:pt idx="4768">
                  <c:v>6.0112551174021185</c:v>
                </c:pt>
                <c:pt idx="4769">
                  <c:v>4.0383262059962313</c:v>
                </c:pt>
                <c:pt idx="4770">
                  <c:v>5.0837051383424718</c:v>
                </c:pt>
                <c:pt idx="4771">
                  <c:v>5.0504669423152366</c:v>
                </c:pt>
                <c:pt idx="4772">
                  <c:v>6.0203919433822568</c:v>
                </c:pt>
                <c:pt idx="4773">
                  <c:v>4.8696205840388744</c:v>
                </c:pt>
                <c:pt idx="4774">
                  <c:v>5.0992339149013963</c:v>
                </c:pt>
                <c:pt idx="4775">
                  <c:v>4.9934673103307698</c:v>
                </c:pt>
                <c:pt idx="4776">
                  <c:v>6.1584809304570447</c:v>
                </c:pt>
                <c:pt idx="4777">
                  <c:v>4.0894269516043371</c:v>
                </c:pt>
                <c:pt idx="4778">
                  <c:v>5.7542040723655017</c:v>
                </c:pt>
                <c:pt idx="4779">
                  <c:v>5.0635067294713476</c:v>
                </c:pt>
                <c:pt idx="4780">
                  <c:v>6.1019530721723942</c:v>
                </c:pt>
                <c:pt idx="4781">
                  <c:v>5.0747307473693652</c:v>
                </c:pt>
                <c:pt idx="4782">
                  <c:v>6.1325091321199245</c:v>
                </c:pt>
                <c:pt idx="4783">
                  <c:v>5.035227318218074</c:v>
                </c:pt>
                <c:pt idx="4784">
                  <c:v>5.0357162727225724</c:v>
                </c:pt>
                <c:pt idx="4785">
                  <c:v>5.926202696498617</c:v>
                </c:pt>
                <c:pt idx="4786">
                  <c:v>5.0888707649002889</c:v>
                </c:pt>
                <c:pt idx="4787">
                  <c:v>6.1236918325638259</c:v>
                </c:pt>
                <c:pt idx="4788">
                  <c:v>4.9585743626078012</c:v>
                </c:pt>
                <c:pt idx="4789">
                  <c:v>5.8291905169799154</c:v>
                </c:pt>
                <c:pt idx="4790">
                  <c:v>5.0253042219640411</c:v>
                </c:pt>
                <c:pt idx="4791">
                  <c:v>5.9918087903918824</c:v>
                </c:pt>
                <c:pt idx="4792">
                  <c:v>6.1004807913363912</c:v>
                </c:pt>
                <c:pt idx="4793">
                  <c:v>4.8820337496144397</c:v>
                </c:pt>
                <c:pt idx="4794">
                  <c:v>5.0004818939615987</c:v>
                </c:pt>
                <c:pt idx="4795">
                  <c:v>6.0279798075412323</c:v>
                </c:pt>
                <c:pt idx="4796">
                  <c:v>4.1109272980030758</c:v>
                </c:pt>
                <c:pt idx="4797">
                  <c:v>5.1376517558276262</c:v>
                </c:pt>
                <c:pt idx="4798">
                  <c:v>4.9656861325245503</c:v>
                </c:pt>
                <c:pt idx="4799">
                  <c:v>6.0912765934629176</c:v>
                </c:pt>
                <c:pt idx="4800">
                  <c:v>5.1642615972629144</c:v>
                </c:pt>
                <c:pt idx="4801">
                  <c:v>5.010605236929436</c:v>
                </c:pt>
                <c:pt idx="4802">
                  <c:v>6.8849882585484439</c:v>
                </c:pt>
                <c:pt idx="4803">
                  <c:v>5.0683277954346613</c:v>
                </c:pt>
                <c:pt idx="4804">
                  <c:v>7.0807544300094687</c:v>
                </c:pt>
                <c:pt idx="4805">
                  <c:v>4.9473988727117941</c:v>
                </c:pt>
                <c:pt idx="4806">
                  <c:v>5.8126281835279121</c:v>
                </c:pt>
                <c:pt idx="4807">
                  <c:v>6.0593120034743482</c:v>
                </c:pt>
                <c:pt idx="4808">
                  <c:v>6.0922978649314823</c:v>
                </c:pt>
                <c:pt idx="4809">
                  <c:v>5.9932182020721418</c:v>
                </c:pt>
                <c:pt idx="4810">
                  <c:v>5.8961017114685932</c:v>
                </c:pt>
                <c:pt idx="4811">
                  <c:v>6.0036234149991907</c:v>
                </c:pt>
                <c:pt idx="4812">
                  <c:v>4.8918649980115623</c:v>
                </c:pt>
                <c:pt idx="4813">
                  <c:v>6.1050978726517178</c:v>
                </c:pt>
                <c:pt idx="4814">
                  <c:v>5.8632239855899755</c:v>
                </c:pt>
                <c:pt idx="4815">
                  <c:v>5.9033319678345801</c:v>
                </c:pt>
                <c:pt idx="4816">
                  <c:v>5.9601331027517102</c:v>
                </c:pt>
                <c:pt idx="4817">
                  <c:v>4.9117036655531594</c:v>
                </c:pt>
                <c:pt idx="4818">
                  <c:v>4.9690165154601837</c:v>
                </c:pt>
                <c:pt idx="4819">
                  <c:v>5.0769355722684493</c:v>
                </c:pt>
                <c:pt idx="4820">
                  <c:v>7.0485868540482262</c:v>
                </c:pt>
                <c:pt idx="4821">
                  <c:v>7.0012667835904123</c:v>
                </c:pt>
                <c:pt idx="4822">
                  <c:v>5.1107516391469821</c:v>
                </c:pt>
                <c:pt idx="4823">
                  <c:v>5.04740438577414</c:v>
                </c:pt>
                <c:pt idx="4824">
                  <c:v>5.9310505286108244</c:v>
                </c:pt>
                <c:pt idx="4825">
                  <c:v>4.8688383240798636</c:v>
                </c:pt>
                <c:pt idx="4826">
                  <c:v>5.0054591697999644</c:v>
                </c:pt>
                <c:pt idx="4827">
                  <c:v>6.28325372009588</c:v>
                </c:pt>
                <c:pt idx="4828">
                  <c:v>6.0168807864841733</c:v>
                </c:pt>
                <c:pt idx="4829">
                  <c:v>4.9150170005060989</c:v>
                </c:pt>
                <c:pt idx="4830">
                  <c:v>6.0513444254888089</c:v>
                </c:pt>
                <c:pt idx="4831">
                  <c:v>4.9108347975771114</c:v>
                </c:pt>
                <c:pt idx="4832">
                  <c:v>5.9023781379923292</c:v>
                </c:pt>
                <c:pt idx="4833">
                  <c:v>5.0682401169138283</c:v>
                </c:pt>
                <c:pt idx="4834">
                  <c:v>5.9431380264515896</c:v>
                </c:pt>
                <c:pt idx="4835">
                  <c:v>5.9541327708482887</c:v>
                </c:pt>
                <c:pt idx="4836">
                  <c:v>4.0403295810831494</c:v>
                </c:pt>
                <c:pt idx="4837">
                  <c:v>5.0940779609305471</c:v>
                </c:pt>
                <c:pt idx="4838">
                  <c:v>4.9810082621649689</c:v>
                </c:pt>
                <c:pt idx="4839">
                  <c:v>4.9403917588098594</c:v>
                </c:pt>
                <c:pt idx="4840">
                  <c:v>5.9254167714328823</c:v>
                </c:pt>
                <c:pt idx="4841">
                  <c:v>5.0221656742596705</c:v>
                </c:pt>
                <c:pt idx="4842">
                  <c:v>5.9471181657269643</c:v>
                </c:pt>
                <c:pt idx="4843">
                  <c:v>5.2367064022204994</c:v>
                </c:pt>
                <c:pt idx="4844">
                  <c:v>5.9044433608778757</c:v>
                </c:pt>
                <c:pt idx="4845">
                  <c:v>5.0080030047203987</c:v>
                </c:pt>
                <c:pt idx="4846">
                  <c:v>7.0050933976671201</c:v>
                </c:pt>
                <c:pt idx="4847">
                  <c:v>3.8090424766872872</c:v>
                </c:pt>
                <c:pt idx="4848">
                  <c:v>3.8925906431000445</c:v>
                </c:pt>
                <c:pt idx="4849">
                  <c:v>3.9132672098840127</c:v>
                </c:pt>
                <c:pt idx="4850">
                  <c:v>3.9600078963142744</c:v>
                </c:pt>
                <c:pt idx="4851">
                  <c:v>3.9395082333853799</c:v>
                </c:pt>
                <c:pt idx="4852">
                  <c:v>4.1855695969566034</c:v>
                </c:pt>
                <c:pt idx="4853">
                  <c:v>4.0238897920135184</c:v>
                </c:pt>
                <c:pt idx="4854">
                  <c:v>4.1544836135091243</c:v>
                </c:pt>
                <c:pt idx="4855">
                  <c:v>4.0947245036027704</c:v>
                </c:pt>
                <c:pt idx="4856">
                  <c:v>3.8550364527655527</c:v>
                </c:pt>
                <c:pt idx="4857">
                  <c:v>5.8396633617012217</c:v>
                </c:pt>
                <c:pt idx="4858">
                  <c:v>4.9327396343613303</c:v>
                </c:pt>
                <c:pt idx="4859">
                  <c:v>5.008399117092484</c:v>
                </c:pt>
                <c:pt idx="4860">
                  <c:v>4.9081039637646811</c:v>
                </c:pt>
                <c:pt idx="4861">
                  <c:v>4.8234567092316736</c:v>
                </c:pt>
                <c:pt idx="4862">
                  <c:v>5.8497366048149955</c:v>
                </c:pt>
                <c:pt idx="4863">
                  <c:v>6.001339654508044</c:v>
                </c:pt>
                <c:pt idx="4864">
                  <c:v>5.0370171831695485</c:v>
                </c:pt>
                <c:pt idx="4865">
                  <c:v>4.9002890040985765</c:v>
                </c:pt>
                <c:pt idx="4866">
                  <c:v>4.9105248389943981</c:v>
                </c:pt>
                <c:pt idx="4867">
                  <c:v>5.8857774089816584</c:v>
                </c:pt>
                <c:pt idx="4868">
                  <c:v>7.0460948818630555</c:v>
                </c:pt>
                <c:pt idx="4869">
                  <c:v>4.9098175988800072</c:v>
                </c:pt>
                <c:pt idx="4870">
                  <c:v>4.9491891116039817</c:v>
                </c:pt>
                <c:pt idx="4871">
                  <c:v>5.99276709975803</c:v>
                </c:pt>
                <c:pt idx="4872">
                  <c:v>5.9384142823992025</c:v>
                </c:pt>
                <c:pt idx="4873">
                  <c:v>5.8542995259491697</c:v>
                </c:pt>
                <c:pt idx="4874">
                  <c:v>4.9104007136908274</c:v>
                </c:pt>
                <c:pt idx="4875">
                  <c:v>5.06725413078461</c:v>
                </c:pt>
                <c:pt idx="4876">
                  <c:v>6.1615771142154117</c:v>
                </c:pt>
                <c:pt idx="4877">
                  <c:v>4.9581963758894876</c:v>
                </c:pt>
                <c:pt idx="4878">
                  <c:v>4.8051001117007077</c:v>
                </c:pt>
                <c:pt idx="4879">
                  <c:v>4.6814781603275675</c:v>
                </c:pt>
                <c:pt idx="4880">
                  <c:v>3.9400223252959083</c:v>
                </c:pt>
                <c:pt idx="4881">
                  <c:v>6.0112289369128522</c:v>
                </c:pt>
                <c:pt idx="4882">
                  <c:v>4.9418282779829061</c:v>
                </c:pt>
                <c:pt idx="4883">
                  <c:v>5.924999531479556</c:v>
                </c:pt>
                <c:pt idx="4884">
                  <c:v>4.9562258806367465</c:v>
                </c:pt>
                <c:pt idx="4885">
                  <c:v>4.9297455245148534</c:v>
                </c:pt>
                <c:pt idx="4886">
                  <c:v>4.981233315175138</c:v>
                </c:pt>
                <c:pt idx="4887">
                  <c:v>3.9940940159272791</c:v>
                </c:pt>
                <c:pt idx="4888">
                  <c:v>5.8854029799368046</c:v>
                </c:pt>
                <c:pt idx="4889">
                  <c:v>6.0257172076340151</c:v>
                </c:pt>
                <c:pt idx="4890">
                  <c:v>4.8575668806564662</c:v>
                </c:pt>
                <c:pt idx="4891">
                  <c:v>4.9323326226265118</c:v>
                </c:pt>
                <c:pt idx="4892">
                  <c:v>4.9986312443085268</c:v>
                </c:pt>
                <c:pt idx="4893">
                  <c:v>5.2053249422406473</c:v>
                </c:pt>
                <c:pt idx="4894">
                  <c:v>5.9029036172151956</c:v>
                </c:pt>
                <c:pt idx="4895">
                  <c:v>4.8566413436828437</c:v>
                </c:pt>
                <c:pt idx="4896">
                  <c:v>5.098620213188287</c:v>
                </c:pt>
                <c:pt idx="4897">
                  <c:v>5.0206033545961581</c:v>
                </c:pt>
                <c:pt idx="4898">
                  <c:v>5.1117301155809809</c:v>
                </c:pt>
                <c:pt idx="4899">
                  <c:v>4.8761867520321962</c:v>
                </c:pt>
                <c:pt idx="4900">
                  <c:v>4.8940190605800371</c:v>
                </c:pt>
                <c:pt idx="4901">
                  <c:v>4.9517803624183268</c:v>
                </c:pt>
                <c:pt idx="4902">
                  <c:v>4.9971737917251691</c:v>
                </c:pt>
                <c:pt idx="4903">
                  <c:v>5.775671886986018</c:v>
                </c:pt>
                <c:pt idx="4904">
                  <c:v>5.0274182625618362</c:v>
                </c:pt>
                <c:pt idx="4905">
                  <c:v>5.2409062729559199</c:v>
                </c:pt>
                <c:pt idx="4906">
                  <c:v>7.1203772052773342</c:v>
                </c:pt>
                <c:pt idx="4907">
                  <c:v>7.1618207681544508</c:v>
                </c:pt>
                <c:pt idx="4908">
                  <c:v>5.0890874236356272</c:v>
                </c:pt>
                <c:pt idx="4909">
                  <c:v>5.1359917239546524</c:v>
                </c:pt>
                <c:pt idx="4910">
                  <c:v>6.8776437409297735</c:v>
                </c:pt>
                <c:pt idx="4911">
                  <c:v>5.0026620012758727</c:v>
                </c:pt>
                <c:pt idx="4912">
                  <c:v>6.8501098035981594</c:v>
                </c:pt>
                <c:pt idx="4913">
                  <c:v>6.9825881821777473</c:v>
                </c:pt>
                <c:pt idx="4914">
                  <c:v>4.9961147468467537</c:v>
                </c:pt>
                <c:pt idx="4915">
                  <c:v>5.1360971367484574</c:v>
                </c:pt>
                <c:pt idx="4916">
                  <c:v>7.0021881082186015</c:v>
                </c:pt>
                <c:pt idx="4917">
                  <c:v>7.1239904485459675</c:v>
                </c:pt>
                <c:pt idx="4918">
                  <c:v>5.1867291500258679</c:v>
                </c:pt>
                <c:pt idx="4919">
                  <c:v>7.0846459922260054</c:v>
                </c:pt>
                <c:pt idx="4920">
                  <c:v>6.9733899891254154</c:v>
                </c:pt>
                <c:pt idx="4921">
                  <c:v>7.1069277447918626</c:v>
                </c:pt>
                <c:pt idx="4922">
                  <c:v>4.9544045749616616</c:v>
                </c:pt>
                <c:pt idx="4923">
                  <c:v>6.9746170066564863</c:v>
                </c:pt>
                <c:pt idx="4924">
                  <c:v>4.8744403001346903</c:v>
                </c:pt>
                <c:pt idx="4925">
                  <c:v>7.1923735127019714</c:v>
                </c:pt>
                <c:pt idx="4926">
                  <c:v>4.9132486306401804</c:v>
                </c:pt>
                <c:pt idx="4927">
                  <c:v>5.0129196248476644</c:v>
                </c:pt>
                <c:pt idx="4928">
                  <c:v>5.0578194985364373</c:v>
                </c:pt>
                <c:pt idx="4929">
                  <c:v>7.0167338201798861</c:v>
                </c:pt>
                <c:pt idx="4930">
                  <c:v>6.1051710799684571</c:v>
                </c:pt>
                <c:pt idx="4931">
                  <c:v>5.0726431475399014</c:v>
                </c:pt>
                <c:pt idx="4932">
                  <c:v>6.1070785054559344</c:v>
                </c:pt>
                <c:pt idx="4933">
                  <c:v>6.1342247574966304</c:v>
                </c:pt>
                <c:pt idx="4934">
                  <c:v>6.0304875600014904</c:v>
                </c:pt>
                <c:pt idx="4935">
                  <c:v>5.9714237269532022</c:v>
                </c:pt>
                <c:pt idx="4936">
                  <c:v>5.9911766111256819</c:v>
                </c:pt>
                <c:pt idx="4937">
                  <c:v>6.068484098436806</c:v>
                </c:pt>
                <c:pt idx="4938">
                  <c:v>6.0440052511656139</c:v>
                </c:pt>
                <c:pt idx="4939">
                  <c:v>6.2484127562169967</c:v>
                </c:pt>
                <c:pt idx="4940">
                  <c:v>2.9956115445707994</c:v>
                </c:pt>
                <c:pt idx="4941">
                  <c:v>5.0490530030599023</c:v>
                </c:pt>
                <c:pt idx="4942">
                  <c:v>5.9214368591059605</c:v>
                </c:pt>
                <c:pt idx="4943">
                  <c:v>4.9829211504808564</c:v>
                </c:pt>
                <c:pt idx="4944">
                  <c:v>4.9733764254809643</c:v>
                </c:pt>
                <c:pt idx="4945">
                  <c:v>4.897401769793178</c:v>
                </c:pt>
                <c:pt idx="4946">
                  <c:v>6.0109331246191937</c:v>
                </c:pt>
                <c:pt idx="4947">
                  <c:v>4.9374987409347053</c:v>
                </c:pt>
                <c:pt idx="4948">
                  <c:v>4.8897929063285526</c:v>
                </c:pt>
                <c:pt idx="4949">
                  <c:v>5.9200144867667825</c:v>
                </c:pt>
                <c:pt idx="4950">
                  <c:v>4.9709230853889483</c:v>
                </c:pt>
                <c:pt idx="4951">
                  <c:v>6.0395322145610564</c:v>
                </c:pt>
                <c:pt idx="4952">
                  <c:v>5.947014749341915</c:v>
                </c:pt>
                <c:pt idx="4953">
                  <c:v>6.2108330150961528</c:v>
                </c:pt>
                <c:pt idx="4954">
                  <c:v>3.9363179513313145</c:v>
                </c:pt>
                <c:pt idx="4955">
                  <c:v>6.1521669055326944</c:v>
                </c:pt>
                <c:pt idx="4956">
                  <c:v>4.0556803931193848</c:v>
                </c:pt>
                <c:pt idx="4957">
                  <c:v>6.0331573368889009</c:v>
                </c:pt>
                <c:pt idx="4958">
                  <c:v>6.1096134591035147</c:v>
                </c:pt>
                <c:pt idx="4959">
                  <c:v>6.0520049687075375</c:v>
                </c:pt>
                <c:pt idx="4960">
                  <c:v>5.0602625019116303</c:v>
                </c:pt>
                <c:pt idx="4961">
                  <c:v>5.0449449309169978</c:v>
                </c:pt>
                <c:pt idx="4962">
                  <c:v>6.0783886969793626</c:v>
                </c:pt>
                <c:pt idx="4963">
                  <c:v>5.9480200200516222</c:v>
                </c:pt>
                <c:pt idx="4964">
                  <c:v>5.104176145375356</c:v>
                </c:pt>
                <c:pt idx="4965">
                  <c:v>4.9687570607046334</c:v>
                </c:pt>
                <c:pt idx="4966">
                  <c:v>5.1078203707442249</c:v>
                </c:pt>
                <c:pt idx="4967">
                  <c:v>6.1332995631905005</c:v>
                </c:pt>
                <c:pt idx="4968">
                  <c:v>5.0147712039340924</c:v>
                </c:pt>
                <c:pt idx="4969">
                  <c:v>7.1084734979424882</c:v>
                </c:pt>
                <c:pt idx="4970">
                  <c:v>5.9298224194350402</c:v>
                </c:pt>
                <c:pt idx="4971">
                  <c:v>6.04119553849746</c:v>
                </c:pt>
                <c:pt idx="4972">
                  <c:v>6.2047947795964413</c:v>
                </c:pt>
                <c:pt idx="4973">
                  <c:v>6.0668458325827146</c:v>
                </c:pt>
                <c:pt idx="4974">
                  <c:v>5.0480089822551957</c:v>
                </c:pt>
                <c:pt idx="4975">
                  <c:v>5.0069799528089742</c:v>
                </c:pt>
                <c:pt idx="4976">
                  <c:v>5.9178193222249105</c:v>
                </c:pt>
                <c:pt idx="4977">
                  <c:v>6.0687380368629302</c:v>
                </c:pt>
                <c:pt idx="4978">
                  <c:v>5.0196346800800331</c:v>
                </c:pt>
                <c:pt idx="4979">
                  <c:v>5.949392015025972</c:v>
                </c:pt>
                <c:pt idx="4980">
                  <c:v>6.0742287024083543</c:v>
                </c:pt>
                <c:pt idx="4981">
                  <c:v>6.0198111933180751</c:v>
                </c:pt>
                <c:pt idx="4982">
                  <c:v>4.9385315337034283</c:v>
                </c:pt>
                <c:pt idx="4983">
                  <c:v>6.0012190571661943</c:v>
                </c:pt>
                <c:pt idx="4984">
                  <c:v>5.0660141249195405</c:v>
                </c:pt>
                <c:pt idx="4985">
                  <c:v>6.0466642786930045</c:v>
                </c:pt>
                <c:pt idx="4986">
                  <c:v>5.8081879601445081</c:v>
                </c:pt>
                <c:pt idx="4987">
                  <c:v>5.7938534454397947</c:v>
                </c:pt>
                <c:pt idx="4988">
                  <c:v>6.1028960911498595</c:v>
                </c:pt>
                <c:pt idx="4989">
                  <c:v>5.993373595116636</c:v>
                </c:pt>
                <c:pt idx="4990">
                  <c:v>5.0818514243959072</c:v>
                </c:pt>
                <c:pt idx="4991">
                  <c:v>4.9407883843325529</c:v>
                </c:pt>
                <c:pt idx="4992">
                  <c:v>5.0404661019290504</c:v>
                </c:pt>
                <c:pt idx="4993">
                  <c:v>5.1084198280314439</c:v>
                </c:pt>
                <c:pt idx="4994">
                  <c:v>7.089676982685571</c:v>
                </c:pt>
                <c:pt idx="4995">
                  <c:v>6.1157804501538422</c:v>
                </c:pt>
                <c:pt idx="4996">
                  <c:v>4.9729840491265342</c:v>
                </c:pt>
                <c:pt idx="4997">
                  <c:v>5.134856975456116</c:v>
                </c:pt>
                <c:pt idx="4998">
                  <c:v>6.0119280802206045</c:v>
                </c:pt>
                <c:pt idx="4999">
                  <c:v>5.9910910414379366</c:v>
                </c:pt>
                <c:pt idx="5000">
                  <c:v>4.9545596400861305</c:v>
                </c:pt>
                <c:pt idx="5001">
                  <c:v>5.8651430845996551</c:v>
                </c:pt>
                <c:pt idx="5002">
                  <c:v>5.011249876337768</c:v>
                </c:pt>
                <c:pt idx="5003">
                  <c:v>6.0293446243366597</c:v>
                </c:pt>
                <c:pt idx="5004">
                  <c:v>5.9457184313325433</c:v>
                </c:pt>
                <c:pt idx="5005">
                  <c:v>5.0539993686834679</c:v>
                </c:pt>
                <c:pt idx="5006">
                  <c:v>4.9148020141253923</c:v>
                </c:pt>
                <c:pt idx="5007">
                  <c:v>6.9609395163065866</c:v>
                </c:pt>
                <c:pt idx="5008">
                  <c:v>6.0683318365021313</c:v>
                </c:pt>
                <c:pt idx="5009">
                  <c:v>5.0328386876135385</c:v>
                </c:pt>
                <c:pt idx="5010">
                  <c:v>6.0406635022997515</c:v>
                </c:pt>
                <c:pt idx="5011">
                  <c:v>6.0686979083783612</c:v>
                </c:pt>
                <c:pt idx="5012">
                  <c:v>6.0978993511118276</c:v>
                </c:pt>
                <c:pt idx="5013">
                  <c:v>3.8581762440208278</c:v>
                </c:pt>
                <c:pt idx="5014">
                  <c:v>5.9120115930726493</c:v>
                </c:pt>
                <c:pt idx="5015">
                  <c:v>5.9308429031283074</c:v>
                </c:pt>
                <c:pt idx="5016">
                  <c:v>5.0792510042345649</c:v>
                </c:pt>
                <c:pt idx="5017">
                  <c:v>6.0269228920082432</c:v>
                </c:pt>
                <c:pt idx="5018">
                  <c:v>5.0303823191177708</c:v>
                </c:pt>
                <c:pt idx="5019">
                  <c:v>4.9524370794350334</c:v>
                </c:pt>
                <c:pt idx="5020">
                  <c:v>6.071143199162246</c:v>
                </c:pt>
                <c:pt idx="5021">
                  <c:v>5.0468022959247358</c:v>
                </c:pt>
                <c:pt idx="5022">
                  <c:v>6.1811779681666223</c:v>
                </c:pt>
                <c:pt idx="5023">
                  <c:v>5.8653496159212102</c:v>
                </c:pt>
                <c:pt idx="5024">
                  <c:v>6.1298602470861905</c:v>
                </c:pt>
                <c:pt idx="5025">
                  <c:v>5.9850013650620912</c:v>
                </c:pt>
                <c:pt idx="5026">
                  <c:v>4.8465764400374791</c:v>
                </c:pt>
                <c:pt idx="5027">
                  <c:v>5.9946633144354973</c:v>
                </c:pt>
                <c:pt idx="5028">
                  <c:v>6.0960435182371846</c:v>
                </c:pt>
                <c:pt idx="5029">
                  <c:v>5.9648964344176099</c:v>
                </c:pt>
                <c:pt idx="5030">
                  <c:v>6.1116378857966982</c:v>
                </c:pt>
                <c:pt idx="5031">
                  <c:v>5.7070466395653714</c:v>
                </c:pt>
                <c:pt idx="5032">
                  <c:v>5.0199486436171279</c:v>
                </c:pt>
                <c:pt idx="5033">
                  <c:v>6.0786226353268278</c:v>
                </c:pt>
                <c:pt idx="5034">
                  <c:v>4.009445693148578</c:v>
                </c:pt>
                <c:pt idx="5035">
                  <c:v>5.9587795546441003</c:v>
                </c:pt>
                <c:pt idx="5036">
                  <c:v>5.9926271602356573</c:v>
                </c:pt>
                <c:pt idx="5037">
                  <c:v>6.0055593097644051</c:v>
                </c:pt>
                <c:pt idx="5038">
                  <c:v>6.2457191284954838</c:v>
                </c:pt>
                <c:pt idx="5039">
                  <c:v>5.922775525645136</c:v>
                </c:pt>
                <c:pt idx="5040">
                  <c:v>6.029530543759428</c:v>
                </c:pt>
                <c:pt idx="5041">
                  <c:v>5.0353378471504575</c:v>
                </c:pt>
                <c:pt idx="5042">
                  <c:v>5.9767835657256203</c:v>
                </c:pt>
                <c:pt idx="5043">
                  <c:v>5.9687695921866153</c:v>
                </c:pt>
                <c:pt idx="5044">
                  <c:v>5.9586945790745149</c:v>
                </c:pt>
                <c:pt idx="5045">
                  <c:v>5.0254555914876082</c:v>
                </c:pt>
                <c:pt idx="5046">
                  <c:v>5.7995000735265085</c:v>
                </c:pt>
                <c:pt idx="5047">
                  <c:v>5.9671937138107385</c:v>
                </c:pt>
                <c:pt idx="5048">
                  <c:v>5.9448547825255025</c:v>
                </c:pt>
                <c:pt idx="5049">
                  <c:v>4.9743068558988623</c:v>
                </c:pt>
                <c:pt idx="5050">
                  <c:v>6.066651614989345</c:v>
                </c:pt>
                <c:pt idx="5051">
                  <c:v>6.2610251606965415</c:v>
                </c:pt>
                <c:pt idx="5052">
                  <c:v>5.9403433391045457</c:v>
                </c:pt>
                <c:pt idx="5053">
                  <c:v>5.9155208078203811</c:v>
                </c:pt>
                <c:pt idx="5054">
                  <c:v>5.0462245729909201</c:v>
                </c:pt>
                <c:pt idx="5055">
                  <c:v>6.0123482450790959</c:v>
                </c:pt>
                <c:pt idx="5056">
                  <c:v>6.1946960969361182</c:v>
                </c:pt>
                <c:pt idx="5057">
                  <c:v>5.9730915289890234</c:v>
                </c:pt>
                <c:pt idx="5058">
                  <c:v>5.1150625101268945</c:v>
                </c:pt>
                <c:pt idx="5059">
                  <c:v>7.1754260668771961</c:v>
                </c:pt>
                <c:pt idx="5060">
                  <c:v>6.1068579299054218</c:v>
                </c:pt>
                <c:pt idx="5061">
                  <c:v>6.0216116697679158</c:v>
                </c:pt>
                <c:pt idx="5062">
                  <c:v>4.9005411630220541</c:v>
                </c:pt>
                <c:pt idx="5063">
                  <c:v>6.0334805543666032</c:v>
                </c:pt>
                <c:pt idx="5064">
                  <c:v>5.0938395637805867</c:v>
                </c:pt>
                <c:pt idx="5065">
                  <c:v>6.1112638698907045</c:v>
                </c:pt>
                <c:pt idx="5066">
                  <c:v>4.9996037305463528</c:v>
                </c:pt>
                <c:pt idx="5067">
                  <c:v>6.0088612974706264</c:v>
                </c:pt>
                <c:pt idx="5068">
                  <c:v>4.9947612645633352</c:v>
                </c:pt>
                <c:pt idx="5069">
                  <c:v>5.0334258579452653</c:v>
                </c:pt>
                <c:pt idx="5070">
                  <c:v>5.0317866196551462</c:v>
                </c:pt>
                <c:pt idx="5071">
                  <c:v>6.0341280056389053</c:v>
                </c:pt>
                <c:pt idx="5072">
                  <c:v>5.782085709291902</c:v>
                </c:pt>
                <c:pt idx="5073">
                  <c:v>6.0380662051118517</c:v>
                </c:pt>
                <c:pt idx="5074">
                  <c:v>5.9017333770187363</c:v>
                </c:pt>
                <c:pt idx="5075">
                  <c:v>4.7898342506174068</c:v>
                </c:pt>
                <c:pt idx="5076">
                  <c:v>4.9269076348188428</c:v>
                </c:pt>
                <c:pt idx="5077">
                  <c:v>6.9914972096573651</c:v>
                </c:pt>
                <c:pt idx="5078">
                  <c:v>5.0703580237584243</c:v>
                </c:pt>
                <c:pt idx="5079">
                  <c:v>5.1292516040849723</c:v>
                </c:pt>
                <c:pt idx="5080">
                  <c:v>4.8931463077257726</c:v>
                </c:pt>
                <c:pt idx="5081">
                  <c:v>5.0818820922180343</c:v>
                </c:pt>
                <c:pt idx="5082">
                  <c:v>6.1042319836226859</c:v>
                </c:pt>
                <c:pt idx="5083">
                  <c:v>6.0199152458218368</c:v>
                </c:pt>
                <c:pt idx="5084">
                  <c:v>4.826656477689192</c:v>
                </c:pt>
                <c:pt idx="5085">
                  <c:v>6.066430630762575</c:v>
                </c:pt>
                <c:pt idx="5086">
                  <c:v>5.0549607683646585</c:v>
                </c:pt>
                <c:pt idx="5087">
                  <c:v>4.9733892749220061</c:v>
                </c:pt>
                <c:pt idx="5088">
                  <c:v>6.1117537063086322</c:v>
                </c:pt>
                <c:pt idx="5089">
                  <c:v>4.9472201249815333</c:v>
                </c:pt>
                <c:pt idx="5090">
                  <c:v>5.0460753986650797</c:v>
                </c:pt>
                <c:pt idx="5091">
                  <c:v>5.0239507649505892</c:v>
                </c:pt>
                <c:pt idx="5092">
                  <c:v>6.0274999741101247</c:v>
                </c:pt>
                <c:pt idx="5093">
                  <c:v>6.1300299513877334</c:v>
                </c:pt>
                <c:pt idx="5094">
                  <c:v>5.0412891553466554</c:v>
                </c:pt>
                <c:pt idx="5095">
                  <c:v>6.0170324833944857</c:v>
                </c:pt>
                <c:pt idx="5096">
                  <c:v>5.9939003122523369</c:v>
                </c:pt>
                <c:pt idx="5097">
                  <c:v>7.0038650806501082</c:v>
                </c:pt>
                <c:pt idx="5098">
                  <c:v>5.8632789037366502</c:v>
                </c:pt>
                <c:pt idx="5099">
                  <c:v>5.9917140309642267</c:v>
                </c:pt>
                <c:pt idx="5100">
                  <c:v>5.0473478290165072</c:v>
                </c:pt>
                <c:pt idx="5101">
                  <c:v>6.0162140464903375</c:v>
                </c:pt>
                <c:pt idx="5102">
                  <c:v>6.0933354576975551</c:v>
                </c:pt>
                <c:pt idx="5103">
                  <c:v>4.9466471957646236</c:v>
                </c:pt>
                <c:pt idx="5104">
                  <c:v>6.0465112260220586</c:v>
                </c:pt>
                <c:pt idx="5105">
                  <c:v>5.9079277538397061</c:v>
                </c:pt>
                <c:pt idx="5106">
                  <c:v>3.9538270615622149</c:v>
                </c:pt>
                <c:pt idx="5107">
                  <c:v>5.9896402068368753</c:v>
                </c:pt>
                <c:pt idx="5108">
                  <c:v>5.9387109424058302</c:v>
                </c:pt>
                <c:pt idx="5109">
                  <c:v>5.85248117319082</c:v>
                </c:pt>
                <c:pt idx="5110">
                  <c:v>6.1527771022023749</c:v>
                </c:pt>
                <c:pt idx="5111">
                  <c:v>4.8801254268958401</c:v>
                </c:pt>
                <c:pt idx="5112">
                  <c:v>5.0200356159610529</c:v>
                </c:pt>
                <c:pt idx="5113">
                  <c:v>5.0581672189762816</c:v>
                </c:pt>
                <c:pt idx="5114">
                  <c:v>4.8687698729552613</c:v>
                </c:pt>
                <c:pt idx="5115">
                  <c:v>5.999787971862216</c:v>
                </c:pt>
                <c:pt idx="5116">
                  <c:v>5.9160466342968299</c:v>
                </c:pt>
                <c:pt idx="5117">
                  <c:v>4.7989531038114208</c:v>
                </c:pt>
                <c:pt idx="5118">
                  <c:v>6.0926435833180976</c:v>
                </c:pt>
                <c:pt idx="5119">
                  <c:v>4.9012023563519449</c:v>
                </c:pt>
                <c:pt idx="5120">
                  <c:v>5.8204219973444404</c:v>
                </c:pt>
                <c:pt idx="5121">
                  <c:v>4.9347872419895626</c:v>
                </c:pt>
                <c:pt idx="5122">
                  <c:v>4.8896076492874823</c:v>
                </c:pt>
                <c:pt idx="5123">
                  <c:v>6.006675992768332</c:v>
                </c:pt>
                <c:pt idx="5124">
                  <c:v>4.9369853246413911</c:v>
                </c:pt>
                <c:pt idx="5125">
                  <c:v>6.1718535451091876</c:v>
                </c:pt>
                <c:pt idx="5126">
                  <c:v>6.0757232062572664</c:v>
                </c:pt>
                <c:pt idx="5127">
                  <c:v>4.9228744779434495</c:v>
                </c:pt>
                <c:pt idx="5128">
                  <c:v>6.0277164892246935</c:v>
                </c:pt>
                <c:pt idx="5129">
                  <c:v>5.664308165974016</c:v>
                </c:pt>
                <c:pt idx="5130">
                  <c:v>5.9989362063205451</c:v>
                </c:pt>
                <c:pt idx="5131">
                  <c:v>5.8866111097588014</c:v>
                </c:pt>
                <c:pt idx="5132">
                  <c:v>5.9239664206985587</c:v>
                </c:pt>
                <c:pt idx="5133">
                  <c:v>5.9857735410680064</c:v>
                </c:pt>
                <c:pt idx="5134">
                  <c:v>6.0766917644952576</c:v>
                </c:pt>
                <c:pt idx="5135">
                  <c:v>6.8779320562401089</c:v>
                </c:pt>
                <c:pt idx="5136">
                  <c:v>6.0176334056244478</c:v>
                </c:pt>
                <c:pt idx="5137">
                  <c:v>4.9496323403470051</c:v>
                </c:pt>
                <c:pt idx="5138">
                  <c:v>5.9917926065346885</c:v>
                </c:pt>
                <c:pt idx="5139">
                  <c:v>5.9808122991383845</c:v>
                </c:pt>
                <c:pt idx="5140">
                  <c:v>6.0618480531901477</c:v>
                </c:pt>
                <c:pt idx="5141">
                  <c:v>6.239614251351731</c:v>
                </c:pt>
                <c:pt idx="5142">
                  <c:v>6.0134738867071631</c:v>
                </c:pt>
                <c:pt idx="5143">
                  <c:v>5.9903057897638288</c:v>
                </c:pt>
                <c:pt idx="5144">
                  <c:v>4.8571185814301909</c:v>
                </c:pt>
                <c:pt idx="5145">
                  <c:v>5.0602466201798659</c:v>
                </c:pt>
                <c:pt idx="5146">
                  <c:v>4.9291872161706554</c:v>
                </c:pt>
                <c:pt idx="5147">
                  <c:v>5.8902391176643283</c:v>
                </c:pt>
                <c:pt idx="5148">
                  <c:v>6.0848336253282636</c:v>
                </c:pt>
                <c:pt idx="5149">
                  <c:v>5.8999962530216656</c:v>
                </c:pt>
                <c:pt idx="5150">
                  <c:v>5.1230218998664547</c:v>
                </c:pt>
                <c:pt idx="5151">
                  <c:v>4.8956096339504844</c:v>
                </c:pt>
                <c:pt idx="5152">
                  <c:v>4.8672026121898524</c:v>
                </c:pt>
                <c:pt idx="5153">
                  <c:v>4.9132623765095742</c:v>
                </c:pt>
                <c:pt idx="5154">
                  <c:v>4.9584299658109225</c:v>
                </c:pt>
                <c:pt idx="5155">
                  <c:v>7.130795089282028</c:v>
                </c:pt>
                <c:pt idx="5156">
                  <c:v>5.8641807635881777</c:v>
                </c:pt>
                <c:pt idx="5157">
                  <c:v>7.1996113907797126</c:v>
                </c:pt>
                <c:pt idx="5158">
                  <c:v>6.0675442958716488</c:v>
                </c:pt>
                <c:pt idx="5159">
                  <c:v>4.8687530976572555</c:v>
                </c:pt>
                <c:pt idx="5160">
                  <c:v>5.0139161644279868</c:v>
                </c:pt>
                <c:pt idx="5161">
                  <c:v>7.1740097067463111</c:v>
                </c:pt>
                <c:pt idx="5162">
                  <c:v>5.8964871062099924</c:v>
                </c:pt>
                <c:pt idx="5163">
                  <c:v>5.9635854364075129</c:v>
                </c:pt>
                <c:pt idx="5164">
                  <c:v>5.9704150224467831</c:v>
                </c:pt>
                <c:pt idx="5165">
                  <c:v>5.1275015061909857</c:v>
                </c:pt>
                <c:pt idx="5166">
                  <c:v>5.9200326283155409</c:v>
                </c:pt>
                <c:pt idx="5167">
                  <c:v>5.0904006174463809</c:v>
                </c:pt>
                <c:pt idx="5168">
                  <c:v>5.0792353909760672</c:v>
                </c:pt>
                <c:pt idx="5169">
                  <c:v>5.9052558722250366</c:v>
                </c:pt>
                <c:pt idx="5170">
                  <c:v>6.0136956363715255</c:v>
                </c:pt>
                <c:pt idx="5171">
                  <c:v>6.0158106209435029</c:v>
                </c:pt>
                <c:pt idx="5172">
                  <c:v>4.973098919683677</c:v>
                </c:pt>
                <c:pt idx="5173">
                  <c:v>5.9114213061052707</c:v>
                </c:pt>
                <c:pt idx="5174">
                  <c:v>5.9440970855963284</c:v>
                </c:pt>
                <c:pt idx="5175">
                  <c:v>6.0349728196214389</c:v>
                </c:pt>
                <c:pt idx="5176">
                  <c:v>4.773845939079493</c:v>
                </c:pt>
                <c:pt idx="5177">
                  <c:v>5.0782429069832755</c:v>
                </c:pt>
                <c:pt idx="5178">
                  <c:v>7.1084116294002051</c:v>
                </c:pt>
                <c:pt idx="5179">
                  <c:v>6.0144316333672192</c:v>
                </c:pt>
                <c:pt idx="5180">
                  <c:v>5.880127585446794</c:v>
                </c:pt>
                <c:pt idx="5181">
                  <c:v>5.9766414053443517</c:v>
                </c:pt>
                <c:pt idx="5182">
                  <c:v>5.1481591340517419</c:v>
                </c:pt>
                <c:pt idx="5183">
                  <c:v>6.0348372674140451</c:v>
                </c:pt>
                <c:pt idx="5184">
                  <c:v>5.0587720693623668</c:v>
                </c:pt>
                <c:pt idx="5185">
                  <c:v>7.0463654103104201</c:v>
                </c:pt>
                <c:pt idx="5186">
                  <c:v>4.9335906739981699</c:v>
                </c:pt>
                <c:pt idx="5187">
                  <c:v>5.0937700239776564</c:v>
                </c:pt>
                <c:pt idx="5188">
                  <c:v>6.138180588132867</c:v>
                </c:pt>
                <c:pt idx="5189">
                  <c:v>6.0536367704915399</c:v>
                </c:pt>
                <c:pt idx="5190">
                  <c:v>5.0743062368042242</c:v>
                </c:pt>
                <c:pt idx="5191">
                  <c:v>5.7854911666910951</c:v>
                </c:pt>
                <c:pt idx="5192">
                  <c:v>5.9702884334705448</c:v>
                </c:pt>
                <c:pt idx="5193">
                  <c:v>6.0777189127895808</c:v>
                </c:pt>
                <c:pt idx="5194">
                  <c:v>4.0030294768847279</c:v>
                </c:pt>
                <c:pt idx="5195">
                  <c:v>5.0405785345729672</c:v>
                </c:pt>
                <c:pt idx="5196">
                  <c:v>4.947903662529904</c:v>
                </c:pt>
                <c:pt idx="5197">
                  <c:v>4.9130170070084178</c:v>
                </c:pt>
                <c:pt idx="5198">
                  <c:v>5.8947950314331514</c:v>
                </c:pt>
                <c:pt idx="5199">
                  <c:v>3.9380231014281724</c:v>
                </c:pt>
                <c:pt idx="5200">
                  <c:v>6.0603231202367596</c:v>
                </c:pt>
                <c:pt idx="5201">
                  <c:v>5.9234444459539679</c:v>
                </c:pt>
                <c:pt idx="5202">
                  <c:v>6.2970891259816328</c:v>
                </c:pt>
                <c:pt idx="5203">
                  <c:v>5.9388066202076661</c:v>
                </c:pt>
                <c:pt idx="5204">
                  <c:v>4.9388787106923457</c:v>
                </c:pt>
                <c:pt idx="5205">
                  <c:v>6.9342120765196924</c:v>
                </c:pt>
                <c:pt idx="5206">
                  <c:v>6.8287678241424734</c:v>
                </c:pt>
                <c:pt idx="5207">
                  <c:v>4.8729735209632938</c:v>
                </c:pt>
                <c:pt idx="5208">
                  <c:v>4.9227006546062491</c:v>
                </c:pt>
                <c:pt idx="5209">
                  <c:v>5.8318952028412152</c:v>
                </c:pt>
                <c:pt idx="5210">
                  <c:v>5.1301549607690227</c:v>
                </c:pt>
                <c:pt idx="5211">
                  <c:v>7.0914720928345423</c:v>
                </c:pt>
                <c:pt idx="5212">
                  <c:v>4.8370558974651274</c:v>
                </c:pt>
                <c:pt idx="5213">
                  <c:v>4.7477949236548538</c:v>
                </c:pt>
                <c:pt idx="5214">
                  <c:v>6.0719312492804542</c:v>
                </c:pt>
                <c:pt idx="5215">
                  <c:v>4.9862639172644787</c:v>
                </c:pt>
                <c:pt idx="5216">
                  <c:v>5.1517605266049387</c:v>
                </c:pt>
                <c:pt idx="5217">
                  <c:v>5.0625443591390047</c:v>
                </c:pt>
                <c:pt idx="5218">
                  <c:v>5.8589751611836238</c:v>
                </c:pt>
                <c:pt idx="5219">
                  <c:v>5.075707500149047</c:v>
                </c:pt>
                <c:pt idx="5220">
                  <c:v>5.9857411362610016</c:v>
                </c:pt>
                <c:pt idx="5221">
                  <c:v>5.0371369504301038</c:v>
                </c:pt>
                <c:pt idx="5222">
                  <c:v>6.2700115484357068</c:v>
                </c:pt>
                <c:pt idx="5223">
                  <c:v>5.9751024982147412</c:v>
                </c:pt>
                <c:pt idx="5224">
                  <c:v>5.9177390668868428</c:v>
                </c:pt>
                <c:pt idx="5225">
                  <c:v>4.9365143073001247</c:v>
                </c:pt>
                <c:pt idx="5226">
                  <c:v>3.8892702827380257</c:v>
                </c:pt>
                <c:pt idx="5227">
                  <c:v>5.0379013641784853</c:v>
                </c:pt>
                <c:pt idx="5228">
                  <c:v>4.8491301567015981</c:v>
                </c:pt>
                <c:pt idx="5229">
                  <c:v>7.0181827642634955</c:v>
                </c:pt>
                <c:pt idx="5230">
                  <c:v>5.8419430468054232</c:v>
                </c:pt>
                <c:pt idx="5231">
                  <c:v>6.0113222294631905</c:v>
                </c:pt>
                <c:pt idx="5232">
                  <c:v>5.9316522946597843</c:v>
                </c:pt>
                <c:pt idx="5233">
                  <c:v>4.9371900304106671</c:v>
                </c:pt>
                <c:pt idx="5234">
                  <c:v>4.9517437181291086</c:v>
                </c:pt>
                <c:pt idx="5235">
                  <c:v>6.8165998253512647</c:v>
                </c:pt>
                <c:pt idx="5236">
                  <c:v>5.8764986807469439</c:v>
                </c:pt>
                <c:pt idx="5237">
                  <c:v>5.0955313116468597</c:v>
                </c:pt>
                <c:pt idx="5238">
                  <c:v>4.0325038335422452</c:v>
                </c:pt>
                <c:pt idx="5239">
                  <c:v>5.9741467885034671</c:v>
                </c:pt>
                <c:pt idx="5240">
                  <c:v>4.820336681760188</c:v>
                </c:pt>
                <c:pt idx="5241">
                  <c:v>4.9692670772465446</c:v>
                </c:pt>
                <c:pt idx="5242">
                  <c:v>6.0828842402079477</c:v>
                </c:pt>
                <c:pt idx="5243">
                  <c:v>5.9431129049066476</c:v>
                </c:pt>
                <c:pt idx="5244">
                  <c:v>4.9478682031875083</c:v>
                </c:pt>
                <c:pt idx="5245">
                  <c:v>5.9875843342228601</c:v>
                </c:pt>
                <c:pt idx="5246">
                  <c:v>4.8380043203735852</c:v>
                </c:pt>
                <c:pt idx="5247">
                  <c:v>5.9353962346664524</c:v>
                </c:pt>
                <c:pt idx="5248">
                  <c:v>6.218913777489627</c:v>
                </c:pt>
                <c:pt idx="5249">
                  <c:v>4.9345986883722102</c:v>
                </c:pt>
                <c:pt idx="5250">
                  <c:v>6.1240646135835854</c:v>
                </c:pt>
                <c:pt idx="5251">
                  <c:v>7.042229608891013</c:v>
                </c:pt>
                <c:pt idx="5252">
                  <c:v>7.0008674930015706</c:v>
                </c:pt>
                <c:pt idx="5253">
                  <c:v>5.047447323546618</c:v>
                </c:pt>
                <c:pt idx="5254">
                  <c:v>4.9681001343189282</c:v>
                </c:pt>
                <c:pt idx="5255">
                  <c:v>6.9526674449822172</c:v>
                </c:pt>
                <c:pt idx="5256">
                  <c:v>5.7379902486278</c:v>
                </c:pt>
                <c:pt idx="5257">
                  <c:v>5.9962288801225716</c:v>
                </c:pt>
                <c:pt idx="5258">
                  <c:v>6.0323188386361659</c:v>
                </c:pt>
                <c:pt idx="5259">
                  <c:v>5.9186621059773454</c:v>
                </c:pt>
                <c:pt idx="5260">
                  <c:v>4.9148875595481876</c:v>
                </c:pt>
                <c:pt idx="5261">
                  <c:v>6.0194385254936043</c:v>
                </c:pt>
                <c:pt idx="5262">
                  <c:v>6.0285772762216698</c:v>
                </c:pt>
                <c:pt idx="5263">
                  <c:v>5.9798013096923919</c:v>
                </c:pt>
                <c:pt idx="5264">
                  <c:v>5.8156633073068207</c:v>
                </c:pt>
                <c:pt idx="5265">
                  <c:v>6.0065607457527488</c:v>
                </c:pt>
                <c:pt idx="5266">
                  <c:v>5.9959071485411641</c:v>
                </c:pt>
                <c:pt idx="5267">
                  <c:v>5.9985430576723395</c:v>
                </c:pt>
                <c:pt idx="5268">
                  <c:v>5.1173934853310437</c:v>
                </c:pt>
                <c:pt idx="5269">
                  <c:v>5.9249299039117922</c:v>
                </c:pt>
                <c:pt idx="5270">
                  <c:v>6.0439348171396494</c:v>
                </c:pt>
                <c:pt idx="5271">
                  <c:v>6.0258771133824203</c:v>
                </c:pt>
                <c:pt idx="5272">
                  <c:v>5.8895666784202136</c:v>
                </c:pt>
                <c:pt idx="5273">
                  <c:v>6.1088533166340904</c:v>
                </c:pt>
                <c:pt idx="5274">
                  <c:v>5.964337926174343</c:v>
                </c:pt>
                <c:pt idx="5275">
                  <c:v>6.9428298388517806</c:v>
                </c:pt>
                <c:pt idx="5276">
                  <c:v>5.0315391844030897</c:v>
                </c:pt>
                <c:pt idx="5277">
                  <c:v>4.8541252016955507</c:v>
                </c:pt>
                <c:pt idx="5278">
                  <c:v>5.8410835861028527</c:v>
                </c:pt>
                <c:pt idx="5279">
                  <c:v>5.8566046086370225</c:v>
                </c:pt>
                <c:pt idx="5280">
                  <c:v>5.1806883605131446</c:v>
                </c:pt>
                <c:pt idx="5281">
                  <c:v>6.0771954110583568</c:v>
                </c:pt>
                <c:pt idx="5282">
                  <c:v>5.0490977240680666</c:v>
                </c:pt>
                <c:pt idx="5283">
                  <c:v>4.9485142376711533</c:v>
                </c:pt>
                <c:pt idx="5284">
                  <c:v>3.949410526180174</c:v>
                </c:pt>
                <c:pt idx="5285">
                  <c:v>6.1094834011966999</c:v>
                </c:pt>
                <c:pt idx="5286">
                  <c:v>3.856612665488298</c:v>
                </c:pt>
                <c:pt idx="5287">
                  <c:v>5.0977555404269825</c:v>
                </c:pt>
                <c:pt idx="5288">
                  <c:v>5.8153765814496072</c:v>
                </c:pt>
                <c:pt idx="5289">
                  <c:v>4.8281448692005178</c:v>
                </c:pt>
                <c:pt idx="5290">
                  <c:v>6.9615634197140448</c:v>
                </c:pt>
                <c:pt idx="5291">
                  <c:v>4.9461831062472497</c:v>
                </c:pt>
                <c:pt idx="5292">
                  <c:v>4.8891523060889162</c:v>
                </c:pt>
                <c:pt idx="5293">
                  <c:v>5.0992469560163114</c:v>
                </c:pt>
                <c:pt idx="5294">
                  <c:v>4.9651272082521025</c:v>
                </c:pt>
                <c:pt idx="5295">
                  <c:v>5.8721203771357571</c:v>
                </c:pt>
                <c:pt idx="5296">
                  <c:v>4.8480627932121036</c:v>
                </c:pt>
                <c:pt idx="5297">
                  <c:v>6.0770748420084075</c:v>
                </c:pt>
                <c:pt idx="5298">
                  <c:v>6.8678147501605631</c:v>
                </c:pt>
                <c:pt idx="5299">
                  <c:v>6.2365673973886846</c:v>
                </c:pt>
                <c:pt idx="5300">
                  <c:v>6.097263166897628</c:v>
                </c:pt>
                <c:pt idx="5301">
                  <c:v>6.7128353520690291</c:v>
                </c:pt>
                <c:pt idx="5302">
                  <c:v>4.9965692530939245</c:v>
                </c:pt>
                <c:pt idx="5303">
                  <c:v>5.8783181553111685</c:v>
                </c:pt>
                <c:pt idx="5304">
                  <c:v>4.8282912640252915</c:v>
                </c:pt>
                <c:pt idx="5305">
                  <c:v>6.0126040102497207</c:v>
                </c:pt>
                <c:pt idx="5306">
                  <c:v>4.9491172005829789</c:v>
                </c:pt>
                <c:pt idx="5307">
                  <c:v>4.9563283125475142</c:v>
                </c:pt>
                <c:pt idx="5308">
                  <c:v>4.1725134141157394</c:v>
                </c:pt>
                <c:pt idx="5309">
                  <c:v>6.2288420913936564</c:v>
                </c:pt>
                <c:pt idx="5310">
                  <c:v>5.0477045824546432</c:v>
                </c:pt>
                <c:pt idx="5311">
                  <c:v>5.9105169272189979</c:v>
                </c:pt>
                <c:pt idx="5312">
                  <c:v>5.9768743948338949</c:v>
                </c:pt>
                <c:pt idx="5313">
                  <c:v>5.0729373821745467</c:v>
                </c:pt>
                <c:pt idx="5314">
                  <c:v>5.0657717316976134</c:v>
                </c:pt>
                <c:pt idx="5315">
                  <c:v>5.1413172895173949</c:v>
                </c:pt>
                <c:pt idx="5316">
                  <c:v>5.9094726975424248</c:v>
                </c:pt>
                <c:pt idx="5317">
                  <c:v>4.9318942577078611</c:v>
                </c:pt>
                <c:pt idx="5318">
                  <c:v>6.9545696227781519</c:v>
                </c:pt>
                <c:pt idx="5319">
                  <c:v>6.1405406985815789</c:v>
                </c:pt>
                <c:pt idx="5320">
                  <c:v>6.9199412110665177</c:v>
                </c:pt>
                <c:pt idx="5321">
                  <c:v>7.0213145892053994</c:v>
                </c:pt>
                <c:pt idx="5322">
                  <c:v>6.8879164145677247</c:v>
                </c:pt>
                <c:pt idx="5323">
                  <c:v>5.0090408745390134</c:v>
                </c:pt>
                <c:pt idx="5324">
                  <c:v>5.8505564896286213</c:v>
                </c:pt>
                <c:pt idx="5325">
                  <c:v>5.9885655975067875</c:v>
                </c:pt>
                <c:pt idx="5326">
                  <c:v>5.0007436131276588</c:v>
                </c:pt>
                <c:pt idx="5327">
                  <c:v>6.1650654377136691</c:v>
                </c:pt>
                <c:pt idx="5328">
                  <c:v>5.9614303841907148</c:v>
                </c:pt>
                <c:pt idx="5329">
                  <c:v>6.0888010610565333</c:v>
                </c:pt>
                <c:pt idx="5330">
                  <c:v>5.0221046675568735</c:v>
                </c:pt>
                <c:pt idx="5331">
                  <c:v>5.95619512488478</c:v>
                </c:pt>
                <c:pt idx="5332">
                  <c:v>5.9013187672926239</c:v>
                </c:pt>
                <c:pt idx="5333">
                  <c:v>5.867949752646747</c:v>
                </c:pt>
                <c:pt idx="5334">
                  <c:v>7.016411705981155</c:v>
                </c:pt>
                <c:pt idx="5335">
                  <c:v>6.3001182254213983</c:v>
                </c:pt>
                <c:pt idx="5336">
                  <c:v>5.8844425816874244</c:v>
                </c:pt>
                <c:pt idx="5337">
                  <c:v>5.0330582625823403</c:v>
                </c:pt>
                <c:pt idx="5338">
                  <c:v>7.0546116747822296</c:v>
                </c:pt>
                <c:pt idx="5339">
                  <c:v>6.0163484006126104</c:v>
                </c:pt>
                <c:pt idx="5340">
                  <c:v>4.9714123389785376</c:v>
                </c:pt>
                <c:pt idx="5341">
                  <c:v>5.055751812468503</c:v>
                </c:pt>
                <c:pt idx="5342">
                  <c:v>5.0069153438085685</c:v>
                </c:pt>
                <c:pt idx="5343">
                  <c:v>4.9560710835074691</c:v>
                </c:pt>
                <c:pt idx="5344">
                  <c:v>5.836499203523088</c:v>
                </c:pt>
                <c:pt idx="5345">
                  <c:v>5.064960880024473</c:v>
                </c:pt>
                <c:pt idx="5346">
                  <c:v>6.1331699533819224</c:v>
                </c:pt>
                <c:pt idx="5347">
                  <c:v>7.0581975164629984</c:v>
                </c:pt>
                <c:pt idx="5348">
                  <c:v>4.7911123766151613</c:v>
                </c:pt>
                <c:pt idx="5349">
                  <c:v>4.9168662334686148</c:v>
                </c:pt>
                <c:pt idx="5350">
                  <c:v>6.0340704033340149</c:v>
                </c:pt>
                <c:pt idx="5351">
                  <c:v>5.8929438045983122</c:v>
                </c:pt>
                <c:pt idx="5352">
                  <c:v>6.0383588594026723</c:v>
                </c:pt>
                <c:pt idx="5353">
                  <c:v>5.035192287588492</c:v>
                </c:pt>
                <c:pt idx="5354">
                  <c:v>4.991672592660386</c:v>
                </c:pt>
                <c:pt idx="5355">
                  <c:v>5.1156115111984173</c:v>
                </c:pt>
                <c:pt idx="5356">
                  <c:v>5.1605430865737425</c:v>
                </c:pt>
                <c:pt idx="5357">
                  <c:v>5.9180732475537177</c:v>
                </c:pt>
                <c:pt idx="5358">
                  <c:v>4.9955981289833131</c:v>
                </c:pt>
                <c:pt idx="5359">
                  <c:v>5.9662919027216379</c:v>
                </c:pt>
                <c:pt idx="5360">
                  <c:v>5.9636488212716943</c:v>
                </c:pt>
                <c:pt idx="5361">
                  <c:v>5.8540166467345278</c:v>
                </c:pt>
                <c:pt idx="5362">
                  <c:v>5.0116451159002837</c:v>
                </c:pt>
                <c:pt idx="5363">
                  <c:v>4.8813847120096376</c:v>
                </c:pt>
                <c:pt idx="5364">
                  <c:v>5.8481891101906589</c:v>
                </c:pt>
                <c:pt idx="5365">
                  <c:v>5.1864232819198302</c:v>
                </c:pt>
                <c:pt idx="5366">
                  <c:v>5.8917017089091477</c:v>
                </c:pt>
                <c:pt idx="5367">
                  <c:v>4.9875985283371067</c:v>
                </c:pt>
                <c:pt idx="5368">
                  <c:v>6.1835267613854201</c:v>
                </c:pt>
                <c:pt idx="5369">
                  <c:v>4.9450231809816678</c:v>
                </c:pt>
                <c:pt idx="5370">
                  <c:v>5.0474475307113265</c:v>
                </c:pt>
                <c:pt idx="5371">
                  <c:v>4.9855270293773666</c:v>
                </c:pt>
                <c:pt idx="5372">
                  <c:v>6.0103145347673239</c:v>
                </c:pt>
                <c:pt idx="5373">
                  <c:v>6.1306844428321812</c:v>
                </c:pt>
                <c:pt idx="5374">
                  <c:v>5.9377617096283553</c:v>
                </c:pt>
                <c:pt idx="5375">
                  <c:v>6.9336784881254765</c:v>
                </c:pt>
                <c:pt idx="5376">
                  <c:v>4.8543486504310289</c:v>
                </c:pt>
                <c:pt idx="5377">
                  <c:v>5.9745048318994476</c:v>
                </c:pt>
                <c:pt idx="5378">
                  <c:v>7.0843942484691729</c:v>
                </c:pt>
                <c:pt idx="5379">
                  <c:v>6.1138406867561077</c:v>
                </c:pt>
                <c:pt idx="5380">
                  <c:v>5.9321577165039496</c:v>
                </c:pt>
                <c:pt idx="5381">
                  <c:v>4.8901667399504376</c:v>
                </c:pt>
                <c:pt idx="5382">
                  <c:v>6.197984066048047</c:v>
                </c:pt>
                <c:pt idx="5383">
                  <c:v>6.0707346895007213</c:v>
                </c:pt>
                <c:pt idx="5384">
                  <c:v>6.1567074692034716</c:v>
                </c:pt>
                <c:pt idx="5385">
                  <c:v>6.0690642527614083</c:v>
                </c:pt>
                <c:pt idx="5386">
                  <c:v>6.2410486448122455</c:v>
                </c:pt>
                <c:pt idx="5387">
                  <c:v>5.9083003300716044</c:v>
                </c:pt>
                <c:pt idx="5388">
                  <c:v>4.9422560444275883</c:v>
                </c:pt>
                <c:pt idx="5389">
                  <c:v>4.9985475688279424</c:v>
                </c:pt>
                <c:pt idx="5390">
                  <c:v>5.0529402288456859</c:v>
                </c:pt>
                <c:pt idx="5391">
                  <c:v>6.083120600456601</c:v>
                </c:pt>
                <c:pt idx="5392">
                  <c:v>5.0686904314678047</c:v>
                </c:pt>
                <c:pt idx="5393">
                  <c:v>4.865473906579294</c:v>
                </c:pt>
                <c:pt idx="5394">
                  <c:v>6.1105433512768483</c:v>
                </c:pt>
                <c:pt idx="5395">
                  <c:v>5.7546325020666105</c:v>
                </c:pt>
                <c:pt idx="5396">
                  <c:v>6.0812679789206543</c:v>
                </c:pt>
                <c:pt idx="5397">
                  <c:v>5.983416379340162</c:v>
                </c:pt>
                <c:pt idx="5398">
                  <c:v>7.0269723144374501</c:v>
                </c:pt>
                <c:pt idx="5399">
                  <c:v>6.1197088502872541</c:v>
                </c:pt>
                <c:pt idx="5400">
                  <c:v>6.1737358667792028</c:v>
                </c:pt>
                <c:pt idx="5401">
                  <c:v>5.9045141743959828</c:v>
                </c:pt>
                <c:pt idx="5402">
                  <c:v>6.0659657350687324</c:v>
                </c:pt>
                <c:pt idx="5403">
                  <c:v>6.0149489075175762</c:v>
                </c:pt>
                <c:pt idx="5404">
                  <c:v>5.1208186528118738</c:v>
                </c:pt>
                <c:pt idx="5405">
                  <c:v>4.9815584265090447</c:v>
                </c:pt>
                <c:pt idx="5406">
                  <c:v>4.9863656314685443</c:v>
                </c:pt>
                <c:pt idx="5407">
                  <c:v>6.0966201306939789</c:v>
                </c:pt>
                <c:pt idx="5408">
                  <c:v>6.146936063348071</c:v>
                </c:pt>
                <c:pt idx="5409">
                  <c:v>6.0491144479605623</c:v>
                </c:pt>
                <c:pt idx="5410">
                  <c:v>6.1598366109444287</c:v>
                </c:pt>
                <c:pt idx="5411">
                  <c:v>4.9275698454986454</c:v>
                </c:pt>
                <c:pt idx="5412">
                  <c:v>6.0242586190481386</c:v>
                </c:pt>
                <c:pt idx="5413">
                  <c:v>6.0479383644996592</c:v>
                </c:pt>
                <c:pt idx="5414">
                  <c:v>5.985837725334842</c:v>
                </c:pt>
                <c:pt idx="5415">
                  <c:v>5.8562424091221885</c:v>
                </c:pt>
                <c:pt idx="5416">
                  <c:v>5.8305101245773807</c:v>
                </c:pt>
                <c:pt idx="5417">
                  <c:v>4.9981667294287071</c:v>
                </c:pt>
                <c:pt idx="5418">
                  <c:v>5.9797079149978511</c:v>
                </c:pt>
                <c:pt idx="5419">
                  <c:v>5.0595787076360601</c:v>
                </c:pt>
                <c:pt idx="5420">
                  <c:v>5.8849118230028612</c:v>
                </c:pt>
                <c:pt idx="5421">
                  <c:v>5.973557866136689</c:v>
                </c:pt>
                <c:pt idx="5422">
                  <c:v>6.0819651209454726</c:v>
                </c:pt>
                <c:pt idx="5423">
                  <c:v>6.026084479735041</c:v>
                </c:pt>
                <c:pt idx="5424">
                  <c:v>5.8396079573970416</c:v>
                </c:pt>
                <c:pt idx="5425">
                  <c:v>6.0693024991320739</c:v>
                </c:pt>
                <c:pt idx="5426">
                  <c:v>6.1749820856232418</c:v>
                </c:pt>
                <c:pt idx="5427">
                  <c:v>5.9992145578033336</c:v>
                </c:pt>
                <c:pt idx="5428">
                  <c:v>4.0210223347819234</c:v>
                </c:pt>
                <c:pt idx="5429">
                  <c:v>6.0281044027185766</c:v>
                </c:pt>
                <c:pt idx="5430">
                  <c:v>5.029319323094195</c:v>
                </c:pt>
                <c:pt idx="5431">
                  <c:v>5.9089447677373679</c:v>
                </c:pt>
                <c:pt idx="5432">
                  <c:v>6.8390882789395304</c:v>
                </c:pt>
                <c:pt idx="5433">
                  <c:v>5.92893139699044</c:v>
                </c:pt>
                <c:pt idx="5434">
                  <c:v>6.1674851872218017</c:v>
                </c:pt>
                <c:pt idx="5435">
                  <c:v>5.9070646749915863</c:v>
                </c:pt>
                <c:pt idx="5436">
                  <c:v>5.8773419010973873</c:v>
                </c:pt>
                <c:pt idx="5437">
                  <c:v>5.0321646375368232</c:v>
                </c:pt>
                <c:pt idx="5438">
                  <c:v>4.9117696393870593</c:v>
                </c:pt>
                <c:pt idx="5439">
                  <c:v>6.0698773608175864</c:v>
                </c:pt>
                <c:pt idx="5440">
                  <c:v>5.8573570610011787</c:v>
                </c:pt>
                <c:pt idx="5441">
                  <c:v>5.1657287220231565</c:v>
                </c:pt>
                <c:pt idx="5442">
                  <c:v>4.9584856937519222</c:v>
                </c:pt>
                <c:pt idx="5443">
                  <c:v>5.9700002070321831</c:v>
                </c:pt>
                <c:pt idx="5444">
                  <c:v>6.0873884475257238</c:v>
                </c:pt>
                <c:pt idx="5445">
                  <c:v>4.9541402851891458</c:v>
                </c:pt>
                <c:pt idx="5446">
                  <c:v>6.1109262819548364</c:v>
                </c:pt>
                <c:pt idx="5447">
                  <c:v>4.8647157045714646</c:v>
                </c:pt>
                <c:pt idx="5448">
                  <c:v>6.110748312349453</c:v>
                </c:pt>
                <c:pt idx="5449">
                  <c:v>6.0151377926626397</c:v>
                </c:pt>
                <c:pt idx="5450">
                  <c:v>4.9851215961858744</c:v>
                </c:pt>
                <c:pt idx="5451">
                  <c:v>6.067563182708926</c:v>
                </c:pt>
                <c:pt idx="5452">
                  <c:v>4.9752549009829989</c:v>
                </c:pt>
                <c:pt idx="5453">
                  <c:v>4.8977213088430203</c:v>
                </c:pt>
                <c:pt idx="5454">
                  <c:v>6.095914537334103</c:v>
                </c:pt>
                <c:pt idx="5455">
                  <c:v>4.9322168434090665</c:v>
                </c:pt>
                <c:pt idx="5456">
                  <c:v>5.9376019272185347</c:v>
                </c:pt>
                <c:pt idx="5457">
                  <c:v>6.0383223719023658</c:v>
                </c:pt>
                <c:pt idx="5458">
                  <c:v>5.8231605381482794</c:v>
                </c:pt>
                <c:pt idx="5459">
                  <c:v>5.937356374154044</c:v>
                </c:pt>
                <c:pt idx="5460">
                  <c:v>6.0469688760969706</c:v>
                </c:pt>
                <c:pt idx="5461">
                  <c:v>6.1509453053986034</c:v>
                </c:pt>
                <c:pt idx="5462">
                  <c:v>4.9676683936490411</c:v>
                </c:pt>
                <c:pt idx="5463">
                  <c:v>6.0089378437918199</c:v>
                </c:pt>
                <c:pt idx="5464">
                  <c:v>6.0597063381939682</c:v>
                </c:pt>
                <c:pt idx="5465">
                  <c:v>6.0479718878118289</c:v>
                </c:pt>
                <c:pt idx="5466">
                  <c:v>6.1113260366305404</c:v>
                </c:pt>
                <c:pt idx="5467">
                  <c:v>4.7481359355011348</c:v>
                </c:pt>
                <c:pt idx="5468">
                  <c:v>5.9897393588975616</c:v>
                </c:pt>
                <c:pt idx="5469">
                  <c:v>4.8965214281307876</c:v>
                </c:pt>
                <c:pt idx="5470">
                  <c:v>6.0900706610961137</c:v>
                </c:pt>
                <c:pt idx="5471">
                  <c:v>6.0552166679233723</c:v>
                </c:pt>
                <c:pt idx="5472">
                  <c:v>6.0332942394574998</c:v>
                </c:pt>
                <c:pt idx="5473">
                  <c:v>6.1060176972008806</c:v>
                </c:pt>
                <c:pt idx="5474">
                  <c:v>5.9718137913967899</c:v>
                </c:pt>
                <c:pt idx="5475">
                  <c:v>5.8661754544618168</c:v>
                </c:pt>
                <c:pt idx="5476">
                  <c:v>5.9875799383350703</c:v>
                </c:pt>
                <c:pt idx="5477">
                  <c:v>4.9483951991706183</c:v>
                </c:pt>
                <c:pt idx="5478">
                  <c:v>5.8410159012996443</c:v>
                </c:pt>
                <c:pt idx="5479">
                  <c:v>5.9773622053655329</c:v>
                </c:pt>
                <c:pt idx="5480">
                  <c:v>6.0268862127514424</c:v>
                </c:pt>
                <c:pt idx="5481">
                  <c:v>5.9931139909770765</c:v>
                </c:pt>
                <c:pt idx="5482">
                  <c:v>5.9760892809477459</c:v>
                </c:pt>
                <c:pt idx="5483">
                  <c:v>4.9247554322065179</c:v>
                </c:pt>
                <c:pt idx="5484">
                  <c:v>6.1061395493101065</c:v>
                </c:pt>
                <c:pt idx="5485">
                  <c:v>6.0116317986366026</c:v>
                </c:pt>
                <c:pt idx="5486">
                  <c:v>6.0830262838543891</c:v>
                </c:pt>
                <c:pt idx="5487">
                  <c:v>5.9184260026743178</c:v>
                </c:pt>
                <c:pt idx="5488">
                  <c:v>5.024028983842987</c:v>
                </c:pt>
                <c:pt idx="5489">
                  <c:v>5.9395479180400068</c:v>
                </c:pt>
                <c:pt idx="5490">
                  <c:v>6.1028302212514323</c:v>
                </c:pt>
                <c:pt idx="5491">
                  <c:v>6.0646760408150309</c:v>
                </c:pt>
                <c:pt idx="5492">
                  <c:v>6.028787655712474</c:v>
                </c:pt>
                <c:pt idx="5493">
                  <c:v>6.1132266924416827</c:v>
                </c:pt>
                <c:pt idx="5494">
                  <c:v>5.9450438615635424</c:v>
                </c:pt>
                <c:pt idx="5495">
                  <c:v>6.1494464361109333</c:v>
                </c:pt>
                <c:pt idx="5496">
                  <c:v>4.9127393225901876</c:v>
                </c:pt>
                <c:pt idx="5497">
                  <c:v>6.0775395539417749</c:v>
                </c:pt>
                <c:pt idx="5498">
                  <c:v>6.1026398483614006</c:v>
                </c:pt>
                <c:pt idx="5499">
                  <c:v>5.0805501863851079</c:v>
                </c:pt>
                <c:pt idx="5500">
                  <c:v>5.0605438465101544</c:v>
                </c:pt>
                <c:pt idx="5501">
                  <c:v>6.017708040040624</c:v>
                </c:pt>
                <c:pt idx="5502">
                  <c:v>6.1700722295591524</c:v>
                </c:pt>
                <c:pt idx="5503">
                  <c:v>5.1010839124379919</c:v>
                </c:pt>
                <c:pt idx="5504">
                  <c:v>6.0240416718655299</c:v>
                </c:pt>
                <c:pt idx="5505">
                  <c:v>4.8923834060261235</c:v>
                </c:pt>
                <c:pt idx="5506">
                  <c:v>4.9101624231448397</c:v>
                </c:pt>
                <c:pt idx="5507">
                  <c:v>5.8946827063704621</c:v>
                </c:pt>
                <c:pt idx="5508">
                  <c:v>6.1519770458758725</c:v>
                </c:pt>
                <c:pt idx="5509">
                  <c:v>6.1618457222612895</c:v>
                </c:pt>
                <c:pt idx="5510">
                  <c:v>5.0227504835077958</c:v>
                </c:pt>
                <c:pt idx="5511">
                  <c:v>5.1492077937066085</c:v>
                </c:pt>
                <c:pt idx="5512">
                  <c:v>5.8912278603952926</c:v>
                </c:pt>
                <c:pt idx="5513">
                  <c:v>5.0035950744940045</c:v>
                </c:pt>
                <c:pt idx="5514">
                  <c:v>5.9516419453612031</c:v>
                </c:pt>
                <c:pt idx="5515">
                  <c:v>5.9634776376679701</c:v>
                </c:pt>
                <c:pt idx="5516">
                  <c:v>6.0616543234033697</c:v>
                </c:pt>
                <c:pt idx="5517">
                  <c:v>6.0437683602465588</c:v>
                </c:pt>
                <c:pt idx="5518">
                  <c:v>5.9293920556318298</c:v>
                </c:pt>
                <c:pt idx="5519">
                  <c:v>5.8830285686256483</c:v>
                </c:pt>
                <c:pt idx="5520">
                  <c:v>5.0485486592824316</c:v>
                </c:pt>
                <c:pt idx="5521">
                  <c:v>6.0326479475387442</c:v>
                </c:pt>
                <c:pt idx="5522">
                  <c:v>6.1497670420261432</c:v>
                </c:pt>
                <c:pt idx="5523">
                  <c:v>6.2068201901051312</c:v>
                </c:pt>
                <c:pt idx="5524">
                  <c:v>6.0139009180014549</c:v>
                </c:pt>
                <c:pt idx="5525">
                  <c:v>5.8786785915800257</c:v>
                </c:pt>
                <c:pt idx="5526">
                  <c:v>4.9197975781458032</c:v>
                </c:pt>
                <c:pt idx="5527">
                  <c:v>5.0883031173702369</c:v>
                </c:pt>
                <c:pt idx="5528">
                  <c:v>5.9873526674113657</c:v>
                </c:pt>
                <c:pt idx="5529">
                  <c:v>6.1039803715873866</c:v>
                </c:pt>
                <c:pt idx="5530">
                  <c:v>5.1078437534877734</c:v>
                </c:pt>
                <c:pt idx="5531">
                  <c:v>5.9478960135098218</c:v>
                </c:pt>
                <c:pt idx="5532">
                  <c:v>5.9519463099001948</c:v>
                </c:pt>
                <c:pt idx="5533">
                  <c:v>6.0441752839202794</c:v>
                </c:pt>
                <c:pt idx="5534">
                  <c:v>4.9736071366133032</c:v>
                </c:pt>
                <c:pt idx="5535">
                  <c:v>5.9838992935093938</c:v>
                </c:pt>
                <c:pt idx="5536">
                  <c:v>5.0137483283879325</c:v>
                </c:pt>
                <c:pt idx="5537">
                  <c:v>4.9350815906498946</c:v>
                </c:pt>
                <c:pt idx="5538">
                  <c:v>6.0489761159104578</c:v>
                </c:pt>
                <c:pt idx="5539">
                  <c:v>5.853155735973071</c:v>
                </c:pt>
                <c:pt idx="5540">
                  <c:v>5.9105106703183488</c:v>
                </c:pt>
                <c:pt idx="5541">
                  <c:v>6.0040139218115298</c:v>
                </c:pt>
                <c:pt idx="5542">
                  <c:v>5.973309076509616</c:v>
                </c:pt>
                <c:pt idx="5543">
                  <c:v>5.9552014119177255</c:v>
                </c:pt>
                <c:pt idx="5544">
                  <c:v>6.0886230442168365</c:v>
                </c:pt>
                <c:pt idx="5545">
                  <c:v>5.9456222098267553</c:v>
                </c:pt>
                <c:pt idx="5546">
                  <c:v>4.7538752451241466</c:v>
                </c:pt>
                <c:pt idx="5547">
                  <c:v>5.0134165936420603</c:v>
                </c:pt>
                <c:pt idx="5548">
                  <c:v>5.0686931200219254</c:v>
                </c:pt>
                <c:pt idx="5549">
                  <c:v>6.8575696575373764</c:v>
                </c:pt>
                <c:pt idx="5550">
                  <c:v>6.0622296498225658</c:v>
                </c:pt>
                <c:pt idx="5551">
                  <c:v>4.9023909062843281</c:v>
                </c:pt>
                <c:pt idx="5552">
                  <c:v>6.1401741444404161</c:v>
                </c:pt>
                <c:pt idx="5553">
                  <c:v>6.1248925457643839</c:v>
                </c:pt>
                <c:pt idx="5554">
                  <c:v>5.8459361759228701</c:v>
                </c:pt>
                <c:pt idx="5555">
                  <c:v>5.1097095321861827</c:v>
                </c:pt>
                <c:pt idx="5556">
                  <c:v>7.1292678647545014</c:v>
                </c:pt>
                <c:pt idx="5557">
                  <c:v>5.9478846995045584</c:v>
                </c:pt>
                <c:pt idx="5558">
                  <c:v>5.8311256683597374</c:v>
                </c:pt>
                <c:pt idx="5559">
                  <c:v>4.8625983511605213</c:v>
                </c:pt>
                <c:pt idx="5560">
                  <c:v>5.9749336498405636</c:v>
                </c:pt>
                <c:pt idx="5561">
                  <c:v>7.0328222797708841</c:v>
                </c:pt>
                <c:pt idx="5562">
                  <c:v>5.0557443455852171</c:v>
                </c:pt>
                <c:pt idx="5563">
                  <c:v>4.9629859884599306</c:v>
                </c:pt>
                <c:pt idx="5564">
                  <c:v>6.8834312495455352</c:v>
                </c:pt>
                <c:pt idx="5565">
                  <c:v>4.9244566758709025</c:v>
                </c:pt>
                <c:pt idx="5566">
                  <c:v>5.0119215548537239</c:v>
                </c:pt>
                <c:pt idx="5567">
                  <c:v>4.9672696791449962</c:v>
                </c:pt>
                <c:pt idx="5568">
                  <c:v>4.9027273856792251</c:v>
                </c:pt>
                <c:pt idx="5569">
                  <c:v>5.9131354777629115</c:v>
                </c:pt>
                <c:pt idx="5570">
                  <c:v>5.993704146150785</c:v>
                </c:pt>
                <c:pt idx="5571">
                  <c:v>6.0984070022233752</c:v>
                </c:pt>
                <c:pt idx="5572">
                  <c:v>4.0615269329510237</c:v>
                </c:pt>
                <c:pt idx="5573">
                  <c:v>4.892917645686488</c:v>
                </c:pt>
                <c:pt idx="5574">
                  <c:v>5.872179762292868</c:v>
                </c:pt>
                <c:pt idx="5575">
                  <c:v>6.0424021994758537</c:v>
                </c:pt>
                <c:pt idx="5576">
                  <c:v>6.0052121451087048</c:v>
                </c:pt>
                <c:pt idx="5577">
                  <c:v>6.0525741743410926</c:v>
                </c:pt>
                <c:pt idx="5578">
                  <c:v>4.9326175603529601</c:v>
                </c:pt>
                <c:pt idx="5579">
                  <c:v>5.8498500699621419</c:v>
                </c:pt>
                <c:pt idx="5580">
                  <c:v>4.7578490890957879</c:v>
                </c:pt>
                <c:pt idx="5581">
                  <c:v>5.1559802601829885</c:v>
                </c:pt>
                <c:pt idx="5582">
                  <c:v>5.1041695339835158</c:v>
                </c:pt>
                <c:pt idx="5583">
                  <c:v>6.1703890180051095</c:v>
                </c:pt>
                <c:pt idx="5584">
                  <c:v>5.9818362665729641</c:v>
                </c:pt>
                <c:pt idx="5585">
                  <c:v>5.9979448915816826</c:v>
                </c:pt>
                <c:pt idx="5586">
                  <c:v>5.0420572012304179</c:v>
                </c:pt>
                <c:pt idx="5587">
                  <c:v>5.0596113347179354</c:v>
                </c:pt>
                <c:pt idx="5588">
                  <c:v>5.9901606287721609</c:v>
                </c:pt>
                <c:pt idx="5589">
                  <c:v>5.9198231475205851</c:v>
                </c:pt>
                <c:pt idx="5590">
                  <c:v>5.99661482772576</c:v>
                </c:pt>
                <c:pt idx="5591">
                  <c:v>6.0041171788978431</c:v>
                </c:pt>
                <c:pt idx="5592">
                  <c:v>5.9361924280968745</c:v>
                </c:pt>
                <c:pt idx="5593">
                  <c:v>5.0340141728303891</c:v>
                </c:pt>
                <c:pt idx="5594">
                  <c:v>6.102294110831477</c:v>
                </c:pt>
                <c:pt idx="5595">
                  <c:v>5.7899949823314234</c:v>
                </c:pt>
                <c:pt idx="5596">
                  <c:v>5.7222611549298339</c:v>
                </c:pt>
                <c:pt idx="5597">
                  <c:v>6.0164797044829292</c:v>
                </c:pt>
                <c:pt idx="5598">
                  <c:v>5.0458926361966734</c:v>
                </c:pt>
                <c:pt idx="5599">
                  <c:v>6.9794097789236984</c:v>
                </c:pt>
                <c:pt idx="5600">
                  <c:v>4.9043376414129218</c:v>
                </c:pt>
                <c:pt idx="5601">
                  <c:v>5.0203232754239044</c:v>
                </c:pt>
                <c:pt idx="5602">
                  <c:v>4.9223567304842888</c:v>
                </c:pt>
                <c:pt idx="5603">
                  <c:v>6.0654892911436598</c:v>
                </c:pt>
                <c:pt idx="5604">
                  <c:v>6.1254868119578463</c:v>
                </c:pt>
                <c:pt idx="5605">
                  <c:v>5.0070873245670215</c:v>
                </c:pt>
                <c:pt idx="5606">
                  <c:v>5.0245730609640118</c:v>
                </c:pt>
                <c:pt idx="5607">
                  <c:v>5.8894810440015721</c:v>
                </c:pt>
                <c:pt idx="5608">
                  <c:v>4.9523135326596774</c:v>
                </c:pt>
                <c:pt idx="5609">
                  <c:v>6.1185632466559543</c:v>
                </c:pt>
                <c:pt idx="5610">
                  <c:v>4.8025311200520155</c:v>
                </c:pt>
                <c:pt idx="5611">
                  <c:v>5.8492147088432329</c:v>
                </c:pt>
                <c:pt idx="5612">
                  <c:v>6.8963680233148592</c:v>
                </c:pt>
                <c:pt idx="5613">
                  <c:v>5.995184744823769</c:v>
                </c:pt>
                <c:pt idx="5614">
                  <c:v>4.89971070514913</c:v>
                </c:pt>
                <c:pt idx="5615">
                  <c:v>6.162815892619836</c:v>
                </c:pt>
                <c:pt idx="5616">
                  <c:v>6.0900153998787836</c:v>
                </c:pt>
                <c:pt idx="5617">
                  <c:v>6.9615384025868634</c:v>
                </c:pt>
                <c:pt idx="5618">
                  <c:v>7.219078313219522</c:v>
                </c:pt>
                <c:pt idx="5619">
                  <c:v>5.8936541564882656</c:v>
                </c:pt>
                <c:pt idx="5620">
                  <c:v>5.9889055221173262</c:v>
                </c:pt>
                <c:pt idx="5621">
                  <c:v>6.0092250180886282</c:v>
                </c:pt>
                <c:pt idx="5622">
                  <c:v>5.8829398577082239</c:v>
                </c:pt>
                <c:pt idx="5623">
                  <c:v>7.0151933488848481</c:v>
                </c:pt>
                <c:pt idx="5624">
                  <c:v>6.0679804770466284</c:v>
                </c:pt>
                <c:pt idx="5625">
                  <c:v>5.8659515770043926</c:v>
                </c:pt>
                <c:pt idx="5626">
                  <c:v>6.0791602219343215</c:v>
                </c:pt>
                <c:pt idx="5627">
                  <c:v>5.9750316819585549</c:v>
                </c:pt>
                <c:pt idx="5628">
                  <c:v>6.0147635502212085</c:v>
                </c:pt>
                <c:pt idx="5629">
                  <c:v>6.1943433987637615</c:v>
                </c:pt>
                <c:pt idx="5630">
                  <c:v>5.0312158812224057</c:v>
                </c:pt>
                <c:pt idx="5631">
                  <c:v>6.0328751020596627</c:v>
                </c:pt>
                <c:pt idx="5632">
                  <c:v>5.1251499329090802</c:v>
                </c:pt>
                <c:pt idx="5633">
                  <c:v>5.8989221708765873</c:v>
                </c:pt>
                <c:pt idx="5634">
                  <c:v>6.9469199019240886</c:v>
                </c:pt>
                <c:pt idx="5635">
                  <c:v>4.9048990998214022</c:v>
                </c:pt>
                <c:pt idx="5636">
                  <c:v>5.06972730670108</c:v>
                </c:pt>
                <c:pt idx="5637">
                  <c:v>5.84966039631753</c:v>
                </c:pt>
                <c:pt idx="5638">
                  <c:v>5.0422400778664764</c:v>
                </c:pt>
                <c:pt idx="5639">
                  <c:v>3.0175703574209796</c:v>
                </c:pt>
                <c:pt idx="5640">
                  <c:v>5.0026121795344443</c:v>
                </c:pt>
                <c:pt idx="5641">
                  <c:v>5.9200788711064956</c:v>
                </c:pt>
                <c:pt idx="5642">
                  <c:v>5.1531870433899902</c:v>
                </c:pt>
                <c:pt idx="5643">
                  <c:v>5.0617969239956455</c:v>
                </c:pt>
                <c:pt idx="5644">
                  <c:v>5.9917022726768128</c:v>
                </c:pt>
                <c:pt idx="5645">
                  <c:v>5.9499658291173168</c:v>
                </c:pt>
                <c:pt idx="5646">
                  <c:v>5.0107290879045197</c:v>
                </c:pt>
                <c:pt idx="5647">
                  <c:v>6.8640830706757026</c:v>
                </c:pt>
                <c:pt idx="5648">
                  <c:v>4.9885848558884556</c:v>
                </c:pt>
                <c:pt idx="5649">
                  <c:v>6.0217299370350315</c:v>
                </c:pt>
                <c:pt idx="5650">
                  <c:v>5.9705137531587935</c:v>
                </c:pt>
                <c:pt idx="5651">
                  <c:v>4.893715123119077</c:v>
                </c:pt>
                <c:pt idx="5652">
                  <c:v>7.1064289827383957</c:v>
                </c:pt>
                <c:pt idx="5653">
                  <c:v>5.0438969625882093</c:v>
                </c:pt>
                <c:pt idx="5654">
                  <c:v>6.9743070798408091</c:v>
                </c:pt>
                <c:pt idx="5655">
                  <c:v>4.9955500587194415</c:v>
                </c:pt>
                <c:pt idx="5656">
                  <c:v>5.0612670924030878</c:v>
                </c:pt>
                <c:pt idx="5657">
                  <c:v>6.0954710832605628</c:v>
                </c:pt>
                <c:pt idx="5658">
                  <c:v>6.0356007137053362</c:v>
                </c:pt>
                <c:pt idx="5659">
                  <c:v>6.8524452807194951</c:v>
                </c:pt>
                <c:pt idx="5660">
                  <c:v>7.1839254015376701</c:v>
                </c:pt>
                <c:pt idx="5661">
                  <c:v>5.9839173536892325</c:v>
                </c:pt>
                <c:pt idx="5662">
                  <c:v>5.2606687683219624</c:v>
                </c:pt>
                <c:pt idx="5663">
                  <c:v>5.2061785543739472</c:v>
                </c:pt>
                <c:pt idx="5664">
                  <c:v>6.0620599839296476</c:v>
                </c:pt>
                <c:pt idx="5665">
                  <c:v>5.9810435978576066</c:v>
                </c:pt>
                <c:pt idx="5666">
                  <c:v>7.1629915354775431</c:v>
                </c:pt>
                <c:pt idx="5667">
                  <c:v>5.9426519572710115</c:v>
                </c:pt>
                <c:pt idx="5668">
                  <c:v>4.9666205581149301</c:v>
                </c:pt>
                <c:pt idx="5669">
                  <c:v>5.2540758614563208</c:v>
                </c:pt>
                <c:pt idx="5670">
                  <c:v>5.8772318234097272</c:v>
                </c:pt>
                <c:pt idx="5671">
                  <c:v>5.9084005232021832</c:v>
                </c:pt>
                <c:pt idx="5672">
                  <c:v>6.1572897106634308</c:v>
                </c:pt>
                <c:pt idx="5673">
                  <c:v>6.8830341347676596</c:v>
                </c:pt>
                <c:pt idx="5674">
                  <c:v>6.0004323400522193</c:v>
                </c:pt>
                <c:pt idx="5675">
                  <c:v>5.0102661373188058</c:v>
                </c:pt>
                <c:pt idx="5676">
                  <c:v>5.0232184057586169</c:v>
                </c:pt>
                <c:pt idx="5677">
                  <c:v>5.9347542719745991</c:v>
                </c:pt>
                <c:pt idx="5678">
                  <c:v>7.009452975441163</c:v>
                </c:pt>
                <c:pt idx="5679">
                  <c:v>4.891067111203963</c:v>
                </c:pt>
                <c:pt idx="5680">
                  <c:v>6.0598963604989482</c:v>
                </c:pt>
                <c:pt idx="5681">
                  <c:v>6.1203879168370827</c:v>
                </c:pt>
                <c:pt idx="5682">
                  <c:v>6.0012189330366468</c:v>
                </c:pt>
                <c:pt idx="5683">
                  <c:v>5.982554619563782</c:v>
                </c:pt>
                <c:pt idx="5684">
                  <c:v>6.0044336557499918</c:v>
                </c:pt>
                <c:pt idx="5685">
                  <c:v>4.8817204654003161</c:v>
                </c:pt>
                <c:pt idx="5686">
                  <c:v>6.1273487991051629</c:v>
                </c:pt>
                <c:pt idx="5687">
                  <c:v>5.0975507589078264</c:v>
                </c:pt>
                <c:pt idx="5688">
                  <c:v>5.8926478998775833</c:v>
                </c:pt>
                <c:pt idx="5689">
                  <c:v>4.9416685532140949</c:v>
                </c:pt>
                <c:pt idx="5690">
                  <c:v>5.1011201634604495</c:v>
                </c:pt>
                <c:pt idx="5691">
                  <c:v>6.1076212356661808</c:v>
                </c:pt>
                <c:pt idx="5692">
                  <c:v>6.0968239842630796</c:v>
                </c:pt>
                <c:pt idx="5693">
                  <c:v>6.0281583754097259</c:v>
                </c:pt>
                <c:pt idx="5694">
                  <c:v>4.9286155754872105</c:v>
                </c:pt>
                <c:pt idx="5695">
                  <c:v>6.0200706597737286</c:v>
                </c:pt>
                <c:pt idx="5696">
                  <c:v>4.0155007614491804</c:v>
                </c:pt>
                <c:pt idx="5697">
                  <c:v>6.0635443072508517</c:v>
                </c:pt>
                <c:pt idx="5698">
                  <c:v>6.0270107170444422</c:v>
                </c:pt>
                <c:pt idx="5699">
                  <c:v>5.9615189615018593</c:v>
                </c:pt>
                <c:pt idx="5700">
                  <c:v>6.0388107073425044</c:v>
                </c:pt>
                <c:pt idx="5701">
                  <c:v>5.9886733295088561</c:v>
                </c:pt>
                <c:pt idx="5702">
                  <c:v>5.9399486250124438</c:v>
                </c:pt>
                <c:pt idx="5703">
                  <c:v>6.008360295295021</c:v>
                </c:pt>
                <c:pt idx="5704">
                  <c:v>4.9065106360008279</c:v>
                </c:pt>
                <c:pt idx="5705">
                  <c:v>4.9492091689825015</c:v>
                </c:pt>
                <c:pt idx="5706">
                  <c:v>5.8192642073452703</c:v>
                </c:pt>
                <c:pt idx="5707">
                  <c:v>4.9275261111759043</c:v>
                </c:pt>
                <c:pt idx="5708">
                  <c:v>6.0011872460416011</c:v>
                </c:pt>
                <c:pt idx="5709">
                  <c:v>6.0662742410787915</c:v>
                </c:pt>
                <c:pt idx="5710">
                  <c:v>4.9636817141146086</c:v>
                </c:pt>
                <c:pt idx="5711">
                  <c:v>5.8915019210302493</c:v>
                </c:pt>
                <c:pt idx="5712">
                  <c:v>6.0867480507498524</c:v>
                </c:pt>
                <c:pt idx="5713">
                  <c:v>5.0592543405723696</c:v>
                </c:pt>
                <c:pt idx="5714">
                  <c:v>6.042423318155266</c:v>
                </c:pt>
                <c:pt idx="5715">
                  <c:v>5.8869978519636401</c:v>
                </c:pt>
                <c:pt idx="5716">
                  <c:v>5.9898394251994658</c:v>
                </c:pt>
                <c:pt idx="5717">
                  <c:v>5.92140640090257</c:v>
                </c:pt>
                <c:pt idx="5718">
                  <c:v>6.1641728940766534</c:v>
                </c:pt>
                <c:pt idx="5719">
                  <c:v>4.8849363928859768</c:v>
                </c:pt>
                <c:pt idx="5720">
                  <c:v>5.8530849015889821</c:v>
                </c:pt>
                <c:pt idx="5721">
                  <c:v>5.8809163866226948</c:v>
                </c:pt>
                <c:pt idx="5722">
                  <c:v>4.9566764669844172</c:v>
                </c:pt>
                <c:pt idx="5723">
                  <c:v>6.0086730735082625</c:v>
                </c:pt>
                <c:pt idx="5724">
                  <c:v>6.0238612382353063</c:v>
                </c:pt>
                <c:pt idx="5725">
                  <c:v>5.0501546854347099</c:v>
                </c:pt>
                <c:pt idx="5726">
                  <c:v>4.9724413382432404</c:v>
                </c:pt>
                <c:pt idx="5727">
                  <c:v>6.0105348171152642</c:v>
                </c:pt>
                <c:pt idx="5728">
                  <c:v>6.0644785152158009</c:v>
                </c:pt>
                <c:pt idx="5729">
                  <c:v>6.0041802783091622</c:v>
                </c:pt>
                <c:pt idx="5730">
                  <c:v>5.9532938869663807</c:v>
                </c:pt>
                <c:pt idx="5731">
                  <c:v>5.8655962615860329</c:v>
                </c:pt>
                <c:pt idx="5732">
                  <c:v>6.9949716515596565</c:v>
                </c:pt>
                <c:pt idx="5733">
                  <c:v>6.927388602743525</c:v>
                </c:pt>
                <c:pt idx="5734">
                  <c:v>5.1666740685928652</c:v>
                </c:pt>
                <c:pt idx="5735">
                  <c:v>6.2729758511668861</c:v>
                </c:pt>
                <c:pt idx="5736">
                  <c:v>4.9856786470461589</c:v>
                </c:pt>
                <c:pt idx="5737">
                  <c:v>6.0372213889377777</c:v>
                </c:pt>
                <c:pt idx="5738">
                  <c:v>6.1761386181907731</c:v>
                </c:pt>
                <c:pt idx="5739">
                  <c:v>4.9836968506245203</c:v>
                </c:pt>
                <c:pt idx="5740">
                  <c:v>5.0139540153456572</c:v>
                </c:pt>
                <c:pt idx="5741">
                  <c:v>6.0469267618629452</c:v>
                </c:pt>
                <c:pt idx="5742">
                  <c:v>6.1948038737385458</c:v>
                </c:pt>
                <c:pt idx="5743">
                  <c:v>5.9996121854021025</c:v>
                </c:pt>
                <c:pt idx="5744">
                  <c:v>4.9001829268665977</c:v>
                </c:pt>
                <c:pt idx="5745">
                  <c:v>6.1161328310041805</c:v>
                </c:pt>
                <c:pt idx="5746">
                  <c:v>7.2085128009206256</c:v>
                </c:pt>
                <c:pt idx="5747">
                  <c:v>5.9806078884292511</c:v>
                </c:pt>
                <c:pt idx="5748">
                  <c:v>4.9280867963619626</c:v>
                </c:pt>
                <c:pt idx="5749">
                  <c:v>6.8547223303907163</c:v>
                </c:pt>
                <c:pt idx="5750">
                  <c:v>6.1108586408762866</c:v>
                </c:pt>
                <c:pt idx="5751">
                  <c:v>6.2210539306062316</c:v>
                </c:pt>
                <c:pt idx="5752">
                  <c:v>5.9863490842810343</c:v>
                </c:pt>
                <c:pt idx="5753">
                  <c:v>7.0936393176611308</c:v>
                </c:pt>
                <c:pt idx="5754">
                  <c:v>5.850501667451292</c:v>
                </c:pt>
                <c:pt idx="5755">
                  <c:v>6.0394620825123413</c:v>
                </c:pt>
                <c:pt idx="5756">
                  <c:v>4.9834965882636855</c:v>
                </c:pt>
                <c:pt idx="5757">
                  <c:v>5.0493900607464255</c:v>
                </c:pt>
                <c:pt idx="5758">
                  <c:v>6.9197409128662937</c:v>
                </c:pt>
                <c:pt idx="5759">
                  <c:v>4.9880889432431692</c:v>
                </c:pt>
                <c:pt idx="5760">
                  <c:v>4.9798849963614877</c:v>
                </c:pt>
                <c:pt idx="5761">
                  <c:v>5.9038338422937153</c:v>
                </c:pt>
                <c:pt idx="5762">
                  <c:v>4.9743799161651134</c:v>
                </c:pt>
                <c:pt idx="5763">
                  <c:v>4.9446874687970821</c:v>
                </c:pt>
                <c:pt idx="5764">
                  <c:v>6.0987798500547283</c:v>
                </c:pt>
                <c:pt idx="5765">
                  <c:v>6.077912872062873</c:v>
                </c:pt>
                <c:pt idx="5766">
                  <c:v>5.6869858282154198</c:v>
                </c:pt>
                <c:pt idx="5767">
                  <c:v>5.8912642378261157</c:v>
                </c:pt>
                <c:pt idx="5768">
                  <c:v>5.9682037285061558</c:v>
                </c:pt>
                <c:pt idx="5769">
                  <c:v>5.8535879075646902</c:v>
                </c:pt>
                <c:pt idx="5770">
                  <c:v>6.0405416879960931</c:v>
                </c:pt>
                <c:pt idx="5771">
                  <c:v>4.9032763482300066</c:v>
                </c:pt>
                <c:pt idx="5772">
                  <c:v>5.9882109630477185</c:v>
                </c:pt>
                <c:pt idx="5773">
                  <c:v>4.9342146772181197</c:v>
                </c:pt>
                <c:pt idx="5774">
                  <c:v>5.0475259700600317</c:v>
                </c:pt>
                <c:pt idx="5775">
                  <c:v>6.1960665835988218</c:v>
                </c:pt>
                <c:pt idx="5776">
                  <c:v>6.0839612961310676</c:v>
                </c:pt>
                <c:pt idx="5777">
                  <c:v>5.9751847740235888</c:v>
                </c:pt>
                <c:pt idx="5778">
                  <c:v>5.9958473570572579</c:v>
                </c:pt>
                <c:pt idx="5779">
                  <c:v>6.0476387922308401</c:v>
                </c:pt>
                <c:pt idx="5780">
                  <c:v>6.1065960093289871</c:v>
                </c:pt>
                <c:pt idx="5781">
                  <c:v>5.1082173683401741</c:v>
                </c:pt>
                <c:pt idx="5782">
                  <c:v>4.9594961623017992</c:v>
                </c:pt>
                <c:pt idx="5783">
                  <c:v>5.8770478478992842</c:v>
                </c:pt>
                <c:pt idx="5784">
                  <c:v>4.9595328860403471</c:v>
                </c:pt>
                <c:pt idx="5785">
                  <c:v>4.8719559816384406</c:v>
                </c:pt>
                <c:pt idx="5786">
                  <c:v>4.1582435324211025</c:v>
                </c:pt>
                <c:pt idx="5787">
                  <c:v>6.9442179069987384</c:v>
                </c:pt>
                <c:pt idx="5788">
                  <c:v>6.8714768441255174</c:v>
                </c:pt>
                <c:pt idx="5789">
                  <c:v>7.0545212589639945</c:v>
                </c:pt>
                <c:pt idx="5790">
                  <c:v>5.9542347291066644</c:v>
                </c:pt>
                <c:pt idx="5791">
                  <c:v>6.0862127675639632</c:v>
                </c:pt>
                <c:pt idx="5792">
                  <c:v>4.9652019054496117</c:v>
                </c:pt>
                <c:pt idx="5793">
                  <c:v>6.0618734917958026</c:v>
                </c:pt>
                <c:pt idx="5794">
                  <c:v>7.1607051178820242</c:v>
                </c:pt>
                <c:pt idx="5795">
                  <c:v>5.9285187257297842</c:v>
                </c:pt>
                <c:pt idx="5796">
                  <c:v>4.9820510835506386</c:v>
                </c:pt>
                <c:pt idx="5797">
                  <c:v>6.0380889233858461</c:v>
                </c:pt>
                <c:pt idx="5798">
                  <c:v>4.8615869887187584</c:v>
                </c:pt>
                <c:pt idx="5799">
                  <c:v>5.8822961233894491</c:v>
                </c:pt>
                <c:pt idx="5800">
                  <c:v>6.9639573941179167</c:v>
                </c:pt>
                <c:pt idx="5801">
                  <c:v>5.0233465828118931</c:v>
                </c:pt>
                <c:pt idx="5802">
                  <c:v>7.0191602871682877</c:v>
                </c:pt>
                <c:pt idx="5803">
                  <c:v>5.0098736702998607</c:v>
                </c:pt>
                <c:pt idx="5804">
                  <c:v>7.0883564847577007</c:v>
                </c:pt>
                <c:pt idx="5805">
                  <c:v>4.967457313444303</c:v>
                </c:pt>
                <c:pt idx="5806">
                  <c:v>4.8393307044827241</c:v>
                </c:pt>
                <c:pt idx="5807">
                  <c:v>5.8722745757800894</c:v>
                </c:pt>
                <c:pt idx="5808">
                  <c:v>5.9400125151387106</c:v>
                </c:pt>
                <c:pt idx="5809">
                  <c:v>4.8824724865913041</c:v>
                </c:pt>
                <c:pt idx="5810">
                  <c:v>5.9165881794963679</c:v>
                </c:pt>
                <c:pt idx="5811">
                  <c:v>6.0490197993063006</c:v>
                </c:pt>
                <c:pt idx="5812">
                  <c:v>4.9270879291538652</c:v>
                </c:pt>
                <c:pt idx="5813">
                  <c:v>5.0532613160518283</c:v>
                </c:pt>
                <c:pt idx="5814">
                  <c:v>6.1394504950059359</c:v>
                </c:pt>
                <c:pt idx="5815">
                  <c:v>5.0555871553989435</c:v>
                </c:pt>
                <c:pt idx="5816">
                  <c:v>5.8703345197724914</c:v>
                </c:pt>
                <c:pt idx="5817">
                  <c:v>5.997719362533565</c:v>
                </c:pt>
                <c:pt idx="5818">
                  <c:v>5.8887405839248528</c:v>
                </c:pt>
                <c:pt idx="5819">
                  <c:v>5.9808764980755678</c:v>
                </c:pt>
                <c:pt idx="5820">
                  <c:v>5.8904736406782003</c:v>
                </c:pt>
                <c:pt idx="5821">
                  <c:v>4.9923694462453936</c:v>
                </c:pt>
                <c:pt idx="5822">
                  <c:v>6.0852397541475041</c:v>
                </c:pt>
                <c:pt idx="5823">
                  <c:v>4.9556798320766156</c:v>
                </c:pt>
                <c:pt idx="5824">
                  <c:v>4.9873127366995522</c:v>
                </c:pt>
                <c:pt idx="5825">
                  <c:v>5.0242890678148351</c:v>
                </c:pt>
                <c:pt idx="5826">
                  <c:v>4.8179491301909811</c:v>
                </c:pt>
                <c:pt idx="5827">
                  <c:v>6.1413024422858555</c:v>
                </c:pt>
                <c:pt idx="5828">
                  <c:v>5.9811798104514686</c:v>
                </c:pt>
                <c:pt idx="5829">
                  <c:v>4.9128250049996076</c:v>
                </c:pt>
                <c:pt idx="5830">
                  <c:v>6.0659683809102711</c:v>
                </c:pt>
                <c:pt idx="5831">
                  <c:v>4.9022589113400903</c:v>
                </c:pt>
                <c:pt idx="5832">
                  <c:v>6.2139270631973131</c:v>
                </c:pt>
                <c:pt idx="5833">
                  <c:v>7.096576340930679</c:v>
                </c:pt>
                <c:pt idx="5834">
                  <c:v>5.9216681657407992</c:v>
                </c:pt>
                <c:pt idx="5835">
                  <c:v>6.0830749023396802</c:v>
                </c:pt>
                <c:pt idx="5836">
                  <c:v>5.88134950596677</c:v>
                </c:pt>
                <c:pt idx="5837">
                  <c:v>5.9545955199348821</c:v>
                </c:pt>
                <c:pt idx="5838">
                  <c:v>6.0413672060798733</c:v>
                </c:pt>
                <c:pt idx="5839">
                  <c:v>5.9016541599601409</c:v>
                </c:pt>
                <c:pt idx="5840">
                  <c:v>6.0176032335290133</c:v>
                </c:pt>
                <c:pt idx="5841">
                  <c:v>5.0906902401058858</c:v>
                </c:pt>
                <c:pt idx="5842">
                  <c:v>4.9326353132978848</c:v>
                </c:pt>
                <c:pt idx="5843">
                  <c:v>5.9644828336949409</c:v>
                </c:pt>
                <c:pt idx="5844">
                  <c:v>6.0578741926520836</c:v>
                </c:pt>
                <c:pt idx="5845">
                  <c:v>5.170961029897156</c:v>
                </c:pt>
                <c:pt idx="5846">
                  <c:v>4.9322380708867088</c:v>
                </c:pt>
                <c:pt idx="5847">
                  <c:v>5.0363927383604228</c:v>
                </c:pt>
                <c:pt idx="5848">
                  <c:v>6.1642176275078571</c:v>
                </c:pt>
                <c:pt idx="5849">
                  <c:v>5.0938389204866548</c:v>
                </c:pt>
                <c:pt idx="5850">
                  <c:v>6.0346959345105011</c:v>
                </c:pt>
                <c:pt idx="5851">
                  <c:v>5.1812971745902239</c:v>
                </c:pt>
                <c:pt idx="5852">
                  <c:v>5.1075065648958873</c:v>
                </c:pt>
                <c:pt idx="5853">
                  <c:v>6.0014172835695723</c:v>
                </c:pt>
                <c:pt idx="5854">
                  <c:v>5.0212670931338854</c:v>
                </c:pt>
                <c:pt idx="5855">
                  <c:v>4.9817625550536464</c:v>
                </c:pt>
                <c:pt idx="5856">
                  <c:v>4.855985063423228</c:v>
                </c:pt>
                <c:pt idx="5857">
                  <c:v>6.0474129496089022</c:v>
                </c:pt>
                <c:pt idx="5858">
                  <c:v>4.9216825011173624</c:v>
                </c:pt>
                <c:pt idx="5859">
                  <c:v>5.1911536342320446</c:v>
                </c:pt>
                <c:pt idx="5860">
                  <c:v>5.1106375109125679</c:v>
                </c:pt>
                <c:pt idx="5861">
                  <c:v>6.1076833270247191</c:v>
                </c:pt>
                <c:pt idx="5862">
                  <c:v>5.012807162358289</c:v>
                </c:pt>
                <c:pt idx="5863">
                  <c:v>5.0936060635098395</c:v>
                </c:pt>
                <c:pt idx="5864">
                  <c:v>6.149357633323981</c:v>
                </c:pt>
                <c:pt idx="5865">
                  <c:v>6.0835505855387879</c:v>
                </c:pt>
                <c:pt idx="5866">
                  <c:v>7.1327655794094529</c:v>
                </c:pt>
                <c:pt idx="5867">
                  <c:v>5.9429588643171547</c:v>
                </c:pt>
                <c:pt idx="5868">
                  <c:v>5.0309859786583901</c:v>
                </c:pt>
                <c:pt idx="5869">
                  <c:v>5.0375287637335049</c:v>
                </c:pt>
                <c:pt idx="5870">
                  <c:v>7.2606052056494645</c:v>
                </c:pt>
                <c:pt idx="5871">
                  <c:v>5.015992636593066</c:v>
                </c:pt>
                <c:pt idx="5872">
                  <c:v>4.8140027795585203</c:v>
                </c:pt>
                <c:pt idx="5873">
                  <c:v>6.0753570862487063</c:v>
                </c:pt>
                <c:pt idx="5874">
                  <c:v>4.9001305925295213</c:v>
                </c:pt>
                <c:pt idx="5875">
                  <c:v>6.0072726620754571</c:v>
                </c:pt>
                <c:pt idx="5876">
                  <c:v>6.0384375338234388</c:v>
                </c:pt>
                <c:pt idx="5877">
                  <c:v>5.0663304296821945</c:v>
                </c:pt>
                <c:pt idx="5878">
                  <c:v>5.8458418977774302</c:v>
                </c:pt>
                <c:pt idx="5879">
                  <c:v>5.9157779799163031</c:v>
                </c:pt>
                <c:pt idx="5880">
                  <c:v>6.0181139326708291</c:v>
                </c:pt>
                <c:pt idx="5881">
                  <c:v>5.1001353682217685</c:v>
                </c:pt>
                <c:pt idx="5882">
                  <c:v>4.9040164714233017</c:v>
                </c:pt>
                <c:pt idx="5883">
                  <c:v>5.0818686079781497</c:v>
                </c:pt>
                <c:pt idx="5884">
                  <c:v>5.9271009971323556</c:v>
                </c:pt>
                <c:pt idx="5885">
                  <c:v>4.9019817225156359</c:v>
                </c:pt>
                <c:pt idx="5886">
                  <c:v>6.9225371586633777</c:v>
                </c:pt>
                <c:pt idx="5887">
                  <c:v>5.077342920076326</c:v>
                </c:pt>
                <c:pt idx="5888">
                  <c:v>5.0466542332285469</c:v>
                </c:pt>
                <c:pt idx="5889">
                  <c:v>4.8871569397669168</c:v>
                </c:pt>
                <c:pt idx="5890">
                  <c:v>5.0906182520413257</c:v>
                </c:pt>
                <c:pt idx="5891">
                  <c:v>4.8953218597107213</c:v>
                </c:pt>
                <c:pt idx="5892">
                  <c:v>5.9418925360905828</c:v>
                </c:pt>
                <c:pt idx="5893">
                  <c:v>5.2369494478617806</c:v>
                </c:pt>
                <c:pt idx="5894">
                  <c:v>5.9793300923950987</c:v>
                </c:pt>
                <c:pt idx="5895">
                  <c:v>4.9948349461480586</c:v>
                </c:pt>
                <c:pt idx="5896">
                  <c:v>4.8828273286495323</c:v>
                </c:pt>
                <c:pt idx="5897">
                  <c:v>5.8240330270710725</c:v>
                </c:pt>
                <c:pt idx="5898">
                  <c:v>5.9711006819119889</c:v>
                </c:pt>
                <c:pt idx="5899">
                  <c:v>5.054619730624224</c:v>
                </c:pt>
                <c:pt idx="5900">
                  <c:v>5.9006270573430015</c:v>
                </c:pt>
                <c:pt idx="5901">
                  <c:v>5.181929713247964</c:v>
                </c:pt>
                <c:pt idx="5902">
                  <c:v>5.1065079639370961</c:v>
                </c:pt>
                <c:pt idx="5903">
                  <c:v>5.1499231154230527</c:v>
                </c:pt>
                <c:pt idx="5904">
                  <c:v>5.0526219492975954</c:v>
                </c:pt>
                <c:pt idx="5905">
                  <c:v>5.9571026580280391</c:v>
                </c:pt>
                <c:pt idx="5906">
                  <c:v>5.9362037076585503</c:v>
                </c:pt>
                <c:pt idx="5907">
                  <c:v>4.9497334022792359</c:v>
                </c:pt>
                <c:pt idx="5908">
                  <c:v>5.9158051717744096</c:v>
                </c:pt>
                <c:pt idx="5909">
                  <c:v>5.0057959941301844</c:v>
                </c:pt>
                <c:pt idx="5910">
                  <c:v>4.9524405514283139</c:v>
                </c:pt>
                <c:pt idx="5911">
                  <c:v>6.1538022984544334</c:v>
                </c:pt>
                <c:pt idx="5912">
                  <c:v>5.0581016540045702</c:v>
                </c:pt>
                <c:pt idx="5913">
                  <c:v>6.1361617731397438</c:v>
                </c:pt>
                <c:pt idx="5914">
                  <c:v>5.1040146944046274</c:v>
                </c:pt>
                <c:pt idx="5915">
                  <c:v>5.0979099881917938</c:v>
                </c:pt>
                <c:pt idx="5916">
                  <c:v>6.060135474264924</c:v>
                </c:pt>
                <c:pt idx="5917">
                  <c:v>5.126888766183253</c:v>
                </c:pt>
                <c:pt idx="5918">
                  <c:v>5.9535150369739309</c:v>
                </c:pt>
                <c:pt idx="5919">
                  <c:v>5.9923820615031342</c:v>
                </c:pt>
                <c:pt idx="5920">
                  <c:v>5.9969666163475024</c:v>
                </c:pt>
                <c:pt idx="5921">
                  <c:v>4.9954800989043067</c:v>
                </c:pt>
                <c:pt idx="5922">
                  <c:v>3.9705893270316492</c:v>
                </c:pt>
                <c:pt idx="5923">
                  <c:v>4.888434982575343</c:v>
                </c:pt>
                <c:pt idx="5924">
                  <c:v>4.9036325825607667</c:v>
                </c:pt>
                <c:pt idx="5925">
                  <c:v>6.0940434043371141</c:v>
                </c:pt>
                <c:pt idx="5926">
                  <c:v>5.0791710701368933</c:v>
                </c:pt>
                <c:pt idx="5927">
                  <c:v>6.0411756255557556</c:v>
                </c:pt>
                <c:pt idx="5928">
                  <c:v>6.1331008348633995</c:v>
                </c:pt>
                <c:pt idx="5929">
                  <c:v>6.2679350444192252</c:v>
                </c:pt>
                <c:pt idx="5930">
                  <c:v>3.0340737877839086</c:v>
                </c:pt>
                <c:pt idx="5931">
                  <c:v>5.1147983775140569</c:v>
                </c:pt>
                <c:pt idx="5932">
                  <c:v>5.84841881414967</c:v>
                </c:pt>
                <c:pt idx="5933">
                  <c:v>5.0363934000429973</c:v>
                </c:pt>
                <c:pt idx="5934">
                  <c:v>5.108217111249755</c:v>
                </c:pt>
                <c:pt idx="5935">
                  <c:v>5.9228823227321135</c:v>
                </c:pt>
                <c:pt idx="5936">
                  <c:v>4.972172692509063</c:v>
                </c:pt>
                <c:pt idx="5937">
                  <c:v>6.0892487797818449</c:v>
                </c:pt>
                <c:pt idx="5938">
                  <c:v>5.981524842671881</c:v>
                </c:pt>
                <c:pt idx="5939">
                  <c:v>5.8432838189187226</c:v>
                </c:pt>
                <c:pt idx="5940">
                  <c:v>5.0826773168127115</c:v>
                </c:pt>
                <c:pt idx="5941">
                  <c:v>5.150999361817826</c:v>
                </c:pt>
                <c:pt idx="5942">
                  <c:v>6.1265502797441886</c:v>
                </c:pt>
                <c:pt idx="5943">
                  <c:v>6.0862470560854813</c:v>
                </c:pt>
                <c:pt idx="5944">
                  <c:v>5.0471215474082962</c:v>
                </c:pt>
                <c:pt idx="5945">
                  <c:v>4.9505806354430657</c:v>
                </c:pt>
                <c:pt idx="5946">
                  <c:v>6.0904555781752192</c:v>
                </c:pt>
                <c:pt idx="5947">
                  <c:v>4.8747461880464948</c:v>
                </c:pt>
                <c:pt idx="5948">
                  <c:v>5.0381885064721672</c:v>
                </c:pt>
                <c:pt idx="5949">
                  <c:v>5.8717134973971108</c:v>
                </c:pt>
                <c:pt idx="5950">
                  <c:v>5.7747505961644219</c:v>
                </c:pt>
                <c:pt idx="5951">
                  <c:v>5.9155902455795495</c:v>
                </c:pt>
                <c:pt idx="5952">
                  <c:v>6.1864587667370987</c:v>
                </c:pt>
                <c:pt idx="5953">
                  <c:v>5.9821623409150702</c:v>
                </c:pt>
                <c:pt idx="5954">
                  <c:v>6.0116129726912666</c:v>
                </c:pt>
                <c:pt idx="5955">
                  <c:v>6.1167423669917333</c:v>
                </c:pt>
                <c:pt idx="5956">
                  <c:v>5.0530650513902264</c:v>
                </c:pt>
                <c:pt idx="5957">
                  <c:v>6.2734318417322212</c:v>
                </c:pt>
                <c:pt idx="5958">
                  <c:v>5.116751873410295</c:v>
                </c:pt>
                <c:pt idx="5959">
                  <c:v>6.018596638540104</c:v>
                </c:pt>
                <c:pt idx="5960">
                  <c:v>5.8727165462584106</c:v>
                </c:pt>
                <c:pt idx="5961">
                  <c:v>5.1080778912240143</c:v>
                </c:pt>
                <c:pt idx="5962">
                  <c:v>4.9609066836537092</c:v>
                </c:pt>
                <c:pt idx="5963">
                  <c:v>5.9723899121335844</c:v>
                </c:pt>
                <c:pt idx="5964">
                  <c:v>4.8705480773059211</c:v>
                </c:pt>
                <c:pt idx="5965">
                  <c:v>5.9504944816563716</c:v>
                </c:pt>
                <c:pt idx="5966">
                  <c:v>4.9630955519889204</c:v>
                </c:pt>
                <c:pt idx="5967">
                  <c:v>5.7885814464726391</c:v>
                </c:pt>
                <c:pt idx="5968">
                  <c:v>4.9938829965407319</c:v>
                </c:pt>
                <c:pt idx="5969">
                  <c:v>6.12167642223163</c:v>
                </c:pt>
                <c:pt idx="5970">
                  <c:v>5.0704329747903225</c:v>
                </c:pt>
                <c:pt idx="5971">
                  <c:v>6.0652333224548096</c:v>
                </c:pt>
                <c:pt idx="5972">
                  <c:v>5.9710838513148161</c:v>
                </c:pt>
                <c:pt idx="5973">
                  <c:v>5.8753901054246285</c:v>
                </c:pt>
                <c:pt idx="5974">
                  <c:v>6.0832465983788877</c:v>
                </c:pt>
                <c:pt idx="5975">
                  <c:v>5.9055794725594746</c:v>
                </c:pt>
                <c:pt idx="5976">
                  <c:v>5.1550927085006615</c:v>
                </c:pt>
                <c:pt idx="5977">
                  <c:v>4.9844826295915663</c:v>
                </c:pt>
                <c:pt idx="5978">
                  <c:v>5.9056673523765495</c:v>
                </c:pt>
                <c:pt idx="5979">
                  <c:v>5.0407237776735867</c:v>
                </c:pt>
                <c:pt idx="5980">
                  <c:v>5.1616177194306889</c:v>
                </c:pt>
                <c:pt idx="5981">
                  <c:v>5.9378410678149649</c:v>
                </c:pt>
                <c:pt idx="5982">
                  <c:v>5.9486948067098053</c:v>
                </c:pt>
                <c:pt idx="5983">
                  <c:v>6.1263997455304704</c:v>
                </c:pt>
                <c:pt idx="5984">
                  <c:v>4.8934009734528381</c:v>
                </c:pt>
                <c:pt idx="5985">
                  <c:v>5.0342534872675966</c:v>
                </c:pt>
                <c:pt idx="5986">
                  <c:v>4.9643626324704986</c:v>
                </c:pt>
                <c:pt idx="5987">
                  <c:v>4.88128027979878</c:v>
                </c:pt>
                <c:pt idx="5988">
                  <c:v>5.883182663738773</c:v>
                </c:pt>
                <c:pt idx="5989">
                  <c:v>6.1140232628248539</c:v>
                </c:pt>
                <c:pt idx="5990">
                  <c:v>6.0153952161881152</c:v>
                </c:pt>
                <c:pt idx="5991">
                  <c:v>4.9110151483676052</c:v>
                </c:pt>
                <c:pt idx="5992">
                  <c:v>6.0988474188281305</c:v>
                </c:pt>
                <c:pt idx="5993">
                  <c:v>5.0025231739855478</c:v>
                </c:pt>
                <c:pt idx="5994">
                  <c:v>6.0463618667994936</c:v>
                </c:pt>
                <c:pt idx="5995">
                  <c:v>6.0999062117870517</c:v>
                </c:pt>
                <c:pt idx="5996">
                  <c:v>5.0976580278379435</c:v>
                </c:pt>
                <c:pt idx="5997">
                  <c:v>5.9023155341411364</c:v>
                </c:pt>
                <c:pt idx="5998">
                  <c:v>5.091452561420386</c:v>
                </c:pt>
                <c:pt idx="5999">
                  <c:v>5.9236775027311008</c:v>
                </c:pt>
                <c:pt idx="6000">
                  <c:v>7.0702086144194762</c:v>
                </c:pt>
                <c:pt idx="6001">
                  <c:v>5.9090689003270018</c:v>
                </c:pt>
                <c:pt idx="6002">
                  <c:v>5.219422346918396</c:v>
                </c:pt>
                <c:pt idx="6003">
                  <c:v>5.9495228737808636</c:v>
                </c:pt>
                <c:pt idx="6004">
                  <c:v>4.9396257770304208</c:v>
                </c:pt>
                <c:pt idx="6005">
                  <c:v>5.1274676757753967</c:v>
                </c:pt>
                <c:pt idx="6006">
                  <c:v>6.045575281692015</c:v>
                </c:pt>
                <c:pt idx="6007">
                  <c:v>6.1794958804313209</c:v>
                </c:pt>
                <c:pt idx="6008">
                  <c:v>4.9288662789971776</c:v>
                </c:pt>
                <c:pt idx="6009">
                  <c:v>6.0266343381132907</c:v>
                </c:pt>
                <c:pt idx="6010">
                  <c:v>5.0491870648885344</c:v>
                </c:pt>
                <c:pt idx="6011">
                  <c:v>5.1017586665710972</c:v>
                </c:pt>
                <c:pt idx="6012">
                  <c:v>5.963258281021913</c:v>
                </c:pt>
                <c:pt idx="6013">
                  <c:v>5.1083231346518865</c:v>
                </c:pt>
                <c:pt idx="6014">
                  <c:v>5.0401540163709546</c:v>
                </c:pt>
                <c:pt idx="6015">
                  <c:v>5.9718062281307116</c:v>
                </c:pt>
                <c:pt idx="6016">
                  <c:v>5.1050276038387041</c:v>
                </c:pt>
                <c:pt idx="6017">
                  <c:v>6.0481677958733098</c:v>
                </c:pt>
                <c:pt idx="6018">
                  <c:v>6.066355837763254</c:v>
                </c:pt>
                <c:pt idx="6019">
                  <c:v>5.971395233934313</c:v>
                </c:pt>
                <c:pt idx="6020">
                  <c:v>5.9812483473483757</c:v>
                </c:pt>
                <c:pt idx="6021">
                  <c:v>4.9257060935047408</c:v>
                </c:pt>
                <c:pt idx="6022">
                  <c:v>5.1281637354048604</c:v>
                </c:pt>
                <c:pt idx="6023">
                  <c:v>6.0954283082594998</c:v>
                </c:pt>
                <c:pt idx="6024">
                  <c:v>6.117697475336219</c:v>
                </c:pt>
                <c:pt idx="6025">
                  <c:v>5.0095141462207833</c:v>
                </c:pt>
                <c:pt idx="6026">
                  <c:v>4.9999593185610482</c:v>
                </c:pt>
                <c:pt idx="6027">
                  <c:v>5.0321992502316846</c:v>
                </c:pt>
                <c:pt idx="6028">
                  <c:v>4.8566287563343788</c:v>
                </c:pt>
                <c:pt idx="6029">
                  <c:v>5.857613292200039</c:v>
                </c:pt>
                <c:pt idx="6030">
                  <c:v>6.010150210068792</c:v>
                </c:pt>
                <c:pt idx="6031">
                  <c:v>4.9244952268236268</c:v>
                </c:pt>
                <c:pt idx="6032">
                  <c:v>5.9422265475526723</c:v>
                </c:pt>
                <c:pt idx="6033">
                  <c:v>5.9679115812436132</c:v>
                </c:pt>
                <c:pt idx="6034">
                  <c:v>3.9383214708636562</c:v>
                </c:pt>
                <c:pt idx="6035">
                  <c:v>4.8034862448130324</c:v>
                </c:pt>
                <c:pt idx="6036">
                  <c:v>5.9207180623988469</c:v>
                </c:pt>
                <c:pt idx="6037">
                  <c:v>5.9184027944880775</c:v>
                </c:pt>
                <c:pt idx="6038">
                  <c:v>5.0598193270132255</c:v>
                </c:pt>
                <c:pt idx="6039">
                  <c:v>5.0821561189922884</c:v>
                </c:pt>
                <c:pt idx="6040">
                  <c:v>4.96861355528792</c:v>
                </c:pt>
                <c:pt idx="6041">
                  <c:v>6.9553751327616355</c:v>
                </c:pt>
                <c:pt idx="6042">
                  <c:v>4.1249300095322488</c:v>
                </c:pt>
                <c:pt idx="6043">
                  <c:v>7.0757704670974153</c:v>
                </c:pt>
                <c:pt idx="6044">
                  <c:v>7.0376212871673136</c:v>
                </c:pt>
                <c:pt idx="6045">
                  <c:v>5.0115134514662083</c:v>
                </c:pt>
                <c:pt idx="6046">
                  <c:v>5.0271905768423393</c:v>
                </c:pt>
                <c:pt idx="6047">
                  <c:v>6.0636173936582018</c:v>
                </c:pt>
                <c:pt idx="6048">
                  <c:v>5.1188971552009637</c:v>
                </c:pt>
                <c:pt idx="6049">
                  <c:v>4.8351631751985078</c:v>
                </c:pt>
                <c:pt idx="6050">
                  <c:v>6.0581884236368326</c:v>
                </c:pt>
                <c:pt idx="6051">
                  <c:v>6.0908735542849062</c:v>
                </c:pt>
                <c:pt idx="6052">
                  <c:v>5.9852327369990634</c:v>
                </c:pt>
                <c:pt idx="6053">
                  <c:v>5.1655788131961149</c:v>
                </c:pt>
                <c:pt idx="6054">
                  <c:v>5.9508370040227616</c:v>
                </c:pt>
                <c:pt idx="6055">
                  <c:v>4.981402448765837</c:v>
                </c:pt>
                <c:pt idx="6056">
                  <c:v>5.9538960368240126</c:v>
                </c:pt>
                <c:pt idx="6057">
                  <c:v>6.2680053523161074</c:v>
                </c:pt>
                <c:pt idx="6058">
                  <c:v>5.9618147488136728</c:v>
                </c:pt>
                <c:pt idx="6059">
                  <c:v>5.9220392266327497</c:v>
                </c:pt>
                <c:pt idx="6060">
                  <c:v>6.1124624854683391</c:v>
                </c:pt>
                <c:pt idx="6061">
                  <c:v>5.7685805453183052</c:v>
                </c:pt>
                <c:pt idx="6062">
                  <c:v>6.0758252167957068</c:v>
                </c:pt>
                <c:pt idx="6063">
                  <c:v>4.922451616744242</c:v>
                </c:pt>
                <c:pt idx="6064">
                  <c:v>6.0687708132296505</c:v>
                </c:pt>
                <c:pt idx="6065">
                  <c:v>5.1040797907875817</c:v>
                </c:pt>
                <c:pt idx="6066">
                  <c:v>5.9550970799621847</c:v>
                </c:pt>
                <c:pt idx="6067">
                  <c:v>6.146711035969779</c:v>
                </c:pt>
                <c:pt idx="6068">
                  <c:v>4.9673102195063938</c:v>
                </c:pt>
                <c:pt idx="6069">
                  <c:v>6.0586416231360571</c:v>
                </c:pt>
                <c:pt idx="6070">
                  <c:v>5.077020143972522</c:v>
                </c:pt>
                <c:pt idx="6071">
                  <c:v>5.0935521576078298</c:v>
                </c:pt>
                <c:pt idx="6072">
                  <c:v>5.8770465736397206</c:v>
                </c:pt>
                <c:pt idx="6073">
                  <c:v>4.9328209936431451</c:v>
                </c:pt>
                <c:pt idx="6074">
                  <c:v>4.9696589153946809</c:v>
                </c:pt>
                <c:pt idx="6075">
                  <c:v>7.0487307603688576</c:v>
                </c:pt>
                <c:pt idx="6076">
                  <c:v>4.7468030726164381</c:v>
                </c:pt>
                <c:pt idx="6077">
                  <c:v>5.9295633914333941</c:v>
                </c:pt>
                <c:pt idx="6078">
                  <c:v>5.9002315483842471</c:v>
                </c:pt>
                <c:pt idx="6079">
                  <c:v>6.0621434615107583</c:v>
                </c:pt>
                <c:pt idx="6080">
                  <c:v>6.1111488227670936</c:v>
                </c:pt>
                <c:pt idx="6081">
                  <c:v>4.9138159348919324</c:v>
                </c:pt>
                <c:pt idx="6082">
                  <c:v>5.9448119546951874</c:v>
                </c:pt>
                <c:pt idx="6083">
                  <c:v>4.9420798900471814</c:v>
                </c:pt>
                <c:pt idx="6084">
                  <c:v>5.053970842353686</c:v>
                </c:pt>
                <c:pt idx="6085">
                  <c:v>6.143424232746777</c:v>
                </c:pt>
                <c:pt idx="6086">
                  <c:v>6.033063624683372</c:v>
                </c:pt>
                <c:pt idx="6087">
                  <c:v>5.0309266357626896</c:v>
                </c:pt>
                <c:pt idx="6088">
                  <c:v>5.1018737222010362</c:v>
                </c:pt>
                <c:pt idx="6089">
                  <c:v>4.9760115600419121</c:v>
                </c:pt>
                <c:pt idx="6090">
                  <c:v>6.0590316173160605</c:v>
                </c:pt>
                <c:pt idx="6091">
                  <c:v>6.0939062796360215</c:v>
                </c:pt>
                <c:pt idx="6092">
                  <c:v>6.1015699743182807</c:v>
                </c:pt>
                <c:pt idx="6093">
                  <c:v>6.0627833770671673</c:v>
                </c:pt>
                <c:pt idx="6094">
                  <c:v>5.0500406649985337</c:v>
                </c:pt>
                <c:pt idx="6095">
                  <c:v>6.027946823737838</c:v>
                </c:pt>
                <c:pt idx="6096">
                  <c:v>4.7975317204533336</c:v>
                </c:pt>
                <c:pt idx="6097">
                  <c:v>5.0440446393471907</c:v>
                </c:pt>
                <c:pt idx="6098">
                  <c:v>5.8849520845780807</c:v>
                </c:pt>
                <c:pt idx="6099">
                  <c:v>6.1158029259058511</c:v>
                </c:pt>
                <c:pt idx="6100">
                  <c:v>5.9094299502614911</c:v>
                </c:pt>
                <c:pt idx="6101">
                  <c:v>4.8677487962849133</c:v>
                </c:pt>
                <c:pt idx="6102">
                  <c:v>4.9023967738560996</c:v>
                </c:pt>
                <c:pt idx="6103">
                  <c:v>5.0571592799239697</c:v>
                </c:pt>
                <c:pt idx="6104">
                  <c:v>4.8937814616281763</c:v>
                </c:pt>
                <c:pt idx="6105">
                  <c:v>6.0150231981307831</c:v>
                </c:pt>
                <c:pt idx="6106">
                  <c:v>4.958756003494261</c:v>
                </c:pt>
                <c:pt idx="6107">
                  <c:v>5.2225878254533882</c:v>
                </c:pt>
                <c:pt idx="6108">
                  <c:v>5.9213468340242388</c:v>
                </c:pt>
                <c:pt idx="6109">
                  <c:v>5.019513383033936</c:v>
                </c:pt>
                <c:pt idx="6110">
                  <c:v>5.1268229150228821</c:v>
                </c:pt>
                <c:pt idx="6111">
                  <c:v>5.1902272164136471</c:v>
                </c:pt>
                <c:pt idx="6112">
                  <c:v>5.9678419773520242</c:v>
                </c:pt>
                <c:pt idx="6113">
                  <c:v>4.9256789095060132</c:v>
                </c:pt>
                <c:pt idx="6114">
                  <c:v>5.9388586291694443</c:v>
                </c:pt>
                <c:pt idx="6115">
                  <c:v>7.063469774529513</c:v>
                </c:pt>
                <c:pt idx="6116">
                  <c:v>4.1330655998994814</c:v>
                </c:pt>
                <c:pt idx="6117">
                  <c:v>7.0570242458860211</c:v>
                </c:pt>
                <c:pt idx="6118">
                  <c:v>5.0519260853673744</c:v>
                </c:pt>
                <c:pt idx="6119">
                  <c:v>5.0976715984517602</c:v>
                </c:pt>
                <c:pt idx="6120">
                  <c:v>3.8801931557204341</c:v>
                </c:pt>
                <c:pt idx="6121">
                  <c:v>6.0998515661512753</c:v>
                </c:pt>
                <c:pt idx="6122">
                  <c:v>5.9517136443524663</c:v>
                </c:pt>
                <c:pt idx="6123">
                  <c:v>6.0498629130028876</c:v>
                </c:pt>
                <c:pt idx="6124">
                  <c:v>6.0251462019258044</c:v>
                </c:pt>
                <c:pt idx="6125">
                  <c:v>4.8477601103379815</c:v>
                </c:pt>
                <c:pt idx="6126">
                  <c:v>5.8668448712404553</c:v>
                </c:pt>
                <c:pt idx="6127">
                  <c:v>6.9330624459163177</c:v>
                </c:pt>
                <c:pt idx="6128">
                  <c:v>6.1955260239602916</c:v>
                </c:pt>
                <c:pt idx="6129">
                  <c:v>4.8017220494071697</c:v>
                </c:pt>
                <c:pt idx="6130">
                  <c:v>5.1283207453322817</c:v>
                </c:pt>
                <c:pt idx="6131">
                  <c:v>5.0328578843084504</c:v>
                </c:pt>
                <c:pt idx="6132">
                  <c:v>5.0509626149509383</c:v>
                </c:pt>
                <c:pt idx="6133">
                  <c:v>6.129889311717152</c:v>
                </c:pt>
                <c:pt idx="6134">
                  <c:v>5.115828614923009</c:v>
                </c:pt>
                <c:pt idx="6135">
                  <c:v>5.637432873390833</c:v>
                </c:pt>
                <c:pt idx="6136">
                  <c:v>4.9222861580085491</c:v>
                </c:pt>
                <c:pt idx="6137">
                  <c:v>5.9845863438070772</c:v>
                </c:pt>
                <c:pt idx="6138">
                  <c:v>5.0271198621907214</c:v>
                </c:pt>
                <c:pt idx="6139">
                  <c:v>4.9997248662482789</c:v>
                </c:pt>
                <c:pt idx="6140">
                  <c:v>5.1726490988273435</c:v>
                </c:pt>
                <c:pt idx="6141">
                  <c:v>4.9747943394275875</c:v>
                </c:pt>
                <c:pt idx="6142">
                  <c:v>4.8284373546013795</c:v>
                </c:pt>
                <c:pt idx="6143">
                  <c:v>5.0632626440735775</c:v>
                </c:pt>
                <c:pt idx="6144">
                  <c:v>5.8670608009145919</c:v>
                </c:pt>
                <c:pt idx="6145">
                  <c:v>5.1164520957690938</c:v>
                </c:pt>
                <c:pt idx="6146">
                  <c:v>5.9106434707223672</c:v>
                </c:pt>
                <c:pt idx="6147">
                  <c:v>5.0101301906734061</c:v>
                </c:pt>
                <c:pt idx="6148">
                  <c:v>5.9178082905911404</c:v>
                </c:pt>
                <c:pt idx="6149">
                  <c:v>5.9058236732681024</c:v>
                </c:pt>
                <c:pt idx="6150">
                  <c:v>6.9806321190926521</c:v>
                </c:pt>
                <c:pt idx="6151">
                  <c:v>5.891207553417102</c:v>
                </c:pt>
                <c:pt idx="6152">
                  <c:v>4.9002998532633173</c:v>
                </c:pt>
                <c:pt idx="6153">
                  <c:v>6.1126936979425563</c:v>
                </c:pt>
                <c:pt idx="6154">
                  <c:v>4.7952804640587532</c:v>
                </c:pt>
                <c:pt idx="6155">
                  <c:v>5.0421114953191841</c:v>
                </c:pt>
                <c:pt idx="6156">
                  <c:v>4.9495358645740302</c:v>
                </c:pt>
                <c:pt idx="6157">
                  <c:v>6.1440586699671789</c:v>
                </c:pt>
                <c:pt idx="6158">
                  <c:v>4.9676560771964065</c:v>
                </c:pt>
                <c:pt idx="6159">
                  <c:v>6.1159412329321716</c:v>
                </c:pt>
                <c:pt idx="6160">
                  <c:v>6.1012931909430428</c:v>
                </c:pt>
                <c:pt idx="6161">
                  <c:v>6.0030860517061662</c:v>
                </c:pt>
                <c:pt idx="6162">
                  <c:v>3.8684681056490473</c:v>
                </c:pt>
                <c:pt idx="6163">
                  <c:v>4.2073736056571498</c:v>
                </c:pt>
                <c:pt idx="6164">
                  <c:v>4.026706650340107</c:v>
                </c:pt>
                <c:pt idx="6165">
                  <c:v>3.9989636245729021</c:v>
                </c:pt>
                <c:pt idx="6166">
                  <c:v>4.2226648534822919</c:v>
                </c:pt>
                <c:pt idx="6167">
                  <c:v>3.9609821432971355</c:v>
                </c:pt>
                <c:pt idx="6168">
                  <c:v>4.0653711930672563</c:v>
                </c:pt>
                <c:pt idx="6169">
                  <c:v>4.0206366658446715</c:v>
                </c:pt>
                <c:pt idx="6170">
                  <c:v>4.0337487074522391</c:v>
                </c:pt>
                <c:pt idx="6171">
                  <c:v>5.9195759637923482</c:v>
                </c:pt>
                <c:pt idx="6172">
                  <c:v>4.9842248725485039</c:v>
                </c:pt>
                <c:pt idx="6173">
                  <c:v>4.9072332771557097</c:v>
                </c:pt>
                <c:pt idx="6174">
                  <c:v>6.1334527708271445</c:v>
                </c:pt>
                <c:pt idx="6175">
                  <c:v>4.9088073559503398</c:v>
                </c:pt>
                <c:pt idx="6176">
                  <c:v>5.9991818040221556</c:v>
                </c:pt>
                <c:pt idx="6177">
                  <c:v>6.012449658511791</c:v>
                </c:pt>
                <c:pt idx="6178">
                  <c:v>4.9054879187363589</c:v>
                </c:pt>
                <c:pt idx="6179">
                  <c:v>6.0233488046755017</c:v>
                </c:pt>
                <c:pt idx="6180">
                  <c:v>5.1015781567893139</c:v>
                </c:pt>
                <c:pt idx="6181">
                  <c:v>5.024396127190931</c:v>
                </c:pt>
                <c:pt idx="6182">
                  <c:v>4.9897254367728179</c:v>
                </c:pt>
                <c:pt idx="6183">
                  <c:v>4.0373280336677846</c:v>
                </c:pt>
                <c:pt idx="6184">
                  <c:v>7.2118648804306122</c:v>
                </c:pt>
                <c:pt idx="6185">
                  <c:v>5.1262274491286437</c:v>
                </c:pt>
                <c:pt idx="6186">
                  <c:v>3.7630555150273999</c:v>
                </c:pt>
                <c:pt idx="6187">
                  <c:v>5.0639770095021088</c:v>
                </c:pt>
                <c:pt idx="6188">
                  <c:v>5.0721177668812043</c:v>
                </c:pt>
                <c:pt idx="6189">
                  <c:v>6.9714242936424275</c:v>
                </c:pt>
                <c:pt idx="6190">
                  <c:v>4.9417988565292843</c:v>
                </c:pt>
                <c:pt idx="6191">
                  <c:v>5.0233958269208561</c:v>
                </c:pt>
                <c:pt idx="6192">
                  <c:v>4.9735033556275043</c:v>
                </c:pt>
                <c:pt idx="6193">
                  <c:v>4.815114257663117</c:v>
                </c:pt>
                <c:pt idx="6194">
                  <c:v>6.2000642552965415</c:v>
                </c:pt>
                <c:pt idx="6195">
                  <c:v>5.9251334147330015</c:v>
                </c:pt>
                <c:pt idx="6196">
                  <c:v>5.0145591127983478</c:v>
                </c:pt>
                <c:pt idx="6197">
                  <c:v>4.9249686244417452</c:v>
                </c:pt>
                <c:pt idx="6198">
                  <c:v>5.9895786518323364</c:v>
                </c:pt>
                <c:pt idx="6199">
                  <c:v>4.1532441317745095</c:v>
                </c:pt>
                <c:pt idx="6200">
                  <c:v>3.8530346076440432</c:v>
                </c:pt>
                <c:pt idx="6201">
                  <c:v>3.9677200535033874</c:v>
                </c:pt>
                <c:pt idx="6202">
                  <c:v>4.1956043817936406</c:v>
                </c:pt>
                <c:pt idx="6203">
                  <c:v>4.0816965191788688</c:v>
                </c:pt>
                <c:pt idx="6204">
                  <c:v>3.9751327219900201</c:v>
                </c:pt>
                <c:pt idx="6205">
                  <c:v>4.0420592606378758</c:v>
                </c:pt>
                <c:pt idx="6206">
                  <c:v>5.8351784829907229</c:v>
                </c:pt>
                <c:pt idx="6207">
                  <c:v>5.9442536724144315</c:v>
                </c:pt>
                <c:pt idx="6208">
                  <c:v>5.9337154887282306</c:v>
                </c:pt>
                <c:pt idx="6209">
                  <c:v>6.0943324425833003</c:v>
                </c:pt>
                <c:pt idx="6210">
                  <c:v>5.9345899848778751</c:v>
                </c:pt>
                <c:pt idx="6211">
                  <c:v>6.0244108457448382</c:v>
                </c:pt>
                <c:pt idx="6212">
                  <c:v>5.1258775370467635</c:v>
                </c:pt>
                <c:pt idx="6213">
                  <c:v>5.8433057570516986</c:v>
                </c:pt>
                <c:pt idx="6214">
                  <c:v>6.0901633133173672</c:v>
                </c:pt>
                <c:pt idx="6215">
                  <c:v>6.0539569159292217</c:v>
                </c:pt>
                <c:pt idx="6216">
                  <c:v>5.9888748063304504</c:v>
                </c:pt>
                <c:pt idx="6217">
                  <c:v>6.025882876837132</c:v>
                </c:pt>
                <c:pt idx="6218">
                  <c:v>5.9494208452629085</c:v>
                </c:pt>
                <c:pt idx="6219">
                  <c:v>4.0825141458911309</c:v>
                </c:pt>
                <c:pt idx="6220">
                  <c:v>5.9902725392759493</c:v>
                </c:pt>
                <c:pt idx="6221">
                  <c:v>5.9067642436875252</c:v>
                </c:pt>
                <c:pt idx="6222">
                  <c:v>4.9509101892153469</c:v>
                </c:pt>
                <c:pt idx="6223">
                  <c:v>4.9539368347233141</c:v>
                </c:pt>
                <c:pt idx="6224">
                  <c:v>4.0758542121907135</c:v>
                </c:pt>
                <c:pt idx="6225">
                  <c:v>5.9889076556776555</c:v>
                </c:pt>
                <c:pt idx="6226">
                  <c:v>4.9586505913114927</c:v>
                </c:pt>
                <c:pt idx="6227">
                  <c:v>6.016570111875378</c:v>
                </c:pt>
                <c:pt idx="6228">
                  <c:v>5.0567317311069573</c:v>
                </c:pt>
                <c:pt idx="6229">
                  <c:v>4.9903860912148268</c:v>
                </c:pt>
                <c:pt idx="6230">
                  <c:v>4.9294910793510587</c:v>
                </c:pt>
                <c:pt idx="6231">
                  <c:v>5.1068116195582913</c:v>
                </c:pt>
                <c:pt idx="6232">
                  <c:v>5.0214717180432631</c:v>
                </c:pt>
                <c:pt idx="6233">
                  <c:v>5.8663181298587963</c:v>
                </c:pt>
                <c:pt idx="6234">
                  <c:v>5.1004966606993234</c:v>
                </c:pt>
                <c:pt idx="6235">
                  <c:v>6.0115571848997664</c:v>
                </c:pt>
                <c:pt idx="6236">
                  <c:v>4.9536221177897035</c:v>
                </c:pt>
                <c:pt idx="6237">
                  <c:v>3.9821179527077342</c:v>
                </c:pt>
                <c:pt idx="6238">
                  <c:v>6.1225676967549703</c:v>
                </c:pt>
                <c:pt idx="6239">
                  <c:v>5.023716232334853</c:v>
                </c:pt>
                <c:pt idx="6240">
                  <c:v>4.9704841984303023</c:v>
                </c:pt>
                <c:pt idx="6241">
                  <c:v>6.0646643980102422</c:v>
                </c:pt>
                <c:pt idx="6242">
                  <c:v>5.0193555838656687</c:v>
                </c:pt>
                <c:pt idx="6243">
                  <c:v>4.9631017763417109</c:v>
                </c:pt>
                <c:pt idx="6244">
                  <c:v>4.9768688624224309</c:v>
                </c:pt>
                <c:pt idx="6245">
                  <c:v>4.8724347940980257</c:v>
                </c:pt>
                <c:pt idx="6246">
                  <c:v>5.8146674762285242</c:v>
                </c:pt>
                <c:pt idx="6247">
                  <c:v>6.1861407186380148</c:v>
                </c:pt>
                <c:pt idx="6248">
                  <c:v>4.7589744117221802</c:v>
                </c:pt>
                <c:pt idx="6249">
                  <c:v>4.988116723388198</c:v>
                </c:pt>
                <c:pt idx="6250">
                  <c:v>6.0434215889929259</c:v>
                </c:pt>
                <c:pt idx="6251">
                  <c:v>6.0429095453125967</c:v>
                </c:pt>
                <c:pt idx="6252">
                  <c:v>6.1521561978657546</c:v>
                </c:pt>
                <c:pt idx="6253">
                  <c:v>6.1538636084769571</c:v>
                </c:pt>
                <c:pt idx="6254">
                  <c:v>5.1552035330164365</c:v>
                </c:pt>
                <c:pt idx="6255">
                  <c:v>6.0171408116906493</c:v>
                </c:pt>
                <c:pt idx="6256">
                  <c:v>4.942561604545558</c:v>
                </c:pt>
                <c:pt idx="6257">
                  <c:v>5.9730620032351789</c:v>
                </c:pt>
                <c:pt idx="6258">
                  <c:v>5.8885261540559233</c:v>
                </c:pt>
                <c:pt idx="6259">
                  <c:v>5.9357504204321172</c:v>
                </c:pt>
                <c:pt idx="6260">
                  <c:v>4.804909926247853</c:v>
                </c:pt>
                <c:pt idx="6261">
                  <c:v>6.0094682184802526</c:v>
                </c:pt>
                <c:pt idx="6262">
                  <c:v>4.1083747777319255</c:v>
                </c:pt>
                <c:pt idx="6263">
                  <c:v>5.9336776837688294</c:v>
                </c:pt>
                <c:pt idx="6264">
                  <c:v>5.1637640024605442</c:v>
                </c:pt>
                <c:pt idx="6265">
                  <c:v>4.8161927955338832</c:v>
                </c:pt>
                <c:pt idx="6266">
                  <c:v>5.8455126638836763</c:v>
                </c:pt>
                <c:pt idx="6267">
                  <c:v>5.9538416618554324</c:v>
                </c:pt>
                <c:pt idx="6268">
                  <c:v>5.8649039614616587</c:v>
                </c:pt>
                <c:pt idx="6269">
                  <c:v>5.0120025972537521</c:v>
                </c:pt>
                <c:pt idx="6270">
                  <c:v>5.0867706036999945</c:v>
                </c:pt>
                <c:pt idx="6271">
                  <c:v>5.9384247682287477</c:v>
                </c:pt>
                <c:pt idx="6272">
                  <c:v>4.8266638471172385</c:v>
                </c:pt>
                <c:pt idx="6273">
                  <c:v>5.0595826311868688</c:v>
                </c:pt>
                <c:pt idx="6274">
                  <c:v>5.1280749700481225</c:v>
                </c:pt>
                <c:pt idx="6275">
                  <c:v>4.9662181795458062</c:v>
                </c:pt>
                <c:pt idx="6276">
                  <c:v>4.9002261012617501</c:v>
                </c:pt>
                <c:pt idx="6277">
                  <c:v>6.072456466011027</c:v>
                </c:pt>
                <c:pt idx="6278">
                  <c:v>5.9635710179896293</c:v>
                </c:pt>
                <c:pt idx="6279">
                  <c:v>6.0076814703479657</c:v>
                </c:pt>
                <c:pt idx="6280">
                  <c:v>5.8720119408371927</c:v>
                </c:pt>
                <c:pt idx="6281">
                  <c:v>5.9890697192480271</c:v>
                </c:pt>
                <c:pt idx="6282">
                  <c:v>5.8436496618763218</c:v>
                </c:pt>
                <c:pt idx="6283">
                  <c:v>5.9397960750669361</c:v>
                </c:pt>
                <c:pt idx="6284">
                  <c:v>6.0063838255138862</c:v>
                </c:pt>
                <c:pt idx="6285">
                  <c:v>6.0286610544700352</c:v>
                </c:pt>
                <c:pt idx="6286">
                  <c:v>6.0791215300974706</c:v>
                </c:pt>
                <c:pt idx="6287">
                  <c:v>5.8032901667697363</c:v>
                </c:pt>
                <c:pt idx="6288">
                  <c:v>5.9024758757551981</c:v>
                </c:pt>
                <c:pt idx="6289">
                  <c:v>6.0374555936240055</c:v>
                </c:pt>
                <c:pt idx="6290">
                  <c:v>6.0162278703420933</c:v>
                </c:pt>
                <c:pt idx="6291">
                  <c:v>5.9057246794966565</c:v>
                </c:pt>
                <c:pt idx="6292">
                  <c:v>6.8537226166537364</c:v>
                </c:pt>
                <c:pt idx="6293">
                  <c:v>5.9726659860971063</c:v>
                </c:pt>
                <c:pt idx="6294">
                  <c:v>5.9500511069713529</c:v>
                </c:pt>
                <c:pt idx="6295">
                  <c:v>4.0707245657932516</c:v>
                </c:pt>
                <c:pt idx="6296">
                  <c:v>4.018900031692116</c:v>
                </c:pt>
                <c:pt idx="6297">
                  <c:v>6.0820211291771393</c:v>
                </c:pt>
                <c:pt idx="6298">
                  <c:v>2.915693626310325</c:v>
                </c:pt>
                <c:pt idx="6299">
                  <c:v>6.0811680854894279</c:v>
                </c:pt>
                <c:pt idx="6300">
                  <c:v>5.9973394341795352</c:v>
                </c:pt>
                <c:pt idx="6301">
                  <c:v>4.9507154780239206</c:v>
                </c:pt>
                <c:pt idx="6302">
                  <c:v>5.9555607135623356</c:v>
                </c:pt>
                <c:pt idx="6303">
                  <c:v>6.0232418751220269</c:v>
                </c:pt>
                <c:pt idx="6304">
                  <c:v>4.9902701726696019</c:v>
                </c:pt>
                <c:pt idx="6305">
                  <c:v>2.7875662036916244</c:v>
                </c:pt>
                <c:pt idx="6306">
                  <c:v>6.0094458783516211</c:v>
                </c:pt>
                <c:pt idx="6307">
                  <c:v>6.232765298937756</c:v>
                </c:pt>
                <c:pt idx="6308">
                  <c:v>5.8652166244760586</c:v>
                </c:pt>
                <c:pt idx="6309">
                  <c:v>5.0537414483582284</c:v>
                </c:pt>
                <c:pt idx="6310">
                  <c:v>3.9907606551608468</c:v>
                </c:pt>
                <c:pt idx="6311">
                  <c:v>3.9445165453331472</c:v>
                </c:pt>
                <c:pt idx="6312">
                  <c:v>4.7595373010130722</c:v>
                </c:pt>
                <c:pt idx="6313">
                  <c:v>5.0942095757205124</c:v>
                </c:pt>
                <c:pt idx="6314">
                  <c:v>6.044465828148291</c:v>
                </c:pt>
                <c:pt idx="6315">
                  <c:v>6.06557789072499</c:v>
                </c:pt>
                <c:pt idx="6316">
                  <c:v>5.0857624471502803</c:v>
                </c:pt>
                <c:pt idx="6317">
                  <c:v>5.8604307574205139</c:v>
                </c:pt>
                <c:pt idx="6318">
                  <c:v>4.9741823875498019</c:v>
                </c:pt>
                <c:pt idx="6319">
                  <c:v>5.9615828976721126</c:v>
                </c:pt>
                <c:pt idx="6320">
                  <c:v>6.2220482108339219</c:v>
                </c:pt>
                <c:pt idx="6321">
                  <c:v>4.9530644929405803</c:v>
                </c:pt>
                <c:pt idx="6322">
                  <c:v>6.0582144657558503</c:v>
                </c:pt>
                <c:pt idx="6323">
                  <c:v>5.9354038764369168</c:v>
                </c:pt>
                <c:pt idx="6324">
                  <c:v>5.9702236159750646</c:v>
                </c:pt>
                <c:pt idx="6325">
                  <c:v>5.1012031828995141</c:v>
                </c:pt>
                <c:pt idx="6326">
                  <c:v>6.0846877590157264</c:v>
                </c:pt>
                <c:pt idx="6327">
                  <c:v>6.1682022743617662</c:v>
                </c:pt>
                <c:pt idx="6328">
                  <c:v>7.0468937331368542</c:v>
                </c:pt>
                <c:pt idx="6329">
                  <c:v>7.0054500586577122</c:v>
                </c:pt>
                <c:pt idx="6330">
                  <c:v>6.0066833339357855</c:v>
                </c:pt>
                <c:pt idx="6331">
                  <c:v>5.9958465455666268</c:v>
                </c:pt>
                <c:pt idx="6332">
                  <c:v>5.7868946821432763</c:v>
                </c:pt>
                <c:pt idx="6333">
                  <c:v>5.8451833239321047</c:v>
                </c:pt>
                <c:pt idx="6334">
                  <c:v>6.0850836021391048</c:v>
                </c:pt>
                <c:pt idx="6335">
                  <c:v>5.0769091371051545</c:v>
                </c:pt>
                <c:pt idx="6336">
                  <c:v>6.0087835187363092</c:v>
                </c:pt>
                <c:pt idx="6337">
                  <c:v>6.1100574963464025</c:v>
                </c:pt>
                <c:pt idx="6338">
                  <c:v>6.0769712699578537</c:v>
                </c:pt>
                <c:pt idx="6339">
                  <c:v>5.8716145283201104</c:v>
                </c:pt>
                <c:pt idx="6340">
                  <c:v>4.0050373541383237</c:v>
                </c:pt>
                <c:pt idx="6341">
                  <c:v>4.2008691106502072</c:v>
                </c:pt>
                <c:pt idx="6342">
                  <c:v>4.1618209934058124</c:v>
                </c:pt>
                <c:pt idx="6343">
                  <c:v>5.9817327476748492</c:v>
                </c:pt>
                <c:pt idx="6344">
                  <c:v>4.0188699745915466</c:v>
                </c:pt>
                <c:pt idx="6345">
                  <c:v>4.9117500175183251</c:v>
                </c:pt>
                <c:pt idx="6346">
                  <c:v>5.9851527815536443</c:v>
                </c:pt>
                <c:pt idx="6347">
                  <c:v>5.8444132140364902</c:v>
                </c:pt>
                <c:pt idx="6348">
                  <c:v>4.9701824444892715</c:v>
                </c:pt>
                <c:pt idx="6349">
                  <c:v>6.2092060043164707</c:v>
                </c:pt>
                <c:pt idx="6350">
                  <c:v>5.8808823122231777</c:v>
                </c:pt>
                <c:pt idx="6351">
                  <c:v>4.9583635434027737</c:v>
                </c:pt>
                <c:pt idx="6352">
                  <c:v>4.9868634656943778</c:v>
                </c:pt>
                <c:pt idx="6353">
                  <c:v>5.9422976301454487</c:v>
                </c:pt>
                <c:pt idx="6354">
                  <c:v>4.9980530798328555</c:v>
                </c:pt>
                <c:pt idx="6355">
                  <c:v>6.0839720353025903</c:v>
                </c:pt>
                <c:pt idx="6356">
                  <c:v>4.8791270914138503</c:v>
                </c:pt>
                <c:pt idx="6357">
                  <c:v>6.0080064458950435</c:v>
                </c:pt>
                <c:pt idx="6358">
                  <c:v>5.9640710755186106</c:v>
                </c:pt>
                <c:pt idx="6359">
                  <c:v>4.9243736147793351</c:v>
                </c:pt>
                <c:pt idx="6360">
                  <c:v>6.0777840121321933</c:v>
                </c:pt>
                <c:pt idx="6361">
                  <c:v>4.886345855807865</c:v>
                </c:pt>
                <c:pt idx="6362">
                  <c:v>5.1168096522460456</c:v>
                </c:pt>
                <c:pt idx="6363">
                  <c:v>5.0838962622546946</c:v>
                </c:pt>
                <c:pt idx="6364">
                  <c:v>4.9376553820125872</c:v>
                </c:pt>
                <c:pt idx="6365">
                  <c:v>4.9798137335741011</c:v>
                </c:pt>
                <c:pt idx="6366">
                  <c:v>4.9305624292534347</c:v>
                </c:pt>
                <c:pt idx="6367">
                  <c:v>5.9780163149726837</c:v>
                </c:pt>
                <c:pt idx="6368">
                  <c:v>5.7525670887336791</c:v>
                </c:pt>
                <c:pt idx="6369">
                  <c:v>4.053844564658732</c:v>
                </c:pt>
                <c:pt idx="6370">
                  <c:v>5.9913785549634158</c:v>
                </c:pt>
                <c:pt idx="6371">
                  <c:v>4.8223944398997025</c:v>
                </c:pt>
                <c:pt idx="6372">
                  <c:v>5.9684014316287888</c:v>
                </c:pt>
                <c:pt idx="6373">
                  <c:v>5.9117975034769144</c:v>
                </c:pt>
                <c:pt idx="6374">
                  <c:v>5.018732581930883</c:v>
                </c:pt>
                <c:pt idx="6375">
                  <c:v>6.1183793126396067</c:v>
                </c:pt>
                <c:pt idx="6376">
                  <c:v>6.9839873562745023</c:v>
                </c:pt>
                <c:pt idx="6377">
                  <c:v>6.0050868714428249</c:v>
                </c:pt>
                <c:pt idx="6378">
                  <c:v>5.1111507800720943</c:v>
                </c:pt>
                <c:pt idx="6379">
                  <c:v>6.166806345095714</c:v>
                </c:pt>
                <c:pt idx="6380">
                  <c:v>5.9051291557606405</c:v>
                </c:pt>
                <c:pt idx="6381">
                  <c:v>4.9098430649534777</c:v>
                </c:pt>
                <c:pt idx="6382">
                  <c:v>5.0203316918471153</c:v>
                </c:pt>
                <c:pt idx="6383">
                  <c:v>6.0815224554338769</c:v>
                </c:pt>
                <c:pt idx="6384">
                  <c:v>5.1170259256104131</c:v>
                </c:pt>
                <c:pt idx="6385">
                  <c:v>4.9618237678444892</c:v>
                </c:pt>
                <c:pt idx="6386">
                  <c:v>6.0747333178732656</c:v>
                </c:pt>
                <c:pt idx="6387">
                  <c:v>5.0396376555741034</c:v>
                </c:pt>
                <c:pt idx="6388">
                  <c:v>6.0376121224614376</c:v>
                </c:pt>
                <c:pt idx="6389">
                  <c:v>4.8958197090036331</c:v>
                </c:pt>
                <c:pt idx="6390">
                  <c:v>6.0010663375524533</c:v>
                </c:pt>
                <c:pt idx="6391">
                  <c:v>4.744648548829522</c:v>
                </c:pt>
                <c:pt idx="6392">
                  <c:v>4.9441478263800098</c:v>
                </c:pt>
                <c:pt idx="6393">
                  <c:v>6.0112337836545819</c:v>
                </c:pt>
                <c:pt idx="6394">
                  <c:v>4.860108834106331</c:v>
                </c:pt>
                <c:pt idx="6395">
                  <c:v>5.1852357715037733</c:v>
                </c:pt>
                <c:pt idx="6396">
                  <c:v>4.9813457088954864</c:v>
                </c:pt>
                <c:pt idx="6397">
                  <c:v>5.91896169903145</c:v>
                </c:pt>
                <c:pt idx="6398">
                  <c:v>5.0198224754858751</c:v>
                </c:pt>
                <c:pt idx="6399">
                  <c:v>5.0310069146053467</c:v>
                </c:pt>
                <c:pt idx="6400">
                  <c:v>5.9837422345888722</c:v>
                </c:pt>
                <c:pt idx="6401">
                  <c:v>5.9780304104196977</c:v>
                </c:pt>
                <c:pt idx="6402">
                  <c:v>6.0536111494359295</c:v>
                </c:pt>
                <c:pt idx="6403">
                  <c:v>5.0453378897128731</c:v>
                </c:pt>
                <c:pt idx="6404">
                  <c:v>4.9431444974109588</c:v>
                </c:pt>
                <c:pt idx="6405">
                  <c:v>4.9794205624868537</c:v>
                </c:pt>
                <c:pt idx="6406">
                  <c:v>6.1447658272447772</c:v>
                </c:pt>
                <c:pt idx="6407">
                  <c:v>5.8974603796936087</c:v>
                </c:pt>
                <c:pt idx="6408">
                  <c:v>5.8073023923528879</c:v>
                </c:pt>
                <c:pt idx="6409">
                  <c:v>5.9975904974883951</c:v>
                </c:pt>
                <c:pt idx="6410">
                  <c:v>6.0355829228541245</c:v>
                </c:pt>
                <c:pt idx="6411">
                  <c:v>6.1112563649264029</c:v>
                </c:pt>
                <c:pt idx="6412">
                  <c:v>5.0369467480516761</c:v>
                </c:pt>
                <c:pt idx="6413">
                  <c:v>5.0407612068964163</c:v>
                </c:pt>
                <c:pt idx="6414">
                  <c:v>4.9390966017618592</c:v>
                </c:pt>
                <c:pt idx="6415">
                  <c:v>6.099227759585875</c:v>
                </c:pt>
                <c:pt idx="6416">
                  <c:v>5.040872298021136</c:v>
                </c:pt>
                <c:pt idx="6417">
                  <c:v>4.941601264378467</c:v>
                </c:pt>
                <c:pt idx="6418">
                  <c:v>5.1447560191530579</c:v>
                </c:pt>
                <c:pt idx="6419">
                  <c:v>4.8883451599533725</c:v>
                </c:pt>
                <c:pt idx="6420">
                  <c:v>6.2719283664692451</c:v>
                </c:pt>
                <c:pt idx="6421">
                  <c:v>4.8766210711971807</c:v>
                </c:pt>
                <c:pt idx="6422">
                  <c:v>6.1236870993154255</c:v>
                </c:pt>
                <c:pt idx="6423">
                  <c:v>6.0323572778596741</c:v>
                </c:pt>
                <c:pt idx="6424">
                  <c:v>5.8989952825310095</c:v>
                </c:pt>
                <c:pt idx="6425">
                  <c:v>5.8170912983932936</c:v>
                </c:pt>
                <c:pt idx="6426">
                  <c:v>5.8668493913411446</c:v>
                </c:pt>
                <c:pt idx="6427">
                  <c:v>6.0267934081670136</c:v>
                </c:pt>
                <c:pt idx="6428">
                  <c:v>4.9430253311886752</c:v>
                </c:pt>
                <c:pt idx="6429">
                  <c:v>4.9424805398166596</c:v>
                </c:pt>
                <c:pt idx="6430">
                  <c:v>5.0909778062505602</c:v>
                </c:pt>
                <c:pt idx="6431">
                  <c:v>5.0369523742966331</c:v>
                </c:pt>
                <c:pt idx="6432">
                  <c:v>5.0704295508668373</c:v>
                </c:pt>
                <c:pt idx="6433">
                  <c:v>5.9677307653624698</c:v>
                </c:pt>
                <c:pt idx="6434">
                  <c:v>4.9155806918593656</c:v>
                </c:pt>
                <c:pt idx="6435">
                  <c:v>5.0126609649789566</c:v>
                </c:pt>
                <c:pt idx="6436">
                  <c:v>4.9727315006460202</c:v>
                </c:pt>
                <c:pt idx="6437">
                  <c:v>6.1002185482235118</c:v>
                </c:pt>
                <c:pt idx="6438">
                  <c:v>6.171819998149938</c:v>
                </c:pt>
                <c:pt idx="6439">
                  <c:v>4.8267760149512169</c:v>
                </c:pt>
                <c:pt idx="6440">
                  <c:v>4.9497720524952511</c:v>
                </c:pt>
                <c:pt idx="6441">
                  <c:v>5.9431874743960167</c:v>
                </c:pt>
                <c:pt idx="6442">
                  <c:v>6.0538052802799998</c:v>
                </c:pt>
                <c:pt idx="6443">
                  <c:v>5.1104550010650476</c:v>
                </c:pt>
                <c:pt idx="6444">
                  <c:v>5.06440718325047</c:v>
                </c:pt>
                <c:pt idx="6445">
                  <c:v>6.0247443221635795</c:v>
                </c:pt>
                <c:pt idx="6446">
                  <c:v>4.8147668992536907</c:v>
                </c:pt>
                <c:pt idx="6447">
                  <c:v>5.9191753379182961</c:v>
                </c:pt>
                <c:pt idx="6448">
                  <c:v>6.0453819854556121</c:v>
                </c:pt>
                <c:pt idx="6449">
                  <c:v>5.1586703078914606</c:v>
                </c:pt>
                <c:pt idx="6450">
                  <c:v>4.8696812678818846</c:v>
                </c:pt>
                <c:pt idx="6451">
                  <c:v>6.0157089141491333</c:v>
                </c:pt>
                <c:pt idx="6452">
                  <c:v>4.7882898444979034</c:v>
                </c:pt>
                <c:pt idx="6453">
                  <c:v>5.7080180870990764</c:v>
                </c:pt>
                <c:pt idx="6454">
                  <c:v>5.1678936182027151</c:v>
                </c:pt>
                <c:pt idx="6455">
                  <c:v>5.0673839812020098</c:v>
                </c:pt>
                <c:pt idx="6456">
                  <c:v>4.9579690717037019</c:v>
                </c:pt>
                <c:pt idx="6457">
                  <c:v>5.9172897645891682</c:v>
                </c:pt>
                <c:pt idx="6458">
                  <c:v>5.1287296769898951</c:v>
                </c:pt>
                <c:pt idx="6459">
                  <c:v>5.0411358073423145</c:v>
                </c:pt>
                <c:pt idx="6460">
                  <c:v>4.8594282667973827</c:v>
                </c:pt>
                <c:pt idx="6461">
                  <c:v>5.0049999238075387</c:v>
                </c:pt>
                <c:pt idx="6462">
                  <c:v>5.0894375229033253</c:v>
                </c:pt>
                <c:pt idx="6463">
                  <c:v>5.0461868343865746</c:v>
                </c:pt>
                <c:pt idx="6464">
                  <c:v>5.9392123878494738</c:v>
                </c:pt>
                <c:pt idx="6465">
                  <c:v>5.0363500236833554</c:v>
                </c:pt>
                <c:pt idx="6466">
                  <c:v>5.1022960283207777</c:v>
                </c:pt>
                <c:pt idx="6467">
                  <c:v>6.0308308094914613</c:v>
                </c:pt>
                <c:pt idx="6468">
                  <c:v>4.8752396384310765</c:v>
                </c:pt>
                <c:pt idx="6469">
                  <c:v>4.8787232497269644</c:v>
                </c:pt>
                <c:pt idx="6470">
                  <c:v>6.1155955503793535</c:v>
                </c:pt>
                <c:pt idx="6471">
                  <c:v>5.0294605059905191</c:v>
                </c:pt>
                <c:pt idx="6472">
                  <c:v>4.9050040975237668</c:v>
                </c:pt>
                <c:pt idx="6473">
                  <c:v>4.9067787172015134</c:v>
                </c:pt>
                <c:pt idx="6474">
                  <c:v>5.929261602113157</c:v>
                </c:pt>
                <c:pt idx="6475">
                  <c:v>6.9388593667392229</c:v>
                </c:pt>
                <c:pt idx="6476">
                  <c:v>7.1198251710421605</c:v>
                </c:pt>
                <c:pt idx="6477">
                  <c:v>5.8729750631081385</c:v>
                </c:pt>
                <c:pt idx="6478">
                  <c:v>6.0408368146100413</c:v>
                </c:pt>
                <c:pt idx="6479">
                  <c:v>4.9502486700657045</c:v>
                </c:pt>
                <c:pt idx="6480">
                  <c:v>6.9269531439357337</c:v>
                </c:pt>
                <c:pt idx="6481">
                  <c:v>6.8229402751348465</c:v>
                </c:pt>
                <c:pt idx="6482">
                  <c:v>5.9489658006602113</c:v>
                </c:pt>
                <c:pt idx="6483">
                  <c:v>6.1591153564608847</c:v>
                </c:pt>
                <c:pt idx="6484">
                  <c:v>5.0676382834491358</c:v>
                </c:pt>
                <c:pt idx="6485">
                  <c:v>4.9140884110133447</c:v>
                </c:pt>
                <c:pt idx="6486">
                  <c:v>6.168970021724963</c:v>
                </c:pt>
                <c:pt idx="6487">
                  <c:v>4.8993162526923451</c:v>
                </c:pt>
                <c:pt idx="6488">
                  <c:v>6.0007410712318974</c:v>
                </c:pt>
                <c:pt idx="6489">
                  <c:v>6.1023218188925519</c:v>
                </c:pt>
                <c:pt idx="6490">
                  <c:v>6.118399238105523</c:v>
                </c:pt>
                <c:pt idx="6491">
                  <c:v>5.9422356452669058</c:v>
                </c:pt>
                <c:pt idx="6492">
                  <c:v>4.9512964557234271</c:v>
                </c:pt>
                <c:pt idx="6493">
                  <c:v>5.851301559405778</c:v>
                </c:pt>
                <c:pt idx="6494">
                  <c:v>6.9962566500827323</c:v>
                </c:pt>
                <c:pt idx="6495">
                  <c:v>6.0252492005469982</c:v>
                </c:pt>
                <c:pt idx="6496">
                  <c:v>6.0187985872866783</c:v>
                </c:pt>
                <c:pt idx="6497">
                  <c:v>6.0397632815687201</c:v>
                </c:pt>
                <c:pt idx="6498">
                  <c:v>5.9166217583007246</c:v>
                </c:pt>
                <c:pt idx="6499">
                  <c:v>5.0768042320398417</c:v>
                </c:pt>
                <c:pt idx="6500">
                  <c:v>5.0338539252514272</c:v>
                </c:pt>
                <c:pt idx="6501">
                  <c:v>5.7135527938423438</c:v>
                </c:pt>
                <c:pt idx="6502">
                  <c:v>5.8427393398825203</c:v>
                </c:pt>
                <c:pt idx="6503">
                  <c:v>5.0152090328098309</c:v>
                </c:pt>
                <c:pt idx="6504">
                  <c:v>6.0480944685380411</c:v>
                </c:pt>
                <c:pt idx="6505">
                  <c:v>4.9437798079366617</c:v>
                </c:pt>
                <c:pt idx="6506">
                  <c:v>5.9670316631475639</c:v>
                </c:pt>
                <c:pt idx="6507">
                  <c:v>5.9153549598562076</c:v>
                </c:pt>
                <c:pt idx="6508">
                  <c:v>4.9415055845628233</c:v>
                </c:pt>
                <c:pt idx="6509">
                  <c:v>5.0437420271046687</c:v>
                </c:pt>
                <c:pt idx="6510">
                  <c:v>4.9657027729761918</c:v>
                </c:pt>
                <c:pt idx="6511">
                  <c:v>5.0951955842702796</c:v>
                </c:pt>
                <c:pt idx="6512">
                  <c:v>5.1404527074338597</c:v>
                </c:pt>
                <c:pt idx="6513">
                  <c:v>6.0125652459915697</c:v>
                </c:pt>
                <c:pt idx="6514">
                  <c:v>6.1301930535855931</c:v>
                </c:pt>
                <c:pt idx="6515">
                  <c:v>4.9476410608390955</c:v>
                </c:pt>
                <c:pt idx="6516">
                  <c:v>5.0127411425974602</c:v>
                </c:pt>
                <c:pt idx="6517">
                  <c:v>5.9734287463995113</c:v>
                </c:pt>
                <c:pt idx="6518">
                  <c:v>5.0502583161943422</c:v>
                </c:pt>
                <c:pt idx="6519">
                  <c:v>5.9464980647775354</c:v>
                </c:pt>
                <c:pt idx="6520">
                  <c:v>6.1570878958358666</c:v>
                </c:pt>
                <c:pt idx="6521">
                  <c:v>6.0476559278305748</c:v>
                </c:pt>
                <c:pt idx="6522">
                  <c:v>4.9547645835935743</c:v>
                </c:pt>
                <c:pt idx="6523">
                  <c:v>5.8809407457209293</c:v>
                </c:pt>
                <c:pt idx="6524">
                  <c:v>5.0294666690049503</c:v>
                </c:pt>
                <c:pt idx="6525">
                  <c:v>4.8998264578079631</c:v>
                </c:pt>
                <c:pt idx="6526">
                  <c:v>4.9904776733413421</c:v>
                </c:pt>
                <c:pt idx="6527">
                  <c:v>4.9471333091332168</c:v>
                </c:pt>
                <c:pt idx="6528">
                  <c:v>4.9932955506888064</c:v>
                </c:pt>
                <c:pt idx="6529">
                  <c:v>6.1145416177304828</c:v>
                </c:pt>
                <c:pt idx="6530">
                  <c:v>5.9673738976555155</c:v>
                </c:pt>
                <c:pt idx="6531">
                  <c:v>6.0506082183972918</c:v>
                </c:pt>
                <c:pt idx="6532">
                  <c:v>5.9857916385338958</c:v>
                </c:pt>
                <c:pt idx="6533">
                  <c:v>5.8857317697371059</c:v>
                </c:pt>
                <c:pt idx="6534">
                  <c:v>6.0965464612462315</c:v>
                </c:pt>
                <c:pt idx="6535">
                  <c:v>6.0089905595452784</c:v>
                </c:pt>
                <c:pt idx="6536">
                  <c:v>6.0895781537241556</c:v>
                </c:pt>
                <c:pt idx="6537">
                  <c:v>6.1293763698208599</c:v>
                </c:pt>
                <c:pt idx="6538">
                  <c:v>6.0530184939674712</c:v>
                </c:pt>
                <c:pt idx="6539">
                  <c:v>5.1133236467161076</c:v>
                </c:pt>
                <c:pt idx="6540">
                  <c:v>4.8148281094384178</c:v>
                </c:pt>
                <c:pt idx="6541">
                  <c:v>1.9958085607967389</c:v>
                </c:pt>
                <c:pt idx="6542">
                  <c:v>6.0443938200552481</c:v>
                </c:pt>
                <c:pt idx="6543">
                  <c:v>4.9444721409393182</c:v>
                </c:pt>
                <c:pt idx="6544">
                  <c:v>5.1324413704598602</c:v>
                </c:pt>
                <c:pt idx="6545">
                  <c:v>4.8682546791432912</c:v>
                </c:pt>
                <c:pt idx="6546">
                  <c:v>4.884980095293785</c:v>
                </c:pt>
                <c:pt idx="6547">
                  <c:v>5.0640324862388644</c:v>
                </c:pt>
                <c:pt idx="6548">
                  <c:v>4.9744527915673666</c:v>
                </c:pt>
                <c:pt idx="6549">
                  <c:v>5.0478771783450442</c:v>
                </c:pt>
                <c:pt idx="6550">
                  <c:v>5.9304782608756152</c:v>
                </c:pt>
                <c:pt idx="6551">
                  <c:v>4.8712738616494073</c:v>
                </c:pt>
                <c:pt idx="6552">
                  <c:v>6.0620832971289804</c:v>
                </c:pt>
                <c:pt idx="6553">
                  <c:v>6.0068059050906291</c:v>
                </c:pt>
                <c:pt idx="6554">
                  <c:v>6.1184542320748143</c:v>
                </c:pt>
                <c:pt idx="6555">
                  <c:v>4.8806680940803204</c:v>
                </c:pt>
                <c:pt idx="6556">
                  <c:v>6.0547635808049645</c:v>
                </c:pt>
                <c:pt idx="6557">
                  <c:v>5.0134097990649567</c:v>
                </c:pt>
                <c:pt idx="6558">
                  <c:v>5.0235535498307344</c:v>
                </c:pt>
                <c:pt idx="6559">
                  <c:v>4.7956626525019459</c:v>
                </c:pt>
                <c:pt idx="6560">
                  <c:v>6.0339388089685384</c:v>
                </c:pt>
                <c:pt idx="6561">
                  <c:v>5.8123555238286855</c:v>
                </c:pt>
                <c:pt idx="6562">
                  <c:v>6.1386834685090159</c:v>
                </c:pt>
                <c:pt idx="6563">
                  <c:v>4.9835622276889477</c:v>
                </c:pt>
                <c:pt idx="6564">
                  <c:v>5.0651956248151899</c:v>
                </c:pt>
                <c:pt idx="6565">
                  <c:v>5.0918341911753568</c:v>
                </c:pt>
                <c:pt idx="6566">
                  <c:v>4.9467148179184752</c:v>
                </c:pt>
                <c:pt idx="6567">
                  <c:v>5.159364330404653</c:v>
                </c:pt>
                <c:pt idx="6568">
                  <c:v>4.8626386143857063</c:v>
                </c:pt>
                <c:pt idx="6569">
                  <c:v>5.9081200066605382</c:v>
                </c:pt>
                <c:pt idx="6570">
                  <c:v>5.966630468749532</c:v>
                </c:pt>
                <c:pt idx="6571">
                  <c:v>4.9891409220143261</c:v>
                </c:pt>
                <c:pt idx="6572">
                  <c:v>4.8889154034140168</c:v>
                </c:pt>
                <c:pt idx="6573">
                  <c:v>5.846836110803066</c:v>
                </c:pt>
                <c:pt idx="6574">
                  <c:v>6.22938241427065</c:v>
                </c:pt>
                <c:pt idx="6575">
                  <c:v>5.9420649381572632</c:v>
                </c:pt>
                <c:pt idx="6576">
                  <c:v>5.993721814467535</c:v>
                </c:pt>
                <c:pt idx="6577">
                  <c:v>5.0589145097342909</c:v>
                </c:pt>
                <c:pt idx="6578">
                  <c:v>4.9813306636681851</c:v>
                </c:pt>
                <c:pt idx="6579">
                  <c:v>6.8852109073235059</c:v>
                </c:pt>
                <c:pt idx="6580">
                  <c:v>5.8380266544721042</c:v>
                </c:pt>
                <c:pt idx="6581">
                  <c:v>5.939274818954611</c:v>
                </c:pt>
                <c:pt idx="6582">
                  <c:v>4.8882486844166735</c:v>
                </c:pt>
                <c:pt idx="6583">
                  <c:v>5.1320585217637182</c:v>
                </c:pt>
                <c:pt idx="6584">
                  <c:v>6.0168046803528608</c:v>
                </c:pt>
                <c:pt idx="6585">
                  <c:v>5.0940746122721592</c:v>
                </c:pt>
                <c:pt idx="6586">
                  <c:v>5.1593387550880649</c:v>
                </c:pt>
                <c:pt idx="6587">
                  <c:v>6.8473032899083304</c:v>
                </c:pt>
                <c:pt idx="6588">
                  <c:v>6.8206137585727253</c:v>
                </c:pt>
                <c:pt idx="6589">
                  <c:v>5.9086784453649042</c:v>
                </c:pt>
                <c:pt idx="6590">
                  <c:v>3.9796925903691336</c:v>
                </c:pt>
                <c:pt idx="6591">
                  <c:v>5.0680327605886708</c:v>
                </c:pt>
                <c:pt idx="6592">
                  <c:v>6.0377413422192161</c:v>
                </c:pt>
                <c:pt idx="6593">
                  <c:v>4.8910375940696893</c:v>
                </c:pt>
                <c:pt idx="6594">
                  <c:v>5.9486634995755248</c:v>
                </c:pt>
                <c:pt idx="6595">
                  <c:v>4.8805354174257678</c:v>
                </c:pt>
                <c:pt idx="6596">
                  <c:v>5.0019519211877448</c:v>
                </c:pt>
                <c:pt idx="6597">
                  <c:v>5.0636168720052988</c:v>
                </c:pt>
                <c:pt idx="6598">
                  <c:v>5.0074216754367304</c:v>
                </c:pt>
                <c:pt idx="6599">
                  <c:v>4.8705473713325418</c:v>
                </c:pt>
                <c:pt idx="6600">
                  <c:v>7.0368484998723888</c:v>
                </c:pt>
                <c:pt idx="6601">
                  <c:v>5.8609473765569762</c:v>
                </c:pt>
                <c:pt idx="6602">
                  <c:v>5.1189008027829628</c:v>
                </c:pt>
                <c:pt idx="6603">
                  <c:v>6.1511010416788166</c:v>
                </c:pt>
                <c:pt idx="6604">
                  <c:v>4.9652750272050632</c:v>
                </c:pt>
                <c:pt idx="6605">
                  <c:v>5.9530086830674822</c:v>
                </c:pt>
                <c:pt idx="6606">
                  <c:v>4.9340306250771606</c:v>
                </c:pt>
                <c:pt idx="6607">
                  <c:v>5.0942818388345907</c:v>
                </c:pt>
                <c:pt idx="6608">
                  <c:v>4.8361062603200393</c:v>
                </c:pt>
                <c:pt idx="6609">
                  <c:v>5.1035079245938384</c:v>
                </c:pt>
                <c:pt idx="6610">
                  <c:v>5.7580782351050361</c:v>
                </c:pt>
                <c:pt idx="6611">
                  <c:v>5.015366658526581</c:v>
                </c:pt>
                <c:pt idx="6612">
                  <c:v>5.9402011438188582</c:v>
                </c:pt>
                <c:pt idx="6613">
                  <c:v>5.9443314199959207</c:v>
                </c:pt>
                <c:pt idx="6614">
                  <c:v>6.0306767288174967</c:v>
                </c:pt>
                <c:pt idx="6615">
                  <c:v>5.9891600443094317</c:v>
                </c:pt>
                <c:pt idx="6616">
                  <c:v>4.7592063007647045</c:v>
                </c:pt>
                <c:pt idx="6617">
                  <c:v>4.9459566279430849</c:v>
                </c:pt>
                <c:pt idx="6618">
                  <c:v>4.965493496310887</c:v>
                </c:pt>
                <c:pt idx="6619">
                  <c:v>5.0395618602556205</c:v>
                </c:pt>
                <c:pt idx="6620">
                  <c:v>6.0607441747263557</c:v>
                </c:pt>
                <c:pt idx="6621">
                  <c:v>4.8339959906189094</c:v>
                </c:pt>
                <c:pt idx="6622">
                  <c:v>5.9357609227921362</c:v>
                </c:pt>
                <c:pt idx="6623">
                  <c:v>5.9457072405764677</c:v>
                </c:pt>
                <c:pt idx="6624">
                  <c:v>4.8223713761667284</c:v>
                </c:pt>
                <c:pt idx="6625">
                  <c:v>5.0990935210529518</c:v>
                </c:pt>
                <c:pt idx="6626">
                  <c:v>7.0513723975431173</c:v>
                </c:pt>
                <c:pt idx="6627">
                  <c:v>5.9667728022942264</c:v>
                </c:pt>
                <c:pt idx="6628">
                  <c:v>5.8407871255230983</c:v>
                </c:pt>
                <c:pt idx="6629">
                  <c:v>5.0245162615554433</c:v>
                </c:pt>
                <c:pt idx="6630">
                  <c:v>5.2519942617544126</c:v>
                </c:pt>
                <c:pt idx="6631">
                  <c:v>6.0131678996554383</c:v>
                </c:pt>
                <c:pt idx="6632">
                  <c:v>5.9878739372862713</c:v>
                </c:pt>
                <c:pt idx="6633">
                  <c:v>7.0223614170562696</c:v>
                </c:pt>
                <c:pt idx="6634">
                  <c:v>4.9726660242186389</c:v>
                </c:pt>
                <c:pt idx="6635">
                  <c:v>5.9258982179161084</c:v>
                </c:pt>
                <c:pt idx="6636">
                  <c:v>3.9773787382832801</c:v>
                </c:pt>
                <c:pt idx="6637">
                  <c:v>6.0375886699846566</c:v>
                </c:pt>
                <c:pt idx="6638">
                  <c:v>6.1062005431804049</c:v>
                </c:pt>
                <c:pt idx="6639">
                  <c:v>5.0663580228257459</c:v>
                </c:pt>
                <c:pt idx="6640">
                  <c:v>5.0295930769941268</c:v>
                </c:pt>
                <c:pt idx="6641">
                  <c:v>6.0742223664043706</c:v>
                </c:pt>
                <c:pt idx="6642">
                  <c:v>6.0071552386170337</c:v>
                </c:pt>
                <c:pt idx="6643">
                  <c:v>6.0647081144690587</c:v>
                </c:pt>
                <c:pt idx="6644">
                  <c:v>7.2110902422445813</c:v>
                </c:pt>
                <c:pt idx="6645">
                  <c:v>6.1583325512989227</c:v>
                </c:pt>
                <c:pt idx="6646">
                  <c:v>5.9511876649527258</c:v>
                </c:pt>
                <c:pt idx="6647">
                  <c:v>4.8363226138281243</c:v>
                </c:pt>
                <c:pt idx="6648">
                  <c:v>4.9632028541910307</c:v>
                </c:pt>
                <c:pt idx="6649">
                  <c:v>5.9678485019091347</c:v>
                </c:pt>
                <c:pt idx="6650">
                  <c:v>5.1430415409894259</c:v>
                </c:pt>
                <c:pt idx="6651">
                  <c:v>6.0319186435290097</c:v>
                </c:pt>
                <c:pt idx="6652">
                  <c:v>5.8787460093953472</c:v>
                </c:pt>
                <c:pt idx="6653">
                  <c:v>4.9687659802847746</c:v>
                </c:pt>
                <c:pt idx="6654">
                  <c:v>4.9860543729895923</c:v>
                </c:pt>
                <c:pt idx="6655">
                  <c:v>5.9273652031841078</c:v>
                </c:pt>
                <c:pt idx="6656">
                  <c:v>5.0749432088833704</c:v>
                </c:pt>
                <c:pt idx="6657">
                  <c:v>4.9823748905810694</c:v>
                </c:pt>
                <c:pt idx="6658">
                  <c:v>5.9047449047128202</c:v>
                </c:pt>
                <c:pt idx="6659">
                  <c:v>5.9251539664878399</c:v>
                </c:pt>
                <c:pt idx="6660">
                  <c:v>5.9707190296358013</c:v>
                </c:pt>
                <c:pt idx="6661">
                  <c:v>7.0230090818938846</c:v>
                </c:pt>
                <c:pt idx="6662">
                  <c:v>8.898524100268725</c:v>
                </c:pt>
                <c:pt idx="6663">
                  <c:v>5.9845440782214689</c:v>
                </c:pt>
                <c:pt idx="6664">
                  <c:v>4.7806833404053304</c:v>
                </c:pt>
                <c:pt idx="6665">
                  <c:v>4.9982760398234936</c:v>
                </c:pt>
                <c:pt idx="6666">
                  <c:v>6.0842935611680398</c:v>
                </c:pt>
                <c:pt idx="6667">
                  <c:v>5.9776374655443538</c:v>
                </c:pt>
                <c:pt idx="6668">
                  <c:v>6.1070999786454481</c:v>
                </c:pt>
                <c:pt idx="6669">
                  <c:v>5.8841610173891494</c:v>
                </c:pt>
                <c:pt idx="6670">
                  <c:v>6.0706094567947346</c:v>
                </c:pt>
                <c:pt idx="6671">
                  <c:v>6.078375634466588</c:v>
                </c:pt>
                <c:pt idx="6672">
                  <c:v>5.8953740150956904</c:v>
                </c:pt>
                <c:pt idx="6673">
                  <c:v>4.8846115071910781</c:v>
                </c:pt>
                <c:pt idx="6674">
                  <c:v>5.8286371339088223</c:v>
                </c:pt>
                <c:pt idx="6675">
                  <c:v>5.8777633690777824</c:v>
                </c:pt>
                <c:pt idx="6676">
                  <c:v>5.8416161424964557</c:v>
                </c:pt>
                <c:pt idx="6677">
                  <c:v>4.9790118435975135</c:v>
                </c:pt>
                <c:pt idx="6678">
                  <c:v>3.8730405925483256</c:v>
                </c:pt>
                <c:pt idx="6679">
                  <c:v>6.0135040196458478</c:v>
                </c:pt>
                <c:pt idx="6680">
                  <c:v>5.2228277420126883</c:v>
                </c:pt>
                <c:pt idx="6681">
                  <c:v>6.1047259021786671</c:v>
                </c:pt>
                <c:pt idx="6682">
                  <c:v>5.1201952764953562</c:v>
                </c:pt>
                <c:pt idx="6683">
                  <c:v>5.0470775795696365</c:v>
                </c:pt>
                <c:pt idx="6684">
                  <c:v>4.8570584518881983</c:v>
                </c:pt>
                <c:pt idx="6685">
                  <c:v>6.1506712664730703</c:v>
                </c:pt>
                <c:pt idx="6686">
                  <c:v>5.9101748532239933</c:v>
                </c:pt>
                <c:pt idx="6687">
                  <c:v>4.9507252243310731</c:v>
                </c:pt>
                <c:pt idx="6688">
                  <c:v>6.157427147690786</c:v>
                </c:pt>
                <c:pt idx="6689">
                  <c:v>4.882875953661042</c:v>
                </c:pt>
                <c:pt idx="6690">
                  <c:v>4.8969966188790561</c:v>
                </c:pt>
                <c:pt idx="6691">
                  <c:v>4.8439968707308418</c:v>
                </c:pt>
                <c:pt idx="6692">
                  <c:v>5.9602037980659848</c:v>
                </c:pt>
                <c:pt idx="6693">
                  <c:v>5.9675960227628302</c:v>
                </c:pt>
                <c:pt idx="6694">
                  <c:v>6.0955380514020581</c:v>
                </c:pt>
                <c:pt idx="6695">
                  <c:v>6.0276709193532083</c:v>
                </c:pt>
                <c:pt idx="6696">
                  <c:v>5.0299121789210028</c:v>
                </c:pt>
                <c:pt idx="6697">
                  <c:v>5.0298738784295889</c:v>
                </c:pt>
                <c:pt idx="6698">
                  <c:v>5.0272067323040526</c:v>
                </c:pt>
                <c:pt idx="6699">
                  <c:v>4.920808142432687</c:v>
                </c:pt>
                <c:pt idx="6700">
                  <c:v>5.9633162009978538</c:v>
                </c:pt>
                <c:pt idx="6701">
                  <c:v>5.0828685820006427</c:v>
                </c:pt>
                <c:pt idx="6702">
                  <c:v>5.1426702581243919</c:v>
                </c:pt>
                <c:pt idx="6703">
                  <c:v>5.0592935951208666</c:v>
                </c:pt>
                <c:pt idx="6704">
                  <c:v>5.0997137988561141</c:v>
                </c:pt>
                <c:pt idx="6705">
                  <c:v>6.2110408720401491</c:v>
                </c:pt>
                <c:pt idx="6706">
                  <c:v>4.8505810288190734</c:v>
                </c:pt>
                <c:pt idx="6707">
                  <c:v>5.0106120720260678</c:v>
                </c:pt>
                <c:pt idx="6708">
                  <c:v>4.963809359524368</c:v>
                </c:pt>
                <c:pt idx="6709">
                  <c:v>4.7545731090775645</c:v>
                </c:pt>
                <c:pt idx="6710">
                  <c:v>6.0605954516950034</c:v>
                </c:pt>
                <c:pt idx="6711">
                  <c:v>6.066116813182008</c:v>
                </c:pt>
                <c:pt idx="6712">
                  <c:v>5.077012696551737</c:v>
                </c:pt>
                <c:pt idx="6713">
                  <c:v>5.0243341946068796</c:v>
                </c:pt>
                <c:pt idx="6714">
                  <c:v>4.9555763607224517</c:v>
                </c:pt>
                <c:pt idx="6715">
                  <c:v>4.9699894537116416</c:v>
                </c:pt>
                <c:pt idx="6716">
                  <c:v>5.0747437409443314</c:v>
                </c:pt>
                <c:pt idx="6717">
                  <c:v>5.8593770501547633</c:v>
                </c:pt>
                <c:pt idx="6718">
                  <c:v>5.9640184257500488</c:v>
                </c:pt>
                <c:pt idx="6719">
                  <c:v>7.0391966174293019</c:v>
                </c:pt>
                <c:pt idx="6720">
                  <c:v>5.9810152843539219</c:v>
                </c:pt>
                <c:pt idx="6721">
                  <c:v>5.9828149123098902</c:v>
                </c:pt>
                <c:pt idx="6722">
                  <c:v>4.956029453743124</c:v>
                </c:pt>
                <c:pt idx="6723">
                  <c:v>5.8295826043444787</c:v>
                </c:pt>
                <c:pt idx="6724">
                  <c:v>6.1074669538993103</c:v>
                </c:pt>
                <c:pt idx="6725">
                  <c:v>6.0213083604898294</c:v>
                </c:pt>
                <c:pt idx="6726">
                  <c:v>5.9697349712987577</c:v>
                </c:pt>
                <c:pt idx="6727">
                  <c:v>5.8505236820482063</c:v>
                </c:pt>
                <c:pt idx="6728">
                  <c:v>5.9326183244131157</c:v>
                </c:pt>
                <c:pt idx="6729">
                  <c:v>5.9228884978569507</c:v>
                </c:pt>
                <c:pt idx="6730">
                  <c:v>6.0089743796231163</c:v>
                </c:pt>
                <c:pt idx="6731">
                  <c:v>5.8841119245937987</c:v>
                </c:pt>
                <c:pt idx="6732">
                  <c:v>6.1112332058864993</c:v>
                </c:pt>
                <c:pt idx="6733">
                  <c:v>7.0356342895613917</c:v>
                </c:pt>
                <c:pt idx="6734">
                  <c:v>5.8524213124533784</c:v>
                </c:pt>
                <c:pt idx="6735">
                  <c:v>5.1051057218055185</c:v>
                </c:pt>
                <c:pt idx="6736">
                  <c:v>6.9473516626096634</c:v>
                </c:pt>
                <c:pt idx="6737">
                  <c:v>5.8787838169845736</c:v>
                </c:pt>
                <c:pt idx="6738">
                  <c:v>5.8637580402602625</c:v>
                </c:pt>
                <c:pt idx="6739">
                  <c:v>6.2533692537818384</c:v>
                </c:pt>
                <c:pt idx="6740">
                  <c:v>5.9995556603865134</c:v>
                </c:pt>
                <c:pt idx="6741">
                  <c:v>5.8352034410682689</c:v>
                </c:pt>
                <c:pt idx="6742">
                  <c:v>6.8901220862810781</c:v>
                </c:pt>
                <c:pt idx="6743">
                  <c:v>6.8932533131689055</c:v>
                </c:pt>
                <c:pt idx="6744">
                  <c:v>7.1108696817555543</c:v>
                </c:pt>
                <c:pt idx="6745">
                  <c:v>5.0952915676541375</c:v>
                </c:pt>
                <c:pt idx="6746">
                  <c:v>5.9475548453448983</c:v>
                </c:pt>
                <c:pt idx="6747">
                  <c:v>6.0680786957822281</c:v>
                </c:pt>
                <c:pt idx="6748">
                  <c:v>6.1566259802548347</c:v>
                </c:pt>
                <c:pt idx="6749">
                  <c:v>4.970481831929547</c:v>
                </c:pt>
                <c:pt idx="6750">
                  <c:v>4.9178789724683671</c:v>
                </c:pt>
                <c:pt idx="6751">
                  <c:v>6.056096012153561</c:v>
                </c:pt>
                <c:pt idx="6752">
                  <c:v>6.0431590904055525</c:v>
                </c:pt>
                <c:pt idx="6753">
                  <c:v>7.0720119132502113</c:v>
                </c:pt>
                <c:pt idx="6754">
                  <c:v>5.9810773507062933</c:v>
                </c:pt>
                <c:pt idx="6755">
                  <c:v>5.9497671440362456</c:v>
                </c:pt>
                <c:pt idx="6756">
                  <c:v>6.8305840761204264</c:v>
                </c:pt>
                <c:pt idx="6757">
                  <c:v>5.0296802850319029</c:v>
                </c:pt>
                <c:pt idx="6758">
                  <c:v>6.8549328967040468</c:v>
                </c:pt>
                <c:pt idx="6759">
                  <c:v>5.8931336440363458</c:v>
                </c:pt>
                <c:pt idx="6760">
                  <c:v>5.9902472500666288</c:v>
                </c:pt>
                <c:pt idx="6761">
                  <c:v>6.0869111708169656</c:v>
                </c:pt>
                <c:pt idx="6762">
                  <c:v>4.7981047175742964</c:v>
                </c:pt>
                <c:pt idx="6763">
                  <c:v>5.0075989294520076</c:v>
                </c:pt>
                <c:pt idx="6764">
                  <c:v>7.0209892465280888</c:v>
                </c:pt>
                <c:pt idx="6765">
                  <c:v>5.9870271594577282</c:v>
                </c:pt>
                <c:pt idx="6766">
                  <c:v>5.3175540759253881</c:v>
                </c:pt>
                <c:pt idx="6767">
                  <c:v>6.0950474619552644</c:v>
                </c:pt>
                <c:pt idx="6768">
                  <c:v>7.0937098220344401</c:v>
                </c:pt>
                <c:pt idx="6769">
                  <c:v>4.9003592530387641</c:v>
                </c:pt>
                <c:pt idx="6770">
                  <c:v>4.9888255590065693</c:v>
                </c:pt>
                <c:pt idx="6771">
                  <c:v>4.855062413246908</c:v>
                </c:pt>
                <c:pt idx="6772">
                  <c:v>4.9447176552909422</c:v>
                </c:pt>
                <c:pt idx="6773">
                  <c:v>4.8999203726746234</c:v>
                </c:pt>
                <c:pt idx="6774">
                  <c:v>4.8707732314772807</c:v>
                </c:pt>
                <c:pt idx="6775">
                  <c:v>5.9183973728850399</c:v>
                </c:pt>
                <c:pt idx="6776">
                  <c:v>4.8332563226818017</c:v>
                </c:pt>
                <c:pt idx="6777">
                  <c:v>4.8131249445064235</c:v>
                </c:pt>
                <c:pt idx="6778">
                  <c:v>5.9315191466869051</c:v>
                </c:pt>
                <c:pt idx="6779">
                  <c:v>6.9744784826003547</c:v>
                </c:pt>
                <c:pt idx="6780">
                  <c:v>4.8867435297148472</c:v>
                </c:pt>
                <c:pt idx="6781">
                  <c:v>5.0503954471298176</c:v>
                </c:pt>
                <c:pt idx="6782">
                  <c:v>6.1584212713337649</c:v>
                </c:pt>
                <c:pt idx="6783">
                  <c:v>4.9620695900387179</c:v>
                </c:pt>
                <c:pt idx="6784">
                  <c:v>4.9158999143243172</c:v>
                </c:pt>
                <c:pt idx="6785">
                  <c:v>4.91534346792122</c:v>
                </c:pt>
                <c:pt idx="6786">
                  <c:v>5.1840251277278711</c:v>
                </c:pt>
                <c:pt idx="6787">
                  <c:v>6.018297407948447</c:v>
                </c:pt>
                <c:pt idx="6788">
                  <c:v>5.0319596672658395</c:v>
                </c:pt>
                <c:pt idx="6789">
                  <c:v>5.0245935596723292</c:v>
                </c:pt>
                <c:pt idx="6790">
                  <c:v>5.1927329369215514</c:v>
                </c:pt>
                <c:pt idx="6791">
                  <c:v>6.031953080721566</c:v>
                </c:pt>
                <c:pt idx="6792">
                  <c:v>6.0320991690592436</c:v>
                </c:pt>
                <c:pt idx="6793">
                  <c:v>7.0844150844251459</c:v>
                </c:pt>
                <c:pt idx="6794">
                  <c:v>5.233030510155654</c:v>
                </c:pt>
                <c:pt idx="6795">
                  <c:v>5.9492054762171627</c:v>
                </c:pt>
                <c:pt idx="6796">
                  <c:v>5.0497561198979808</c:v>
                </c:pt>
                <c:pt idx="6797">
                  <c:v>5.9483390241036371</c:v>
                </c:pt>
                <c:pt idx="6798">
                  <c:v>6.1869081606317922</c:v>
                </c:pt>
                <c:pt idx="6799">
                  <c:v>6.0198840047762872</c:v>
                </c:pt>
                <c:pt idx="6800">
                  <c:v>6.038900049025326</c:v>
                </c:pt>
                <c:pt idx="6801">
                  <c:v>4.9559304407455302</c:v>
                </c:pt>
                <c:pt idx="6802">
                  <c:v>4.990559975021359</c:v>
                </c:pt>
                <c:pt idx="6803">
                  <c:v>5.9220762926997743</c:v>
                </c:pt>
                <c:pt idx="6804">
                  <c:v>5.0161868995691643</c:v>
                </c:pt>
                <c:pt idx="6805">
                  <c:v>4.9099958476027954</c:v>
                </c:pt>
                <c:pt idx="6806">
                  <c:v>6.2216863553008395</c:v>
                </c:pt>
                <c:pt idx="6807">
                  <c:v>5.9665950147335289</c:v>
                </c:pt>
                <c:pt idx="6808">
                  <c:v>6.0781934803167594</c:v>
                </c:pt>
                <c:pt idx="6809">
                  <c:v>6.9616986362954902</c:v>
                </c:pt>
                <c:pt idx="6810">
                  <c:v>5.9934214970051709</c:v>
                </c:pt>
                <c:pt idx="6811">
                  <c:v>5.1122205766889079</c:v>
                </c:pt>
                <c:pt idx="6812">
                  <c:v>4.933250564367202</c:v>
                </c:pt>
                <c:pt idx="6813">
                  <c:v>5.1664554508573692</c:v>
                </c:pt>
                <c:pt idx="6814">
                  <c:v>5.8426192812968258</c:v>
                </c:pt>
                <c:pt idx="6815">
                  <c:v>4.185691685592813</c:v>
                </c:pt>
                <c:pt idx="6816">
                  <c:v>5.1435360396348049</c:v>
                </c:pt>
                <c:pt idx="6817">
                  <c:v>4.9926781324324496</c:v>
                </c:pt>
                <c:pt idx="6818">
                  <c:v>4.8628037704852245</c:v>
                </c:pt>
                <c:pt idx="6819">
                  <c:v>4.8861782091126367</c:v>
                </c:pt>
                <c:pt idx="6820">
                  <c:v>6.0360127843720379</c:v>
                </c:pt>
                <c:pt idx="6821">
                  <c:v>5.0484905874749408</c:v>
                </c:pt>
                <c:pt idx="6822">
                  <c:v>5.1461606466388705</c:v>
                </c:pt>
                <c:pt idx="6823">
                  <c:v>5.1135479667273724</c:v>
                </c:pt>
                <c:pt idx="6824">
                  <c:v>6.111373906589578</c:v>
                </c:pt>
                <c:pt idx="6825">
                  <c:v>7.1480052994243</c:v>
                </c:pt>
                <c:pt idx="6826">
                  <c:v>5.1106251928571851</c:v>
                </c:pt>
                <c:pt idx="6827">
                  <c:v>5.0191017591632967</c:v>
                </c:pt>
                <c:pt idx="6828">
                  <c:v>7.0626132248137869</c:v>
                </c:pt>
                <c:pt idx="6829">
                  <c:v>5.9407685717724812</c:v>
                </c:pt>
                <c:pt idx="6830">
                  <c:v>5.1457978866633542</c:v>
                </c:pt>
                <c:pt idx="6831">
                  <c:v>6.1261127328142067</c:v>
                </c:pt>
                <c:pt idx="6832">
                  <c:v>6.1347237099876004</c:v>
                </c:pt>
                <c:pt idx="6833">
                  <c:v>4.9199225175237302</c:v>
                </c:pt>
                <c:pt idx="6834">
                  <c:v>5.0403114392315587</c:v>
                </c:pt>
                <c:pt idx="6835">
                  <c:v>6.0053206796871654</c:v>
                </c:pt>
                <c:pt idx="6836">
                  <c:v>6.0458091083437147</c:v>
                </c:pt>
                <c:pt idx="6837">
                  <c:v>6.1671593026878284</c:v>
                </c:pt>
                <c:pt idx="6838">
                  <c:v>5.1284827199106804</c:v>
                </c:pt>
                <c:pt idx="6839">
                  <c:v>4.9095260299039705</c:v>
                </c:pt>
                <c:pt idx="6840">
                  <c:v>4.8786526982685459</c:v>
                </c:pt>
                <c:pt idx="6841">
                  <c:v>4.9144256106634208</c:v>
                </c:pt>
                <c:pt idx="6842">
                  <c:v>6.1248408605964046</c:v>
                </c:pt>
                <c:pt idx="6843">
                  <c:v>4.7809113118848767</c:v>
                </c:pt>
                <c:pt idx="6844">
                  <c:v>5.0023128902777385</c:v>
                </c:pt>
                <c:pt idx="6845">
                  <c:v>6.8483766717986816</c:v>
                </c:pt>
                <c:pt idx="6846">
                  <c:v>6.0021620223097045</c:v>
                </c:pt>
                <c:pt idx="6847">
                  <c:v>5.0083530393267433</c:v>
                </c:pt>
                <c:pt idx="6848">
                  <c:v>4.8675850006360353</c:v>
                </c:pt>
                <c:pt idx="6849">
                  <c:v>5.0707442914879515</c:v>
                </c:pt>
                <c:pt idx="6850">
                  <c:v>5.9483922866659524</c:v>
                </c:pt>
                <c:pt idx="6851">
                  <c:v>6.0015190503524813</c:v>
                </c:pt>
                <c:pt idx="6852">
                  <c:v>6.0249399785238476</c:v>
                </c:pt>
                <c:pt idx="6853">
                  <c:v>6.0051979302415841</c:v>
                </c:pt>
                <c:pt idx="6854">
                  <c:v>4.9565750729091125</c:v>
                </c:pt>
                <c:pt idx="6855">
                  <c:v>4.8543583857689061</c:v>
                </c:pt>
                <c:pt idx="6856">
                  <c:v>5.9679396933368167</c:v>
                </c:pt>
                <c:pt idx="6857">
                  <c:v>6.9368382410995713</c:v>
                </c:pt>
                <c:pt idx="6858">
                  <c:v>5.9364690849420487</c:v>
                </c:pt>
                <c:pt idx="6859">
                  <c:v>6.0288174344651448</c:v>
                </c:pt>
                <c:pt idx="6860">
                  <c:v>5.9498270669234472</c:v>
                </c:pt>
                <c:pt idx="6861">
                  <c:v>5.0585324177576192</c:v>
                </c:pt>
                <c:pt idx="6862">
                  <c:v>4.9586085605219221</c:v>
                </c:pt>
                <c:pt idx="6863">
                  <c:v>5.9432180277915139</c:v>
                </c:pt>
                <c:pt idx="6864">
                  <c:v>6.0564275350388357</c:v>
                </c:pt>
                <c:pt idx="6865">
                  <c:v>5.9945448529601455</c:v>
                </c:pt>
                <c:pt idx="6866">
                  <c:v>5.0985412005492705</c:v>
                </c:pt>
                <c:pt idx="6867">
                  <c:v>5.053112140880196</c:v>
                </c:pt>
                <c:pt idx="6868">
                  <c:v>5.8727382922108227</c:v>
                </c:pt>
                <c:pt idx="6869">
                  <c:v>5.8782671956289425</c:v>
                </c:pt>
                <c:pt idx="6870">
                  <c:v>5.0488703518826687</c:v>
                </c:pt>
                <c:pt idx="6871">
                  <c:v>5.0447649785582831</c:v>
                </c:pt>
                <c:pt idx="6872">
                  <c:v>5.0496932932469258</c:v>
                </c:pt>
                <c:pt idx="6873">
                  <c:v>5.0207341984799259</c:v>
                </c:pt>
                <c:pt idx="6874">
                  <c:v>7.1029830264928311</c:v>
                </c:pt>
                <c:pt idx="6875">
                  <c:v>7.1507158904775538</c:v>
                </c:pt>
                <c:pt idx="6876">
                  <c:v>7.0524510210958553</c:v>
                </c:pt>
                <c:pt idx="6877">
                  <c:v>6.074639551378552</c:v>
                </c:pt>
                <c:pt idx="6878">
                  <c:v>4.9027090991899271</c:v>
                </c:pt>
                <c:pt idx="6879">
                  <c:v>4.8329135933532088</c:v>
                </c:pt>
                <c:pt idx="6880">
                  <c:v>5.1514935733856131</c:v>
                </c:pt>
                <c:pt idx="6881">
                  <c:v>6.0143372280259575</c:v>
                </c:pt>
                <c:pt idx="6882">
                  <c:v>5.8245252020494931</c:v>
                </c:pt>
                <c:pt idx="6883">
                  <c:v>6.9807070577274892</c:v>
                </c:pt>
                <c:pt idx="6884">
                  <c:v>4.9298103574654135</c:v>
                </c:pt>
                <c:pt idx="6885">
                  <c:v>6.8728518245639689</c:v>
                </c:pt>
                <c:pt idx="6886">
                  <c:v>4.9580426741732904</c:v>
                </c:pt>
                <c:pt idx="6887">
                  <c:v>6.0579184249701488</c:v>
                </c:pt>
                <c:pt idx="6888">
                  <c:v>5.1896422062345602</c:v>
                </c:pt>
                <c:pt idx="6889">
                  <c:v>5.9085275216369855</c:v>
                </c:pt>
                <c:pt idx="6890">
                  <c:v>6.0244266446879227</c:v>
                </c:pt>
                <c:pt idx="6891">
                  <c:v>6.08060728253965</c:v>
                </c:pt>
                <c:pt idx="6892">
                  <c:v>6.0101580760619209</c:v>
                </c:pt>
                <c:pt idx="6893">
                  <c:v>5.8527176058207635</c:v>
                </c:pt>
                <c:pt idx="6894">
                  <c:v>4.989858411486777</c:v>
                </c:pt>
                <c:pt idx="6895">
                  <c:v>5.1214449705628944</c:v>
                </c:pt>
                <c:pt idx="6896">
                  <c:v>6.023976408020439</c:v>
                </c:pt>
                <c:pt idx="6897">
                  <c:v>4.8651592238422161</c:v>
                </c:pt>
                <c:pt idx="6898">
                  <c:v>5.9813648101793877</c:v>
                </c:pt>
                <c:pt idx="6899">
                  <c:v>5.0833123369349407</c:v>
                </c:pt>
                <c:pt idx="6900">
                  <c:v>5.9551327553632856</c:v>
                </c:pt>
                <c:pt idx="6901">
                  <c:v>4.9068642652547156</c:v>
                </c:pt>
                <c:pt idx="6902">
                  <c:v>5.9533734616742038</c:v>
                </c:pt>
                <c:pt idx="6903">
                  <c:v>4.8382839997234726</c:v>
                </c:pt>
                <c:pt idx="6904">
                  <c:v>6.0092128019368731</c:v>
                </c:pt>
                <c:pt idx="6905">
                  <c:v>7.0779161510090987</c:v>
                </c:pt>
                <c:pt idx="6906">
                  <c:v>5.9745303368865406</c:v>
                </c:pt>
                <c:pt idx="6907">
                  <c:v>4.8819638943758932</c:v>
                </c:pt>
                <c:pt idx="6908">
                  <c:v>4.93547651518102</c:v>
                </c:pt>
                <c:pt idx="6909">
                  <c:v>5.1263066537160507</c:v>
                </c:pt>
                <c:pt idx="6910">
                  <c:v>6.1411738738956618</c:v>
                </c:pt>
                <c:pt idx="6911">
                  <c:v>5.0825128259723913</c:v>
                </c:pt>
                <c:pt idx="6912">
                  <c:v>4.9134428330458393</c:v>
                </c:pt>
                <c:pt idx="6913">
                  <c:v>5.9840005467926813</c:v>
                </c:pt>
                <c:pt idx="6914">
                  <c:v>6.179264687020674</c:v>
                </c:pt>
                <c:pt idx="6915">
                  <c:v>4.8879360048594025</c:v>
                </c:pt>
                <c:pt idx="6916">
                  <c:v>4.9165747382444271</c:v>
                </c:pt>
                <c:pt idx="6917">
                  <c:v>5.1383257665924456</c:v>
                </c:pt>
                <c:pt idx="6918">
                  <c:v>5.0481715121686701</c:v>
                </c:pt>
                <c:pt idx="6919">
                  <c:v>4.8848733664071773</c:v>
                </c:pt>
                <c:pt idx="6920">
                  <c:v>7.1560735061949767</c:v>
                </c:pt>
                <c:pt idx="6921">
                  <c:v>5.0192373099850807</c:v>
                </c:pt>
                <c:pt idx="6922">
                  <c:v>5.1810265051991129</c:v>
                </c:pt>
                <c:pt idx="6923">
                  <c:v>6.0034799162590682</c:v>
                </c:pt>
                <c:pt idx="6924">
                  <c:v>4.9356955667487235</c:v>
                </c:pt>
                <c:pt idx="6925">
                  <c:v>5.8972596024491866</c:v>
                </c:pt>
                <c:pt idx="6926">
                  <c:v>5.1279369406524973</c:v>
                </c:pt>
                <c:pt idx="6927">
                  <c:v>6.9972316119365781</c:v>
                </c:pt>
                <c:pt idx="6928">
                  <c:v>3.8433539455957595</c:v>
                </c:pt>
                <c:pt idx="6929">
                  <c:v>4.9972326642235316</c:v>
                </c:pt>
                <c:pt idx="6930">
                  <c:v>6.8952349181472439</c:v>
                </c:pt>
                <c:pt idx="6931">
                  <c:v>7.0126664993686916</c:v>
                </c:pt>
                <c:pt idx="6932">
                  <c:v>4.9696573628129528</c:v>
                </c:pt>
                <c:pt idx="6933">
                  <c:v>5.0326309855606368</c:v>
                </c:pt>
                <c:pt idx="6934">
                  <c:v>5.212833279049045</c:v>
                </c:pt>
                <c:pt idx="6935">
                  <c:v>4.972491409295265</c:v>
                </c:pt>
                <c:pt idx="6936">
                  <c:v>5.8658296863034138</c:v>
                </c:pt>
                <c:pt idx="6937">
                  <c:v>5.955368306635628</c:v>
                </c:pt>
                <c:pt idx="6938">
                  <c:v>5.034637157248306</c:v>
                </c:pt>
                <c:pt idx="6939">
                  <c:v>5.9591549151099317</c:v>
                </c:pt>
                <c:pt idx="6940">
                  <c:v>5.1148970513713188</c:v>
                </c:pt>
                <c:pt idx="6941">
                  <c:v>5.7805015348976001</c:v>
                </c:pt>
                <c:pt idx="6942">
                  <c:v>5.0457274842802278</c:v>
                </c:pt>
                <c:pt idx="6943">
                  <c:v>6.2549838287270623</c:v>
                </c:pt>
                <c:pt idx="6944">
                  <c:v>5.9619666199824932</c:v>
                </c:pt>
                <c:pt idx="6945">
                  <c:v>4.9186735019999581</c:v>
                </c:pt>
                <c:pt idx="6946">
                  <c:v>5.9066068650340044</c:v>
                </c:pt>
                <c:pt idx="6947">
                  <c:v>5.086850226291908</c:v>
                </c:pt>
                <c:pt idx="6948">
                  <c:v>5.9999185958601249</c:v>
                </c:pt>
                <c:pt idx="6949">
                  <c:v>4.9774552844511604</c:v>
                </c:pt>
                <c:pt idx="6950">
                  <c:v>5.9628391239928709</c:v>
                </c:pt>
                <c:pt idx="6951">
                  <c:v>4.9730835034771559</c:v>
                </c:pt>
                <c:pt idx="6952">
                  <c:v>4.9709859121475635</c:v>
                </c:pt>
                <c:pt idx="6953">
                  <c:v>4.9855866613192088</c:v>
                </c:pt>
                <c:pt idx="6954">
                  <c:v>4.8039916025189955</c:v>
                </c:pt>
                <c:pt idx="6955">
                  <c:v>5.894894046365863</c:v>
                </c:pt>
                <c:pt idx="6956">
                  <c:v>4.9229343806819639</c:v>
                </c:pt>
                <c:pt idx="6957">
                  <c:v>6.0503109493585985</c:v>
                </c:pt>
                <c:pt idx="6958">
                  <c:v>5.0075618525094185</c:v>
                </c:pt>
                <c:pt idx="6959">
                  <c:v>5.051139833908711</c:v>
                </c:pt>
                <c:pt idx="6960">
                  <c:v>6.1032082770429525</c:v>
                </c:pt>
                <c:pt idx="6961">
                  <c:v>6.0662516695164292</c:v>
                </c:pt>
                <c:pt idx="6962">
                  <c:v>4.8402266864972079</c:v>
                </c:pt>
                <c:pt idx="6963">
                  <c:v>5.8824277507078291</c:v>
                </c:pt>
                <c:pt idx="6964">
                  <c:v>5.8786395589879543</c:v>
                </c:pt>
                <c:pt idx="6965">
                  <c:v>5.9976051791158858</c:v>
                </c:pt>
                <c:pt idx="6966">
                  <c:v>6.2171287124122676</c:v>
                </c:pt>
                <c:pt idx="6967">
                  <c:v>5.04638988143072</c:v>
                </c:pt>
                <c:pt idx="6968">
                  <c:v>5.0606876626605262</c:v>
                </c:pt>
                <c:pt idx="6969">
                  <c:v>5.0797441594048216</c:v>
                </c:pt>
                <c:pt idx="6970">
                  <c:v>5.1203986547011802</c:v>
                </c:pt>
                <c:pt idx="6971">
                  <c:v>5.889911683434371</c:v>
                </c:pt>
                <c:pt idx="6972">
                  <c:v>4.8542289341993392</c:v>
                </c:pt>
                <c:pt idx="6973">
                  <c:v>4.7797798014772477</c:v>
                </c:pt>
                <c:pt idx="6974">
                  <c:v>5.131146854177552</c:v>
                </c:pt>
                <c:pt idx="6975">
                  <c:v>6.099873593910667</c:v>
                </c:pt>
                <c:pt idx="6976">
                  <c:v>5.0769482626972806</c:v>
                </c:pt>
                <c:pt idx="6977">
                  <c:v>5.14624466126849</c:v>
                </c:pt>
                <c:pt idx="6978">
                  <c:v>6.0957823505121862</c:v>
                </c:pt>
                <c:pt idx="6979">
                  <c:v>5.0018312637575058</c:v>
                </c:pt>
                <c:pt idx="6980">
                  <c:v>5.1450655270876355</c:v>
                </c:pt>
                <c:pt idx="6981">
                  <c:v>5.9711795754217407</c:v>
                </c:pt>
                <c:pt idx="6982">
                  <c:v>5.093665817826369</c:v>
                </c:pt>
                <c:pt idx="6983">
                  <c:v>5.0461378159522301</c:v>
                </c:pt>
                <c:pt idx="6984">
                  <c:v>6.0783777897337767</c:v>
                </c:pt>
                <c:pt idx="6985">
                  <c:v>4.8866922141564393</c:v>
                </c:pt>
                <c:pt idx="6986">
                  <c:v>6.0335807689082808</c:v>
                </c:pt>
                <c:pt idx="6987">
                  <c:v>7.1136925929440018</c:v>
                </c:pt>
                <c:pt idx="6988">
                  <c:v>4.9657408919383981</c:v>
                </c:pt>
                <c:pt idx="6989">
                  <c:v>4.9367589673153285</c:v>
                </c:pt>
                <c:pt idx="6990">
                  <c:v>4.9647361137116661</c:v>
                </c:pt>
                <c:pt idx="6991">
                  <c:v>4.8166203891265074</c:v>
                </c:pt>
                <c:pt idx="6992">
                  <c:v>6.2448718105539509</c:v>
                </c:pt>
                <c:pt idx="6993">
                  <c:v>5.169462378960147</c:v>
                </c:pt>
                <c:pt idx="6994">
                  <c:v>6.05375912052655</c:v>
                </c:pt>
                <c:pt idx="6995">
                  <c:v>5.9021266071587766</c:v>
                </c:pt>
                <c:pt idx="6996">
                  <c:v>6.0285159116563909</c:v>
                </c:pt>
                <c:pt idx="6997">
                  <c:v>5.8204116732949718</c:v>
                </c:pt>
                <c:pt idx="6998">
                  <c:v>5.0875975405963461</c:v>
                </c:pt>
                <c:pt idx="6999">
                  <c:v>5.8467471632763717</c:v>
                </c:pt>
                <c:pt idx="7000">
                  <c:v>5.1305958600261059</c:v>
                </c:pt>
                <c:pt idx="7001">
                  <c:v>5.0566425953527849</c:v>
                </c:pt>
                <c:pt idx="7002">
                  <c:v>6.1244155082368419</c:v>
                </c:pt>
                <c:pt idx="7003">
                  <c:v>6.0856811185534676</c:v>
                </c:pt>
                <c:pt idx="7004">
                  <c:v>6.0663583420365672</c:v>
                </c:pt>
                <c:pt idx="7005">
                  <c:v>5.8955592802533188</c:v>
                </c:pt>
                <c:pt idx="7006">
                  <c:v>5.9855985220442731</c:v>
                </c:pt>
                <c:pt idx="7007">
                  <c:v>5.9903098279848157</c:v>
                </c:pt>
                <c:pt idx="7008">
                  <c:v>5.9783584180310729</c:v>
                </c:pt>
                <c:pt idx="7009">
                  <c:v>4.9942399155096169</c:v>
                </c:pt>
                <c:pt idx="7010">
                  <c:v>4.9943124438988002</c:v>
                </c:pt>
                <c:pt idx="7011">
                  <c:v>5.0560216765398902</c:v>
                </c:pt>
                <c:pt idx="7012">
                  <c:v>4.9660698558073788</c:v>
                </c:pt>
                <c:pt idx="7013">
                  <c:v>5.7772765428091226</c:v>
                </c:pt>
                <c:pt idx="7014">
                  <c:v>6.1007976288438295</c:v>
                </c:pt>
                <c:pt idx="7015">
                  <c:v>6.0767047594900907</c:v>
                </c:pt>
                <c:pt idx="7016">
                  <c:v>6.0081555492431553</c:v>
                </c:pt>
                <c:pt idx="7017">
                  <c:v>4.9147222471292418</c:v>
                </c:pt>
                <c:pt idx="7018">
                  <c:v>4.8500888538130758</c:v>
                </c:pt>
                <c:pt idx="7019">
                  <c:v>5.0284902293957749</c:v>
                </c:pt>
                <c:pt idx="7020">
                  <c:v>5.0293377956478631</c:v>
                </c:pt>
                <c:pt idx="7021">
                  <c:v>5.9282207102835232</c:v>
                </c:pt>
                <c:pt idx="7022">
                  <c:v>6.0810765322991154</c:v>
                </c:pt>
                <c:pt idx="7023">
                  <c:v>4.8776815526985944</c:v>
                </c:pt>
                <c:pt idx="7024">
                  <c:v>5.0740216560617917</c:v>
                </c:pt>
                <c:pt idx="7025">
                  <c:v>5.95614295606733</c:v>
                </c:pt>
                <c:pt idx="7026">
                  <c:v>4.9835485857344128</c:v>
                </c:pt>
                <c:pt idx="7027">
                  <c:v>5.8778590117694955</c:v>
                </c:pt>
                <c:pt idx="7028">
                  <c:v>5.2771692601589741</c:v>
                </c:pt>
                <c:pt idx="7029">
                  <c:v>4.8574014932543088</c:v>
                </c:pt>
                <c:pt idx="7030">
                  <c:v>5.1386152339795776</c:v>
                </c:pt>
                <c:pt idx="7031">
                  <c:v>4.894977930022999</c:v>
                </c:pt>
                <c:pt idx="7032">
                  <c:v>5.9891444551319335</c:v>
                </c:pt>
                <c:pt idx="7033">
                  <c:v>5.973473461733434</c:v>
                </c:pt>
                <c:pt idx="7034">
                  <c:v>5.085328894891429</c:v>
                </c:pt>
                <c:pt idx="7035">
                  <c:v>5.9408257973220602</c:v>
                </c:pt>
                <c:pt idx="7036">
                  <c:v>6.9722861146436221</c:v>
                </c:pt>
                <c:pt idx="7037">
                  <c:v>4.988115455112287</c:v>
                </c:pt>
                <c:pt idx="7038">
                  <c:v>7.2484905792327261</c:v>
                </c:pt>
                <c:pt idx="7039">
                  <c:v>5.9268463660323718</c:v>
                </c:pt>
                <c:pt idx="7040">
                  <c:v>4.9703552751990738</c:v>
                </c:pt>
                <c:pt idx="7041">
                  <c:v>6.1027870584139299</c:v>
                </c:pt>
                <c:pt idx="7042">
                  <c:v>6.1777394092369056</c:v>
                </c:pt>
                <c:pt idx="7043">
                  <c:v>5.0046163155544043</c:v>
                </c:pt>
                <c:pt idx="7044">
                  <c:v>4.8816833982664285</c:v>
                </c:pt>
                <c:pt idx="7045">
                  <c:v>5.0049530323905946</c:v>
                </c:pt>
                <c:pt idx="7046">
                  <c:v>5.1033364808933177</c:v>
                </c:pt>
                <c:pt idx="7047">
                  <c:v>5.1509830013613884</c:v>
                </c:pt>
                <c:pt idx="7048">
                  <c:v>6.0606722243344429</c:v>
                </c:pt>
                <c:pt idx="7049">
                  <c:v>5.9973722447154776</c:v>
                </c:pt>
                <c:pt idx="7050">
                  <c:v>4.9904034327482032</c:v>
                </c:pt>
                <c:pt idx="7051">
                  <c:v>6.0324100447937061</c:v>
                </c:pt>
                <c:pt idx="7052">
                  <c:v>5.1351184515012216</c:v>
                </c:pt>
                <c:pt idx="7053">
                  <c:v>6.0761950688644122</c:v>
                </c:pt>
                <c:pt idx="7054">
                  <c:v>6.9862973005092597</c:v>
                </c:pt>
                <c:pt idx="7055">
                  <c:v>4.7606812128419467</c:v>
                </c:pt>
                <c:pt idx="7056">
                  <c:v>4.1215275396002324</c:v>
                </c:pt>
                <c:pt idx="7057">
                  <c:v>4.9290953692158359</c:v>
                </c:pt>
                <c:pt idx="7058">
                  <c:v>4.7133279422711896</c:v>
                </c:pt>
                <c:pt idx="7059">
                  <c:v>5.0490938879955811</c:v>
                </c:pt>
                <c:pt idx="7060">
                  <c:v>5.9789701823947787</c:v>
                </c:pt>
                <c:pt idx="7061">
                  <c:v>6.2093945347740247</c:v>
                </c:pt>
                <c:pt idx="7062">
                  <c:v>5.9553512136804709</c:v>
                </c:pt>
                <c:pt idx="7063">
                  <c:v>5.8560288051636542</c:v>
                </c:pt>
                <c:pt idx="7064">
                  <c:v>5.8559350594151995</c:v>
                </c:pt>
                <c:pt idx="7065">
                  <c:v>5.0295741234177989</c:v>
                </c:pt>
                <c:pt idx="7066">
                  <c:v>4.8460852900082054</c:v>
                </c:pt>
                <c:pt idx="7067">
                  <c:v>5.8955818992861957</c:v>
                </c:pt>
                <c:pt idx="7068">
                  <c:v>5.015952055079838</c:v>
                </c:pt>
                <c:pt idx="7069">
                  <c:v>5.0094267355835882</c:v>
                </c:pt>
                <c:pt idx="7070">
                  <c:v>5.8857649596113717</c:v>
                </c:pt>
                <c:pt idx="7071">
                  <c:v>5.1314730284102392</c:v>
                </c:pt>
                <c:pt idx="7072">
                  <c:v>5.0335291218235367</c:v>
                </c:pt>
                <c:pt idx="7073">
                  <c:v>4.9206170130846516</c:v>
                </c:pt>
                <c:pt idx="7074">
                  <c:v>5.8806341103125339</c:v>
                </c:pt>
                <c:pt idx="7075">
                  <c:v>4.9835609778582306</c:v>
                </c:pt>
                <c:pt idx="7076">
                  <c:v>6.148330771196524</c:v>
                </c:pt>
                <c:pt idx="7077">
                  <c:v>6.0308064441778599</c:v>
                </c:pt>
                <c:pt idx="7078">
                  <c:v>4.8985747387945162</c:v>
                </c:pt>
                <c:pt idx="7079">
                  <c:v>5.0115409417723953</c:v>
                </c:pt>
                <c:pt idx="7080">
                  <c:v>6.0340073887388739</c:v>
                </c:pt>
                <c:pt idx="7081">
                  <c:v>5.1487150408125277</c:v>
                </c:pt>
                <c:pt idx="7082">
                  <c:v>6.1296940752034521</c:v>
                </c:pt>
                <c:pt idx="7083">
                  <c:v>5.0876781890413785</c:v>
                </c:pt>
                <c:pt idx="7084">
                  <c:v>4.8938628797090038</c:v>
                </c:pt>
                <c:pt idx="7085">
                  <c:v>5.1693315481755446</c:v>
                </c:pt>
                <c:pt idx="7086">
                  <c:v>6.0140782508640154</c:v>
                </c:pt>
                <c:pt idx="7087">
                  <c:v>5.9730853836491544</c:v>
                </c:pt>
                <c:pt idx="7088">
                  <c:v>6.9663740161814953</c:v>
                </c:pt>
                <c:pt idx="7089">
                  <c:v>4.9248453212176173</c:v>
                </c:pt>
                <c:pt idx="7090">
                  <c:v>4.9810261192129808</c:v>
                </c:pt>
                <c:pt idx="7091">
                  <c:v>6.1071808313340723</c:v>
                </c:pt>
                <c:pt idx="7092">
                  <c:v>5.1229076964471378</c:v>
                </c:pt>
                <c:pt idx="7093">
                  <c:v>4.8332281876182552</c:v>
                </c:pt>
                <c:pt idx="7094">
                  <c:v>5.9740617237886529</c:v>
                </c:pt>
                <c:pt idx="7095">
                  <c:v>5.9573912397522193</c:v>
                </c:pt>
                <c:pt idx="7096">
                  <c:v>4.957567622275703</c:v>
                </c:pt>
                <c:pt idx="7097">
                  <c:v>6.0200801228264238</c:v>
                </c:pt>
                <c:pt idx="7098">
                  <c:v>6.0852588266106302</c:v>
                </c:pt>
                <c:pt idx="7099">
                  <c:v>6.1760057692913515</c:v>
                </c:pt>
                <c:pt idx="7100">
                  <c:v>4.9314637585488228</c:v>
                </c:pt>
                <c:pt idx="7101">
                  <c:v>5.7924399916087683</c:v>
                </c:pt>
                <c:pt idx="7102">
                  <c:v>5.1294670841874721</c:v>
                </c:pt>
                <c:pt idx="7103">
                  <c:v>4.8623779153843083</c:v>
                </c:pt>
                <c:pt idx="7104">
                  <c:v>5.9898160055304173</c:v>
                </c:pt>
                <c:pt idx="7105">
                  <c:v>5.198779459035797</c:v>
                </c:pt>
                <c:pt idx="7106">
                  <c:v>7.1816652446321845</c:v>
                </c:pt>
                <c:pt idx="7107">
                  <c:v>6.0987214077506611</c:v>
                </c:pt>
                <c:pt idx="7108">
                  <c:v>4.8489833457172642</c:v>
                </c:pt>
                <c:pt idx="7109">
                  <c:v>5.9414076950754495</c:v>
                </c:pt>
                <c:pt idx="7110">
                  <c:v>5.0869112239183414</c:v>
                </c:pt>
                <c:pt idx="7111">
                  <c:v>5.8926731621515724</c:v>
                </c:pt>
                <c:pt idx="7112">
                  <c:v>6.0019414107951246</c:v>
                </c:pt>
                <c:pt idx="7113">
                  <c:v>5.0133837319245309</c:v>
                </c:pt>
                <c:pt idx="7114">
                  <c:v>5.980495999092545</c:v>
                </c:pt>
                <c:pt idx="7115">
                  <c:v>4.888379120108028</c:v>
                </c:pt>
                <c:pt idx="7116">
                  <c:v>5.2502127117492909</c:v>
                </c:pt>
                <c:pt idx="7117">
                  <c:v>5.136976235179552</c:v>
                </c:pt>
                <c:pt idx="7118">
                  <c:v>6.1777907129740282</c:v>
                </c:pt>
                <c:pt idx="7119">
                  <c:v>5.9333630655325527</c:v>
                </c:pt>
                <c:pt idx="7120">
                  <c:v>4.9782295212706744</c:v>
                </c:pt>
                <c:pt idx="7121">
                  <c:v>5.9706003680023043</c:v>
                </c:pt>
                <c:pt idx="7122">
                  <c:v>4.8827923735318537</c:v>
                </c:pt>
                <c:pt idx="7123">
                  <c:v>5.9745520383327584</c:v>
                </c:pt>
                <c:pt idx="7124">
                  <c:v>5.1147193760289396</c:v>
                </c:pt>
                <c:pt idx="7125">
                  <c:v>4.7684561826809633</c:v>
                </c:pt>
                <c:pt idx="7126">
                  <c:v>4.8707458218867457</c:v>
                </c:pt>
                <c:pt idx="7127">
                  <c:v>4.8834263594244263</c:v>
                </c:pt>
                <c:pt idx="7128">
                  <c:v>4.9439623715838099</c:v>
                </c:pt>
                <c:pt idx="7129">
                  <c:v>5.1029806536957674</c:v>
                </c:pt>
                <c:pt idx="7130">
                  <c:v>5.1209675424406509</c:v>
                </c:pt>
                <c:pt idx="7131">
                  <c:v>5.937849727465327</c:v>
                </c:pt>
                <c:pt idx="7132">
                  <c:v>5.0479915493838767</c:v>
                </c:pt>
                <c:pt idx="7133">
                  <c:v>5.179825446677758</c:v>
                </c:pt>
                <c:pt idx="7134">
                  <c:v>4.9374517925551968</c:v>
                </c:pt>
                <c:pt idx="7135">
                  <c:v>6.1060830962473212</c:v>
                </c:pt>
                <c:pt idx="7136">
                  <c:v>5.9035952568519896</c:v>
                </c:pt>
                <c:pt idx="7137">
                  <c:v>5.0549204663938907</c:v>
                </c:pt>
                <c:pt idx="7138">
                  <c:v>5.9892935446079374</c:v>
                </c:pt>
                <c:pt idx="7139">
                  <c:v>6.0164889533350703</c:v>
                </c:pt>
                <c:pt idx="7140">
                  <c:v>6.0643114131572062</c:v>
                </c:pt>
                <c:pt idx="7141">
                  <c:v>6.0158981490805647</c:v>
                </c:pt>
                <c:pt idx="7142">
                  <c:v>5.0184827709394488</c:v>
                </c:pt>
                <c:pt idx="7143">
                  <c:v>5.0942921077013654</c:v>
                </c:pt>
                <c:pt idx="7144">
                  <c:v>5.9466741242332359</c:v>
                </c:pt>
                <c:pt idx="7145">
                  <c:v>6.0533851547884066</c:v>
                </c:pt>
                <c:pt idx="7146">
                  <c:v>5.9855942901029229</c:v>
                </c:pt>
                <c:pt idx="7147">
                  <c:v>4.8156036729096492</c:v>
                </c:pt>
                <c:pt idx="7148">
                  <c:v>5.1689517591036171</c:v>
                </c:pt>
                <c:pt idx="7149">
                  <c:v>6.0385581973813647</c:v>
                </c:pt>
                <c:pt idx="7150">
                  <c:v>6.0271091982815337</c:v>
                </c:pt>
                <c:pt idx="7151">
                  <c:v>5.021277698408614</c:v>
                </c:pt>
                <c:pt idx="7152">
                  <c:v>6.0455721286493116</c:v>
                </c:pt>
                <c:pt idx="7153">
                  <c:v>6.0394689786261084</c:v>
                </c:pt>
                <c:pt idx="7154">
                  <c:v>5.8704729636719808</c:v>
                </c:pt>
                <c:pt idx="7155">
                  <c:v>6.0162111221512671</c:v>
                </c:pt>
                <c:pt idx="7156">
                  <c:v>5.9808688955217235</c:v>
                </c:pt>
                <c:pt idx="7157">
                  <c:v>5.0081708056654897</c:v>
                </c:pt>
                <c:pt idx="7158">
                  <c:v>5.9522633757510555</c:v>
                </c:pt>
                <c:pt idx="7159">
                  <c:v>5.8866180123174354</c:v>
                </c:pt>
                <c:pt idx="7160">
                  <c:v>5.897895194230375</c:v>
                </c:pt>
                <c:pt idx="7161">
                  <c:v>5.067192426149445</c:v>
                </c:pt>
                <c:pt idx="7162">
                  <c:v>6.030011702619408</c:v>
                </c:pt>
                <c:pt idx="7163">
                  <c:v>6.0713207346789293</c:v>
                </c:pt>
                <c:pt idx="7164">
                  <c:v>5.1145373996129795</c:v>
                </c:pt>
                <c:pt idx="7165">
                  <c:v>5.1466710515666181</c:v>
                </c:pt>
                <c:pt idx="7166">
                  <c:v>4.9412508893516121</c:v>
                </c:pt>
                <c:pt idx="7167">
                  <c:v>5.0379520425363618</c:v>
                </c:pt>
                <c:pt idx="7168">
                  <c:v>5.0868141050110847</c:v>
                </c:pt>
                <c:pt idx="7169">
                  <c:v>6.1566529625535837</c:v>
                </c:pt>
                <c:pt idx="7170">
                  <c:v>5.1115976036177182</c:v>
                </c:pt>
                <c:pt idx="7171">
                  <c:v>4.9739569486408675</c:v>
                </c:pt>
                <c:pt idx="7172">
                  <c:v>6.1334070742309947</c:v>
                </c:pt>
                <c:pt idx="7173">
                  <c:v>5.9602650552129273</c:v>
                </c:pt>
                <c:pt idx="7174">
                  <c:v>6.1602035922723184</c:v>
                </c:pt>
                <c:pt idx="7175">
                  <c:v>6.2303508402984802</c:v>
                </c:pt>
                <c:pt idx="7176">
                  <c:v>5.9286559366907028</c:v>
                </c:pt>
                <c:pt idx="7177">
                  <c:v>5.9309375380439375</c:v>
                </c:pt>
                <c:pt idx="7178">
                  <c:v>6.1860930100198441</c:v>
                </c:pt>
                <c:pt idx="7179">
                  <c:v>6.0582835573147928</c:v>
                </c:pt>
                <c:pt idx="7180">
                  <c:v>6.0662927606220443</c:v>
                </c:pt>
                <c:pt idx="7181">
                  <c:v>5.97273497864406</c:v>
                </c:pt>
                <c:pt idx="7182">
                  <c:v>5.9177562792795158</c:v>
                </c:pt>
                <c:pt idx="7183">
                  <c:v>5.9803227464161184</c:v>
                </c:pt>
                <c:pt idx="7184">
                  <c:v>5.918893044401405</c:v>
                </c:pt>
                <c:pt idx="7185">
                  <c:v>5.8491641256844975</c:v>
                </c:pt>
                <c:pt idx="7186">
                  <c:v>6.0676728416292951</c:v>
                </c:pt>
                <c:pt idx="7187">
                  <c:v>6.0019783326266261</c:v>
                </c:pt>
                <c:pt idx="7188">
                  <c:v>6.0010239751324672</c:v>
                </c:pt>
                <c:pt idx="7189">
                  <c:v>6.1188205726204519</c:v>
                </c:pt>
                <c:pt idx="7190">
                  <c:v>6.0373385112678193</c:v>
                </c:pt>
                <c:pt idx="7191">
                  <c:v>5.8692256672763481</c:v>
                </c:pt>
                <c:pt idx="7192">
                  <c:v>5.995630953602098</c:v>
                </c:pt>
                <c:pt idx="7193">
                  <c:v>5.8505704604930493</c:v>
                </c:pt>
                <c:pt idx="7194">
                  <c:v>6.0298473115953746</c:v>
                </c:pt>
                <c:pt idx="7195">
                  <c:v>5.0958545115780307</c:v>
                </c:pt>
                <c:pt idx="7196">
                  <c:v>5.0600046832350829</c:v>
                </c:pt>
                <c:pt idx="7197">
                  <c:v>6.027141424929197</c:v>
                </c:pt>
                <c:pt idx="7198">
                  <c:v>6.0485960304782056</c:v>
                </c:pt>
                <c:pt idx="7199">
                  <c:v>4.8434122080291111</c:v>
                </c:pt>
                <c:pt idx="7200">
                  <c:v>6.0497886598347064</c:v>
                </c:pt>
                <c:pt idx="7201">
                  <c:v>4.8618487381520898</c:v>
                </c:pt>
                <c:pt idx="7202">
                  <c:v>4.9875713046419046</c:v>
                </c:pt>
                <c:pt idx="7203">
                  <c:v>4.9214073240911125</c:v>
                </c:pt>
                <c:pt idx="7204">
                  <c:v>4.923807586701197</c:v>
                </c:pt>
                <c:pt idx="7205">
                  <c:v>6.070074761189078</c:v>
                </c:pt>
                <c:pt idx="7206">
                  <c:v>5.0014519953775975</c:v>
                </c:pt>
                <c:pt idx="7207">
                  <c:v>4.9881849686132727</c:v>
                </c:pt>
                <c:pt idx="7208">
                  <c:v>6.0123809527299432</c:v>
                </c:pt>
                <c:pt idx="7209">
                  <c:v>5.0203472950136216</c:v>
                </c:pt>
                <c:pt idx="7210">
                  <c:v>4.9945606766219521</c:v>
                </c:pt>
                <c:pt idx="7211">
                  <c:v>6.1212912595085704</c:v>
                </c:pt>
                <c:pt idx="7212">
                  <c:v>6.2284057806197382</c:v>
                </c:pt>
                <c:pt idx="7213">
                  <c:v>4.9740766525256204</c:v>
                </c:pt>
                <c:pt idx="7214">
                  <c:v>4.9932610789627612</c:v>
                </c:pt>
                <c:pt idx="7215">
                  <c:v>6.0843059683672944</c:v>
                </c:pt>
                <c:pt idx="7216">
                  <c:v>5.0712945857359095</c:v>
                </c:pt>
                <c:pt idx="7217">
                  <c:v>6.0552554400189456</c:v>
                </c:pt>
                <c:pt idx="7218">
                  <c:v>6.1421805091260282</c:v>
                </c:pt>
                <c:pt idx="7219">
                  <c:v>5.0340677421397446</c:v>
                </c:pt>
                <c:pt idx="7220">
                  <c:v>5.8820215485065779</c:v>
                </c:pt>
                <c:pt idx="7221">
                  <c:v>5.0109046147729686</c:v>
                </c:pt>
                <c:pt idx="7222">
                  <c:v>4.9217503218272798</c:v>
                </c:pt>
                <c:pt idx="7223">
                  <c:v>4.8618595198231533</c:v>
                </c:pt>
                <c:pt idx="7224">
                  <c:v>4.9248109578833787</c:v>
                </c:pt>
                <c:pt idx="7225">
                  <c:v>6.0577212667650988</c:v>
                </c:pt>
                <c:pt idx="7226">
                  <c:v>6.0496215495019969</c:v>
                </c:pt>
                <c:pt idx="7227">
                  <c:v>4.9189420472543475</c:v>
                </c:pt>
                <c:pt idx="7228">
                  <c:v>5.1207755895429488</c:v>
                </c:pt>
                <c:pt idx="7229">
                  <c:v>5.9478317008333699</c:v>
                </c:pt>
                <c:pt idx="7230">
                  <c:v>6.0291519523486379</c:v>
                </c:pt>
                <c:pt idx="7231">
                  <c:v>4.9495874628689078</c:v>
                </c:pt>
                <c:pt idx="7232">
                  <c:v>6.0743648778023402</c:v>
                </c:pt>
                <c:pt idx="7233">
                  <c:v>5.0729403710891372</c:v>
                </c:pt>
                <c:pt idx="7234">
                  <c:v>5.1950787375571359</c:v>
                </c:pt>
                <c:pt idx="7235">
                  <c:v>4.8962805038627</c:v>
                </c:pt>
                <c:pt idx="7236">
                  <c:v>5.0941070903497883</c:v>
                </c:pt>
                <c:pt idx="7237">
                  <c:v>5.015721395891517</c:v>
                </c:pt>
                <c:pt idx="7238">
                  <c:v>5.9549696147353748</c:v>
                </c:pt>
                <c:pt idx="7239">
                  <c:v>5.9831103771846799</c:v>
                </c:pt>
                <c:pt idx="7240">
                  <c:v>5.0011135790459136</c:v>
                </c:pt>
                <c:pt idx="7241">
                  <c:v>4.8974976741593794</c:v>
                </c:pt>
                <c:pt idx="7242">
                  <c:v>5.993875066740082</c:v>
                </c:pt>
                <c:pt idx="7243">
                  <c:v>4.8996146515696575</c:v>
                </c:pt>
                <c:pt idx="7244">
                  <c:v>6.0674423451217399</c:v>
                </c:pt>
                <c:pt idx="7245">
                  <c:v>5.8295572895129091</c:v>
                </c:pt>
                <c:pt idx="7246">
                  <c:v>5.0142615925393352</c:v>
                </c:pt>
                <c:pt idx="7247">
                  <c:v>6.0091571716009629</c:v>
                </c:pt>
                <c:pt idx="7248">
                  <c:v>5.0156424421172527</c:v>
                </c:pt>
                <c:pt idx="7249">
                  <c:v>6.0870777301809547</c:v>
                </c:pt>
                <c:pt idx="7250">
                  <c:v>6.0818434568359194</c:v>
                </c:pt>
                <c:pt idx="7251">
                  <c:v>5.0679237835085891</c:v>
                </c:pt>
                <c:pt idx="7252">
                  <c:v>5.0401310691946613</c:v>
                </c:pt>
                <c:pt idx="7253">
                  <c:v>6.136368304586048</c:v>
                </c:pt>
                <c:pt idx="7254">
                  <c:v>6.0678936158953585</c:v>
                </c:pt>
                <c:pt idx="7255">
                  <c:v>4.9968063373614857</c:v>
                </c:pt>
                <c:pt idx="7256">
                  <c:v>4.9183007134223864</c:v>
                </c:pt>
                <c:pt idx="7257">
                  <c:v>4.9555186538315938</c:v>
                </c:pt>
                <c:pt idx="7258">
                  <c:v>4.9212725479080159</c:v>
                </c:pt>
                <c:pt idx="7259">
                  <c:v>4.9148386259936228</c:v>
                </c:pt>
                <c:pt idx="7260">
                  <c:v>5.134906053062072</c:v>
                </c:pt>
                <c:pt idx="7261">
                  <c:v>4.0913579774224571</c:v>
                </c:pt>
                <c:pt idx="7262">
                  <c:v>5.9741322260985212</c:v>
                </c:pt>
                <c:pt idx="7263">
                  <c:v>3.095693915263499</c:v>
                </c:pt>
                <c:pt idx="7264">
                  <c:v>6.0601862890570395</c:v>
                </c:pt>
                <c:pt idx="7265">
                  <c:v>4.9812999943946492</c:v>
                </c:pt>
                <c:pt idx="7266">
                  <c:v>5.8296871604660936</c:v>
                </c:pt>
                <c:pt idx="7267">
                  <c:v>4.909225884171736</c:v>
                </c:pt>
                <c:pt idx="7268">
                  <c:v>6.1736794574905112</c:v>
                </c:pt>
                <c:pt idx="7269">
                  <c:v>5.9014744674417479</c:v>
                </c:pt>
                <c:pt idx="7270">
                  <c:v>5.9157028687940301</c:v>
                </c:pt>
                <c:pt idx="7271">
                  <c:v>5.8890867649760104</c:v>
                </c:pt>
                <c:pt idx="7272">
                  <c:v>5.1235857540777152</c:v>
                </c:pt>
                <c:pt idx="7273">
                  <c:v>4.9863820141965505</c:v>
                </c:pt>
                <c:pt idx="7274">
                  <c:v>6.0476851209007565</c:v>
                </c:pt>
                <c:pt idx="7275">
                  <c:v>5.0796628075517587</c:v>
                </c:pt>
                <c:pt idx="7276">
                  <c:v>6.0493874829561864</c:v>
                </c:pt>
                <c:pt idx="7277">
                  <c:v>5.9342835158154204</c:v>
                </c:pt>
                <c:pt idx="7278">
                  <c:v>6.0600089325187563</c:v>
                </c:pt>
                <c:pt idx="7279">
                  <c:v>6.1193779347290089</c:v>
                </c:pt>
                <c:pt idx="7280">
                  <c:v>4.9758862584746595</c:v>
                </c:pt>
                <c:pt idx="7281">
                  <c:v>6.9200085541005425</c:v>
                </c:pt>
                <c:pt idx="7282">
                  <c:v>4.8276014155224614</c:v>
                </c:pt>
                <c:pt idx="7283">
                  <c:v>6.074042607177975</c:v>
                </c:pt>
                <c:pt idx="7284">
                  <c:v>4.9339881799255298</c:v>
                </c:pt>
                <c:pt idx="7285">
                  <c:v>6.1021627676570169</c:v>
                </c:pt>
                <c:pt idx="7286">
                  <c:v>6.039369070479653</c:v>
                </c:pt>
                <c:pt idx="7287">
                  <c:v>6.0262694358343492</c:v>
                </c:pt>
                <c:pt idx="7288">
                  <c:v>4.9644315145173197</c:v>
                </c:pt>
                <c:pt idx="7289">
                  <c:v>6.2166131910407962</c:v>
                </c:pt>
                <c:pt idx="7290">
                  <c:v>4.9836609094052502</c:v>
                </c:pt>
                <c:pt idx="7291">
                  <c:v>4.9181149285374932</c:v>
                </c:pt>
                <c:pt idx="7292">
                  <c:v>7.0771656673236185</c:v>
                </c:pt>
                <c:pt idx="7293">
                  <c:v>5.1168338916499465</c:v>
                </c:pt>
                <c:pt idx="7294">
                  <c:v>5.8641466881263788</c:v>
                </c:pt>
                <c:pt idx="7295">
                  <c:v>3.8692542376245123</c:v>
                </c:pt>
                <c:pt idx="7296">
                  <c:v>5.0465756566017062</c:v>
                </c:pt>
                <c:pt idx="7297">
                  <c:v>4.9164821221432931</c:v>
                </c:pt>
                <c:pt idx="7298">
                  <c:v>7.0211597424129621</c:v>
                </c:pt>
                <c:pt idx="7299">
                  <c:v>5.9361870832047128</c:v>
                </c:pt>
                <c:pt idx="7300">
                  <c:v>6.1107532888482625</c:v>
                </c:pt>
                <c:pt idx="7301">
                  <c:v>6.9657023209743816</c:v>
                </c:pt>
                <c:pt idx="7302">
                  <c:v>5.1053040901290361</c:v>
                </c:pt>
                <c:pt idx="7303">
                  <c:v>4.9574622108923183</c:v>
                </c:pt>
                <c:pt idx="7304">
                  <c:v>4.9913872837834132</c:v>
                </c:pt>
                <c:pt idx="7305">
                  <c:v>5.994472046680416</c:v>
                </c:pt>
                <c:pt idx="7306">
                  <c:v>5.9824531788305899</c:v>
                </c:pt>
                <c:pt idx="7307">
                  <c:v>4.9233780872965811</c:v>
                </c:pt>
                <c:pt idx="7308">
                  <c:v>6.0818058568405364</c:v>
                </c:pt>
                <c:pt idx="7309">
                  <c:v>5.0492915285109872</c:v>
                </c:pt>
                <c:pt idx="7310">
                  <c:v>5.0288217418957259</c:v>
                </c:pt>
                <c:pt idx="7311">
                  <c:v>4.7718408965745382</c:v>
                </c:pt>
                <c:pt idx="7312">
                  <c:v>5.8312786546495241</c:v>
                </c:pt>
                <c:pt idx="7313">
                  <c:v>5.001780403611928</c:v>
                </c:pt>
                <c:pt idx="7314">
                  <c:v>5.9138084161832829</c:v>
                </c:pt>
                <c:pt idx="7315">
                  <c:v>5.1441142713725041</c:v>
                </c:pt>
                <c:pt idx="7316">
                  <c:v>4.9953524059960781</c:v>
                </c:pt>
                <c:pt idx="7317">
                  <c:v>5.0550382743794788</c:v>
                </c:pt>
                <c:pt idx="7318">
                  <c:v>4.9929001910774682</c:v>
                </c:pt>
                <c:pt idx="7319">
                  <c:v>6.1683846170288055</c:v>
                </c:pt>
                <c:pt idx="7320">
                  <c:v>4.9381534430970264</c:v>
                </c:pt>
                <c:pt idx="7321">
                  <c:v>6.0167572625193104</c:v>
                </c:pt>
                <c:pt idx="7322">
                  <c:v>4.946154483835957</c:v>
                </c:pt>
                <c:pt idx="7323">
                  <c:v>5.8817727031777611</c:v>
                </c:pt>
                <c:pt idx="7324">
                  <c:v>6.0918346349848775</c:v>
                </c:pt>
                <c:pt idx="7325">
                  <c:v>5.1178212374890615</c:v>
                </c:pt>
                <c:pt idx="7326">
                  <c:v>5.1228323241071108</c:v>
                </c:pt>
                <c:pt idx="7327">
                  <c:v>5.9339979272349161</c:v>
                </c:pt>
                <c:pt idx="7328">
                  <c:v>6.0929622789569295</c:v>
                </c:pt>
                <c:pt idx="7329">
                  <c:v>4.9193906868449657</c:v>
                </c:pt>
                <c:pt idx="7330">
                  <c:v>6.0296291443654741</c:v>
                </c:pt>
                <c:pt idx="7331">
                  <c:v>6.1172401267177712</c:v>
                </c:pt>
                <c:pt idx="7332">
                  <c:v>6.1549091846020243</c:v>
                </c:pt>
                <c:pt idx="7333">
                  <c:v>5.1533724443572417</c:v>
                </c:pt>
                <c:pt idx="7334">
                  <c:v>4.92025726708283</c:v>
                </c:pt>
                <c:pt idx="7335">
                  <c:v>5.0919920394960059</c:v>
                </c:pt>
                <c:pt idx="7336">
                  <c:v>6.0323380736579209</c:v>
                </c:pt>
                <c:pt idx="7337">
                  <c:v>5.0307890212343924</c:v>
                </c:pt>
                <c:pt idx="7338">
                  <c:v>5.1081982142017797</c:v>
                </c:pt>
                <c:pt idx="7339">
                  <c:v>5.1581039994997679</c:v>
                </c:pt>
                <c:pt idx="7340">
                  <c:v>7.2101357975094906</c:v>
                </c:pt>
                <c:pt idx="7341">
                  <c:v>6.0286055852284726</c:v>
                </c:pt>
                <c:pt idx="7342">
                  <c:v>5.9339546246833494</c:v>
                </c:pt>
                <c:pt idx="7343">
                  <c:v>6.0347579708064911</c:v>
                </c:pt>
                <c:pt idx="7344">
                  <c:v>5.9822118922691825</c:v>
                </c:pt>
                <c:pt idx="7345">
                  <c:v>5.0467560538943461</c:v>
                </c:pt>
                <c:pt idx="7346">
                  <c:v>6.0750189477432706</c:v>
                </c:pt>
                <c:pt idx="7347">
                  <c:v>5.0852233723562428</c:v>
                </c:pt>
                <c:pt idx="7348">
                  <c:v>5.0628959008927978</c:v>
                </c:pt>
                <c:pt idx="7349">
                  <c:v>5.0024932416812362</c:v>
                </c:pt>
                <c:pt idx="7350">
                  <c:v>5.1048056654315879</c:v>
                </c:pt>
                <c:pt idx="7351">
                  <c:v>6.1075094568733546</c:v>
                </c:pt>
                <c:pt idx="7352">
                  <c:v>5.9998020867031938</c:v>
                </c:pt>
                <c:pt idx="7353">
                  <c:v>6.0535373666530523</c:v>
                </c:pt>
                <c:pt idx="7354">
                  <c:v>6.095176491684497</c:v>
                </c:pt>
                <c:pt idx="7355">
                  <c:v>5.0633274205422181</c:v>
                </c:pt>
                <c:pt idx="7356">
                  <c:v>5.9131151468944756</c:v>
                </c:pt>
                <c:pt idx="7357">
                  <c:v>4.8643633929700494</c:v>
                </c:pt>
                <c:pt idx="7358">
                  <c:v>6.0055981615132481</c:v>
                </c:pt>
                <c:pt idx="7359">
                  <c:v>4.9486083491206383</c:v>
                </c:pt>
                <c:pt idx="7360">
                  <c:v>5.9778121861159814</c:v>
                </c:pt>
                <c:pt idx="7361">
                  <c:v>5.0968987928285516</c:v>
                </c:pt>
                <c:pt idx="7362">
                  <c:v>4.9269958747698119</c:v>
                </c:pt>
                <c:pt idx="7363">
                  <c:v>6.0387068671629258</c:v>
                </c:pt>
                <c:pt idx="7364">
                  <c:v>4.9630098100906315</c:v>
                </c:pt>
                <c:pt idx="7365">
                  <c:v>4.9449746447384726</c:v>
                </c:pt>
                <c:pt idx="7366">
                  <c:v>5.9601408178277815</c:v>
                </c:pt>
                <c:pt idx="7367">
                  <c:v>5.8901101897090058</c:v>
                </c:pt>
                <c:pt idx="7368">
                  <c:v>5.000444262786961</c:v>
                </c:pt>
                <c:pt idx="7369">
                  <c:v>5.947754863799612</c:v>
                </c:pt>
                <c:pt idx="7370">
                  <c:v>5.900116999755161</c:v>
                </c:pt>
                <c:pt idx="7371">
                  <c:v>4.9368362155366112</c:v>
                </c:pt>
                <c:pt idx="7372">
                  <c:v>5.0208079847773828</c:v>
                </c:pt>
                <c:pt idx="7373">
                  <c:v>5.0749333453542667</c:v>
                </c:pt>
                <c:pt idx="7374">
                  <c:v>5.1386669578439292</c:v>
                </c:pt>
                <c:pt idx="7375">
                  <c:v>6.0756114030651753</c:v>
                </c:pt>
                <c:pt idx="7376">
                  <c:v>6.8450199469774047</c:v>
                </c:pt>
                <c:pt idx="7377">
                  <c:v>6.9456970250331382</c:v>
                </c:pt>
                <c:pt idx="7378">
                  <c:v>4.9785956885910316</c:v>
                </c:pt>
                <c:pt idx="7379">
                  <c:v>5.9906120395325582</c:v>
                </c:pt>
                <c:pt idx="7380">
                  <c:v>5.0099174426401207</c:v>
                </c:pt>
                <c:pt idx="7381">
                  <c:v>5.8650922522522748</c:v>
                </c:pt>
                <c:pt idx="7382">
                  <c:v>5.9838204068668741</c:v>
                </c:pt>
                <c:pt idx="7383">
                  <c:v>5.9017332299604135</c:v>
                </c:pt>
                <c:pt idx="7384">
                  <c:v>6.0552996912917338</c:v>
                </c:pt>
                <c:pt idx="7385">
                  <c:v>5.0514096618252031</c:v>
                </c:pt>
                <c:pt idx="7386">
                  <c:v>5.0734539641920673</c:v>
                </c:pt>
                <c:pt idx="7387">
                  <c:v>5.978819526896312</c:v>
                </c:pt>
                <c:pt idx="7388">
                  <c:v>7.0902673749241067</c:v>
                </c:pt>
                <c:pt idx="7389">
                  <c:v>7.036526800805996</c:v>
                </c:pt>
                <c:pt idx="7390">
                  <c:v>6.9858749049596094</c:v>
                </c:pt>
                <c:pt idx="7391">
                  <c:v>5.9492557193225171</c:v>
                </c:pt>
                <c:pt idx="7392">
                  <c:v>5.9681168482184201</c:v>
                </c:pt>
                <c:pt idx="7393">
                  <c:v>4.9416743583626443</c:v>
                </c:pt>
                <c:pt idx="7394">
                  <c:v>5.917945416979669</c:v>
                </c:pt>
                <c:pt idx="7395">
                  <c:v>5.0089787502965279</c:v>
                </c:pt>
                <c:pt idx="7396">
                  <c:v>5.9527701089469085</c:v>
                </c:pt>
                <c:pt idx="7397">
                  <c:v>6.1411088098446101</c:v>
                </c:pt>
                <c:pt idx="7398">
                  <c:v>5.8950702419383587</c:v>
                </c:pt>
                <c:pt idx="7399">
                  <c:v>5.883532839950254</c:v>
                </c:pt>
                <c:pt idx="7400">
                  <c:v>6.0386405162026247</c:v>
                </c:pt>
                <c:pt idx="7401">
                  <c:v>4.9644363667351747</c:v>
                </c:pt>
                <c:pt idx="7402">
                  <c:v>2.0148752027307926</c:v>
                </c:pt>
                <c:pt idx="7403">
                  <c:v>2.14393111083462</c:v>
                </c:pt>
                <c:pt idx="7404">
                  <c:v>6.0791219100464335</c:v>
                </c:pt>
                <c:pt idx="7405">
                  <c:v>5.1606749513478727</c:v>
                </c:pt>
                <c:pt idx="7406">
                  <c:v>5.0511916402700265</c:v>
                </c:pt>
                <c:pt idx="7407">
                  <c:v>4.9857821898441026</c:v>
                </c:pt>
                <c:pt idx="7408">
                  <c:v>6.1051026837728868</c:v>
                </c:pt>
                <c:pt idx="7409">
                  <c:v>5.1522197040911966</c:v>
                </c:pt>
                <c:pt idx="7410">
                  <c:v>4.8053347445549166</c:v>
                </c:pt>
                <c:pt idx="7411">
                  <c:v>5.0230164265245643</c:v>
                </c:pt>
                <c:pt idx="7412">
                  <c:v>5.9078241439070469</c:v>
                </c:pt>
                <c:pt idx="7413">
                  <c:v>6.868591304121515</c:v>
                </c:pt>
                <c:pt idx="7414">
                  <c:v>6.0478221110939954</c:v>
                </c:pt>
                <c:pt idx="7415">
                  <c:v>4.9431207697951294</c:v>
                </c:pt>
                <c:pt idx="7416">
                  <c:v>5.1337827509012275</c:v>
                </c:pt>
                <c:pt idx="7417">
                  <c:v>4.964205136656596</c:v>
                </c:pt>
                <c:pt idx="7418">
                  <c:v>5.1358095642854433</c:v>
                </c:pt>
                <c:pt idx="7419">
                  <c:v>4.9998990185192431</c:v>
                </c:pt>
                <c:pt idx="7420">
                  <c:v>6.0000983103135246</c:v>
                </c:pt>
                <c:pt idx="7421">
                  <c:v>4.9693878927523665</c:v>
                </c:pt>
                <c:pt idx="7422">
                  <c:v>5.9165762401400723</c:v>
                </c:pt>
                <c:pt idx="7423">
                  <c:v>5.1340974239070132</c:v>
                </c:pt>
                <c:pt idx="7424">
                  <c:v>4.942790138362672</c:v>
                </c:pt>
                <c:pt idx="7425">
                  <c:v>6.086133242280658</c:v>
                </c:pt>
                <c:pt idx="7426">
                  <c:v>6.0127965537790811</c:v>
                </c:pt>
                <c:pt idx="7427">
                  <c:v>6.9778932366066346</c:v>
                </c:pt>
                <c:pt idx="7428">
                  <c:v>5.9114794296437392</c:v>
                </c:pt>
                <c:pt idx="7429">
                  <c:v>5.8803641465250758</c:v>
                </c:pt>
                <c:pt idx="7430">
                  <c:v>1.8615805769193043</c:v>
                </c:pt>
                <c:pt idx="7431">
                  <c:v>4.0636306949692091</c:v>
                </c:pt>
                <c:pt idx="7432">
                  <c:v>4.9728594175456671</c:v>
                </c:pt>
                <c:pt idx="7433">
                  <c:v>4.8624564303098579</c:v>
                </c:pt>
                <c:pt idx="7434">
                  <c:v>6.1721734416767813</c:v>
                </c:pt>
                <c:pt idx="7435">
                  <c:v>4.9750411612200338</c:v>
                </c:pt>
                <c:pt idx="7436">
                  <c:v>5.8859841522441778</c:v>
                </c:pt>
                <c:pt idx="7437">
                  <c:v>5.9449072785481292</c:v>
                </c:pt>
                <c:pt idx="7438">
                  <c:v>6.0792748694407415</c:v>
                </c:pt>
                <c:pt idx="7439">
                  <c:v>6.0124927986042831</c:v>
                </c:pt>
                <c:pt idx="7440">
                  <c:v>5.0520219255325571</c:v>
                </c:pt>
                <c:pt idx="7441">
                  <c:v>5.0015098513399394</c:v>
                </c:pt>
                <c:pt idx="7442">
                  <c:v>4.8724468714060611</c:v>
                </c:pt>
                <c:pt idx="7443">
                  <c:v>5.9695124437441356</c:v>
                </c:pt>
                <c:pt idx="7444">
                  <c:v>5.7896921277709685</c:v>
                </c:pt>
                <c:pt idx="7445">
                  <c:v>5.0699282858586443</c:v>
                </c:pt>
                <c:pt idx="7446">
                  <c:v>5.9706295883426028</c:v>
                </c:pt>
                <c:pt idx="7447">
                  <c:v>5.8981436179345774</c:v>
                </c:pt>
                <c:pt idx="7448">
                  <c:v>5.0593646429652219</c:v>
                </c:pt>
                <c:pt idx="7449">
                  <c:v>5.1101652442102861</c:v>
                </c:pt>
                <c:pt idx="7450">
                  <c:v>5.1721650585511378</c:v>
                </c:pt>
                <c:pt idx="7451">
                  <c:v>5.0839708327622333</c:v>
                </c:pt>
                <c:pt idx="7452">
                  <c:v>6.0186499742773449</c:v>
                </c:pt>
                <c:pt idx="7453">
                  <c:v>4.9899898758749073</c:v>
                </c:pt>
                <c:pt idx="7454">
                  <c:v>6.0495041048969318</c:v>
                </c:pt>
                <c:pt idx="7455">
                  <c:v>5.9279253102874634</c:v>
                </c:pt>
                <c:pt idx="7456">
                  <c:v>4.9404360757922134</c:v>
                </c:pt>
                <c:pt idx="7457">
                  <c:v>4.7780764406999188</c:v>
                </c:pt>
                <c:pt idx="7458">
                  <c:v>5.0531968522333308</c:v>
                </c:pt>
                <c:pt idx="7459">
                  <c:v>5.1191084668217721</c:v>
                </c:pt>
                <c:pt idx="7460">
                  <c:v>5.0607068992203033</c:v>
                </c:pt>
                <c:pt idx="7461">
                  <c:v>5.014082662380015</c:v>
                </c:pt>
                <c:pt idx="7462">
                  <c:v>4.9591733070436348</c:v>
                </c:pt>
                <c:pt idx="7463">
                  <c:v>5.9903422425930763</c:v>
                </c:pt>
                <c:pt idx="7464">
                  <c:v>4.934327361169494</c:v>
                </c:pt>
                <c:pt idx="7465">
                  <c:v>3.9942240670242852</c:v>
                </c:pt>
                <c:pt idx="7466">
                  <c:v>4.1051835998653496</c:v>
                </c:pt>
                <c:pt idx="7467">
                  <c:v>3.9810780813122975</c:v>
                </c:pt>
                <c:pt idx="7468">
                  <c:v>4.9455292098689521</c:v>
                </c:pt>
                <c:pt idx="7469">
                  <c:v>5.1409692006815284</c:v>
                </c:pt>
                <c:pt idx="7470">
                  <c:v>5.9101421705226702</c:v>
                </c:pt>
                <c:pt idx="7471">
                  <c:v>6.129808018127231</c:v>
                </c:pt>
                <c:pt idx="7472">
                  <c:v>5.9965909729323537</c:v>
                </c:pt>
                <c:pt idx="7473">
                  <c:v>5.1295878795957162</c:v>
                </c:pt>
                <c:pt idx="7474">
                  <c:v>5.019612843700954</c:v>
                </c:pt>
                <c:pt idx="7475">
                  <c:v>6.0906230790191662</c:v>
                </c:pt>
                <c:pt idx="7476">
                  <c:v>6.0961506116085795</c:v>
                </c:pt>
                <c:pt idx="7477">
                  <c:v>6.0475157323457172</c:v>
                </c:pt>
                <c:pt idx="7478">
                  <c:v>4.9132942681767346</c:v>
                </c:pt>
                <c:pt idx="7479">
                  <c:v>5.9496304296085318</c:v>
                </c:pt>
                <c:pt idx="7480">
                  <c:v>4.9127059402164868</c:v>
                </c:pt>
                <c:pt idx="7481">
                  <c:v>6.8786094409070468</c:v>
                </c:pt>
                <c:pt idx="7482">
                  <c:v>4.0317422642313971</c:v>
                </c:pt>
                <c:pt idx="7483">
                  <c:v>6.0400921645591836</c:v>
                </c:pt>
                <c:pt idx="7484">
                  <c:v>5.9272342960087361</c:v>
                </c:pt>
                <c:pt idx="7485">
                  <c:v>4.9638001906715354</c:v>
                </c:pt>
                <c:pt idx="7486">
                  <c:v>5.0315494646580952</c:v>
                </c:pt>
                <c:pt idx="7487">
                  <c:v>4.8766738937505298</c:v>
                </c:pt>
                <c:pt idx="7488">
                  <c:v>4.7522004505824391</c:v>
                </c:pt>
                <c:pt idx="7489">
                  <c:v>6.0647668415688054</c:v>
                </c:pt>
                <c:pt idx="7490">
                  <c:v>4.1379582575138638</c:v>
                </c:pt>
                <c:pt idx="7491">
                  <c:v>1.998186738753071</c:v>
                </c:pt>
                <c:pt idx="7492">
                  <c:v>5.9697319800787927</c:v>
                </c:pt>
                <c:pt idx="7493">
                  <c:v>6.0736586643482511</c:v>
                </c:pt>
                <c:pt idx="7494">
                  <c:v>4.9738408169689823</c:v>
                </c:pt>
                <c:pt idx="7495">
                  <c:v>4.8933577795235319</c:v>
                </c:pt>
                <c:pt idx="7496">
                  <c:v>6.0800686126216537</c:v>
                </c:pt>
                <c:pt idx="7497">
                  <c:v>4.8021571169750441</c:v>
                </c:pt>
                <c:pt idx="7498">
                  <c:v>4.9459944544630279</c:v>
                </c:pt>
                <c:pt idx="7499">
                  <c:v>6.0214002705591465</c:v>
                </c:pt>
                <c:pt idx="7500">
                  <c:v>6.808107513680735</c:v>
                </c:pt>
                <c:pt idx="7501">
                  <c:v>5.9837908854131419</c:v>
                </c:pt>
                <c:pt idx="7502">
                  <c:v>4.9348636547531193</c:v>
                </c:pt>
                <c:pt idx="7503">
                  <c:v>5.0545116907831833</c:v>
                </c:pt>
                <c:pt idx="7504">
                  <c:v>6.1188361564370046</c:v>
                </c:pt>
                <c:pt idx="7505">
                  <c:v>5.8671917252632575</c:v>
                </c:pt>
                <c:pt idx="7506">
                  <c:v>6.1213341984496354</c:v>
                </c:pt>
                <c:pt idx="7507">
                  <c:v>5.9515766397076115</c:v>
                </c:pt>
                <c:pt idx="7508">
                  <c:v>6.1162437146025477</c:v>
                </c:pt>
                <c:pt idx="7509">
                  <c:v>5.7405611833695565</c:v>
                </c:pt>
                <c:pt idx="7510">
                  <c:v>5.0023363802823759</c:v>
                </c:pt>
                <c:pt idx="7511">
                  <c:v>5.0444970814132439</c:v>
                </c:pt>
                <c:pt idx="7512">
                  <c:v>5.8537630143240298</c:v>
                </c:pt>
                <c:pt idx="7513">
                  <c:v>6.0636807356758649</c:v>
                </c:pt>
                <c:pt idx="7514">
                  <c:v>5.0558049968333574</c:v>
                </c:pt>
                <c:pt idx="7515">
                  <c:v>6.9556835483741697</c:v>
                </c:pt>
                <c:pt idx="7516">
                  <c:v>6.0452176752808029</c:v>
                </c:pt>
                <c:pt idx="7517">
                  <c:v>5.9383304848969347</c:v>
                </c:pt>
                <c:pt idx="7518">
                  <c:v>4.9392443777526616</c:v>
                </c:pt>
                <c:pt idx="7519">
                  <c:v>6.0629583303506989</c:v>
                </c:pt>
                <c:pt idx="7520">
                  <c:v>5.0325979575963391</c:v>
                </c:pt>
                <c:pt idx="7521">
                  <c:v>4.993521620349533</c:v>
                </c:pt>
                <c:pt idx="7522">
                  <c:v>5.9944769717017294</c:v>
                </c:pt>
                <c:pt idx="7523">
                  <c:v>4.8606033801894855</c:v>
                </c:pt>
                <c:pt idx="7524">
                  <c:v>6.0365828399543089</c:v>
                </c:pt>
                <c:pt idx="7525">
                  <c:v>5.8225686653217634</c:v>
                </c:pt>
                <c:pt idx="7526">
                  <c:v>6.2121047703901331</c:v>
                </c:pt>
                <c:pt idx="7527">
                  <c:v>5.9040033562247549</c:v>
                </c:pt>
                <c:pt idx="7528">
                  <c:v>4.958316490037542</c:v>
                </c:pt>
                <c:pt idx="7529">
                  <c:v>6.0234871935169414</c:v>
                </c:pt>
                <c:pt idx="7530">
                  <c:v>6.1321111646063056</c:v>
                </c:pt>
                <c:pt idx="7531">
                  <c:v>5.9280891334073624</c:v>
                </c:pt>
                <c:pt idx="7532">
                  <c:v>6.1317816465051811</c:v>
                </c:pt>
                <c:pt idx="7533">
                  <c:v>5.9089517168201926</c:v>
                </c:pt>
                <c:pt idx="7534">
                  <c:v>4.9893931835240313</c:v>
                </c:pt>
                <c:pt idx="7535">
                  <c:v>7.079774785724636</c:v>
                </c:pt>
                <c:pt idx="7536">
                  <c:v>6.1237041580271745</c:v>
                </c:pt>
                <c:pt idx="7537">
                  <c:v>5.9062307462128683</c:v>
                </c:pt>
                <c:pt idx="7538">
                  <c:v>6.967992450628846</c:v>
                </c:pt>
                <c:pt idx="7539">
                  <c:v>6.0532798294657235</c:v>
                </c:pt>
                <c:pt idx="7540">
                  <c:v>5.1356110424983328</c:v>
                </c:pt>
                <c:pt idx="7541">
                  <c:v>5.9682524585422234</c:v>
                </c:pt>
                <c:pt idx="7542">
                  <c:v>6.0430605218905162</c:v>
                </c:pt>
                <c:pt idx="7543">
                  <c:v>4.8621479794151172</c:v>
                </c:pt>
                <c:pt idx="7544">
                  <c:v>5.0885558417599226</c:v>
                </c:pt>
                <c:pt idx="7545">
                  <c:v>5.8814780525836978</c:v>
                </c:pt>
                <c:pt idx="7546">
                  <c:v>6.0140287004211279</c:v>
                </c:pt>
                <c:pt idx="7547">
                  <c:v>6.0166904299423907</c:v>
                </c:pt>
                <c:pt idx="7548">
                  <c:v>5.7184363840463632</c:v>
                </c:pt>
                <c:pt idx="7549">
                  <c:v>5.0224318817378348</c:v>
                </c:pt>
                <c:pt idx="7550">
                  <c:v>5.8332467053390573</c:v>
                </c:pt>
                <c:pt idx="7551">
                  <c:v>6.0877638563220255</c:v>
                </c:pt>
                <c:pt idx="7552">
                  <c:v>4.9601188906130806</c:v>
                </c:pt>
                <c:pt idx="7553">
                  <c:v>6.0107199818438639</c:v>
                </c:pt>
                <c:pt idx="7554">
                  <c:v>5.9495077795859288</c:v>
                </c:pt>
                <c:pt idx="7555">
                  <c:v>5.7554710846768771</c:v>
                </c:pt>
                <c:pt idx="7556">
                  <c:v>5.1529356771549164</c:v>
                </c:pt>
                <c:pt idx="7557">
                  <c:v>5.9148267263634882</c:v>
                </c:pt>
                <c:pt idx="7558">
                  <c:v>5.9880694392785667</c:v>
                </c:pt>
                <c:pt idx="7559">
                  <c:v>6.258950275942853</c:v>
                </c:pt>
                <c:pt idx="7560">
                  <c:v>4.9689658990842611</c:v>
                </c:pt>
                <c:pt idx="7561">
                  <c:v>6.090019935435885</c:v>
                </c:pt>
                <c:pt idx="7562">
                  <c:v>6.0046524223514064</c:v>
                </c:pt>
                <c:pt idx="7563">
                  <c:v>6.0154667285839238</c:v>
                </c:pt>
                <c:pt idx="7564">
                  <c:v>5.8520159575547019</c:v>
                </c:pt>
                <c:pt idx="7565">
                  <c:v>6.1387188055662438</c:v>
                </c:pt>
                <c:pt idx="7566">
                  <c:v>5.9377632039964929</c:v>
                </c:pt>
                <c:pt idx="7567">
                  <c:v>5.9503832090209743</c:v>
                </c:pt>
                <c:pt idx="7568">
                  <c:v>6.0092212615647895</c:v>
                </c:pt>
                <c:pt idx="7569">
                  <c:v>4.9447470082188216</c:v>
                </c:pt>
                <c:pt idx="7570">
                  <c:v>6.8407532292554052</c:v>
                </c:pt>
                <c:pt idx="7571">
                  <c:v>7.1778729970879214</c:v>
                </c:pt>
                <c:pt idx="7572">
                  <c:v>7.0291022813246329</c:v>
                </c:pt>
                <c:pt idx="7573">
                  <c:v>7.0443756879439761</c:v>
                </c:pt>
                <c:pt idx="7574">
                  <c:v>5.0929859656827769</c:v>
                </c:pt>
                <c:pt idx="7575">
                  <c:v>6.142457910557547</c:v>
                </c:pt>
                <c:pt idx="7576">
                  <c:v>7.0017184778799084</c:v>
                </c:pt>
                <c:pt idx="7577">
                  <c:v>7.2167170928440711</c:v>
                </c:pt>
                <c:pt idx="7578">
                  <c:v>3.8744471043825546</c:v>
                </c:pt>
                <c:pt idx="7579">
                  <c:v>4.031733832378114</c:v>
                </c:pt>
                <c:pt idx="7580">
                  <c:v>4.927928596337285</c:v>
                </c:pt>
                <c:pt idx="7581">
                  <c:v>5.9024035686092651</c:v>
                </c:pt>
                <c:pt idx="7582">
                  <c:v>6.1096575925290137</c:v>
                </c:pt>
                <c:pt idx="7583">
                  <c:v>4.8744314725103841</c:v>
                </c:pt>
                <c:pt idx="7584">
                  <c:v>5.0073598871690708</c:v>
                </c:pt>
                <c:pt idx="7585">
                  <c:v>5.0483899009176989</c:v>
                </c:pt>
                <c:pt idx="7586">
                  <c:v>5.0717588329933783</c:v>
                </c:pt>
                <c:pt idx="7587">
                  <c:v>5.8247674504263749</c:v>
                </c:pt>
                <c:pt idx="7588">
                  <c:v>5.9820568185261145</c:v>
                </c:pt>
                <c:pt idx="7589">
                  <c:v>5.9552197487427359</c:v>
                </c:pt>
                <c:pt idx="7590">
                  <c:v>4.2409352529791615</c:v>
                </c:pt>
                <c:pt idx="7591">
                  <c:v>6.0509909427366386</c:v>
                </c:pt>
                <c:pt idx="7592">
                  <c:v>6.0959775144521666</c:v>
                </c:pt>
                <c:pt idx="7593">
                  <c:v>5.0079979960109791</c:v>
                </c:pt>
                <c:pt idx="7594">
                  <c:v>6.0114683014371018</c:v>
                </c:pt>
                <c:pt idx="7595">
                  <c:v>5.9692562579624031</c:v>
                </c:pt>
                <c:pt idx="7596">
                  <c:v>6.1345175451145453</c:v>
                </c:pt>
                <c:pt idx="7597">
                  <c:v>5.0488893867475708</c:v>
                </c:pt>
                <c:pt idx="7598">
                  <c:v>4.9912908388905448</c:v>
                </c:pt>
                <c:pt idx="7599">
                  <c:v>4.9048449185067913</c:v>
                </c:pt>
                <c:pt idx="7600">
                  <c:v>4.9568226917940912</c:v>
                </c:pt>
                <c:pt idx="7601">
                  <c:v>5.9501097126971745</c:v>
                </c:pt>
                <c:pt idx="7602">
                  <c:v>5.9671726236193692</c:v>
                </c:pt>
                <c:pt idx="7603">
                  <c:v>5.9323877917393446</c:v>
                </c:pt>
                <c:pt idx="7604">
                  <c:v>6.0133871436159438</c:v>
                </c:pt>
                <c:pt idx="7605">
                  <c:v>4.9706641314868154</c:v>
                </c:pt>
                <c:pt idx="7606">
                  <c:v>7.1139000152181522</c:v>
                </c:pt>
                <c:pt idx="7607">
                  <c:v>5.0950936179011332</c:v>
                </c:pt>
                <c:pt idx="7608">
                  <c:v>4.0264488075431162</c:v>
                </c:pt>
                <c:pt idx="7609">
                  <c:v>5.1839244094961572</c:v>
                </c:pt>
                <c:pt idx="7610">
                  <c:v>5.9701478604985505</c:v>
                </c:pt>
                <c:pt idx="7611">
                  <c:v>5.8385556860112269</c:v>
                </c:pt>
                <c:pt idx="7612">
                  <c:v>4.872927762075296</c:v>
                </c:pt>
                <c:pt idx="7613">
                  <c:v>5.0725087984838622</c:v>
                </c:pt>
                <c:pt idx="7614">
                  <c:v>5.8530386294352548</c:v>
                </c:pt>
                <c:pt idx="7615">
                  <c:v>4.8700820252239128</c:v>
                </c:pt>
                <c:pt idx="7616">
                  <c:v>4.8784323736538484</c:v>
                </c:pt>
                <c:pt idx="7617">
                  <c:v>4.9397682003642283</c:v>
                </c:pt>
                <c:pt idx="7618">
                  <c:v>7.0854798200889579</c:v>
                </c:pt>
                <c:pt idx="7619">
                  <c:v>5.8139662846841897</c:v>
                </c:pt>
                <c:pt idx="7620">
                  <c:v>6.1332356783381288</c:v>
                </c:pt>
                <c:pt idx="7621">
                  <c:v>5.9264275706862319</c:v>
                </c:pt>
                <c:pt idx="7622">
                  <c:v>5.8571924540066762</c:v>
                </c:pt>
                <c:pt idx="7623">
                  <c:v>6.0653503373584075</c:v>
                </c:pt>
                <c:pt idx="7624">
                  <c:v>5.8812415804293927</c:v>
                </c:pt>
                <c:pt idx="7625">
                  <c:v>5.0956795377021411</c:v>
                </c:pt>
                <c:pt idx="7626">
                  <c:v>5.0005567411010876</c:v>
                </c:pt>
                <c:pt idx="7627">
                  <c:v>6.0937375413660462</c:v>
                </c:pt>
                <c:pt idx="7628">
                  <c:v>4.9504586408807834</c:v>
                </c:pt>
                <c:pt idx="7629">
                  <c:v>5.7537544295744771</c:v>
                </c:pt>
                <c:pt idx="7630">
                  <c:v>6.201592533537025</c:v>
                </c:pt>
                <c:pt idx="7631">
                  <c:v>4.9208834100033867</c:v>
                </c:pt>
                <c:pt idx="7632">
                  <c:v>6.2418936662112179</c:v>
                </c:pt>
                <c:pt idx="7633">
                  <c:v>4.0259722270059939</c:v>
                </c:pt>
                <c:pt idx="7634">
                  <c:v>5.9175837142475567</c:v>
                </c:pt>
                <c:pt idx="7635">
                  <c:v>4.8415565440687125</c:v>
                </c:pt>
                <c:pt idx="7636">
                  <c:v>4.8655678043236499</c:v>
                </c:pt>
                <c:pt idx="7637">
                  <c:v>5.0204952811006915</c:v>
                </c:pt>
                <c:pt idx="7638">
                  <c:v>6.8170683144558399</c:v>
                </c:pt>
                <c:pt idx="7639">
                  <c:v>5.045429876704068</c:v>
                </c:pt>
                <c:pt idx="7640">
                  <c:v>5.095437059292478</c:v>
                </c:pt>
                <c:pt idx="7641">
                  <c:v>5.0073634255440291</c:v>
                </c:pt>
                <c:pt idx="7642">
                  <c:v>4.889116131977608</c:v>
                </c:pt>
                <c:pt idx="7643">
                  <c:v>3.984121395515035</c:v>
                </c:pt>
                <c:pt idx="7644">
                  <c:v>5.8918512329753243</c:v>
                </c:pt>
                <c:pt idx="7645">
                  <c:v>5.095784195585102</c:v>
                </c:pt>
                <c:pt idx="7646">
                  <c:v>4.8771020737221704</c:v>
                </c:pt>
                <c:pt idx="7647">
                  <c:v>5.9111927249770622</c:v>
                </c:pt>
                <c:pt idx="7648">
                  <c:v>5.9058177669267469</c:v>
                </c:pt>
                <c:pt idx="7649">
                  <c:v>3.9799012856611116</c:v>
                </c:pt>
                <c:pt idx="7650">
                  <c:v>5.1095289811819198</c:v>
                </c:pt>
                <c:pt idx="7651">
                  <c:v>6.0162750346345995</c:v>
                </c:pt>
                <c:pt idx="7652">
                  <c:v>5.9084918114648985</c:v>
                </c:pt>
                <c:pt idx="7653">
                  <c:v>4.986671908534734</c:v>
                </c:pt>
                <c:pt idx="7654">
                  <c:v>5.0658110590709162</c:v>
                </c:pt>
                <c:pt idx="7655">
                  <c:v>5.9094683984112049</c:v>
                </c:pt>
                <c:pt idx="7656">
                  <c:v>5.9016025635879013</c:v>
                </c:pt>
                <c:pt idx="7657">
                  <c:v>5.0491521429391364</c:v>
                </c:pt>
                <c:pt idx="7658">
                  <c:v>5.9709256117346303</c:v>
                </c:pt>
                <c:pt idx="7659">
                  <c:v>5.9552741825024622</c:v>
                </c:pt>
                <c:pt idx="7660">
                  <c:v>4.9287368269922807</c:v>
                </c:pt>
                <c:pt idx="7661">
                  <c:v>4.9003491986871808</c:v>
                </c:pt>
                <c:pt idx="7662">
                  <c:v>6.1326410222710477</c:v>
                </c:pt>
                <c:pt idx="7663">
                  <c:v>5.9644426178357577</c:v>
                </c:pt>
                <c:pt idx="7664">
                  <c:v>5.8914003572917881</c:v>
                </c:pt>
                <c:pt idx="7665">
                  <c:v>7.0688711474688892</c:v>
                </c:pt>
                <c:pt idx="7666">
                  <c:v>5.0277440333380961</c:v>
                </c:pt>
                <c:pt idx="7667">
                  <c:v>6.0284379217207427</c:v>
                </c:pt>
                <c:pt idx="7668">
                  <c:v>5.1367129335952075</c:v>
                </c:pt>
                <c:pt idx="7669">
                  <c:v>5.040873461297676</c:v>
                </c:pt>
                <c:pt idx="7670">
                  <c:v>5.8805781255790901</c:v>
                </c:pt>
                <c:pt idx="7671">
                  <c:v>4.9510561802192523</c:v>
                </c:pt>
                <c:pt idx="7672">
                  <c:v>6.1132744141376909</c:v>
                </c:pt>
                <c:pt idx="7673">
                  <c:v>4.9532585222829173</c:v>
                </c:pt>
                <c:pt idx="7674">
                  <c:v>4.9724727469356393</c:v>
                </c:pt>
                <c:pt idx="7675">
                  <c:v>6.207434071971047</c:v>
                </c:pt>
                <c:pt idx="7676">
                  <c:v>5.8828999526872803</c:v>
                </c:pt>
                <c:pt idx="7677">
                  <c:v>4.8058724154559425</c:v>
                </c:pt>
                <c:pt idx="7678">
                  <c:v>5.8572691906917305</c:v>
                </c:pt>
                <c:pt idx="7679">
                  <c:v>5.9114118378539313</c:v>
                </c:pt>
                <c:pt idx="7680">
                  <c:v>5.1154618736484716</c:v>
                </c:pt>
                <c:pt idx="7681">
                  <c:v>5.0764939715171504</c:v>
                </c:pt>
                <c:pt idx="7682">
                  <c:v>4.9916859672064433</c:v>
                </c:pt>
                <c:pt idx="7683">
                  <c:v>5.0980027853408805</c:v>
                </c:pt>
                <c:pt idx="7684">
                  <c:v>5.9870755349780822</c:v>
                </c:pt>
                <c:pt idx="7685">
                  <c:v>4.9847901826355967</c:v>
                </c:pt>
                <c:pt idx="7686">
                  <c:v>4.9252001102591079</c:v>
                </c:pt>
                <c:pt idx="7687">
                  <c:v>5.9980928780484799</c:v>
                </c:pt>
                <c:pt idx="7688">
                  <c:v>5.8609999306578713</c:v>
                </c:pt>
                <c:pt idx="7689">
                  <c:v>5.0252775560478335</c:v>
                </c:pt>
                <c:pt idx="7690">
                  <c:v>5.7889421455534791</c:v>
                </c:pt>
                <c:pt idx="7691">
                  <c:v>6.009664870398332</c:v>
                </c:pt>
                <c:pt idx="7692">
                  <c:v>4.8518983626533236</c:v>
                </c:pt>
                <c:pt idx="7693">
                  <c:v>5.074930337834628</c:v>
                </c:pt>
                <c:pt idx="7694">
                  <c:v>6.0565001970398997</c:v>
                </c:pt>
                <c:pt idx="7695">
                  <c:v>5.2724064266918766</c:v>
                </c:pt>
                <c:pt idx="7696">
                  <c:v>5.0208689330399388</c:v>
                </c:pt>
                <c:pt idx="7697">
                  <c:v>6.003667421494038</c:v>
                </c:pt>
                <c:pt idx="7698">
                  <c:v>5.228893189030333</c:v>
                </c:pt>
                <c:pt idx="7699">
                  <c:v>5.0333637353126868</c:v>
                </c:pt>
                <c:pt idx="7700">
                  <c:v>4.9852477179748975</c:v>
                </c:pt>
                <c:pt idx="7701">
                  <c:v>5.947464319075741</c:v>
                </c:pt>
                <c:pt idx="7702">
                  <c:v>4.9495270947472543</c:v>
                </c:pt>
                <c:pt idx="7703">
                  <c:v>4.9700726039326097</c:v>
                </c:pt>
                <c:pt idx="7704">
                  <c:v>6.041817282685086</c:v>
                </c:pt>
                <c:pt idx="7705">
                  <c:v>5.8523406952182286</c:v>
                </c:pt>
                <c:pt idx="7706">
                  <c:v>6.0064373713881203</c:v>
                </c:pt>
                <c:pt idx="7707">
                  <c:v>5.068888692279705</c:v>
                </c:pt>
                <c:pt idx="7708">
                  <c:v>6.0768915222117217</c:v>
                </c:pt>
                <c:pt idx="7709">
                  <c:v>5.0353373596156628</c:v>
                </c:pt>
                <c:pt idx="7710">
                  <c:v>4.8884925442222711</c:v>
                </c:pt>
                <c:pt idx="7711">
                  <c:v>5.8292339688850561</c:v>
                </c:pt>
                <c:pt idx="7712">
                  <c:v>6.0092405970066771</c:v>
                </c:pt>
                <c:pt idx="7713">
                  <c:v>5.027337961259188</c:v>
                </c:pt>
                <c:pt idx="7714">
                  <c:v>5.9883073979551931</c:v>
                </c:pt>
                <c:pt idx="7715">
                  <c:v>7.0760141818243651</c:v>
                </c:pt>
                <c:pt idx="7716">
                  <c:v>6.0601086005655365</c:v>
                </c:pt>
                <c:pt idx="7717">
                  <c:v>5.9364489501344009</c:v>
                </c:pt>
                <c:pt idx="7718">
                  <c:v>4.8040448752016021</c:v>
                </c:pt>
                <c:pt idx="7719">
                  <c:v>5.9076107834656097</c:v>
                </c:pt>
                <c:pt idx="7720">
                  <c:v>5.9440167328679712</c:v>
                </c:pt>
                <c:pt idx="7721">
                  <c:v>6.0164139301768502</c:v>
                </c:pt>
                <c:pt idx="7722">
                  <c:v>7.0390169683434642</c:v>
                </c:pt>
                <c:pt idx="7723">
                  <c:v>6.1285871668803358</c:v>
                </c:pt>
                <c:pt idx="7724">
                  <c:v>5.1463853361031084</c:v>
                </c:pt>
                <c:pt idx="7725">
                  <c:v>6.0113633168728899</c:v>
                </c:pt>
                <c:pt idx="7726">
                  <c:v>6.9766748319780394</c:v>
                </c:pt>
                <c:pt idx="7727">
                  <c:v>5.8436685139524851</c:v>
                </c:pt>
                <c:pt idx="7728">
                  <c:v>4.93224627272782</c:v>
                </c:pt>
                <c:pt idx="7729">
                  <c:v>6.1598839880522984</c:v>
                </c:pt>
                <c:pt idx="7730">
                  <c:v>6.0003756680603946</c:v>
                </c:pt>
                <c:pt idx="7731">
                  <c:v>4.1626373459756065</c:v>
                </c:pt>
                <c:pt idx="7732">
                  <c:v>7.0771092325505922</c:v>
                </c:pt>
                <c:pt idx="7733">
                  <c:v>3.8513860785924487</c:v>
                </c:pt>
                <c:pt idx="7734">
                  <c:v>3.9424707300451032</c:v>
                </c:pt>
                <c:pt idx="7735">
                  <c:v>5.0759831083047731</c:v>
                </c:pt>
                <c:pt idx="7736">
                  <c:v>5.1566390159296134</c:v>
                </c:pt>
                <c:pt idx="7737">
                  <c:v>4.9933370509196342</c:v>
                </c:pt>
                <c:pt idx="7738">
                  <c:v>5.0464382679218387</c:v>
                </c:pt>
                <c:pt idx="7739">
                  <c:v>6.0016678825908656</c:v>
                </c:pt>
                <c:pt idx="7740">
                  <c:v>6.028552408725905</c:v>
                </c:pt>
                <c:pt idx="7741">
                  <c:v>5.9264919484079117</c:v>
                </c:pt>
                <c:pt idx="7742">
                  <c:v>5.0729624896661498</c:v>
                </c:pt>
                <c:pt idx="7743">
                  <c:v>5.9943340357045631</c:v>
                </c:pt>
                <c:pt idx="7744">
                  <c:v>5.1156865405315397</c:v>
                </c:pt>
                <c:pt idx="7745">
                  <c:v>4.9164265578950035</c:v>
                </c:pt>
                <c:pt idx="7746">
                  <c:v>4.8575792187971887</c:v>
                </c:pt>
                <c:pt idx="7747">
                  <c:v>6.0013620633284797</c:v>
                </c:pt>
                <c:pt idx="7748">
                  <c:v>5.901115252837636</c:v>
                </c:pt>
                <c:pt idx="7749">
                  <c:v>5.8639806037469677</c:v>
                </c:pt>
                <c:pt idx="7750">
                  <c:v>4.9688870275928698</c:v>
                </c:pt>
                <c:pt idx="7751">
                  <c:v>5.8931925854263429</c:v>
                </c:pt>
                <c:pt idx="7752">
                  <c:v>5.9122812120514245</c:v>
                </c:pt>
                <c:pt idx="7753">
                  <c:v>5.9114671008525121</c:v>
                </c:pt>
                <c:pt idx="7754">
                  <c:v>6.1288248083715056</c:v>
                </c:pt>
                <c:pt idx="7755">
                  <c:v>4.1661232976625051</c:v>
                </c:pt>
                <c:pt idx="7756">
                  <c:v>6.0028460469137279</c:v>
                </c:pt>
                <c:pt idx="7757">
                  <c:v>4.890097596198907</c:v>
                </c:pt>
                <c:pt idx="7758">
                  <c:v>5.9611207614895587</c:v>
                </c:pt>
                <c:pt idx="7759">
                  <c:v>5.1414333111731061</c:v>
                </c:pt>
                <c:pt idx="7760">
                  <c:v>6.1083191310473115</c:v>
                </c:pt>
                <c:pt idx="7761">
                  <c:v>6.9947498963362644</c:v>
                </c:pt>
                <c:pt idx="7762">
                  <c:v>6.1078805427850833</c:v>
                </c:pt>
                <c:pt idx="7763">
                  <c:v>5.8108457281659236</c:v>
                </c:pt>
                <c:pt idx="7764">
                  <c:v>5.901250539409939</c:v>
                </c:pt>
                <c:pt idx="7765">
                  <c:v>4.9363439581039206</c:v>
                </c:pt>
                <c:pt idx="7766">
                  <c:v>6.0341060897604653</c:v>
                </c:pt>
                <c:pt idx="7767">
                  <c:v>5.9093974327132859</c:v>
                </c:pt>
                <c:pt idx="7768">
                  <c:v>5.0225449208220683</c:v>
                </c:pt>
                <c:pt idx="7769">
                  <c:v>4.987795878228547</c:v>
                </c:pt>
                <c:pt idx="7770">
                  <c:v>4.97900211204011</c:v>
                </c:pt>
                <c:pt idx="7771">
                  <c:v>4.95580505534934</c:v>
                </c:pt>
                <c:pt idx="7772">
                  <c:v>4.9225488558429769</c:v>
                </c:pt>
                <c:pt idx="7773">
                  <c:v>6.0446472038721195</c:v>
                </c:pt>
                <c:pt idx="7774">
                  <c:v>5.0489638973687017</c:v>
                </c:pt>
                <c:pt idx="7775">
                  <c:v>4.9001027147389662</c:v>
                </c:pt>
                <c:pt idx="7776">
                  <c:v>6.0100651634736071</c:v>
                </c:pt>
                <c:pt idx="7777">
                  <c:v>4.9177473576618658</c:v>
                </c:pt>
                <c:pt idx="7778">
                  <c:v>5.044808341576414</c:v>
                </c:pt>
                <c:pt idx="7779">
                  <c:v>5.1405423297199313</c:v>
                </c:pt>
                <c:pt idx="7780">
                  <c:v>5.1122316944996058</c:v>
                </c:pt>
                <c:pt idx="7781">
                  <c:v>4.8913334740236838</c:v>
                </c:pt>
                <c:pt idx="7782">
                  <c:v>5.972136279906989</c:v>
                </c:pt>
                <c:pt idx="7783">
                  <c:v>5.9996083573464292</c:v>
                </c:pt>
                <c:pt idx="7784">
                  <c:v>6.0501643251374277</c:v>
                </c:pt>
                <c:pt idx="7785">
                  <c:v>5.8603167793422628</c:v>
                </c:pt>
                <c:pt idx="7786">
                  <c:v>6.0617909931963911</c:v>
                </c:pt>
                <c:pt idx="7787">
                  <c:v>4.9166196073287347</c:v>
                </c:pt>
                <c:pt idx="7788">
                  <c:v>4.8623954219276238</c:v>
                </c:pt>
                <c:pt idx="7789">
                  <c:v>5.8514970968055815</c:v>
                </c:pt>
                <c:pt idx="7790">
                  <c:v>4.9901840544092071</c:v>
                </c:pt>
                <c:pt idx="7791">
                  <c:v>4.9064871054627819</c:v>
                </c:pt>
                <c:pt idx="7792">
                  <c:v>4.9613782586000452</c:v>
                </c:pt>
                <c:pt idx="7793">
                  <c:v>4.9860615150056926</c:v>
                </c:pt>
                <c:pt idx="7794">
                  <c:v>5.9755851644263966</c:v>
                </c:pt>
                <c:pt idx="7795">
                  <c:v>6.057699538676971</c:v>
                </c:pt>
                <c:pt idx="7796">
                  <c:v>5.0662985922086081</c:v>
                </c:pt>
                <c:pt idx="7797">
                  <c:v>5.0695179282497538</c:v>
                </c:pt>
                <c:pt idx="7798">
                  <c:v>5.9809374506957935</c:v>
                </c:pt>
                <c:pt idx="7799">
                  <c:v>4.944020527600741</c:v>
                </c:pt>
                <c:pt idx="7800">
                  <c:v>6.0122536926212824</c:v>
                </c:pt>
                <c:pt idx="7801">
                  <c:v>5.0159297901997189</c:v>
                </c:pt>
                <c:pt idx="7802">
                  <c:v>5.0894239709553686</c:v>
                </c:pt>
                <c:pt idx="7803">
                  <c:v>5.1000807958882888</c:v>
                </c:pt>
                <c:pt idx="7804">
                  <c:v>4.9788714458178047</c:v>
                </c:pt>
                <c:pt idx="7805">
                  <c:v>4.9700785902754365</c:v>
                </c:pt>
                <c:pt idx="7806">
                  <c:v>6.0606346727049454</c:v>
                </c:pt>
                <c:pt idx="7807">
                  <c:v>5.0893339774629975</c:v>
                </c:pt>
                <c:pt idx="7808">
                  <c:v>6.0917755720071751</c:v>
                </c:pt>
                <c:pt idx="7809">
                  <c:v>5.0536762029887567</c:v>
                </c:pt>
                <c:pt idx="7810">
                  <c:v>2.1887949865674656</c:v>
                </c:pt>
                <c:pt idx="7811">
                  <c:v>2.02648953155034</c:v>
                </c:pt>
                <c:pt idx="7812">
                  <c:v>5.0660094507316131</c:v>
                </c:pt>
                <c:pt idx="7813">
                  <c:v>6.0709491469659911</c:v>
                </c:pt>
                <c:pt idx="7814">
                  <c:v>6.0043794128538455</c:v>
                </c:pt>
                <c:pt idx="7815">
                  <c:v>5.0530668462587176</c:v>
                </c:pt>
                <c:pt idx="7816">
                  <c:v>7.0924914339178962</c:v>
                </c:pt>
                <c:pt idx="7817">
                  <c:v>4.9658265942900472</c:v>
                </c:pt>
                <c:pt idx="7818">
                  <c:v>3.946919024102518</c:v>
                </c:pt>
                <c:pt idx="7819">
                  <c:v>6.7200833989037072</c:v>
                </c:pt>
                <c:pt idx="7820">
                  <c:v>4.994200089831474</c:v>
                </c:pt>
                <c:pt idx="7821">
                  <c:v>5.0984864295849865</c:v>
                </c:pt>
                <c:pt idx="7822">
                  <c:v>6.039208474008511</c:v>
                </c:pt>
                <c:pt idx="7823">
                  <c:v>5.9318813587270585</c:v>
                </c:pt>
                <c:pt idx="7824">
                  <c:v>5.0575303790284867</c:v>
                </c:pt>
                <c:pt idx="7825">
                  <c:v>4.876621119547127</c:v>
                </c:pt>
                <c:pt idx="7826">
                  <c:v>6.1124507731648716</c:v>
                </c:pt>
                <c:pt idx="7827">
                  <c:v>6.0528804817148831</c:v>
                </c:pt>
                <c:pt idx="7828">
                  <c:v>5.0196286747548573</c:v>
                </c:pt>
                <c:pt idx="7829">
                  <c:v>4.8659147783225913</c:v>
                </c:pt>
                <c:pt idx="7830">
                  <c:v>6.0229136764550351</c:v>
                </c:pt>
                <c:pt idx="7831">
                  <c:v>5.0263751543857849</c:v>
                </c:pt>
                <c:pt idx="7832">
                  <c:v>6.1438727054426243</c:v>
                </c:pt>
                <c:pt idx="7833">
                  <c:v>5.0698984521867079</c:v>
                </c:pt>
                <c:pt idx="7834">
                  <c:v>5.9220181551029132</c:v>
                </c:pt>
                <c:pt idx="7835">
                  <c:v>5.9105493365181161</c:v>
                </c:pt>
                <c:pt idx="7836">
                  <c:v>5.8803211077693796</c:v>
                </c:pt>
                <c:pt idx="7837">
                  <c:v>6.0350432822772389</c:v>
                </c:pt>
                <c:pt idx="7838">
                  <c:v>5.9392435763297158</c:v>
                </c:pt>
                <c:pt idx="7839">
                  <c:v>5.9326056091804293</c:v>
                </c:pt>
                <c:pt idx="7840">
                  <c:v>6.0659573417088914</c:v>
                </c:pt>
                <c:pt idx="7841">
                  <c:v>6.0469811346501823</c:v>
                </c:pt>
                <c:pt idx="7842">
                  <c:v>5.8940859946372157</c:v>
                </c:pt>
                <c:pt idx="7843">
                  <c:v>5.9754602734928568</c:v>
                </c:pt>
                <c:pt idx="7844">
                  <c:v>5.2474674818829596</c:v>
                </c:pt>
                <c:pt idx="7845">
                  <c:v>5.1205288380963747</c:v>
                </c:pt>
                <c:pt idx="7846">
                  <c:v>6.0891392587765401</c:v>
                </c:pt>
                <c:pt idx="7847">
                  <c:v>5.0503084206452904</c:v>
                </c:pt>
                <c:pt idx="7848">
                  <c:v>5.9688329988891846</c:v>
                </c:pt>
                <c:pt idx="7849">
                  <c:v>5.0324535917543054</c:v>
                </c:pt>
                <c:pt idx="7850">
                  <c:v>6.0309324952205801</c:v>
                </c:pt>
                <c:pt idx="7851">
                  <c:v>4.9797749569351666</c:v>
                </c:pt>
                <c:pt idx="7852">
                  <c:v>5.9355681215368614</c:v>
                </c:pt>
                <c:pt idx="7853">
                  <c:v>5.9769262981736357</c:v>
                </c:pt>
                <c:pt idx="7854">
                  <c:v>5.0266203109251117</c:v>
                </c:pt>
                <c:pt idx="7855">
                  <c:v>6.031282735654778</c:v>
                </c:pt>
                <c:pt idx="7856">
                  <c:v>6.0866874406090874</c:v>
                </c:pt>
                <c:pt idx="7857">
                  <c:v>5.017219335378666</c:v>
                </c:pt>
                <c:pt idx="7858">
                  <c:v>4.9729332866859401</c:v>
                </c:pt>
                <c:pt idx="7859">
                  <c:v>6.0337190106332876</c:v>
                </c:pt>
                <c:pt idx="7860">
                  <c:v>4.9553291549970746</c:v>
                </c:pt>
                <c:pt idx="7861">
                  <c:v>4.955416502063982</c:v>
                </c:pt>
                <c:pt idx="7862">
                  <c:v>5.0328001698674418</c:v>
                </c:pt>
                <c:pt idx="7863">
                  <c:v>5.0392011960883609</c:v>
                </c:pt>
                <c:pt idx="7864">
                  <c:v>5.8895169112062495</c:v>
                </c:pt>
                <c:pt idx="7865">
                  <c:v>5.1504729233244317</c:v>
                </c:pt>
                <c:pt idx="7866">
                  <c:v>4.9575218435058694</c:v>
                </c:pt>
                <c:pt idx="7867">
                  <c:v>5.0301642638777162</c:v>
                </c:pt>
                <c:pt idx="7868">
                  <c:v>5.8931425022263388</c:v>
                </c:pt>
                <c:pt idx="7869">
                  <c:v>4.8729136394364509</c:v>
                </c:pt>
                <c:pt idx="7870">
                  <c:v>5.0031886042273346</c:v>
                </c:pt>
                <c:pt idx="7871">
                  <c:v>6.0094728331347067</c:v>
                </c:pt>
                <c:pt idx="7872">
                  <c:v>5.8234410332366906</c:v>
                </c:pt>
                <c:pt idx="7873">
                  <c:v>5.9546749409832724</c:v>
                </c:pt>
                <c:pt idx="7874">
                  <c:v>6.1532467053381259</c:v>
                </c:pt>
                <c:pt idx="7875">
                  <c:v>5.9376951505512796</c:v>
                </c:pt>
                <c:pt idx="7876">
                  <c:v>5.0157088254717479</c:v>
                </c:pt>
                <c:pt idx="7877">
                  <c:v>7.2070802371702785</c:v>
                </c:pt>
                <c:pt idx="7878">
                  <c:v>6.0064579491480439</c:v>
                </c:pt>
                <c:pt idx="7879">
                  <c:v>4.8918511927941948</c:v>
                </c:pt>
                <c:pt idx="7880">
                  <c:v>6.1852909536184608</c:v>
                </c:pt>
                <c:pt idx="7881">
                  <c:v>5.0787311301863136</c:v>
                </c:pt>
                <c:pt idx="7882">
                  <c:v>4.3025892268431774</c:v>
                </c:pt>
                <c:pt idx="7883">
                  <c:v>6.0792011422963057</c:v>
                </c:pt>
                <c:pt idx="7884">
                  <c:v>4.9267250537889158</c:v>
                </c:pt>
                <c:pt idx="7885">
                  <c:v>6.046229748999127</c:v>
                </c:pt>
                <c:pt idx="7886">
                  <c:v>4.8522047802192336</c:v>
                </c:pt>
                <c:pt idx="7887">
                  <c:v>5.931988743212675</c:v>
                </c:pt>
                <c:pt idx="7888">
                  <c:v>6.0525668052441128</c:v>
                </c:pt>
                <c:pt idx="7889">
                  <c:v>6.1641192784839998</c:v>
                </c:pt>
                <c:pt idx="7890">
                  <c:v>5.0668354728955398</c:v>
                </c:pt>
                <c:pt idx="7891">
                  <c:v>4.82255501078187</c:v>
                </c:pt>
                <c:pt idx="7892">
                  <c:v>5.9196802040371548</c:v>
                </c:pt>
                <c:pt idx="7893">
                  <c:v>6.9997622155394659</c:v>
                </c:pt>
                <c:pt idx="7894">
                  <c:v>6.0920121772449445</c:v>
                </c:pt>
                <c:pt idx="7895">
                  <c:v>6.1578136188712183</c:v>
                </c:pt>
                <c:pt idx="7896">
                  <c:v>4.8239476505692416</c:v>
                </c:pt>
                <c:pt idx="7897">
                  <c:v>6.2010051872697307</c:v>
                </c:pt>
                <c:pt idx="7898">
                  <c:v>5.0307604834223643</c:v>
                </c:pt>
                <c:pt idx="7899">
                  <c:v>5.9122386557064877</c:v>
                </c:pt>
                <c:pt idx="7900">
                  <c:v>5.9240212093870275</c:v>
                </c:pt>
                <c:pt idx="7901">
                  <c:v>6.1219165239397366</c:v>
                </c:pt>
                <c:pt idx="7902">
                  <c:v>4.9253642739561556</c:v>
                </c:pt>
                <c:pt idx="7903">
                  <c:v>6.0561085044643583</c:v>
                </c:pt>
                <c:pt idx="7904">
                  <c:v>5.1839217575013086</c:v>
                </c:pt>
                <c:pt idx="7905">
                  <c:v>5.9353125938197646</c:v>
                </c:pt>
                <c:pt idx="7906">
                  <c:v>5.8908894693835911</c:v>
                </c:pt>
                <c:pt idx="7907">
                  <c:v>5.8658826338157786</c:v>
                </c:pt>
                <c:pt idx="7908">
                  <c:v>5.9141595836505996</c:v>
                </c:pt>
                <c:pt idx="7909">
                  <c:v>5.0514275707983707</c:v>
                </c:pt>
                <c:pt idx="7910">
                  <c:v>4.7526147056469341</c:v>
                </c:pt>
                <c:pt idx="7911">
                  <c:v>5.0930196939406391</c:v>
                </c:pt>
                <c:pt idx="7912">
                  <c:v>5.0972533707469578</c:v>
                </c:pt>
                <c:pt idx="7913">
                  <c:v>6.0305641211513308</c:v>
                </c:pt>
                <c:pt idx="7914">
                  <c:v>6.0084712967257241</c:v>
                </c:pt>
                <c:pt idx="7915">
                  <c:v>6.0954197614983539</c:v>
                </c:pt>
                <c:pt idx="7916">
                  <c:v>4.9236710711547804</c:v>
                </c:pt>
                <c:pt idx="7917">
                  <c:v>5.1262994990666009</c:v>
                </c:pt>
                <c:pt idx="7918">
                  <c:v>5.984417692461018</c:v>
                </c:pt>
                <c:pt idx="7919">
                  <c:v>6.009866205307862</c:v>
                </c:pt>
                <c:pt idx="7920">
                  <c:v>6.0678361988988296</c:v>
                </c:pt>
                <c:pt idx="7921">
                  <c:v>5.9948440024179606</c:v>
                </c:pt>
                <c:pt idx="7922">
                  <c:v>6.002667132740247</c:v>
                </c:pt>
                <c:pt idx="7923">
                  <c:v>5.0235236937576762</c:v>
                </c:pt>
                <c:pt idx="7924">
                  <c:v>5.9465567859366546</c:v>
                </c:pt>
                <c:pt idx="7925">
                  <c:v>5.1001798209270346</c:v>
                </c:pt>
                <c:pt idx="7926">
                  <c:v>5.8541835300262415</c:v>
                </c:pt>
                <c:pt idx="7927">
                  <c:v>6.0279416119347911</c:v>
                </c:pt>
                <c:pt idx="7928">
                  <c:v>5.9296745270702944</c:v>
                </c:pt>
                <c:pt idx="7929">
                  <c:v>5.8901513896809838</c:v>
                </c:pt>
                <c:pt idx="7930">
                  <c:v>4.994591818501088</c:v>
                </c:pt>
                <c:pt idx="7931">
                  <c:v>5.0868617348172318</c:v>
                </c:pt>
                <c:pt idx="7932">
                  <c:v>5.9786987748692884</c:v>
                </c:pt>
                <c:pt idx="7933">
                  <c:v>5.021526870870165</c:v>
                </c:pt>
                <c:pt idx="7934">
                  <c:v>6.0336358970588568</c:v>
                </c:pt>
                <c:pt idx="7935">
                  <c:v>5.8905031478424217</c:v>
                </c:pt>
                <c:pt idx="7936">
                  <c:v>5.0721383351487068</c:v>
                </c:pt>
                <c:pt idx="7937">
                  <c:v>5.9664763844255386</c:v>
                </c:pt>
                <c:pt idx="7938">
                  <c:v>5.1211768335781551</c:v>
                </c:pt>
                <c:pt idx="7939">
                  <c:v>5.8259894686571077</c:v>
                </c:pt>
                <c:pt idx="7940">
                  <c:v>3.9917334237292441</c:v>
                </c:pt>
                <c:pt idx="7941">
                  <c:v>7.0483358839324239</c:v>
                </c:pt>
                <c:pt idx="7942">
                  <c:v>5.8656890086288147</c:v>
                </c:pt>
                <c:pt idx="7943">
                  <c:v>5.9375951932068789</c:v>
                </c:pt>
                <c:pt idx="7944">
                  <c:v>4.9824617394696213</c:v>
                </c:pt>
                <c:pt idx="7945">
                  <c:v>6.1733865199471758</c:v>
                </c:pt>
                <c:pt idx="7946">
                  <c:v>4.9934238778666842</c:v>
                </c:pt>
                <c:pt idx="7947">
                  <c:v>6.086120663145107</c:v>
                </c:pt>
                <c:pt idx="7948">
                  <c:v>5.8956445426312349</c:v>
                </c:pt>
                <c:pt idx="7949">
                  <c:v>5.0815225312706032</c:v>
                </c:pt>
                <c:pt idx="7950">
                  <c:v>4.8751372687247807</c:v>
                </c:pt>
                <c:pt idx="7951">
                  <c:v>6.1220457340021204</c:v>
                </c:pt>
                <c:pt idx="7952">
                  <c:v>4.9294038025915352</c:v>
                </c:pt>
                <c:pt idx="7953">
                  <c:v>5.1244096518005566</c:v>
                </c:pt>
                <c:pt idx="7954">
                  <c:v>5.9968579264865705</c:v>
                </c:pt>
                <c:pt idx="7955">
                  <c:v>6.0846849777218548</c:v>
                </c:pt>
                <c:pt idx="7956">
                  <c:v>5.9393444613072548</c:v>
                </c:pt>
                <c:pt idx="7957">
                  <c:v>5.9046493601658696</c:v>
                </c:pt>
                <c:pt idx="7958">
                  <c:v>5.9898027667718328</c:v>
                </c:pt>
                <c:pt idx="7959">
                  <c:v>6.055856930172415</c:v>
                </c:pt>
                <c:pt idx="7960">
                  <c:v>5.9956939484517546</c:v>
                </c:pt>
                <c:pt idx="7961">
                  <c:v>6.066821159055177</c:v>
                </c:pt>
                <c:pt idx="7962">
                  <c:v>5.0829316774933551</c:v>
                </c:pt>
                <c:pt idx="7963">
                  <c:v>5.9356556622815333</c:v>
                </c:pt>
                <c:pt idx="7964">
                  <c:v>4.9246902618746295</c:v>
                </c:pt>
                <c:pt idx="7965">
                  <c:v>5.8881295358624941</c:v>
                </c:pt>
                <c:pt idx="7966">
                  <c:v>5.9200455075118645</c:v>
                </c:pt>
                <c:pt idx="7967">
                  <c:v>5.8452011647928614</c:v>
                </c:pt>
                <c:pt idx="7968">
                  <c:v>6.021930646150917</c:v>
                </c:pt>
                <c:pt idx="7969">
                  <c:v>5.0233710389508754</c:v>
                </c:pt>
                <c:pt idx="7970">
                  <c:v>5.0225014407359136</c:v>
                </c:pt>
                <c:pt idx="7971">
                  <c:v>4.8868859567002927</c:v>
                </c:pt>
                <c:pt idx="7972">
                  <c:v>5.0235708758732098</c:v>
                </c:pt>
                <c:pt idx="7973">
                  <c:v>4.9718081304605084</c:v>
                </c:pt>
                <c:pt idx="7974">
                  <c:v>6.0016820866808338</c:v>
                </c:pt>
                <c:pt idx="7975">
                  <c:v>5.8061418420198265</c:v>
                </c:pt>
                <c:pt idx="7976">
                  <c:v>5.017812658895501</c:v>
                </c:pt>
                <c:pt idx="7977">
                  <c:v>6.0197395707629031</c:v>
                </c:pt>
                <c:pt idx="7978">
                  <c:v>5.8137140871631825</c:v>
                </c:pt>
                <c:pt idx="7979">
                  <c:v>5.0570378265327509</c:v>
                </c:pt>
                <c:pt idx="7980">
                  <c:v>4.8970479437452896</c:v>
                </c:pt>
                <c:pt idx="7981">
                  <c:v>4.9382452563340795</c:v>
                </c:pt>
                <c:pt idx="7982">
                  <c:v>4.9061342007580153</c:v>
                </c:pt>
                <c:pt idx="7983">
                  <c:v>4.9099168389694583</c:v>
                </c:pt>
                <c:pt idx="7984">
                  <c:v>5.9532334360248731</c:v>
                </c:pt>
                <c:pt idx="7985">
                  <c:v>6.0351679973722376</c:v>
                </c:pt>
                <c:pt idx="7986">
                  <c:v>6.0114420407913105</c:v>
                </c:pt>
                <c:pt idx="7987">
                  <c:v>5.862964588296002</c:v>
                </c:pt>
                <c:pt idx="7988">
                  <c:v>5.1579531002086991</c:v>
                </c:pt>
                <c:pt idx="7989">
                  <c:v>6.8696869870450685</c:v>
                </c:pt>
                <c:pt idx="7990">
                  <c:v>6.0323187624523333</c:v>
                </c:pt>
                <c:pt idx="7991">
                  <c:v>4.9705162384714887</c:v>
                </c:pt>
                <c:pt idx="7992">
                  <c:v>5.1080290167979507</c:v>
                </c:pt>
                <c:pt idx="7993">
                  <c:v>6.0125484162848304</c:v>
                </c:pt>
                <c:pt idx="7994">
                  <c:v>5.9920175289599573</c:v>
                </c:pt>
                <c:pt idx="7995">
                  <c:v>4.961480067409819</c:v>
                </c:pt>
                <c:pt idx="7996">
                  <c:v>4.7516068699934983</c:v>
                </c:pt>
                <c:pt idx="7997">
                  <c:v>5.0346298374668503</c:v>
                </c:pt>
                <c:pt idx="7998">
                  <c:v>4.7800294441976776</c:v>
                </c:pt>
                <c:pt idx="7999">
                  <c:v>5.024756249230844</c:v>
                </c:pt>
                <c:pt idx="8000">
                  <c:v>6.1316276751035748</c:v>
                </c:pt>
                <c:pt idx="8001">
                  <c:v>6.1268966424937146</c:v>
                </c:pt>
                <c:pt idx="8002">
                  <c:v>6.0078557544548117</c:v>
                </c:pt>
                <c:pt idx="8003">
                  <c:v>5.9652726944625138</c:v>
                </c:pt>
                <c:pt idx="8004">
                  <c:v>5.9651469522149601</c:v>
                </c:pt>
                <c:pt idx="8005">
                  <c:v>6.1002362830672308</c:v>
                </c:pt>
                <c:pt idx="8006">
                  <c:v>4.9769249589397022</c:v>
                </c:pt>
                <c:pt idx="8007">
                  <c:v>5.1848074867902403</c:v>
                </c:pt>
                <c:pt idx="8008">
                  <c:v>4.8501860619148376</c:v>
                </c:pt>
                <c:pt idx="8009">
                  <c:v>6.0850449181532253</c:v>
                </c:pt>
                <c:pt idx="8010">
                  <c:v>5.8354167816580365</c:v>
                </c:pt>
                <c:pt idx="8011">
                  <c:v>5.7632133302665798</c:v>
                </c:pt>
                <c:pt idx="8012">
                  <c:v>7.0039449396856348</c:v>
                </c:pt>
                <c:pt idx="8013">
                  <c:v>6.084332069437103</c:v>
                </c:pt>
                <c:pt idx="8014">
                  <c:v>5.103079844865146</c:v>
                </c:pt>
                <c:pt idx="8015">
                  <c:v>5.0584267144275152</c:v>
                </c:pt>
                <c:pt idx="8016">
                  <c:v>5.9692234350089697</c:v>
                </c:pt>
                <c:pt idx="8017">
                  <c:v>6.0716418965534151</c:v>
                </c:pt>
                <c:pt idx="8018">
                  <c:v>6.1083118590034067</c:v>
                </c:pt>
                <c:pt idx="8019">
                  <c:v>4.8828580073796299</c:v>
                </c:pt>
                <c:pt idx="8020">
                  <c:v>6.0646372463743283</c:v>
                </c:pt>
                <c:pt idx="8021">
                  <c:v>4.8413885241858736</c:v>
                </c:pt>
                <c:pt idx="8022">
                  <c:v>5.0843819039669986</c:v>
                </c:pt>
                <c:pt idx="8023">
                  <c:v>6.911538352173614</c:v>
                </c:pt>
                <c:pt idx="8024">
                  <c:v>6.0559805385839445</c:v>
                </c:pt>
                <c:pt idx="8025">
                  <c:v>5.091388213873687</c:v>
                </c:pt>
                <c:pt idx="8026">
                  <c:v>4.9864954751274322</c:v>
                </c:pt>
                <c:pt idx="8027">
                  <c:v>4.8562324768585974</c:v>
                </c:pt>
                <c:pt idx="8028">
                  <c:v>5.981932531698603</c:v>
                </c:pt>
                <c:pt idx="8029">
                  <c:v>5.7625797394375802</c:v>
                </c:pt>
                <c:pt idx="8030">
                  <c:v>6.056845064679365</c:v>
                </c:pt>
                <c:pt idx="8031">
                  <c:v>5.0874121237491217</c:v>
                </c:pt>
                <c:pt idx="8032">
                  <c:v>6.0551988651474904</c:v>
                </c:pt>
                <c:pt idx="8033">
                  <c:v>5.9390900191893419</c:v>
                </c:pt>
                <c:pt idx="8034">
                  <c:v>5.0698016868831735</c:v>
                </c:pt>
                <c:pt idx="8035">
                  <c:v>5.8731415040170774</c:v>
                </c:pt>
                <c:pt idx="8036">
                  <c:v>6.0805403078172064</c:v>
                </c:pt>
                <c:pt idx="8037">
                  <c:v>4.9802781187714489</c:v>
                </c:pt>
                <c:pt idx="8038">
                  <c:v>6.0736922617109022</c:v>
                </c:pt>
                <c:pt idx="8039">
                  <c:v>5.8981549232038279</c:v>
                </c:pt>
                <c:pt idx="8040">
                  <c:v>5.0662177212583401</c:v>
                </c:pt>
                <c:pt idx="8041">
                  <c:v>5.9006229044531846</c:v>
                </c:pt>
                <c:pt idx="8042">
                  <c:v>4.9476364149060439</c:v>
                </c:pt>
                <c:pt idx="8043">
                  <c:v>5.785019123785462</c:v>
                </c:pt>
                <c:pt idx="8044">
                  <c:v>6.1104813208576827</c:v>
                </c:pt>
                <c:pt idx="8045">
                  <c:v>5.1811687193346927</c:v>
                </c:pt>
                <c:pt idx="8046">
                  <c:v>5.9510789460950502</c:v>
                </c:pt>
                <c:pt idx="8047">
                  <c:v>5.873995963423841</c:v>
                </c:pt>
                <c:pt idx="8048">
                  <c:v>5.9433055650780426</c:v>
                </c:pt>
                <c:pt idx="8049">
                  <c:v>4.9790931170013097</c:v>
                </c:pt>
                <c:pt idx="8050">
                  <c:v>4.9627291955421855</c:v>
                </c:pt>
                <c:pt idx="8051">
                  <c:v>4.9290979969623505</c:v>
                </c:pt>
                <c:pt idx="8052">
                  <c:v>6.1829462956778309</c:v>
                </c:pt>
                <c:pt idx="8053">
                  <c:v>4.9970079259859643</c:v>
                </c:pt>
                <c:pt idx="8054">
                  <c:v>5.1736804121794115</c:v>
                </c:pt>
                <c:pt idx="8055">
                  <c:v>5.1653552512760621</c:v>
                </c:pt>
                <c:pt idx="8056">
                  <c:v>5.0697763168164593</c:v>
                </c:pt>
                <c:pt idx="8057">
                  <c:v>5.9525683683929387</c:v>
                </c:pt>
                <c:pt idx="8058">
                  <c:v>6.8900974337558321</c:v>
                </c:pt>
                <c:pt idx="8059">
                  <c:v>5.9306299168225127</c:v>
                </c:pt>
                <c:pt idx="8060">
                  <c:v>6.0526223510515109</c:v>
                </c:pt>
                <c:pt idx="8061">
                  <c:v>5.0174303364502268</c:v>
                </c:pt>
                <c:pt idx="8062">
                  <c:v>5.0440988715577628</c:v>
                </c:pt>
                <c:pt idx="8063">
                  <c:v>6.0561735986028076</c:v>
                </c:pt>
                <c:pt idx="8064">
                  <c:v>4.8686501780878499</c:v>
                </c:pt>
                <c:pt idx="8065">
                  <c:v>4.9210230170246323</c:v>
                </c:pt>
                <c:pt idx="8066">
                  <c:v>5.0262890985785553</c:v>
                </c:pt>
                <c:pt idx="8067">
                  <c:v>6.0231903296519489</c:v>
                </c:pt>
                <c:pt idx="8068">
                  <c:v>4.9869320468067855</c:v>
                </c:pt>
                <c:pt idx="8069">
                  <c:v>5.943971605678338</c:v>
                </c:pt>
                <c:pt idx="8070">
                  <c:v>5.0277701680220721</c:v>
                </c:pt>
                <c:pt idx="8071">
                  <c:v>4.7482727571163865</c:v>
                </c:pt>
                <c:pt idx="8072">
                  <c:v>5.7929895867802008</c:v>
                </c:pt>
                <c:pt idx="8073">
                  <c:v>5.0366173458810257</c:v>
                </c:pt>
                <c:pt idx="8074">
                  <c:v>4.9879780130788332</c:v>
                </c:pt>
                <c:pt idx="8075">
                  <c:v>4.9225597203933047</c:v>
                </c:pt>
                <c:pt idx="8076">
                  <c:v>5.0693232082882007</c:v>
                </c:pt>
                <c:pt idx="8077">
                  <c:v>6.1740943276171745</c:v>
                </c:pt>
                <c:pt idx="8078">
                  <c:v>5.1261202531162562</c:v>
                </c:pt>
                <c:pt idx="8079">
                  <c:v>5.901836035806034</c:v>
                </c:pt>
                <c:pt idx="8080">
                  <c:v>6.0774966254836089</c:v>
                </c:pt>
                <c:pt idx="8081">
                  <c:v>7.0074786639644238</c:v>
                </c:pt>
                <c:pt idx="8082">
                  <c:v>7.0583725781668569</c:v>
                </c:pt>
                <c:pt idx="8083">
                  <c:v>6.169812463768177</c:v>
                </c:pt>
                <c:pt idx="8084">
                  <c:v>6.1004739527649212</c:v>
                </c:pt>
                <c:pt idx="8085">
                  <c:v>6.0120122759066259</c:v>
                </c:pt>
                <c:pt idx="8086">
                  <c:v>6.1080845340961174</c:v>
                </c:pt>
                <c:pt idx="8087">
                  <c:v>6.0753458747503393</c:v>
                </c:pt>
                <c:pt idx="8088">
                  <c:v>5.0471592797503106</c:v>
                </c:pt>
                <c:pt idx="8089">
                  <c:v>4.9485833335980987</c:v>
                </c:pt>
                <c:pt idx="8090">
                  <c:v>6.1456700509337896</c:v>
                </c:pt>
                <c:pt idx="8091">
                  <c:v>5.925162598222478</c:v>
                </c:pt>
                <c:pt idx="8092">
                  <c:v>5.9316546185297101</c:v>
                </c:pt>
                <c:pt idx="8093">
                  <c:v>6.1246443613558803</c:v>
                </c:pt>
                <c:pt idx="8094">
                  <c:v>4.9722992757868631</c:v>
                </c:pt>
                <c:pt idx="8095">
                  <c:v>5.9608353315988598</c:v>
                </c:pt>
                <c:pt idx="8096">
                  <c:v>5.0365366517412395</c:v>
                </c:pt>
                <c:pt idx="8097">
                  <c:v>6.1253411966496216</c:v>
                </c:pt>
                <c:pt idx="8098">
                  <c:v>5.9890675002965006</c:v>
                </c:pt>
                <c:pt idx="8099">
                  <c:v>4.9615628225583102</c:v>
                </c:pt>
                <c:pt idx="8100">
                  <c:v>4.9465637586108366</c:v>
                </c:pt>
                <c:pt idx="8101">
                  <c:v>5.9877696698738587</c:v>
                </c:pt>
                <c:pt idx="8102">
                  <c:v>4.9851130597323419</c:v>
                </c:pt>
                <c:pt idx="8103">
                  <c:v>6.0620584887312523</c:v>
                </c:pt>
                <c:pt idx="8104">
                  <c:v>5.051013576053041</c:v>
                </c:pt>
                <c:pt idx="8105">
                  <c:v>5.7126026906509777</c:v>
                </c:pt>
                <c:pt idx="8106">
                  <c:v>5.0473035426048467</c:v>
                </c:pt>
                <c:pt idx="8107">
                  <c:v>6.9535113071973429</c:v>
                </c:pt>
                <c:pt idx="8108">
                  <c:v>5.9995186564980854</c:v>
                </c:pt>
                <c:pt idx="8109">
                  <c:v>5.1486394820688721</c:v>
                </c:pt>
                <c:pt idx="8110">
                  <c:v>6.004047427206995</c:v>
                </c:pt>
                <c:pt idx="8111">
                  <c:v>6.138553871564012</c:v>
                </c:pt>
                <c:pt idx="8112">
                  <c:v>6.0289678916492031</c:v>
                </c:pt>
                <c:pt idx="8113">
                  <c:v>4.9288858408629643</c:v>
                </c:pt>
                <c:pt idx="8114">
                  <c:v>6.0855949328983225</c:v>
                </c:pt>
                <c:pt idx="8115">
                  <c:v>6.1485486165247742</c:v>
                </c:pt>
                <c:pt idx="8116">
                  <c:v>6.0264656834752728</c:v>
                </c:pt>
                <c:pt idx="8117">
                  <c:v>6.0393311458646552</c:v>
                </c:pt>
                <c:pt idx="8118">
                  <c:v>5.8392683459424273</c:v>
                </c:pt>
                <c:pt idx="8119">
                  <c:v>4.9894650299025329</c:v>
                </c:pt>
                <c:pt idx="8120">
                  <c:v>6.1845316694779253</c:v>
                </c:pt>
                <c:pt idx="8121">
                  <c:v>6.014181155220359</c:v>
                </c:pt>
                <c:pt idx="8122">
                  <c:v>5.9595810692921987</c:v>
                </c:pt>
                <c:pt idx="8123">
                  <c:v>6.0508560676038146</c:v>
                </c:pt>
                <c:pt idx="8124">
                  <c:v>4.895732420216957</c:v>
                </c:pt>
                <c:pt idx="8125">
                  <c:v>5.9485453219604487</c:v>
                </c:pt>
                <c:pt idx="8126">
                  <c:v>4.9438978128928657</c:v>
                </c:pt>
                <c:pt idx="8127">
                  <c:v>5.9921581484006454</c:v>
                </c:pt>
                <c:pt idx="8128">
                  <c:v>5.8881775272504653</c:v>
                </c:pt>
                <c:pt idx="8129">
                  <c:v>5.7565987517722279</c:v>
                </c:pt>
                <c:pt idx="8130">
                  <c:v>5.9687435914089386</c:v>
                </c:pt>
                <c:pt idx="8131">
                  <c:v>6.0718310053774518</c:v>
                </c:pt>
                <c:pt idx="8132">
                  <c:v>6.1280884696196347</c:v>
                </c:pt>
                <c:pt idx="8133">
                  <c:v>6.1263775885283565</c:v>
                </c:pt>
                <c:pt idx="8134">
                  <c:v>6.0703187879096872</c:v>
                </c:pt>
                <c:pt idx="8135">
                  <c:v>6.1093937425442348</c:v>
                </c:pt>
                <c:pt idx="8136">
                  <c:v>6.9956888426024015</c:v>
                </c:pt>
                <c:pt idx="8137">
                  <c:v>4.9430146136187716</c:v>
                </c:pt>
                <c:pt idx="8138">
                  <c:v>5.9198378514994099</c:v>
                </c:pt>
                <c:pt idx="8139">
                  <c:v>4.8348883280200896</c:v>
                </c:pt>
                <c:pt idx="8140">
                  <c:v>4.9186771936798532</c:v>
                </c:pt>
                <c:pt idx="8141">
                  <c:v>5.9067330835475831</c:v>
                </c:pt>
                <c:pt idx="8142">
                  <c:v>5.9049656070770986</c:v>
                </c:pt>
                <c:pt idx="8143">
                  <c:v>6.106505499174844</c:v>
                </c:pt>
                <c:pt idx="8144">
                  <c:v>6.0992517848939922</c:v>
                </c:pt>
                <c:pt idx="8145">
                  <c:v>6.0061718248136833</c:v>
                </c:pt>
                <c:pt idx="8146">
                  <c:v>5.9786157391724197</c:v>
                </c:pt>
                <c:pt idx="8147">
                  <c:v>5.9906645249681132</c:v>
                </c:pt>
                <c:pt idx="8148">
                  <c:v>5.0460826980643931</c:v>
                </c:pt>
                <c:pt idx="8149">
                  <c:v>6.0829030847923917</c:v>
                </c:pt>
                <c:pt idx="8150">
                  <c:v>5.0006710585377512</c:v>
                </c:pt>
                <c:pt idx="8151">
                  <c:v>4.8269524801647874</c:v>
                </c:pt>
                <c:pt idx="8152">
                  <c:v>6.0321329107615291</c:v>
                </c:pt>
                <c:pt idx="8153">
                  <c:v>5.7547946016476033</c:v>
                </c:pt>
                <c:pt idx="8154">
                  <c:v>5.9598777331451753</c:v>
                </c:pt>
                <c:pt idx="8155">
                  <c:v>6.0083822047915083</c:v>
                </c:pt>
                <c:pt idx="8156">
                  <c:v>5.910227215066044</c:v>
                </c:pt>
                <c:pt idx="8157">
                  <c:v>6.0454450471810981</c:v>
                </c:pt>
                <c:pt idx="8158">
                  <c:v>5.9603582364644749</c:v>
                </c:pt>
                <c:pt idx="8159">
                  <c:v>5.0569843804955763</c:v>
                </c:pt>
                <c:pt idx="8160">
                  <c:v>5.9530248636761849</c:v>
                </c:pt>
                <c:pt idx="8161">
                  <c:v>5.9720746868879102</c:v>
                </c:pt>
                <c:pt idx="8162">
                  <c:v>5.8698050804659259</c:v>
                </c:pt>
                <c:pt idx="8163">
                  <c:v>6.0597227678078989</c:v>
                </c:pt>
                <c:pt idx="8164">
                  <c:v>5.8153738915140876</c:v>
                </c:pt>
                <c:pt idx="8165">
                  <c:v>4.9397735425159697</c:v>
                </c:pt>
                <c:pt idx="8166">
                  <c:v>4.8878707166319018</c:v>
                </c:pt>
                <c:pt idx="8167">
                  <c:v>6.2405933162851728</c:v>
                </c:pt>
                <c:pt idx="8168">
                  <c:v>5.9981596022624011</c:v>
                </c:pt>
                <c:pt idx="8169">
                  <c:v>4.8685066696453614</c:v>
                </c:pt>
                <c:pt idx="8170">
                  <c:v>6.0942565976855088</c:v>
                </c:pt>
                <c:pt idx="8171">
                  <c:v>5.8792153205149038</c:v>
                </c:pt>
                <c:pt idx="8172">
                  <c:v>4.9146353842264476</c:v>
                </c:pt>
                <c:pt idx="8173">
                  <c:v>5.9448421448270805</c:v>
                </c:pt>
                <c:pt idx="8174">
                  <c:v>5.8030432408994015</c:v>
                </c:pt>
                <c:pt idx="8175">
                  <c:v>5.032682683394512</c:v>
                </c:pt>
                <c:pt idx="8176">
                  <c:v>5.9124389741512688</c:v>
                </c:pt>
                <c:pt idx="8177">
                  <c:v>5.9391811530197938</c:v>
                </c:pt>
                <c:pt idx="8178">
                  <c:v>5.0860693967635848</c:v>
                </c:pt>
                <c:pt idx="8179">
                  <c:v>6.0398992304898655</c:v>
                </c:pt>
                <c:pt idx="8180">
                  <c:v>4.904608129289473</c:v>
                </c:pt>
                <c:pt idx="8181">
                  <c:v>4.764256673428318</c:v>
                </c:pt>
                <c:pt idx="8182">
                  <c:v>5.9100961959753597</c:v>
                </c:pt>
                <c:pt idx="8183">
                  <c:v>5.1220194517134949</c:v>
                </c:pt>
                <c:pt idx="8184">
                  <c:v>4.9909965544247381</c:v>
                </c:pt>
                <c:pt idx="8185">
                  <c:v>4.9295633798305065</c:v>
                </c:pt>
                <c:pt idx="8186">
                  <c:v>4.9907820531071216</c:v>
                </c:pt>
                <c:pt idx="8187">
                  <c:v>6.0325880747518177</c:v>
                </c:pt>
                <c:pt idx="8188">
                  <c:v>7.2179486944092215</c:v>
                </c:pt>
                <c:pt idx="8189">
                  <c:v>4.9740249075810459</c:v>
                </c:pt>
                <c:pt idx="8190">
                  <c:v>4.9662682628268273</c:v>
                </c:pt>
                <c:pt idx="8191">
                  <c:v>6.0098869349748911</c:v>
                </c:pt>
                <c:pt idx="8192">
                  <c:v>4.9865627725461943</c:v>
                </c:pt>
                <c:pt idx="8193">
                  <c:v>6.0467166554666933</c:v>
                </c:pt>
                <c:pt idx="8194">
                  <c:v>5.8968680098165107</c:v>
                </c:pt>
                <c:pt idx="8195">
                  <c:v>5.040402956007517</c:v>
                </c:pt>
                <c:pt idx="8196">
                  <c:v>6.0192905753027039</c:v>
                </c:pt>
                <c:pt idx="8197">
                  <c:v>5.097263537664479</c:v>
                </c:pt>
                <c:pt idx="8198">
                  <c:v>6.0690630351618378</c:v>
                </c:pt>
                <c:pt idx="8199">
                  <c:v>5.9812481415622161</c:v>
                </c:pt>
                <c:pt idx="8200">
                  <c:v>5.0781770557585011</c:v>
                </c:pt>
                <c:pt idx="8201">
                  <c:v>5.0495737649288062</c:v>
                </c:pt>
                <c:pt idx="8202">
                  <c:v>4.9907449616405017</c:v>
                </c:pt>
                <c:pt idx="8203">
                  <c:v>5.1507110521358399</c:v>
                </c:pt>
                <c:pt idx="8204">
                  <c:v>6.054537375681349</c:v>
                </c:pt>
                <c:pt idx="8205">
                  <c:v>5.9476702267007298</c:v>
                </c:pt>
                <c:pt idx="8206">
                  <c:v>5.100329931350597</c:v>
                </c:pt>
                <c:pt idx="8207">
                  <c:v>6.2328641441076353</c:v>
                </c:pt>
                <c:pt idx="8208">
                  <c:v>6.1263379078968789</c:v>
                </c:pt>
                <c:pt idx="8209">
                  <c:v>6.094725728786889</c:v>
                </c:pt>
                <c:pt idx="8210">
                  <c:v>6.0360472190682586</c:v>
                </c:pt>
                <c:pt idx="8211">
                  <c:v>5.0157754672527686</c:v>
                </c:pt>
                <c:pt idx="8212">
                  <c:v>5.9463681327948015</c:v>
                </c:pt>
                <c:pt idx="8213">
                  <c:v>6.1156956673155527</c:v>
                </c:pt>
                <c:pt idx="8214">
                  <c:v>5.1944726725525836</c:v>
                </c:pt>
                <c:pt idx="8215">
                  <c:v>5.0790797571933295</c:v>
                </c:pt>
                <c:pt idx="8216">
                  <c:v>4.9293368945884648</c:v>
                </c:pt>
                <c:pt idx="8217">
                  <c:v>5.9311707622414858</c:v>
                </c:pt>
                <c:pt idx="8218">
                  <c:v>5.0188787923512894</c:v>
                </c:pt>
                <c:pt idx="8219">
                  <c:v>6.0461678928232114</c:v>
                </c:pt>
                <c:pt idx="8220">
                  <c:v>5.9901284844169727</c:v>
                </c:pt>
                <c:pt idx="8221">
                  <c:v>4.9284237696646835</c:v>
                </c:pt>
                <c:pt idx="8222">
                  <c:v>6.0946572272494857</c:v>
                </c:pt>
                <c:pt idx="8223">
                  <c:v>6.0483821877249273</c:v>
                </c:pt>
                <c:pt idx="8224">
                  <c:v>5.9851741826499669</c:v>
                </c:pt>
                <c:pt idx="8225">
                  <c:v>5.9165015326469836</c:v>
                </c:pt>
                <c:pt idx="8226">
                  <c:v>6.0842123598315778</c:v>
                </c:pt>
                <c:pt idx="8227">
                  <c:v>6.0430405886248142</c:v>
                </c:pt>
                <c:pt idx="8228">
                  <c:v>4.911026440026629</c:v>
                </c:pt>
                <c:pt idx="8229">
                  <c:v>5.958895627314539</c:v>
                </c:pt>
                <c:pt idx="8230">
                  <c:v>5.1864645820328432</c:v>
                </c:pt>
                <c:pt idx="8231">
                  <c:v>6.0034487497914242</c:v>
                </c:pt>
                <c:pt idx="8232">
                  <c:v>6.0631553408018233</c:v>
                </c:pt>
                <c:pt idx="8233">
                  <c:v>5.8628831277313846</c:v>
                </c:pt>
                <c:pt idx="8234">
                  <c:v>5.0634113707084918</c:v>
                </c:pt>
                <c:pt idx="8235">
                  <c:v>5.0310102038034374</c:v>
                </c:pt>
                <c:pt idx="8236">
                  <c:v>6.1918128142829723</c:v>
                </c:pt>
                <c:pt idx="8237">
                  <c:v>4.8917310659648106</c:v>
                </c:pt>
                <c:pt idx="8238">
                  <c:v>6.0480474972863894</c:v>
                </c:pt>
                <c:pt idx="8239">
                  <c:v>5.946405341835467</c:v>
                </c:pt>
                <c:pt idx="8240">
                  <c:v>5.876500525274535</c:v>
                </c:pt>
                <c:pt idx="8241">
                  <c:v>5.9201680616259686</c:v>
                </c:pt>
                <c:pt idx="8242">
                  <c:v>5.0488812257157107</c:v>
                </c:pt>
                <c:pt idx="8243">
                  <c:v>4.7266201043418139</c:v>
                </c:pt>
                <c:pt idx="8244">
                  <c:v>5.8111155664205008</c:v>
                </c:pt>
                <c:pt idx="8245">
                  <c:v>4.1482514212975055</c:v>
                </c:pt>
                <c:pt idx="8246">
                  <c:v>4.0122261433336641</c:v>
                </c:pt>
                <c:pt idx="8247">
                  <c:v>6.003148236492355</c:v>
                </c:pt>
                <c:pt idx="8248">
                  <c:v>5.9691457972555533</c:v>
                </c:pt>
                <c:pt idx="8249">
                  <c:v>5.0501641303270093</c:v>
                </c:pt>
                <c:pt idx="8250">
                  <c:v>5.9520158963642986</c:v>
                </c:pt>
                <c:pt idx="8251">
                  <c:v>5.1849790241906062</c:v>
                </c:pt>
                <c:pt idx="8252">
                  <c:v>5.0115783071063618</c:v>
                </c:pt>
                <c:pt idx="8253">
                  <c:v>5.8678694281858039</c:v>
                </c:pt>
                <c:pt idx="8254">
                  <c:v>5.8720064276839814</c:v>
                </c:pt>
                <c:pt idx="8255">
                  <c:v>5.2137908156677826</c:v>
                </c:pt>
                <c:pt idx="8256">
                  <c:v>5.0350829384199942</c:v>
                </c:pt>
                <c:pt idx="8257">
                  <c:v>5.8636652601549653</c:v>
                </c:pt>
                <c:pt idx="8258">
                  <c:v>5.818695341745574</c:v>
                </c:pt>
                <c:pt idx="8259">
                  <c:v>4.9033782786807736</c:v>
                </c:pt>
                <c:pt idx="8260">
                  <c:v>4.0393971943777967</c:v>
                </c:pt>
                <c:pt idx="8261">
                  <c:v>6.0644225132040379</c:v>
                </c:pt>
                <c:pt idx="8262">
                  <c:v>6.1438933647748222</c:v>
                </c:pt>
                <c:pt idx="8263">
                  <c:v>6.0463823725751267</c:v>
                </c:pt>
                <c:pt idx="8264">
                  <c:v>5.8830659571901966</c:v>
                </c:pt>
                <c:pt idx="8265">
                  <c:v>5.8410328924676325</c:v>
                </c:pt>
                <c:pt idx="8266">
                  <c:v>5.96130281973526</c:v>
                </c:pt>
                <c:pt idx="8267">
                  <c:v>5.0415619082817633</c:v>
                </c:pt>
                <c:pt idx="8268">
                  <c:v>6.0494498827466971</c:v>
                </c:pt>
                <c:pt idx="8269">
                  <c:v>6.1677685535614559</c:v>
                </c:pt>
                <c:pt idx="8270">
                  <c:v>5.8535702375880794</c:v>
                </c:pt>
                <c:pt idx="8271">
                  <c:v>4.9673988421211019</c:v>
                </c:pt>
                <c:pt idx="8272">
                  <c:v>4.97133233384295</c:v>
                </c:pt>
                <c:pt idx="8273">
                  <c:v>6.1002739073194894</c:v>
                </c:pt>
                <c:pt idx="8274">
                  <c:v>5.0316711268377787</c:v>
                </c:pt>
                <c:pt idx="8275">
                  <c:v>6.1068385069814548</c:v>
                </c:pt>
                <c:pt idx="8276">
                  <c:v>5.9848925757840039</c:v>
                </c:pt>
                <c:pt idx="8277">
                  <c:v>5.0135651355036224</c:v>
                </c:pt>
                <c:pt idx="8278">
                  <c:v>5.024766194592841</c:v>
                </c:pt>
                <c:pt idx="8279">
                  <c:v>5.1050734958804513</c:v>
                </c:pt>
                <c:pt idx="8280">
                  <c:v>5.1609417593945359</c:v>
                </c:pt>
                <c:pt idx="8281">
                  <c:v>6.1166310828816224</c:v>
                </c:pt>
                <c:pt idx="8282">
                  <c:v>4.8626522355762463</c:v>
                </c:pt>
                <c:pt idx="8283">
                  <c:v>5.0715067121670909</c:v>
                </c:pt>
                <c:pt idx="8284">
                  <c:v>5.7789965030666961</c:v>
                </c:pt>
                <c:pt idx="8285">
                  <c:v>5.0989052283168448</c:v>
                </c:pt>
                <c:pt idx="8286">
                  <c:v>4.9170142902864304</c:v>
                </c:pt>
                <c:pt idx="8287">
                  <c:v>4.9577807065437698</c:v>
                </c:pt>
                <c:pt idx="8288">
                  <c:v>5.0242006413757743</c:v>
                </c:pt>
                <c:pt idx="8289">
                  <c:v>6.0213224184235425</c:v>
                </c:pt>
                <c:pt idx="8290">
                  <c:v>4.8825302067582372</c:v>
                </c:pt>
                <c:pt idx="8291">
                  <c:v>5.9030545433257684</c:v>
                </c:pt>
                <c:pt idx="8292">
                  <c:v>6.1234618066004822</c:v>
                </c:pt>
                <c:pt idx="8293">
                  <c:v>5.1799468447858414</c:v>
                </c:pt>
                <c:pt idx="8294">
                  <c:v>5.9844061091931913</c:v>
                </c:pt>
                <c:pt idx="8295">
                  <c:v>5.9582434234595372</c:v>
                </c:pt>
                <c:pt idx="8296">
                  <c:v>6.0015556070329552</c:v>
                </c:pt>
                <c:pt idx="8297">
                  <c:v>5.051658498888445</c:v>
                </c:pt>
                <c:pt idx="8298">
                  <c:v>6.0551983495171227</c:v>
                </c:pt>
                <c:pt idx="8299">
                  <c:v>5.9084901086752044</c:v>
                </c:pt>
                <c:pt idx="8300">
                  <c:v>6.013264889790146</c:v>
                </c:pt>
                <c:pt idx="8301">
                  <c:v>4.9672084245554924</c:v>
                </c:pt>
                <c:pt idx="8302">
                  <c:v>6.105318656117185</c:v>
                </c:pt>
                <c:pt idx="8303">
                  <c:v>4.8299799287929819</c:v>
                </c:pt>
                <c:pt idx="8304">
                  <c:v>5.9539672335043923</c:v>
                </c:pt>
                <c:pt idx="8305">
                  <c:v>5.9407180713997771</c:v>
                </c:pt>
                <c:pt idx="8306">
                  <c:v>5.967362267512474</c:v>
                </c:pt>
                <c:pt idx="8307">
                  <c:v>6.1073168377391482</c:v>
                </c:pt>
                <c:pt idx="8308">
                  <c:v>6.0439293800480671</c:v>
                </c:pt>
                <c:pt idx="8309">
                  <c:v>5.0856822302436955</c:v>
                </c:pt>
                <c:pt idx="8310">
                  <c:v>6.117597844525787</c:v>
                </c:pt>
                <c:pt idx="8311">
                  <c:v>6.0164310011198632</c:v>
                </c:pt>
                <c:pt idx="8312">
                  <c:v>5.8508676929645187</c:v>
                </c:pt>
                <c:pt idx="8313">
                  <c:v>5.8022920076577478</c:v>
                </c:pt>
                <c:pt idx="8314">
                  <c:v>5.931631699864389</c:v>
                </c:pt>
                <c:pt idx="8315">
                  <c:v>5.949405970956259</c:v>
                </c:pt>
                <c:pt idx="8316">
                  <c:v>5.9088711276544839</c:v>
                </c:pt>
                <c:pt idx="8317">
                  <c:v>6.0890816909857994</c:v>
                </c:pt>
                <c:pt idx="8318">
                  <c:v>5.9191895994764208</c:v>
                </c:pt>
                <c:pt idx="8319">
                  <c:v>6.0360569296687689</c:v>
                </c:pt>
                <c:pt idx="8320">
                  <c:v>5.1274816528701637</c:v>
                </c:pt>
                <c:pt idx="8321">
                  <c:v>6.1150311934382913</c:v>
                </c:pt>
                <c:pt idx="8322">
                  <c:v>5.9721212366262506</c:v>
                </c:pt>
                <c:pt idx="8323">
                  <c:v>6.0057748080642686</c:v>
                </c:pt>
                <c:pt idx="8324">
                  <c:v>4.9975830533018764</c:v>
                </c:pt>
                <c:pt idx="8325">
                  <c:v>6.0439514867112818</c:v>
                </c:pt>
                <c:pt idx="8326">
                  <c:v>5.0254827994075741</c:v>
                </c:pt>
                <c:pt idx="8327">
                  <c:v>4.956823509775349</c:v>
                </c:pt>
                <c:pt idx="8328">
                  <c:v>6.0628524548768352</c:v>
                </c:pt>
                <c:pt idx="8329">
                  <c:v>6.0775040631188748</c:v>
                </c:pt>
                <c:pt idx="8330">
                  <c:v>5.9807209211017591</c:v>
                </c:pt>
                <c:pt idx="8331">
                  <c:v>5.9421818775043906</c:v>
                </c:pt>
                <c:pt idx="8332">
                  <c:v>5.0383285633740353</c:v>
                </c:pt>
                <c:pt idx="8333">
                  <c:v>6.0695997423545762</c:v>
                </c:pt>
                <c:pt idx="8334">
                  <c:v>4.8745859031639442</c:v>
                </c:pt>
                <c:pt idx="8335">
                  <c:v>6.0604479351890008</c:v>
                </c:pt>
                <c:pt idx="8336">
                  <c:v>5.9977071601793321</c:v>
                </c:pt>
                <c:pt idx="8337">
                  <c:v>5.9722255779114812</c:v>
                </c:pt>
                <c:pt idx="8338">
                  <c:v>6.9024080080011263</c:v>
                </c:pt>
                <c:pt idx="8339">
                  <c:v>6.9969282137367692</c:v>
                </c:pt>
                <c:pt idx="8340">
                  <c:v>5.0854687191025079</c:v>
                </c:pt>
                <c:pt idx="8341">
                  <c:v>5.0836999098375966</c:v>
                </c:pt>
                <c:pt idx="8342">
                  <c:v>4.969528669710396</c:v>
                </c:pt>
                <c:pt idx="8343">
                  <c:v>6.0352003377394166</c:v>
                </c:pt>
                <c:pt idx="8344">
                  <c:v>6.0824570544468948</c:v>
                </c:pt>
                <c:pt idx="8345">
                  <c:v>5.8829840238564213</c:v>
                </c:pt>
                <c:pt idx="8346">
                  <c:v>4.9574405744097474</c:v>
                </c:pt>
                <c:pt idx="8347">
                  <c:v>5.0755658515817936</c:v>
                </c:pt>
                <c:pt idx="8348">
                  <c:v>4.855259562307503</c:v>
                </c:pt>
                <c:pt idx="8349">
                  <c:v>6.0217987549128207</c:v>
                </c:pt>
                <c:pt idx="8350">
                  <c:v>5.9988297856030526</c:v>
                </c:pt>
                <c:pt idx="8351">
                  <c:v>5.1563048799378297</c:v>
                </c:pt>
                <c:pt idx="8352">
                  <c:v>5.9433938649393978</c:v>
                </c:pt>
                <c:pt idx="8353">
                  <c:v>6.9076510770513284</c:v>
                </c:pt>
                <c:pt idx="8354">
                  <c:v>5.8075171840040998</c:v>
                </c:pt>
                <c:pt idx="8355">
                  <c:v>6.0315544958587406</c:v>
                </c:pt>
                <c:pt idx="8356">
                  <c:v>5.0145011329794205</c:v>
                </c:pt>
                <c:pt idx="8357">
                  <c:v>6.9039166881478806</c:v>
                </c:pt>
                <c:pt idx="8358">
                  <c:v>6.0250203006964869</c:v>
                </c:pt>
                <c:pt idx="8359">
                  <c:v>8.0161164405713379</c:v>
                </c:pt>
                <c:pt idx="8360">
                  <c:v>6.0818031036852167</c:v>
                </c:pt>
                <c:pt idx="8361">
                  <c:v>4.887499664302025</c:v>
                </c:pt>
                <c:pt idx="8362">
                  <c:v>6.9313795523005615</c:v>
                </c:pt>
                <c:pt idx="8363">
                  <c:v>6.0170371838727208</c:v>
                </c:pt>
                <c:pt idx="8364">
                  <c:v>7.0802126012999738</c:v>
                </c:pt>
                <c:pt idx="8365">
                  <c:v>6.9951577281652995</c:v>
                </c:pt>
                <c:pt idx="8366">
                  <c:v>6.071619013429034</c:v>
                </c:pt>
                <c:pt idx="8367">
                  <c:v>4.9997021008144129</c:v>
                </c:pt>
                <c:pt idx="8368">
                  <c:v>4.9358564833773855</c:v>
                </c:pt>
                <c:pt idx="8369">
                  <c:v>5.0085878066907243</c:v>
                </c:pt>
                <c:pt idx="8370">
                  <c:v>6.0573320435501712</c:v>
                </c:pt>
                <c:pt idx="8371">
                  <c:v>7.1684966737004334</c:v>
                </c:pt>
                <c:pt idx="8372">
                  <c:v>5.0361709448734029</c:v>
                </c:pt>
                <c:pt idx="8373">
                  <c:v>4.9571715278883284</c:v>
                </c:pt>
                <c:pt idx="8374">
                  <c:v>5.1010918992442944</c:v>
                </c:pt>
                <c:pt idx="8375">
                  <c:v>6.0700602808607513</c:v>
                </c:pt>
                <c:pt idx="8376">
                  <c:v>4.9655565332498925</c:v>
                </c:pt>
                <c:pt idx="8377">
                  <c:v>6.0193835910008016</c:v>
                </c:pt>
                <c:pt idx="8378">
                  <c:v>5.0684851902165144</c:v>
                </c:pt>
                <c:pt idx="8379">
                  <c:v>4.8966370182114938</c:v>
                </c:pt>
                <c:pt idx="8380">
                  <c:v>6.0697033374230216</c:v>
                </c:pt>
                <c:pt idx="8381">
                  <c:v>5.0883686542445483</c:v>
                </c:pt>
                <c:pt idx="8382">
                  <c:v>6.1399870846551057</c:v>
                </c:pt>
                <c:pt idx="8383">
                  <c:v>6.1251094145456584</c:v>
                </c:pt>
                <c:pt idx="8384">
                  <c:v>4.9048432884000013</c:v>
                </c:pt>
                <c:pt idx="8385">
                  <c:v>4.8555876780388694</c:v>
                </c:pt>
                <c:pt idx="8386">
                  <c:v>4.9647016245847926</c:v>
                </c:pt>
                <c:pt idx="8387">
                  <c:v>5.9248180438453373</c:v>
                </c:pt>
                <c:pt idx="8388">
                  <c:v>6.0888091189287605</c:v>
                </c:pt>
                <c:pt idx="8389">
                  <c:v>5.0133356290977638</c:v>
                </c:pt>
                <c:pt idx="8390">
                  <c:v>6.9417349596007876</c:v>
                </c:pt>
                <c:pt idx="8391">
                  <c:v>4.8515676300715755</c:v>
                </c:pt>
                <c:pt idx="8392">
                  <c:v>5.9272430818461261</c:v>
                </c:pt>
                <c:pt idx="8393">
                  <c:v>6.168473760751513</c:v>
                </c:pt>
                <c:pt idx="8394">
                  <c:v>6.0719374331200013</c:v>
                </c:pt>
                <c:pt idx="8395">
                  <c:v>4.8745712287886676</c:v>
                </c:pt>
                <c:pt idx="8396">
                  <c:v>6.0519987591805231</c:v>
                </c:pt>
                <c:pt idx="8397">
                  <c:v>5.8966476579568363</c:v>
                </c:pt>
                <c:pt idx="8398">
                  <c:v>5.0537601494910449</c:v>
                </c:pt>
                <c:pt idx="8399">
                  <c:v>5.869660044806853</c:v>
                </c:pt>
                <c:pt idx="8400">
                  <c:v>5.0476927604804533</c:v>
                </c:pt>
                <c:pt idx="8401">
                  <c:v>4.8925944082996526</c:v>
                </c:pt>
                <c:pt idx="8402">
                  <c:v>5.0608333113695778</c:v>
                </c:pt>
                <c:pt idx="8403">
                  <c:v>5.0720184712918002</c:v>
                </c:pt>
                <c:pt idx="8404">
                  <c:v>5.135206977691154</c:v>
                </c:pt>
                <c:pt idx="8405">
                  <c:v>4.8679321091712149</c:v>
                </c:pt>
                <c:pt idx="8406">
                  <c:v>5.9523994092156709</c:v>
                </c:pt>
                <c:pt idx="8407">
                  <c:v>6.9399706974514688</c:v>
                </c:pt>
                <c:pt idx="8408">
                  <c:v>4.8810406388235243</c:v>
                </c:pt>
                <c:pt idx="8409">
                  <c:v>4.0835238100977529</c:v>
                </c:pt>
                <c:pt idx="8410">
                  <c:v>6.1266137160839236</c:v>
                </c:pt>
                <c:pt idx="8411">
                  <c:v>4.8689226380245181</c:v>
                </c:pt>
                <c:pt idx="8412">
                  <c:v>5.1828659883277526</c:v>
                </c:pt>
                <c:pt idx="8413">
                  <c:v>6.0145644683084649</c:v>
                </c:pt>
                <c:pt idx="8414">
                  <c:v>4.950551457549258</c:v>
                </c:pt>
                <c:pt idx="8415">
                  <c:v>6.1397933507809963</c:v>
                </c:pt>
                <c:pt idx="8416">
                  <c:v>6.2964407290617856</c:v>
                </c:pt>
                <c:pt idx="8417">
                  <c:v>4.7992066709613272</c:v>
                </c:pt>
                <c:pt idx="8418">
                  <c:v>3.8900535100390088</c:v>
                </c:pt>
                <c:pt idx="8419">
                  <c:v>6.0262754214102596</c:v>
                </c:pt>
                <c:pt idx="8420">
                  <c:v>5.1181390666565934</c:v>
                </c:pt>
                <c:pt idx="8421">
                  <c:v>7.0463807044342603</c:v>
                </c:pt>
                <c:pt idx="8422">
                  <c:v>5.7584213857241373</c:v>
                </c:pt>
                <c:pt idx="8423">
                  <c:v>6.1694250196514204</c:v>
                </c:pt>
                <c:pt idx="8424">
                  <c:v>4.8148200524877822</c:v>
                </c:pt>
                <c:pt idx="8425">
                  <c:v>6.1179431868459977</c:v>
                </c:pt>
                <c:pt idx="8426">
                  <c:v>5.9915284794755772</c:v>
                </c:pt>
                <c:pt idx="8427">
                  <c:v>5.0375538454487296</c:v>
                </c:pt>
                <c:pt idx="8428">
                  <c:v>5.9969964335425425</c:v>
                </c:pt>
                <c:pt idx="8429">
                  <c:v>5.0200375829902484</c:v>
                </c:pt>
                <c:pt idx="8430">
                  <c:v>4.8271393110258751</c:v>
                </c:pt>
                <c:pt idx="8431">
                  <c:v>5.9000294575267445</c:v>
                </c:pt>
                <c:pt idx="8432">
                  <c:v>6.7260455885067945</c:v>
                </c:pt>
                <c:pt idx="8433">
                  <c:v>5.8692210628372976</c:v>
                </c:pt>
                <c:pt idx="8434">
                  <c:v>5.8629277314924177</c:v>
                </c:pt>
                <c:pt idx="8435">
                  <c:v>5.0863783258574067</c:v>
                </c:pt>
                <c:pt idx="8436">
                  <c:v>5.1573212273245135</c:v>
                </c:pt>
                <c:pt idx="8437">
                  <c:v>4.9844936186214701</c:v>
                </c:pt>
                <c:pt idx="8438">
                  <c:v>4.7816578483354952</c:v>
                </c:pt>
                <c:pt idx="8439">
                  <c:v>5.9539730228955516</c:v>
                </c:pt>
                <c:pt idx="8440">
                  <c:v>7.0280855185936204</c:v>
                </c:pt>
                <c:pt idx="8441">
                  <c:v>5.0759769188738488</c:v>
                </c:pt>
                <c:pt idx="8442">
                  <c:v>4.947753908883727</c:v>
                </c:pt>
                <c:pt idx="8443">
                  <c:v>5.9164175743795191</c:v>
                </c:pt>
                <c:pt idx="8444">
                  <c:v>7.199007151072661</c:v>
                </c:pt>
                <c:pt idx="8445">
                  <c:v>6.1028715367883128</c:v>
                </c:pt>
                <c:pt idx="8446">
                  <c:v>4.9955977220519605</c:v>
                </c:pt>
                <c:pt idx="8447">
                  <c:v>5.0222017825431138</c:v>
                </c:pt>
                <c:pt idx="8448">
                  <c:v>4.9746747784339789</c:v>
                </c:pt>
                <c:pt idx="8449">
                  <c:v>6.8755659079461298</c:v>
                </c:pt>
                <c:pt idx="8450">
                  <c:v>4.9794241876066163</c:v>
                </c:pt>
                <c:pt idx="8451">
                  <c:v>4.9478154039826565</c:v>
                </c:pt>
                <c:pt idx="8452">
                  <c:v>6.0380318387086884</c:v>
                </c:pt>
                <c:pt idx="8453">
                  <c:v>5.9862745519037572</c:v>
                </c:pt>
                <c:pt idx="8454">
                  <c:v>4.9972658301704822</c:v>
                </c:pt>
                <c:pt idx="8455">
                  <c:v>7.089927392172056</c:v>
                </c:pt>
                <c:pt idx="8456">
                  <c:v>6.0247190277757534</c:v>
                </c:pt>
                <c:pt idx="8457">
                  <c:v>4.9986548256221939</c:v>
                </c:pt>
                <c:pt idx="8458">
                  <c:v>4.8390491097120689</c:v>
                </c:pt>
                <c:pt idx="8459">
                  <c:v>6.035716122251011</c:v>
                </c:pt>
                <c:pt idx="8460">
                  <c:v>5.0861412904923373</c:v>
                </c:pt>
                <c:pt idx="8461">
                  <c:v>5.9174921500095747</c:v>
                </c:pt>
                <c:pt idx="8462">
                  <c:v>5.9056484856872711</c:v>
                </c:pt>
                <c:pt idx="8463">
                  <c:v>5.0112023051003574</c:v>
                </c:pt>
                <c:pt idx="8464">
                  <c:v>5.9220935369785703</c:v>
                </c:pt>
                <c:pt idx="8465">
                  <c:v>5.9411351653439173</c:v>
                </c:pt>
                <c:pt idx="8466">
                  <c:v>6.0728718591076642</c:v>
                </c:pt>
                <c:pt idx="8467">
                  <c:v>6.0901143526020851</c:v>
                </c:pt>
                <c:pt idx="8468">
                  <c:v>4.99477461420806</c:v>
                </c:pt>
                <c:pt idx="8469">
                  <c:v>6.9704571303990672</c:v>
                </c:pt>
                <c:pt idx="8470">
                  <c:v>4.8916165522427457</c:v>
                </c:pt>
                <c:pt idx="8471">
                  <c:v>5.957532193915867</c:v>
                </c:pt>
                <c:pt idx="8472">
                  <c:v>5.0945851061254164</c:v>
                </c:pt>
                <c:pt idx="8473">
                  <c:v>4.8957330816301399</c:v>
                </c:pt>
                <c:pt idx="8474">
                  <c:v>7.2480247429899567</c:v>
                </c:pt>
                <c:pt idx="8475">
                  <c:v>5.0032820114672205</c:v>
                </c:pt>
                <c:pt idx="8476">
                  <c:v>5.1760114915091036</c:v>
                </c:pt>
                <c:pt idx="8477">
                  <c:v>4.8531420505292697</c:v>
                </c:pt>
                <c:pt idx="8478">
                  <c:v>5.9059235605526563</c:v>
                </c:pt>
                <c:pt idx="8479">
                  <c:v>6.8915612739229202</c:v>
                </c:pt>
                <c:pt idx="8480">
                  <c:v>6.057426405132956</c:v>
                </c:pt>
                <c:pt idx="8481">
                  <c:v>5.9952644698700759</c:v>
                </c:pt>
                <c:pt idx="8482">
                  <c:v>6.0542105534794421</c:v>
                </c:pt>
                <c:pt idx="8483">
                  <c:v>5.0348997772733091</c:v>
                </c:pt>
                <c:pt idx="8484">
                  <c:v>5.0052852567145969</c:v>
                </c:pt>
                <c:pt idx="8485">
                  <c:v>4.955046867032725</c:v>
                </c:pt>
                <c:pt idx="8486">
                  <c:v>5.1044850954708707</c:v>
                </c:pt>
                <c:pt idx="8487">
                  <c:v>7.0354745272928536</c:v>
                </c:pt>
                <c:pt idx="8488">
                  <c:v>4.9882410729916522</c:v>
                </c:pt>
                <c:pt idx="8489">
                  <c:v>6.1301897235737721</c:v>
                </c:pt>
                <c:pt idx="8490">
                  <c:v>6.1321000812719682</c:v>
                </c:pt>
                <c:pt idx="8491">
                  <c:v>7.0631491197493759</c:v>
                </c:pt>
                <c:pt idx="8492">
                  <c:v>5.0071907716956581</c:v>
                </c:pt>
                <c:pt idx="8493">
                  <c:v>6.9550331322446617</c:v>
                </c:pt>
                <c:pt idx="8494">
                  <c:v>5.9509086869235883</c:v>
                </c:pt>
                <c:pt idx="8495">
                  <c:v>6.0276186071042925</c:v>
                </c:pt>
                <c:pt idx="8496">
                  <c:v>4.8626922835793449</c:v>
                </c:pt>
                <c:pt idx="8497">
                  <c:v>4.9196893040611211</c:v>
                </c:pt>
                <c:pt idx="8498">
                  <c:v>5.869682086466713</c:v>
                </c:pt>
                <c:pt idx="8499">
                  <c:v>5.8621610564127682</c:v>
                </c:pt>
                <c:pt idx="8500">
                  <c:v>6.065741953203756</c:v>
                </c:pt>
                <c:pt idx="8501">
                  <c:v>5.0894101952771997</c:v>
                </c:pt>
                <c:pt idx="8502">
                  <c:v>6.0100293631448665</c:v>
                </c:pt>
                <c:pt idx="8503">
                  <c:v>5.9338840230283223</c:v>
                </c:pt>
                <c:pt idx="8504">
                  <c:v>5.9480451451567413</c:v>
                </c:pt>
                <c:pt idx="8505">
                  <c:v>5.0253019955808664</c:v>
                </c:pt>
                <c:pt idx="8506">
                  <c:v>6.0494572754017053</c:v>
                </c:pt>
                <c:pt idx="8507">
                  <c:v>7.1222097946486871</c:v>
                </c:pt>
                <c:pt idx="8508">
                  <c:v>5.9829561160198166</c:v>
                </c:pt>
                <c:pt idx="8509">
                  <c:v>5.1580939563460904</c:v>
                </c:pt>
                <c:pt idx="8510">
                  <c:v>5.9887823372651461</c:v>
                </c:pt>
                <c:pt idx="8511">
                  <c:v>4.8725516509146294</c:v>
                </c:pt>
                <c:pt idx="8512">
                  <c:v>4.9569866934828175</c:v>
                </c:pt>
                <c:pt idx="8513">
                  <c:v>5.1396920501312273</c:v>
                </c:pt>
                <c:pt idx="8514">
                  <c:v>5.7491350238568799</c:v>
                </c:pt>
                <c:pt idx="8515">
                  <c:v>5.8316753543084872</c:v>
                </c:pt>
                <c:pt idx="8516">
                  <c:v>5.0139568398412244</c:v>
                </c:pt>
                <c:pt idx="8517">
                  <c:v>5.9483319156801349</c:v>
                </c:pt>
                <c:pt idx="8518">
                  <c:v>5.0520403027584102</c:v>
                </c:pt>
                <c:pt idx="8519">
                  <c:v>5.9394605026246916</c:v>
                </c:pt>
                <c:pt idx="8520">
                  <c:v>5.8122286082138315</c:v>
                </c:pt>
                <c:pt idx="8521">
                  <c:v>5.1053903529855784</c:v>
                </c:pt>
                <c:pt idx="8522">
                  <c:v>5.88093680910346</c:v>
                </c:pt>
                <c:pt idx="8523">
                  <c:v>5.9436708520492232</c:v>
                </c:pt>
                <c:pt idx="8524">
                  <c:v>5.0166028619299121</c:v>
                </c:pt>
                <c:pt idx="8525">
                  <c:v>6.0750062573110943</c:v>
                </c:pt>
                <c:pt idx="8526">
                  <c:v>6.2196592686157999</c:v>
                </c:pt>
                <c:pt idx="8527">
                  <c:v>4.9125818249519391</c:v>
                </c:pt>
                <c:pt idx="8528">
                  <c:v>5.7757698626418783</c:v>
                </c:pt>
                <c:pt idx="8529">
                  <c:v>6.0608404896367079</c:v>
                </c:pt>
                <c:pt idx="8530">
                  <c:v>4.7927533100535715</c:v>
                </c:pt>
                <c:pt idx="8531">
                  <c:v>5.9031604303762384</c:v>
                </c:pt>
                <c:pt idx="8532">
                  <c:v>5.9574479208324247</c:v>
                </c:pt>
                <c:pt idx="8533">
                  <c:v>6.1574503379014285</c:v>
                </c:pt>
                <c:pt idx="8534">
                  <c:v>6.0606048711841209</c:v>
                </c:pt>
                <c:pt idx="8535">
                  <c:v>4.9533925321028613</c:v>
                </c:pt>
                <c:pt idx="8536">
                  <c:v>6.1022201325218486</c:v>
                </c:pt>
                <c:pt idx="8537">
                  <c:v>5.9449770259181278</c:v>
                </c:pt>
                <c:pt idx="8538">
                  <c:v>5.9560696057632425</c:v>
                </c:pt>
                <c:pt idx="8539">
                  <c:v>6.0123837565117757</c:v>
                </c:pt>
                <c:pt idx="8540">
                  <c:v>6.0404503470295925</c:v>
                </c:pt>
                <c:pt idx="8541">
                  <c:v>5.0311850150327979</c:v>
                </c:pt>
                <c:pt idx="8542">
                  <c:v>4.8491887394080715</c:v>
                </c:pt>
                <c:pt idx="8543">
                  <c:v>4.8641093543547393</c:v>
                </c:pt>
                <c:pt idx="8544">
                  <c:v>5.0680399102313398</c:v>
                </c:pt>
                <c:pt idx="8545">
                  <c:v>5.0205058813279742</c:v>
                </c:pt>
                <c:pt idx="8546">
                  <c:v>5.1412044160518153</c:v>
                </c:pt>
                <c:pt idx="8547">
                  <c:v>6.9891059872612127</c:v>
                </c:pt>
                <c:pt idx="8548">
                  <c:v>4.7801500537714041</c:v>
                </c:pt>
                <c:pt idx="8549">
                  <c:v>5.9210586381306953</c:v>
                </c:pt>
                <c:pt idx="8550">
                  <c:v>4.8638144609490226</c:v>
                </c:pt>
                <c:pt idx="8551">
                  <c:v>6.0002482985687422</c:v>
                </c:pt>
                <c:pt idx="8552">
                  <c:v>4.8210883674399492</c:v>
                </c:pt>
                <c:pt idx="8553">
                  <c:v>5.9901104151713014</c:v>
                </c:pt>
                <c:pt idx="8554">
                  <c:v>5.9613952605016634</c:v>
                </c:pt>
                <c:pt idx="8555">
                  <c:v>5.9388808969937132</c:v>
                </c:pt>
                <c:pt idx="8556">
                  <c:v>6.0982607688891086</c:v>
                </c:pt>
                <c:pt idx="8557">
                  <c:v>5.0449442335643857</c:v>
                </c:pt>
                <c:pt idx="8558">
                  <c:v>6.0180041620698255</c:v>
                </c:pt>
                <c:pt idx="8559">
                  <c:v>6.929556398547299</c:v>
                </c:pt>
                <c:pt idx="8560">
                  <c:v>6.8875017197644999</c:v>
                </c:pt>
                <c:pt idx="8561">
                  <c:v>5.9047900510768034</c:v>
                </c:pt>
                <c:pt idx="8562">
                  <c:v>5.9487223407979677</c:v>
                </c:pt>
                <c:pt idx="8563">
                  <c:v>5.7826124510860231</c:v>
                </c:pt>
                <c:pt idx="8564">
                  <c:v>6.0989019644425948</c:v>
                </c:pt>
                <c:pt idx="8565">
                  <c:v>5.7743466377492929</c:v>
                </c:pt>
                <c:pt idx="8566">
                  <c:v>5.1585015571284378</c:v>
                </c:pt>
                <c:pt idx="8567">
                  <c:v>7.0375009328504845</c:v>
                </c:pt>
                <c:pt idx="8568">
                  <c:v>6.0289355628872823</c:v>
                </c:pt>
                <c:pt idx="8569">
                  <c:v>5.017452815858797</c:v>
                </c:pt>
                <c:pt idx="8570">
                  <c:v>6.9290530411709792</c:v>
                </c:pt>
                <c:pt idx="8571">
                  <c:v>5.8184739555928324</c:v>
                </c:pt>
                <c:pt idx="8572">
                  <c:v>5.9809417238868141</c:v>
                </c:pt>
                <c:pt idx="8573">
                  <c:v>6.992131138200353</c:v>
                </c:pt>
                <c:pt idx="8574">
                  <c:v>6.9407033552503181</c:v>
                </c:pt>
                <c:pt idx="8575">
                  <c:v>4.8624676122513586</c:v>
                </c:pt>
                <c:pt idx="8576">
                  <c:v>5.9378672015740301</c:v>
                </c:pt>
                <c:pt idx="8577">
                  <c:v>4.9511479679543617</c:v>
                </c:pt>
                <c:pt idx="8578">
                  <c:v>5.9286127924321299</c:v>
                </c:pt>
                <c:pt idx="8579">
                  <c:v>5.9710268131083311</c:v>
                </c:pt>
                <c:pt idx="8580">
                  <c:v>6.0184441062303442</c:v>
                </c:pt>
                <c:pt idx="8581">
                  <c:v>4.9185985105511421</c:v>
                </c:pt>
                <c:pt idx="8582">
                  <c:v>5.0014592926313179</c:v>
                </c:pt>
                <c:pt idx="8583">
                  <c:v>5.9964212121604978</c:v>
                </c:pt>
                <c:pt idx="8584">
                  <c:v>5.1077308589513892</c:v>
                </c:pt>
                <c:pt idx="8585">
                  <c:v>4.900700139080798</c:v>
                </c:pt>
                <c:pt idx="8586">
                  <c:v>5.9230946453366222</c:v>
                </c:pt>
                <c:pt idx="8587">
                  <c:v>4.9326291169248186</c:v>
                </c:pt>
                <c:pt idx="8588">
                  <c:v>5.9503585484285137</c:v>
                </c:pt>
                <c:pt idx="8589">
                  <c:v>4.9339476640000699</c:v>
                </c:pt>
                <c:pt idx="8590">
                  <c:v>4.8793195426325209</c:v>
                </c:pt>
                <c:pt idx="8591">
                  <c:v>4.8313362975865504</c:v>
                </c:pt>
                <c:pt idx="8592">
                  <c:v>6.0233387591728356</c:v>
                </c:pt>
                <c:pt idx="8593">
                  <c:v>5.9771513796506435</c:v>
                </c:pt>
                <c:pt idx="8594">
                  <c:v>6.1422134121900349</c:v>
                </c:pt>
                <c:pt idx="8595">
                  <c:v>6.0671391626813991</c:v>
                </c:pt>
                <c:pt idx="8596">
                  <c:v>5.8238988564443597</c:v>
                </c:pt>
                <c:pt idx="8597">
                  <c:v>5.9535872782915407</c:v>
                </c:pt>
                <c:pt idx="8598">
                  <c:v>4.8916242614744094</c:v>
                </c:pt>
                <c:pt idx="8599">
                  <c:v>5.0683839218903897</c:v>
                </c:pt>
                <c:pt idx="8600">
                  <c:v>5.0886610095048415</c:v>
                </c:pt>
                <c:pt idx="8601">
                  <c:v>5.868133008005251</c:v>
                </c:pt>
                <c:pt idx="8602">
                  <c:v>4.8752089656322797</c:v>
                </c:pt>
                <c:pt idx="8603">
                  <c:v>4.9801703881267514</c:v>
                </c:pt>
                <c:pt idx="8604">
                  <c:v>5.047379651504845</c:v>
                </c:pt>
                <c:pt idx="8605">
                  <c:v>5.9541885259007961</c:v>
                </c:pt>
                <c:pt idx="8606">
                  <c:v>6.0847925033940298</c:v>
                </c:pt>
                <c:pt idx="8607">
                  <c:v>6.1556174026480823</c:v>
                </c:pt>
                <c:pt idx="8608">
                  <c:v>5.9962602955619992</c:v>
                </c:pt>
                <c:pt idx="8609">
                  <c:v>4.7409337947665042</c:v>
                </c:pt>
                <c:pt idx="8610">
                  <c:v>5.0173343509421207</c:v>
                </c:pt>
                <c:pt idx="8611">
                  <c:v>5.9509534591893782</c:v>
                </c:pt>
                <c:pt idx="8612">
                  <c:v>6.0307781490331331</c:v>
                </c:pt>
                <c:pt idx="8613">
                  <c:v>6.1385520830172489</c:v>
                </c:pt>
                <c:pt idx="8614">
                  <c:v>6.0843995555632828</c:v>
                </c:pt>
                <c:pt idx="8615">
                  <c:v>4.9893033416304355</c:v>
                </c:pt>
                <c:pt idx="8616">
                  <c:v>5.993210090426266</c:v>
                </c:pt>
                <c:pt idx="8617">
                  <c:v>5.8275630116927291</c:v>
                </c:pt>
                <c:pt idx="8618">
                  <c:v>6.0822023407569867</c:v>
                </c:pt>
                <c:pt idx="8619">
                  <c:v>6.2093786217615614</c:v>
                </c:pt>
                <c:pt idx="8620">
                  <c:v>6.0873942007253579</c:v>
                </c:pt>
                <c:pt idx="8621">
                  <c:v>5.958363090853493</c:v>
                </c:pt>
                <c:pt idx="8622">
                  <c:v>6.1819297956984451</c:v>
                </c:pt>
                <c:pt idx="8623">
                  <c:v>5.1545246526787514</c:v>
                </c:pt>
                <c:pt idx="8624">
                  <c:v>6.1228947717505156</c:v>
                </c:pt>
                <c:pt idx="8625">
                  <c:v>3.8705533601701667</c:v>
                </c:pt>
                <c:pt idx="8626">
                  <c:v>5.8907487949490349</c:v>
                </c:pt>
                <c:pt idx="8627">
                  <c:v>3.9581518476929074</c:v>
                </c:pt>
                <c:pt idx="8628">
                  <c:v>4.9973305855970596</c:v>
                </c:pt>
                <c:pt idx="8629">
                  <c:v>4.8562839530065007</c:v>
                </c:pt>
                <c:pt idx="8630">
                  <c:v>6.0342497392589376</c:v>
                </c:pt>
                <c:pt idx="8631">
                  <c:v>5.1444344364263968</c:v>
                </c:pt>
                <c:pt idx="8632">
                  <c:v>5.0135507553576337</c:v>
                </c:pt>
                <c:pt idx="8633">
                  <c:v>5.0184820779842703</c:v>
                </c:pt>
                <c:pt idx="8634">
                  <c:v>5.95528005533897</c:v>
                </c:pt>
                <c:pt idx="8635">
                  <c:v>5.1872344375186108</c:v>
                </c:pt>
                <c:pt idx="8636">
                  <c:v>5.95584709534839</c:v>
                </c:pt>
                <c:pt idx="8637">
                  <c:v>5.9773375249643577</c:v>
                </c:pt>
                <c:pt idx="8638">
                  <c:v>4.9987895675907552</c:v>
                </c:pt>
                <c:pt idx="8639">
                  <c:v>5.0554859135195276</c:v>
                </c:pt>
                <c:pt idx="8640">
                  <c:v>5.1284486106839378</c:v>
                </c:pt>
                <c:pt idx="8641">
                  <c:v>5.9187635528354097</c:v>
                </c:pt>
                <c:pt idx="8642">
                  <c:v>6.0401102575647414</c:v>
                </c:pt>
                <c:pt idx="8643">
                  <c:v>6.2382700098573434</c:v>
                </c:pt>
                <c:pt idx="8644">
                  <c:v>5.9483781355933045</c:v>
                </c:pt>
                <c:pt idx="8645">
                  <c:v>5.92315099886223</c:v>
                </c:pt>
                <c:pt idx="8646">
                  <c:v>6.0536298071858869</c:v>
                </c:pt>
                <c:pt idx="8647">
                  <c:v>4.925184013996037</c:v>
                </c:pt>
                <c:pt idx="8648">
                  <c:v>6.1382335739421396</c:v>
                </c:pt>
                <c:pt idx="8649">
                  <c:v>5.9769882454314143</c:v>
                </c:pt>
                <c:pt idx="8650">
                  <c:v>5.2120347337745265</c:v>
                </c:pt>
                <c:pt idx="8651">
                  <c:v>5.7997625271751474</c:v>
                </c:pt>
                <c:pt idx="8652">
                  <c:v>6.1054279427430345</c:v>
                </c:pt>
                <c:pt idx="8653">
                  <c:v>5.9907758332111962</c:v>
                </c:pt>
                <c:pt idx="8654">
                  <c:v>5.019051008754766</c:v>
                </c:pt>
                <c:pt idx="8655">
                  <c:v>5.0440730930592315</c:v>
                </c:pt>
                <c:pt idx="8656">
                  <c:v>4.9065353737814483</c:v>
                </c:pt>
                <c:pt idx="8657">
                  <c:v>6.0416410880671947</c:v>
                </c:pt>
                <c:pt idx="8658">
                  <c:v>6.0350703922922149</c:v>
                </c:pt>
                <c:pt idx="8659">
                  <c:v>4.9333776203696651</c:v>
                </c:pt>
                <c:pt idx="8660">
                  <c:v>6.2218547562967386</c:v>
                </c:pt>
                <c:pt idx="8661">
                  <c:v>6.0414465260995218</c:v>
                </c:pt>
                <c:pt idx="8662">
                  <c:v>6.0488575517084575</c:v>
                </c:pt>
                <c:pt idx="8663">
                  <c:v>6.0075321424498371</c:v>
                </c:pt>
                <c:pt idx="8664">
                  <c:v>4.9850299860935241</c:v>
                </c:pt>
                <c:pt idx="8665">
                  <c:v>7.07876628249217</c:v>
                </c:pt>
                <c:pt idx="8666">
                  <c:v>5.8820148425571208</c:v>
                </c:pt>
                <c:pt idx="8667">
                  <c:v>6.0431323023552652</c:v>
                </c:pt>
                <c:pt idx="8668">
                  <c:v>5.9143244638126538</c:v>
                </c:pt>
                <c:pt idx="8669">
                  <c:v>6.9478175409705658</c:v>
                </c:pt>
                <c:pt idx="8670">
                  <c:v>6.0543076176858506</c:v>
                </c:pt>
                <c:pt idx="8671">
                  <c:v>5.8653789420236375</c:v>
                </c:pt>
                <c:pt idx="8672">
                  <c:v>5.0893853893104053</c:v>
                </c:pt>
                <c:pt idx="8673">
                  <c:v>5.9073699102402371</c:v>
                </c:pt>
                <c:pt idx="8674">
                  <c:v>4.953087101344833</c:v>
                </c:pt>
                <c:pt idx="8675">
                  <c:v>5.8887192381777806</c:v>
                </c:pt>
                <c:pt idx="8676">
                  <c:v>5.8742626206037682</c:v>
                </c:pt>
                <c:pt idx="8677">
                  <c:v>6.0596234434833969</c:v>
                </c:pt>
                <c:pt idx="8678">
                  <c:v>6.0926463908066228</c:v>
                </c:pt>
                <c:pt idx="8679">
                  <c:v>4.9139183759319272</c:v>
                </c:pt>
                <c:pt idx="8680">
                  <c:v>4.8092725837128043</c:v>
                </c:pt>
                <c:pt idx="8681">
                  <c:v>5.9250031964894827</c:v>
                </c:pt>
                <c:pt idx="8682">
                  <c:v>7.2536942339240156</c:v>
                </c:pt>
                <c:pt idx="8683">
                  <c:v>5.8946551710303803</c:v>
                </c:pt>
                <c:pt idx="8684">
                  <c:v>6.0057955267584582</c:v>
                </c:pt>
                <c:pt idx="8685">
                  <c:v>6.0374484794512151</c:v>
                </c:pt>
                <c:pt idx="8686">
                  <c:v>5.0164125271849951</c:v>
                </c:pt>
                <c:pt idx="8687">
                  <c:v>4.8747725650489082</c:v>
                </c:pt>
                <c:pt idx="8688">
                  <c:v>5.0111548548642428</c:v>
                </c:pt>
                <c:pt idx="8689">
                  <c:v>6.0677613747007477</c:v>
                </c:pt>
                <c:pt idx="8690">
                  <c:v>6.0849809899102691</c:v>
                </c:pt>
                <c:pt idx="8691">
                  <c:v>6.0138145481798766</c:v>
                </c:pt>
                <c:pt idx="8692">
                  <c:v>5.0262065874220339</c:v>
                </c:pt>
                <c:pt idx="8693">
                  <c:v>6.0483182215904439</c:v>
                </c:pt>
                <c:pt idx="8694">
                  <c:v>5.8648152414103825</c:v>
                </c:pt>
                <c:pt idx="8695">
                  <c:v>6.0426848768789707</c:v>
                </c:pt>
                <c:pt idx="8696">
                  <c:v>5.9911409596000977</c:v>
                </c:pt>
                <c:pt idx="8697">
                  <c:v>4.8909034080435969</c:v>
                </c:pt>
                <c:pt idx="8698">
                  <c:v>5.9474943011356602</c:v>
                </c:pt>
                <c:pt idx="8699">
                  <c:v>4.9930257470703516</c:v>
                </c:pt>
                <c:pt idx="8700">
                  <c:v>6.0156267277643183</c:v>
                </c:pt>
                <c:pt idx="8701">
                  <c:v>4.8875072912373918</c:v>
                </c:pt>
                <c:pt idx="8702">
                  <c:v>5.9779436582639915</c:v>
                </c:pt>
                <c:pt idx="8703">
                  <c:v>5.8418072274701096</c:v>
                </c:pt>
                <c:pt idx="8704">
                  <c:v>5.0669583857191967</c:v>
                </c:pt>
                <c:pt idx="8705">
                  <c:v>4.9924745732745981</c:v>
                </c:pt>
                <c:pt idx="8706">
                  <c:v>6.0969154508043495</c:v>
                </c:pt>
                <c:pt idx="8707">
                  <c:v>5.0988492490616215</c:v>
                </c:pt>
                <c:pt idx="8708">
                  <c:v>5.8918431829983273</c:v>
                </c:pt>
                <c:pt idx="8709">
                  <c:v>5.8337357658711886</c:v>
                </c:pt>
                <c:pt idx="8710">
                  <c:v>5.9424382532099731</c:v>
                </c:pt>
                <c:pt idx="8711">
                  <c:v>5.8910263641353255</c:v>
                </c:pt>
                <c:pt idx="8712">
                  <c:v>6.8254504818670556</c:v>
                </c:pt>
                <c:pt idx="8713">
                  <c:v>7.0788322979188747</c:v>
                </c:pt>
                <c:pt idx="8714">
                  <c:v>4.8840959805100219</c:v>
                </c:pt>
                <c:pt idx="8715">
                  <c:v>4.8771433669937148</c:v>
                </c:pt>
                <c:pt idx="8716">
                  <c:v>5.1111986753938536</c:v>
                </c:pt>
                <c:pt idx="8717">
                  <c:v>4.8296682959213983</c:v>
                </c:pt>
                <c:pt idx="8718">
                  <c:v>5.019887631716152</c:v>
                </c:pt>
                <c:pt idx="8719">
                  <c:v>5.862446686844585</c:v>
                </c:pt>
                <c:pt idx="8720">
                  <c:v>5.2247968901342245</c:v>
                </c:pt>
                <c:pt idx="8721">
                  <c:v>5.9803025499358462</c:v>
                </c:pt>
                <c:pt idx="8722">
                  <c:v>5.9979240286093365</c:v>
                </c:pt>
                <c:pt idx="8723">
                  <c:v>5.0025799080902074</c:v>
                </c:pt>
                <c:pt idx="8724">
                  <c:v>5.0287215180118991</c:v>
                </c:pt>
                <c:pt idx="8725">
                  <c:v>6.0740758187940278</c:v>
                </c:pt>
                <c:pt idx="8726">
                  <c:v>5.9899739486462433</c:v>
                </c:pt>
                <c:pt idx="8727">
                  <c:v>6.0811982517110525</c:v>
                </c:pt>
                <c:pt idx="8728">
                  <c:v>6.0828060194702402</c:v>
                </c:pt>
                <c:pt idx="8729">
                  <c:v>4.9520715600068401</c:v>
                </c:pt>
                <c:pt idx="8730">
                  <c:v>5.0866395580895656</c:v>
                </c:pt>
                <c:pt idx="8731">
                  <c:v>4.7938340760952682</c:v>
                </c:pt>
                <c:pt idx="8732">
                  <c:v>5.2833510162991093</c:v>
                </c:pt>
                <c:pt idx="8733">
                  <c:v>4.9470115734526239</c:v>
                </c:pt>
                <c:pt idx="8734">
                  <c:v>6.7908593530327686</c:v>
                </c:pt>
                <c:pt idx="8735">
                  <c:v>5.9405080109278892</c:v>
                </c:pt>
                <c:pt idx="8736">
                  <c:v>5.089007320914579</c:v>
                </c:pt>
                <c:pt idx="8737">
                  <c:v>6.0019491325629222</c:v>
                </c:pt>
                <c:pt idx="8738">
                  <c:v>4.989596858800553</c:v>
                </c:pt>
                <c:pt idx="8739">
                  <c:v>5.0301678715493656</c:v>
                </c:pt>
                <c:pt idx="8740">
                  <c:v>4.9767511993538145</c:v>
                </c:pt>
                <c:pt idx="8741">
                  <c:v>6.0474088616342714</c:v>
                </c:pt>
                <c:pt idx="8742">
                  <c:v>6.042191388702947</c:v>
                </c:pt>
                <c:pt idx="8743">
                  <c:v>5.9217643426612669</c:v>
                </c:pt>
                <c:pt idx="8744">
                  <c:v>6.1419457391407812</c:v>
                </c:pt>
                <c:pt idx="8745">
                  <c:v>5.0444963002974266</c:v>
                </c:pt>
                <c:pt idx="8746">
                  <c:v>5.9306631129215663</c:v>
                </c:pt>
                <c:pt idx="8747">
                  <c:v>5.9132623569798906</c:v>
                </c:pt>
                <c:pt idx="8748">
                  <c:v>4.9852756042166204</c:v>
                </c:pt>
                <c:pt idx="8749">
                  <c:v>5.8714622415564017</c:v>
                </c:pt>
                <c:pt idx="8750">
                  <c:v>6.2289211797650363</c:v>
                </c:pt>
                <c:pt idx="8751">
                  <c:v>5.9844654473586605</c:v>
                </c:pt>
                <c:pt idx="8752">
                  <c:v>5.9291255170167769</c:v>
                </c:pt>
                <c:pt idx="8753">
                  <c:v>5.8813900876621865</c:v>
                </c:pt>
                <c:pt idx="8754">
                  <c:v>5.1219609232308816</c:v>
                </c:pt>
                <c:pt idx="8755">
                  <c:v>4.9453285543364212</c:v>
                </c:pt>
                <c:pt idx="8756">
                  <c:v>6.0189080672336663</c:v>
                </c:pt>
                <c:pt idx="8757">
                  <c:v>5.9421789078271683</c:v>
                </c:pt>
                <c:pt idx="8758">
                  <c:v>4.8970356979421732</c:v>
                </c:pt>
                <c:pt idx="8759">
                  <c:v>6.8773255983059194</c:v>
                </c:pt>
                <c:pt idx="8760">
                  <c:v>5.9695040710112135</c:v>
                </c:pt>
                <c:pt idx="8761">
                  <c:v>6.14962817211428</c:v>
                </c:pt>
                <c:pt idx="8762">
                  <c:v>4.9819399076926256</c:v>
                </c:pt>
                <c:pt idx="8763">
                  <c:v>5.9652062325366852</c:v>
                </c:pt>
                <c:pt idx="8764">
                  <c:v>5.1624853106710216</c:v>
                </c:pt>
                <c:pt idx="8765">
                  <c:v>4.8096400088246662</c:v>
                </c:pt>
                <c:pt idx="8766">
                  <c:v>3.9514521768821487</c:v>
                </c:pt>
                <c:pt idx="8767">
                  <c:v>5.9764553667764062</c:v>
                </c:pt>
                <c:pt idx="8768">
                  <c:v>4.8735824614327798</c:v>
                </c:pt>
                <c:pt idx="8769">
                  <c:v>4.9811409956019279</c:v>
                </c:pt>
                <c:pt idx="8770">
                  <c:v>6.1105470334615504</c:v>
                </c:pt>
                <c:pt idx="8771">
                  <c:v>3.9865194874625054</c:v>
                </c:pt>
                <c:pt idx="8772">
                  <c:v>6.0771009281107959</c:v>
                </c:pt>
                <c:pt idx="8773">
                  <c:v>5.9516119829768446</c:v>
                </c:pt>
                <c:pt idx="8774">
                  <c:v>5.9055736914106527</c:v>
                </c:pt>
                <c:pt idx="8775">
                  <c:v>4.8780950864683756</c:v>
                </c:pt>
                <c:pt idx="8776">
                  <c:v>5.9083301562604822</c:v>
                </c:pt>
                <c:pt idx="8777">
                  <c:v>4.9785285323346633</c:v>
                </c:pt>
                <c:pt idx="8778">
                  <c:v>6.0024123375132055</c:v>
                </c:pt>
                <c:pt idx="8779">
                  <c:v>5.0007987432760297</c:v>
                </c:pt>
                <c:pt idx="8780">
                  <c:v>5.0235542967704463</c:v>
                </c:pt>
                <c:pt idx="8781">
                  <c:v>5.0163850502131515</c:v>
                </c:pt>
                <c:pt idx="8782">
                  <c:v>4.9655277212367244</c:v>
                </c:pt>
                <c:pt idx="8783">
                  <c:v>4.9767737484589576</c:v>
                </c:pt>
                <c:pt idx="8784">
                  <c:v>5.0433075986582923</c:v>
                </c:pt>
                <c:pt idx="8785">
                  <c:v>5.8762778967960312</c:v>
                </c:pt>
                <c:pt idx="8786">
                  <c:v>5.9488403023061478</c:v>
                </c:pt>
                <c:pt idx="8787">
                  <c:v>5.9338354125328818</c:v>
                </c:pt>
                <c:pt idx="8788">
                  <c:v>4.8764244429576964</c:v>
                </c:pt>
                <c:pt idx="8789">
                  <c:v>6.0174951945037423</c:v>
                </c:pt>
                <c:pt idx="8790">
                  <c:v>5.0000816012209848</c:v>
                </c:pt>
                <c:pt idx="8791">
                  <c:v>4.9472260941439004</c:v>
                </c:pt>
                <c:pt idx="8792">
                  <c:v>4.9847135017627426</c:v>
                </c:pt>
                <c:pt idx="8793">
                  <c:v>5.9794540487672752</c:v>
                </c:pt>
                <c:pt idx="8794">
                  <c:v>4.9555663833733785</c:v>
                </c:pt>
                <c:pt idx="8795">
                  <c:v>5.1570674385942503</c:v>
                </c:pt>
                <c:pt idx="8796">
                  <c:v>5.9055361495689134</c:v>
                </c:pt>
                <c:pt idx="8797">
                  <c:v>5.9442846102463056</c:v>
                </c:pt>
                <c:pt idx="8798">
                  <c:v>6.9097718034336326</c:v>
                </c:pt>
                <c:pt idx="8799">
                  <c:v>4.9738850458537387</c:v>
                </c:pt>
                <c:pt idx="8800">
                  <c:v>7.1488123260203196</c:v>
                </c:pt>
                <c:pt idx="8801">
                  <c:v>5.0148110286032859</c:v>
                </c:pt>
                <c:pt idx="8802">
                  <c:v>4.7627589891861382</c:v>
                </c:pt>
                <c:pt idx="8803">
                  <c:v>5.9389342226757691</c:v>
                </c:pt>
                <c:pt idx="8804">
                  <c:v>4.8427389233569231</c:v>
                </c:pt>
                <c:pt idx="8805">
                  <c:v>4.9874695707112124</c:v>
                </c:pt>
                <c:pt idx="8806">
                  <c:v>5.9324702887995802</c:v>
                </c:pt>
                <c:pt idx="8807">
                  <c:v>5.0338899394662651</c:v>
                </c:pt>
                <c:pt idx="8808">
                  <c:v>5.9986535814607365</c:v>
                </c:pt>
                <c:pt idx="8809">
                  <c:v>6.1318777859512812</c:v>
                </c:pt>
                <c:pt idx="8810">
                  <c:v>5.9113853998333861</c:v>
                </c:pt>
                <c:pt idx="8811">
                  <c:v>5.9756755897666007</c:v>
                </c:pt>
                <c:pt idx="8812">
                  <c:v>5.0792780832426736</c:v>
                </c:pt>
                <c:pt idx="8813">
                  <c:v>6.0417599916649998</c:v>
                </c:pt>
                <c:pt idx="8814">
                  <c:v>5.9030703183784317</c:v>
                </c:pt>
                <c:pt idx="8815">
                  <c:v>5.9503422492765594</c:v>
                </c:pt>
                <c:pt idx="8816">
                  <c:v>5.9384910991733841</c:v>
                </c:pt>
                <c:pt idx="8817">
                  <c:v>5.9851732681532752</c:v>
                </c:pt>
                <c:pt idx="8818">
                  <c:v>5.8637308186117476</c:v>
                </c:pt>
                <c:pt idx="8819">
                  <c:v>4.922462289270964</c:v>
                </c:pt>
                <c:pt idx="8820">
                  <c:v>5.9461232716342538</c:v>
                </c:pt>
                <c:pt idx="8821">
                  <c:v>5.9451500578962282</c:v>
                </c:pt>
                <c:pt idx="8822">
                  <c:v>5.7756854112952611</c:v>
                </c:pt>
                <c:pt idx="8823">
                  <c:v>6.0291624010067375</c:v>
                </c:pt>
                <c:pt idx="8824">
                  <c:v>4.9488761957890652</c:v>
                </c:pt>
                <c:pt idx="8825">
                  <c:v>5.0855262493617781</c:v>
                </c:pt>
                <c:pt idx="8826">
                  <c:v>5.0451390423789997</c:v>
                </c:pt>
                <c:pt idx="8827">
                  <c:v>6.0047467570540194</c:v>
                </c:pt>
                <c:pt idx="8828">
                  <c:v>6.9903749377734536</c:v>
                </c:pt>
                <c:pt idx="8829">
                  <c:v>5.8148885545374212</c:v>
                </c:pt>
                <c:pt idx="8830">
                  <c:v>6.0845163487578064</c:v>
                </c:pt>
                <c:pt idx="8831">
                  <c:v>7.1001252439315081</c:v>
                </c:pt>
                <c:pt idx="8832">
                  <c:v>6.0516677752430432</c:v>
                </c:pt>
                <c:pt idx="8833">
                  <c:v>6.1290077042783286</c:v>
                </c:pt>
                <c:pt idx="8834">
                  <c:v>4.9170744596975871</c:v>
                </c:pt>
                <c:pt idx="8835">
                  <c:v>6.9003431249069545</c:v>
                </c:pt>
                <c:pt idx="8836">
                  <c:v>6.1169456663574486</c:v>
                </c:pt>
                <c:pt idx="8837">
                  <c:v>6.1249253306071383</c:v>
                </c:pt>
                <c:pt idx="8838">
                  <c:v>7.0413649460190939</c:v>
                </c:pt>
                <c:pt idx="8839">
                  <c:v>5.9176359818301174</c:v>
                </c:pt>
                <c:pt idx="8840">
                  <c:v>6.089222413825742</c:v>
                </c:pt>
                <c:pt idx="8841">
                  <c:v>5.8516917490334928</c:v>
                </c:pt>
                <c:pt idx="8842">
                  <c:v>6.0952017437767987</c:v>
                </c:pt>
                <c:pt idx="8843">
                  <c:v>5.1423333258721833</c:v>
                </c:pt>
                <c:pt idx="8844">
                  <c:v>5.8512696556928345</c:v>
                </c:pt>
                <c:pt idx="8845">
                  <c:v>5.882040853108915</c:v>
                </c:pt>
                <c:pt idx="8846">
                  <c:v>6.0113743019529791</c:v>
                </c:pt>
                <c:pt idx="8847">
                  <c:v>7.1677972693278003</c:v>
                </c:pt>
                <c:pt idx="8848">
                  <c:v>6.0858193514792021</c:v>
                </c:pt>
                <c:pt idx="8849">
                  <c:v>5.9959371319028687</c:v>
                </c:pt>
                <c:pt idx="8850">
                  <c:v>6.1362992403759202</c:v>
                </c:pt>
                <c:pt idx="8851">
                  <c:v>6.0727792889163057</c:v>
                </c:pt>
                <c:pt idx="8852">
                  <c:v>6.0340127166132822</c:v>
                </c:pt>
                <c:pt idx="8853">
                  <c:v>5.0145953690920022</c:v>
                </c:pt>
                <c:pt idx="8854">
                  <c:v>5.9196259243851905</c:v>
                </c:pt>
                <c:pt idx="8855">
                  <c:v>6.0544734907731277</c:v>
                </c:pt>
                <c:pt idx="8856">
                  <c:v>5.124451745858984</c:v>
                </c:pt>
                <c:pt idx="8857">
                  <c:v>6.014734416683674</c:v>
                </c:pt>
                <c:pt idx="8858">
                  <c:v>4.9173580279498914</c:v>
                </c:pt>
                <c:pt idx="8859">
                  <c:v>6.0415012241262946</c:v>
                </c:pt>
                <c:pt idx="8860">
                  <c:v>4.9768691952928492</c:v>
                </c:pt>
                <c:pt idx="8861">
                  <c:v>7.1094124461742298</c:v>
                </c:pt>
                <c:pt idx="8862">
                  <c:v>6.0115464950537891</c:v>
                </c:pt>
                <c:pt idx="8863">
                  <c:v>5.9488530065759528</c:v>
                </c:pt>
                <c:pt idx="8864">
                  <c:v>5.9719063917193056</c:v>
                </c:pt>
                <c:pt idx="8865">
                  <c:v>6.0007478693205263</c:v>
                </c:pt>
                <c:pt idx="8866">
                  <c:v>6.0748896904432792</c:v>
                </c:pt>
                <c:pt idx="8867">
                  <c:v>5.0222456969876017</c:v>
                </c:pt>
                <c:pt idx="8868">
                  <c:v>6.8259541991913437</c:v>
                </c:pt>
                <c:pt idx="8869">
                  <c:v>6.0773187723593116</c:v>
                </c:pt>
                <c:pt idx="8870">
                  <c:v>4.9841907464099071</c:v>
                </c:pt>
                <c:pt idx="8871">
                  <c:v>6.0557252123173209</c:v>
                </c:pt>
                <c:pt idx="8872">
                  <c:v>6.1143733224437753</c:v>
                </c:pt>
                <c:pt idx="8873">
                  <c:v>4.8852015096540535</c:v>
                </c:pt>
                <c:pt idx="8874">
                  <c:v>4.9744113984696527</c:v>
                </c:pt>
                <c:pt idx="8875">
                  <c:v>5.0247380749300392</c:v>
                </c:pt>
                <c:pt idx="8876">
                  <c:v>5.9536660448212482</c:v>
                </c:pt>
                <c:pt idx="8877">
                  <c:v>3.7731593052021335</c:v>
                </c:pt>
                <c:pt idx="8878">
                  <c:v>4.9492856658062232</c:v>
                </c:pt>
                <c:pt idx="8879">
                  <c:v>5.884511727460505</c:v>
                </c:pt>
                <c:pt idx="8880">
                  <c:v>4.7732695634732556</c:v>
                </c:pt>
                <c:pt idx="8881">
                  <c:v>4.9495460049118289</c:v>
                </c:pt>
                <c:pt idx="8882">
                  <c:v>5.814169670771097</c:v>
                </c:pt>
                <c:pt idx="8883">
                  <c:v>5.9851635269746177</c:v>
                </c:pt>
                <c:pt idx="8884">
                  <c:v>4.970005070806347</c:v>
                </c:pt>
                <c:pt idx="8885">
                  <c:v>5.9119887568425469</c:v>
                </c:pt>
                <c:pt idx="8886">
                  <c:v>4.9879619844308252</c:v>
                </c:pt>
                <c:pt idx="8887">
                  <c:v>6.0527584674740016</c:v>
                </c:pt>
                <c:pt idx="8888">
                  <c:v>4.9205074383091683</c:v>
                </c:pt>
                <c:pt idx="8889">
                  <c:v>4.9759109246056052</c:v>
                </c:pt>
                <c:pt idx="8890">
                  <c:v>5.8594945212769058</c:v>
                </c:pt>
                <c:pt idx="8891">
                  <c:v>5.9117052231665994</c:v>
                </c:pt>
                <c:pt idx="8892">
                  <c:v>5.2553529260331162</c:v>
                </c:pt>
                <c:pt idx="8893">
                  <c:v>4.9295466371667898</c:v>
                </c:pt>
                <c:pt idx="8894">
                  <c:v>5.9730704102502115</c:v>
                </c:pt>
                <c:pt idx="8895">
                  <c:v>5.9826044478001572</c:v>
                </c:pt>
                <c:pt idx="8896">
                  <c:v>5.9517455366520293</c:v>
                </c:pt>
                <c:pt idx="8897">
                  <c:v>4.925274551524085</c:v>
                </c:pt>
                <c:pt idx="8898">
                  <c:v>4.9215410302816576</c:v>
                </c:pt>
                <c:pt idx="8899">
                  <c:v>4.9782052922835902</c:v>
                </c:pt>
                <c:pt idx="8900">
                  <c:v>4.9896483017292157</c:v>
                </c:pt>
                <c:pt idx="8901">
                  <c:v>5.9592144528115885</c:v>
                </c:pt>
                <c:pt idx="8902">
                  <c:v>6.035931663320584</c:v>
                </c:pt>
                <c:pt idx="8903">
                  <c:v>5.0228795905736101</c:v>
                </c:pt>
                <c:pt idx="8904">
                  <c:v>5.8966881716815447</c:v>
                </c:pt>
                <c:pt idx="8905">
                  <c:v>5.0178998583234646</c:v>
                </c:pt>
                <c:pt idx="8906">
                  <c:v>5.0627986192284027</c:v>
                </c:pt>
                <c:pt idx="8907">
                  <c:v>5.1012396160681384</c:v>
                </c:pt>
                <c:pt idx="8908">
                  <c:v>5.0463285239472269</c:v>
                </c:pt>
                <c:pt idx="8909">
                  <c:v>5.0445349397702639</c:v>
                </c:pt>
                <c:pt idx="8910">
                  <c:v>5.8944307538211484</c:v>
                </c:pt>
                <c:pt idx="8911">
                  <c:v>6.1581320380736431</c:v>
                </c:pt>
                <c:pt idx="8912">
                  <c:v>5.2511537652572819</c:v>
                </c:pt>
                <c:pt idx="8913">
                  <c:v>4.8242575522521296</c:v>
                </c:pt>
                <c:pt idx="8914">
                  <c:v>5.8844403282262912</c:v>
                </c:pt>
                <c:pt idx="8915">
                  <c:v>6.0948884255675333</c:v>
                </c:pt>
                <c:pt idx="8916">
                  <c:v>5.7591658185665198</c:v>
                </c:pt>
                <c:pt idx="8917">
                  <c:v>4.8849090525621168</c:v>
                </c:pt>
                <c:pt idx="8918">
                  <c:v>3.0417316075435705</c:v>
                </c:pt>
                <c:pt idx="8919">
                  <c:v>5.9155937964026037</c:v>
                </c:pt>
                <c:pt idx="8920">
                  <c:v>7.0560297629184454</c:v>
                </c:pt>
                <c:pt idx="8921">
                  <c:v>6.006894109819461</c:v>
                </c:pt>
                <c:pt idx="8922">
                  <c:v>5.9991079180186855</c:v>
                </c:pt>
                <c:pt idx="8923">
                  <c:v>6.8546107272963903</c:v>
                </c:pt>
                <c:pt idx="8924">
                  <c:v>5.9567277552288882</c:v>
                </c:pt>
                <c:pt idx="8925">
                  <c:v>4.9636753677941634</c:v>
                </c:pt>
                <c:pt idx="8926">
                  <c:v>4.953499612636624</c:v>
                </c:pt>
                <c:pt idx="8927">
                  <c:v>4.9335018957274865</c:v>
                </c:pt>
                <c:pt idx="8928">
                  <c:v>5.0489298055190321</c:v>
                </c:pt>
                <c:pt idx="8929">
                  <c:v>5.9308697973986915</c:v>
                </c:pt>
                <c:pt idx="8930">
                  <c:v>5.0141776845996597</c:v>
                </c:pt>
                <c:pt idx="8931">
                  <c:v>4.8832758697018877</c:v>
                </c:pt>
                <c:pt idx="8932">
                  <c:v>5.9573317958476819</c:v>
                </c:pt>
                <c:pt idx="8933">
                  <c:v>5.0916821519332673</c:v>
                </c:pt>
                <c:pt idx="8934">
                  <c:v>6.077790826378223</c:v>
                </c:pt>
                <c:pt idx="8935">
                  <c:v>6.088469353147727</c:v>
                </c:pt>
                <c:pt idx="8936">
                  <c:v>5.1312443981569595</c:v>
                </c:pt>
                <c:pt idx="8937">
                  <c:v>6.908360984075931</c:v>
                </c:pt>
                <c:pt idx="8938">
                  <c:v>6.9531523397983506</c:v>
                </c:pt>
                <c:pt idx="8939">
                  <c:v>7.031109680654378</c:v>
                </c:pt>
                <c:pt idx="8940">
                  <c:v>4.970705741918235</c:v>
                </c:pt>
                <c:pt idx="8941">
                  <c:v>5.925304502303673</c:v>
                </c:pt>
                <c:pt idx="8942">
                  <c:v>7.1378900332705477</c:v>
                </c:pt>
                <c:pt idx="8943">
                  <c:v>4.871879160956599</c:v>
                </c:pt>
                <c:pt idx="8944">
                  <c:v>5.7625875140566398</c:v>
                </c:pt>
                <c:pt idx="8945">
                  <c:v>5.0070813390570255</c:v>
                </c:pt>
                <c:pt idx="8946">
                  <c:v>6.0725648131232042</c:v>
                </c:pt>
                <c:pt idx="8947">
                  <c:v>6.1183700265981154</c:v>
                </c:pt>
                <c:pt idx="8948">
                  <c:v>5.9322675028883234</c:v>
                </c:pt>
                <c:pt idx="8949">
                  <c:v>4.9907387755483468</c:v>
                </c:pt>
                <c:pt idx="8950">
                  <c:v>4.9770265191051344</c:v>
                </c:pt>
                <c:pt idx="8951">
                  <c:v>4.9599199481932157</c:v>
                </c:pt>
                <c:pt idx="8952">
                  <c:v>6.0781585824865072</c:v>
                </c:pt>
                <c:pt idx="8953">
                  <c:v>5.9886525263207773</c:v>
                </c:pt>
                <c:pt idx="8954">
                  <c:v>5.0054920277589812</c:v>
                </c:pt>
                <c:pt idx="8955">
                  <c:v>4.9281136613426462</c:v>
                </c:pt>
                <c:pt idx="8956">
                  <c:v>7.0821504197658163</c:v>
                </c:pt>
                <c:pt idx="8957">
                  <c:v>4.966216283814199</c:v>
                </c:pt>
                <c:pt idx="8958">
                  <c:v>6.0128557944968781</c:v>
                </c:pt>
                <c:pt idx="8959">
                  <c:v>6.0674141852877455</c:v>
                </c:pt>
                <c:pt idx="8960">
                  <c:v>6.0513251425568271</c:v>
                </c:pt>
                <c:pt idx="8961">
                  <c:v>4.8671015293472628</c:v>
                </c:pt>
                <c:pt idx="8962">
                  <c:v>5.9464276931719198</c:v>
                </c:pt>
                <c:pt idx="8963">
                  <c:v>6.0368601487682714</c:v>
                </c:pt>
                <c:pt idx="8964">
                  <c:v>6.8832039055174983</c:v>
                </c:pt>
                <c:pt idx="8965">
                  <c:v>6.0159543404029563</c:v>
                </c:pt>
                <c:pt idx="8966">
                  <c:v>6.0140475133775464</c:v>
                </c:pt>
                <c:pt idx="8967">
                  <c:v>5.9888633133187623</c:v>
                </c:pt>
                <c:pt idx="8968">
                  <c:v>5.0715904250828094</c:v>
                </c:pt>
                <c:pt idx="8969">
                  <c:v>4.7838591717886541</c:v>
                </c:pt>
                <c:pt idx="8970">
                  <c:v>4.9851545340666847</c:v>
                </c:pt>
                <c:pt idx="8971">
                  <c:v>6.1115158433812891</c:v>
                </c:pt>
                <c:pt idx="8972">
                  <c:v>4.9679927744243342</c:v>
                </c:pt>
                <c:pt idx="8973">
                  <c:v>5.0658166108632496</c:v>
                </c:pt>
                <c:pt idx="8974">
                  <c:v>6.0549210265657107</c:v>
                </c:pt>
                <c:pt idx="8975">
                  <c:v>5.2183820477416072</c:v>
                </c:pt>
                <c:pt idx="8976">
                  <c:v>4.9688148387822553</c:v>
                </c:pt>
                <c:pt idx="8977">
                  <c:v>5.0146088687342187</c:v>
                </c:pt>
                <c:pt idx="8978">
                  <c:v>4.9268473372481898</c:v>
                </c:pt>
                <c:pt idx="8979">
                  <c:v>5.1842334780188404</c:v>
                </c:pt>
                <c:pt idx="8980">
                  <c:v>5.1669405561357902</c:v>
                </c:pt>
                <c:pt idx="8981">
                  <c:v>5.9047229703102442</c:v>
                </c:pt>
                <c:pt idx="8982">
                  <c:v>5.0368588159101018</c:v>
                </c:pt>
                <c:pt idx="8983">
                  <c:v>4.866310833770715</c:v>
                </c:pt>
                <c:pt idx="8984">
                  <c:v>4.9372099392479072</c:v>
                </c:pt>
                <c:pt idx="8985">
                  <c:v>5.9365202584549257</c:v>
                </c:pt>
                <c:pt idx="8986">
                  <c:v>4.9714217584653326</c:v>
                </c:pt>
                <c:pt idx="8987">
                  <c:v>5.8505629590717536</c:v>
                </c:pt>
                <c:pt idx="8988">
                  <c:v>5.7993490591359187</c:v>
                </c:pt>
                <c:pt idx="8989">
                  <c:v>5.0344144154934822</c:v>
                </c:pt>
                <c:pt idx="8990">
                  <c:v>5.1957573503055823</c:v>
                </c:pt>
                <c:pt idx="8991">
                  <c:v>4.9399661670928481</c:v>
                </c:pt>
                <c:pt idx="8992">
                  <c:v>4.8953702538380561</c:v>
                </c:pt>
                <c:pt idx="8993">
                  <c:v>4.6775585619286071</c:v>
                </c:pt>
                <c:pt idx="8994">
                  <c:v>4.9320172951500529</c:v>
                </c:pt>
                <c:pt idx="8995">
                  <c:v>4.802303891449915</c:v>
                </c:pt>
                <c:pt idx="8996">
                  <c:v>6.8009559177307848</c:v>
                </c:pt>
                <c:pt idx="8997">
                  <c:v>5.0163778197024298</c:v>
                </c:pt>
                <c:pt idx="8998">
                  <c:v>5.1460270807241573</c:v>
                </c:pt>
                <c:pt idx="8999">
                  <c:v>5.0056660372278987</c:v>
                </c:pt>
                <c:pt idx="9000">
                  <c:v>4.9334224068064279</c:v>
                </c:pt>
                <c:pt idx="9001">
                  <c:v>6.0135375786594389</c:v>
                </c:pt>
                <c:pt idx="9002">
                  <c:v>5.1038324170688378</c:v>
                </c:pt>
                <c:pt idx="9003">
                  <c:v>5.843749744533242</c:v>
                </c:pt>
                <c:pt idx="9004">
                  <c:v>5.0593684138652772</c:v>
                </c:pt>
                <c:pt idx="9005">
                  <c:v>5.0138448025433684</c:v>
                </c:pt>
                <c:pt idx="9006">
                  <c:v>5.0222467990364361</c:v>
                </c:pt>
                <c:pt idx="9007">
                  <c:v>5.0278446683251401</c:v>
                </c:pt>
                <c:pt idx="9008">
                  <c:v>4.8642642547152368</c:v>
                </c:pt>
                <c:pt idx="9009">
                  <c:v>5.126455350658973</c:v>
                </c:pt>
                <c:pt idx="9010">
                  <c:v>6.1348318419311143</c:v>
                </c:pt>
                <c:pt idx="9011">
                  <c:v>4.9308025172380754</c:v>
                </c:pt>
                <c:pt idx="9012">
                  <c:v>6.8756577081345363</c:v>
                </c:pt>
                <c:pt idx="9013">
                  <c:v>5.1872827418810195</c:v>
                </c:pt>
                <c:pt idx="9014">
                  <c:v>6.0149443642299003</c:v>
                </c:pt>
                <c:pt idx="9015">
                  <c:v>5.0438475982134987</c:v>
                </c:pt>
                <c:pt idx="9016">
                  <c:v>5.0538219235693722</c:v>
                </c:pt>
                <c:pt idx="9017">
                  <c:v>4.972951820749242</c:v>
                </c:pt>
                <c:pt idx="9018">
                  <c:v>5.0531168595450948</c:v>
                </c:pt>
                <c:pt idx="9019">
                  <c:v>5.113972343779519</c:v>
                </c:pt>
                <c:pt idx="9020">
                  <c:v>4.9418308381639724</c:v>
                </c:pt>
                <c:pt idx="9021">
                  <c:v>5.0444206134694003</c:v>
                </c:pt>
                <c:pt idx="9022">
                  <c:v>5.2286875612549863</c:v>
                </c:pt>
                <c:pt idx="9023">
                  <c:v>4.9662796145772559</c:v>
                </c:pt>
                <c:pt idx="9024">
                  <c:v>5.0700505712137804</c:v>
                </c:pt>
                <c:pt idx="9025">
                  <c:v>5.0740813838675054</c:v>
                </c:pt>
                <c:pt idx="9026">
                  <c:v>5.9120551457661854</c:v>
                </c:pt>
                <c:pt idx="9027">
                  <c:v>5.0125742331782179</c:v>
                </c:pt>
                <c:pt idx="9028">
                  <c:v>4.7846506853315818</c:v>
                </c:pt>
                <c:pt idx="9029">
                  <c:v>4.9877166534443615</c:v>
                </c:pt>
                <c:pt idx="9030">
                  <c:v>4.995518972837405</c:v>
                </c:pt>
                <c:pt idx="9031">
                  <c:v>4.8762032765782557</c:v>
                </c:pt>
                <c:pt idx="9032">
                  <c:v>5.985164294584882</c:v>
                </c:pt>
                <c:pt idx="9033">
                  <c:v>5.0062172228331763</c:v>
                </c:pt>
                <c:pt idx="9034">
                  <c:v>5.0913322377432761</c:v>
                </c:pt>
                <c:pt idx="9035">
                  <c:v>6.2546835679391179</c:v>
                </c:pt>
                <c:pt idx="9036">
                  <c:v>6.1320827950556671</c:v>
                </c:pt>
                <c:pt idx="9037">
                  <c:v>6.0648055256201712</c:v>
                </c:pt>
                <c:pt idx="9038">
                  <c:v>5.0011358926228304</c:v>
                </c:pt>
                <c:pt idx="9039">
                  <c:v>5.090930156361698</c:v>
                </c:pt>
                <c:pt idx="9040">
                  <c:v>5.8141814271804275</c:v>
                </c:pt>
                <c:pt idx="9041">
                  <c:v>5.9627561989716709</c:v>
                </c:pt>
                <c:pt idx="9042">
                  <c:v>4.9434419848715896</c:v>
                </c:pt>
                <c:pt idx="9043">
                  <c:v>4.9494354692197566</c:v>
                </c:pt>
                <c:pt idx="9044">
                  <c:v>5.1122014574526817</c:v>
                </c:pt>
                <c:pt idx="9045">
                  <c:v>4.8444645521952658</c:v>
                </c:pt>
                <c:pt idx="9046">
                  <c:v>4.82308773173565</c:v>
                </c:pt>
                <c:pt idx="9047">
                  <c:v>5.1114208028368591</c:v>
                </c:pt>
                <c:pt idx="9048">
                  <c:v>4.9512571886083059</c:v>
                </c:pt>
                <c:pt idx="9049">
                  <c:v>4.9708532253387991</c:v>
                </c:pt>
                <c:pt idx="9050">
                  <c:v>4.9186155783103587</c:v>
                </c:pt>
                <c:pt idx="9051">
                  <c:v>5.0621793921328049</c:v>
                </c:pt>
                <c:pt idx="9052">
                  <c:v>4.8449230744175598</c:v>
                </c:pt>
                <c:pt idx="9053">
                  <c:v>6.9863987734773056</c:v>
                </c:pt>
                <c:pt idx="9054">
                  <c:v>5.9107260202850815</c:v>
                </c:pt>
                <c:pt idx="9055">
                  <c:v>5.0504381579523514</c:v>
                </c:pt>
                <c:pt idx="9056">
                  <c:v>5.9370638802187283</c:v>
                </c:pt>
                <c:pt idx="9057">
                  <c:v>5.8175574540674493</c:v>
                </c:pt>
                <c:pt idx="9058">
                  <c:v>5.056170894139048</c:v>
                </c:pt>
                <c:pt idx="9059">
                  <c:v>6.1520483186118753</c:v>
                </c:pt>
                <c:pt idx="9060">
                  <c:v>4.952193307054638</c:v>
                </c:pt>
                <c:pt idx="9061">
                  <c:v>5.0775135616007798</c:v>
                </c:pt>
                <c:pt idx="9062">
                  <c:v>4.9708561112120249</c:v>
                </c:pt>
                <c:pt idx="9063">
                  <c:v>6.0553434519526981</c:v>
                </c:pt>
                <c:pt idx="9064">
                  <c:v>5.1421498147087759</c:v>
                </c:pt>
                <c:pt idx="9065">
                  <c:v>6.0127188651160184</c:v>
                </c:pt>
                <c:pt idx="9066">
                  <c:v>5.0310793888232412</c:v>
                </c:pt>
                <c:pt idx="9067">
                  <c:v>4.8932323340180996</c:v>
                </c:pt>
                <c:pt idx="9068">
                  <c:v>5.0085968412863613</c:v>
                </c:pt>
                <c:pt idx="9069">
                  <c:v>5.9812771971881453</c:v>
                </c:pt>
                <c:pt idx="9070">
                  <c:v>4.9923524632232805</c:v>
                </c:pt>
                <c:pt idx="9071">
                  <c:v>4.96072218856634</c:v>
                </c:pt>
                <c:pt idx="9072">
                  <c:v>4.914160248334797</c:v>
                </c:pt>
                <c:pt idx="9073">
                  <c:v>4.9534865665024173</c:v>
                </c:pt>
                <c:pt idx="9074">
                  <c:v>5.8048641592293695</c:v>
                </c:pt>
                <c:pt idx="9075">
                  <c:v>5.0309259672310791</c:v>
                </c:pt>
                <c:pt idx="9076">
                  <c:v>4.9833753179317908</c:v>
                </c:pt>
                <c:pt idx="9077">
                  <c:v>5.0799698937812723</c:v>
                </c:pt>
                <c:pt idx="9078">
                  <c:v>5.0734148681805431</c:v>
                </c:pt>
                <c:pt idx="9079">
                  <c:v>6.0132168659631438</c:v>
                </c:pt>
                <c:pt idx="9080">
                  <c:v>6.1210316809146574</c:v>
                </c:pt>
                <c:pt idx="9081">
                  <c:v>5.0015280122231136</c:v>
                </c:pt>
                <c:pt idx="9082">
                  <c:v>5.0506538132393546</c:v>
                </c:pt>
                <c:pt idx="9083">
                  <c:v>5.1641262276463573</c:v>
                </c:pt>
                <c:pt idx="9084">
                  <c:v>5.8292945680320836</c:v>
                </c:pt>
                <c:pt idx="9085">
                  <c:v>5.1780246043882894</c:v>
                </c:pt>
                <c:pt idx="9086">
                  <c:v>5.8533717881315726</c:v>
                </c:pt>
                <c:pt idx="9087">
                  <c:v>5.0902328997372397</c:v>
                </c:pt>
                <c:pt idx="9088">
                  <c:v>5.0045804096432009</c:v>
                </c:pt>
                <c:pt idx="9089">
                  <c:v>4.935289204451224</c:v>
                </c:pt>
                <c:pt idx="9090">
                  <c:v>5.0846843161435427</c:v>
                </c:pt>
                <c:pt idx="9091">
                  <c:v>4.8942804559051369</c:v>
                </c:pt>
                <c:pt idx="9092">
                  <c:v>7.0327068253092602</c:v>
                </c:pt>
                <c:pt idx="9093">
                  <c:v>4.7734727163345019</c:v>
                </c:pt>
                <c:pt idx="9094">
                  <c:v>5.0604883374296028</c:v>
                </c:pt>
                <c:pt idx="9095">
                  <c:v>5.0574523655353607</c:v>
                </c:pt>
                <c:pt idx="9096">
                  <c:v>4.9990918877053447</c:v>
                </c:pt>
                <c:pt idx="9097">
                  <c:v>6.0894869564088951</c:v>
                </c:pt>
                <c:pt idx="9098">
                  <c:v>4.9707311072177269</c:v>
                </c:pt>
                <c:pt idx="9099">
                  <c:v>5.0884044981790906</c:v>
                </c:pt>
                <c:pt idx="9100">
                  <c:v>5.0013721861734464</c:v>
                </c:pt>
                <c:pt idx="9101">
                  <c:v>4.9359515392109792</c:v>
                </c:pt>
                <c:pt idx="9102">
                  <c:v>4.9602377567926519</c:v>
                </c:pt>
                <c:pt idx="9103">
                  <c:v>1.9652324905492513</c:v>
                </c:pt>
                <c:pt idx="9104">
                  <c:v>5.1492463928666972</c:v>
                </c:pt>
                <c:pt idx="9105">
                  <c:v>4.8965504043605268</c:v>
                </c:pt>
                <c:pt idx="9106">
                  <c:v>4.841921163900305</c:v>
                </c:pt>
                <c:pt idx="9107">
                  <c:v>5.0523765311961881</c:v>
                </c:pt>
                <c:pt idx="9108">
                  <c:v>6.0069974876502883</c:v>
                </c:pt>
                <c:pt idx="9109">
                  <c:v>6.0897969628800865</c:v>
                </c:pt>
                <c:pt idx="9110">
                  <c:v>4.8954345403447048</c:v>
                </c:pt>
                <c:pt idx="9111">
                  <c:v>5.0281560771016212</c:v>
                </c:pt>
                <c:pt idx="9112">
                  <c:v>4.9753767388466228</c:v>
                </c:pt>
                <c:pt idx="9113">
                  <c:v>4.9207892369803767</c:v>
                </c:pt>
                <c:pt idx="9114">
                  <c:v>5.074798942273909</c:v>
                </c:pt>
                <c:pt idx="9115">
                  <c:v>5.0060972133688209</c:v>
                </c:pt>
                <c:pt idx="9116">
                  <c:v>6.977639197093449</c:v>
                </c:pt>
                <c:pt idx="9117">
                  <c:v>4.8575126087877631</c:v>
                </c:pt>
                <c:pt idx="9118">
                  <c:v>4.9052867594186056</c:v>
                </c:pt>
                <c:pt idx="9119">
                  <c:v>5.1983405559553111</c:v>
                </c:pt>
                <c:pt idx="9120">
                  <c:v>6.0502863015253983</c:v>
                </c:pt>
                <c:pt idx="9121">
                  <c:v>5.944601635701793</c:v>
                </c:pt>
                <c:pt idx="9122">
                  <c:v>5.0579272497359469</c:v>
                </c:pt>
                <c:pt idx="9123">
                  <c:v>5.0933023876333516</c:v>
                </c:pt>
                <c:pt idx="9124">
                  <c:v>5.8157698364019668</c:v>
                </c:pt>
                <c:pt idx="9125">
                  <c:v>5.8673176689382176</c:v>
                </c:pt>
                <c:pt idx="9126">
                  <c:v>6.0654129035411515</c:v>
                </c:pt>
                <c:pt idx="9127">
                  <c:v>4.9413663250039912</c:v>
                </c:pt>
                <c:pt idx="9128">
                  <c:v>5.760665379055796</c:v>
                </c:pt>
                <c:pt idx="9129">
                  <c:v>5.1137298849021207</c:v>
                </c:pt>
                <c:pt idx="9130">
                  <c:v>5.0264623851151002</c:v>
                </c:pt>
                <c:pt idx="9131">
                  <c:v>4.8083903968351889</c:v>
                </c:pt>
                <c:pt idx="9132">
                  <c:v>4.8286850546943674</c:v>
                </c:pt>
                <c:pt idx="9133">
                  <c:v>5.1116872800569535</c:v>
                </c:pt>
                <c:pt idx="9134">
                  <c:v>5.1846179459948738</c:v>
                </c:pt>
                <c:pt idx="9135">
                  <c:v>4.979039547728477</c:v>
                </c:pt>
                <c:pt idx="9136">
                  <c:v>5.0463275338221729</c:v>
                </c:pt>
                <c:pt idx="9137">
                  <c:v>4.8864945143453342</c:v>
                </c:pt>
                <c:pt idx="9138">
                  <c:v>4.9197428142090409</c:v>
                </c:pt>
                <c:pt idx="9139">
                  <c:v>4.907203483343678</c:v>
                </c:pt>
                <c:pt idx="9140">
                  <c:v>5.92474083414454</c:v>
                </c:pt>
                <c:pt idx="9141">
                  <c:v>4.8827660657244225</c:v>
                </c:pt>
                <c:pt idx="9142">
                  <c:v>5.0257380647780865</c:v>
                </c:pt>
                <c:pt idx="9143">
                  <c:v>5.0543116663814445</c:v>
                </c:pt>
                <c:pt idx="9144">
                  <c:v>4.9336444719230128</c:v>
                </c:pt>
                <c:pt idx="9145">
                  <c:v>5.0409888858238041</c:v>
                </c:pt>
                <c:pt idx="9146">
                  <c:v>5.0181683811498603</c:v>
                </c:pt>
                <c:pt idx="9147">
                  <c:v>4.9881011456871169</c:v>
                </c:pt>
                <c:pt idx="9148">
                  <c:v>5.84338472061917</c:v>
                </c:pt>
                <c:pt idx="9149">
                  <c:v>6.9053624408949004</c:v>
                </c:pt>
                <c:pt idx="9150">
                  <c:v>5.1521105505146565</c:v>
                </c:pt>
                <c:pt idx="9151">
                  <c:v>4.9743464365385472</c:v>
                </c:pt>
                <c:pt idx="9152">
                  <c:v>5.1758905144281577</c:v>
                </c:pt>
                <c:pt idx="9153">
                  <c:v>5.8768191125167961</c:v>
                </c:pt>
                <c:pt idx="9154">
                  <c:v>5.0629539412248885</c:v>
                </c:pt>
                <c:pt idx="9155">
                  <c:v>5.9201216911733523</c:v>
                </c:pt>
                <c:pt idx="9156">
                  <c:v>4.8696771751663874</c:v>
                </c:pt>
                <c:pt idx="9157">
                  <c:v>5.0352212334509927</c:v>
                </c:pt>
                <c:pt idx="9158">
                  <c:v>5.0132644302007563</c:v>
                </c:pt>
                <c:pt idx="9159">
                  <c:v>6.1984064753421535</c:v>
                </c:pt>
                <c:pt idx="9160">
                  <c:v>4.879153099411818</c:v>
                </c:pt>
                <c:pt idx="9161">
                  <c:v>6.0035390011039631</c:v>
                </c:pt>
                <c:pt idx="9162">
                  <c:v>4.9515427052223551</c:v>
                </c:pt>
                <c:pt idx="9163">
                  <c:v>5.9990862108375849</c:v>
                </c:pt>
                <c:pt idx="9164">
                  <c:v>5.2007991399967572</c:v>
                </c:pt>
                <c:pt idx="9165">
                  <c:v>5.9074067937875636</c:v>
                </c:pt>
                <c:pt idx="9166">
                  <c:v>4.9851560298913205</c:v>
                </c:pt>
                <c:pt idx="9167">
                  <c:v>4.94726079576317</c:v>
                </c:pt>
                <c:pt idx="9168">
                  <c:v>4.8950929397927521</c:v>
                </c:pt>
                <c:pt idx="9169">
                  <c:v>6.1149383055710604</c:v>
                </c:pt>
                <c:pt idx="9170">
                  <c:v>4.8913588059881867</c:v>
                </c:pt>
                <c:pt idx="9171">
                  <c:v>6.1748124125736359</c:v>
                </c:pt>
                <c:pt idx="9172">
                  <c:v>6.062689892108188</c:v>
                </c:pt>
                <c:pt idx="9173">
                  <c:v>5.0114209979104647</c:v>
                </c:pt>
                <c:pt idx="9174">
                  <c:v>5.0704786609995338</c:v>
                </c:pt>
                <c:pt idx="9175">
                  <c:v>4.9060871799719221</c:v>
                </c:pt>
                <c:pt idx="9176">
                  <c:v>5.9384727398874571</c:v>
                </c:pt>
                <c:pt idx="9177">
                  <c:v>5.0754239647808594</c:v>
                </c:pt>
                <c:pt idx="9178">
                  <c:v>5.0243823576799782</c:v>
                </c:pt>
                <c:pt idx="9179">
                  <c:v>6.0346073214375675</c:v>
                </c:pt>
                <c:pt idx="9180">
                  <c:v>4.7615624388540461</c:v>
                </c:pt>
                <c:pt idx="9181">
                  <c:v>5.0290265160631789</c:v>
                </c:pt>
                <c:pt idx="9182">
                  <c:v>5.1339793659797808</c:v>
                </c:pt>
                <c:pt idx="9183">
                  <c:v>4.7651943548694424</c:v>
                </c:pt>
                <c:pt idx="9184">
                  <c:v>5.1022664215451599</c:v>
                </c:pt>
                <c:pt idx="9185">
                  <c:v>4.9982969107851432</c:v>
                </c:pt>
                <c:pt idx="9186">
                  <c:v>4.9312089789805604</c:v>
                </c:pt>
                <c:pt idx="9187">
                  <c:v>4.9830559722730587</c:v>
                </c:pt>
                <c:pt idx="9188">
                  <c:v>5.9744943196736946</c:v>
                </c:pt>
                <c:pt idx="9189">
                  <c:v>5.0559170998016745</c:v>
                </c:pt>
                <c:pt idx="9190">
                  <c:v>5.0421694339940926</c:v>
                </c:pt>
                <c:pt idx="9191">
                  <c:v>5.9317977086735452</c:v>
                </c:pt>
                <c:pt idx="9192">
                  <c:v>5.126891680598761</c:v>
                </c:pt>
                <c:pt idx="9193">
                  <c:v>4.9558255811045244</c:v>
                </c:pt>
                <c:pt idx="9194">
                  <c:v>4.9534695957059149</c:v>
                </c:pt>
                <c:pt idx="9195">
                  <c:v>5.113319833569463</c:v>
                </c:pt>
                <c:pt idx="9196">
                  <c:v>5.0095782607350348</c:v>
                </c:pt>
                <c:pt idx="9197">
                  <c:v>5.1512414851574073</c:v>
                </c:pt>
                <c:pt idx="9198">
                  <c:v>5.8936674514187635</c:v>
                </c:pt>
                <c:pt idx="9199">
                  <c:v>4.8226268317207035</c:v>
                </c:pt>
                <c:pt idx="9200">
                  <c:v>6.0877862815040764</c:v>
                </c:pt>
                <c:pt idx="9201">
                  <c:v>5.0267086265376433</c:v>
                </c:pt>
                <c:pt idx="9202">
                  <c:v>5.9003344195845431</c:v>
                </c:pt>
                <c:pt idx="9203">
                  <c:v>5.1518422722197244</c:v>
                </c:pt>
                <c:pt idx="9204">
                  <c:v>4.9044825743566056</c:v>
                </c:pt>
                <c:pt idx="9205">
                  <c:v>5.0534883502141996</c:v>
                </c:pt>
                <c:pt idx="9206">
                  <c:v>4.9952376099281137</c:v>
                </c:pt>
                <c:pt idx="9207">
                  <c:v>4.8278242128620139</c:v>
                </c:pt>
                <c:pt idx="9208">
                  <c:v>5.9904413116034423</c:v>
                </c:pt>
                <c:pt idx="9209">
                  <c:v>5.9523237396859416</c:v>
                </c:pt>
                <c:pt idx="9210">
                  <c:v>4.9202484952031851</c:v>
                </c:pt>
                <c:pt idx="9211">
                  <c:v>4.9098074214841532</c:v>
                </c:pt>
                <c:pt idx="9212">
                  <c:v>4.995320640586951</c:v>
                </c:pt>
                <c:pt idx="9213">
                  <c:v>5.1953761932819473</c:v>
                </c:pt>
                <c:pt idx="9214">
                  <c:v>4.9551814937108647</c:v>
                </c:pt>
                <c:pt idx="9215">
                  <c:v>6.0959400523193095</c:v>
                </c:pt>
                <c:pt idx="9216">
                  <c:v>5.0505126156424298</c:v>
                </c:pt>
                <c:pt idx="9217">
                  <c:v>6.7982535747578767</c:v>
                </c:pt>
                <c:pt idx="9218">
                  <c:v>4.936130507289489</c:v>
                </c:pt>
                <c:pt idx="9219">
                  <c:v>4.9711533956331424</c:v>
                </c:pt>
                <c:pt idx="9220">
                  <c:v>5.8913825521629635</c:v>
                </c:pt>
                <c:pt idx="9221">
                  <c:v>6.123990644657197</c:v>
                </c:pt>
                <c:pt idx="9222">
                  <c:v>5.9430967567856507</c:v>
                </c:pt>
                <c:pt idx="9223">
                  <c:v>4.9159177774891889</c:v>
                </c:pt>
                <c:pt idx="9224">
                  <c:v>6.9783491697306932</c:v>
                </c:pt>
                <c:pt idx="9225">
                  <c:v>6.819923528556636</c:v>
                </c:pt>
                <c:pt idx="9226">
                  <c:v>7.0264837542498224</c:v>
                </c:pt>
                <c:pt idx="9227">
                  <c:v>7.2212306922641485</c:v>
                </c:pt>
                <c:pt idx="9228">
                  <c:v>7.1322964877669977</c:v>
                </c:pt>
                <c:pt idx="9229">
                  <c:v>4.8988286640818606</c:v>
                </c:pt>
                <c:pt idx="9230">
                  <c:v>5.965990876840519</c:v>
                </c:pt>
                <c:pt idx="9231">
                  <c:v>6.0824284241729822</c:v>
                </c:pt>
                <c:pt idx="9232">
                  <c:v>5.9609466760512833</c:v>
                </c:pt>
                <c:pt idx="9233">
                  <c:v>4.9358463559301686</c:v>
                </c:pt>
                <c:pt idx="9234">
                  <c:v>4.9217866956964205</c:v>
                </c:pt>
                <c:pt idx="9235">
                  <c:v>4.9910345686094129</c:v>
                </c:pt>
                <c:pt idx="9236">
                  <c:v>4.9351293307671256</c:v>
                </c:pt>
                <c:pt idx="9237">
                  <c:v>6.0525613689525581</c:v>
                </c:pt>
                <c:pt idx="9238">
                  <c:v>5.013396047052562</c:v>
                </c:pt>
                <c:pt idx="9239">
                  <c:v>5.9534417781258133</c:v>
                </c:pt>
                <c:pt idx="9240">
                  <c:v>6.0782418826407891</c:v>
                </c:pt>
                <c:pt idx="9241">
                  <c:v>7.0098061898427888</c:v>
                </c:pt>
                <c:pt idx="9242">
                  <c:v>5.0931413774104639</c:v>
                </c:pt>
                <c:pt idx="9243">
                  <c:v>5.9916275678218067</c:v>
                </c:pt>
                <c:pt idx="9244">
                  <c:v>5.8558648692676467</c:v>
                </c:pt>
                <c:pt idx="9245">
                  <c:v>6.9118542929523468</c:v>
                </c:pt>
                <c:pt idx="9246">
                  <c:v>6.9151547689088293</c:v>
                </c:pt>
                <c:pt idx="9247">
                  <c:v>5.9070295668716364</c:v>
                </c:pt>
                <c:pt idx="9248">
                  <c:v>5.0124381250185097</c:v>
                </c:pt>
                <c:pt idx="9249">
                  <c:v>4.9680217720442208</c:v>
                </c:pt>
                <c:pt idx="9250">
                  <c:v>6.0253115372761048</c:v>
                </c:pt>
                <c:pt idx="9251">
                  <c:v>4.8629252302789272</c:v>
                </c:pt>
                <c:pt idx="9252">
                  <c:v>6.0356097553294363</c:v>
                </c:pt>
                <c:pt idx="9253">
                  <c:v>5.0908928267038069</c:v>
                </c:pt>
                <c:pt idx="9254">
                  <c:v>6.072088852437366</c:v>
                </c:pt>
                <c:pt idx="9255">
                  <c:v>5.9960255142441632</c:v>
                </c:pt>
                <c:pt idx="9256">
                  <c:v>5.0631769648584868</c:v>
                </c:pt>
                <c:pt idx="9257">
                  <c:v>5.9947852361991023</c:v>
                </c:pt>
                <c:pt idx="9258">
                  <c:v>4.963343986983217</c:v>
                </c:pt>
                <c:pt idx="9259">
                  <c:v>5.9781614497780691</c:v>
                </c:pt>
                <c:pt idx="9260">
                  <c:v>5.9599792322023806</c:v>
                </c:pt>
                <c:pt idx="9261">
                  <c:v>5.0916873136110246</c:v>
                </c:pt>
                <c:pt idx="9262">
                  <c:v>6.0592801844267186</c:v>
                </c:pt>
                <c:pt idx="9263">
                  <c:v>4.9795048786606344</c:v>
                </c:pt>
                <c:pt idx="9264">
                  <c:v>4.936060745339506</c:v>
                </c:pt>
                <c:pt idx="9265">
                  <c:v>5.9842640098709321</c:v>
                </c:pt>
                <c:pt idx="9266">
                  <c:v>4.9561866085004649</c:v>
                </c:pt>
                <c:pt idx="9267">
                  <c:v>5.0068345151649769</c:v>
                </c:pt>
                <c:pt idx="9268">
                  <c:v>5.0698343379115398</c:v>
                </c:pt>
                <c:pt idx="9269">
                  <c:v>6.0475735499901253</c:v>
                </c:pt>
                <c:pt idx="9270">
                  <c:v>5.9195521539601765</c:v>
                </c:pt>
                <c:pt idx="9271">
                  <c:v>6.0678515603030245</c:v>
                </c:pt>
                <c:pt idx="9272">
                  <c:v>5.9659507944502748</c:v>
                </c:pt>
                <c:pt idx="9273">
                  <c:v>5.8113259909408503</c:v>
                </c:pt>
                <c:pt idx="9274">
                  <c:v>6.16223996310001</c:v>
                </c:pt>
                <c:pt idx="9275">
                  <c:v>6.1303773471199818</c:v>
                </c:pt>
                <c:pt idx="9276">
                  <c:v>4.8988540399343492</c:v>
                </c:pt>
                <c:pt idx="9277">
                  <c:v>6.0126380948792963</c:v>
                </c:pt>
                <c:pt idx="9278">
                  <c:v>5.9775322815971892</c:v>
                </c:pt>
                <c:pt idx="9279">
                  <c:v>6.0189517776498791</c:v>
                </c:pt>
                <c:pt idx="9280">
                  <c:v>6.0001003367741044</c:v>
                </c:pt>
                <c:pt idx="9281">
                  <c:v>6.091878978186763</c:v>
                </c:pt>
                <c:pt idx="9282">
                  <c:v>5.966725334998773</c:v>
                </c:pt>
                <c:pt idx="9283">
                  <c:v>5.8922503633546492</c:v>
                </c:pt>
                <c:pt idx="9284">
                  <c:v>5.1142940431340733</c:v>
                </c:pt>
                <c:pt idx="9285">
                  <c:v>5.9708040850066677</c:v>
                </c:pt>
                <c:pt idx="9286">
                  <c:v>5.932390177549383</c:v>
                </c:pt>
                <c:pt idx="9287">
                  <c:v>5.0478620677842221</c:v>
                </c:pt>
                <c:pt idx="9288">
                  <c:v>4.911727142565633</c:v>
                </c:pt>
                <c:pt idx="9289">
                  <c:v>4.7877877261274264</c:v>
                </c:pt>
                <c:pt idx="9290">
                  <c:v>3.0443314972664393</c:v>
                </c:pt>
                <c:pt idx="9291">
                  <c:v>4.9588591502023647</c:v>
                </c:pt>
                <c:pt idx="9292">
                  <c:v>6.0835641850051818</c:v>
                </c:pt>
                <c:pt idx="9293">
                  <c:v>6.0096906112777724</c:v>
                </c:pt>
                <c:pt idx="9294">
                  <c:v>5.0121563897600403</c:v>
                </c:pt>
                <c:pt idx="9295">
                  <c:v>5.0145371174536519</c:v>
                </c:pt>
                <c:pt idx="9296">
                  <c:v>4.9699383488170223</c:v>
                </c:pt>
                <c:pt idx="9297">
                  <c:v>5.9919446152186477</c:v>
                </c:pt>
                <c:pt idx="9298">
                  <c:v>5.0206349491492386</c:v>
                </c:pt>
                <c:pt idx="9299">
                  <c:v>6.16518012835727</c:v>
                </c:pt>
                <c:pt idx="9300">
                  <c:v>5.0438277438935604</c:v>
                </c:pt>
                <c:pt idx="9301">
                  <c:v>6.0467713359918793</c:v>
                </c:pt>
                <c:pt idx="9302">
                  <c:v>5.9937724442437128</c:v>
                </c:pt>
                <c:pt idx="9303">
                  <c:v>6.1409783950244954</c:v>
                </c:pt>
                <c:pt idx="9304">
                  <c:v>5.6491192386771996</c:v>
                </c:pt>
                <c:pt idx="9305">
                  <c:v>4.9796963064816291</c:v>
                </c:pt>
                <c:pt idx="9306">
                  <c:v>4.9712182293008924</c:v>
                </c:pt>
                <c:pt idx="9307">
                  <c:v>6.1097622266031415</c:v>
                </c:pt>
                <c:pt idx="9308">
                  <c:v>4.9880672713242848</c:v>
                </c:pt>
                <c:pt idx="9309">
                  <c:v>6.066688142145618</c:v>
                </c:pt>
                <c:pt idx="9310">
                  <c:v>6.0155734585662097</c:v>
                </c:pt>
                <c:pt idx="9311">
                  <c:v>4.974341323964528</c:v>
                </c:pt>
                <c:pt idx="9312">
                  <c:v>5.1110488558643299</c:v>
                </c:pt>
                <c:pt idx="9313">
                  <c:v>5.8734960506337037</c:v>
                </c:pt>
                <c:pt idx="9314">
                  <c:v>6.0590733059181536</c:v>
                </c:pt>
                <c:pt idx="9315">
                  <c:v>5.8781416755201166</c:v>
                </c:pt>
                <c:pt idx="9316">
                  <c:v>6.0775595411943337</c:v>
                </c:pt>
                <c:pt idx="9317">
                  <c:v>4.9817427254534259</c:v>
                </c:pt>
                <c:pt idx="9318">
                  <c:v>6.0850642948938019</c:v>
                </c:pt>
                <c:pt idx="9319">
                  <c:v>6.0222462006700068</c:v>
                </c:pt>
                <c:pt idx="9320">
                  <c:v>7.1687699124276172</c:v>
                </c:pt>
                <c:pt idx="9321">
                  <c:v>5.0180026259660941</c:v>
                </c:pt>
                <c:pt idx="9322">
                  <c:v>5.8997947166241573</c:v>
                </c:pt>
                <c:pt idx="9323">
                  <c:v>5.1592475641045077</c:v>
                </c:pt>
                <c:pt idx="9324">
                  <c:v>5.727322212867838</c:v>
                </c:pt>
                <c:pt idx="9325">
                  <c:v>5.8266527225218541</c:v>
                </c:pt>
                <c:pt idx="9326">
                  <c:v>5.962107935359402</c:v>
                </c:pt>
                <c:pt idx="9327">
                  <c:v>6.0301380242274298</c:v>
                </c:pt>
                <c:pt idx="9328">
                  <c:v>5.0383019303533771</c:v>
                </c:pt>
                <c:pt idx="9329">
                  <c:v>6.0006152040786045</c:v>
                </c:pt>
                <c:pt idx="9330">
                  <c:v>5.1640539197581772</c:v>
                </c:pt>
                <c:pt idx="9331">
                  <c:v>6.1230434043385014</c:v>
                </c:pt>
                <c:pt idx="9332">
                  <c:v>4.859172498576819</c:v>
                </c:pt>
                <c:pt idx="9333">
                  <c:v>5.043285583949638</c:v>
                </c:pt>
                <c:pt idx="9334">
                  <c:v>5.0609657403461457</c:v>
                </c:pt>
                <c:pt idx="9335">
                  <c:v>6.0029110910060881</c:v>
                </c:pt>
                <c:pt idx="9336">
                  <c:v>6.0484794124253849</c:v>
                </c:pt>
                <c:pt idx="9337">
                  <c:v>5.0251730416899161</c:v>
                </c:pt>
                <c:pt idx="9338">
                  <c:v>6.1497489374420784</c:v>
                </c:pt>
                <c:pt idx="9339">
                  <c:v>4.9762685987647854</c:v>
                </c:pt>
                <c:pt idx="9340">
                  <c:v>5.0460297381213683</c:v>
                </c:pt>
                <c:pt idx="9341">
                  <c:v>4.8542853845834495</c:v>
                </c:pt>
                <c:pt idx="9342">
                  <c:v>5.9186971137192748</c:v>
                </c:pt>
                <c:pt idx="9343">
                  <c:v>7.1483610124072907</c:v>
                </c:pt>
                <c:pt idx="9344">
                  <c:v>5.017957366621749</c:v>
                </c:pt>
                <c:pt idx="9345">
                  <c:v>4.7582987384084054</c:v>
                </c:pt>
                <c:pt idx="9346">
                  <c:v>6.0295654235924658</c:v>
                </c:pt>
                <c:pt idx="9347">
                  <c:v>5.7924074729920614</c:v>
                </c:pt>
                <c:pt idx="9348">
                  <c:v>5.9927749906925296</c:v>
                </c:pt>
                <c:pt idx="9349">
                  <c:v>5.8865165230790906</c:v>
                </c:pt>
                <c:pt idx="9350">
                  <c:v>4.94992660829468</c:v>
                </c:pt>
                <c:pt idx="9351">
                  <c:v>5.1197853878263286</c:v>
                </c:pt>
                <c:pt idx="9352">
                  <c:v>4.998841033835248</c:v>
                </c:pt>
                <c:pt idx="9353">
                  <c:v>5.0086743802374549</c:v>
                </c:pt>
                <c:pt idx="9354">
                  <c:v>6.1244157789363234</c:v>
                </c:pt>
                <c:pt idx="9355">
                  <c:v>5.1619185383863364</c:v>
                </c:pt>
                <c:pt idx="9356">
                  <c:v>5.9748696037015314</c:v>
                </c:pt>
                <c:pt idx="9357">
                  <c:v>4.8319114053278902</c:v>
                </c:pt>
                <c:pt idx="9358">
                  <c:v>5.9032899980647784</c:v>
                </c:pt>
                <c:pt idx="9359">
                  <c:v>5.8093534641060636</c:v>
                </c:pt>
                <c:pt idx="9360">
                  <c:v>4.944420542490926</c:v>
                </c:pt>
                <c:pt idx="9361">
                  <c:v>4.974677621236741</c:v>
                </c:pt>
                <c:pt idx="9362">
                  <c:v>4.8860908503037326</c:v>
                </c:pt>
                <c:pt idx="9363">
                  <c:v>6.0462331014621133</c:v>
                </c:pt>
                <c:pt idx="9364">
                  <c:v>5.0131079295283403</c:v>
                </c:pt>
                <c:pt idx="9365">
                  <c:v>6.0472718834396648</c:v>
                </c:pt>
                <c:pt idx="9366">
                  <c:v>6.0178916151250714</c:v>
                </c:pt>
                <c:pt idx="9367">
                  <c:v>6.0985532431870997</c:v>
                </c:pt>
                <c:pt idx="9368">
                  <c:v>4.8497371364222293</c:v>
                </c:pt>
                <c:pt idx="9369">
                  <c:v>6.0306701118930741</c:v>
                </c:pt>
                <c:pt idx="9370">
                  <c:v>5.9628739728676772</c:v>
                </c:pt>
                <c:pt idx="9371">
                  <c:v>6.0866893236125019</c:v>
                </c:pt>
                <c:pt idx="9372">
                  <c:v>5.9849181822143542</c:v>
                </c:pt>
                <c:pt idx="9373">
                  <c:v>4.9432408516162099</c:v>
                </c:pt>
                <c:pt idx="9374">
                  <c:v>6.0073377403504562</c:v>
                </c:pt>
                <c:pt idx="9375">
                  <c:v>6.0795396587704325</c:v>
                </c:pt>
                <c:pt idx="9376">
                  <c:v>6.1988770399375381</c:v>
                </c:pt>
                <c:pt idx="9377">
                  <c:v>6.0936963421642165</c:v>
                </c:pt>
                <c:pt idx="9378">
                  <c:v>4.8766912464783259</c:v>
                </c:pt>
                <c:pt idx="9379">
                  <c:v>5.9210685562259293</c:v>
                </c:pt>
                <c:pt idx="9380">
                  <c:v>5.1468580075658856</c:v>
                </c:pt>
                <c:pt idx="9381">
                  <c:v>5.965437065317408</c:v>
                </c:pt>
                <c:pt idx="9382">
                  <c:v>5.8618327808661093</c:v>
                </c:pt>
                <c:pt idx="9383">
                  <c:v>6.0497089474108074</c:v>
                </c:pt>
                <c:pt idx="9384">
                  <c:v>5.8650465033693004</c:v>
                </c:pt>
                <c:pt idx="9385">
                  <c:v>4.9683421827614431</c:v>
                </c:pt>
                <c:pt idx="9386">
                  <c:v>6.0728867447576418</c:v>
                </c:pt>
                <c:pt idx="9387">
                  <c:v>5.9356576243735297</c:v>
                </c:pt>
                <c:pt idx="9388">
                  <c:v>5.892678259132917</c:v>
                </c:pt>
                <c:pt idx="9389">
                  <c:v>5.8870703990364346</c:v>
                </c:pt>
                <c:pt idx="9390">
                  <c:v>5.9812977516656813</c:v>
                </c:pt>
                <c:pt idx="9391">
                  <c:v>5.901371914502092</c:v>
                </c:pt>
                <c:pt idx="9392">
                  <c:v>5.9681184937314509</c:v>
                </c:pt>
                <c:pt idx="9393">
                  <c:v>5.1186195165358841</c:v>
                </c:pt>
                <c:pt idx="9394">
                  <c:v>6.13898026270373</c:v>
                </c:pt>
                <c:pt idx="9395">
                  <c:v>4.7873028217763958</c:v>
                </c:pt>
                <c:pt idx="9396">
                  <c:v>6.2240051873877942</c:v>
                </c:pt>
                <c:pt idx="9397">
                  <c:v>5.8730968818372613</c:v>
                </c:pt>
                <c:pt idx="9398">
                  <c:v>5.0951585610164836</c:v>
                </c:pt>
                <c:pt idx="9399">
                  <c:v>5.8445149400155625</c:v>
                </c:pt>
                <c:pt idx="9400">
                  <c:v>6.0672876701054239</c:v>
                </c:pt>
                <c:pt idx="9401">
                  <c:v>5.0025126943448619</c:v>
                </c:pt>
                <c:pt idx="9402">
                  <c:v>4.9275183963600995</c:v>
                </c:pt>
                <c:pt idx="9403">
                  <c:v>4.8414837230563572</c:v>
                </c:pt>
                <c:pt idx="9404">
                  <c:v>6.0354399938147134</c:v>
                </c:pt>
                <c:pt idx="9405">
                  <c:v>4.9242730873797687</c:v>
                </c:pt>
                <c:pt idx="9406">
                  <c:v>5.9692869501716102</c:v>
                </c:pt>
                <c:pt idx="9407">
                  <c:v>5.9081937323020357</c:v>
                </c:pt>
                <c:pt idx="9408">
                  <c:v>5.9881026818480887</c:v>
                </c:pt>
                <c:pt idx="9409">
                  <c:v>5.8626028930436629</c:v>
                </c:pt>
                <c:pt idx="9410">
                  <c:v>6.0726634212009776</c:v>
                </c:pt>
                <c:pt idx="9411">
                  <c:v>6.1008279470899494</c:v>
                </c:pt>
                <c:pt idx="9412">
                  <c:v>4.0983157321662453</c:v>
                </c:pt>
                <c:pt idx="9413">
                  <c:v>5.9241351602033134</c:v>
                </c:pt>
                <c:pt idx="9414">
                  <c:v>5.8522406191495548</c:v>
                </c:pt>
                <c:pt idx="9415">
                  <c:v>5.9292274945862697</c:v>
                </c:pt>
                <c:pt idx="9416">
                  <c:v>6.02459365493156</c:v>
                </c:pt>
                <c:pt idx="9417">
                  <c:v>4.9998318882748789</c:v>
                </c:pt>
                <c:pt idx="9418">
                  <c:v>5.9548801623229517</c:v>
                </c:pt>
                <c:pt idx="9419">
                  <c:v>5.0523177803060886</c:v>
                </c:pt>
                <c:pt idx="9420">
                  <c:v>5.9862928999208602</c:v>
                </c:pt>
                <c:pt idx="9421">
                  <c:v>6.1331476221448185</c:v>
                </c:pt>
                <c:pt idx="9422">
                  <c:v>6.1735851685575733</c:v>
                </c:pt>
                <c:pt idx="9423">
                  <c:v>6.0271286245625406</c:v>
                </c:pt>
                <c:pt idx="9424">
                  <c:v>6.0155762882011059</c:v>
                </c:pt>
                <c:pt idx="9425">
                  <c:v>6.1017216095410927</c:v>
                </c:pt>
                <c:pt idx="9426">
                  <c:v>6.188951324438662</c:v>
                </c:pt>
                <c:pt idx="9427">
                  <c:v>6.0239966096851738</c:v>
                </c:pt>
                <c:pt idx="9428">
                  <c:v>5.9555689637590232</c:v>
                </c:pt>
                <c:pt idx="9429">
                  <c:v>5.8562496868889387</c:v>
                </c:pt>
                <c:pt idx="9430">
                  <c:v>6.0483466838639339</c:v>
                </c:pt>
                <c:pt idx="9431">
                  <c:v>6.0192772795212939</c:v>
                </c:pt>
                <c:pt idx="9432">
                  <c:v>4.9777883743836515</c:v>
                </c:pt>
                <c:pt idx="9433">
                  <c:v>5.9586354891367979</c:v>
                </c:pt>
                <c:pt idx="9434">
                  <c:v>4.8361223390696884</c:v>
                </c:pt>
                <c:pt idx="9435">
                  <c:v>6.084970608438236</c:v>
                </c:pt>
                <c:pt idx="9436">
                  <c:v>5.8865146361122456</c:v>
                </c:pt>
                <c:pt idx="9437">
                  <c:v>6.1051929144906421</c:v>
                </c:pt>
                <c:pt idx="9438">
                  <c:v>5.9919165395456293</c:v>
                </c:pt>
                <c:pt idx="9439">
                  <c:v>4.9418020001555263</c:v>
                </c:pt>
                <c:pt idx="9440">
                  <c:v>4.9934960320644031</c:v>
                </c:pt>
                <c:pt idx="9441">
                  <c:v>4.8294048293705547</c:v>
                </c:pt>
                <c:pt idx="9442">
                  <c:v>5.9986397389417094</c:v>
                </c:pt>
                <c:pt idx="9443">
                  <c:v>4.9224710384517003</c:v>
                </c:pt>
                <c:pt idx="9444">
                  <c:v>4.983526642317563</c:v>
                </c:pt>
                <c:pt idx="9445">
                  <c:v>5.9023068263653631</c:v>
                </c:pt>
                <c:pt idx="9446">
                  <c:v>4.9509595686726096</c:v>
                </c:pt>
                <c:pt idx="9447">
                  <c:v>5.0406878847988121</c:v>
                </c:pt>
                <c:pt idx="9448">
                  <c:v>3.944428474241636</c:v>
                </c:pt>
                <c:pt idx="9449">
                  <c:v>4.8772675652542263</c:v>
                </c:pt>
                <c:pt idx="9450">
                  <c:v>5.0295985202303886</c:v>
                </c:pt>
                <c:pt idx="9451">
                  <c:v>5.991222960522026</c:v>
                </c:pt>
                <c:pt idx="9452">
                  <c:v>5.0238572087070175</c:v>
                </c:pt>
                <c:pt idx="9453">
                  <c:v>5.0039022052323521</c:v>
                </c:pt>
                <c:pt idx="9454">
                  <c:v>4.9105575625197364</c:v>
                </c:pt>
                <c:pt idx="9455">
                  <c:v>5.8844446975979068</c:v>
                </c:pt>
                <c:pt idx="9456">
                  <c:v>4.8682911275439258</c:v>
                </c:pt>
                <c:pt idx="9457">
                  <c:v>5.9168272364416641</c:v>
                </c:pt>
                <c:pt idx="9458">
                  <c:v>4.9781474785323772</c:v>
                </c:pt>
                <c:pt idx="9459">
                  <c:v>5.9187901304447603</c:v>
                </c:pt>
                <c:pt idx="9460">
                  <c:v>6.0824664752011763</c:v>
                </c:pt>
                <c:pt idx="9461">
                  <c:v>5.9701615462900461</c:v>
                </c:pt>
                <c:pt idx="9462">
                  <c:v>5.0633526791567514</c:v>
                </c:pt>
                <c:pt idx="9463">
                  <c:v>5.9859817763603003</c:v>
                </c:pt>
                <c:pt idx="9464">
                  <c:v>5.9327644301687847</c:v>
                </c:pt>
                <c:pt idx="9465">
                  <c:v>6.0193959178871701</c:v>
                </c:pt>
                <c:pt idx="9466">
                  <c:v>6.0480152408495238</c:v>
                </c:pt>
                <c:pt idx="9467">
                  <c:v>5.892620758566526</c:v>
                </c:pt>
                <c:pt idx="9468">
                  <c:v>4.9593261160462561</c:v>
                </c:pt>
                <c:pt idx="9469">
                  <c:v>5.0339024383377788</c:v>
                </c:pt>
                <c:pt idx="9470">
                  <c:v>6.9747470096034236</c:v>
                </c:pt>
                <c:pt idx="9471">
                  <c:v>6.1797834135758647</c:v>
                </c:pt>
                <c:pt idx="9472">
                  <c:v>6.055744862128547</c:v>
                </c:pt>
                <c:pt idx="9473">
                  <c:v>6.0702325482102601</c:v>
                </c:pt>
                <c:pt idx="9474">
                  <c:v>5.8720201799542799</c:v>
                </c:pt>
                <c:pt idx="9475">
                  <c:v>4.9212887463236585</c:v>
                </c:pt>
                <c:pt idx="9476">
                  <c:v>6.017745833084013</c:v>
                </c:pt>
                <c:pt idx="9477">
                  <c:v>5.8728716965703809</c:v>
                </c:pt>
                <c:pt idx="9478">
                  <c:v>4.9279353180752077</c:v>
                </c:pt>
                <c:pt idx="9479">
                  <c:v>5.896823810916457</c:v>
                </c:pt>
                <c:pt idx="9480">
                  <c:v>6.0209592050873892</c:v>
                </c:pt>
                <c:pt idx="9481">
                  <c:v>5.9425130241092994</c:v>
                </c:pt>
                <c:pt idx="9482">
                  <c:v>5.9970219417556097</c:v>
                </c:pt>
                <c:pt idx="9483">
                  <c:v>5.902975406976962</c:v>
                </c:pt>
                <c:pt idx="9484">
                  <c:v>6.0990103927841703</c:v>
                </c:pt>
                <c:pt idx="9485">
                  <c:v>5.9441090785823079</c:v>
                </c:pt>
                <c:pt idx="9486">
                  <c:v>4.8407165206106928</c:v>
                </c:pt>
                <c:pt idx="9487">
                  <c:v>5.8464847263406474</c:v>
                </c:pt>
                <c:pt idx="9488">
                  <c:v>6.0594434816779108</c:v>
                </c:pt>
                <c:pt idx="9489">
                  <c:v>5.8783215463549947</c:v>
                </c:pt>
                <c:pt idx="9490">
                  <c:v>4.8961706261176055</c:v>
                </c:pt>
                <c:pt idx="9491">
                  <c:v>5.9057774491675739</c:v>
                </c:pt>
                <c:pt idx="9492">
                  <c:v>4.8025896814363724</c:v>
                </c:pt>
                <c:pt idx="9493">
                  <c:v>4.9605271352716533</c:v>
                </c:pt>
                <c:pt idx="9494">
                  <c:v>5.0511146312201767</c:v>
                </c:pt>
                <c:pt idx="9495">
                  <c:v>4.9346550413121095</c:v>
                </c:pt>
                <c:pt idx="9496">
                  <c:v>4.9327605489555388</c:v>
                </c:pt>
                <c:pt idx="9497">
                  <c:v>5.995718074989469</c:v>
                </c:pt>
                <c:pt idx="9498">
                  <c:v>4.8849067093701732</c:v>
                </c:pt>
                <c:pt idx="9499">
                  <c:v>6.0365754923650128</c:v>
                </c:pt>
                <c:pt idx="9500">
                  <c:v>6.036800925990633</c:v>
                </c:pt>
                <c:pt idx="9501">
                  <c:v>4.8747267807066983</c:v>
                </c:pt>
                <c:pt idx="9502">
                  <c:v>4.9687127977523851</c:v>
                </c:pt>
                <c:pt idx="9503">
                  <c:v>5.0656815788410166</c:v>
                </c:pt>
                <c:pt idx="9504">
                  <c:v>6.0707220437024736</c:v>
                </c:pt>
                <c:pt idx="9505">
                  <c:v>5.9145971954181391</c:v>
                </c:pt>
                <c:pt idx="9506">
                  <c:v>5.0557517526136913</c:v>
                </c:pt>
                <c:pt idx="9507">
                  <c:v>5.959431969825232</c:v>
                </c:pt>
                <c:pt idx="9508">
                  <c:v>6.1848700086664126</c:v>
                </c:pt>
                <c:pt idx="9509">
                  <c:v>5.8667082503699151</c:v>
                </c:pt>
                <c:pt idx="9510">
                  <c:v>5.9181852003688293</c:v>
                </c:pt>
                <c:pt idx="9511">
                  <c:v>6.029076446819098</c:v>
                </c:pt>
                <c:pt idx="9512">
                  <c:v>6.1525325908279527</c:v>
                </c:pt>
                <c:pt idx="9513">
                  <c:v>5.8120550246068374</c:v>
                </c:pt>
                <c:pt idx="9514">
                  <c:v>4.8883970020390972</c:v>
                </c:pt>
                <c:pt idx="9515">
                  <c:v>6.0520354051160901</c:v>
                </c:pt>
                <c:pt idx="9516">
                  <c:v>4.9525113715187654</c:v>
                </c:pt>
                <c:pt idx="9517">
                  <c:v>6.0195973518185513</c:v>
                </c:pt>
                <c:pt idx="9518">
                  <c:v>5.9278846115272668</c:v>
                </c:pt>
                <c:pt idx="9519">
                  <c:v>5.1073301320138889</c:v>
                </c:pt>
                <c:pt idx="9520">
                  <c:v>4.9514607373193558</c:v>
                </c:pt>
                <c:pt idx="9521">
                  <c:v>5.7958484302220246</c:v>
                </c:pt>
                <c:pt idx="9522">
                  <c:v>5.045074540983264</c:v>
                </c:pt>
                <c:pt idx="9523">
                  <c:v>5.9652220770019806</c:v>
                </c:pt>
                <c:pt idx="9524">
                  <c:v>6.8501535741504789</c:v>
                </c:pt>
                <c:pt idx="9525">
                  <c:v>4.9898074275078157</c:v>
                </c:pt>
                <c:pt idx="9526">
                  <c:v>5.7628364470026261</c:v>
                </c:pt>
                <c:pt idx="9527">
                  <c:v>6.1535345874946374</c:v>
                </c:pt>
                <c:pt idx="9528">
                  <c:v>6.0573829297901893</c:v>
                </c:pt>
                <c:pt idx="9529">
                  <c:v>4.9881826378371406</c:v>
                </c:pt>
                <c:pt idx="9530">
                  <c:v>5.8905518022422259</c:v>
                </c:pt>
                <c:pt idx="9531">
                  <c:v>5.0367077371156883</c:v>
                </c:pt>
                <c:pt idx="9532">
                  <c:v>7.0388162323667567</c:v>
                </c:pt>
                <c:pt idx="9533">
                  <c:v>5.0281821866617369</c:v>
                </c:pt>
                <c:pt idx="9534">
                  <c:v>5.9448166602648591</c:v>
                </c:pt>
                <c:pt idx="9535">
                  <c:v>5.9798737756582199</c:v>
                </c:pt>
                <c:pt idx="9536">
                  <c:v>5.9033784679259913</c:v>
                </c:pt>
                <c:pt idx="9537">
                  <c:v>5.096351254112875</c:v>
                </c:pt>
                <c:pt idx="9538">
                  <c:v>6.0933889978036397</c:v>
                </c:pt>
                <c:pt idx="9539">
                  <c:v>6.0084276076294509</c:v>
                </c:pt>
                <c:pt idx="9540">
                  <c:v>6.1027717353372566</c:v>
                </c:pt>
                <c:pt idx="9541">
                  <c:v>5.9182599619453331</c:v>
                </c:pt>
                <c:pt idx="9542">
                  <c:v>6.0926164225820596</c:v>
                </c:pt>
                <c:pt idx="9543">
                  <c:v>6.0553965528202784</c:v>
                </c:pt>
                <c:pt idx="9544">
                  <c:v>4.9478018430459301</c:v>
                </c:pt>
                <c:pt idx="9545">
                  <c:v>4.958013815038858</c:v>
                </c:pt>
                <c:pt idx="9546">
                  <c:v>6.0062655402069467</c:v>
                </c:pt>
                <c:pt idx="9547">
                  <c:v>5.0830315078096611</c:v>
                </c:pt>
                <c:pt idx="9548">
                  <c:v>5.0241491775903544</c:v>
                </c:pt>
                <c:pt idx="9549">
                  <c:v>5.1764396542500366</c:v>
                </c:pt>
                <c:pt idx="9550">
                  <c:v>4.9761973238424728</c:v>
                </c:pt>
                <c:pt idx="9551">
                  <c:v>5.9069100976152944</c:v>
                </c:pt>
                <c:pt idx="9552">
                  <c:v>5.9872119891897846</c:v>
                </c:pt>
                <c:pt idx="9553">
                  <c:v>5.9545142207918174</c:v>
                </c:pt>
                <c:pt idx="9554">
                  <c:v>4.9129931260762216</c:v>
                </c:pt>
                <c:pt idx="9555">
                  <c:v>6.1074368603974589</c:v>
                </c:pt>
                <c:pt idx="9556">
                  <c:v>5.9868174790355839</c:v>
                </c:pt>
                <c:pt idx="9557">
                  <c:v>5.0625852847246193</c:v>
                </c:pt>
                <c:pt idx="9558">
                  <c:v>5.7997029589732678</c:v>
                </c:pt>
                <c:pt idx="9559">
                  <c:v>6.2164413936191032</c:v>
                </c:pt>
                <c:pt idx="9560">
                  <c:v>5.9769658218791397</c:v>
                </c:pt>
                <c:pt idx="9561">
                  <c:v>5.9307619361838153</c:v>
                </c:pt>
                <c:pt idx="9562">
                  <c:v>4.9730491138721389</c:v>
                </c:pt>
                <c:pt idx="9563">
                  <c:v>4.9367022279817441</c:v>
                </c:pt>
                <c:pt idx="9564">
                  <c:v>5.0604217405147311</c:v>
                </c:pt>
                <c:pt idx="9565">
                  <c:v>5.0752902489179421</c:v>
                </c:pt>
                <c:pt idx="9566">
                  <c:v>5.1079800478202282</c:v>
                </c:pt>
                <c:pt idx="9567">
                  <c:v>5.89585502920177</c:v>
                </c:pt>
                <c:pt idx="9568">
                  <c:v>5.9695042476128801</c:v>
                </c:pt>
                <c:pt idx="9569">
                  <c:v>4.8964764606295352</c:v>
                </c:pt>
                <c:pt idx="9570">
                  <c:v>5.8916186481867463</c:v>
                </c:pt>
                <c:pt idx="9571">
                  <c:v>5.1131915397386347</c:v>
                </c:pt>
                <c:pt idx="9572">
                  <c:v>7.2229033074165399</c:v>
                </c:pt>
                <c:pt idx="9573">
                  <c:v>4.9106854274989482</c:v>
                </c:pt>
                <c:pt idx="9574">
                  <c:v>5.959324814907494</c:v>
                </c:pt>
                <c:pt idx="9575">
                  <c:v>4.9173301765921025</c:v>
                </c:pt>
                <c:pt idx="9576">
                  <c:v>4.9281158798215232</c:v>
                </c:pt>
                <c:pt idx="9577">
                  <c:v>4.909810509952</c:v>
                </c:pt>
                <c:pt idx="9578">
                  <c:v>7.0499919844381411</c:v>
                </c:pt>
                <c:pt idx="9579">
                  <c:v>5.0346564740789335</c:v>
                </c:pt>
                <c:pt idx="9580">
                  <c:v>6.1680101060219474</c:v>
                </c:pt>
                <c:pt idx="9581">
                  <c:v>5.9869562134549374</c:v>
                </c:pt>
                <c:pt idx="9582">
                  <c:v>6.0944634497838654</c:v>
                </c:pt>
                <c:pt idx="9583">
                  <c:v>6.9416236674722462</c:v>
                </c:pt>
                <c:pt idx="9584">
                  <c:v>4.97809365948733</c:v>
                </c:pt>
                <c:pt idx="9585">
                  <c:v>6.0954520406739379</c:v>
                </c:pt>
                <c:pt idx="9586">
                  <c:v>5.1100323107031294</c:v>
                </c:pt>
                <c:pt idx="9587">
                  <c:v>4.875755286559782</c:v>
                </c:pt>
                <c:pt idx="9588">
                  <c:v>5.8645507332857765</c:v>
                </c:pt>
                <c:pt idx="9589">
                  <c:v>5.01134876832859</c:v>
                </c:pt>
                <c:pt idx="9590">
                  <c:v>4.9742169755061223</c:v>
                </c:pt>
                <c:pt idx="9591">
                  <c:v>4.9620506980466565</c:v>
                </c:pt>
                <c:pt idx="9592">
                  <c:v>4.8840745922839881</c:v>
                </c:pt>
                <c:pt idx="9593">
                  <c:v>4.8623253758850637</c:v>
                </c:pt>
                <c:pt idx="9594">
                  <c:v>5.9833208523981991</c:v>
                </c:pt>
                <c:pt idx="9595">
                  <c:v>4.8695541658142636</c:v>
                </c:pt>
                <c:pt idx="9596">
                  <c:v>4.9914489563769466</c:v>
                </c:pt>
                <c:pt idx="9597">
                  <c:v>5.9811449277498223</c:v>
                </c:pt>
                <c:pt idx="9598">
                  <c:v>5.9081567296161142</c:v>
                </c:pt>
                <c:pt idx="9599">
                  <c:v>6.0175823616327779</c:v>
                </c:pt>
                <c:pt idx="9600">
                  <c:v>5.198288968779508</c:v>
                </c:pt>
                <c:pt idx="9601">
                  <c:v>5.9712063654737317</c:v>
                </c:pt>
                <c:pt idx="9602">
                  <c:v>4.874666919640207</c:v>
                </c:pt>
                <c:pt idx="9603">
                  <c:v>5.0032475080935175</c:v>
                </c:pt>
                <c:pt idx="9604">
                  <c:v>5.191302973350588</c:v>
                </c:pt>
                <c:pt idx="9605">
                  <c:v>5.0671235851823093</c:v>
                </c:pt>
                <c:pt idx="9606">
                  <c:v>4.9608257349717055</c:v>
                </c:pt>
                <c:pt idx="9607">
                  <c:v>5.0771694301651884</c:v>
                </c:pt>
                <c:pt idx="9608">
                  <c:v>4.8773849698088254</c:v>
                </c:pt>
                <c:pt idx="9609">
                  <c:v>4.9341681318047375</c:v>
                </c:pt>
                <c:pt idx="9610">
                  <c:v>5.0470357347558075</c:v>
                </c:pt>
                <c:pt idx="9611">
                  <c:v>4.8803171246007571</c:v>
                </c:pt>
                <c:pt idx="9612">
                  <c:v>5.112508657072194</c:v>
                </c:pt>
                <c:pt idx="9613">
                  <c:v>6.0291298731421072</c:v>
                </c:pt>
                <c:pt idx="9614">
                  <c:v>6.0241011098763098</c:v>
                </c:pt>
                <c:pt idx="9615">
                  <c:v>4.8495104004409519</c:v>
                </c:pt>
                <c:pt idx="9616">
                  <c:v>4.8871614835024308</c:v>
                </c:pt>
                <c:pt idx="9617">
                  <c:v>5.1776936437651377</c:v>
                </c:pt>
                <c:pt idx="9618">
                  <c:v>6.037606003225978</c:v>
                </c:pt>
                <c:pt idx="9619">
                  <c:v>4.8898458086883165</c:v>
                </c:pt>
                <c:pt idx="9620">
                  <c:v>4.9679402881939128</c:v>
                </c:pt>
                <c:pt idx="9621">
                  <c:v>5.0942904879141482</c:v>
                </c:pt>
                <c:pt idx="9622">
                  <c:v>4.9860132981996319</c:v>
                </c:pt>
                <c:pt idx="9623">
                  <c:v>5.0565758450491884</c:v>
                </c:pt>
                <c:pt idx="9624">
                  <c:v>6.1440686774613367</c:v>
                </c:pt>
                <c:pt idx="9625">
                  <c:v>5.1052179101774673</c:v>
                </c:pt>
                <c:pt idx="9626">
                  <c:v>5.0491589518300533</c:v>
                </c:pt>
                <c:pt idx="9627">
                  <c:v>6.0123750036703036</c:v>
                </c:pt>
                <c:pt idx="9628">
                  <c:v>5.9902753861395981</c:v>
                </c:pt>
                <c:pt idx="9629">
                  <c:v>5.0886321256411993</c:v>
                </c:pt>
                <c:pt idx="9630">
                  <c:v>5.0313347782381364</c:v>
                </c:pt>
                <c:pt idx="9631">
                  <c:v>4.9124803058950981</c:v>
                </c:pt>
                <c:pt idx="9632">
                  <c:v>5.8976866242423487</c:v>
                </c:pt>
                <c:pt idx="9633">
                  <c:v>4.84761627809341</c:v>
                </c:pt>
                <c:pt idx="9634">
                  <c:v>4.8368340005499189</c:v>
                </c:pt>
                <c:pt idx="9635">
                  <c:v>5.984731997634622</c:v>
                </c:pt>
                <c:pt idx="9636">
                  <c:v>5.027724739599571</c:v>
                </c:pt>
                <c:pt idx="9637">
                  <c:v>4.1744310563943348</c:v>
                </c:pt>
                <c:pt idx="9638">
                  <c:v>3.9577292662010719</c:v>
                </c:pt>
                <c:pt idx="9639">
                  <c:v>6.0538970922257382</c:v>
                </c:pt>
                <c:pt idx="9640">
                  <c:v>4.903450830490339</c:v>
                </c:pt>
                <c:pt idx="9641">
                  <c:v>4.994189037171644</c:v>
                </c:pt>
                <c:pt idx="9642">
                  <c:v>5.0419981816805945</c:v>
                </c:pt>
                <c:pt idx="9643">
                  <c:v>6.0184929020275142</c:v>
                </c:pt>
                <c:pt idx="9644">
                  <c:v>6.0637274459309394</c:v>
                </c:pt>
                <c:pt idx="9645">
                  <c:v>5.0896405031641239</c:v>
                </c:pt>
                <c:pt idx="9646">
                  <c:v>6.0233967340870986</c:v>
                </c:pt>
                <c:pt idx="9647">
                  <c:v>5.1479324297306404</c:v>
                </c:pt>
                <c:pt idx="9648">
                  <c:v>4.9212749323737688</c:v>
                </c:pt>
                <c:pt idx="9649">
                  <c:v>4.9469616738614901</c:v>
                </c:pt>
                <c:pt idx="9650">
                  <c:v>4.9782707544500981</c:v>
                </c:pt>
                <c:pt idx="9651">
                  <c:v>5.2141645271826125</c:v>
                </c:pt>
                <c:pt idx="9652">
                  <c:v>6.9150795760375052</c:v>
                </c:pt>
                <c:pt idx="9653">
                  <c:v>5.9233506948836965</c:v>
                </c:pt>
                <c:pt idx="9654">
                  <c:v>4.8308054961409264</c:v>
                </c:pt>
                <c:pt idx="9655">
                  <c:v>6.112296889014071</c:v>
                </c:pt>
                <c:pt idx="9656">
                  <c:v>5.1404447643174871</c:v>
                </c:pt>
                <c:pt idx="9657">
                  <c:v>5.9721518245532135</c:v>
                </c:pt>
                <c:pt idx="9658">
                  <c:v>6.0877577865688375</c:v>
                </c:pt>
                <c:pt idx="9659">
                  <c:v>4.9153412271179153</c:v>
                </c:pt>
                <c:pt idx="9660">
                  <c:v>5.9907629328919318</c:v>
                </c:pt>
                <c:pt idx="9661">
                  <c:v>6.1488159384079548</c:v>
                </c:pt>
                <c:pt idx="9662">
                  <c:v>5.1659263377292293</c:v>
                </c:pt>
                <c:pt idx="9663">
                  <c:v>6.0667229014591664</c:v>
                </c:pt>
                <c:pt idx="9664">
                  <c:v>6.0836614166439951</c:v>
                </c:pt>
                <c:pt idx="9665">
                  <c:v>4.9253316826150408</c:v>
                </c:pt>
                <c:pt idx="9666">
                  <c:v>5.0768624288872024</c:v>
                </c:pt>
                <c:pt idx="9667">
                  <c:v>5.0346494847623173</c:v>
                </c:pt>
                <c:pt idx="9668">
                  <c:v>5.9704368783994832</c:v>
                </c:pt>
                <c:pt idx="9669">
                  <c:v>4.8174365782958191</c:v>
                </c:pt>
                <c:pt idx="9670">
                  <c:v>5.212637437375089</c:v>
                </c:pt>
                <c:pt idx="9671">
                  <c:v>5.9046818436135906</c:v>
                </c:pt>
                <c:pt idx="9672">
                  <c:v>4.9884676219646504</c:v>
                </c:pt>
                <c:pt idx="9673">
                  <c:v>6.0268604177681304</c:v>
                </c:pt>
                <c:pt idx="9674">
                  <c:v>5.8700013399919868</c:v>
                </c:pt>
                <c:pt idx="9675">
                  <c:v>6.1494510769544801</c:v>
                </c:pt>
                <c:pt idx="9676">
                  <c:v>6.0549535218244337</c:v>
                </c:pt>
                <c:pt idx="9677">
                  <c:v>5.9608687769394839</c:v>
                </c:pt>
                <c:pt idx="9678">
                  <c:v>5.948865511527166</c:v>
                </c:pt>
                <c:pt idx="9679">
                  <c:v>6.0563991640296857</c:v>
                </c:pt>
                <c:pt idx="9680">
                  <c:v>5.0618195095464946</c:v>
                </c:pt>
                <c:pt idx="9681">
                  <c:v>5.895462981265621</c:v>
                </c:pt>
                <c:pt idx="9682">
                  <c:v>4.0023356133864905</c:v>
                </c:pt>
                <c:pt idx="9683">
                  <c:v>4.0195888370899899</c:v>
                </c:pt>
                <c:pt idx="9684">
                  <c:v>6.8932439663567182</c:v>
                </c:pt>
                <c:pt idx="9685">
                  <c:v>5.9319840812289222</c:v>
                </c:pt>
                <c:pt idx="9686">
                  <c:v>6.0106733027640455</c:v>
                </c:pt>
                <c:pt idx="9687">
                  <c:v>5.9732357913415415</c:v>
                </c:pt>
                <c:pt idx="9688">
                  <c:v>6.1314103404013949</c:v>
                </c:pt>
                <c:pt idx="9689">
                  <c:v>5.9153728966973906</c:v>
                </c:pt>
                <c:pt idx="9690">
                  <c:v>6.2025711188714698</c:v>
                </c:pt>
                <c:pt idx="9691">
                  <c:v>5.8519443906149879</c:v>
                </c:pt>
                <c:pt idx="9692">
                  <c:v>6.1657510797163253</c:v>
                </c:pt>
                <c:pt idx="9693">
                  <c:v>5.1447120220490348</c:v>
                </c:pt>
                <c:pt idx="9694">
                  <c:v>5.0017707735617076</c:v>
                </c:pt>
                <c:pt idx="9695">
                  <c:v>5.1266142085281796</c:v>
                </c:pt>
                <c:pt idx="9696">
                  <c:v>4.9671457049824514</c:v>
                </c:pt>
                <c:pt idx="9697">
                  <c:v>5.0594448625168651</c:v>
                </c:pt>
                <c:pt idx="9698">
                  <c:v>4.8632927151421601</c:v>
                </c:pt>
                <c:pt idx="9699">
                  <c:v>5.9010825379645961</c:v>
                </c:pt>
                <c:pt idx="9700">
                  <c:v>5.001750966358073</c:v>
                </c:pt>
                <c:pt idx="9701">
                  <c:v>6.0402284179155439</c:v>
                </c:pt>
                <c:pt idx="9702">
                  <c:v>5.9830160766646543</c:v>
                </c:pt>
                <c:pt idx="9703">
                  <c:v>5.8424753190606129</c:v>
                </c:pt>
                <c:pt idx="9704">
                  <c:v>6.069950807879736</c:v>
                </c:pt>
                <c:pt idx="9705">
                  <c:v>6.0391263157196171</c:v>
                </c:pt>
                <c:pt idx="9706">
                  <c:v>6.0564201690562127</c:v>
                </c:pt>
                <c:pt idx="9707">
                  <c:v>5.0321259255561213</c:v>
                </c:pt>
                <c:pt idx="9708">
                  <c:v>4.0307375105215568</c:v>
                </c:pt>
                <c:pt idx="9709">
                  <c:v>4.8137673704146149</c:v>
                </c:pt>
                <c:pt idx="9710">
                  <c:v>5.9062480380493172</c:v>
                </c:pt>
                <c:pt idx="9711">
                  <c:v>5.1590251931376132</c:v>
                </c:pt>
                <c:pt idx="9712">
                  <c:v>5.9915768043177611</c:v>
                </c:pt>
                <c:pt idx="9713">
                  <c:v>5.9535546918861106</c:v>
                </c:pt>
                <c:pt idx="9714">
                  <c:v>5.9741507033697818</c:v>
                </c:pt>
                <c:pt idx="9715">
                  <c:v>6.0071455592914047</c:v>
                </c:pt>
                <c:pt idx="9716">
                  <c:v>2.910928797674746</c:v>
                </c:pt>
                <c:pt idx="9717">
                  <c:v>5.8545744685034675</c:v>
                </c:pt>
                <c:pt idx="9718">
                  <c:v>5.9939939577005674</c:v>
                </c:pt>
                <c:pt idx="9719">
                  <c:v>2.9094285139093632</c:v>
                </c:pt>
                <c:pt idx="9720">
                  <c:v>5.1022514293502459</c:v>
                </c:pt>
                <c:pt idx="9721">
                  <c:v>2.9703911315938614</c:v>
                </c:pt>
                <c:pt idx="9722">
                  <c:v>5.0450301965538467</c:v>
                </c:pt>
                <c:pt idx="9723">
                  <c:v>5.9875685542552928</c:v>
                </c:pt>
                <c:pt idx="9724">
                  <c:v>5.9322766514047212</c:v>
                </c:pt>
                <c:pt idx="9725">
                  <c:v>5.9382197137468946</c:v>
                </c:pt>
                <c:pt idx="9726">
                  <c:v>4.9375824157219146</c:v>
                </c:pt>
                <c:pt idx="9727">
                  <c:v>4.8856599388567332</c:v>
                </c:pt>
                <c:pt idx="9728">
                  <c:v>5.9735814021808373</c:v>
                </c:pt>
                <c:pt idx="9729">
                  <c:v>6.0663845087494552</c:v>
                </c:pt>
                <c:pt idx="9730">
                  <c:v>6.9092863659930241</c:v>
                </c:pt>
                <c:pt idx="9731">
                  <c:v>5.9505231250166597</c:v>
                </c:pt>
                <c:pt idx="9732">
                  <c:v>5.9630228614957552</c:v>
                </c:pt>
                <c:pt idx="9733">
                  <c:v>4.9484497463167596</c:v>
                </c:pt>
                <c:pt idx="9734">
                  <c:v>5.1166721484342945</c:v>
                </c:pt>
                <c:pt idx="9735">
                  <c:v>6.24630205695372</c:v>
                </c:pt>
                <c:pt idx="9736">
                  <c:v>4.9571740434828504</c:v>
                </c:pt>
                <c:pt idx="9737">
                  <c:v>5.9670102431938732</c:v>
                </c:pt>
                <c:pt idx="9738">
                  <c:v>6.0629113960026375</c:v>
                </c:pt>
                <c:pt idx="9739">
                  <c:v>6.0154910043138257</c:v>
                </c:pt>
                <c:pt idx="9740">
                  <c:v>6.0621850351185094</c:v>
                </c:pt>
                <c:pt idx="9741">
                  <c:v>5.9293206374421992</c:v>
                </c:pt>
                <c:pt idx="9742">
                  <c:v>5.9942309630383832</c:v>
                </c:pt>
                <c:pt idx="9743">
                  <c:v>6.8795675695445606</c:v>
                </c:pt>
                <c:pt idx="9744">
                  <c:v>6.0254596542420078</c:v>
                </c:pt>
                <c:pt idx="9745">
                  <c:v>6.0277643444637219</c:v>
                </c:pt>
                <c:pt idx="9746">
                  <c:v>5.9505226522633841</c:v>
                </c:pt>
                <c:pt idx="9747">
                  <c:v>6.0401224733741383</c:v>
                </c:pt>
                <c:pt idx="9748">
                  <c:v>5.0256835848171102</c:v>
                </c:pt>
                <c:pt idx="9749">
                  <c:v>4.9072874591944631</c:v>
                </c:pt>
                <c:pt idx="9750">
                  <c:v>4.8281322478726798</c:v>
                </c:pt>
                <c:pt idx="9751">
                  <c:v>6.1047456188203046</c:v>
                </c:pt>
                <c:pt idx="9752">
                  <c:v>5.0662739683800462</c:v>
                </c:pt>
                <c:pt idx="9753">
                  <c:v>5.087634730296803</c:v>
                </c:pt>
                <c:pt idx="9754">
                  <c:v>1.9318062446772142</c:v>
                </c:pt>
                <c:pt idx="9755">
                  <c:v>1.9606230070228625</c:v>
                </c:pt>
                <c:pt idx="9756">
                  <c:v>6.0218019749832177</c:v>
                </c:pt>
                <c:pt idx="9757">
                  <c:v>5.0144398548965166</c:v>
                </c:pt>
                <c:pt idx="9758">
                  <c:v>5.0871416233646904</c:v>
                </c:pt>
                <c:pt idx="9759">
                  <c:v>5.0024939107788811</c:v>
                </c:pt>
                <c:pt idx="9760">
                  <c:v>5.0325478315521313</c:v>
                </c:pt>
                <c:pt idx="9761">
                  <c:v>6.1428066109479307</c:v>
                </c:pt>
                <c:pt idx="9762">
                  <c:v>5.8764656030808284</c:v>
                </c:pt>
                <c:pt idx="9763">
                  <c:v>4.8256747870335932</c:v>
                </c:pt>
                <c:pt idx="9764">
                  <c:v>5.8732703808195392</c:v>
                </c:pt>
                <c:pt idx="9765">
                  <c:v>6.0765664350321851</c:v>
                </c:pt>
                <c:pt idx="9766">
                  <c:v>6.9280002187633194</c:v>
                </c:pt>
                <c:pt idx="9767">
                  <c:v>5.9583949927576425</c:v>
                </c:pt>
                <c:pt idx="9768">
                  <c:v>5.0469478070828515</c:v>
                </c:pt>
                <c:pt idx="9769">
                  <c:v>6.0455423603405762</c:v>
                </c:pt>
                <c:pt idx="9770">
                  <c:v>5.931844452027188</c:v>
                </c:pt>
                <c:pt idx="9771">
                  <c:v>6.0635631804431753</c:v>
                </c:pt>
                <c:pt idx="9772">
                  <c:v>6.0921419761633739</c:v>
                </c:pt>
                <c:pt idx="9773">
                  <c:v>5.9314542139130557</c:v>
                </c:pt>
                <c:pt idx="9774">
                  <c:v>6.0511470707270858</c:v>
                </c:pt>
                <c:pt idx="9775">
                  <c:v>5.980303433427606</c:v>
                </c:pt>
                <c:pt idx="9776">
                  <c:v>6.2146487476230359</c:v>
                </c:pt>
                <c:pt idx="9777">
                  <c:v>5.9994325056539299</c:v>
                </c:pt>
                <c:pt idx="9778">
                  <c:v>4.8369598595527599</c:v>
                </c:pt>
                <c:pt idx="9779">
                  <c:v>3.0798320571685172</c:v>
                </c:pt>
                <c:pt idx="9780">
                  <c:v>6.1223342654138149</c:v>
                </c:pt>
                <c:pt idx="9781">
                  <c:v>6.0319020264165752</c:v>
                </c:pt>
                <c:pt idx="9782">
                  <c:v>5.9828905367394878</c:v>
                </c:pt>
                <c:pt idx="9783">
                  <c:v>5.0001101872250047</c:v>
                </c:pt>
                <c:pt idx="9784">
                  <c:v>5.023035920134828</c:v>
                </c:pt>
                <c:pt idx="9785">
                  <c:v>5.9090265810320286</c:v>
                </c:pt>
                <c:pt idx="9786">
                  <c:v>6.1523296822791345</c:v>
                </c:pt>
                <c:pt idx="9787">
                  <c:v>6.0188021656956554</c:v>
                </c:pt>
                <c:pt idx="9788">
                  <c:v>5.9596734903953781</c:v>
                </c:pt>
                <c:pt idx="9789">
                  <c:v>5.8996267807317402</c:v>
                </c:pt>
                <c:pt idx="9790">
                  <c:v>5.1008272776409074</c:v>
                </c:pt>
                <c:pt idx="9791">
                  <c:v>5.9922937094435316</c:v>
                </c:pt>
                <c:pt idx="9792">
                  <c:v>5.9749488014842767</c:v>
                </c:pt>
                <c:pt idx="9793">
                  <c:v>5.6959144752045718</c:v>
                </c:pt>
                <c:pt idx="9794">
                  <c:v>5.8755152082816249</c:v>
                </c:pt>
                <c:pt idx="9795">
                  <c:v>6.1311238247973012</c:v>
                </c:pt>
                <c:pt idx="9796">
                  <c:v>6.1733875071755699</c:v>
                </c:pt>
                <c:pt idx="9797">
                  <c:v>6.0888786413494458</c:v>
                </c:pt>
                <c:pt idx="9798">
                  <c:v>5.9360178171359212</c:v>
                </c:pt>
                <c:pt idx="9799">
                  <c:v>5.9857854339549865</c:v>
                </c:pt>
                <c:pt idx="9800">
                  <c:v>5.8215118859532851</c:v>
                </c:pt>
                <c:pt idx="9801">
                  <c:v>4.8976600751388748</c:v>
                </c:pt>
                <c:pt idx="9802">
                  <c:v>6.0775666525805008</c:v>
                </c:pt>
                <c:pt idx="9803">
                  <c:v>5.8794327093285021</c:v>
                </c:pt>
                <c:pt idx="9804">
                  <c:v>6.1230797876485319</c:v>
                </c:pt>
                <c:pt idx="9805">
                  <c:v>6.0898244579866381</c:v>
                </c:pt>
                <c:pt idx="9806">
                  <c:v>6.1292865334461153</c:v>
                </c:pt>
                <c:pt idx="9807">
                  <c:v>6.8912665204084602</c:v>
                </c:pt>
                <c:pt idx="9808">
                  <c:v>4.9953563705557782</c:v>
                </c:pt>
                <c:pt idx="9809">
                  <c:v>6.1182209975938511</c:v>
                </c:pt>
                <c:pt idx="9810">
                  <c:v>4.9081860045229933</c:v>
                </c:pt>
                <c:pt idx="9811">
                  <c:v>5.9255479884870734</c:v>
                </c:pt>
                <c:pt idx="9812">
                  <c:v>6.1390118427808602</c:v>
                </c:pt>
                <c:pt idx="9813">
                  <c:v>2.9826318074555243</c:v>
                </c:pt>
                <c:pt idx="9814">
                  <c:v>6.0547081412299466</c:v>
                </c:pt>
                <c:pt idx="9815">
                  <c:v>4.9572762579147689</c:v>
                </c:pt>
                <c:pt idx="9816">
                  <c:v>5.9239390985265521</c:v>
                </c:pt>
                <c:pt idx="9817">
                  <c:v>5.7519619650314375</c:v>
                </c:pt>
                <c:pt idx="9818">
                  <c:v>6.2028820949355854</c:v>
                </c:pt>
                <c:pt idx="9819">
                  <c:v>5.0341353079234468</c:v>
                </c:pt>
                <c:pt idx="9820">
                  <c:v>6.1165638239583835</c:v>
                </c:pt>
                <c:pt idx="9821">
                  <c:v>5.9158527929723279</c:v>
                </c:pt>
                <c:pt idx="9822">
                  <c:v>5.1532778430541644</c:v>
                </c:pt>
                <c:pt idx="9823">
                  <c:v>5.9132037800151194</c:v>
                </c:pt>
                <c:pt idx="9824">
                  <c:v>6.0577015148612752</c:v>
                </c:pt>
                <c:pt idx="9825">
                  <c:v>6.1453218422314411</c:v>
                </c:pt>
                <c:pt idx="9826">
                  <c:v>5.8780441119279692</c:v>
                </c:pt>
                <c:pt idx="9827">
                  <c:v>5.0898211600746697</c:v>
                </c:pt>
                <c:pt idx="9828">
                  <c:v>4.7578697175007987</c:v>
                </c:pt>
                <c:pt idx="9829">
                  <c:v>5.8773914584027871</c:v>
                </c:pt>
                <c:pt idx="9830">
                  <c:v>4.9777544546879096</c:v>
                </c:pt>
                <c:pt idx="9831">
                  <c:v>7.0603775218910076</c:v>
                </c:pt>
                <c:pt idx="9832">
                  <c:v>4.9617571172863748</c:v>
                </c:pt>
                <c:pt idx="9833">
                  <c:v>4.7690818886301356</c:v>
                </c:pt>
                <c:pt idx="9834">
                  <c:v>5.0639666662545793</c:v>
                </c:pt>
                <c:pt idx="9835">
                  <c:v>5.9103073297297062</c:v>
                </c:pt>
                <c:pt idx="9836">
                  <c:v>4.901511774064395</c:v>
                </c:pt>
                <c:pt idx="9837">
                  <c:v>7.0478195845428226</c:v>
                </c:pt>
                <c:pt idx="9838">
                  <c:v>4.930654162940038</c:v>
                </c:pt>
                <c:pt idx="9839">
                  <c:v>6.0668582663435471</c:v>
                </c:pt>
                <c:pt idx="9840">
                  <c:v>5.1105253233302355</c:v>
                </c:pt>
                <c:pt idx="9841">
                  <c:v>4.886845324659534</c:v>
                </c:pt>
                <c:pt idx="9842">
                  <c:v>6.0761143650216303</c:v>
                </c:pt>
                <c:pt idx="9843">
                  <c:v>5.0043806633124257</c:v>
                </c:pt>
                <c:pt idx="9844">
                  <c:v>5.9221493277888788</c:v>
                </c:pt>
                <c:pt idx="9845">
                  <c:v>6.0307008428962954</c:v>
                </c:pt>
                <c:pt idx="9846">
                  <c:v>5.8562687437954972</c:v>
                </c:pt>
                <c:pt idx="9847">
                  <c:v>6.0480594746899259</c:v>
                </c:pt>
                <c:pt idx="9848">
                  <c:v>4.9466330381816705</c:v>
                </c:pt>
                <c:pt idx="9849">
                  <c:v>4.9796149380853851</c:v>
                </c:pt>
                <c:pt idx="9850">
                  <c:v>7.1569132313230632</c:v>
                </c:pt>
                <c:pt idx="9851">
                  <c:v>6.1128923051166444</c:v>
                </c:pt>
                <c:pt idx="9852">
                  <c:v>5.9502125667408468</c:v>
                </c:pt>
                <c:pt idx="9853">
                  <c:v>6.9157423045193456</c:v>
                </c:pt>
                <c:pt idx="9854">
                  <c:v>6.9264494554276048</c:v>
                </c:pt>
                <c:pt idx="9855">
                  <c:v>6.9091649133176594</c:v>
                </c:pt>
                <c:pt idx="9856">
                  <c:v>6.9731635292180085</c:v>
                </c:pt>
                <c:pt idx="9857">
                  <c:v>5.9602560536960709</c:v>
                </c:pt>
                <c:pt idx="9858">
                  <c:v>5.8376070096843327</c:v>
                </c:pt>
                <c:pt idx="9859">
                  <c:v>5.8861478829984346</c:v>
                </c:pt>
                <c:pt idx="9860">
                  <c:v>5.0835980224713211</c:v>
                </c:pt>
                <c:pt idx="9861">
                  <c:v>5.1322022267834848</c:v>
                </c:pt>
                <c:pt idx="9862">
                  <c:v>6.0010725437122074</c:v>
                </c:pt>
                <c:pt idx="9863">
                  <c:v>5.9783307431523101</c:v>
                </c:pt>
                <c:pt idx="9864">
                  <c:v>5.9980960179940821</c:v>
                </c:pt>
                <c:pt idx="9865">
                  <c:v>4.9468422950320692</c:v>
                </c:pt>
                <c:pt idx="9866">
                  <c:v>6.0147770726931267</c:v>
                </c:pt>
                <c:pt idx="9867">
                  <c:v>4.9097460768546517</c:v>
                </c:pt>
                <c:pt idx="9868">
                  <c:v>5.9039257171991046</c:v>
                </c:pt>
                <c:pt idx="9869">
                  <c:v>4.9909912885026273</c:v>
                </c:pt>
                <c:pt idx="9870">
                  <c:v>5.0146535424597509</c:v>
                </c:pt>
                <c:pt idx="9871">
                  <c:v>4.8131717474255886</c:v>
                </c:pt>
                <c:pt idx="9872">
                  <c:v>4.9633790287625539</c:v>
                </c:pt>
                <c:pt idx="9873">
                  <c:v>6.1142431012842033</c:v>
                </c:pt>
                <c:pt idx="9874">
                  <c:v>5.8763244752015567</c:v>
                </c:pt>
                <c:pt idx="9875">
                  <c:v>5.8388364499165624</c:v>
                </c:pt>
                <c:pt idx="9876">
                  <c:v>7.1046301498941418</c:v>
                </c:pt>
                <c:pt idx="9877">
                  <c:v>5.972548886359677</c:v>
                </c:pt>
                <c:pt idx="9878">
                  <c:v>6.048342722955474</c:v>
                </c:pt>
                <c:pt idx="9879">
                  <c:v>4.952522066866865</c:v>
                </c:pt>
                <c:pt idx="9880">
                  <c:v>4.9826683350540755</c:v>
                </c:pt>
                <c:pt idx="9881">
                  <c:v>5.9652673508392766</c:v>
                </c:pt>
                <c:pt idx="9882">
                  <c:v>5.9038698168317065</c:v>
                </c:pt>
                <c:pt idx="9883">
                  <c:v>6.1661174485551102</c:v>
                </c:pt>
                <c:pt idx="9884">
                  <c:v>5.8415401171338734</c:v>
                </c:pt>
                <c:pt idx="9885">
                  <c:v>5.189513837903946</c:v>
                </c:pt>
                <c:pt idx="9886">
                  <c:v>4.9751596529537609</c:v>
                </c:pt>
                <c:pt idx="9887">
                  <c:v>4.9729990429220194</c:v>
                </c:pt>
                <c:pt idx="9888">
                  <c:v>6.033076171140495</c:v>
                </c:pt>
                <c:pt idx="9889">
                  <c:v>5.1867645153668782</c:v>
                </c:pt>
                <c:pt idx="9890">
                  <c:v>6.0933615467137585</c:v>
                </c:pt>
                <c:pt idx="9891">
                  <c:v>6.9854275616051389</c:v>
                </c:pt>
                <c:pt idx="9892">
                  <c:v>4.9292678848736813</c:v>
                </c:pt>
                <c:pt idx="9893">
                  <c:v>5.0570349784204716</c:v>
                </c:pt>
                <c:pt idx="9894">
                  <c:v>5.0815593482239043</c:v>
                </c:pt>
                <c:pt idx="9895">
                  <c:v>4.9745899041734241</c:v>
                </c:pt>
                <c:pt idx="9896">
                  <c:v>5.8484542620734272</c:v>
                </c:pt>
                <c:pt idx="9897">
                  <c:v>5.0704523026256743</c:v>
                </c:pt>
                <c:pt idx="9898">
                  <c:v>5.8501077406930158</c:v>
                </c:pt>
                <c:pt idx="9899">
                  <c:v>5.94381934475597</c:v>
                </c:pt>
                <c:pt idx="9900">
                  <c:v>5.8401427567092767</c:v>
                </c:pt>
                <c:pt idx="9901">
                  <c:v>5.9379981793782184</c:v>
                </c:pt>
                <c:pt idx="9902">
                  <c:v>5.0708863194891443</c:v>
                </c:pt>
                <c:pt idx="9903">
                  <c:v>7.0468587245942826</c:v>
                </c:pt>
                <c:pt idx="9904">
                  <c:v>6.1204474927619978</c:v>
                </c:pt>
                <c:pt idx="9905">
                  <c:v>5.1401935672982422</c:v>
                </c:pt>
                <c:pt idx="9906">
                  <c:v>6.0195897854286899</c:v>
                </c:pt>
                <c:pt idx="9907">
                  <c:v>6.1245479774535339</c:v>
                </c:pt>
                <c:pt idx="9908">
                  <c:v>6.0486172548601651</c:v>
                </c:pt>
                <c:pt idx="9909">
                  <c:v>5.9802819735128514</c:v>
                </c:pt>
                <c:pt idx="9910">
                  <c:v>5.9876721478100725</c:v>
                </c:pt>
                <c:pt idx="9911">
                  <c:v>5.1201448859329064</c:v>
                </c:pt>
                <c:pt idx="9912">
                  <c:v>6.0198362413420554</c:v>
                </c:pt>
                <c:pt idx="9913">
                  <c:v>4.8232398819467361</c:v>
                </c:pt>
                <c:pt idx="9914">
                  <c:v>5.1415626600558548</c:v>
                </c:pt>
                <c:pt idx="9915">
                  <c:v>5.9887194735764631</c:v>
                </c:pt>
                <c:pt idx="9916">
                  <c:v>6.0792648328848351</c:v>
                </c:pt>
                <c:pt idx="9917">
                  <c:v>5.0925233680534925</c:v>
                </c:pt>
                <c:pt idx="9918">
                  <c:v>6.0702390286045373</c:v>
                </c:pt>
                <c:pt idx="9919">
                  <c:v>5.091668885905074</c:v>
                </c:pt>
                <c:pt idx="9920">
                  <c:v>5.0533998866209799</c:v>
                </c:pt>
                <c:pt idx="9921">
                  <c:v>4.9228771326102292</c:v>
                </c:pt>
                <c:pt idx="9922">
                  <c:v>5.0348827184673581</c:v>
                </c:pt>
                <c:pt idx="9923">
                  <c:v>5.2065220017705176</c:v>
                </c:pt>
                <c:pt idx="9924">
                  <c:v>5.9837435915548545</c:v>
                </c:pt>
                <c:pt idx="9925">
                  <c:v>5.9591819017650929</c:v>
                </c:pt>
                <c:pt idx="9926">
                  <c:v>4.9813898059429418</c:v>
                </c:pt>
                <c:pt idx="9927">
                  <c:v>6.7686933016470752</c:v>
                </c:pt>
                <c:pt idx="9928">
                  <c:v>5.9704769121431402</c:v>
                </c:pt>
                <c:pt idx="9929">
                  <c:v>5.9113674201641144</c:v>
                </c:pt>
                <c:pt idx="9930">
                  <c:v>7.009221592286897</c:v>
                </c:pt>
                <c:pt idx="9931">
                  <c:v>5.9280901741758036</c:v>
                </c:pt>
                <c:pt idx="9932">
                  <c:v>5.9184490170138151</c:v>
                </c:pt>
                <c:pt idx="9933">
                  <c:v>2.9649255073497107</c:v>
                </c:pt>
                <c:pt idx="9934">
                  <c:v>4.8453341003813684</c:v>
                </c:pt>
                <c:pt idx="9935">
                  <c:v>7.0495626251881349</c:v>
                </c:pt>
                <c:pt idx="9936">
                  <c:v>6.0988111205618063</c:v>
                </c:pt>
                <c:pt idx="9937">
                  <c:v>5.0043633950320174</c:v>
                </c:pt>
                <c:pt idx="9938">
                  <c:v>6.0134680903197468</c:v>
                </c:pt>
                <c:pt idx="9939">
                  <c:v>6.06222635590371</c:v>
                </c:pt>
                <c:pt idx="9940">
                  <c:v>7.0287566569185556</c:v>
                </c:pt>
                <c:pt idx="9941">
                  <c:v>7.008107956215107</c:v>
                </c:pt>
                <c:pt idx="9942">
                  <c:v>6.0892440918914774</c:v>
                </c:pt>
                <c:pt idx="9943">
                  <c:v>6.9323446248942471</c:v>
                </c:pt>
                <c:pt idx="9944">
                  <c:v>7.0769539138889535</c:v>
                </c:pt>
                <c:pt idx="9945">
                  <c:v>7.0606503132671667</c:v>
                </c:pt>
                <c:pt idx="9946">
                  <c:v>5.8694864719419364</c:v>
                </c:pt>
                <c:pt idx="9947">
                  <c:v>7.0689149509979643</c:v>
                </c:pt>
                <c:pt idx="9948">
                  <c:v>5.9187280736941243</c:v>
                </c:pt>
                <c:pt idx="9949">
                  <c:v>6.2195795508622815</c:v>
                </c:pt>
                <c:pt idx="9950">
                  <c:v>6.1140034589582468</c:v>
                </c:pt>
                <c:pt idx="9951">
                  <c:v>5.9860451192893969</c:v>
                </c:pt>
                <c:pt idx="9952">
                  <c:v>7.2148351896278271</c:v>
                </c:pt>
                <c:pt idx="9953">
                  <c:v>5.9346359860952269</c:v>
                </c:pt>
                <c:pt idx="9954">
                  <c:v>6.0775195380544247</c:v>
                </c:pt>
                <c:pt idx="9955">
                  <c:v>6.0817824321797413</c:v>
                </c:pt>
                <c:pt idx="9956">
                  <c:v>4.985405455999615</c:v>
                </c:pt>
                <c:pt idx="9957">
                  <c:v>6.0558110974774078</c:v>
                </c:pt>
                <c:pt idx="9958">
                  <c:v>6.0640618032481148</c:v>
                </c:pt>
                <c:pt idx="9959">
                  <c:v>5.0327922233456084</c:v>
                </c:pt>
                <c:pt idx="9960">
                  <c:v>4.8799047712171983</c:v>
                </c:pt>
                <c:pt idx="9961">
                  <c:v>5.8827142839585873</c:v>
                </c:pt>
                <c:pt idx="9962">
                  <c:v>7.1667314834160321</c:v>
                </c:pt>
                <c:pt idx="9963">
                  <c:v>6.0379292017036938</c:v>
                </c:pt>
                <c:pt idx="9964">
                  <c:v>3.9866178189481358</c:v>
                </c:pt>
                <c:pt idx="9965">
                  <c:v>6.017945931698522</c:v>
                </c:pt>
                <c:pt idx="9966">
                  <c:v>4.7930521464638041</c:v>
                </c:pt>
                <c:pt idx="9967">
                  <c:v>5.0280860640985532</c:v>
                </c:pt>
                <c:pt idx="9968">
                  <c:v>5.9107031771321301</c:v>
                </c:pt>
                <c:pt idx="9969">
                  <c:v>5.8619317161076561</c:v>
                </c:pt>
                <c:pt idx="9970">
                  <c:v>5.9057238368453744</c:v>
                </c:pt>
                <c:pt idx="9971">
                  <c:v>5.0448960433264762</c:v>
                </c:pt>
                <c:pt idx="9972">
                  <c:v>5.9203921558111841</c:v>
                </c:pt>
                <c:pt idx="9973">
                  <c:v>5.0609740598687054</c:v>
                </c:pt>
                <c:pt idx="9974">
                  <c:v>4.8062870700343794</c:v>
                </c:pt>
                <c:pt idx="9975">
                  <c:v>6.1836530558304617</c:v>
                </c:pt>
                <c:pt idx="9976">
                  <c:v>5.945332464714471</c:v>
                </c:pt>
                <c:pt idx="9977">
                  <c:v>5.9826591401860973</c:v>
                </c:pt>
                <c:pt idx="9978">
                  <c:v>5.8208818503719391</c:v>
                </c:pt>
                <c:pt idx="9979">
                  <c:v>4.7935964672882463</c:v>
                </c:pt>
                <c:pt idx="9980">
                  <c:v>5.0166442628072607</c:v>
                </c:pt>
                <c:pt idx="9981">
                  <c:v>7.1083400936942862</c:v>
                </c:pt>
                <c:pt idx="9982">
                  <c:v>6.0119678026741337</c:v>
                </c:pt>
                <c:pt idx="9983">
                  <c:v>4.9376097970428035</c:v>
                </c:pt>
                <c:pt idx="9984">
                  <c:v>6.0155524599628301</c:v>
                </c:pt>
                <c:pt idx="9985">
                  <c:v>4.8479288065266495</c:v>
                </c:pt>
                <c:pt idx="9986">
                  <c:v>5.8362538804783473</c:v>
                </c:pt>
                <c:pt idx="9987">
                  <c:v>5.0259264632241303</c:v>
                </c:pt>
                <c:pt idx="9988">
                  <c:v>4.799564993284565</c:v>
                </c:pt>
                <c:pt idx="9989">
                  <c:v>6.1198152819650558</c:v>
                </c:pt>
                <c:pt idx="9990">
                  <c:v>5.6169416928589255</c:v>
                </c:pt>
                <c:pt idx="9991">
                  <c:v>5.8898736550241617</c:v>
                </c:pt>
                <c:pt idx="9992">
                  <c:v>6.0667497014022107</c:v>
                </c:pt>
                <c:pt idx="9993">
                  <c:v>6.1337927630409501</c:v>
                </c:pt>
                <c:pt idx="9994">
                  <c:v>6.0855696743894558</c:v>
                </c:pt>
                <c:pt idx="9995">
                  <c:v>3.1908145412575264</c:v>
                </c:pt>
                <c:pt idx="9996">
                  <c:v>6.1772623401370668</c:v>
                </c:pt>
                <c:pt idx="9997">
                  <c:v>5.0780316735745474</c:v>
                </c:pt>
                <c:pt idx="9998">
                  <c:v>5.8781182371865794</c:v>
                </c:pt>
                <c:pt idx="9999">
                  <c:v>5.9363665325225909</c:v>
                </c:pt>
                <c:pt idx="10000">
                  <c:v>5.0808584126229865</c:v>
                </c:pt>
                <c:pt idx="10001">
                  <c:v>7.0900745858192069</c:v>
                </c:pt>
                <c:pt idx="10002">
                  <c:v>5.0909051977990867</c:v>
                </c:pt>
                <c:pt idx="10003">
                  <c:v>4.9664969742296794</c:v>
                </c:pt>
                <c:pt idx="10004">
                  <c:v>4.9657386890544712</c:v>
                </c:pt>
                <c:pt idx="10005">
                  <c:v>5.8663040370734132</c:v>
                </c:pt>
                <c:pt idx="10006">
                  <c:v>5.967652696996316</c:v>
                </c:pt>
                <c:pt idx="10007">
                  <c:v>5.9048239936226539</c:v>
                </c:pt>
                <c:pt idx="10008">
                  <c:v>6.0021809300005247</c:v>
                </c:pt>
                <c:pt idx="10009">
                  <c:v>6.2491629465409284</c:v>
                </c:pt>
                <c:pt idx="10010">
                  <c:v>6.0481894575655071</c:v>
                </c:pt>
                <c:pt idx="10011">
                  <c:v>7.0462024036923241</c:v>
                </c:pt>
                <c:pt idx="10012">
                  <c:v>7.0801742120688074</c:v>
                </c:pt>
                <c:pt idx="10013">
                  <c:v>6.0418515068407137</c:v>
                </c:pt>
                <c:pt idx="10014">
                  <c:v>6.1603466346300229</c:v>
                </c:pt>
                <c:pt idx="10015">
                  <c:v>4.0371857045636466</c:v>
                </c:pt>
                <c:pt idx="10016">
                  <c:v>5.8747183908183418</c:v>
                </c:pt>
                <c:pt idx="10017">
                  <c:v>4.9976802208051305</c:v>
                </c:pt>
                <c:pt idx="10018">
                  <c:v>5.9745786101329825</c:v>
                </c:pt>
                <c:pt idx="10019">
                  <c:v>4.8849136884146462</c:v>
                </c:pt>
                <c:pt idx="10020">
                  <c:v>6.041522988335509</c:v>
                </c:pt>
                <c:pt idx="10021">
                  <c:v>4.9939188175227835</c:v>
                </c:pt>
                <c:pt idx="10022">
                  <c:v>5.9699367689240805</c:v>
                </c:pt>
                <c:pt idx="10023">
                  <c:v>6.1068128676914766</c:v>
                </c:pt>
                <c:pt idx="10024">
                  <c:v>4.9611362718870051</c:v>
                </c:pt>
                <c:pt idx="10025">
                  <c:v>5.9475661868546883</c:v>
                </c:pt>
                <c:pt idx="10026">
                  <c:v>5.0025560353984222</c:v>
                </c:pt>
                <c:pt idx="10027">
                  <c:v>4.9797826387936368</c:v>
                </c:pt>
                <c:pt idx="10028">
                  <c:v>4.8500792269550654</c:v>
                </c:pt>
                <c:pt idx="10029">
                  <c:v>4.9446624622398501</c:v>
                </c:pt>
                <c:pt idx="10030">
                  <c:v>4.961190834764067</c:v>
                </c:pt>
                <c:pt idx="10031">
                  <c:v>4.6982688529750058</c:v>
                </c:pt>
                <c:pt idx="10032">
                  <c:v>5.9288851994724237</c:v>
                </c:pt>
                <c:pt idx="10033">
                  <c:v>6.0346426285074468</c:v>
                </c:pt>
                <c:pt idx="10034">
                  <c:v>5.0123750830661731</c:v>
                </c:pt>
                <c:pt idx="10035">
                  <c:v>6.1360767193862875</c:v>
                </c:pt>
                <c:pt idx="10036">
                  <c:v>5.9108655702214152</c:v>
                </c:pt>
                <c:pt idx="10037">
                  <c:v>4.9299398154828804</c:v>
                </c:pt>
                <c:pt idx="10038">
                  <c:v>5.9767216348388761</c:v>
                </c:pt>
                <c:pt idx="10039">
                  <c:v>6.0568485612141965</c:v>
                </c:pt>
                <c:pt idx="10040">
                  <c:v>4.9968929148418235</c:v>
                </c:pt>
                <c:pt idx="10041">
                  <c:v>6.0298734770212725</c:v>
                </c:pt>
                <c:pt idx="10042">
                  <c:v>4.8902672578702955</c:v>
                </c:pt>
                <c:pt idx="10043">
                  <c:v>5.1149758862392227</c:v>
                </c:pt>
                <c:pt idx="10044">
                  <c:v>4.928225006967268</c:v>
                </c:pt>
                <c:pt idx="10045">
                  <c:v>6.0209236698992861</c:v>
                </c:pt>
                <c:pt idx="10046">
                  <c:v>5.9379944133785063</c:v>
                </c:pt>
                <c:pt idx="10047">
                  <c:v>6.0365841943326988</c:v>
                </c:pt>
                <c:pt idx="10048">
                  <c:v>5.9186748343334967</c:v>
                </c:pt>
                <c:pt idx="10049">
                  <c:v>5.9848749391547598</c:v>
                </c:pt>
                <c:pt idx="10050">
                  <c:v>5.9885297924196284</c:v>
                </c:pt>
                <c:pt idx="10051">
                  <c:v>6.1148583681292115</c:v>
                </c:pt>
                <c:pt idx="10052">
                  <c:v>6.0693591964010558</c:v>
                </c:pt>
                <c:pt idx="10053">
                  <c:v>5.9006643505720788</c:v>
                </c:pt>
                <c:pt idx="10054">
                  <c:v>3.9259055474764768</c:v>
                </c:pt>
                <c:pt idx="10055">
                  <c:v>4.0689298915164231</c:v>
                </c:pt>
                <c:pt idx="10056">
                  <c:v>6.0532288863690455</c:v>
                </c:pt>
                <c:pt idx="10057">
                  <c:v>6.1332404679317154</c:v>
                </c:pt>
                <c:pt idx="10058">
                  <c:v>6.1199311509648346</c:v>
                </c:pt>
                <c:pt idx="10059">
                  <c:v>5.0423651701493473</c:v>
                </c:pt>
                <c:pt idx="10060">
                  <c:v>6.07597657436785</c:v>
                </c:pt>
                <c:pt idx="10061">
                  <c:v>5.0668468002964602</c:v>
                </c:pt>
                <c:pt idx="10062">
                  <c:v>4.9140837931016765</c:v>
                </c:pt>
                <c:pt idx="10063">
                  <c:v>5.9787283185719673</c:v>
                </c:pt>
                <c:pt idx="10064">
                  <c:v>5.0919810068831968</c:v>
                </c:pt>
                <c:pt idx="10065">
                  <c:v>4.9348380251385979</c:v>
                </c:pt>
                <c:pt idx="10066">
                  <c:v>6.0543779076096076</c:v>
                </c:pt>
                <c:pt idx="10067">
                  <c:v>4.972040098009578</c:v>
                </c:pt>
                <c:pt idx="10068">
                  <c:v>5.9207265090099046</c:v>
                </c:pt>
                <c:pt idx="10069">
                  <c:v>5.027879570092721</c:v>
                </c:pt>
                <c:pt idx="10070">
                  <c:v>4.8971491212648326</c:v>
                </c:pt>
                <c:pt idx="10071">
                  <c:v>6.1660673677659013</c:v>
                </c:pt>
                <c:pt idx="10072">
                  <c:v>5.9350071483226206</c:v>
                </c:pt>
                <c:pt idx="10073">
                  <c:v>5.1052442974725931</c:v>
                </c:pt>
                <c:pt idx="10074">
                  <c:v>5.0441848900684052</c:v>
                </c:pt>
                <c:pt idx="10075">
                  <c:v>6.1432107087445393</c:v>
                </c:pt>
                <c:pt idx="10076">
                  <c:v>5.9421360488959971</c:v>
                </c:pt>
                <c:pt idx="10077">
                  <c:v>5.8787387936503563</c:v>
                </c:pt>
                <c:pt idx="10078">
                  <c:v>5.0446123925194097</c:v>
                </c:pt>
                <c:pt idx="10079">
                  <c:v>6.1027135646240289</c:v>
                </c:pt>
                <c:pt idx="10080">
                  <c:v>5.8795420982884261</c:v>
                </c:pt>
                <c:pt idx="10081">
                  <c:v>5.9998690137810424</c:v>
                </c:pt>
                <c:pt idx="10082">
                  <c:v>4.9835528313246042</c:v>
                </c:pt>
                <c:pt idx="10083">
                  <c:v>5.0209097646377066</c:v>
                </c:pt>
                <c:pt idx="10084">
                  <c:v>6.0757183237323691</c:v>
                </c:pt>
                <c:pt idx="10085">
                  <c:v>6.0739533209631151</c:v>
                </c:pt>
                <c:pt idx="10086">
                  <c:v>5.868763212145014</c:v>
                </c:pt>
                <c:pt idx="10087">
                  <c:v>5.068972030697136</c:v>
                </c:pt>
                <c:pt idx="10088">
                  <c:v>5.9211916022915592</c:v>
                </c:pt>
                <c:pt idx="10089">
                  <c:v>6.0761859552141582</c:v>
                </c:pt>
                <c:pt idx="10090">
                  <c:v>4.9992367477290607</c:v>
                </c:pt>
                <c:pt idx="10091">
                  <c:v>5.8278888914487386</c:v>
                </c:pt>
                <c:pt idx="10092">
                  <c:v>6.064147588857784</c:v>
                </c:pt>
                <c:pt idx="10093">
                  <c:v>6.1422954407554373</c:v>
                </c:pt>
                <c:pt idx="10094">
                  <c:v>5.9055344609716274</c:v>
                </c:pt>
                <c:pt idx="10095">
                  <c:v>6.0443335972853784</c:v>
                </c:pt>
                <c:pt idx="10096">
                  <c:v>6.0401693990254843</c:v>
                </c:pt>
                <c:pt idx="10097">
                  <c:v>6.0853397652750223</c:v>
                </c:pt>
                <c:pt idx="10098">
                  <c:v>5.1155617224670502</c:v>
                </c:pt>
                <c:pt idx="10099">
                  <c:v>4.9993178925560438</c:v>
                </c:pt>
                <c:pt idx="10100">
                  <c:v>5.9418381998127954</c:v>
                </c:pt>
                <c:pt idx="10101">
                  <c:v>4.8691569055930559</c:v>
                </c:pt>
                <c:pt idx="10102">
                  <c:v>5.9849547322042573</c:v>
                </c:pt>
                <c:pt idx="10103">
                  <c:v>6.1386142353364708</c:v>
                </c:pt>
                <c:pt idx="10104">
                  <c:v>4.8836180784508985</c:v>
                </c:pt>
                <c:pt idx="10105">
                  <c:v>4.0327561585699545</c:v>
                </c:pt>
                <c:pt idx="10106">
                  <c:v>4.9880608409691618</c:v>
                </c:pt>
                <c:pt idx="10107">
                  <c:v>5.9180698912400933</c:v>
                </c:pt>
                <c:pt idx="10108">
                  <c:v>4.8309438264072773</c:v>
                </c:pt>
                <c:pt idx="10109">
                  <c:v>5.0990927205565812</c:v>
                </c:pt>
                <c:pt idx="10110">
                  <c:v>6.0442465670798686</c:v>
                </c:pt>
                <c:pt idx="10111">
                  <c:v>4.9995841539464516</c:v>
                </c:pt>
                <c:pt idx="10112">
                  <c:v>5.210368752037418</c:v>
                </c:pt>
                <c:pt idx="10113">
                  <c:v>5.6384333350631746</c:v>
                </c:pt>
                <c:pt idx="10114">
                  <c:v>4.8888773609341794</c:v>
                </c:pt>
                <c:pt idx="10115">
                  <c:v>6.0995576478429356</c:v>
                </c:pt>
                <c:pt idx="10116">
                  <c:v>5.9060808610781255</c:v>
                </c:pt>
                <c:pt idx="10117">
                  <c:v>5.8934394399043137</c:v>
                </c:pt>
                <c:pt idx="10118">
                  <c:v>5.0488683989552054</c:v>
                </c:pt>
                <c:pt idx="10119">
                  <c:v>5.2658874384098553</c:v>
                </c:pt>
                <c:pt idx="10120">
                  <c:v>4.9979114000040701</c:v>
                </c:pt>
                <c:pt idx="10121">
                  <c:v>5.9441523592555745</c:v>
                </c:pt>
                <c:pt idx="10122">
                  <c:v>6.1440352572387873</c:v>
                </c:pt>
                <c:pt idx="10123">
                  <c:v>6.1165539147622203</c:v>
                </c:pt>
                <c:pt idx="10124">
                  <c:v>4.941962220291769</c:v>
                </c:pt>
                <c:pt idx="10125">
                  <c:v>6.3244007163582605</c:v>
                </c:pt>
                <c:pt idx="10126">
                  <c:v>5.0215981489326031</c:v>
                </c:pt>
                <c:pt idx="10127">
                  <c:v>6.1224859035968215</c:v>
                </c:pt>
                <c:pt idx="10128">
                  <c:v>5.9802940002695903</c:v>
                </c:pt>
                <c:pt idx="10129">
                  <c:v>5.8014143173258965</c:v>
                </c:pt>
                <c:pt idx="10130">
                  <c:v>5.0256106887663821</c:v>
                </c:pt>
                <c:pt idx="10131">
                  <c:v>6.0531735302495662</c:v>
                </c:pt>
                <c:pt idx="10132">
                  <c:v>5.9158917686411119</c:v>
                </c:pt>
                <c:pt idx="10133">
                  <c:v>6.1337849553678456</c:v>
                </c:pt>
                <c:pt idx="10134">
                  <c:v>5.8935300330179485</c:v>
                </c:pt>
                <c:pt idx="10135">
                  <c:v>5.1160238185528222</c:v>
                </c:pt>
                <c:pt idx="10136">
                  <c:v>5.962045090774347</c:v>
                </c:pt>
                <c:pt idx="10137">
                  <c:v>5.9295622471551344</c:v>
                </c:pt>
                <c:pt idx="10138">
                  <c:v>6.2111500737390859</c:v>
                </c:pt>
                <c:pt idx="10139">
                  <c:v>6.0773862602345901</c:v>
                </c:pt>
                <c:pt idx="10140">
                  <c:v>5.918305641261064</c:v>
                </c:pt>
                <c:pt idx="10141">
                  <c:v>4.8957833020101127</c:v>
                </c:pt>
                <c:pt idx="10142">
                  <c:v>5.958013805071559</c:v>
                </c:pt>
                <c:pt idx="10143">
                  <c:v>5.9620225815309231</c:v>
                </c:pt>
                <c:pt idx="10144">
                  <c:v>5.9054683282802483</c:v>
                </c:pt>
                <c:pt idx="10145">
                  <c:v>6.0652546616665948</c:v>
                </c:pt>
                <c:pt idx="10146">
                  <c:v>5.8996698600809889</c:v>
                </c:pt>
                <c:pt idx="10147">
                  <c:v>6.1212827265745622</c:v>
                </c:pt>
                <c:pt idx="10148">
                  <c:v>6.0562038288241222</c:v>
                </c:pt>
                <c:pt idx="10149">
                  <c:v>4.9659465362898603</c:v>
                </c:pt>
                <c:pt idx="10150">
                  <c:v>6.0496821983571287</c:v>
                </c:pt>
                <c:pt idx="10151">
                  <c:v>5.9385423671956099</c:v>
                </c:pt>
                <c:pt idx="10152">
                  <c:v>6.1573795976789469</c:v>
                </c:pt>
                <c:pt idx="10153">
                  <c:v>6.1445682376186443</c:v>
                </c:pt>
                <c:pt idx="10154">
                  <c:v>6.0002716569403365</c:v>
                </c:pt>
                <c:pt idx="10155">
                  <c:v>4.9710853291414727</c:v>
                </c:pt>
                <c:pt idx="10156">
                  <c:v>5.9314610847512066</c:v>
                </c:pt>
                <c:pt idx="10157">
                  <c:v>5.0184346583364823</c:v>
                </c:pt>
                <c:pt idx="10158">
                  <c:v>5.0987078992085619</c:v>
                </c:pt>
                <c:pt idx="10159">
                  <c:v>5.055862778961604</c:v>
                </c:pt>
                <c:pt idx="10160">
                  <c:v>6.1607777842427041</c:v>
                </c:pt>
                <c:pt idx="10161">
                  <c:v>5.8680124266265432</c:v>
                </c:pt>
                <c:pt idx="10162">
                  <c:v>6.1398683069933506</c:v>
                </c:pt>
                <c:pt idx="10163">
                  <c:v>5.1662092366552326</c:v>
                </c:pt>
                <c:pt idx="10164">
                  <c:v>5.0448941388171278</c:v>
                </c:pt>
                <c:pt idx="10165">
                  <c:v>5.0006592271257686</c:v>
                </c:pt>
                <c:pt idx="10166">
                  <c:v>6.0301260396347667</c:v>
                </c:pt>
                <c:pt idx="10167">
                  <c:v>5.9371318332332343</c:v>
                </c:pt>
                <c:pt idx="10168">
                  <c:v>5.9717171263116224</c:v>
                </c:pt>
                <c:pt idx="10169">
                  <c:v>5.0274691511528751</c:v>
                </c:pt>
                <c:pt idx="10170">
                  <c:v>5.9920671864962847</c:v>
                </c:pt>
                <c:pt idx="10171">
                  <c:v>4.9904828522559992</c:v>
                </c:pt>
                <c:pt idx="10172">
                  <c:v>5.8034074563484399</c:v>
                </c:pt>
                <c:pt idx="10173">
                  <c:v>5.1101708808010295</c:v>
                </c:pt>
                <c:pt idx="10174">
                  <c:v>5.9963627233780326</c:v>
                </c:pt>
                <c:pt idx="10175">
                  <c:v>5.9837595050144659</c:v>
                </c:pt>
                <c:pt idx="10176">
                  <c:v>6.0811610516497208</c:v>
                </c:pt>
                <c:pt idx="10177">
                  <c:v>4.8565088772922387</c:v>
                </c:pt>
                <c:pt idx="10178">
                  <c:v>6.0274145697273065</c:v>
                </c:pt>
                <c:pt idx="10179">
                  <c:v>5.0804442514435308</c:v>
                </c:pt>
                <c:pt idx="10180">
                  <c:v>5.935654983413218</c:v>
                </c:pt>
                <c:pt idx="10181">
                  <c:v>5.7941874828588205</c:v>
                </c:pt>
                <c:pt idx="10182">
                  <c:v>7.0698192426026507</c:v>
                </c:pt>
                <c:pt idx="10183">
                  <c:v>4.8154297932175938</c:v>
                </c:pt>
                <c:pt idx="10184">
                  <c:v>4.6961537118565984</c:v>
                </c:pt>
                <c:pt idx="10185">
                  <c:v>5.9248970021510452</c:v>
                </c:pt>
                <c:pt idx="10186">
                  <c:v>5.9236159621185136</c:v>
                </c:pt>
                <c:pt idx="10187">
                  <c:v>6.9097689617105305</c:v>
                </c:pt>
                <c:pt idx="10188">
                  <c:v>5.0774166238954495</c:v>
                </c:pt>
                <c:pt idx="10189">
                  <c:v>4.9977516506772783</c:v>
                </c:pt>
                <c:pt idx="10190">
                  <c:v>4.0103290929034134</c:v>
                </c:pt>
                <c:pt idx="10191">
                  <c:v>4.9746239165967756</c:v>
                </c:pt>
                <c:pt idx="10192">
                  <c:v>6.0662959307254365</c:v>
                </c:pt>
                <c:pt idx="10193">
                  <c:v>5.8478957258113029</c:v>
                </c:pt>
                <c:pt idx="10194">
                  <c:v>5.9010153404709023</c:v>
                </c:pt>
                <c:pt idx="10195">
                  <c:v>6.1207589262258155</c:v>
                </c:pt>
                <c:pt idx="10196">
                  <c:v>5.1374095274086651</c:v>
                </c:pt>
                <c:pt idx="10197">
                  <c:v>4.989471163755371</c:v>
                </c:pt>
                <c:pt idx="10198">
                  <c:v>6.0688812213537027</c:v>
                </c:pt>
                <c:pt idx="10199">
                  <c:v>5.0056524415571788</c:v>
                </c:pt>
                <c:pt idx="10200">
                  <c:v>5.9124834718967065</c:v>
                </c:pt>
                <c:pt idx="10201">
                  <c:v>4.8900015606792362</c:v>
                </c:pt>
                <c:pt idx="10202">
                  <c:v>5.976890317386947</c:v>
                </c:pt>
                <c:pt idx="10203">
                  <c:v>6.1130804645550674</c:v>
                </c:pt>
                <c:pt idx="10204">
                  <c:v>4.9657748506795372</c:v>
                </c:pt>
                <c:pt idx="10205">
                  <c:v>7.2008410679181223</c:v>
                </c:pt>
                <c:pt idx="10206">
                  <c:v>6.0339271992630508</c:v>
                </c:pt>
                <c:pt idx="10207">
                  <c:v>5.972515874447172</c:v>
                </c:pt>
                <c:pt idx="10208">
                  <c:v>6.187744962276561</c:v>
                </c:pt>
                <c:pt idx="10209">
                  <c:v>6.0271015822479121</c:v>
                </c:pt>
                <c:pt idx="10210">
                  <c:v>6.0463246662702597</c:v>
                </c:pt>
                <c:pt idx="10211">
                  <c:v>6.1458864633291936</c:v>
                </c:pt>
                <c:pt idx="10212">
                  <c:v>5.8023135512237074</c:v>
                </c:pt>
                <c:pt idx="10213">
                  <c:v>6.8707561496933387</c:v>
                </c:pt>
                <c:pt idx="10214">
                  <c:v>5.8397852631015557</c:v>
                </c:pt>
                <c:pt idx="10215">
                  <c:v>6.1349234434746274</c:v>
                </c:pt>
                <c:pt idx="10216">
                  <c:v>6.0187351435097174</c:v>
                </c:pt>
                <c:pt idx="10217">
                  <c:v>5.9110382573539413</c:v>
                </c:pt>
                <c:pt idx="10218">
                  <c:v>3.9827345155077634</c:v>
                </c:pt>
                <c:pt idx="10219">
                  <c:v>6.0054334487267411</c:v>
                </c:pt>
                <c:pt idx="10220">
                  <c:v>6.1070330454806854</c:v>
                </c:pt>
                <c:pt idx="10221">
                  <c:v>5.100749438150368</c:v>
                </c:pt>
                <c:pt idx="10222">
                  <c:v>6.9520114975030625</c:v>
                </c:pt>
                <c:pt idx="10223">
                  <c:v>5.9349986737564393</c:v>
                </c:pt>
                <c:pt idx="10224">
                  <c:v>4.9190802430513445</c:v>
                </c:pt>
                <c:pt idx="10225">
                  <c:v>5.9067757198227655</c:v>
                </c:pt>
                <c:pt idx="10226">
                  <c:v>4.9843450339489825</c:v>
                </c:pt>
                <c:pt idx="10227">
                  <c:v>5.9656274310523125</c:v>
                </c:pt>
                <c:pt idx="10228">
                  <c:v>4.9560425719428967</c:v>
                </c:pt>
                <c:pt idx="10229">
                  <c:v>5.9001390221489149</c:v>
                </c:pt>
                <c:pt idx="10230">
                  <c:v>6.0743573840674516</c:v>
                </c:pt>
                <c:pt idx="10231">
                  <c:v>4.997530314975295</c:v>
                </c:pt>
                <c:pt idx="10232">
                  <c:v>5.9008974804770862</c:v>
                </c:pt>
                <c:pt idx="10233">
                  <c:v>6.1989648477635688</c:v>
                </c:pt>
                <c:pt idx="10234">
                  <c:v>6.0591067211941185</c:v>
                </c:pt>
                <c:pt idx="10235">
                  <c:v>5.9332150254692122</c:v>
                </c:pt>
                <c:pt idx="10236">
                  <c:v>5.0861583237969308</c:v>
                </c:pt>
                <c:pt idx="10237">
                  <c:v>6.1284148883493499</c:v>
                </c:pt>
                <c:pt idx="10238">
                  <c:v>5.9330006567828706</c:v>
                </c:pt>
                <c:pt idx="10239">
                  <c:v>5.9500876516607955</c:v>
                </c:pt>
                <c:pt idx="10240">
                  <c:v>6.2873966502633749</c:v>
                </c:pt>
                <c:pt idx="10241">
                  <c:v>5.9432188613967067</c:v>
                </c:pt>
                <c:pt idx="10242">
                  <c:v>5.0266931197963949</c:v>
                </c:pt>
                <c:pt idx="10243">
                  <c:v>4.8834563549532115</c:v>
                </c:pt>
                <c:pt idx="10244">
                  <c:v>4.7720821696258335</c:v>
                </c:pt>
                <c:pt idx="10245">
                  <c:v>5.1087683900230703</c:v>
                </c:pt>
                <c:pt idx="10246">
                  <c:v>4.9724908887291974</c:v>
                </c:pt>
                <c:pt idx="10247">
                  <c:v>6.0316392069841918</c:v>
                </c:pt>
                <c:pt idx="10248">
                  <c:v>3.9859885773260171</c:v>
                </c:pt>
                <c:pt idx="10249">
                  <c:v>4.8780335806028985</c:v>
                </c:pt>
                <c:pt idx="10250">
                  <c:v>5.0660218222585289</c:v>
                </c:pt>
                <c:pt idx="10251">
                  <c:v>4.8981850802972788</c:v>
                </c:pt>
                <c:pt idx="10252">
                  <c:v>4.8833192969767598</c:v>
                </c:pt>
                <c:pt idx="10253">
                  <c:v>6.1217062249262639</c:v>
                </c:pt>
                <c:pt idx="10254">
                  <c:v>6.0586600883995798</c:v>
                </c:pt>
                <c:pt idx="10255">
                  <c:v>5.0540770129965535</c:v>
                </c:pt>
                <c:pt idx="10256">
                  <c:v>6.0226821743643848</c:v>
                </c:pt>
                <c:pt idx="10257">
                  <c:v>5.9837071891710645</c:v>
                </c:pt>
                <c:pt idx="10258">
                  <c:v>5.1078209702364381</c:v>
                </c:pt>
                <c:pt idx="10259">
                  <c:v>4.9962298029263472</c:v>
                </c:pt>
                <c:pt idx="10260">
                  <c:v>5.191400169893166</c:v>
                </c:pt>
                <c:pt idx="10261">
                  <c:v>7.0790732509587819</c:v>
                </c:pt>
                <c:pt idx="10262">
                  <c:v>6.1102951788814854</c:v>
                </c:pt>
                <c:pt idx="10263">
                  <c:v>6.3954622226750875</c:v>
                </c:pt>
                <c:pt idx="10264">
                  <c:v>5.9531627988705349</c:v>
                </c:pt>
                <c:pt idx="10265">
                  <c:v>4.9467246990184988</c:v>
                </c:pt>
                <c:pt idx="10266">
                  <c:v>4.8799653476445988</c:v>
                </c:pt>
                <c:pt idx="10267">
                  <c:v>4.9291799526117659</c:v>
                </c:pt>
                <c:pt idx="10268">
                  <c:v>4.935932715168005</c:v>
                </c:pt>
                <c:pt idx="10269">
                  <c:v>5.8851293763287309</c:v>
                </c:pt>
                <c:pt idx="10270">
                  <c:v>5.8881206191932733</c:v>
                </c:pt>
                <c:pt idx="10271">
                  <c:v>5.9853142163323954</c:v>
                </c:pt>
                <c:pt idx="10272">
                  <c:v>5.7949774213656031</c:v>
                </c:pt>
                <c:pt idx="10273">
                  <c:v>4.7938095140872958</c:v>
                </c:pt>
                <c:pt idx="10274">
                  <c:v>5.9016606672974108</c:v>
                </c:pt>
                <c:pt idx="10275">
                  <c:v>5.9181984325331687</c:v>
                </c:pt>
                <c:pt idx="10276">
                  <c:v>4.9541132836946611</c:v>
                </c:pt>
                <c:pt idx="10277">
                  <c:v>6.0410258815867488</c:v>
                </c:pt>
                <c:pt idx="10278">
                  <c:v>5.9153518122289555</c:v>
                </c:pt>
                <c:pt idx="10279">
                  <c:v>4.9741759102324936</c:v>
                </c:pt>
                <c:pt idx="10280">
                  <c:v>6.0357100736744682</c:v>
                </c:pt>
                <c:pt idx="10281">
                  <c:v>4.9476387868517957</c:v>
                </c:pt>
                <c:pt idx="10282">
                  <c:v>6.0323671252489435</c:v>
                </c:pt>
                <c:pt idx="10283">
                  <c:v>6.2213664307074206</c:v>
                </c:pt>
                <c:pt idx="10284">
                  <c:v>6.0958851446290083</c:v>
                </c:pt>
                <c:pt idx="10285">
                  <c:v>4.9887258036987392</c:v>
                </c:pt>
                <c:pt idx="10286">
                  <c:v>5.0855812098252891</c:v>
                </c:pt>
                <c:pt idx="10287">
                  <c:v>5.8816302887148844</c:v>
                </c:pt>
                <c:pt idx="10288">
                  <c:v>6.1219798455851642</c:v>
                </c:pt>
                <c:pt idx="10289">
                  <c:v>5.9638185104442671</c:v>
                </c:pt>
                <c:pt idx="10290">
                  <c:v>5.9080682932627884</c:v>
                </c:pt>
                <c:pt idx="10291">
                  <c:v>5.9680892295626942</c:v>
                </c:pt>
                <c:pt idx="10292">
                  <c:v>6.0138838878138019</c:v>
                </c:pt>
                <c:pt idx="10293">
                  <c:v>6.1428684006904417</c:v>
                </c:pt>
                <c:pt idx="10294">
                  <c:v>5.162718629816557</c:v>
                </c:pt>
                <c:pt idx="10295">
                  <c:v>6.082718812890902</c:v>
                </c:pt>
                <c:pt idx="10296">
                  <c:v>5.8829541276069941</c:v>
                </c:pt>
                <c:pt idx="10297">
                  <c:v>5.8666787338890574</c:v>
                </c:pt>
                <c:pt idx="10298">
                  <c:v>5.9887133337436413</c:v>
                </c:pt>
                <c:pt idx="10299">
                  <c:v>3.9708677954420137</c:v>
                </c:pt>
                <c:pt idx="10300">
                  <c:v>6.2409091505132093</c:v>
                </c:pt>
                <c:pt idx="10301">
                  <c:v>5.1909569067847539</c:v>
                </c:pt>
                <c:pt idx="10302">
                  <c:v>6.2880587353844319</c:v>
                </c:pt>
                <c:pt idx="10303">
                  <c:v>6.0400835960273431</c:v>
                </c:pt>
                <c:pt idx="10304">
                  <c:v>5.240898387532007</c:v>
                </c:pt>
                <c:pt idx="10305">
                  <c:v>5.0723751917454498</c:v>
                </c:pt>
                <c:pt idx="10306">
                  <c:v>4.9549087509496497</c:v>
                </c:pt>
                <c:pt idx="10307">
                  <c:v>6.0376964473713466</c:v>
                </c:pt>
                <c:pt idx="10308">
                  <c:v>4.9174513116330019</c:v>
                </c:pt>
                <c:pt idx="10309">
                  <c:v>5.9927882625194293</c:v>
                </c:pt>
                <c:pt idx="10310">
                  <c:v>5.9029027005469787</c:v>
                </c:pt>
                <c:pt idx="10311">
                  <c:v>5.0333448146088315</c:v>
                </c:pt>
                <c:pt idx="10312">
                  <c:v>5.8580084062297209</c:v>
                </c:pt>
                <c:pt idx="10313">
                  <c:v>6.0476240976564739</c:v>
                </c:pt>
                <c:pt idx="10314">
                  <c:v>5.8037952513060107</c:v>
                </c:pt>
                <c:pt idx="10315">
                  <c:v>3.1546531519755061</c:v>
                </c:pt>
                <c:pt idx="10316">
                  <c:v>3.0351372820323337</c:v>
                </c:pt>
                <c:pt idx="10317">
                  <c:v>5.9226737381753258</c:v>
                </c:pt>
                <c:pt idx="10318">
                  <c:v>2.967362238667314</c:v>
                </c:pt>
                <c:pt idx="10319">
                  <c:v>5.0530407340766734</c:v>
                </c:pt>
                <c:pt idx="10320">
                  <c:v>6.0405243773451724</c:v>
                </c:pt>
                <c:pt idx="10321">
                  <c:v>5.8980060144327195</c:v>
                </c:pt>
                <c:pt idx="10322">
                  <c:v>5.1357037191077115</c:v>
                </c:pt>
                <c:pt idx="10323">
                  <c:v>5.9773694703227411</c:v>
                </c:pt>
                <c:pt idx="10324">
                  <c:v>5.9839124862007722</c:v>
                </c:pt>
                <c:pt idx="10325">
                  <c:v>5.0489099198447818</c:v>
                </c:pt>
                <c:pt idx="10326">
                  <c:v>5.2192411853559966</c:v>
                </c:pt>
                <c:pt idx="10327">
                  <c:v>6.0499306038010126</c:v>
                </c:pt>
                <c:pt idx="10328">
                  <c:v>4.8498894376021919</c:v>
                </c:pt>
                <c:pt idx="10329">
                  <c:v>6.0957230187688829</c:v>
                </c:pt>
                <c:pt idx="10330">
                  <c:v>5.0622099033798733</c:v>
                </c:pt>
                <c:pt idx="10331">
                  <c:v>6.1154997518210061</c:v>
                </c:pt>
                <c:pt idx="10332">
                  <c:v>4.8571360421238818</c:v>
                </c:pt>
                <c:pt idx="10333">
                  <c:v>6.061045308305772</c:v>
                </c:pt>
                <c:pt idx="10334">
                  <c:v>6.1046707198439538</c:v>
                </c:pt>
                <c:pt idx="10335">
                  <c:v>6.1212828163103943</c:v>
                </c:pt>
                <c:pt idx="10336">
                  <c:v>5.075525307130123</c:v>
                </c:pt>
                <c:pt idx="10337">
                  <c:v>5.9070618535995632</c:v>
                </c:pt>
                <c:pt idx="10338">
                  <c:v>6.0937857379971563</c:v>
                </c:pt>
                <c:pt idx="10339">
                  <c:v>6.0701715123424602</c:v>
                </c:pt>
                <c:pt idx="10340">
                  <c:v>5.0893662971787439</c:v>
                </c:pt>
                <c:pt idx="10341">
                  <c:v>5.9901094851620993</c:v>
                </c:pt>
                <c:pt idx="10342">
                  <c:v>6.0545141364044941</c:v>
                </c:pt>
                <c:pt idx="10343">
                  <c:v>5.1920198596009763</c:v>
                </c:pt>
                <c:pt idx="10344">
                  <c:v>7.0699668935731861</c:v>
                </c:pt>
                <c:pt idx="10345">
                  <c:v>6.0262435478944392</c:v>
                </c:pt>
                <c:pt idx="10346">
                  <c:v>5.1308710542319345</c:v>
                </c:pt>
                <c:pt idx="10347">
                  <c:v>6.0018498002672267</c:v>
                </c:pt>
                <c:pt idx="10348">
                  <c:v>5.8544450814474613</c:v>
                </c:pt>
                <c:pt idx="10349">
                  <c:v>5.8636207572472996</c:v>
                </c:pt>
                <c:pt idx="10350">
                  <c:v>4.9858334720357158</c:v>
                </c:pt>
                <c:pt idx="10351">
                  <c:v>5.8619951874377199</c:v>
                </c:pt>
                <c:pt idx="10352">
                  <c:v>5.9067425901521329</c:v>
                </c:pt>
                <c:pt idx="10353">
                  <c:v>5.9433196794317027</c:v>
                </c:pt>
                <c:pt idx="10354">
                  <c:v>5.0093759730883081</c:v>
                </c:pt>
                <c:pt idx="10355">
                  <c:v>5.1170243619942806</c:v>
                </c:pt>
                <c:pt idx="10356">
                  <c:v>4.9519673574964207</c:v>
                </c:pt>
                <c:pt idx="10357">
                  <c:v>5.0428550588664809</c:v>
                </c:pt>
                <c:pt idx="10358">
                  <c:v>4.9764087715981518</c:v>
                </c:pt>
                <c:pt idx="10359">
                  <c:v>5.9614120534340032</c:v>
                </c:pt>
                <c:pt idx="10360">
                  <c:v>6.1363401392809713</c:v>
                </c:pt>
                <c:pt idx="10361">
                  <c:v>5.039232219175859</c:v>
                </c:pt>
                <c:pt idx="10362">
                  <c:v>7.1273820349781305</c:v>
                </c:pt>
                <c:pt idx="10363">
                  <c:v>5.0419055118160028</c:v>
                </c:pt>
                <c:pt idx="10364">
                  <c:v>4.8835320305985697</c:v>
                </c:pt>
                <c:pt idx="10365">
                  <c:v>6.0146435112399734</c:v>
                </c:pt>
                <c:pt idx="10366">
                  <c:v>7.1185472701633872</c:v>
                </c:pt>
                <c:pt idx="10367">
                  <c:v>4.9362379962183258</c:v>
                </c:pt>
                <c:pt idx="10368">
                  <c:v>6.0007888897492521</c:v>
                </c:pt>
                <c:pt idx="10369">
                  <c:v>6.1459060866363346</c:v>
                </c:pt>
                <c:pt idx="10370">
                  <c:v>6.0027647283859888</c:v>
                </c:pt>
                <c:pt idx="10371">
                  <c:v>3.9709692327323411</c:v>
                </c:pt>
                <c:pt idx="10372">
                  <c:v>4.001013342853839</c:v>
                </c:pt>
                <c:pt idx="10373">
                  <c:v>6.0452652708686569</c:v>
                </c:pt>
                <c:pt idx="10374">
                  <c:v>3.9174531511422188</c:v>
                </c:pt>
                <c:pt idx="10375">
                  <c:v>3.9726893817722528</c:v>
                </c:pt>
                <c:pt idx="10376">
                  <c:v>6.0635948011433296</c:v>
                </c:pt>
                <c:pt idx="10377">
                  <c:v>1.842097849600475</c:v>
                </c:pt>
                <c:pt idx="10378">
                  <c:v>6.01660735341967</c:v>
                </c:pt>
                <c:pt idx="10379">
                  <c:v>5.0869538039743309</c:v>
                </c:pt>
                <c:pt idx="10380">
                  <c:v>5.8969081777342662</c:v>
                </c:pt>
                <c:pt idx="10381">
                  <c:v>5.9943126800354971</c:v>
                </c:pt>
                <c:pt idx="10382">
                  <c:v>5.9564540208805816</c:v>
                </c:pt>
                <c:pt idx="10383">
                  <c:v>6.0240988302220044</c:v>
                </c:pt>
                <c:pt idx="10384">
                  <c:v>5.9789537190207618</c:v>
                </c:pt>
                <c:pt idx="10385">
                  <c:v>6.0011748841059909</c:v>
                </c:pt>
                <c:pt idx="10386">
                  <c:v>5.8569775198447669</c:v>
                </c:pt>
                <c:pt idx="10387">
                  <c:v>5.9273445014036268</c:v>
                </c:pt>
                <c:pt idx="10388">
                  <c:v>6.1239295791616861</c:v>
                </c:pt>
                <c:pt idx="10389">
                  <c:v>6.0837354918123721</c:v>
                </c:pt>
                <c:pt idx="10390">
                  <c:v>6.0623275508491172</c:v>
                </c:pt>
                <c:pt idx="10391">
                  <c:v>5.0351862301228092</c:v>
                </c:pt>
                <c:pt idx="10392">
                  <c:v>6.1276653953185365</c:v>
                </c:pt>
                <c:pt idx="10393">
                  <c:v>5.9362326729284041</c:v>
                </c:pt>
                <c:pt idx="10394">
                  <c:v>5.833532680553577</c:v>
                </c:pt>
                <c:pt idx="10395">
                  <c:v>5.8579446020835668</c:v>
                </c:pt>
                <c:pt idx="10396">
                  <c:v>5.0878474814776382</c:v>
                </c:pt>
                <c:pt idx="10397">
                  <c:v>6.044309815165243</c:v>
                </c:pt>
                <c:pt idx="10398">
                  <c:v>5.0012245636681065</c:v>
                </c:pt>
                <c:pt idx="10399">
                  <c:v>6.2841551130861895</c:v>
                </c:pt>
                <c:pt idx="10400">
                  <c:v>4.1623970912685557</c:v>
                </c:pt>
                <c:pt idx="10401">
                  <c:v>4.8937368108405668</c:v>
                </c:pt>
                <c:pt idx="10402">
                  <c:v>5.9968883674721249</c:v>
                </c:pt>
                <c:pt idx="10403">
                  <c:v>5.9409044013180434</c:v>
                </c:pt>
                <c:pt idx="10404">
                  <c:v>6.0137768762197874</c:v>
                </c:pt>
                <c:pt idx="10405">
                  <c:v>6.1554093404325414</c:v>
                </c:pt>
                <c:pt idx="10406">
                  <c:v>4.9826231293081173</c:v>
                </c:pt>
                <c:pt idx="10407">
                  <c:v>6.1315476540262166</c:v>
                </c:pt>
                <c:pt idx="10408">
                  <c:v>5.9175436894700075</c:v>
                </c:pt>
                <c:pt idx="10409">
                  <c:v>5.1068629789442967</c:v>
                </c:pt>
                <c:pt idx="10410">
                  <c:v>4.8154953910282963</c:v>
                </c:pt>
                <c:pt idx="10411">
                  <c:v>6.1155766177682054</c:v>
                </c:pt>
                <c:pt idx="10412">
                  <c:v>5.0264130601178403</c:v>
                </c:pt>
                <c:pt idx="10413">
                  <c:v>4.8138835441840211</c:v>
                </c:pt>
                <c:pt idx="10414">
                  <c:v>7.0748699597417328</c:v>
                </c:pt>
                <c:pt idx="10415">
                  <c:v>5.9589303811137659</c:v>
                </c:pt>
                <c:pt idx="10416">
                  <c:v>6.0584521781097793</c:v>
                </c:pt>
                <c:pt idx="10417">
                  <c:v>5.879940937127742</c:v>
                </c:pt>
                <c:pt idx="10418">
                  <c:v>5.9916511302686679</c:v>
                </c:pt>
                <c:pt idx="10419">
                  <c:v>6.9800062156431384</c:v>
                </c:pt>
                <c:pt idx="10420">
                  <c:v>6.0606402541913038</c:v>
                </c:pt>
                <c:pt idx="10421">
                  <c:v>5.0167566407244149</c:v>
                </c:pt>
                <c:pt idx="10422">
                  <c:v>4.9208530453408468</c:v>
                </c:pt>
                <c:pt idx="10423">
                  <c:v>6.1244537712042675</c:v>
                </c:pt>
                <c:pt idx="10424">
                  <c:v>5.9830188475384549</c:v>
                </c:pt>
                <c:pt idx="10425">
                  <c:v>4.9981413832262218</c:v>
                </c:pt>
                <c:pt idx="10426">
                  <c:v>5.9057373913458049</c:v>
                </c:pt>
                <c:pt idx="10427">
                  <c:v>6.0545796941393926</c:v>
                </c:pt>
                <c:pt idx="10428">
                  <c:v>5.9871777896163758</c:v>
                </c:pt>
                <c:pt idx="10429">
                  <c:v>6.1557562796657788</c:v>
                </c:pt>
                <c:pt idx="10430">
                  <c:v>6.0600198642240448</c:v>
                </c:pt>
                <c:pt idx="10431">
                  <c:v>6.1657451158973435</c:v>
                </c:pt>
                <c:pt idx="10432">
                  <c:v>6.0758782496498513</c:v>
                </c:pt>
                <c:pt idx="10433">
                  <c:v>5.0458071426033486</c:v>
                </c:pt>
                <c:pt idx="10434">
                  <c:v>6.1388181314009556</c:v>
                </c:pt>
                <c:pt idx="10435">
                  <c:v>5.9982160012644705</c:v>
                </c:pt>
                <c:pt idx="10436">
                  <c:v>5.9673610634824827</c:v>
                </c:pt>
                <c:pt idx="10437">
                  <c:v>6.0380606496511797</c:v>
                </c:pt>
                <c:pt idx="10438">
                  <c:v>5.1687925990355188</c:v>
                </c:pt>
                <c:pt idx="10439">
                  <c:v>5.9371132218123641</c:v>
                </c:pt>
                <c:pt idx="10440">
                  <c:v>6.0341072702099874</c:v>
                </c:pt>
                <c:pt idx="10441">
                  <c:v>6.9715420035289801</c:v>
                </c:pt>
                <c:pt idx="10442">
                  <c:v>4.9441062351032157</c:v>
                </c:pt>
                <c:pt idx="10443">
                  <c:v>5.9699874995167495</c:v>
                </c:pt>
                <c:pt idx="10444">
                  <c:v>5.1118498316878496</c:v>
                </c:pt>
                <c:pt idx="10445">
                  <c:v>5.0627730450827775</c:v>
                </c:pt>
                <c:pt idx="10446">
                  <c:v>4.961430605831568</c:v>
                </c:pt>
                <c:pt idx="10447">
                  <c:v>5.9976146631836675</c:v>
                </c:pt>
                <c:pt idx="10448">
                  <c:v>5.1352967443579889</c:v>
                </c:pt>
                <c:pt idx="10449">
                  <c:v>4.9331684072082931</c:v>
                </c:pt>
                <c:pt idx="10450">
                  <c:v>5.9196532502632477</c:v>
                </c:pt>
                <c:pt idx="10451">
                  <c:v>5.9881577925013802</c:v>
                </c:pt>
                <c:pt idx="10452">
                  <c:v>6.0197026145514334</c:v>
                </c:pt>
                <c:pt idx="10453">
                  <c:v>6.0566867849388668</c:v>
                </c:pt>
                <c:pt idx="10454">
                  <c:v>6.1230150582598313</c:v>
                </c:pt>
                <c:pt idx="10455">
                  <c:v>5.7555061661725437</c:v>
                </c:pt>
                <c:pt idx="10456">
                  <c:v>5.8687350514542453</c:v>
                </c:pt>
                <c:pt idx="10457">
                  <c:v>6.0132195811463811</c:v>
                </c:pt>
                <c:pt idx="10458">
                  <c:v>6.14248124701958</c:v>
                </c:pt>
                <c:pt idx="10459">
                  <c:v>5.9335615748880528</c:v>
                </c:pt>
                <c:pt idx="10460">
                  <c:v>5.9835357379734733</c:v>
                </c:pt>
                <c:pt idx="10461">
                  <c:v>5.9397542344662035</c:v>
                </c:pt>
                <c:pt idx="10462">
                  <c:v>6.0842756688598216</c:v>
                </c:pt>
                <c:pt idx="10463">
                  <c:v>5.9418391957177503</c:v>
                </c:pt>
                <c:pt idx="10464">
                  <c:v>5.9425444049818328</c:v>
                </c:pt>
                <c:pt idx="10465">
                  <c:v>4.8405389236858722</c:v>
                </c:pt>
                <c:pt idx="10466">
                  <c:v>7.1172580942021595</c:v>
                </c:pt>
                <c:pt idx="10467">
                  <c:v>6.0377211951503993</c:v>
                </c:pt>
                <c:pt idx="10468">
                  <c:v>4.8913321674274464</c:v>
                </c:pt>
                <c:pt idx="10469">
                  <c:v>6.0605966049688975</c:v>
                </c:pt>
                <c:pt idx="10470">
                  <c:v>5.868088443735461</c:v>
                </c:pt>
                <c:pt idx="10471">
                  <c:v>5.9573609283677804</c:v>
                </c:pt>
                <c:pt idx="10472">
                  <c:v>6.0885296219444669</c:v>
                </c:pt>
                <c:pt idx="10473">
                  <c:v>4.9221647789902478</c:v>
                </c:pt>
                <c:pt idx="10474">
                  <c:v>5.0248245523645938</c:v>
                </c:pt>
                <c:pt idx="10475">
                  <c:v>5.0886698329027311</c:v>
                </c:pt>
                <c:pt idx="10476">
                  <c:v>5.8736787931586996</c:v>
                </c:pt>
                <c:pt idx="10477">
                  <c:v>5.0379793810276698</c:v>
                </c:pt>
                <c:pt idx="10478">
                  <c:v>4.7865114781506808</c:v>
                </c:pt>
                <c:pt idx="10479">
                  <c:v>6.0428671056341212</c:v>
                </c:pt>
                <c:pt idx="10480">
                  <c:v>6.0232290726488449</c:v>
                </c:pt>
                <c:pt idx="10481">
                  <c:v>5.9085983373306119</c:v>
                </c:pt>
                <c:pt idx="10482">
                  <c:v>6.0723773496339284</c:v>
                </c:pt>
                <c:pt idx="10483">
                  <c:v>4.9363162968127794</c:v>
                </c:pt>
                <c:pt idx="10484">
                  <c:v>3.9486216246861336</c:v>
                </c:pt>
                <c:pt idx="10485">
                  <c:v>5.0247283716999345</c:v>
                </c:pt>
                <c:pt idx="10486">
                  <c:v>4.9045690172325651</c:v>
                </c:pt>
                <c:pt idx="10487">
                  <c:v>5.0453042186816388</c:v>
                </c:pt>
                <c:pt idx="10488">
                  <c:v>5.0424143137690685</c:v>
                </c:pt>
                <c:pt idx="10489">
                  <c:v>4.9151774897354992</c:v>
                </c:pt>
                <c:pt idx="10490">
                  <c:v>4.8839588260613835</c:v>
                </c:pt>
                <c:pt idx="10491">
                  <c:v>5.0880837680087598</c:v>
                </c:pt>
                <c:pt idx="10492">
                  <c:v>7.0485085728763961</c:v>
                </c:pt>
                <c:pt idx="10493">
                  <c:v>4.9380640632176895</c:v>
                </c:pt>
                <c:pt idx="10494">
                  <c:v>6.0739724150234062</c:v>
                </c:pt>
                <c:pt idx="10495">
                  <c:v>7.1225605232732594</c:v>
                </c:pt>
                <c:pt idx="10496">
                  <c:v>5.9189252846860283</c:v>
                </c:pt>
                <c:pt idx="10497">
                  <c:v>6.105613542937002</c:v>
                </c:pt>
                <c:pt idx="10498">
                  <c:v>6.0411243894897311</c:v>
                </c:pt>
                <c:pt idx="10499">
                  <c:v>5.006579423397608</c:v>
                </c:pt>
                <c:pt idx="10500">
                  <c:v>6.090556504607247</c:v>
                </c:pt>
                <c:pt idx="10501">
                  <c:v>4.9989661059783197</c:v>
                </c:pt>
                <c:pt idx="10502">
                  <c:v>6.0476052829754687</c:v>
                </c:pt>
                <c:pt idx="10503">
                  <c:v>5.2354110287026092</c:v>
                </c:pt>
                <c:pt idx="10504">
                  <c:v>5.9240705663199043</c:v>
                </c:pt>
                <c:pt idx="10505">
                  <c:v>5.1648896374110658</c:v>
                </c:pt>
                <c:pt idx="10506">
                  <c:v>6.0325985072084345</c:v>
                </c:pt>
                <c:pt idx="10507">
                  <c:v>6.0043534683325701</c:v>
                </c:pt>
                <c:pt idx="10508">
                  <c:v>6.2104388222473501</c:v>
                </c:pt>
                <c:pt idx="10509">
                  <c:v>5.0108983205983382</c:v>
                </c:pt>
                <c:pt idx="10510">
                  <c:v>4.9983798257494536</c:v>
                </c:pt>
                <c:pt idx="10511">
                  <c:v>6.1870594589888883</c:v>
                </c:pt>
                <c:pt idx="10512">
                  <c:v>5.2162317996041647</c:v>
                </c:pt>
                <c:pt idx="10513">
                  <c:v>5.9401254859045958</c:v>
                </c:pt>
                <c:pt idx="10514">
                  <c:v>5.0965983740880869</c:v>
                </c:pt>
                <c:pt idx="10515">
                  <c:v>4.9777972615748629</c:v>
                </c:pt>
                <c:pt idx="10516">
                  <c:v>5.1725324921697133</c:v>
                </c:pt>
                <c:pt idx="10517">
                  <c:v>5.953501933995093</c:v>
                </c:pt>
                <c:pt idx="10518">
                  <c:v>6.1042508864131229</c:v>
                </c:pt>
                <c:pt idx="10519">
                  <c:v>6.0479356275100589</c:v>
                </c:pt>
                <c:pt idx="10520">
                  <c:v>5.0426393803464586</c:v>
                </c:pt>
                <c:pt idx="10521">
                  <c:v>7.0699582207617189</c:v>
                </c:pt>
                <c:pt idx="10522">
                  <c:v>6.1123787846071922</c:v>
                </c:pt>
                <c:pt idx="10523">
                  <c:v>6.999536478317375</c:v>
                </c:pt>
                <c:pt idx="10524">
                  <c:v>4.9914616353629624</c:v>
                </c:pt>
                <c:pt idx="10525">
                  <c:v>6.0542949573861931</c:v>
                </c:pt>
                <c:pt idx="10526">
                  <c:v>5.9473189744689767</c:v>
                </c:pt>
                <c:pt idx="10527">
                  <c:v>6.0355550799329833</c:v>
                </c:pt>
                <c:pt idx="10528">
                  <c:v>6.1757598625156289</c:v>
                </c:pt>
                <c:pt idx="10529">
                  <c:v>5.8216658372869112</c:v>
                </c:pt>
                <c:pt idx="10530">
                  <c:v>6.0762564912353625</c:v>
                </c:pt>
                <c:pt idx="10531">
                  <c:v>6.1377156812982978</c:v>
                </c:pt>
                <c:pt idx="10532">
                  <c:v>6.1334315276681464</c:v>
                </c:pt>
                <c:pt idx="10533">
                  <c:v>5.9312051217140374</c:v>
                </c:pt>
                <c:pt idx="10534">
                  <c:v>5.9533003704130349</c:v>
                </c:pt>
                <c:pt idx="10535">
                  <c:v>6.0403646923084811</c:v>
                </c:pt>
                <c:pt idx="10536">
                  <c:v>5.9797093373598695</c:v>
                </c:pt>
                <c:pt idx="10537">
                  <c:v>5.9278799964221749</c:v>
                </c:pt>
                <c:pt idx="10538">
                  <c:v>6.1834191782905723</c:v>
                </c:pt>
                <c:pt idx="10539">
                  <c:v>6.2800139844826335</c:v>
                </c:pt>
                <c:pt idx="10540">
                  <c:v>4.9520013769325093</c:v>
                </c:pt>
                <c:pt idx="10541">
                  <c:v>7.1951437630022737</c:v>
                </c:pt>
                <c:pt idx="10542">
                  <c:v>6.1434192626576056</c:v>
                </c:pt>
                <c:pt idx="10543">
                  <c:v>5.0124907540432577</c:v>
                </c:pt>
                <c:pt idx="10544">
                  <c:v>5.0426252741863244</c:v>
                </c:pt>
                <c:pt idx="10545">
                  <c:v>6.065348819854556</c:v>
                </c:pt>
                <c:pt idx="10546">
                  <c:v>4.9572871274091455</c:v>
                </c:pt>
                <c:pt idx="10547">
                  <c:v>4.9986117991357162</c:v>
                </c:pt>
                <c:pt idx="10548">
                  <c:v>4.0947362339139142</c:v>
                </c:pt>
                <c:pt idx="10549">
                  <c:v>4.961102736520437</c:v>
                </c:pt>
                <c:pt idx="10550">
                  <c:v>6.0556784731047646</c:v>
                </c:pt>
                <c:pt idx="10551">
                  <c:v>5.0717918998425331</c:v>
                </c:pt>
                <c:pt idx="10552">
                  <c:v>4.90162616563632</c:v>
                </c:pt>
                <c:pt idx="10553">
                  <c:v>5.9969062147209975</c:v>
                </c:pt>
                <c:pt idx="10554">
                  <c:v>5.946511469856409</c:v>
                </c:pt>
                <c:pt idx="10555">
                  <c:v>5.1084301556876044</c:v>
                </c:pt>
                <c:pt idx="10556">
                  <c:v>5.9210134029018331</c:v>
                </c:pt>
                <c:pt idx="10557">
                  <c:v>6.1070958270494344</c:v>
                </c:pt>
                <c:pt idx="10558">
                  <c:v>6.9613427760838729</c:v>
                </c:pt>
                <c:pt idx="10559">
                  <c:v>6.0490099518472551</c:v>
                </c:pt>
                <c:pt idx="10560">
                  <c:v>4.9509839665998427</c:v>
                </c:pt>
                <c:pt idx="10561">
                  <c:v>6.0907432853277506</c:v>
                </c:pt>
                <c:pt idx="10562">
                  <c:v>5.9272298051246439</c:v>
                </c:pt>
                <c:pt idx="10563">
                  <c:v>4.9145204015084891</c:v>
                </c:pt>
                <c:pt idx="10564">
                  <c:v>5.1135484687685526</c:v>
                </c:pt>
                <c:pt idx="10565">
                  <c:v>5.9435904935021187</c:v>
                </c:pt>
                <c:pt idx="10566">
                  <c:v>5.9059843828608933</c:v>
                </c:pt>
                <c:pt idx="10567">
                  <c:v>5.1240615786628005</c:v>
                </c:pt>
                <c:pt idx="10568">
                  <c:v>4.9298641159387211</c:v>
                </c:pt>
                <c:pt idx="10569">
                  <c:v>4.9252570453359601</c:v>
                </c:pt>
                <c:pt idx="10570">
                  <c:v>5.9924077013492481</c:v>
                </c:pt>
                <c:pt idx="10571">
                  <c:v>6.9213444724072701</c:v>
                </c:pt>
                <c:pt idx="10572">
                  <c:v>6.0218611543448954</c:v>
                </c:pt>
                <c:pt idx="10573">
                  <c:v>5.9048635009007251</c:v>
                </c:pt>
                <c:pt idx="10574">
                  <c:v>5.9019222243040206</c:v>
                </c:pt>
                <c:pt idx="10575">
                  <c:v>5.9716324055296992</c:v>
                </c:pt>
                <c:pt idx="10576">
                  <c:v>5.9684481577951276</c:v>
                </c:pt>
                <c:pt idx="10577">
                  <c:v>4.9316633105260532</c:v>
                </c:pt>
                <c:pt idx="10578">
                  <c:v>6.1909350642411276</c:v>
                </c:pt>
                <c:pt idx="10579">
                  <c:v>7.0932670005970069</c:v>
                </c:pt>
                <c:pt idx="10580">
                  <c:v>6.2591697004001858</c:v>
                </c:pt>
                <c:pt idx="10581">
                  <c:v>7.0475104648861162</c:v>
                </c:pt>
                <c:pt idx="10582">
                  <c:v>6.9096807129347591</c:v>
                </c:pt>
                <c:pt idx="10583">
                  <c:v>6.1319146281729422</c:v>
                </c:pt>
                <c:pt idx="10584">
                  <c:v>6.8746522106946184</c:v>
                </c:pt>
                <c:pt idx="10585">
                  <c:v>3.8184611846911847</c:v>
                </c:pt>
                <c:pt idx="10586">
                  <c:v>6.0364890786615835</c:v>
                </c:pt>
                <c:pt idx="10587">
                  <c:v>7.210197237728635</c:v>
                </c:pt>
                <c:pt idx="10588">
                  <c:v>6.015816394061356</c:v>
                </c:pt>
                <c:pt idx="10589">
                  <c:v>5.9695549046577376</c:v>
                </c:pt>
                <c:pt idx="10590">
                  <c:v>5.0345129081093472</c:v>
                </c:pt>
                <c:pt idx="10591">
                  <c:v>5.7786856507105897</c:v>
                </c:pt>
                <c:pt idx="10592">
                  <c:v>6.1392907012419622</c:v>
                </c:pt>
                <c:pt idx="10593">
                  <c:v>4.1399151652882082</c:v>
                </c:pt>
                <c:pt idx="10594">
                  <c:v>6.1794577308838017</c:v>
                </c:pt>
                <c:pt idx="10595">
                  <c:v>5.9827460317608798</c:v>
                </c:pt>
                <c:pt idx="10596">
                  <c:v>6.043957131103892</c:v>
                </c:pt>
                <c:pt idx="10597">
                  <c:v>6.086530568717115</c:v>
                </c:pt>
                <c:pt idx="10598">
                  <c:v>6.072212751988558</c:v>
                </c:pt>
                <c:pt idx="10599">
                  <c:v>5.9887702479860945</c:v>
                </c:pt>
                <c:pt idx="10600">
                  <c:v>7.1980863359553826</c:v>
                </c:pt>
                <c:pt idx="10601">
                  <c:v>6.1228490667905859</c:v>
                </c:pt>
                <c:pt idx="10602">
                  <c:v>6.2987597345341264</c:v>
                </c:pt>
                <c:pt idx="10603">
                  <c:v>5.9229243083786596</c:v>
                </c:pt>
                <c:pt idx="10604">
                  <c:v>5.8096933745848229</c:v>
                </c:pt>
                <c:pt idx="10605">
                  <c:v>6.1192050915377809</c:v>
                </c:pt>
                <c:pt idx="10606">
                  <c:v>6.0327703881114596</c:v>
                </c:pt>
                <c:pt idx="10607">
                  <c:v>5.0222280247323825</c:v>
                </c:pt>
                <c:pt idx="10608">
                  <c:v>6.0667199583331319</c:v>
                </c:pt>
                <c:pt idx="10609">
                  <c:v>5.9428204202995767</c:v>
                </c:pt>
                <c:pt idx="10610">
                  <c:v>5.9305783289733114</c:v>
                </c:pt>
                <c:pt idx="10611">
                  <c:v>5.8334320468618444</c:v>
                </c:pt>
                <c:pt idx="10612">
                  <c:v>5.9172633756356099</c:v>
                </c:pt>
                <c:pt idx="10613">
                  <c:v>6.0119504346674919</c:v>
                </c:pt>
                <c:pt idx="10614">
                  <c:v>6.141912412121024</c:v>
                </c:pt>
                <c:pt idx="10615">
                  <c:v>5.9580289145368877</c:v>
                </c:pt>
                <c:pt idx="10616">
                  <c:v>7.0764797161909714</c:v>
                </c:pt>
                <c:pt idx="10617">
                  <c:v>4.9641455176723346</c:v>
                </c:pt>
                <c:pt idx="10618">
                  <c:v>6.1314533274194147</c:v>
                </c:pt>
                <c:pt idx="10619">
                  <c:v>6.0981719196615947</c:v>
                </c:pt>
                <c:pt idx="10620">
                  <c:v>6.1361937976411127</c:v>
                </c:pt>
                <c:pt idx="10621">
                  <c:v>5.8641912033328953</c:v>
                </c:pt>
                <c:pt idx="10622">
                  <c:v>6.112905039366094</c:v>
                </c:pt>
                <c:pt idx="10623">
                  <c:v>4.8858004036587959</c:v>
                </c:pt>
                <c:pt idx="10624">
                  <c:v>6.0071839489043555</c:v>
                </c:pt>
                <c:pt idx="10625">
                  <c:v>6.0744912100022033</c:v>
                </c:pt>
                <c:pt idx="10626">
                  <c:v>6.0353114717138663</c:v>
                </c:pt>
                <c:pt idx="10627">
                  <c:v>5.943288844279655</c:v>
                </c:pt>
                <c:pt idx="10628">
                  <c:v>5.9720031304577308</c:v>
                </c:pt>
                <c:pt idx="10629">
                  <c:v>5.9080299747713276</c:v>
                </c:pt>
                <c:pt idx="10630">
                  <c:v>5.9461737079604973</c:v>
                </c:pt>
                <c:pt idx="10631">
                  <c:v>6.1030113267924522</c:v>
                </c:pt>
                <c:pt idx="10632">
                  <c:v>6.0730477942629566</c:v>
                </c:pt>
                <c:pt idx="10633">
                  <c:v>7.0934938682185633</c:v>
                </c:pt>
                <c:pt idx="10634">
                  <c:v>4.9095724442374955</c:v>
                </c:pt>
                <c:pt idx="10635">
                  <c:v>6.1241561251015693</c:v>
                </c:pt>
                <c:pt idx="10636">
                  <c:v>5.8834161246500916</c:v>
                </c:pt>
                <c:pt idx="10637">
                  <c:v>6.0573048726692216</c:v>
                </c:pt>
                <c:pt idx="10638">
                  <c:v>5.9037643534095858</c:v>
                </c:pt>
                <c:pt idx="10639">
                  <c:v>5.9392713465030447</c:v>
                </c:pt>
                <c:pt idx="10640">
                  <c:v>6.9499185954348235</c:v>
                </c:pt>
                <c:pt idx="10641">
                  <c:v>5.8754828284694245</c:v>
                </c:pt>
                <c:pt idx="10642">
                  <c:v>5.9813044588384523</c:v>
                </c:pt>
                <c:pt idx="10643">
                  <c:v>5.959061281820607</c:v>
                </c:pt>
                <c:pt idx="10644">
                  <c:v>5.9640232455291109</c:v>
                </c:pt>
                <c:pt idx="10645">
                  <c:v>5.9331769209105545</c:v>
                </c:pt>
                <c:pt idx="10646">
                  <c:v>5.9399496807491756</c:v>
                </c:pt>
                <c:pt idx="10647">
                  <c:v>6.1434407407260681</c:v>
                </c:pt>
                <c:pt idx="10648">
                  <c:v>6.0950492792198014</c:v>
                </c:pt>
                <c:pt idx="10649">
                  <c:v>6.057108053595762</c:v>
                </c:pt>
                <c:pt idx="10650">
                  <c:v>5.0305609484533313</c:v>
                </c:pt>
                <c:pt idx="10651">
                  <c:v>6.09916028562506</c:v>
                </c:pt>
                <c:pt idx="10652">
                  <c:v>5.7980216893155179</c:v>
                </c:pt>
                <c:pt idx="10653">
                  <c:v>5.9480408428146765</c:v>
                </c:pt>
                <c:pt idx="10654">
                  <c:v>5.8940931004560868</c:v>
                </c:pt>
                <c:pt idx="10655">
                  <c:v>6.9732310927058982</c:v>
                </c:pt>
                <c:pt idx="10656">
                  <c:v>5.9585038628979383</c:v>
                </c:pt>
                <c:pt idx="10657">
                  <c:v>5.8746931589036988</c:v>
                </c:pt>
                <c:pt idx="10658">
                  <c:v>5.0678404639745507</c:v>
                </c:pt>
                <c:pt idx="10659">
                  <c:v>6.1210693009386858</c:v>
                </c:pt>
                <c:pt idx="10660">
                  <c:v>5.9490328597711812</c:v>
                </c:pt>
                <c:pt idx="10661">
                  <c:v>6.0902318727492055</c:v>
                </c:pt>
                <c:pt idx="10662">
                  <c:v>4.9658519721403138</c:v>
                </c:pt>
                <c:pt idx="10663">
                  <c:v>6.2060248896343282</c:v>
                </c:pt>
                <c:pt idx="10664">
                  <c:v>3.9826272924559514</c:v>
                </c:pt>
                <c:pt idx="10665">
                  <c:v>7.0061381111511123</c:v>
                </c:pt>
                <c:pt idx="10666">
                  <c:v>6.9660047535693437</c:v>
                </c:pt>
                <c:pt idx="10667">
                  <c:v>6.0579906081099884</c:v>
                </c:pt>
                <c:pt idx="10668">
                  <c:v>5.9678275509465335</c:v>
                </c:pt>
                <c:pt idx="10669">
                  <c:v>6.0178196411924469</c:v>
                </c:pt>
                <c:pt idx="10670">
                  <c:v>6.0793862430200285</c:v>
                </c:pt>
                <c:pt idx="10671">
                  <c:v>5.8967682214081405</c:v>
                </c:pt>
                <c:pt idx="10672">
                  <c:v>6.1505574848919782</c:v>
                </c:pt>
                <c:pt idx="10673">
                  <c:v>5.7619453734082633</c:v>
                </c:pt>
                <c:pt idx="10674">
                  <c:v>5.9778989679442756</c:v>
                </c:pt>
                <c:pt idx="10675">
                  <c:v>5.9051974222851138</c:v>
                </c:pt>
                <c:pt idx="10676">
                  <c:v>5.2044578094288756</c:v>
                </c:pt>
                <c:pt idx="10677">
                  <c:v>5.9251664963507178</c:v>
                </c:pt>
                <c:pt idx="10678">
                  <c:v>6.0214503665310337</c:v>
                </c:pt>
                <c:pt idx="10679">
                  <c:v>5.963094731619635</c:v>
                </c:pt>
                <c:pt idx="10680">
                  <c:v>5.9051404310543161</c:v>
                </c:pt>
                <c:pt idx="10681">
                  <c:v>6.1192501840841071</c:v>
                </c:pt>
                <c:pt idx="10682">
                  <c:v>6.0691075849577079</c:v>
                </c:pt>
                <c:pt idx="10683">
                  <c:v>5.8940889020076153</c:v>
                </c:pt>
                <c:pt idx="10684">
                  <c:v>5.2162913768589236</c:v>
                </c:pt>
                <c:pt idx="10685">
                  <c:v>5.9764940258823041</c:v>
                </c:pt>
                <c:pt idx="10686">
                  <c:v>6.0806766530123406</c:v>
                </c:pt>
                <c:pt idx="10687">
                  <c:v>5.9367202254450495</c:v>
                </c:pt>
                <c:pt idx="10688">
                  <c:v>5.7564363839923338</c:v>
                </c:pt>
                <c:pt idx="10689">
                  <c:v>6.1911875496259148</c:v>
                </c:pt>
                <c:pt idx="10690">
                  <c:v>5.7751930015944755</c:v>
                </c:pt>
                <c:pt idx="10691">
                  <c:v>6.0422442727265127</c:v>
                </c:pt>
                <c:pt idx="10692">
                  <c:v>5.8568248551340849</c:v>
                </c:pt>
                <c:pt idx="10693">
                  <c:v>6.0027603419108067</c:v>
                </c:pt>
                <c:pt idx="10694">
                  <c:v>6.0207294235945135</c:v>
                </c:pt>
                <c:pt idx="10695">
                  <c:v>6.0059172789479964</c:v>
                </c:pt>
                <c:pt idx="10696">
                  <c:v>5.9109199416115867</c:v>
                </c:pt>
                <c:pt idx="10697">
                  <c:v>5.9161020894620027</c:v>
                </c:pt>
                <c:pt idx="10698">
                  <c:v>5.9231171651892733</c:v>
                </c:pt>
                <c:pt idx="10699">
                  <c:v>6.1072557021270724</c:v>
                </c:pt>
                <c:pt idx="10700">
                  <c:v>5.0414440137616081</c:v>
                </c:pt>
                <c:pt idx="10701">
                  <c:v>5.911284838047294</c:v>
                </c:pt>
                <c:pt idx="10702">
                  <c:v>6.1133775921334816</c:v>
                </c:pt>
                <c:pt idx="10703">
                  <c:v>5.950883891208135</c:v>
                </c:pt>
                <c:pt idx="10704">
                  <c:v>6.0807812610818273</c:v>
                </c:pt>
                <c:pt idx="10705">
                  <c:v>4.9516644163116563</c:v>
                </c:pt>
                <c:pt idx="10706">
                  <c:v>5.9414961756580498</c:v>
                </c:pt>
                <c:pt idx="10707">
                  <c:v>5.0828192470106801</c:v>
                </c:pt>
                <c:pt idx="10708">
                  <c:v>5.1471920972558074</c:v>
                </c:pt>
                <c:pt idx="10709">
                  <c:v>5.820369093128809</c:v>
                </c:pt>
                <c:pt idx="10710">
                  <c:v>5.9743273178691947</c:v>
                </c:pt>
                <c:pt idx="10711">
                  <c:v>6.1599580851407962</c:v>
                </c:pt>
                <c:pt idx="10712">
                  <c:v>5.8762551973304742</c:v>
                </c:pt>
                <c:pt idx="10713">
                  <c:v>5.1233280782957396</c:v>
                </c:pt>
                <c:pt idx="10714">
                  <c:v>5.0904164108736927</c:v>
                </c:pt>
                <c:pt idx="10715">
                  <c:v>4.8575146434491883</c:v>
                </c:pt>
                <c:pt idx="10716">
                  <c:v>6.0315382939131181</c:v>
                </c:pt>
                <c:pt idx="10717">
                  <c:v>6.2109839730214365</c:v>
                </c:pt>
                <c:pt idx="10718">
                  <c:v>5.9516622285715481</c:v>
                </c:pt>
                <c:pt idx="10719">
                  <c:v>4.8159130177012068</c:v>
                </c:pt>
                <c:pt idx="10720">
                  <c:v>5.8948202367940166</c:v>
                </c:pt>
                <c:pt idx="10721">
                  <c:v>7.144895961794969</c:v>
                </c:pt>
                <c:pt idx="10722">
                  <c:v>5.912537525585611</c:v>
                </c:pt>
                <c:pt idx="10723">
                  <c:v>5.9449550842411636</c:v>
                </c:pt>
                <c:pt idx="10724">
                  <c:v>4.9679226191451464</c:v>
                </c:pt>
                <c:pt idx="10725">
                  <c:v>4.8192399950828388</c:v>
                </c:pt>
                <c:pt idx="10726">
                  <c:v>5.1170303524946537</c:v>
                </c:pt>
                <c:pt idx="10727">
                  <c:v>4.8427527434004833</c:v>
                </c:pt>
                <c:pt idx="10728">
                  <c:v>6.9855788294721339</c:v>
                </c:pt>
                <c:pt idx="10729">
                  <c:v>6.8943660671541904</c:v>
                </c:pt>
                <c:pt idx="10730">
                  <c:v>4.9354756758703591</c:v>
                </c:pt>
                <c:pt idx="10731">
                  <c:v>5.1359765373736899</c:v>
                </c:pt>
                <c:pt idx="10732">
                  <c:v>4.2387691433860777</c:v>
                </c:pt>
                <c:pt idx="10733">
                  <c:v>6.1887099112606592</c:v>
                </c:pt>
                <c:pt idx="10734">
                  <c:v>5.1052211297304595</c:v>
                </c:pt>
                <c:pt idx="10735">
                  <c:v>6.2141497623904716</c:v>
                </c:pt>
                <c:pt idx="10736">
                  <c:v>5.0376532054817327</c:v>
                </c:pt>
                <c:pt idx="10737">
                  <c:v>7.0924040209009585</c:v>
                </c:pt>
                <c:pt idx="10738">
                  <c:v>6.0608410806425166</c:v>
                </c:pt>
                <c:pt idx="10739">
                  <c:v>4.8983240974581967</c:v>
                </c:pt>
                <c:pt idx="10740">
                  <c:v>6.1036297156926906</c:v>
                </c:pt>
                <c:pt idx="10741">
                  <c:v>6.0128599085108112</c:v>
                </c:pt>
                <c:pt idx="10742">
                  <c:v>5.8587368857909583</c:v>
                </c:pt>
                <c:pt idx="10743">
                  <c:v>5.9554892328934894</c:v>
                </c:pt>
                <c:pt idx="10744">
                  <c:v>5.891547716903724</c:v>
                </c:pt>
                <c:pt idx="10745">
                  <c:v>5.9655465572984481</c:v>
                </c:pt>
                <c:pt idx="10746">
                  <c:v>6.1439857519175369</c:v>
                </c:pt>
                <c:pt idx="10747">
                  <c:v>4.9040896220763663</c:v>
                </c:pt>
                <c:pt idx="10748">
                  <c:v>4.9047786261943864</c:v>
                </c:pt>
                <c:pt idx="10749">
                  <c:v>6.0850422194796208</c:v>
                </c:pt>
                <c:pt idx="10750">
                  <c:v>5.8946662296475534</c:v>
                </c:pt>
                <c:pt idx="10751">
                  <c:v>5.8097268048912998</c:v>
                </c:pt>
                <c:pt idx="10752">
                  <c:v>5.2591817013474103</c:v>
                </c:pt>
                <c:pt idx="10753">
                  <c:v>5.8719481110332117</c:v>
                </c:pt>
                <c:pt idx="10754">
                  <c:v>6.1517976704977286</c:v>
                </c:pt>
                <c:pt idx="10755">
                  <c:v>3.8949335234146929</c:v>
                </c:pt>
                <c:pt idx="10756">
                  <c:v>5.9365672854001641</c:v>
                </c:pt>
                <c:pt idx="10757">
                  <c:v>5.0019171259007749</c:v>
                </c:pt>
                <c:pt idx="10758">
                  <c:v>6.0541603917199343</c:v>
                </c:pt>
                <c:pt idx="10759">
                  <c:v>4.9491173551649466</c:v>
                </c:pt>
                <c:pt idx="10760">
                  <c:v>5.0300944142030026</c:v>
                </c:pt>
                <c:pt idx="10761">
                  <c:v>6.0537337042540029</c:v>
                </c:pt>
                <c:pt idx="10762">
                  <c:v>5.9567896469839567</c:v>
                </c:pt>
                <c:pt idx="10763">
                  <c:v>5.8730185491408831</c:v>
                </c:pt>
                <c:pt idx="10764">
                  <c:v>6.1498181445179156</c:v>
                </c:pt>
                <c:pt idx="10765">
                  <c:v>6.0626402771362837</c:v>
                </c:pt>
                <c:pt idx="10766">
                  <c:v>5.1337028860644756</c:v>
                </c:pt>
                <c:pt idx="10767">
                  <c:v>5.0031115012522784</c:v>
                </c:pt>
                <c:pt idx="10768">
                  <c:v>6.1000965512804388</c:v>
                </c:pt>
                <c:pt idx="10769">
                  <c:v>4.9957638650343661</c:v>
                </c:pt>
                <c:pt idx="10770">
                  <c:v>6.0712615577121696</c:v>
                </c:pt>
                <c:pt idx="10771">
                  <c:v>4.0041919356863218</c:v>
                </c:pt>
                <c:pt idx="10772">
                  <c:v>4.1087253507865533</c:v>
                </c:pt>
                <c:pt idx="10773">
                  <c:v>4.9215676231966077</c:v>
                </c:pt>
                <c:pt idx="10774">
                  <c:v>5.8919585789779108</c:v>
                </c:pt>
                <c:pt idx="10775">
                  <c:v>6.062937512398622</c:v>
                </c:pt>
                <c:pt idx="10776">
                  <c:v>4.0665246551211922</c:v>
                </c:pt>
                <c:pt idx="10777">
                  <c:v>5.9604398087155701</c:v>
                </c:pt>
                <c:pt idx="10778">
                  <c:v>6.0715494296352359</c:v>
                </c:pt>
                <c:pt idx="10779">
                  <c:v>4.7939250422549247</c:v>
                </c:pt>
                <c:pt idx="10780">
                  <c:v>4.9749081706423066</c:v>
                </c:pt>
                <c:pt idx="10781">
                  <c:v>3.9201020046978892</c:v>
                </c:pt>
                <c:pt idx="10782">
                  <c:v>5.0775047172573222</c:v>
                </c:pt>
                <c:pt idx="10783">
                  <c:v>4.8735615442041942</c:v>
                </c:pt>
                <c:pt idx="10784">
                  <c:v>5.9852214889929707</c:v>
                </c:pt>
                <c:pt idx="10785">
                  <c:v>5.9123457370320001</c:v>
                </c:pt>
                <c:pt idx="10786">
                  <c:v>4.8274184212549072</c:v>
                </c:pt>
                <c:pt idx="10787">
                  <c:v>5.0268340188611873</c:v>
                </c:pt>
                <c:pt idx="10788">
                  <c:v>5.954347946153316</c:v>
                </c:pt>
                <c:pt idx="10789">
                  <c:v>4.843432627691894</c:v>
                </c:pt>
                <c:pt idx="10790">
                  <c:v>5.9740549664038198</c:v>
                </c:pt>
                <c:pt idx="10791">
                  <c:v>7.0918399366671263</c:v>
                </c:pt>
                <c:pt idx="10792">
                  <c:v>4.95670711263777</c:v>
                </c:pt>
                <c:pt idx="10793">
                  <c:v>7.1493092139444432</c:v>
                </c:pt>
                <c:pt idx="10794">
                  <c:v>7.076675625839921</c:v>
                </c:pt>
                <c:pt idx="10795">
                  <c:v>6.0940019864898431</c:v>
                </c:pt>
                <c:pt idx="10796">
                  <c:v>6.1224278946037405</c:v>
                </c:pt>
                <c:pt idx="10797">
                  <c:v>5.9859441093351426</c:v>
                </c:pt>
                <c:pt idx="10798">
                  <c:v>5.0972306794006057</c:v>
                </c:pt>
                <c:pt idx="10799">
                  <c:v>5.9290353552932338</c:v>
                </c:pt>
                <c:pt idx="10800">
                  <c:v>6.1042992490928611</c:v>
                </c:pt>
                <c:pt idx="10801">
                  <c:v>4.8491738005121015</c:v>
                </c:pt>
                <c:pt idx="10802">
                  <c:v>5.058477963097026</c:v>
                </c:pt>
                <c:pt idx="10803">
                  <c:v>4.8512469869335542</c:v>
                </c:pt>
                <c:pt idx="10804">
                  <c:v>5.9078080503493355</c:v>
                </c:pt>
                <c:pt idx="10805">
                  <c:v>5.961013076162013</c:v>
                </c:pt>
                <c:pt idx="10806">
                  <c:v>5.0464219700671551</c:v>
                </c:pt>
                <c:pt idx="10807">
                  <c:v>5.9101748623585335</c:v>
                </c:pt>
                <c:pt idx="10808">
                  <c:v>5.832002418792487</c:v>
                </c:pt>
                <c:pt idx="10809">
                  <c:v>5.0681394896302887</c:v>
                </c:pt>
                <c:pt idx="10810">
                  <c:v>4.8803715238401324</c:v>
                </c:pt>
                <c:pt idx="10811">
                  <c:v>5.9907289086432565</c:v>
                </c:pt>
                <c:pt idx="10812">
                  <c:v>3.9471634790893875</c:v>
                </c:pt>
                <c:pt idx="10813">
                  <c:v>5.0291510515634146</c:v>
                </c:pt>
                <c:pt idx="10814">
                  <c:v>6.1100959438094318</c:v>
                </c:pt>
                <c:pt idx="10815">
                  <c:v>5.8704908562830971</c:v>
                </c:pt>
                <c:pt idx="10816">
                  <c:v>6.8460412204095569</c:v>
                </c:pt>
                <c:pt idx="10817">
                  <c:v>5.0083143930327294</c:v>
                </c:pt>
                <c:pt idx="10818">
                  <c:v>7.0672561648723065</c:v>
                </c:pt>
                <c:pt idx="10819">
                  <c:v>4.9551955392303837</c:v>
                </c:pt>
                <c:pt idx="10820">
                  <c:v>6.0707897564560183</c:v>
                </c:pt>
                <c:pt idx="10821">
                  <c:v>5.084344049603887</c:v>
                </c:pt>
                <c:pt idx="10822">
                  <c:v>6.1074895664582014</c:v>
                </c:pt>
                <c:pt idx="10823">
                  <c:v>6.0185818257652128</c:v>
                </c:pt>
                <c:pt idx="10824">
                  <c:v>4.974412659013832</c:v>
                </c:pt>
                <c:pt idx="10825">
                  <c:v>5.0355943169983668</c:v>
                </c:pt>
                <c:pt idx="10826">
                  <c:v>5.9948966214843074</c:v>
                </c:pt>
                <c:pt idx="10827">
                  <c:v>6.9730110178379618</c:v>
                </c:pt>
                <c:pt idx="10828">
                  <c:v>5.2049435934799639</c:v>
                </c:pt>
                <c:pt idx="10829">
                  <c:v>5.0376162744865356</c:v>
                </c:pt>
                <c:pt idx="10830">
                  <c:v>4.9931294088286204</c:v>
                </c:pt>
                <c:pt idx="10831">
                  <c:v>4.8886329355568847</c:v>
                </c:pt>
                <c:pt idx="10832">
                  <c:v>6.0026455476462566</c:v>
                </c:pt>
                <c:pt idx="10833">
                  <c:v>5.1045571690279665</c:v>
                </c:pt>
                <c:pt idx="10834">
                  <c:v>5.944935334415101</c:v>
                </c:pt>
                <c:pt idx="10835">
                  <c:v>4.9002575382775895</c:v>
                </c:pt>
                <c:pt idx="10836">
                  <c:v>6.1203176930893397</c:v>
                </c:pt>
                <c:pt idx="10837">
                  <c:v>5.0002860794435735</c:v>
                </c:pt>
                <c:pt idx="10838">
                  <c:v>5.8890787467206174</c:v>
                </c:pt>
                <c:pt idx="10839">
                  <c:v>6.0697851695014782</c:v>
                </c:pt>
                <c:pt idx="10840">
                  <c:v>6.0338830805711785</c:v>
                </c:pt>
                <c:pt idx="10841">
                  <c:v>7.0875762248793972</c:v>
                </c:pt>
                <c:pt idx="10842">
                  <c:v>7.1200374769302615</c:v>
                </c:pt>
                <c:pt idx="10843">
                  <c:v>7.1196741613365662</c:v>
                </c:pt>
                <c:pt idx="10844">
                  <c:v>5.0804734034981172</c:v>
                </c:pt>
                <c:pt idx="10845">
                  <c:v>5.0956549490515695</c:v>
                </c:pt>
                <c:pt idx="10846">
                  <c:v>4.9227488875608918</c:v>
                </c:pt>
                <c:pt idx="10847">
                  <c:v>5.148601657352434</c:v>
                </c:pt>
                <c:pt idx="10848">
                  <c:v>5.0153879592108961</c:v>
                </c:pt>
                <c:pt idx="10849">
                  <c:v>4.6793480769077958</c:v>
                </c:pt>
                <c:pt idx="10850">
                  <c:v>4.8671093305779065</c:v>
                </c:pt>
                <c:pt idx="10851">
                  <c:v>5.1871442457638084</c:v>
                </c:pt>
                <c:pt idx="10852">
                  <c:v>4.9257397240820717</c:v>
                </c:pt>
                <c:pt idx="10853">
                  <c:v>5.0676171782749337</c:v>
                </c:pt>
                <c:pt idx="10854">
                  <c:v>5.9704337087680308</c:v>
                </c:pt>
                <c:pt idx="10855">
                  <c:v>4.8520649227548454</c:v>
                </c:pt>
                <c:pt idx="10856">
                  <c:v>5.0956712753843494</c:v>
                </c:pt>
                <c:pt idx="10857">
                  <c:v>6.9314248817719806</c:v>
                </c:pt>
                <c:pt idx="10858">
                  <c:v>5.9187451489613983</c:v>
                </c:pt>
                <c:pt idx="10859">
                  <c:v>4.8887271649869151</c:v>
                </c:pt>
                <c:pt idx="10860">
                  <c:v>5.0637877258467281</c:v>
                </c:pt>
                <c:pt idx="10861">
                  <c:v>5.0356347714520222</c:v>
                </c:pt>
                <c:pt idx="10862">
                  <c:v>5.9319184129052918</c:v>
                </c:pt>
                <c:pt idx="10863">
                  <c:v>4.965509422835062</c:v>
                </c:pt>
                <c:pt idx="10864">
                  <c:v>4.1579575083068141</c:v>
                </c:pt>
                <c:pt idx="10865">
                  <c:v>5.003728835153038</c:v>
                </c:pt>
                <c:pt idx="10866">
                  <c:v>6.971683125753505</c:v>
                </c:pt>
                <c:pt idx="10867">
                  <c:v>5.0772059403853262</c:v>
                </c:pt>
                <c:pt idx="10868">
                  <c:v>5.9312664308561338</c:v>
                </c:pt>
                <c:pt idx="10869">
                  <c:v>4.912967072844717</c:v>
                </c:pt>
                <c:pt idx="10870">
                  <c:v>5.9721474011569384</c:v>
                </c:pt>
                <c:pt idx="10871">
                  <c:v>4.9120142822135318</c:v>
                </c:pt>
                <c:pt idx="10872">
                  <c:v>4.8833406760582818</c:v>
                </c:pt>
                <c:pt idx="10873">
                  <c:v>4.9519081466733894</c:v>
                </c:pt>
                <c:pt idx="10874">
                  <c:v>5.8922715629527698</c:v>
                </c:pt>
                <c:pt idx="10875">
                  <c:v>5.0622854147388336</c:v>
                </c:pt>
                <c:pt idx="10876">
                  <c:v>5.1937535999523234</c:v>
                </c:pt>
                <c:pt idx="10877">
                  <c:v>4.9622265542545723</c:v>
                </c:pt>
                <c:pt idx="10878">
                  <c:v>7.0805717202273506</c:v>
                </c:pt>
                <c:pt idx="10879">
                  <c:v>5.0188270335075691</c:v>
                </c:pt>
                <c:pt idx="10880">
                  <c:v>5.0007517411429081</c:v>
                </c:pt>
                <c:pt idx="10881">
                  <c:v>6.0318518189279322</c:v>
                </c:pt>
                <c:pt idx="10882">
                  <c:v>6.0288700638380917</c:v>
                </c:pt>
                <c:pt idx="10883">
                  <c:v>6.1259923325440697</c:v>
                </c:pt>
                <c:pt idx="10884">
                  <c:v>4.9184762703544509</c:v>
                </c:pt>
                <c:pt idx="10885">
                  <c:v>5.9578388856339419</c:v>
                </c:pt>
                <c:pt idx="10886">
                  <c:v>5.9131021178346277</c:v>
                </c:pt>
                <c:pt idx="10887">
                  <c:v>4.8302998668265742</c:v>
                </c:pt>
                <c:pt idx="10888">
                  <c:v>6.1276413904201386</c:v>
                </c:pt>
                <c:pt idx="10889">
                  <c:v>4.9990398701243324</c:v>
                </c:pt>
                <c:pt idx="10890">
                  <c:v>4.8301257097097672</c:v>
                </c:pt>
                <c:pt idx="10891">
                  <c:v>5.1600957161188967</c:v>
                </c:pt>
                <c:pt idx="10892">
                  <c:v>6.0916617988251289</c:v>
                </c:pt>
                <c:pt idx="10893">
                  <c:v>6.0617802617226841</c:v>
                </c:pt>
                <c:pt idx="10894">
                  <c:v>4.9173669294420943</c:v>
                </c:pt>
                <c:pt idx="10895">
                  <c:v>6.0385062634450861</c:v>
                </c:pt>
                <c:pt idx="10896">
                  <c:v>6.1179626767254005</c:v>
                </c:pt>
                <c:pt idx="10897">
                  <c:v>5.0333886019025096</c:v>
                </c:pt>
                <c:pt idx="10898">
                  <c:v>5.8690874101068733</c:v>
                </c:pt>
                <c:pt idx="10899">
                  <c:v>5.1204963538487567</c:v>
                </c:pt>
                <c:pt idx="10900">
                  <c:v>6.0016720105286705</c:v>
                </c:pt>
                <c:pt idx="10901">
                  <c:v>5.1692737149678178</c:v>
                </c:pt>
                <c:pt idx="10902">
                  <c:v>5.9140618757220835</c:v>
                </c:pt>
                <c:pt idx="10903">
                  <c:v>5.0060739071989069</c:v>
                </c:pt>
                <c:pt idx="10904">
                  <c:v>5.9996844519911008</c:v>
                </c:pt>
                <c:pt idx="10905">
                  <c:v>5.9294421071846397</c:v>
                </c:pt>
                <c:pt idx="10906">
                  <c:v>5.9990224958337475</c:v>
                </c:pt>
                <c:pt idx="10907">
                  <c:v>6.0368175554371017</c:v>
                </c:pt>
                <c:pt idx="10908">
                  <c:v>5.9622943255450149</c:v>
                </c:pt>
                <c:pt idx="10909">
                  <c:v>4.8854890633020052</c:v>
                </c:pt>
                <c:pt idx="10910">
                  <c:v>5.0077114424402192</c:v>
                </c:pt>
                <c:pt idx="10911">
                  <c:v>5.2026563422022116</c:v>
                </c:pt>
                <c:pt idx="10912">
                  <c:v>6.0495692406507606</c:v>
                </c:pt>
                <c:pt idx="10913">
                  <c:v>6.1253513250142051</c:v>
                </c:pt>
                <c:pt idx="10914">
                  <c:v>5.9886620938858517</c:v>
                </c:pt>
                <c:pt idx="10915">
                  <c:v>6.0820557336281622</c:v>
                </c:pt>
                <c:pt idx="10916">
                  <c:v>4.8970190469725612</c:v>
                </c:pt>
                <c:pt idx="10917">
                  <c:v>5.0562363009425679</c:v>
                </c:pt>
                <c:pt idx="10918">
                  <c:v>5.9927377483311446</c:v>
                </c:pt>
                <c:pt idx="10919">
                  <c:v>5.0044687832800889</c:v>
                </c:pt>
                <c:pt idx="10920">
                  <c:v>5.1481382081015692</c:v>
                </c:pt>
                <c:pt idx="10921">
                  <c:v>6.048620691964409</c:v>
                </c:pt>
                <c:pt idx="10922">
                  <c:v>6.13930375962277</c:v>
                </c:pt>
                <c:pt idx="10923">
                  <c:v>6.0197349180876811</c:v>
                </c:pt>
                <c:pt idx="10924">
                  <c:v>5.9627874826274576</c:v>
                </c:pt>
                <c:pt idx="10925">
                  <c:v>4.9397731326441807</c:v>
                </c:pt>
                <c:pt idx="10926">
                  <c:v>5.1071277529811754</c:v>
                </c:pt>
                <c:pt idx="10927">
                  <c:v>4.8712420811380044</c:v>
                </c:pt>
                <c:pt idx="10928">
                  <c:v>5.9137146099874984</c:v>
                </c:pt>
                <c:pt idx="10929">
                  <c:v>5.9533432430520641</c:v>
                </c:pt>
                <c:pt idx="10930">
                  <c:v>5.9674589284173685</c:v>
                </c:pt>
                <c:pt idx="10931">
                  <c:v>5.0292149405233779</c:v>
                </c:pt>
                <c:pt idx="10932">
                  <c:v>5.9874158320367163</c:v>
                </c:pt>
                <c:pt idx="10933">
                  <c:v>5.1604415721099146</c:v>
                </c:pt>
                <c:pt idx="10934">
                  <c:v>5.0364999002710089</c:v>
                </c:pt>
                <c:pt idx="10935">
                  <c:v>4.9146359713584644</c:v>
                </c:pt>
                <c:pt idx="10936">
                  <c:v>5.0831010496584605</c:v>
                </c:pt>
                <c:pt idx="10937">
                  <c:v>5.8934203609390439</c:v>
                </c:pt>
                <c:pt idx="10938">
                  <c:v>6.0137331609210563</c:v>
                </c:pt>
                <c:pt idx="10939">
                  <c:v>5.0772401468211479</c:v>
                </c:pt>
                <c:pt idx="10940">
                  <c:v>4.8624419571623578</c:v>
                </c:pt>
                <c:pt idx="10941">
                  <c:v>6.0336198400639587</c:v>
                </c:pt>
                <c:pt idx="10942">
                  <c:v>5.0248651381664908</c:v>
                </c:pt>
                <c:pt idx="10943">
                  <c:v>6.1187425914971056</c:v>
                </c:pt>
                <c:pt idx="10944">
                  <c:v>5.9845830585461677</c:v>
                </c:pt>
                <c:pt idx="10945">
                  <c:v>5.0125367933133971</c:v>
                </c:pt>
                <c:pt idx="10946">
                  <c:v>5.9335537121137696</c:v>
                </c:pt>
                <c:pt idx="10947">
                  <c:v>4.9450106486557655</c:v>
                </c:pt>
                <c:pt idx="10948">
                  <c:v>6.0186693340316229</c:v>
                </c:pt>
                <c:pt idx="10949">
                  <c:v>5.8246258896823822</c:v>
                </c:pt>
                <c:pt idx="10950">
                  <c:v>6.0087160544135623</c:v>
                </c:pt>
                <c:pt idx="10951">
                  <c:v>6.0434784196568661</c:v>
                </c:pt>
                <c:pt idx="10952">
                  <c:v>5.8676247276837898</c:v>
                </c:pt>
                <c:pt idx="10953">
                  <c:v>5.9077554290511483</c:v>
                </c:pt>
                <c:pt idx="10954">
                  <c:v>5.9707107391980987</c:v>
                </c:pt>
                <c:pt idx="10955">
                  <c:v>5.0159939497665738</c:v>
                </c:pt>
                <c:pt idx="10956">
                  <c:v>6.1094446476445281</c:v>
                </c:pt>
                <c:pt idx="10957">
                  <c:v>5.8991191476686371</c:v>
                </c:pt>
                <c:pt idx="10958">
                  <c:v>3.9544182596572583</c:v>
                </c:pt>
                <c:pt idx="10959">
                  <c:v>4.9607381227519838</c:v>
                </c:pt>
                <c:pt idx="10960">
                  <c:v>5.8817780289333639</c:v>
                </c:pt>
                <c:pt idx="10961">
                  <c:v>6.0202561311380496</c:v>
                </c:pt>
                <c:pt idx="10962">
                  <c:v>4.988255505435566</c:v>
                </c:pt>
                <c:pt idx="10963">
                  <c:v>6.1677843924951157</c:v>
                </c:pt>
                <c:pt idx="10964">
                  <c:v>5.970436890028628</c:v>
                </c:pt>
                <c:pt idx="10965">
                  <c:v>2.9088993955288043</c:v>
                </c:pt>
                <c:pt idx="10966">
                  <c:v>2.9175281913896454</c:v>
                </c:pt>
                <c:pt idx="10967">
                  <c:v>3.100032174455996</c:v>
                </c:pt>
                <c:pt idx="10968">
                  <c:v>3.0073745956357976</c:v>
                </c:pt>
                <c:pt idx="10969">
                  <c:v>3.0276358807940742</c:v>
                </c:pt>
                <c:pt idx="10970">
                  <c:v>5.1295432475030687</c:v>
                </c:pt>
                <c:pt idx="10971">
                  <c:v>5.1008368079002961</c:v>
                </c:pt>
                <c:pt idx="10972">
                  <c:v>5.1060271759178324</c:v>
                </c:pt>
                <c:pt idx="10973">
                  <c:v>4.955573018375194</c:v>
                </c:pt>
                <c:pt idx="10974">
                  <c:v>4.9303325663065607</c:v>
                </c:pt>
                <c:pt idx="10975">
                  <c:v>4.9780475566909708</c:v>
                </c:pt>
                <c:pt idx="10976">
                  <c:v>5.0251498437826845</c:v>
                </c:pt>
                <c:pt idx="10977">
                  <c:v>6.0508164771304651</c:v>
                </c:pt>
                <c:pt idx="10978">
                  <c:v>5.8686304314954594</c:v>
                </c:pt>
                <c:pt idx="10979">
                  <c:v>6.0468653286490159</c:v>
                </c:pt>
                <c:pt idx="10980">
                  <c:v>6.0427664395687124</c:v>
                </c:pt>
                <c:pt idx="10981">
                  <c:v>6.944042280302904</c:v>
                </c:pt>
                <c:pt idx="10982">
                  <c:v>6.0705665961358273</c:v>
                </c:pt>
                <c:pt idx="10983">
                  <c:v>4.9979985979621047</c:v>
                </c:pt>
                <c:pt idx="10984">
                  <c:v>5.9816451017837524</c:v>
                </c:pt>
                <c:pt idx="10985">
                  <c:v>4.9599226432437034</c:v>
                </c:pt>
                <c:pt idx="10986">
                  <c:v>5.9695472649088188</c:v>
                </c:pt>
                <c:pt idx="10987">
                  <c:v>7.1261601602212057</c:v>
                </c:pt>
                <c:pt idx="10988">
                  <c:v>6.0996830791613972</c:v>
                </c:pt>
                <c:pt idx="10989">
                  <c:v>6.1563045471767959</c:v>
                </c:pt>
                <c:pt idx="10990">
                  <c:v>6.1104026590063878</c:v>
                </c:pt>
                <c:pt idx="10991">
                  <c:v>6.2257786553321459</c:v>
                </c:pt>
                <c:pt idx="10992">
                  <c:v>6.0730471065600105</c:v>
                </c:pt>
                <c:pt idx="10993">
                  <c:v>5.0655890912665118</c:v>
                </c:pt>
                <c:pt idx="10994">
                  <c:v>4.9893282559424765</c:v>
                </c:pt>
                <c:pt idx="10995">
                  <c:v>5.9542477531249514</c:v>
                </c:pt>
                <c:pt idx="10996">
                  <c:v>5.9688998564534002</c:v>
                </c:pt>
                <c:pt idx="10997">
                  <c:v>6.0426915132313175</c:v>
                </c:pt>
                <c:pt idx="10998">
                  <c:v>6.0691915527146092</c:v>
                </c:pt>
                <c:pt idx="10999">
                  <c:v>6.0248876144457784</c:v>
                </c:pt>
                <c:pt idx="11000">
                  <c:v>6.1893366206187563</c:v>
                </c:pt>
                <c:pt idx="11001">
                  <c:v>4.9265000975628848</c:v>
                </c:pt>
                <c:pt idx="11002">
                  <c:v>5.9047212940389286</c:v>
                </c:pt>
                <c:pt idx="11003">
                  <c:v>5.8184813808031262</c:v>
                </c:pt>
                <c:pt idx="11004">
                  <c:v>4.9148390959892891</c:v>
                </c:pt>
                <c:pt idx="11005">
                  <c:v>5.9410175188510532</c:v>
                </c:pt>
                <c:pt idx="11006">
                  <c:v>4.9076011422818286</c:v>
                </c:pt>
                <c:pt idx="11007">
                  <c:v>5.8915578679816258</c:v>
                </c:pt>
                <c:pt idx="11008">
                  <c:v>6.0754214640016118</c:v>
                </c:pt>
                <c:pt idx="11009">
                  <c:v>5.9887954710995341</c:v>
                </c:pt>
                <c:pt idx="11010">
                  <c:v>5.1046554277976988</c:v>
                </c:pt>
                <c:pt idx="11011">
                  <c:v>5.025191327273232</c:v>
                </c:pt>
                <c:pt idx="11012">
                  <c:v>4.9590163814434547</c:v>
                </c:pt>
                <c:pt idx="11013">
                  <c:v>6.0403457695099938</c:v>
                </c:pt>
                <c:pt idx="11014">
                  <c:v>5.0968459081941893</c:v>
                </c:pt>
                <c:pt idx="11015">
                  <c:v>5.9374790818343</c:v>
                </c:pt>
                <c:pt idx="11016">
                  <c:v>5.1239634816586657</c:v>
                </c:pt>
                <c:pt idx="11017">
                  <c:v>6.8529069821370516</c:v>
                </c:pt>
                <c:pt idx="11018">
                  <c:v>5.9935722072487616</c:v>
                </c:pt>
                <c:pt idx="11019">
                  <c:v>5.9379217648316098</c:v>
                </c:pt>
                <c:pt idx="11020">
                  <c:v>5.0879366796511896</c:v>
                </c:pt>
                <c:pt idx="11021">
                  <c:v>4.9738979430412229</c:v>
                </c:pt>
                <c:pt idx="11022">
                  <c:v>6.1479417434281212</c:v>
                </c:pt>
                <c:pt idx="11023">
                  <c:v>5.8559914358592939</c:v>
                </c:pt>
                <c:pt idx="11024">
                  <c:v>5.0344183522763579</c:v>
                </c:pt>
                <c:pt idx="11025">
                  <c:v>5.9424658817763447</c:v>
                </c:pt>
                <c:pt idx="11026">
                  <c:v>6.1245048267050217</c:v>
                </c:pt>
                <c:pt idx="11027">
                  <c:v>5.0792578039536211</c:v>
                </c:pt>
                <c:pt idx="11028">
                  <c:v>5.8825508148380292</c:v>
                </c:pt>
                <c:pt idx="11029">
                  <c:v>5.9326927754654815</c:v>
                </c:pt>
                <c:pt idx="11030">
                  <c:v>4.86680716506085</c:v>
                </c:pt>
                <c:pt idx="11031">
                  <c:v>6.0565897133526123</c:v>
                </c:pt>
                <c:pt idx="11032">
                  <c:v>6.013763171106028</c:v>
                </c:pt>
                <c:pt idx="11033">
                  <c:v>6.1618732206659388</c:v>
                </c:pt>
                <c:pt idx="11034">
                  <c:v>5.9507899631568915</c:v>
                </c:pt>
                <c:pt idx="11035">
                  <c:v>4.9710833934522114</c:v>
                </c:pt>
                <c:pt idx="11036">
                  <c:v>5.9537763173810534</c:v>
                </c:pt>
                <c:pt idx="11037">
                  <c:v>6.009927870144276</c:v>
                </c:pt>
                <c:pt idx="11038">
                  <c:v>5.9718076725246405</c:v>
                </c:pt>
                <c:pt idx="11039">
                  <c:v>6.0536620034666546</c:v>
                </c:pt>
                <c:pt idx="11040">
                  <c:v>5.9612822486270431</c:v>
                </c:pt>
                <c:pt idx="11041">
                  <c:v>5.9610728606100238</c:v>
                </c:pt>
                <c:pt idx="11042">
                  <c:v>5.9634767488744078</c:v>
                </c:pt>
                <c:pt idx="11043">
                  <c:v>5.9727003386730804</c:v>
                </c:pt>
                <c:pt idx="11044">
                  <c:v>6.015922055305496</c:v>
                </c:pt>
                <c:pt idx="11045">
                  <c:v>6.1263172989058301</c:v>
                </c:pt>
                <c:pt idx="11046">
                  <c:v>6.0516616940670547</c:v>
                </c:pt>
                <c:pt idx="11047">
                  <c:v>6.1570201813018866</c:v>
                </c:pt>
                <c:pt idx="11048">
                  <c:v>5.1470373511520044</c:v>
                </c:pt>
                <c:pt idx="11049">
                  <c:v>4.8923048131581526</c:v>
                </c:pt>
                <c:pt idx="11050">
                  <c:v>6.0248442897910151</c:v>
                </c:pt>
                <c:pt idx="11051">
                  <c:v>6.0023749231329875</c:v>
                </c:pt>
                <c:pt idx="11052">
                  <c:v>6.0222741615951403</c:v>
                </c:pt>
                <c:pt idx="11053">
                  <c:v>4.0496776296526162</c:v>
                </c:pt>
                <c:pt idx="11054">
                  <c:v>5.9378358259402884</c:v>
                </c:pt>
                <c:pt idx="11055">
                  <c:v>5.8927864775398344</c:v>
                </c:pt>
                <c:pt idx="11056">
                  <c:v>5.0188110825829977</c:v>
                </c:pt>
                <c:pt idx="11057">
                  <c:v>5.8165284627360059</c:v>
                </c:pt>
                <c:pt idx="11058">
                  <c:v>6.0502220282351038</c:v>
                </c:pt>
                <c:pt idx="11059">
                  <c:v>5.9953976499717285</c:v>
                </c:pt>
                <c:pt idx="11060">
                  <c:v>4.7403522116148578</c:v>
                </c:pt>
                <c:pt idx="11061">
                  <c:v>5.7473500847859942</c:v>
                </c:pt>
                <c:pt idx="11062">
                  <c:v>4.7279340106929899</c:v>
                </c:pt>
                <c:pt idx="11063">
                  <c:v>5.9935753710489621</c:v>
                </c:pt>
                <c:pt idx="11064">
                  <c:v>5.0709389761332693</c:v>
                </c:pt>
                <c:pt idx="11065">
                  <c:v>5.8780059055768472</c:v>
                </c:pt>
                <c:pt idx="11066">
                  <c:v>4.9503696983007472</c:v>
                </c:pt>
                <c:pt idx="11067">
                  <c:v>5.9267011600055577</c:v>
                </c:pt>
                <c:pt idx="11068">
                  <c:v>5.9011774163922226</c:v>
                </c:pt>
                <c:pt idx="11069">
                  <c:v>5.1943466541792978</c:v>
                </c:pt>
                <c:pt idx="11070">
                  <c:v>6.0313233966541233</c:v>
                </c:pt>
                <c:pt idx="11071">
                  <c:v>5.1844514553441181</c:v>
                </c:pt>
                <c:pt idx="11072">
                  <c:v>6.0618886089737627</c:v>
                </c:pt>
                <c:pt idx="11073">
                  <c:v>5.915017610184659</c:v>
                </c:pt>
                <c:pt idx="11074">
                  <c:v>5.1179126737311753</c:v>
                </c:pt>
                <c:pt idx="11075">
                  <c:v>5.8933942231650773</c:v>
                </c:pt>
                <c:pt idx="11076">
                  <c:v>5.9929363037606969</c:v>
                </c:pt>
                <c:pt idx="11077">
                  <c:v>5.7708445771730075</c:v>
                </c:pt>
                <c:pt idx="11078">
                  <c:v>4.9793121165313474</c:v>
                </c:pt>
                <c:pt idx="11079">
                  <c:v>5.9456366821758673</c:v>
                </c:pt>
                <c:pt idx="11080">
                  <c:v>6.2067846378393927</c:v>
                </c:pt>
                <c:pt idx="11081">
                  <c:v>4.8550700858805067</c:v>
                </c:pt>
                <c:pt idx="11082">
                  <c:v>5.9645746569018927</c:v>
                </c:pt>
                <c:pt idx="11083">
                  <c:v>5.1212552527145148</c:v>
                </c:pt>
                <c:pt idx="11084">
                  <c:v>6.0556227439035464</c:v>
                </c:pt>
                <c:pt idx="11085">
                  <c:v>5.9970780453026222</c:v>
                </c:pt>
                <c:pt idx="11086">
                  <c:v>5.0773194409942297</c:v>
                </c:pt>
                <c:pt idx="11087">
                  <c:v>5.8045643147175889</c:v>
                </c:pt>
                <c:pt idx="11088">
                  <c:v>5.9038807364388406</c:v>
                </c:pt>
                <c:pt idx="11089">
                  <c:v>6.0605868065617061</c:v>
                </c:pt>
                <c:pt idx="11090">
                  <c:v>5.8627191176056286</c:v>
                </c:pt>
                <c:pt idx="11091">
                  <c:v>5.9977722835774676</c:v>
                </c:pt>
                <c:pt idx="11092">
                  <c:v>6.051173382821454</c:v>
                </c:pt>
                <c:pt idx="11093">
                  <c:v>6.0488620766390779</c:v>
                </c:pt>
                <c:pt idx="11094">
                  <c:v>7.1568882657113422</c:v>
                </c:pt>
                <c:pt idx="11095">
                  <c:v>6.0046954358869238</c:v>
                </c:pt>
                <c:pt idx="11096">
                  <c:v>6.0959056032169121</c:v>
                </c:pt>
                <c:pt idx="11097">
                  <c:v>6.1506986452258925</c:v>
                </c:pt>
                <c:pt idx="11098">
                  <c:v>6.0016694023997266</c:v>
                </c:pt>
                <c:pt idx="11099">
                  <c:v>6.0444798846922483</c:v>
                </c:pt>
                <c:pt idx="11100">
                  <c:v>5.9423921405927498</c:v>
                </c:pt>
                <c:pt idx="11101">
                  <c:v>6.058687765333862</c:v>
                </c:pt>
                <c:pt idx="11102">
                  <c:v>6.1705790630748449</c:v>
                </c:pt>
                <c:pt idx="11103">
                  <c:v>6.1358548279600598</c:v>
                </c:pt>
                <c:pt idx="11104">
                  <c:v>5.8805079892220995</c:v>
                </c:pt>
                <c:pt idx="11105">
                  <c:v>6.0438623369477549</c:v>
                </c:pt>
                <c:pt idx="11106">
                  <c:v>5.880670968412165</c:v>
                </c:pt>
                <c:pt idx="11107">
                  <c:v>6.0134153392557481</c:v>
                </c:pt>
                <c:pt idx="11108">
                  <c:v>6.2519802089882743</c:v>
                </c:pt>
                <c:pt idx="11109">
                  <c:v>6.1369441793148551</c:v>
                </c:pt>
                <c:pt idx="11110">
                  <c:v>5.9297834548563202</c:v>
                </c:pt>
                <c:pt idx="11111">
                  <c:v>5.9905932928368815</c:v>
                </c:pt>
                <c:pt idx="11112">
                  <c:v>6.0582039852915059</c:v>
                </c:pt>
                <c:pt idx="11113">
                  <c:v>4.0851117410109499</c:v>
                </c:pt>
                <c:pt idx="11114">
                  <c:v>6.1190322981406489</c:v>
                </c:pt>
                <c:pt idx="11115">
                  <c:v>5.8103789934372667</c:v>
                </c:pt>
                <c:pt idx="11116">
                  <c:v>5.8894370388230577</c:v>
                </c:pt>
                <c:pt idx="11117">
                  <c:v>6.1008801749667994</c:v>
                </c:pt>
                <c:pt idx="11118">
                  <c:v>5.9700522875237976</c:v>
                </c:pt>
                <c:pt idx="11119">
                  <c:v>5.1399605698289728</c:v>
                </c:pt>
                <c:pt idx="11120">
                  <c:v>6.0250847401523151</c:v>
                </c:pt>
                <c:pt idx="11121">
                  <c:v>6.0766383969692397</c:v>
                </c:pt>
                <c:pt idx="11122">
                  <c:v>5.0937564367387367</c:v>
                </c:pt>
                <c:pt idx="11123">
                  <c:v>3.9248131211994473</c:v>
                </c:pt>
                <c:pt idx="11124">
                  <c:v>5.9357617038402486</c:v>
                </c:pt>
                <c:pt idx="11125">
                  <c:v>6.1627115224153926</c:v>
                </c:pt>
                <c:pt idx="11126">
                  <c:v>6.0806026410782499</c:v>
                </c:pt>
                <c:pt idx="11127">
                  <c:v>6.073905365544892</c:v>
                </c:pt>
                <c:pt idx="11128">
                  <c:v>5.0663337212722803</c:v>
                </c:pt>
                <c:pt idx="11129">
                  <c:v>5.9882138369100062</c:v>
                </c:pt>
                <c:pt idx="11130">
                  <c:v>6.0392941211558862</c:v>
                </c:pt>
                <c:pt idx="11131">
                  <c:v>6.9582472627432708</c:v>
                </c:pt>
                <c:pt idx="11132">
                  <c:v>6.9826008087131637</c:v>
                </c:pt>
                <c:pt idx="11133">
                  <c:v>6.2324841473118022</c:v>
                </c:pt>
                <c:pt idx="11134">
                  <c:v>5.9408962378866006</c:v>
                </c:pt>
                <c:pt idx="11135">
                  <c:v>6.0635665903695024</c:v>
                </c:pt>
                <c:pt idx="11136">
                  <c:v>6.9408243625404946</c:v>
                </c:pt>
                <c:pt idx="11137">
                  <c:v>6.0258558458307423</c:v>
                </c:pt>
                <c:pt idx="11138">
                  <c:v>1.8247528341917081</c:v>
                </c:pt>
                <c:pt idx="11139">
                  <c:v>2.0065941031787022</c:v>
                </c:pt>
                <c:pt idx="11140">
                  <c:v>6.0488690000426617</c:v>
                </c:pt>
                <c:pt idx="11141">
                  <c:v>1.897755836365451</c:v>
                </c:pt>
                <c:pt idx="11142">
                  <c:v>6.0846925134459271</c:v>
                </c:pt>
                <c:pt idx="11143">
                  <c:v>5.979802095878072</c:v>
                </c:pt>
                <c:pt idx="11144">
                  <c:v>5.9748740415616357</c:v>
                </c:pt>
                <c:pt idx="11145">
                  <c:v>5.9176444064964793</c:v>
                </c:pt>
                <c:pt idx="11146">
                  <c:v>6.0325951515336742</c:v>
                </c:pt>
                <c:pt idx="11147">
                  <c:v>5.8746829952560864</c:v>
                </c:pt>
                <c:pt idx="11148">
                  <c:v>6.2867535132379802</c:v>
                </c:pt>
                <c:pt idx="11149">
                  <c:v>6.0426905060754867</c:v>
                </c:pt>
                <c:pt idx="11150">
                  <c:v>5.9773730463430832</c:v>
                </c:pt>
                <c:pt idx="11151">
                  <c:v>5.9973797103363911</c:v>
                </c:pt>
                <c:pt idx="11152">
                  <c:v>5.95346989355492</c:v>
                </c:pt>
                <c:pt idx="11153">
                  <c:v>5.0310437499599159</c:v>
                </c:pt>
                <c:pt idx="11154">
                  <c:v>5.9432066958368761</c:v>
                </c:pt>
                <c:pt idx="11155">
                  <c:v>7.0229751048044431</c:v>
                </c:pt>
                <c:pt idx="11156">
                  <c:v>5.9869420151811781</c:v>
                </c:pt>
                <c:pt idx="11157">
                  <c:v>6.0535696406992248</c:v>
                </c:pt>
                <c:pt idx="11158">
                  <c:v>5.967825755512175</c:v>
                </c:pt>
                <c:pt idx="11159">
                  <c:v>5.9254979160878962</c:v>
                </c:pt>
                <c:pt idx="11160">
                  <c:v>4.9356012264057201</c:v>
                </c:pt>
                <c:pt idx="11161">
                  <c:v>4.8665565470430119</c:v>
                </c:pt>
                <c:pt idx="11162">
                  <c:v>6.0125073805477811</c:v>
                </c:pt>
                <c:pt idx="11163">
                  <c:v>4.9586263776176152</c:v>
                </c:pt>
                <c:pt idx="11164">
                  <c:v>6.0750828394978145</c:v>
                </c:pt>
                <c:pt idx="11165">
                  <c:v>5.8544647690106002</c:v>
                </c:pt>
                <c:pt idx="11166">
                  <c:v>5.0949828797038359</c:v>
                </c:pt>
                <c:pt idx="11167">
                  <c:v>5.8564756272642722</c:v>
                </c:pt>
                <c:pt idx="11168">
                  <c:v>6.9436191195629835</c:v>
                </c:pt>
                <c:pt idx="11169">
                  <c:v>5.8516846862828791</c:v>
                </c:pt>
                <c:pt idx="11170">
                  <c:v>5.8781760403432779</c:v>
                </c:pt>
                <c:pt idx="11171">
                  <c:v>6.0870410540308626</c:v>
                </c:pt>
                <c:pt idx="11172">
                  <c:v>6.2695637526182386</c:v>
                </c:pt>
                <c:pt idx="11173">
                  <c:v>6.2202258158513795</c:v>
                </c:pt>
                <c:pt idx="11174">
                  <c:v>6.0374835394667086</c:v>
                </c:pt>
                <c:pt idx="11175">
                  <c:v>5.85239938281783</c:v>
                </c:pt>
                <c:pt idx="11176">
                  <c:v>6.9454203728767938</c:v>
                </c:pt>
                <c:pt idx="11177">
                  <c:v>5.8608830692446201</c:v>
                </c:pt>
                <c:pt idx="11178">
                  <c:v>4.8722189594372116</c:v>
                </c:pt>
                <c:pt idx="11179">
                  <c:v>5.9918605223436741</c:v>
                </c:pt>
                <c:pt idx="11180">
                  <c:v>6.0173555856243954</c:v>
                </c:pt>
                <c:pt idx="11181">
                  <c:v>5.8554686681630548</c:v>
                </c:pt>
                <c:pt idx="11182">
                  <c:v>6.0261553117905438</c:v>
                </c:pt>
                <c:pt idx="11183">
                  <c:v>6.0899492981110201</c:v>
                </c:pt>
                <c:pt idx="11184">
                  <c:v>5.9986873561139999</c:v>
                </c:pt>
                <c:pt idx="11185">
                  <c:v>6.0454659640446646</c:v>
                </c:pt>
                <c:pt idx="11186">
                  <c:v>6.0775985832940025</c:v>
                </c:pt>
                <c:pt idx="11187">
                  <c:v>5.9169276553820662</c:v>
                </c:pt>
                <c:pt idx="11188">
                  <c:v>3.1965787535498125</c:v>
                </c:pt>
                <c:pt idx="11189">
                  <c:v>5.8592096721351856</c:v>
                </c:pt>
                <c:pt idx="11190">
                  <c:v>5.8983500432377625</c:v>
                </c:pt>
                <c:pt idx="11191">
                  <c:v>5.8580076212887118</c:v>
                </c:pt>
                <c:pt idx="11192">
                  <c:v>5.1191946003098563</c:v>
                </c:pt>
                <c:pt idx="11193">
                  <c:v>6.2328934988232065</c:v>
                </c:pt>
                <c:pt idx="11194">
                  <c:v>5.9625353361522375</c:v>
                </c:pt>
                <c:pt idx="11195">
                  <c:v>5.9509274603747233</c:v>
                </c:pt>
                <c:pt idx="11196">
                  <c:v>5.9949537933449291</c:v>
                </c:pt>
                <c:pt idx="11197">
                  <c:v>6.0459110878263704</c:v>
                </c:pt>
                <c:pt idx="11198">
                  <c:v>5.7903273600484395</c:v>
                </c:pt>
                <c:pt idx="11199">
                  <c:v>6.0234079850104179</c:v>
                </c:pt>
                <c:pt idx="11200">
                  <c:v>5.931037031608982</c:v>
                </c:pt>
                <c:pt idx="11201">
                  <c:v>5.9676379439787475</c:v>
                </c:pt>
                <c:pt idx="11202">
                  <c:v>6.222943591290111</c:v>
                </c:pt>
                <c:pt idx="11203">
                  <c:v>6.0322524279157728</c:v>
                </c:pt>
                <c:pt idx="11204">
                  <c:v>6.1327447403806135</c:v>
                </c:pt>
                <c:pt idx="11205">
                  <c:v>5.9767163441508702</c:v>
                </c:pt>
                <c:pt idx="11206">
                  <c:v>7.0169109623175414</c:v>
                </c:pt>
                <c:pt idx="11207">
                  <c:v>6.1250489856410395</c:v>
                </c:pt>
                <c:pt idx="11208">
                  <c:v>6.1288461319074035</c:v>
                </c:pt>
                <c:pt idx="11209">
                  <c:v>5.0341787941537683</c:v>
                </c:pt>
                <c:pt idx="11210">
                  <c:v>5.0279428342164403</c:v>
                </c:pt>
                <c:pt idx="11211">
                  <c:v>5.1363926632843677</c:v>
                </c:pt>
                <c:pt idx="11212">
                  <c:v>4.9836270454407572</c:v>
                </c:pt>
                <c:pt idx="11213">
                  <c:v>3.9356400033138574</c:v>
                </c:pt>
                <c:pt idx="11214">
                  <c:v>3.8727526330003634</c:v>
                </c:pt>
                <c:pt idx="11215">
                  <c:v>6.2082531715766658</c:v>
                </c:pt>
                <c:pt idx="11216">
                  <c:v>6.1352763724819139</c:v>
                </c:pt>
                <c:pt idx="11217">
                  <c:v>6.0347449144651382</c:v>
                </c:pt>
                <c:pt idx="11218">
                  <c:v>3.8534934010443673</c:v>
                </c:pt>
                <c:pt idx="11219">
                  <c:v>3.883101788286099</c:v>
                </c:pt>
                <c:pt idx="11220">
                  <c:v>4.1019260112272322</c:v>
                </c:pt>
                <c:pt idx="11221">
                  <c:v>6.00882170073357</c:v>
                </c:pt>
                <c:pt idx="11222">
                  <c:v>5.9688081158291242</c:v>
                </c:pt>
                <c:pt idx="11223">
                  <c:v>4.9799006543744273</c:v>
                </c:pt>
                <c:pt idx="11224">
                  <c:v>6.0178067468526848</c:v>
                </c:pt>
                <c:pt idx="11225">
                  <c:v>5.9916662090750501</c:v>
                </c:pt>
                <c:pt idx="11226">
                  <c:v>6.0094088695981061</c:v>
                </c:pt>
                <c:pt idx="11227">
                  <c:v>6.0389426155992574</c:v>
                </c:pt>
                <c:pt idx="11228">
                  <c:v>5.9868942136299177</c:v>
                </c:pt>
                <c:pt idx="11229">
                  <c:v>3.8580857035667533</c:v>
                </c:pt>
                <c:pt idx="11230">
                  <c:v>4.0006430429597808</c:v>
                </c:pt>
                <c:pt idx="11231">
                  <c:v>4.0026573522947064</c:v>
                </c:pt>
                <c:pt idx="11232">
                  <c:v>3.9887648554752646</c:v>
                </c:pt>
                <c:pt idx="11233">
                  <c:v>3.8925763804134448</c:v>
                </c:pt>
                <c:pt idx="11234">
                  <c:v>6.0108199747400386</c:v>
                </c:pt>
                <c:pt idx="11235">
                  <c:v>6.1688766388338099</c:v>
                </c:pt>
                <c:pt idx="11236">
                  <c:v>2.0375824134319735</c:v>
                </c:pt>
                <c:pt idx="11237">
                  <c:v>5.0609443627037027</c:v>
                </c:pt>
                <c:pt idx="11238">
                  <c:v>5.0775050080428139</c:v>
                </c:pt>
                <c:pt idx="11239">
                  <c:v>6.0324057881407347</c:v>
                </c:pt>
                <c:pt idx="11240">
                  <c:v>5.9279859585123038</c:v>
                </c:pt>
                <c:pt idx="11241">
                  <c:v>5.9233650757420113</c:v>
                </c:pt>
                <c:pt idx="11242">
                  <c:v>5.1089470933378029</c:v>
                </c:pt>
                <c:pt idx="11243">
                  <c:v>5.1423929827647097</c:v>
                </c:pt>
                <c:pt idx="11244">
                  <c:v>5.9235264552887097</c:v>
                </c:pt>
                <c:pt idx="11245">
                  <c:v>6.13231627906202</c:v>
                </c:pt>
                <c:pt idx="11246">
                  <c:v>5.9207363570648219</c:v>
                </c:pt>
                <c:pt idx="11247">
                  <c:v>6.8540074753443632</c:v>
                </c:pt>
                <c:pt idx="11248">
                  <c:v>5.9081949898126886</c:v>
                </c:pt>
                <c:pt idx="11249">
                  <c:v>5.09281754164991</c:v>
                </c:pt>
                <c:pt idx="11250">
                  <c:v>4.9894777122237954</c:v>
                </c:pt>
                <c:pt idx="11251">
                  <c:v>6.0270135475783135</c:v>
                </c:pt>
                <c:pt idx="11252">
                  <c:v>4.9297638180803949</c:v>
                </c:pt>
                <c:pt idx="11253">
                  <c:v>6.0163615908002317</c:v>
                </c:pt>
                <c:pt idx="11254">
                  <c:v>5.0713557909543647</c:v>
                </c:pt>
                <c:pt idx="11255">
                  <c:v>5.9364264983664583</c:v>
                </c:pt>
                <c:pt idx="11256">
                  <c:v>6.0068321403309826</c:v>
                </c:pt>
                <c:pt idx="11257">
                  <c:v>6.0153232298018358</c:v>
                </c:pt>
                <c:pt idx="11258">
                  <c:v>4.9612789862749951</c:v>
                </c:pt>
                <c:pt idx="11259">
                  <c:v>6.0248399411210247</c:v>
                </c:pt>
                <c:pt idx="11260">
                  <c:v>6.0138837653716948</c:v>
                </c:pt>
                <c:pt idx="11261">
                  <c:v>6.0410206460391578</c:v>
                </c:pt>
                <c:pt idx="11262">
                  <c:v>4.9104555691165404</c:v>
                </c:pt>
                <c:pt idx="11263">
                  <c:v>7.108884191419147</c:v>
                </c:pt>
                <c:pt idx="11264">
                  <c:v>5.8384128713165975</c:v>
                </c:pt>
                <c:pt idx="11265">
                  <c:v>4.9471659967916102</c:v>
                </c:pt>
                <c:pt idx="11266">
                  <c:v>5.9907807180979313</c:v>
                </c:pt>
                <c:pt idx="11267">
                  <c:v>4.8330222078268585</c:v>
                </c:pt>
                <c:pt idx="11268">
                  <c:v>5.9038585937272412</c:v>
                </c:pt>
                <c:pt idx="11269">
                  <c:v>5.9360741177339333</c:v>
                </c:pt>
                <c:pt idx="11270">
                  <c:v>6.1325806459039445</c:v>
                </c:pt>
                <c:pt idx="11271">
                  <c:v>5.8385611144080194</c:v>
                </c:pt>
                <c:pt idx="11272">
                  <c:v>5.9575576606921228</c:v>
                </c:pt>
                <c:pt idx="11273">
                  <c:v>5.0162444794377361</c:v>
                </c:pt>
                <c:pt idx="11274">
                  <c:v>5.0674212754148815</c:v>
                </c:pt>
                <c:pt idx="11275">
                  <c:v>5.0662891966861086</c:v>
                </c:pt>
                <c:pt idx="11276">
                  <c:v>4.8572613659248676</c:v>
                </c:pt>
                <c:pt idx="11277">
                  <c:v>6.0609011389087897</c:v>
                </c:pt>
                <c:pt idx="11278">
                  <c:v>4.8161206365992317</c:v>
                </c:pt>
                <c:pt idx="11279">
                  <c:v>5.7781277982619832</c:v>
                </c:pt>
                <c:pt idx="11280">
                  <c:v>6.0033071318896996</c:v>
                </c:pt>
                <c:pt idx="11281">
                  <c:v>6.1186607962474433</c:v>
                </c:pt>
                <c:pt idx="11282">
                  <c:v>5.9573837001886778</c:v>
                </c:pt>
                <c:pt idx="11283">
                  <c:v>6.0276270385645354</c:v>
                </c:pt>
                <c:pt idx="11284">
                  <c:v>6.0337131994912019</c:v>
                </c:pt>
                <c:pt idx="11285">
                  <c:v>6.0967316821726376</c:v>
                </c:pt>
                <c:pt idx="11286">
                  <c:v>4.8646265739298657</c:v>
                </c:pt>
                <c:pt idx="11287">
                  <c:v>5.1881041327507429</c:v>
                </c:pt>
                <c:pt idx="11288">
                  <c:v>5.1424424778771609</c:v>
                </c:pt>
                <c:pt idx="11289">
                  <c:v>5.9656457783207761</c:v>
                </c:pt>
                <c:pt idx="11290">
                  <c:v>4.7971288715426503</c:v>
                </c:pt>
                <c:pt idx="11291">
                  <c:v>6.0334229548921172</c:v>
                </c:pt>
                <c:pt idx="11292">
                  <c:v>6.0517016685062393</c:v>
                </c:pt>
                <c:pt idx="11293">
                  <c:v>5.9807727426684529</c:v>
                </c:pt>
                <c:pt idx="11294">
                  <c:v>5.0863721240743942</c:v>
                </c:pt>
                <c:pt idx="11295">
                  <c:v>5.9521234139243768</c:v>
                </c:pt>
                <c:pt idx="11296">
                  <c:v>6.2191274855971495</c:v>
                </c:pt>
                <c:pt idx="11297">
                  <c:v>6.004853503288933</c:v>
                </c:pt>
                <c:pt idx="11298">
                  <c:v>6.0783860133156749</c:v>
                </c:pt>
                <c:pt idx="11299">
                  <c:v>6.0151206950381733</c:v>
                </c:pt>
                <c:pt idx="11300">
                  <c:v>5.8771753823361923</c:v>
                </c:pt>
                <c:pt idx="11301">
                  <c:v>5.9290741288728119</c:v>
                </c:pt>
                <c:pt idx="11302">
                  <c:v>6.0026462735721182</c:v>
                </c:pt>
                <c:pt idx="11303">
                  <c:v>5.961697027718099</c:v>
                </c:pt>
                <c:pt idx="11304">
                  <c:v>5.008719660948028</c:v>
                </c:pt>
                <c:pt idx="11305">
                  <c:v>5.0107429139534609</c:v>
                </c:pt>
                <c:pt idx="11306">
                  <c:v>5.8952368612422097</c:v>
                </c:pt>
                <c:pt idx="11307">
                  <c:v>4.8649378453050893</c:v>
                </c:pt>
                <c:pt idx="11308">
                  <c:v>5.2267341074732236</c:v>
                </c:pt>
                <c:pt idx="11309">
                  <c:v>4.9760056777301145</c:v>
                </c:pt>
                <c:pt idx="11310">
                  <c:v>5.1330339593868226</c:v>
                </c:pt>
                <c:pt idx="11311">
                  <c:v>5.8021395231295854</c:v>
                </c:pt>
                <c:pt idx="11312">
                  <c:v>5.9189552962361782</c:v>
                </c:pt>
                <c:pt idx="11313">
                  <c:v>5.9416668529187548</c:v>
                </c:pt>
                <c:pt idx="11314">
                  <c:v>4.9941912225523124</c:v>
                </c:pt>
                <c:pt idx="11315">
                  <c:v>4.9681747733462673</c:v>
                </c:pt>
                <c:pt idx="11316">
                  <c:v>6.0253406864444932</c:v>
                </c:pt>
                <c:pt idx="11317">
                  <c:v>5.8936281460963897</c:v>
                </c:pt>
                <c:pt idx="11318">
                  <c:v>5.7931529541285265</c:v>
                </c:pt>
                <c:pt idx="11319">
                  <c:v>5.0671365179603987</c:v>
                </c:pt>
                <c:pt idx="11320">
                  <c:v>4.9414967049650329</c:v>
                </c:pt>
                <c:pt idx="11321">
                  <c:v>5.0262875813813057</c:v>
                </c:pt>
                <c:pt idx="11322">
                  <c:v>4.9866531318582457</c:v>
                </c:pt>
                <c:pt idx="11323">
                  <c:v>6.1053682958239026</c:v>
                </c:pt>
                <c:pt idx="11324">
                  <c:v>5.8179070418145731</c:v>
                </c:pt>
                <c:pt idx="11325">
                  <c:v>6.0947276630156217</c:v>
                </c:pt>
                <c:pt idx="11326">
                  <c:v>5.1363252007178399</c:v>
                </c:pt>
                <c:pt idx="11327">
                  <c:v>4.9682763596492512</c:v>
                </c:pt>
                <c:pt idx="11328">
                  <c:v>5.0471280062908015</c:v>
                </c:pt>
                <c:pt idx="11329">
                  <c:v>6.0315759703822431</c:v>
                </c:pt>
                <c:pt idx="11330">
                  <c:v>5.8926273169250116</c:v>
                </c:pt>
                <c:pt idx="11331">
                  <c:v>5.9772271971175321</c:v>
                </c:pt>
                <c:pt idx="11332">
                  <c:v>5.0917250684261903</c:v>
                </c:pt>
                <c:pt idx="11333">
                  <c:v>5.0077773920559991</c:v>
                </c:pt>
                <c:pt idx="11334">
                  <c:v>6.1061949390772012</c:v>
                </c:pt>
                <c:pt idx="11335">
                  <c:v>4.9755112495880223</c:v>
                </c:pt>
                <c:pt idx="11336">
                  <c:v>5.979652224453865</c:v>
                </c:pt>
                <c:pt idx="11337">
                  <c:v>2.85179803421281</c:v>
                </c:pt>
                <c:pt idx="11338">
                  <c:v>4.8984522458386888</c:v>
                </c:pt>
                <c:pt idx="11339">
                  <c:v>6.0610034717507384</c:v>
                </c:pt>
                <c:pt idx="11340">
                  <c:v>5.0201921776637484</c:v>
                </c:pt>
                <c:pt idx="11341">
                  <c:v>5.8505119488147246</c:v>
                </c:pt>
                <c:pt idx="11342">
                  <c:v>5.7940135438558382</c:v>
                </c:pt>
                <c:pt idx="11343">
                  <c:v>4.8993286992579836</c:v>
                </c:pt>
                <c:pt idx="11344">
                  <c:v>4.9665225010104992</c:v>
                </c:pt>
                <c:pt idx="11345">
                  <c:v>6.0906612626158028</c:v>
                </c:pt>
                <c:pt idx="11346">
                  <c:v>6.1690883361250863</c:v>
                </c:pt>
                <c:pt idx="11347">
                  <c:v>5.9033160669335984</c:v>
                </c:pt>
                <c:pt idx="11348">
                  <c:v>4.8689137872865569</c:v>
                </c:pt>
                <c:pt idx="11349">
                  <c:v>5.0918555614001191</c:v>
                </c:pt>
                <c:pt idx="11350">
                  <c:v>5.9912073556886325</c:v>
                </c:pt>
                <c:pt idx="11351">
                  <c:v>5.8295808978585431</c:v>
                </c:pt>
                <c:pt idx="11352">
                  <c:v>6.1146854320173389</c:v>
                </c:pt>
                <c:pt idx="11353">
                  <c:v>6.2277765737102015</c:v>
                </c:pt>
                <c:pt idx="11354">
                  <c:v>6.0449001478406856</c:v>
                </c:pt>
                <c:pt idx="11355">
                  <c:v>4.9850006017294239</c:v>
                </c:pt>
                <c:pt idx="11356">
                  <c:v>5.915587452957257</c:v>
                </c:pt>
                <c:pt idx="11357">
                  <c:v>5.0457567332550326</c:v>
                </c:pt>
                <c:pt idx="11358">
                  <c:v>6.1382431383586002</c:v>
                </c:pt>
                <c:pt idx="11359">
                  <c:v>6.0259662541290293</c:v>
                </c:pt>
                <c:pt idx="11360">
                  <c:v>6.1788637775147421</c:v>
                </c:pt>
                <c:pt idx="11361">
                  <c:v>3.9849819246345208</c:v>
                </c:pt>
                <c:pt idx="11362">
                  <c:v>4.0566634509001052</c:v>
                </c:pt>
                <c:pt idx="11363">
                  <c:v>4.9780747577794973</c:v>
                </c:pt>
                <c:pt idx="11364">
                  <c:v>5.8404271311878091</c:v>
                </c:pt>
                <c:pt idx="11365">
                  <c:v>6.0142255434640273</c:v>
                </c:pt>
                <c:pt idx="11366">
                  <c:v>6.1037990509460673</c:v>
                </c:pt>
                <c:pt idx="11367">
                  <c:v>5.1349878151088264</c:v>
                </c:pt>
                <c:pt idx="11368">
                  <c:v>6.0495857111385352</c:v>
                </c:pt>
                <c:pt idx="11369">
                  <c:v>6.0813537229103751</c:v>
                </c:pt>
                <c:pt idx="11370">
                  <c:v>6.0448069233767594</c:v>
                </c:pt>
                <c:pt idx="11371">
                  <c:v>6.0234391854941327</c:v>
                </c:pt>
                <c:pt idx="11372">
                  <c:v>4.8243250481615387</c:v>
                </c:pt>
                <c:pt idx="11373">
                  <c:v>5.0427691181696099</c:v>
                </c:pt>
                <c:pt idx="11374">
                  <c:v>5.9942093191773358</c:v>
                </c:pt>
                <c:pt idx="11375">
                  <c:v>6.0404423928649198</c:v>
                </c:pt>
                <c:pt idx="11376">
                  <c:v>5.8565913504114357</c:v>
                </c:pt>
                <c:pt idx="11377">
                  <c:v>6.0850442065905881</c:v>
                </c:pt>
                <c:pt idx="11378">
                  <c:v>5.7546833171635363</c:v>
                </c:pt>
                <c:pt idx="11379">
                  <c:v>6.9014195472276194</c:v>
                </c:pt>
                <c:pt idx="11380">
                  <c:v>5.1324029635427024</c:v>
                </c:pt>
                <c:pt idx="11381">
                  <c:v>6.9337104209365714</c:v>
                </c:pt>
                <c:pt idx="11382">
                  <c:v>5.7715715787923436</c:v>
                </c:pt>
                <c:pt idx="11383">
                  <c:v>6.0898920969382164</c:v>
                </c:pt>
                <c:pt idx="11384">
                  <c:v>5.8969566724229106</c:v>
                </c:pt>
                <c:pt idx="11385">
                  <c:v>5.7835374264981096</c:v>
                </c:pt>
                <c:pt idx="11386">
                  <c:v>6.9809473975315948</c:v>
                </c:pt>
                <c:pt idx="11387">
                  <c:v>6.0118867857363965</c:v>
                </c:pt>
                <c:pt idx="11388">
                  <c:v>7.0300569578226364</c:v>
                </c:pt>
                <c:pt idx="11389">
                  <c:v>7.1609822480270724</c:v>
                </c:pt>
                <c:pt idx="11390">
                  <c:v>6.1595782246967161</c:v>
                </c:pt>
                <c:pt idx="11391">
                  <c:v>5.9495210865104395</c:v>
                </c:pt>
                <c:pt idx="11392">
                  <c:v>4.862754410356616</c:v>
                </c:pt>
                <c:pt idx="11393">
                  <c:v>6.0866392360210551</c:v>
                </c:pt>
                <c:pt idx="11394">
                  <c:v>5.9956387534751316</c:v>
                </c:pt>
                <c:pt idx="11395">
                  <c:v>6.1929776947942647</c:v>
                </c:pt>
                <c:pt idx="11396">
                  <c:v>4.9601757406434261</c:v>
                </c:pt>
                <c:pt idx="11397">
                  <c:v>4.9215026394678958</c:v>
                </c:pt>
                <c:pt idx="11398">
                  <c:v>5.7550289128996166</c:v>
                </c:pt>
                <c:pt idx="11399">
                  <c:v>6.0568041675700668</c:v>
                </c:pt>
                <c:pt idx="11400">
                  <c:v>6.1542785838057839</c:v>
                </c:pt>
                <c:pt idx="11401">
                  <c:v>6.024072513822011</c:v>
                </c:pt>
                <c:pt idx="11402">
                  <c:v>5.1056471056355912</c:v>
                </c:pt>
                <c:pt idx="11403">
                  <c:v>5.8846132065346994</c:v>
                </c:pt>
                <c:pt idx="11404">
                  <c:v>6.0070042539284936</c:v>
                </c:pt>
                <c:pt idx="11405">
                  <c:v>6.0054666794517342</c:v>
                </c:pt>
                <c:pt idx="11406">
                  <c:v>5.036652471601081</c:v>
                </c:pt>
                <c:pt idx="11407">
                  <c:v>5.0575992125294604</c:v>
                </c:pt>
                <c:pt idx="11408">
                  <c:v>5.8808308752694636</c:v>
                </c:pt>
                <c:pt idx="11409">
                  <c:v>6.1062082445614116</c:v>
                </c:pt>
                <c:pt idx="11410">
                  <c:v>5.8291801395844853</c:v>
                </c:pt>
                <c:pt idx="11411">
                  <c:v>6.0246339036365102</c:v>
                </c:pt>
                <c:pt idx="11412">
                  <c:v>5.1137556780073341</c:v>
                </c:pt>
                <c:pt idx="11413">
                  <c:v>5.8460612194199593</c:v>
                </c:pt>
                <c:pt idx="11414">
                  <c:v>4.9864000605049128</c:v>
                </c:pt>
                <c:pt idx="11415">
                  <c:v>5.9643419861995639</c:v>
                </c:pt>
                <c:pt idx="11416">
                  <c:v>7.0485521729279954</c:v>
                </c:pt>
                <c:pt idx="11417">
                  <c:v>5.0618894132682</c:v>
                </c:pt>
                <c:pt idx="11418">
                  <c:v>6.1121622369719786</c:v>
                </c:pt>
                <c:pt idx="11419">
                  <c:v>5.9541570911462092</c:v>
                </c:pt>
                <c:pt idx="11420">
                  <c:v>5.9687931816030613</c:v>
                </c:pt>
                <c:pt idx="11421">
                  <c:v>6.0282191172608375</c:v>
                </c:pt>
                <c:pt idx="11422">
                  <c:v>6.1181376018041913</c:v>
                </c:pt>
                <c:pt idx="11423">
                  <c:v>5.0276177115732086</c:v>
                </c:pt>
                <c:pt idx="11424">
                  <c:v>7.1166395507755809</c:v>
                </c:pt>
                <c:pt idx="11425">
                  <c:v>5.954834887937583</c:v>
                </c:pt>
                <c:pt idx="11426">
                  <c:v>6.2386799338909631</c:v>
                </c:pt>
                <c:pt idx="11427">
                  <c:v>5.0022273852146002</c:v>
                </c:pt>
                <c:pt idx="11428">
                  <c:v>7.0364433507777058</c:v>
                </c:pt>
                <c:pt idx="11429">
                  <c:v>5.8672252692074203</c:v>
                </c:pt>
                <c:pt idx="11430">
                  <c:v>5.7510997237962584</c:v>
                </c:pt>
                <c:pt idx="11431">
                  <c:v>5.0903674194199242</c:v>
                </c:pt>
                <c:pt idx="11432">
                  <c:v>6.9557531082725443</c:v>
                </c:pt>
                <c:pt idx="11433">
                  <c:v>6.8199208317325821</c:v>
                </c:pt>
                <c:pt idx="11434">
                  <c:v>5.940961033154359</c:v>
                </c:pt>
                <c:pt idx="11435">
                  <c:v>7.2162224045766816</c:v>
                </c:pt>
                <c:pt idx="11436">
                  <c:v>7.0104314543823492</c:v>
                </c:pt>
                <c:pt idx="11437">
                  <c:v>5.0098021720874462</c:v>
                </c:pt>
                <c:pt idx="11438">
                  <c:v>5.9056875508225382</c:v>
                </c:pt>
                <c:pt idx="11439">
                  <c:v>5.8584410366061199</c:v>
                </c:pt>
                <c:pt idx="11440">
                  <c:v>5.9031425331936891</c:v>
                </c:pt>
                <c:pt idx="11441">
                  <c:v>5.9645005897390186</c:v>
                </c:pt>
                <c:pt idx="11442">
                  <c:v>5.9211840745291742</c:v>
                </c:pt>
                <c:pt idx="11443">
                  <c:v>5.8938443372735865</c:v>
                </c:pt>
                <c:pt idx="11444">
                  <c:v>5.0871222300186965</c:v>
                </c:pt>
                <c:pt idx="11445">
                  <c:v>6.081471970536672</c:v>
                </c:pt>
                <c:pt idx="11446">
                  <c:v>6.0480796175381837</c:v>
                </c:pt>
                <c:pt idx="11447">
                  <c:v>5.0824710779731594</c:v>
                </c:pt>
                <c:pt idx="11448">
                  <c:v>5.8155546264448992</c:v>
                </c:pt>
                <c:pt idx="11449">
                  <c:v>5.9554660080270683</c:v>
                </c:pt>
                <c:pt idx="11450">
                  <c:v>5.8632378750005154</c:v>
                </c:pt>
                <c:pt idx="11451">
                  <c:v>6.1085342506797957</c:v>
                </c:pt>
                <c:pt idx="11452">
                  <c:v>5.0049822425977002</c:v>
                </c:pt>
                <c:pt idx="11453">
                  <c:v>6.1083438660830129</c:v>
                </c:pt>
                <c:pt idx="11454">
                  <c:v>5.0395263797784215</c:v>
                </c:pt>
                <c:pt idx="11455">
                  <c:v>4.9713648696071964</c:v>
                </c:pt>
                <c:pt idx="11456">
                  <c:v>5.010771743962664</c:v>
                </c:pt>
                <c:pt idx="11457">
                  <c:v>5.8437609057331841</c:v>
                </c:pt>
                <c:pt idx="11458">
                  <c:v>3.8865077689159628</c:v>
                </c:pt>
                <c:pt idx="11459">
                  <c:v>3.9821982049454352</c:v>
                </c:pt>
                <c:pt idx="11460">
                  <c:v>5.9522427362332744</c:v>
                </c:pt>
                <c:pt idx="11461">
                  <c:v>6.7544310473430533</c:v>
                </c:pt>
                <c:pt idx="11462">
                  <c:v>6.8807851618339111</c:v>
                </c:pt>
                <c:pt idx="11463">
                  <c:v>6.9841653228196732</c:v>
                </c:pt>
                <c:pt idx="11464">
                  <c:v>6.0397795282492863</c:v>
                </c:pt>
                <c:pt idx="11465">
                  <c:v>5.8505572272123159</c:v>
                </c:pt>
                <c:pt idx="11466">
                  <c:v>6.0103071240481549</c:v>
                </c:pt>
                <c:pt idx="11467">
                  <c:v>6.0484968142871187</c:v>
                </c:pt>
                <c:pt idx="11468">
                  <c:v>4.9716868612648577</c:v>
                </c:pt>
                <c:pt idx="11469">
                  <c:v>5.1710274153451836</c:v>
                </c:pt>
                <c:pt idx="11470">
                  <c:v>5.88153399605239</c:v>
                </c:pt>
                <c:pt idx="11471">
                  <c:v>6.0422626770568391</c:v>
                </c:pt>
                <c:pt idx="11472">
                  <c:v>4.942307348809301</c:v>
                </c:pt>
                <c:pt idx="11473">
                  <c:v>5.9689822752993287</c:v>
                </c:pt>
                <c:pt idx="11474">
                  <c:v>4.0961652663540802</c:v>
                </c:pt>
                <c:pt idx="11475">
                  <c:v>5.9823678234371203</c:v>
                </c:pt>
                <c:pt idx="11476">
                  <c:v>5.0877351527750045</c:v>
                </c:pt>
                <c:pt idx="11477">
                  <c:v>5.9743415804383471</c:v>
                </c:pt>
                <c:pt idx="11478">
                  <c:v>5.7766832399895272</c:v>
                </c:pt>
                <c:pt idx="11479">
                  <c:v>4.9715614820466776</c:v>
                </c:pt>
                <c:pt idx="11480">
                  <c:v>6.9159454451422189</c:v>
                </c:pt>
                <c:pt idx="11481">
                  <c:v>4.903965990803794</c:v>
                </c:pt>
                <c:pt idx="11482">
                  <c:v>5.8368733981787431</c:v>
                </c:pt>
                <c:pt idx="11483">
                  <c:v>4.9469785464837095</c:v>
                </c:pt>
                <c:pt idx="11484">
                  <c:v>5.1611255610512012</c:v>
                </c:pt>
                <c:pt idx="11485">
                  <c:v>6.0979382751205105</c:v>
                </c:pt>
                <c:pt idx="11486">
                  <c:v>6.0982083164683747</c:v>
                </c:pt>
                <c:pt idx="11487">
                  <c:v>5.1186812313758958</c:v>
                </c:pt>
                <c:pt idx="11488">
                  <c:v>4.9775514791276754</c:v>
                </c:pt>
                <c:pt idx="11489">
                  <c:v>5.9714148296756084</c:v>
                </c:pt>
                <c:pt idx="11490">
                  <c:v>6.0618707532095311</c:v>
                </c:pt>
                <c:pt idx="11491">
                  <c:v>6.0919092980391794</c:v>
                </c:pt>
                <c:pt idx="11492">
                  <c:v>6.0193590945963038</c:v>
                </c:pt>
                <c:pt idx="11493">
                  <c:v>5.921766038555746</c:v>
                </c:pt>
                <c:pt idx="11494">
                  <c:v>5.987524462433135</c:v>
                </c:pt>
                <c:pt idx="11495">
                  <c:v>5.8832821103273503</c:v>
                </c:pt>
                <c:pt idx="11496">
                  <c:v>5.8428313196912107</c:v>
                </c:pt>
                <c:pt idx="11497">
                  <c:v>6.0020817798302879</c:v>
                </c:pt>
                <c:pt idx="11498">
                  <c:v>5.0024090118100268</c:v>
                </c:pt>
                <c:pt idx="11499">
                  <c:v>5.9139638411496804</c:v>
                </c:pt>
                <c:pt idx="11500">
                  <c:v>7.0450348435591117</c:v>
                </c:pt>
                <c:pt idx="11501">
                  <c:v>5.8164065305261632</c:v>
                </c:pt>
                <c:pt idx="11502">
                  <c:v>6.837134050232045</c:v>
                </c:pt>
                <c:pt idx="11503">
                  <c:v>6.0770158361078295</c:v>
                </c:pt>
                <c:pt idx="11504">
                  <c:v>4.8884400699774302</c:v>
                </c:pt>
                <c:pt idx="11505">
                  <c:v>5.9034172458415659</c:v>
                </c:pt>
                <c:pt idx="11506">
                  <c:v>4.907967367838034</c:v>
                </c:pt>
                <c:pt idx="11507">
                  <c:v>5.9032611925079079</c:v>
                </c:pt>
                <c:pt idx="11508">
                  <c:v>6.0283326453340802</c:v>
                </c:pt>
                <c:pt idx="11509">
                  <c:v>5.9665957616617531</c:v>
                </c:pt>
                <c:pt idx="11510">
                  <c:v>5.8360512629653032</c:v>
                </c:pt>
                <c:pt idx="11511">
                  <c:v>4.0551179615859629</c:v>
                </c:pt>
                <c:pt idx="11512">
                  <c:v>4.079556135186114</c:v>
                </c:pt>
                <c:pt idx="11513">
                  <c:v>5.1626137199463145</c:v>
                </c:pt>
                <c:pt idx="11514">
                  <c:v>5.9910011534032206</c:v>
                </c:pt>
                <c:pt idx="11515">
                  <c:v>5.1771000709585238</c:v>
                </c:pt>
                <c:pt idx="11516">
                  <c:v>6.0753505994591732</c:v>
                </c:pt>
                <c:pt idx="11517">
                  <c:v>4.9254909011807539</c:v>
                </c:pt>
                <c:pt idx="11518">
                  <c:v>6.1235055021924216</c:v>
                </c:pt>
                <c:pt idx="11519">
                  <c:v>6.1148654545722954</c:v>
                </c:pt>
                <c:pt idx="11520">
                  <c:v>5.9800604687100609</c:v>
                </c:pt>
                <c:pt idx="11521">
                  <c:v>5.0625568972295252</c:v>
                </c:pt>
                <c:pt idx="11522">
                  <c:v>5.0875857485413762</c:v>
                </c:pt>
                <c:pt idx="11523">
                  <c:v>5.9636362830360827</c:v>
                </c:pt>
                <c:pt idx="11524">
                  <c:v>5.9030348167345847</c:v>
                </c:pt>
                <c:pt idx="11525">
                  <c:v>6.0927203586265701</c:v>
                </c:pt>
                <c:pt idx="11526">
                  <c:v>5.9084569461267735</c:v>
                </c:pt>
                <c:pt idx="11527">
                  <c:v>5.0179915411218667</c:v>
                </c:pt>
                <c:pt idx="11528">
                  <c:v>4.8803949912643105</c:v>
                </c:pt>
                <c:pt idx="11529">
                  <c:v>5.9508678867749234</c:v>
                </c:pt>
                <c:pt idx="11530">
                  <c:v>4.9398054700682339</c:v>
                </c:pt>
                <c:pt idx="11531">
                  <c:v>6.19098811676424</c:v>
                </c:pt>
                <c:pt idx="11532">
                  <c:v>6.0121087411503433</c:v>
                </c:pt>
                <c:pt idx="11533">
                  <c:v>5.9338217457659663</c:v>
                </c:pt>
                <c:pt idx="11534">
                  <c:v>6.1099848320759778</c:v>
                </c:pt>
                <c:pt idx="11535">
                  <c:v>6.1457296238074717</c:v>
                </c:pt>
                <c:pt idx="11536">
                  <c:v>5.8466429391234822</c:v>
                </c:pt>
                <c:pt idx="11537">
                  <c:v>5.8742946187325611</c:v>
                </c:pt>
                <c:pt idx="11538">
                  <c:v>8.0671490381665212</c:v>
                </c:pt>
                <c:pt idx="11539">
                  <c:v>6.2368120651856618</c:v>
                </c:pt>
                <c:pt idx="11540">
                  <c:v>6.0024994402253595</c:v>
                </c:pt>
                <c:pt idx="11541">
                  <c:v>6.099361554944581</c:v>
                </c:pt>
                <c:pt idx="11542">
                  <c:v>6.0234575069366478</c:v>
                </c:pt>
                <c:pt idx="11543">
                  <c:v>6.1148799124800099</c:v>
                </c:pt>
                <c:pt idx="11544">
                  <c:v>5.9096101415297531</c:v>
                </c:pt>
                <c:pt idx="11545">
                  <c:v>5.0338761527177489</c:v>
                </c:pt>
                <c:pt idx="11546">
                  <c:v>5.1427598099884948</c:v>
                </c:pt>
                <c:pt idx="11547">
                  <c:v>5.9277713037250104</c:v>
                </c:pt>
                <c:pt idx="11548">
                  <c:v>6.1494391212189203</c:v>
                </c:pt>
                <c:pt idx="11549">
                  <c:v>7.1025231015718973</c:v>
                </c:pt>
                <c:pt idx="11550">
                  <c:v>6.1380291879897735</c:v>
                </c:pt>
                <c:pt idx="11551">
                  <c:v>5.9680937116729416</c:v>
                </c:pt>
                <c:pt idx="11552">
                  <c:v>5.9699899200498159</c:v>
                </c:pt>
                <c:pt idx="11553">
                  <c:v>7.0341170516461355</c:v>
                </c:pt>
                <c:pt idx="11554">
                  <c:v>4.9950314577155295</c:v>
                </c:pt>
                <c:pt idx="11555">
                  <c:v>6.9263637467098276</c:v>
                </c:pt>
                <c:pt idx="11556">
                  <c:v>4.8739156136099062</c:v>
                </c:pt>
                <c:pt idx="11557">
                  <c:v>7.0012082534932274</c:v>
                </c:pt>
                <c:pt idx="11558">
                  <c:v>6.91656437770515</c:v>
                </c:pt>
                <c:pt idx="11559">
                  <c:v>6.9333788585170826</c:v>
                </c:pt>
                <c:pt idx="11560">
                  <c:v>7.0615502123854768</c:v>
                </c:pt>
                <c:pt idx="11561">
                  <c:v>6.8606770403212884</c:v>
                </c:pt>
                <c:pt idx="11562">
                  <c:v>5.9550840568579568</c:v>
                </c:pt>
                <c:pt idx="11563">
                  <c:v>4.9705194906820145</c:v>
                </c:pt>
                <c:pt idx="11564">
                  <c:v>5.971629171657538</c:v>
                </c:pt>
                <c:pt idx="11565">
                  <c:v>4.8336488087836189</c:v>
                </c:pt>
                <c:pt idx="11566">
                  <c:v>6.2438331760521528</c:v>
                </c:pt>
                <c:pt idx="11567">
                  <c:v>6.0226480626421113</c:v>
                </c:pt>
                <c:pt idx="11568">
                  <c:v>4.871932862736128</c:v>
                </c:pt>
                <c:pt idx="11569">
                  <c:v>5.0049181335023851</c:v>
                </c:pt>
                <c:pt idx="11570">
                  <c:v>5.9938868961564022</c:v>
                </c:pt>
                <c:pt idx="11571">
                  <c:v>6.0313483334258491</c:v>
                </c:pt>
                <c:pt idx="11572">
                  <c:v>5.9290036160229347</c:v>
                </c:pt>
                <c:pt idx="11573">
                  <c:v>5.9708003314469025</c:v>
                </c:pt>
                <c:pt idx="11574">
                  <c:v>5.8425845417899742</c:v>
                </c:pt>
                <c:pt idx="11575">
                  <c:v>5.9769244397609969</c:v>
                </c:pt>
                <c:pt idx="11576">
                  <c:v>6.0526317648870958</c:v>
                </c:pt>
                <c:pt idx="11577">
                  <c:v>7.1575795978619174</c:v>
                </c:pt>
                <c:pt idx="11578">
                  <c:v>5.9043463891489498</c:v>
                </c:pt>
                <c:pt idx="11579">
                  <c:v>5.9066904910768248</c:v>
                </c:pt>
                <c:pt idx="11580">
                  <c:v>5.8470900258690035</c:v>
                </c:pt>
                <c:pt idx="11581">
                  <c:v>5.7990048890768788</c:v>
                </c:pt>
                <c:pt idx="11582">
                  <c:v>5.8081035792494671</c:v>
                </c:pt>
                <c:pt idx="11583">
                  <c:v>6.9676677131520766</c:v>
                </c:pt>
                <c:pt idx="11584">
                  <c:v>5.0322286816737298</c:v>
                </c:pt>
                <c:pt idx="11585">
                  <c:v>6.0366266249508307</c:v>
                </c:pt>
                <c:pt idx="11586">
                  <c:v>6.0034942190016798</c:v>
                </c:pt>
                <c:pt idx="11587">
                  <c:v>6.1972998760972873</c:v>
                </c:pt>
                <c:pt idx="11588">
                  <c:v>6.0107210893026366</c:v>
                </c:pt>
                <c:pt idx="11589">
                  <c:v>5.9552417459818123</c:v>
                </c:pt>
                <c:pt idx="11590">
                  <c:v>6.0169595003365144</c:v>
                </c:pt>
                <c:pt idx="11591">
                  <c:v>5.8645661876867505</c:v>
                </c:pt>
                <c:pt idx="11592">
                  <c:v>6.0404655065782986</c:v>
                </c:pt>
                <c:pt idx="11593">
                  <c:v>5.9441838570188033</c:v>
                </c:pt>
                <c:pt idx="11594">
                  <c:v>5.8816936567833684</c:v>
                </c:pt>
                <c:pt idx="11595">
                  <c:v>4.8438569123253723</c:v>
                </c:pt>
                <c:pt idx="11596">
                  <c:v>5.959397635995729</c:v>
                </c:pt>
                <c:pt idx="11597">
                  <c:v>5.9945068909918282</c:v>
                </c:pt>
                <c:pt idx="11598">
                  <c:v>4.9750725896783905</c:v>
                </c:pt>
                <c:pt idx="11599">
                  <c:v>5.2343511771446414</c:v>
                </c:pt>
                <c:pt idx="11600">
                  <c:v>5.8948964305829987</c:v>
                </c:pt>
                <c:pt idx="11601">
                  <c:v>6.0811958068306451</c:v>
                </c:pt>
                <c:pt idx="11602">
                  <c:v>6.0339110402502483</c:v>
                </c:pt>
                <c:pt idx="11603">
                  <c:v>4.9310437831026501</c:v>
                </c:pt>
                <c:pt idx="11604">
                  <c:v>6.0673699924056272</c:v>
                </c:pt>
                <c:pt idx="11605">
                  <c:v>4.7926934290176488</c:v>
                </c:pt>
                <c:pt idx="11606">
                  <c:v>5.0306991146636388</c:v>
                </c:pt>
                <c:pt idx="11607">
                  <c:v>3.9474748804788837</c:v>
                </c:pt>
                <c:pt idx="11608">
                  <c:v>4.8516605973192819</c:v>
                </c:pt>
                <c:pt idx="11609">
                  <c:v>5.9501376574829337</c:v>
                </c:pt>
                <c:pt idx="11610">
                  <c:v>5.1406797971544194</c:v>
                </c:pt>
                <c:pt idx="11611">
                  <c:v>4.9063647199576064</c:v>
                </c:pt>
                <c:pt idx="11612">
                  <c:v>5.9643473918149548</c:v>
                </c:pt>
                <c:pt idx="11613">
                  <c:v>6.0030758804715116</c:v>
                </c:pt>
                <c:pt idx="11614">
                  <c:v>6.0144188390744411</c:v>
                </c:pt>
                <c:pt idx="11615">
                  <c:v>6.0022002828743304</c:v>
                </c:pt>
                <c:pt idx="11616">
                  <c:v>5.9927345811502004</c:v>
                </c:pt>
                <c:pt idx="11617">
                  <c:v>5.8544236796879137</c:v>
                </c:pt>
                <c:pt idx="11618">
                  <c:v>4.9080374922952856</c:v>
                </c:pt>
                <c:pt idx="11619">
                  <c:v>5.9689669792204612</c:v>
                </c:pt>
                <c:pt idx="11620">
                  <c:v>6.063498431681567</c:v>
                </c:pt>
                <c:pt idx="11621">
                  <c:v>5.0746811804703915</c:v>
                </c:pt>
                <c:pt idx="11622">
                  <c:v>6.0122888106929899</c:v>
                </c:pt>
                <c:pt idx="11623">
                  <c:v>5.1411296141951901</c:v>
                </c:pt>
                <c:pt idx="11624">
                  <c:v>5.0004015473407559</c:v>
                </c:pt>
                <c:pt idx="11625">
                  <c:v>4.9265559849516487</c:v>
                </c:pt>
                <c:pt idx="11626">
                  <c:v>5.9420680778853701</c:v>
                </c:pt>
                <c:pt idx="11627">
                  <c:v>7.0488880518661947</c:v>
                </c:pt>
                <c:pt idx="11628">
                  <c:v>5.097736651582272</c:v>
                </c:pt>
                <c:pt idx="11629">
                  <c:v>5.88573920579391</c:v>
                </c:pt>
                <c:pt idx="11630">
                  <c:v>7.1177986430085003</c:v>
                </c:pt>
                <c:pt idx="11631">
                  <c:v>6.138146740079832</c:v>
                </c:pt>
                <c:pt idx="11632">
                  <c:v>5.0355497050629756</c:v>
                </c:pt>
                <c:pt idx="11633">
                  <c:v>5.0312424038456527</c:v>
                </c:pt>
                <c:pt idx="11634">
                  <c:v>6.0758603269342544</c:v>
                </c:pt>
                <c:pt idx="11635">
                  <c:v>6.1676655428018012</c:v>
                </c:pt>
                <c:pt idx="11636">
                  <c:v>6.0905933590951173</c:v>
                </c:pt>
                <c:pt idx="11637">
                  <c:v>5.8342106020437754</c:v>
                </c:pt>
                <c:pt idx="11638">
                  <c:v>5.0233023330679529</c:v>
                </c:pt>
                <c:pt idx="11639">
                  <c:v>6.0381484370849074</c:v>
                </c:pt>
                <c:pt idx="11640">
                  <c:v>6.0815932435044839</c:v>
                </c:pt>
                <c:pt idx="11641">
                  <c:v>6.0883921509660901</c:v>
                </c:pt>
                <c:pt idx="11642">
                  <c:v>5.0858741436843014</c:v>
                </c:pt>
                <c:pt idx="11643">
                  <c:v>4.9235049077960253</c:v>
                </c:pt>
                <c:pt idx="11644">
                  <c:v>6.0283244619495955</c:v>
                </c:pt>
                <c:pt idx="11645">
                  <c:v>6.1994150378681896</c:v>
                </c:pt>
                <c:pt idx="11646">
                  <c:v>5.985078265288962</c:v>
                </c:pt>
                <c:pt idx="11647">
                  <c:v>5.9132768723833466</c:v>
                </c:pt>
                <c:pt idx="11648">
                  <c:v>6.0935184699602187</c:v>
                </c:pt>
                <c:pt idx="11649">
                  <c:v>5.921979662267316</c:v>
                </c:pt>
                <c:pt idx="11650">
                  <c:v>6.0526727073340512</c:v>
                </c:pt>
                <c:pt idx="11651">
                  <c:v>5.0452731578178271</c:v>
                </c:pt>
                <c:pt idx="11652">
                  <c:v>5.9232864695637586</c:v>
                </c:pt>
                <c:pt idx="11653">
                  <c:v>5.9106933615731307</c:v>
                </c:pt>
                <c:pt idx="11654">
                  <c:v>4.6752069447082141</c:v>
                </c:pt>
                <c:pt idx="11655">
                  <c:v>5.0686532070868919</c:v>
                </c:pt>
                <c:pt idx="11656">
                  <c:v>5.918652535153047</c:v>
                </c:pt>
                <c:pt idx="11657">
                  <c:v>5.8893473577148123</c:v>
                </c:pt>
                <c:pt idx="11658">
                  <c:v>6.1067520426721513</c:v>
                </c:pt>
                <c:pt idx="11659">
                  <c:v>7.0395590517741597</c:v>
                </c:pt>
                <c:pt idx="11660">
                  <c:v>4.9110626561405395</c:v>
                </c:pt>
                <c:pt idx="11661">
                  <c:v>6.0169768319672059</c:v>
                </c:pt>
                <c:pt idx="11662">
                  <c:v>5.00540269418227</c:v>
                </c:pt>
                <c:pt idx="11663">
                  <c:v>5.132106509706575</c:v>
                </c:pt>
                <c:pt idx="11664">
                  <c:v>5.0847900268495128</c:v>
                </c:pt>
                <c:pt idx="11665">
                  <c:v>4.9311211876147567</c:v>
                </c:pt>
                <c:pt idx="11666">
                  <c:v>5.935573339763363</c:v>
                </c:pt>
                <c:pt idx="11667">
                  <c:v>6.0564185475891925</c:v>
                </c:pt>
                <c:pt idx="11668">
                  <c:v>6.0493526651155252</c:v>
                </c:pt>
                <c:pt idx="11669">
                  <c:v>4.8849135532144849</c:v>
                </c:pt>
                <c:pt idx="11670">
                  <c:v>5.8400129483729879</c:v>
                </c:pt>
                <c:pt idx="11671">
                  <c:v>6.0676669804447156</c:v>
                </c:pt>
                <c:pt idx="11672">
                  <c:v>5.0232603609186537</c:v>
                </c:pt>
                <c:pt idx="11673">
                  <c:v>5.9811532717759572</c:v>
                </c:pt>
                <c:pt idx="11674">
                  <c:v>4.8778653769156612</c:v>
                </c:pt>
                <c:pt idx="11675">
                  <c:v>5.961589805803948</c:v>
                </c:pt>
                <c:pt idx="11676">
                  <c:v>6.0387356895596485</c:v>
                </c:pt>
                <c:pt idx="11677">
                  <c:v>5.8977668681432602</c:v>
                </c:pt>
                <c:pt idx="11678">
                  <c:v>7.1029430993006102</c:v>
                </c:pt>
                <c:pt idx="11679">
                  <c:v>5.8702111653156743</c:v>
                </c:pt>
                <c:pt idx="11680">
                  <c:v>6.0009257935944929</c:v>
                </c:pt>
                <c:pt idx="11681">
                  <c:v>6.0080314039235816</c:v>
                </c:pt>
                <c:pt idx="11682">
                  <c:v>5.8103952325879487</c:v>
                </c:pt>
                <c:pt idx="11683">
                  <c:v>6.0237581537772229</c:v>
                </c:pt>
                <c:pt idx="11684">
                  <c:v>6.1004099963191445</c:v>
                </c:pt>
                <c:pt idx="11685">
                  <c:v>4.9200333981708555</c:v>
                </c:pt>
                <c:pt idx="11686">
                  <c:v>5.9333738945618695</c:v>
                </c:pt>
                <c:pt idx="11687">
                  <c:v>6.1461945536658975</c:v>
                </c:pt>
                <c:pt idx="11688">
                  <c:v>6.0534703884257626</c:v>
                </c:pt>
                <c:pt idx="11689">
                  <c:v>6.0025765543822267</c:v>
                </c:pt>
                <c:pt idx="11690">
                  <c:v>6.1323417698094662</c:v>
                </c:pt>
                <c:pt idx="11691">
                  <c:v>7.0960828972569905</c:v>
                </c:pt>
                <c:pt idx="11692">
                  <c:v>6.0609425680776434</c:v>
                </c:pt>
                <c:pt idx="11693">
                  <c:v>6.0199197485055933</c:v>
                </c:pt>
                <c:pt idx="11694">
                  <c:v>5.9640336802447891</c:v>
                </c:pt>
                <c:pt idx="11695">
                  <c:v>5.9512937421522132</c:v>
                </c:pt>
                <c:pt idx="11696">
                  <c:v>6.0539480278966877</c:v>
                </c:pt>
                <c:pt idx="11697">
                  <c:v>5.0524704350076703</c:v>
                </c:pt>
                <c:pt idx="11698">
                  <c:v>6.0169060725468864</c:v>
                </c:pt>
                <c:pt idx="11699">
                  <c:v>6.0486824858459558</c:v>
                </c:pt>
                <c:pt idx="11700">
                  <c:v>5.9939199466646675</c:v>
                </c:pt>
                <c:pt idx="11701">
                  <c:v>5.9602998537823959</c:v>
                </c:pt>
                <c:pt idx="11702">
                  <c:v>5.913195710981733</c:v>
                </c:pt>
                <c:pt idx="11703">
                  <c:v>6.0494843427374416</c:v>
                </c:pt>
                <c:pt idx="11704">
                  <c:v>4.9842264182091984</c:v>
                </c:pt>
                <c:pt idx="11705">
                  <c:v>6.0015826217702228</c:v>
                </c:pt>
                <c:pt idx="11706">
                  <c:v>5.0323755244207513</c:v>
                </c:pt>
                <c:pt idx="11707">
                  <c:v>6.0749895945802308</c:v>
                </c:pt>
                <c:pt idx="11708">
                  <c:v>6.0903450133667114</c:v>
                </c:pt>
                <c:pt idx="11709">
                  <c:v>5.8617648919937961</c:v>
                </c:pt>
                <c:pt idx="11710">
                  <c:v>6.0274757662482212</c:v>
                </c:pt>
                <c:pt idx="11711">
                  <c:v>5.8980713691989175</c:v>
                </c:pt>
                <c:pt idx="11712">
                  <c:v>4.8746140986595377</c:v>
                </c:pt>
                <c:pt idx="11713">
                  <c:v>5.9983558544930053</c:v>
                </c:pt>
                <c:pt idx="11714">
                  <c:v>5.9283092560920023</c:v>
                </c:pt>
                <c:pt idx="11715">
                  <c:v>4.8306087697629039</c:v>
                </c:pt>
                <c:pt idx="11716">
                  <c:v>5.8621898490075219</c:v>
                </c:pt>
                <c:pt idx="11717">
                  <c:v>5.8760118181436081</c:v>
                </c:pt>
                <c:pt idx="11718">
                  <c:v>6.0890355761592438</c:v>
                </c:pt>
                <c:pt idx="11719">
                  <c:v>6.0417538443130452</c:v>
                </c:pt>
                <c:pt idx="11720">
                  <c:v>6.0075811122173004</c:v>
                </c:pt>
                <c:pt idx="11721">
                  <c:v>6.1185367654822151</c:v>
                </c:pt>
                <c:pt idx="11722">
                  <c:v>5.9773407785579611</c:v>
                </c:pt>
                <c:pt idx="11723">
                  <c:v>6.1128591470766835</c:v>
                </c:pt>
                <c:pt idx="11724">
                  <c:v>5.9002899384714933</c:v>
                </c:pt>
                <c:pt idx="11725">
                  <c:v>6.03363749252585</c:v>
                </c:pt>
                <c:pt idx="11726">
                  <c:v>6.0452517991566035</c:v>
                </c:pt>
                <c:pt idx="11727">
                  <c:v>4.0369391271770514</c:v>
                </c:pt>
                <c:pt idx="11728">
                  <c:v>6.016734544393656</c:v>
                </c:pt>
                <c:pt idx="11729">
                  <c:v>6.1357075858394259</c:v>
                </c:pt>
                <c:pt idx="11730">
                  <c:v>5.0440982888165751</c:v>
                </c:pt>
                <c:pt idx="11731">
                  <c:v>5.823721945418983</c:v>
                </c:pt>
                <c:pt idx="11732">
                  <c:v>6.8225580976905551</c:v>
                </c:pt>
                <c:pt idx="11733">
                  <c:v>5.8833305512161944</c:v>
                </c:pt>
                <c:pt idx="11734">
                  <c:v>6.8293695460634307</c:v>
                </c:pt>
                <c:pt idx="11735">
                  <c:v>6.0218570331141699</c:v>
                </c:pt>
                <c:pt idx="11736">
                  <c:v>7.0940080499011353</c:v>
                </c:pt>
                <c:pt idx="11737">
                  <c:v>5.9290637184067645</c:v>
                </c:pt>
                <c:pt idx="11738">
                  <c:v>5.9635318794872436</c:v>
                </c:pt>
                <c:pt idx="11739">
                  <c:v>5.0635677462407989</c:v>
                </c:pt>
                <c:pt idx="11740">
                  <c:v>4.8492897186639388</c:v>
                </c:pt>
                <c:pt idx="11741">
                  <c:v>4.9689432225064785</c:v>
                </c:pt>
                <c:pt idx="11742">
                  <c:v>5.9877212192193792</c:v>
                </c:pt>
                <c:pt idx="11743">
                  <c:v>5.861921647785822</c:v>
                </c:pt>
                <c:pt idx="11744">
                  <c:v>5.1032814436699407</c:v>
                </c:pt>
                <c:pt idx="11745">
                  <c:v>6.9836778404395083</c:v>
                </c:pt>
                <c:pt idx="11746">
                  <c:v>7.0675159176212796</c:v>
                </c:pt>
                <c:pt idx="11747">
                  <c:v>7.0047830930425752</c:v>
                </c:pt>
                <c:pt idx="11748">
                  <c:v>6.0456282114885598</c:v>
                </c:pt>
                <c:pt idx="11749">
                  <c:v>5.9316260593122463</c:v>
                </c:pt>
                <c:pt idx="11750">
                  <c:v>5.9361498796416265</c:v>
                </c:pt>
                <c:pt idx="11751">
                  <c:v>5.9488576210378437</c:v>
                </c:pt>
                <c:pt idx="11752">
                  <c:v>5.9619289463681993</c:v>
                </c:pt>
                <c:pt idx="11753">
                  <c:v>4.9490488747344079</c:v>
                </c:pt>
                <c:pt idx="11754">
                  <c:v>7.0337467307061967</c:v>
                </c:pt>
                <c:pt idx="11755">
                  <c:v>5.9189730631435413</c:v>
                </c:pt>
                <c:pt idx="11756">
                  <c:v>5.9093732516236184</c:v>
                </c:pt>
                <c:pt idx="11757">
                  <c:v>5.933987136680118</c:v>
                </c:pt>
                <c:pt idx="11758">
                  <c:v>5.8851624877856388</c:v>
                </c:pt>
                <c:pt idx="11759">
                  <c:v>6.1013720173907968</c:v>
                </c:pt>
                <c:pt idx="11760">
                  <c:v>6.9754013882631014</c:v>
                </c:pt>
                <c:pt idx="11761">
                  <c:v>6.1048867797480399</c:v>
                </c:pt>
                <c:pt idx="11762">
                  <c:v>4.0951744828579013</c:v>
                </c:pt>
                <c:pt idx="11763">
                  <c:v>5.9858506424292957</c:v>
                </c:pt>
                <c:pt idx="11764">
                  <c:v>7.0395322628906385</c:v>
                </c:pt>
                <c:pt idx="11765">
                  <c:v>5.8832034104166135</c:v>
                </c:pt>
                <c:pt idx="11766">
                  <c:v>5.8915464328212561</c:v>
                </c:pt>
                <c:pt idx="11767">
                  <c:v>3.864761295197773</c:v>
                </c:pt>
                <c:pt idx="11768">
                  <c:v>6.0795786278703678</c:v>
                </c:pt>
                <c:pt idx="11769">
                  <c:v>5.9873840687788489</c:v>
                </c:pt>
                <c:pt idx="11770">
                  <c:v>6.0717293977340834</c:v>
                </c:pt>
                <c:pt idx="11771">
                  <c:v>3.0394526699067814</c:v>
                </c:pt>
                <c:pt idx="11772">
                  <c:v>5.8631776640274378</c:v>
                </c:pt>
                <c:pt idx="11773">
                  <c:v>6.0211326615040335</c:v>
                </c:pt>
                <c:pt idx="11774">
                  <c:v>5.9593817912284752</c:v>
                </c:pt>
                <c:pt idx="11775">
                  <c:v>5.9812355677677331</c:v>
                </c:pt>
                <c:pt idx="11776">
                  <c:v>5.943920759891081</c:v>
                </c:pt>
                <c:pt idx="11777">
                  <c:v>5.9709205104207772</c:v>
                </c:pt>
                <c:pt idx="11778">
                  <c:v>6.1801679413014181</c:v>
                </c:pt>
                <c:pt idx="11779">
                  <c:v>6.2488609942084929</c:v>
                </c:pt>
                <c:pt idx="11780">
                  <c:v>6.2288075289979528</c:v>
                </c:pt>
                <c:pt idx="11781">
                  <c:v>6.0160281738495636</c:v>
                </c:pt>
                <c:pt idx="11782">
                  <c:v>5.1380874537106429</c:v>
                </c:pt>
                <c:pt idx="11783">
                  <c:v>5.900294578149393</c:v>
                </c:pt>
                <c:pt idx="11784">
                  <c:v>4.9044963132413839</c:v>
                </c:pt>
                <c:pt idx="11785">
                  <c:v>5.8102399748891989</c:v>
                </c:pt>
                <c:pt idx="11786">
                  <c:v>5.8778650993304726</c:v>
                </c:pt>
                <c:pt idx="11787">
                  <c:v>6.9057126324550371</c:v>
                </c:pt>
                <c:pt idx="11788">
                  <c:v>5.0416648542077453</c:v>
                </c:pt>
                <c:pt idx="11789">
                  <c:v>5.0169609172649867</c:v>
                </c:pt>
                <c:pt idx="11790">
                  <c:v>4.8754765369874633</c:v>
                </c:pt>
                <c:pt idx="11791">
                  <c:v>6.0768638416031253</c:v>
                </c:pt>
                <c:pt idx="11792">
                  <c:v>6.0821766501879395</c:v>
                </c:pt>
                <c:pt idx="11793">
                  <c:v>5.8642058172550966</c:v>
                </c:pt>
                <c:pt idx="11794">
                  <c:v>6.9370818800050857</c:v>
                </c:pt>
                <c:pt idx="11795">
                  <c:v>6.1169356010702192</c:v>
                </c:pt>
                <c:pt idx="11796">
                  <c:v>5.9448735833180644</c:v>
                </c:pt>
                <c:pt idx="11797">
                  <c:v>3.9644924522792784</c:v>
                </c:pt>
                <c:pt idx="11798">
                  <c:v>4.9051491491585972</c:v>
                </c:pt>
                <c:pt idx="11799">
                  <c:v>4.9944203506390128</c:v>
                </c:pt>
                <c:pt idx="11800">
                  <c:v>3.9879414160667119</c:v>
                </c:pt>
                <c:pt idx="11801">
                  <c:v>4.0772846325811205</c:v>
                </c:pt>
                <c:pt idx="11802">
                  <c:v>6.1627804349425359</c:v>
                </c:pt>
                <c:pt idx="11803">
                  <c:v>4.9638953631423552</c:v>
                </c:pt>
                <c:pt idx="11804">
                  <c:v>6.8062294813483586</c:v>
                </c:pt>
                <c:pt idx="11805">
                  <c:v>6.1113968565130738</c:v>
                </c:pt>
                <c:pt idx="11806">
                  <c:v>6.9337891400156124</c:v>
                </c:pt>
                <c:pt idx="11807">
                  <c:v>5.1906490985326998</c:v>
                </c:pt>
                <c:pt idx="11808">
                  <c:v>4.9428238739645796</c:v>
                </c:pt>
                <c:pt idx="11809">
                  <c:v>6.1242336033744218</c:v>
                </c:pt>
                <c:pt idx="11810">
                  <c:v>5.9937534500813445</c:v>
                </c:pt>
                <c:pt idx="11811">
                  <c:v>4.9715210184430791</c:v>
                </c:pt>
                <c:pt idx="11812">
                  <c:v>5.9812122578139792</c:v>
                </c:pt>
                <c:pt idx="11813">
                  <c:v>5.9082527863359182</c:v>
                </c:pt>
                <c:pt idx="11814">
                  <c:v>6.0612433670377559</c:v>
                </c:pt>
                <c:pt idx="11815">
                  <c:v>5.9898244109300904</c:v>
                </c:pt>
                <c:pt idx="11816">
                  <c:v>5.8848106458182921</c:v>
                </c:pt>
                <c:pt idx="11817">
                  <c:v>5.9518253132866761</c:v>
                </c:pt>
                <c:pt idx="11818">
                  <c:v>5.046317311654116</c:v>
                </c:pt>
                <c:pt idx="11819">
                  <c:v>4.9731108248138067</c:v>
                </c:pt>
                <c:pt idx="11820">
                  <c:v>5.8515485327518908</c:v>
                </c:pt>
                <c:pt idx="11821">
                  <c:v>5.0892276644754739</c:v>
                </c:pt>
                <c:pt idx="11822">
                  <c:v>4.9473803099097378</c:v>
                </c:pt>
                <c:pt idx="11823">
                  <c:v>5.1458859667952046</c:v>
                </c:pt>
                <c:pt idx="11824">
                  <c:v>5.9571969195418131</c:v>
                </c:pt>
                <c:pt idx="11825">
                  <c:v>4.9887096739877768</c:v>
                </c:pt>
                <c:pt idx="11826">
                  <c:v>6.01544616709712</c:v>
                </c:pt>
                <c:pt idx="11827">
                  <c:v>5.846677430356654</c:v>
                </c:pt>
                <c:pt idx="11828">
                  <c:v>6.0447224888368023</c:v>
                </c:pt>
                <c:pt idx="11829">
                  <c:v>5.0174033313515762</c:v>
                </c:pt>
                <c:pt idx="11830">
                  <c:v>4.9246695271645118</c:v>
                </c:pt>
                <c:pt idx="11831">
                  <c:v>5.1786369717866059</c:v>
                </c:pt>
                <c:pt idx="11832">
                  <c:v>5.9403229613190014</c:v>
                </c:pt>
                <c:pt idx="11833">
                  <c:v>5.1697949703118589</c:v>
                </c:pt>
                <c:pt idx="11834">
                  <c:v>5.0592223504700566</c:v>
                </c:pt>
                <c:pt idx="11835">
                  <c:v>4.9209687970041287</c:v>
                </c:pt>
                <c:pt idx="11836">
                  <c:v>5.88294122878421</c:v>
                </c:pt>
                <c:pt idx="11837">
                  <c:v>4.8964871505008176</c:v>
                </c:pt>
                <c:pt idx="11838">
                  <c:v>6.1952984310198023</c:v>
                </c:pt>
                <c:pt idx="11839">
                  <c:v>5.1445084973261146</c:v>
                </c:pt>
                <c:pt idx="11840">
                  <c:v>5.0678663146292227</c:v>
                </c:pt>
                <c:pt idx="11841">
                  <c:v>6.09935941708709</c:v>
                </c:pt>
                <c:pt idx="11842">
                  <c:v>5.0701272483432955</c:v>
                </c:pt>
                <c:pt idx="11843">
                  <c:v>4.904073460991861</c:v>
                </c:pt>
                <c:pt idx="11844">
                  <c:v>5.0088184993115306</c:v>
                </c:pt>
                <c:pt idx="11845">
                  <c:v>4.7252032513158868</c:v>
                </c:pt>
                <c:pt idx="11846">
                  <c:v>6.8932110189089704</c:v>
                </c:pt>
                <c:pt idx="11847">
                  <c:v>6.1289584015906566</c:v>
                </c:pt>
                <c:pt idx="11848">
                  <c:v>4.9919373294005762</c:v>
                </c:pt>
                <c:pt idx="11849">
                  <c:v>5.1051916105851687</c:v>
                </c:pt>
                <c:pt idx="11850">
                  <c:v>4.9936646897755645</c:v>
                </c:pt>
                <c:pt idx="11851">
                  <c:v>4.9809082456924774</c:v>
                </c:pt>
                <c:pt idx="11852">
                  <c:v>5.0840201248744163</c:v>
                </c:pt>
                <c:pt idx="11853">
                  <c:v>5.0560125425706834</c:v>
                </c:pt>
                <c:pt idx="11854">
                  <c:v>5.0250767905360361</c:v>
                </c:pt>
                <c:pt idx="11855">
                  <c:v>5.1677609802728508</c:v>
                </c:pt>
                <c:pt idx="11856">
                  <c:v>4.7708661101847589</c:v>
                </c:pt>
                <c:pt idx="11857">
                  <c:v>5.0701873667091695</c:v>
                </c:pt>
                <c:pt idx="11858">
                  <c:v>4.8263373867640063</c:v>
                </c:pt>
                <c:pt idx="11859">
                  <c:v>6.0627246409508597</c:v>
                </c:pt>
                <c:pt idx="11860">
                  <c:v>5.2234091810808536</c:v>
                </c:pt>
                <c:pt idx="11861">
                  <c:v>5.1087605325441077</c:v>
                </c:pt>
                <c:pt idx="11862">
                  <c:v>5.0422714326529521</c:v>
                </c:pt>
                <c:pt idx="11863">
                  <c:v>5.0401049466740657</c:v>
                </c:pt>
                <c:pt idx="11864">
                  <c:v>6.0431774061634105</c:v>
                </c:pt>
                <c:pt idx="11865">
                  <c:v>5.9829632780530142</c:v>
                </c:pt>
                <c:pt idx="11866">
                  <c:v>4.9469192064528436</c:v>
                </c:pt>
                <c:pt idx="11867">
                  <c:v>4.744913409428543</c:v>
                </c:pt>
                <c:pt idx="11868">
                  <c:v>6.0266226250270218</c:v>
                </c:pt>
                <c:pt idx="11869">
                  <c:v>4.928702665841592</c:v>
                </c:pt>
                <c:pt idx="11870">
                  <c:v>5.9665215261232252</c:v>
                </c:pt>
                <c:pt idx="11871">
                  <c:v>4.9793222964663615</c:v>
                </c:pt>
                <c:pt idx="11872">
                  <c:v>3.9877048630674206</c:v>
                </c:pt>
                <c:pt idx="11873">
                  <c:v>6.8868136501610913</c:v>
                </c:pt>
                <c:pt idx="11874">
                  <c:v>6.0028824103922149</c:v>
                </c:pt>
                <c:pt idx="11875">
                  <c:v>4.9223626779284206</c:v>
                </c:pt>
                <c:pt idx="11876">
                  <c:v>5.094847024427331</c:v>
                </c:pt>
                <c:pt idx="11877">
                  <c:v>5.26715547008763</c:v>
                </c:pt>
                <c:pt idx="11878">
                  <c:v>4.9214410243181259</c:v>
                </c:pt>
                <c:pt idx="11879">
                  <c:v>4.9618157566666854</c:v>
                </c:pt>
                <c:pt idx="11880">
                  <c:v>6.0693690250935521</c:v>
                </c:pt>
                <c:pt idx="11881">
                  <c:v>5.8601634049911295</c:v>
                </c:pt>
                <c:pt idx="11882">
                  <c:v>5.8738296531210414</c:v>
                </c:pt>
                <c:pt idx="11883">
                  <c:v>5.1637537427800355</c:v>
                </c:pt>
                <c:pt idx="11884">
                  <c:v>4.9233460932104771</c:v>
                </c:pt>
                <c:pt idx="11885">
                  <c:v>5.9926525644936763</c:v>
                </c:pt>
                <c:pt idx="11886">
                  <c:v>5.0371892596210266</c:v>
                </c:pt>
                <c:pt idx="11887">
                  <c:v>6.1153115069979433</c:v>
                </c:pt>
                <c:pt idx="11888">
                  <c:v>6.0951532609762387</c:v>
                </c:pt>
                <c:pt idx="11889">
                  <c:v>6.034040314717604</c:v>
                </c:pt>
                <c:pt idx="11890">
                  <c:v>5.0226774144529163</c:v>
                </c:pt>
                <c:pt idx="11891">
                  <c:v>7.0330189980257725</c:v>
                </c:pt>
                <c:pt idx="11892">
                  <c:v>6.1439958218088089</c:v>
                </c:pt>
                <c:pt idx="11893">
                  <c:v>5.8171631695098469</c:v>
                </c:pt>
                <c:pt idx="11894">
                  <c:v>5.1183948310710097</c:v>
                </c:pt>
                <c:pt idx="11895">
                  <c:v>5.9062145185027086</c:v>
                </c:pt>
                <c:pt idx="11896">
                  <c:v>5.9829192177929755</c:v>
                </c:pt>
                <c:pt idx="11897">
                  <c:v>5.968078030054226</c:v>
                </c:pt>
                <c:pt idx="11898">
                  <c:v>5.9709161424629595</c:v>
                </c:pt>
                <c:pt idx="11899">
                  <c:v>6.1026559571691585</c:v>
                </c:pt>
                <c:pt idx="11900">
                  <c:v>4.9182654079452153</c:v>
                </c:pt>
                <c:pt idx="11901">
                  <c:v>4.9495862786819194</c:v>
                </c:pt>
                <c:pt idx="11902">
                  <c:v>6.0821164850874849</c:v>
                </c:pt>
                <c:pt idx="11903">
                  <c:v>5.0818770685303249</c:v>
                </c:pt>
                <c:pt idx="11904">
                  <c:v>5.9774122059917509</c:v>
                </c:pt>
                <c:pt idx="11905">
                  <c:v>6.9434267330297708</c:v>
                </c:pt>
                <c:pt idx="11906">
                  <c:v>6.058791506234428</c:v>
                </c:pt>
                <c:pt idx="11907">
                  <c:v>5.0910253731319939</c:v>
                </c:pt>
                <c:pt idx="11908">
                  <c:v>5.1122013242810915</c:v>
                </c:pt>
                <c:pt idx="11909">
                  <c:v>5.9544249278013703</c:v>
                </c:pt>
                <c:pt idx="11910">
                  <c:v>7.0390936968643913</c:v>
                </c:pt>
                <c:pt idx="11911">
                  <c:v>5.9992044069181478</c:v>
                </c:pt>
                <c:pt idx="11912">
                  <c:v>5.8854678112709582</c:v>
                </c:pt>
                <c:pt idx="11913">
                  <c:v>5.9464011671217385</c:v>
                </c:pt>
                <c:pt idx="11914">
                  <c:v>5.8874213045628112</c:v>
                </c:pt>
                <c:pt idx="11915">
                  <c:v>6.1269789985233256</c:v>
                </c:pt>
                <c:pt idx="11916">
                  <c:v>6.1921780394753236</c:v>
                </c:pt>
                <c:pt idx="11917">
                  <c:v>7.1007951323187743</c:v>
                </c:pt>
                <c:pt idx="11918">
                  <c:v>6.1388443722984833</c:v>
                </c:pt>
                <c:pt idx="11919">
                  <c:v>4.9946491485265634</c:v>
                </c:pt>
                <c:pt idx="11920">
                  <c:v>6.0232184549068721</c:v>
                </c:pt>
                <c:pt idx="11921">
                  <c:v>6.1222009246743294</c:v>
                </c:pt>
                <c:pt idx="11922">
                  <c:v>5.0387691724524677</c:v>
                </c:pt>
                <c:pt idx="11923">
                  <c:v>5.975378521538965</c:v>
                </c:pt>
                <c:pt idx="11924">
                  <c:v>4.9301167181864107</c:v>
                </c:pt>
                <c:pt idx="11925">
                  <c:v>6.8751539317845358</c:v>
                </c:pt>
                <c:pt idx="11926">
                  <c:v>6.0245093303076303</c:v>
                </c:pt>
                <c:pt idx="11927">
                  <c:v>7.0866984401186395</c:v>
                </c:pt>
                <c:pt idx="11928">
                  <c:v>6.9934250036907608</c:v>
                </c:pt>
                <c:pt idx="11929">
                  <c:v>5.9424825419820424</c:v>
                </c:pt>
                <c:pt idx="11930">
                  <c:v>6.0251870738451787</c:v>
                </c:pt>
                <c:pt idx="11931">
                  <c:v>6.0838994648832418</c:v>
                </c:pt>
                <c:pt idx="11932">
                  <c:v>4.981423155387156</c:v>
                </c:pt>
                <c:pt idx="11933">
                  <c:v>6.1533633242673496</c:v>
                </c:pt>
                <c:pt idx="11934">
                  <c:v>5.9608792437049569</c:v>
                </c:pt>
                <c:pt idx="11935">
                  <c:v>6.0254847284058473</c:v>
                </c:pt>
                <c:pt idx="11936">
                  <c:v>5.9764691209112009</c:v>
                </c:pt>
                <c:pt idx="11937">
                  <c:v>5.0286030249430489</c:v>
                </c:pt>
                <c:pt idx="11938">
                  <c:v>5.9547814295757542</c:v>
                </c:pt>
                <c:pt idx="11939">
                  <c:v>6.1623339247015538</c:v>
                </c:pt>
                <c:pt idx="11940">
                  <c:v>6.1838989473385526</c:v>
                </c:pt>
                <c:pt idx="11941">
                  <c:v>5.0770319307837983</c:v>
                </c:pt>
                <c:pt idx="11942">
                  <c:v>4.9196948101657298</c:v>
                </c:pt>
                <c:pt idx="11943">
                  <c:v>6.0480578845933879</c:v>
                </c:pt>
                <c:pt idx="11944">
                  <c:v>6.0234622948571159</c:v>
                </c:pt>
                <c:pt idx="11945">
                  <c:v>5.9711267094927303</c:v>
                </c:pt>
                <c:pt idx="11946">
                  <c:v>6.1783026493445696</c:v>
                </c:pt>
                <c:pt idx="11947">
                  <c:v>6.0926319320108719</c:v>
                </c:pt>
                <c:pt idx="11948">
                  <c:v>4.9221042167405464</c:v>
                </c:pt>
                <c:pt idx="11949">
                  <c:v>6.9465226428781</c:v>
                </c:pt>
                <c:pt idx="11950">
                  <c:v>5.9058796466818295</c:v>
                </c:pt>
                <c:pt idx="11951">
                  <c:v>5.9956696521193704</c:v>
                </c:pt>
                <c:pt idx="11952">
                  <c:v>5.9379686216746634</c:v>
                </c:pt>
                <c:pt idx="11953">
                  <c:v>5.9574778413855576</c:v>
                </c:pt>
                <c:pt idx="11954">
                  <c:v>6.1857731915567653</c:v>
                </c:pt>
                <c:pt idx="11955">
                  <c:v>4.8718196579695405</c:v>
                </c:pt>
                <c:pt idx="11956">
                  <c:v>5.8352806428637765</c:v>
                </c:pt>
                <c:pt idx="11957">
                  <c:v>5.9893983885304491</c:v>
                </c:pt>
                <c:pt idx="11958">
                  <c:v>6.0381073447044926</c:v>
                </c:pt>
                <c:pt idx="11959">
                  <c:v>6.0828689585788638</c:v>
                </c:pt>
                <c:pt idx="11960">
                  <c:v>5.9272371246942068</c:v>
                </c:pt>
                <c:pt idx="11961">
                  <c:v>6.0265849767184987</c:v>
                </c:pt>
                <c:pt idx="11962">
                  <c:v>5.8775676435572892</c:v>
                </c:pt>
                <c:pt idx="11963">
                  <c:v>6.1941081878993698</c:v>
                </c:pt>
                <c:pt idx="11964">
                  <c:v>5.9684391108953401</c:v>
                </c:pt>
                <c:pt idx="11965">
                  <c:v>5.9383571306051071</c:v>
                </c:pt>
                <c:pt idx="11966">
                  <c:v>6.0981326494281731</c:v>
                </c:pt>
                <c:pt idx="11967">
                  <c:v>6.0613206089880434</c:v>
                </c:pt>
                <c:pt idx="11968">
                  <c:v>5.9011820898922744</c:v>
                </c:pt>
                <c:pt idx="11969">
                  <c:v>6.1653980075441348</c:v>
                </c:pt>
                <c:pt idx="11970">
                  <c:v>5.9306624735158069</c:v>
                </c:pt>
                <c:pt idx="11971">
                  <c:v>5.6423887198257496</c:v>
                </c:pt>
                <c:pt idx="11972">
                  <c:v>6.0418629012668079</c:v>
                </c:pt>
                <c:pt idx="11973">
                  <c:v>5.0392407680635163</c:v>
                </c:pt>
                <c:pt idx="11974">
                  <c:v>5.9719820596293118</c:v>
                </c:pt>
                <c:pt idx="11975">
                  <c:v>7.1302799666098737</c:v>
                </c:pt>
                <c:pt idx="11976">
                  <c:v>4.8784414309716562</c:v>
                </c:pt>
                <c:pt idx="11977">
                  <c:v>3.2056488128511993</c:v>
                </c:pt>
                <c:pt idx="11978">
                  <c:v>7.0735102699908827</c:v>
                </c:pt>
                <c:pt idx="11979">
                  <c:v>5.0482164209719977</c:v>
                </c:pt>
                <c:pt idx="11980">
                  <c:v>6.1077738150992262</c:v>
                </c:pt>
                <c:pt idx="11981">
                  <c:v>5.920326071253581</c:v>
                </c:pt>
                <c:pt idx="11982">
                  <c:v>6.0026733374430217</c:v>
                </c:pt>
                <c:pt idx="11983">
                  <c:v>5.0821092363698401</c:v>
                </c:pt>
                <c:pt idx="11984">
                  <c:v>5.8970118798578479</c:v>
                </c:pt>
                <c:pt idx="11985">
                  <c:v>6.1388124417337453</c:v>
                </c:pt>
                <c:pt idx="11986">
                  <c:v>4.8778782694720064</c:v>
                </c:pt>
                <c:pt idx="11987">
                  <c:v>6.1720114863657427</c:v>
                </c:pt>
                <c:pt idx="11988">
                  <c:v>5.1043398995126577</c:v>
                </c:pt>
                <c:pt idx="11989">
                  <c:v>5.972300737826842</c:v>
                </c:pt>
                <c:pt idx="11990">
                  <c:v>6.0850746657490165</c:v>
                </c:pt>
                <c:pt idx="11991">
                  <c:v>6.001401721180482</c:v>
                </c:pt>
                <c:pt idx="11992">
                  <c:v>5.9100146183902629</c:v>
                </c:pt>
                <c:pt idx="11993">
                  <c:v>5.9026301804207222</c:v>
                </c:pt>
                <c:pt idx="11994">
                  <c:v>6.1157524747792067</c:v>
                </c:pt>
                <c:pt idx="11995">
                  <c:v>7.2235029835414286</c:v>
                </c:pt>
                <c:pt idx="11996">
                  <c:v>5.8981497915216172</c:v>
                </c:pt>
                <c:pt idx="11997">
                  <c:v>5.8240288641997573</c:v>
                </c:pt>
                <c:pt idx="11998">
                  <c:v>6.0071681004163535</c:v>
                </c:pt>
                <c:pt idx="11999">
                  <c:v>4.7117547192954818</c:v>
                </c:pt>
                <c:pt idx="12000">
                  <c:v>5.8237453736400688</c:v>
                </c:pt>
                <c:pt idx="12001">
                  <c:v>6.0290330549312818</c:v>
                </c:pt>
                <c:pt idx="12002">
                  <c:v>6.0968292666082773</c:v>
                </c:pt>
                <c:pt idx="12003">
                  <c:v>3.0612001731802465</c:v>
                </c:pt>
                <c:pt idx="12004">
                  <c:v>6.2388374261448796</c:v>
                </c:pt>
                <c:pt idx="12005">
                  <c:v>5.9152589825257404</c:v>
                </c:pt>
                <c:pt idx="12006">
                  <c:v>5.2108171971378434</c:v>
                </c:pt>
                <c:pt idx="12007">
                  <c:v>7.1338780613975548</c:v>
                </c:pt>
                <c:pt idx="12008">
                  <c:v>6.9338223143742717</c:v>
                </c:pt>
                <c:pt idx="12009">
                  <c:v>5.9349019445733173</c:v>
                </c:pt>
                <c:pt idx="12010">
                  <c:v>7.0563272978206859</c:v>
                </c:pt>
                <c:pt idx="12011">
                  <c:v>5.984983486760667</c:v>
                </c:pt>
                <c:pt idx="12012">
                  <c:v>7.0314776789303215</c:v>
                </c:pt>
                <c:pt idx="12013">
                  <c:v>5.9918981044529867</c:v>
                </c:pt>
                <c:pt idx="12014">
                  <c:v>5.9325666942531194</c:v>
                </c:pt>
                <c:pt idx="12015">
                  <c:v>5.9283099450392429</c:v>
                </c:pt>
                <c:pt idx="12016">
                  <c:v>5.859877163496038</c:v>
                </c:pt>
                <c:pt idx="12017">
                  <c:v>6.9684830551554366</c:v>
                </c:pt>
                <c:pt idx="12018">
                  <c:v>6.0065609868179575</c:v>
                </c:pt>
                <c:pt idx="12019">
                  <c:v>7.1049650146513121</c:v>
                </c:pt>
                <c:pt idx="12020">
                  <c:v>4.953307977356574</c:v>
                </c:pt>
                <c:pt idx="12021">
                  <c:v>5.134874223753326</c:v>
                </c:pt>
                <c:pt idx="12022">
                  <c:v>6.0572654883080643</c:v>
                </c:pt>
                <c:pt idx="12023">
                  <c:v>6.2014186741411654</c:v>
                </c:pt>
                <c:pt idx="12024">
                  <c:v>6.0719317493123546</c:v>
                </c:pt>
                <c:pt idx="12025">
                  <c:v>5.9481853530996647</c:v>
                </c:pt>
                <c:pt idx="12026">
                  <c:v>6.1018185533904203</c:v>
                </c:pt>
                <c:pt idx="12027">
                  <c:v>5.862418068814419</c:v>
                </c:pt>
                <c:pt idx="12028">
                  <c:v>5.062541742905716</c:v>
                </c:pt>
                <c:pt idx="12029">
                  <c:v>6.0936446177676249</c:v>
                </c:pt>
                <c:pt idx="12030">
                  <c:v>5.041216021333601</c:v>
                </c:pt>
                <c:pt idx="12031">
                  <c:v>5.7991153956858206</c:v>
                </c:pt>
                <c:pt idx="12032">
                  <c:v>5.9754834142788527</c:v>
                </c:pt>
                <c:pt idx="12033">
                  <c:v>6.0194474837181353</c:v>
                </c:pt>
                <c:pt idx="12034">
                  <c:v>5.9783965111405983</c:v>
                </c:pt>
                <c:pt idx="12035">
                  <c:v>5.782659177811138</c:v>
                </c:pt>
                <c:pt idx="12036">
                  <c:v>5.9680151835334074</c:v>
                </c:pt>
                <c:pt idx="12037">
                  <c:v>5.9088423430950217</c:v>
                </c:pt>
                <c:pt idx="12038">
                  <c:v>6.0337988136785627</c:v>
                </c:pt>
                <c:pt idx="12039">
                  <c:v>6.0897474676878849</c:v>
                </c:pt>
                <c:pt idx="12040">
                  <c:v>6.2358088102235465</c:v>
                </c:pt>
                <c:pt idx="12041">
                  <c:v>6.0013352194369416</c:v>
                </c:pt>
                <c:pt idx="12042">
                  <c:v>6.1722247593325648</c:v>
                </c:pt>
                <c:pt idx="12043">
                  <c:v>5.0108240608732029</c:v>
                </c:pt>
                <c:pt idx="12044">
                  <c:v>5.8477728623704941</c:v>
                </c:pt>
                <c:pt idx="12045">
                  <c:v>6.033973707887899</c:v>
                </c:pt>
                <c:pt idx="12046">
                  <c:v>5.968987610330009</c:v>
                </c:pt>
                <c:pt idx="12047">
                  <c:v>6.0943615905025679</c:v>
                </c:pt>
                <c:pt idx="12048">
                  <c:v>6.0131560593084608</c:v>
                </c:pt>
                <c:pt idx="12049">
                  <c:v>5.034520410168188</c:v>
                </c:pt>
                <c:pt idx="12050">
                  <c:v>5.1236426579655543</c:v>
                </c:pt>
                <c:pt idx="12051">
                  <c:v>4.9058884743159901</c:v>
                </c:pt>
                <c:pt idx="12052">
                  <c:v>7.0875429860371737</c:v>
                </c:pt>
                <c:pt idx="12053">
                  <c:v>5.0944119813432618</c:v>
                </c:pt>
                <c:pt idx="12054">
                  <c:v>6.0685433750809237</c:v>
                </c:pt>
                <c:pt idx="12055">
                  <c:v>4.9280869059848822</c:v>
                </c:pt>
                <c:pt idx="12056">
                  <c:v>7.0274243615303957</c:v>
                </c:pt>
                <c:pt idx="12057">
                  <c:v>6.1369904227805847</c:v>
                </c:pt>
                <c:pt idx="12058">
                  <c:v>5.8728888118351517</c:v>
                </c:pt>
                <c:pt idx="12059">
                  <c:v>5.0373496865055314</c:v>
                </c:pt>
                <c:pt idx="12060">
                  <c:v>6.9273050929930644</c:v>
                </c:pt>
                <c:pt idx="12061">
                  <c:v>5.0956083162759276</c:v>
                </c:pt>
                <c:pt idx="12062">
                  <c:v>5.9771853977931286</c:v>
                </c:pt>
                <c:pt idx="12063">
                  <c:v>5.1277845177703583</c:v>
                </c:pt>
                <c:pt idx="12064">
                  <c:v>4.9785517023397921</c:v>
                </c:pt>
                <c:pt idx="12065">
                  <c:v>5.9424137616192354</c:v>
                </c:pt>
                <c:pt idx="12066">
                  <c:v>5.1401494773193797</c:v>
                </c:pt>
                <c:pt idx="12067">
                  <c:v>5.9752120009392158</c:v>
                </c:pt>
                <c:pt idx="12068">
                  <c:v>5.9053902100213538</c:v>
                </c:pt>
                <c:pt idx="12069">
                  <c:v>6.9356591408166244</c:v>
                </c:pt>
                <c:pt idx="12070">
                  <c:v>7.0319915222511922</c:v>
                </c:pt>
                <c:pt idx="12071">
                  <c:v>6.9536920153852151</c:v>
                </c:pt>
                <c:pt idx="12072">
                  <c:v>6.1185947864887016</c:v>
                </c:pt>
                <c:pt idx="12073">
                  <c:v>5.9671223951837975</c:v>
                </c:pt>
                <c:pt idx="12074">
                  <c:v>6.0261657016969394</c:v>
                </c:pt>
                <c:pt idx="12075">
                  <c:v>6.0071066501963832</c:v>
                </c:pt>
                <c:pt idx="12076">
                  <c:v>6.060194920394756</c:v>
                </c:pt>
                <c:pt idx="12077">
                  <c:v>6.0552780411152076</c:v>
                </c:pt>
                <c:pt idx="12078">
                  <c:v>5.9259826128666422</c:v>
                </c:pt>
                <c:pt idx="12079">
                  <c:v>5.9374614455192969</c:v>
                </c:pt>
                <c:pt idx="12080">
                  <c:v>6.0261078515854676</c:v>
                </c:pt>
                <c:pt idx="12081">
                  <c:v>5.9963807248542036</c:v>
                </c:pt>
                <c:pt idx="12082">
                  <c:v>6.9220029052454226</c:v>
                </c:pt>
                <c:pt idx="12083">
                  <c:v>5.9666729831386522</c:v>
                </c:pt>
                <c:pt idx="12084">
                  <c:v>4.856821228900551</c:v>
                </c:pt>
                <c:pt idx="12085">
                  <c:v>5.1033182123943046</c:v>
                </c:pt>
                <c:pt idx="12086">
                  <c:v>5.9930364987094826</c:v>
                </c:pt>
                <c:pt idx="12087">
                  <c:v>5.9547135806765548</c:v>
                </c:pt>
                <c:pt idx="12088">
                  <c:v>5.9213347125572575</c:v>
                </c:pt>
                <c:pt idx="12089">
                  <c:v>6.1654705021909662</c:v>
                </c:pt>
                <c:pt idx="12090">
                  <c:v>6.0077268422909018</c:v>
                </c:pt>
                <c:pt idx="12091">
                  <c:v>4.9873468131750274</c:v>
                </c:pt>
                <c:pt idx="12092">
                  <c:v>5.9990060079947165</c:v>
                </c:pt>
                <c:pt idx="12093">
                  <c:v>6.0200892116655194</c:v>
                </c:pt>
                <c:pt idx="12094">
                  <c:v>6.9914388719208711</c:v>
                </c:pt>
                <c:pt idx="12095">
                  <c:v>5.9287008236703436</c:v>
                </c:pt>
                <c:pt idx="12096">
                  <c:v>5.8227754079807665</c:v>
                </c:pt>
                <c:pt idx="12097">
                  <c:v>5.9721772576576981</c:v>
                </c:pt>
                <c:pt idx="12098">
                  <c:v>6.1472192987334964</c:v>
                </c:pt>
                <c:pt idx="12099">
                  <c:v>5.1131851432621982</c:v>
                </c:pt>
                <c:pt idx="12100">
                  <c:v>6.0091487571411042</c:v>
                </c:pt>
                <c:pt idx="12101">
                  <c:v>7.0349079037341786</c:v>
                </c:pt>
                <c:pt idx="12102">
                  <c:v>5.1506686929571011</c:v>
                </c:pt>
                <c:pt idx="12103">
                  <c:v>6.1255707738025631</c:v>
                </c:pt>
                <c:pt idx="12104">
                  <c:v>7.0273533593743656</c:v>
                </c:pt>
                <c:pt idx="12105">
                  <c:v>7.1091703171752432</c:v>
                </c:pt>
                <c:pt idx="12106">
                  <c:v>4.9279437033442202</c:v>
                </c:pt>
                <c:pt idx="12107">
                  <c:v>6.0684595008856661</c:v>
                </c:pt>
                <c:pt idx="12108">
                  <c:v>6.0624748518993776</c:v>
                </c:pt>
                <c:pt idx="12109">
                  <c:v>6.0366811457622571</c:v>
                </c:pt>
                <c:pt idx="12110">
                  <c:v>4.8707610775286696</c:v>
                </c:pt>
                <c:pt idx="12111">
                  <c:v>5.9280631105982087</c:v>
                </c:pt>
                <c:pt idx="12112">
                  <c:v>5.9331301946488333</c:v>
                </c:pt>
                <c:pt idx="12113">
                  <c:v>6.0572968566455492</c:v>
                </c:pt>
                <c:pt idx="12114">
                  <c:v>6.0717429024552327</c:v>
                </c:pt>
                <c:pt idx="12115">
                  <c:v>6.0230024832961302</c:v>
                </c:pt>
                <c:pt idx="12116">
                  <c:v>7.0582311723573765</c:v>
                </c:pt>
                <c:pt idx="12117">
                  <c:v>7.1627096391531362</c:v>
                </c:pt>
                <c:pt idx="12118">
                  <c:v>7.083016924554995</c:v>
                </c:pt>
                <c:pt idx="12119">
                  <c:v>5.8584393566432382</c:v>
                </c:pt>
                <c:pt idx="12120">
                  <c:v>7.0836208245624936</c:v>
                </c:pt>
                <c:pt idx="12121">
                  <c:v>6.0598265711310439</c:v>
                </c:pt>
                <c:pt idx="12122">
                  <c:v>5.9977577619792823</c:v>
                </c:pt>
                <c:pt idx="12123">
                  <c:v>6.0416049957485276</c:v>
                </c:pt>
                <c:pt idx="12124">
                  <c:v>5.9489305738931701</c:v>
                </c:pt>
                <c:pt idx="12125">
                  <c:v>7.0818273852954938</c:v>
                </c:pt>
                <c:pt idx="12126">
                  <c:v>7.1709392438869664</c:v>
                </c:pt>
                <c:pt idx="12127">
                  <c:v>6.006271093577916</c:v>
                </c:pt>
                <c:pt idx="12128">
                  <c:v>5.8858093229324497</c:v>
                </c:pt>
                <c:pt idx="12129">
                  <c:v>5.9515586650893573</c:v>
                </c:pt>
                <c:pt idx="12130">
                  <c:v>6.9389297696731482</c:v>
                </c:pt>
                <c:pt idx="12131">
                  <c:v>7.0399650472137116</c:v>
                </c:pt>
                <c:pt idx="12132">
                  <c:v>7.0045944697896818</c:v>
                </c:pt>
                <c:pt idx="12133">
                  <c:v>4.9717533706563675</c:v>
                </c:pt>
                <c:pt idx="12134">
                  <c:v>4.8266781759010735</c:v>
                </c:pt>
                <c:pt idx="12135">
                  <c:v>6.8653263019624768</c:v>
                </c:pt>
                <c:pt idx="12136">
                  <c:v>5.9234300153551942</c:v>
                </c:pt>
                <c:pt idx="12137">
                  <c:v>7.0220160732790875</c:v>
                </c:pt>
                <c:pt idx="12138">
                  <c:v>6.9258392537881308</c:v>
                </c:pt>
                <c:pt idx="12139">
                  <c:v>5.9617096975468122</c:v>
                </c:pt>
                <c:pt idx="12140">
                  <c:v>6.007346684444105</c:v>
                </c:pt>
                <c:pt idx="12141">
                  <c:v>6.0005631270799631</c:v>
                </c:pt>
                <c:pt idx="12142">
                  <c:v>6.0703275303930679</c:v>
                </c:pt>
                <c:pt idx="12143">
                  <c:v>4.8928095342699889</c:v>
                </c:pt>
                <c:pt idx="12144">
                  <c:v>7.0545431098550395</c:v>
                </c:pt>
                <c:pt idx="12145">
                  <c:v>6.8647288847669694</c:v>
                </c:pt>
                <c:pt idx="12146">
                  <c:v>5.9072216036479723</c:v>
                </c:pt>
                <c:pt idx="12147">
                  <c:v>4.756835356098871</c:v>
                </c:pt>
                <c:pt idx="12148">
                  <c:v>6.0789303393379654</c:v>
                </c:pt>
                <c:pt idx="12149">
                  <c:v>5.8986208039834143</c:v>
                </c:pt>
                <c:pt idx="12150">
                  <c:v>5.2578150035793216</c:v>
                </c:pt>
                <c:pt idx="12151">
                  <c:v>5.9795868003761061</c:v>
                </c:pt>
                <c:pt idx="12152">
                  <c:v>5.06265289602098</c:v>
                </c:pt>
                <c:pt idx="12153">
                  <c:v>5.0802536836443073</c:v>
                </c:pt>
                <c:pt idx="12154">
                  <c:v>5.0865245572315461</c:v>
                </c:pt>
                <c:pt idx="12155">
                  <c:v>6.9649097608412323</c:v>
                </c:pt>
                <c:pt idx="12156">
                  <c:v>4.9000874973498583</c:v>
                </c:pt>
                <c:pt idx="12157">
                  <c:v>6.0663056705024712</c:v>
                </c:pt>
                <c:pt idx="12158">
                  <c:v>4.0380600015376755</c:v>
                </c:pt>
                <c:pt idx="12159">
                  <c:v>6.0301616068637998</c:v>
                </c:pt>
                <c:pt idx="12160">
                  <c:v>5.0476529779410173</c:v>
                </c:pt>
                <c:pt idx="12161">
                  <c:v>5.9805904111383157</c:v>
                </c:pt>
                <c:pt idx="12162">
                  <c:v>5.1518558981566507</c:v>
                </c:pt>
                <c:pt idx="12163">
                  <c:v>7.0464825634439947</c:v>
                </c:pt>
                <c:pt idx="12164">
                  <c:v>7.0022287306241457</c:v>
                </c:pt>
                <c:pt idx="12165">
                  <c:v>6.1544173204461998</c:v>
                </c:pt>
                <c:pt idx="12166">
                  <c:v>5.9225070891825027</c:v>
                </c:pt>
                <c:pt idx="12167">
                  <c:v>4.9719455190931408</c:v>
                </c:pt>
                <c:pt idx="12168">
                  <c:v>5.0158075896739911</c:v>
                </c:pt>
                <c:pt idx="12169">
                  <c:v>5.8457708367660777</c:v>
                </c:pt>
                <c:pt idx="12170">
                  <c:v>5.0229849062921836</c:v>
                </c:pt>
                <c:pt idx="12171">
                  <c:v>6.1658900191277652</c:v>
                </c:pt>
                <c:pt idx="12172">
                  <c:v>6.068294300377346</c:v>
                </c:pt>
                <c:pt idx="12173">
                  <c:v>5.9350513361815578</c:v>
                </c:pt>
                <c:pt idx="12174">
                  <c:v>6.06487195733704</c:v>
                </c:pt>
                <c:pt idx="12175">
                  <c:v>6.0828843662380869</c:v>
                </c:pt>
                <c:pt idx="12176">
                  <c:v>5.8558115739462924</c:v>
                </c:pt>
                <c:pt idx="12177">
                  <c:v>5.8208616558469624</c:v>
                </c:pt>
                <c:pt idx="12178">
                  <c:v>5.9887129395078817</c:v>
                </c:pt>
                <c:pt idx="12179">
                  <c:v>5.9382598813551972</c:v>
                </c:pt>
                <c:pt idx="12180">
                  <c:v>6.2735380154101579</c:v>
                </c:pt>
                <c:pt idx="12181">
                  <c:v>6.1110473898783058</c:v>
                </c:pt>
                <c:pt idx="12182">
                  <c:v>6.8547814299125802</c:v>
                </c:pt>
                <c:pt idx="12183">
                  <c:v>5.9619548887966083</c:v>
                </c:pt>
                <c:pt idx="12184">
                  <c:v>4.9590690606576926</c:v>
                </c:pt>
                <c:pt idx="12185">
                  <c:v>6.8411327959807995</c:v>
                </c:pt>
                <c:pt idx="12186">
                  <c:v>5.9651089214994073</c:v>
                </c:pt>
                <c:pt idx="12187">
                  <c:v>6.0836778017369202</c:v>
                </c:pt>
                <c:pt idx="12188">
                  <c:v>5.8298022570921733</c:v>
                </c:pt>
                <c:pt idx="12189">
                  <c:v>5.0285769389498176</c:v>
                </c:pt>
                <c:pt idx="12190">
                  <c:v>5.9445962736503812</c:v>
                </c:pt>
                <c:pt idx="12191">
                  <c:v>6.790209606505929</c:v>
                </c:pt>
                <c:pt idx="12192">
                  <c:v>5.9255813859419337</c:v>
                </c:pt>
                <c:pt idx="12193">
                  <c:v>5.9618576129097409</c:v>
                </c:pt>
                <c:pt idx="12194">
                  <c:v>4.9519507716256479</c:v>
                </c:pt>
                <c:pt idx="12195">
                  <c:v>6.8849222671967576</c:v>
                </c:pt>
                <c:pt idx="12196">
                  <c:v>7.0931838932246505</c:v>
                </c:pt>
                <c:pt idx="12197">
                  <c:v>7.1011894664230226</c:v>
                </c:pt>
                <c:pt idx="12198">
                  <c:v>7.0650566523176437</c:v>
                </c:pt>
                <c:pt idx="12199">
                  <c:v>4.9812594205417744</c:v>
                </c:pt>
                <c:pt idx="12200">
                  <c:v>6.0334350313176577</c:v>
                </c:pt>
                <c:pt idx="12201">
                  <c:v>7.1600899736422354</c:v>
                </c:pt>
                <c:pt idx="12202">
                  <c:v>6.0395099695633139</c:v>
                </c:pt>
                <c:pt idx="12203">
                  <c:v>6.8897853237426974</c:v>
                </c:pt>
                <c:pt idx="12204">
                  <c:v>5.8080294341256709</c:v>
                </c:pt>
                <c:pt idx="12205">
                  <c:v>6.0118704528749909</c:v>
                </c:pt>
                <c:pt idx="12206">
                  <c:v>7.0416620399758383</c:v>
                </c:pt>
                <c:pt idx="12207">
                  <c:v>5.9253958675578762</c:v>
                </c:pt>
                <c:pt idx="12208">
                  <c:v>5.1237255274681752</c:v>
                </c:pt>
                <c:pt idx="12209">
                  <c:v>5.8149123851302811</c:v>
                </c:pt>
                <c:pt idx="12210">
                  <c:v>5.9970127225548415</c:v>
                </c:pt>
                <c:pt idx="12211">
                  <c:v>6.0190919543447245</c:v>
                </c:pt>
                <c:pt idx="12212">
                  <c:v>6.1170856655289896</c:v>
                </c:pt>
                <c:pt idx="12213">
                  <c:v>5.0344039695338392</c:v>
                </c:pt>
                <c:pt idx="12214">
                  <c:v>6.1248631170081422</c:v>
                </c:pt>
                <c:pt idx="12215">
                  <c:v>5.973847719925093</c:v>
                </c:pt>
                <c:pt idx="12216">
                  <c:v>6.137588000459294</c:v>
                </c:pt>
                <c:pt idx="12217">
                  <c:v>5.0524407744595186</c:v>
                </c:pt>
                <c:pt idx="12218">
                  <c:v>5.9476563897725425</c:v>
                </c:pt>
                <c:pt idx="12219">
                  <c:v>5.9340087127915888</c:v>
                </c:pt>
                <c:pt idx="12220">
                  <c:v>5.8408091894548013</c:v>
                </c:pt>
                <c:pt idx="12221">
                  <c:v>7.0477661089771688</c:v>
                </c:pt>
                <c:pt idx="12222">
                  <c:v>6.8474648660088784</c:v>
                </c:pt>
                <c:pt idx="12223">
                  <c:v>6.9999192637103693</c:v>
                </c:pt>
                <c:pt idx="12224">
                  <c:v>5.8619270726835326</c:v>
                </c:pt>
                <c:pt idx="12225">
                  <c:v>6.0137603000596824</c:v>
                </c:pt>
                <c:pt idx="12226">
                  <c:v>6.0880839553415083</c:v>
                </c:pt>
                <c:pt idx="12227">
                  <c:v>5.0475194725414312</c:v>
                </c:pt>
                <c:pt idx="12228">
                  <c:v>6.0215633115545248</c:v>
                </c:pt>
                <c:pt idx="12229">
                  <c:v>5.1581631193681261</c:v>
                </c:pt>
                <c:pt idx="12230">
                  <c:v>5.9474107259923139</c:v>
                </c:pt>
                <c:pt idx="12231">
                  <c:v>5.790091181325665</c:v>
                </c:pt>
                <c:pt idx="12232">
                  <c:v>6.1969049921523851</c:v>
                </c:pt>
                <c:pt idx="12233">
                  <c:v>6.077067682413988</c:v>
                </c:pt>
                <c:pt idx="12234">
                  <c:v>6.1015485071795146</c:v>
                </c:pt>
                <c:pt idx="12235">
                  <c:v>5.143368878094587</c:v>
                </c:pt>
                <c:pt idx="12236">
                  <c:v>5.9947932967870683</c:v>
                </c:pt>
                <c:pt idx="12237">
                  <c:v>6.0061142729267365</c:v>
                </c:pt>
                <c:pt idx="12238">
                  <c:v>5.991223825983603</c:v>
                </c:pt>
                <c:pt idx="12239">
                  <c:v>5.015402848136806</c:v>
                </c:pt>
                <c:pt idx="12240">
                  <c:v>5.8041557541726903</c:v>
                </c:pt>
                <c:pt idx="12241">
                  <c:v>5.0959153502629793</c:v>
                </c:pt>
                <c:pt idx="12242">
                  <c:v>5.8039082378063647</c:v>
                </c:pt>
                <c:pt idx="12243">
                  <c:v>5.9544259196827198</c:v>
                </c:pt>
                <c:pt idx="12244">
                  <c:v>8.9697964181873981</c:v>
                </c:pt>
                <c:pt idx="12245">
                  <c:v>8.0327085564418592</c:v>
                </c:pt>
                <c:pt idx="12246">
                  <c:v>4.9344589320427339</c:v>
                </c:pt>
                <c:pt idx="12247">
                  <c:v>6.0593985968063633</c:v>
                </c:pt>
                <c:pt idx="12248">
                  <c:v>1.9369471503582578</c:v>
                </c:pt>
                <c:pt idx="12249">
                  <c:v>5.8785046067998685</c:v>
                </c:pt>
                <c:pt idx="12250">
                  <c:v>5.8559691373964373</c:v>
                </c:pt>
                <c:pt idx="12251">
                  <c:v>5.9853679929706161</c:v>
                </c:pt>
                <c:pt idx="12252">
                  <c:v>5.8321638481219917</c:v>
                </c:pt>
                <c:pt idx="12253">
                  <c:v>5.9787339113470654</c:v>
                </c:pt>
                <c:pt idx="12254">
                  <c:v>6.0571547129514069</c:v>
                </c:pt>
                <c:pt idx="12255">
                  <c:v>6.0850660221061164</c:v>
                </c:pt>
                <c:pt idx="12256">
                  <c:v>5.7494972888722629</c:v>
                </c:pt>
                <c:pt idx="12257">
                  <c:v>5.0051082241391089</c:v>
                </c:pt>
                <c:pt idx="12258">
                  <c:v>6.9878823571347368</c:v>
                </c:pt>
                <c:pt idx="12259">
                  <c:v>5.975148670319725</c:v>
                </c:pt>
                <c:pt idx="12260">
                  <c:v>6.9835031546415749</c:v>
                </c:pt>
                <c:pt idx="12261">
                  <c:v>6.1097537775329229</c:v>
                </c:pt>
                <c:pt idx="12262">
                  <c:v>3.0978333897477532</c:v>
                </c:pt>
                <c:pt idx="12263">
                  <c:v>6.0493386463201162</c:v>
                </c:pt>
                <c:pt idx="12264">
                  <c:v>5.7684594748408919</c:v>
                </c:pt>
                <c:pt idx="12265">
                  <c:v>4.8620110512472507</c:v>
                </c:pt>
                <c:pt idx="12266">
                  <c:v>6.1171974212552689</c:v>
                </c:pt>
                <c:pt idx="12267">
                  <c:v>5.958866779336863</c:v>
                </c:pt>
                <c:pt idx="12268">
                  <c:v>4.8732561734563102</c:v>
                </c:pt>
                <c:pt idx="12269">
                  <c:v>5.0612767937649661</c:v>
                </c:pt>
                <c:pt idx="12270">
                  <c:v>5.9998241432845481</c:v>
                </c:pt>
                <c:pt idx="12271">
                  <c:v>4.8625736123723309</c:v>
                </c:pt>
                <c:pt idx="12272">
                  <c:v>6.020248583097537</c:v>
                </c:pt>
                <c:pt idx="12273">
                  <c:v>5.1194927266030756</c:v>
                </c:pt>
                <c:pt idx="12274">
                  <c:v>6.219820283232778</c:v>
                </c:pt>
                <c:pt idx="12275">
                  <c:v>5.0962522731779023</c:v>
                </c:pt>
                <c:pt idx="12276">
                  <c:v>4.8870757107827867</c:v>
                </c:pt>
                <c:pt idx="12277">
                  <c:v>6.0922160434778014</c:v>
                </c:pt>
                <c:pt idx="12278">
                  <c:v>5.0228766643857705</c:v>
                </c:pt>
                <c:pt idx="12279">
                  <c:v>5.9596683633989542</c:v>
                </c:pt>
                <c:pt idx="12280">
                  <c:v>5.9391291095543375</c:v>
                </c:pt>
                <c:pt idx="12281">
                  <c:v>5.0634108391916612</c:v>
                </c:pt>
                <c:pt idx="12282">
                  <c:v>7.1116165130467053</c:v>
                </c:pt>
                <c:pt idx="12283">
                  <c:v>5.0018967508273144</c:v>
                </c:pt>
                <c:pt idx="12284">
                  <c:v>5.9711941704912741</c:v>
                </c:pt>
                <c:pt idx="12285">
                  <c:v>5.0275657494490078</c:v>
                </c:pt>
                <c:pt idx="12286">
                  <c:v>6.1757670756444565</c:v>
                </c:pt>
                <c:pt idx="12287">
                  <c:v>6.0466869087593986</c:v>
                </c:pt>
                <c:pt idx="12288">
                  <c:v>6.090300167919815</c:v>
                </c:pt>
                <c:pt idx="12289">
                  <c:v>4.9686644158087194</c:v>
                </c:pt>
                <c:pt idx="12290">
                  <c:v>5.8893347966009637</c:v>
                </c:pt>
                <c:pt idx="12291">
                  <c:v>5.9936170845282124</c:v>
                </c:pt>
                <c:pt idx="12292">
                  <c:v>6.9091013117841031</c:v>
                </c:pt>
                <c:pt idx="12293">
                  <c:v>6.7417075635927315</c:v>
                </c:pt>
                <c:pt idx="12294">
                  <c:v>6.0174852280666347</c:v>
                </c:pt>
                <c:pt idx="12295">
                  <c:v>7.1062044201979795</c:v>
                </c:pt>
                <c:pt idx="12296">
                  <c:v>5.9933992272838559</c:v>
                </c:pt>
                <c:pt idx="12297">
                  <c:v>4.777302052541021</c:v>
                </c:pt>
                <c:pt idx="12298">
                  <c:v>5.8681049069772966</c:v>
                </c:pt>
                <c:pt idx="12299">
                  <c:v>5.9673711290265965</c:v>
                </c:pt>
                <c:pt idx="12300">
                  <c:v>5.897958969271536</c:v>
                </c:pt>
                <c:pt idx="12301">
                  <c:v>5.0828388867958854</c:v>
                </c:pt>
                <c:pt idx="12302">
                  <c:v>5.9071168700511167</c:v>
                </c:pt>
                <c:pt idx="12303">
                  <c:v>6.9200953484680845</c:v>
                </c:pt>
                <c:pt idx="12304">
                  <c:v>6.9751928856479282</c:v>
                </c:pt>
                <c:pt idx="12305">
                  <c:v>4.9922789810519621</c:v>
                </c:pt>
                <c:pt idx="12306">
                  <c:v>4.9559688136118787</c:v>
                </c:pt>
                <c:pt idx="12307">
                  <c:v>7.1414785011041788</c:v>
                </c:pt>
                <c:pt idx="12308">
                  <c:v>3.8186399037625778</c:v>
                </c:pt>
                <c:pt idx="12309">
                  <c:v>6.2083630930905498</c:v>
                </c:pt>
                <c:pt idx="12310">
                  <c:v>7.0192547137384711</c:v>
                </c:pt>
                <c:pt idx="12311">
                  <c:v>6.9891707276067487</c:v>
                </c:pt>
                <c:pt idx="12312">
                  <c:v>5.8570218525886162</c:v>
                </c:pt>
                <c:pt idx="12313">
                  <c:v>5.0634564150630457</c:v>
                </c:pt>
                <c:pt idx="12314">
                  <c:v>5.8789527817448972</c:v>
                </c:pt>
                <c:pt idx="12315">
                  <c:v>5.9339788885420468</c:v>
                </c:pt>
                <c:pt idx="12316">
                  <c:v>5.0393853381827913</c:v>
                </c:pt>
                <c:pt idx="12317">
                  <c:v>5.9592633245556073</c:v>
                </c:pt>
                <c:pt idx="12318">
                  <c:v>5.1202836796287245</c:v>
                </c:pt>
                <c:pt idx="12319">
                  <c:v>6.0479919437258411</c:v>
                </c:pt>
                <c:pt idx="12320">
                  <c:v>5.0075060588772544</c:v>
                </c:pt>
                <c:pt idx="12321">
                  <c:v>5.1848955912170576</c:v>
                </c:pt>
                <c:pt idx="12322">
                  <c:v>5.0642954412111845</c:v>
                </c:pt>
                <c:pt idx="12323">
                  <c:v>6.8987887664402834</c:v>
                </c:pt>
                <c:pt idx="12324">
                  <c:v>4.9116047575540396</c:v>
                </c:pt>
                <c:pt idx="12325">
                  <c:v>5.002423110305287</c:v>
                </c:pt>
                <c:pt idx="12326">
                  <c:v>5.1399859180145739</c:v>
                </c:pt>
                <c:pt idx="12327">
                  <c:v>5.0858363155121165</c:v>
                </c:pt>
                <c:pt idx="12328">
                  <c:v>6.0135189843913812</c:v>
                </c:pt>
                <c:pt idx="12329">
                  <c:v>4.9959232005116485</c:v>
                </c:pt>
                <c:pt idx="12330">
                  <c:v>5.9280280264670973</c:v>
                </c:pt>
                <c:pt idx="12331">
                  <c:v>4.8683197736206862</c:v>
                </c:pt>
                <c:pt idx="12332">
                  <c:v>5.0242818941648153</c:v>
                </c:pt>
                <c:pt idx="12333">
                  <c:v>5.0033055123421146</c:v>
                </c:pt>
                <c:pt idx="12334">
                  <c:v>6.0268423260209758</c:v>
                </c:pt>
                <c:pt idx="12335">
                  <c:v>5.0280330247633929</c:v>
                </c:pt>
                <c:pt idx="12336">
                  <c:v>5.3183378979566474</c:v>
                </c:pt>
                <c:pt idx="12337">
                  <c:v>4.9082061476020336</c:v>
                </c:pt>
                <c:pt idx="12338">
                  <c:v>4.851402618837759</c:v>
                </c:pt>
                <c:pt idx="12339">
                  <c:v>5.8912917542920376</c:v>
                </c:pt>
                <c:pt idx="12340">
                  <c:v>4.9523704473599066</c:v>
                </c:pt>
                <c:pt idx="12341">
                  <c:v>6.0170897304388857</c:v>
                </c:pt>
                <c:pt idx="12342">
                  <c:v>4.804206151904963</c:v>
                </c:pt>
                <c:pt idx="12343">
                  <c:v>6.0129499545422478</c:v>
                </c:pt>
                <c:pt idx="12344">
                  <c:v>4.9883721754583448</c:v>
                </c:pt>
                <c:pt idx="12345">
                  <c:v>7.0996820051636913</c:v>
                </c:pt>
                <c:pt idx="12346">
                  <c:v>5.9746314472981119</c:v>
                </c:pt>
                <c:pt idx="12347">
                  <c:v>5.0017324470976279</c:v>
                </c:pt>
                <c:pt idx="12348">
                  <c:v>4.1981168016853925</c:v>
                </c:pt>
                <c:pt idx="12349">
                  <c:v>6.124653731773587</c:v>
                </c:pt>
                <c:pt idx="12350">
                  <c:v>6.0140874550958934</c:v>
                </c:pt>
                <c:pt idx="12351">
                  <c:v>5.0166976553968752</c:v>
                </c:pt>
                <c:pt idx="12352">
                  <c:v>6.0975407928351375</c:v>
                </c:pt>
                <c:pt idx="12353">
                  <c:v>5.879272019711931</c:v>
                </c:pt>
                <c:pt idx="12354">
                  <c:v>6.2479484844326443</c:v>
                </c:pt>
                <c:pt idx="12355">
                  <c:v>6.0033623575380215</c:v>
                </c:pt>
                <c:pt idx="12356">
                  <c:v>6.0974092693720481</c:v>
                </c:pt>
                <c:pt idx="12357">
                  <c:v>6.0327838525557373</c:v>
                </c:pt>
                <c:pt idx="12358">
                  <c:v>6.0225066501306985</c:v>
                </c:pt>
                <c:pt idx="12359">
                  <c:v>5.1058538524096271</c:v>
                </c:pt>
                <c:pt idx="12360">
                  <c:v>4.9208119564868031</c:v>
                </c:pt>
                <c:pt idx="12361">
                  <c:v>5.1981074837677141</c:v>
                </c:pt>
                <c:pt idx="12362">
                  <c:v>5.0199067993409399</c:v>
                </c:pt>
                <c:pt idx="12363">
                  <c:v>5.0778023718654683</c:v>
                </c:pt>
                <c:pt idx="12364">
                  <c:v>6.0024932440738095</c:v>
                </c:pt>
                <c:pt idx="12365">
                  <c:v>5.0180238004589466</c:v>
                </c:pt>
                <c:pt idx="12366">
                  <c:v>6.0431528106325212</c:v>
                </c:pt>
                <c:pt idx="12367">
                  <c:v>6.0272941587928335</c:v>
                </c:pt>
                <c:pt idx="12368">
                  <c:v>5.8850185161792385</c:v>
                </c:pt>
                <c:pt idx="12369">
                  <c:v>5.9963141522678978</c:v>
                </c:pt>
                <c:pt idx="12370">
                  <c:v>6.0386362091673176</c:v>
                </c:pt>
                <c:pt idx="12371">
                  <c:v>5.9051101448748344</c:v>
                </c:pt>
                <c:pt idx="12372">
                  <c:v>5.1526174079907516</c:v>
                </c:pt>
                <c:pt idx="12373">
                  <c:v>6.1465264522958822</c:v>
                </c:pt>
                <c:pt idx="12374">
                  <c:v>5.9603325241000116</c:v>
                </c:pt>
                <c:pt idx="12375">
                  <c:v>4.9957224428232783</c:v>
                </c:pt>
                <c:pt idx="12376">
                  <c:v>5.8482790120143004</c:v>
                </c:pt>
                <c:pt idx="12377">
                  <c:v>4.9385480652099689</c:v>
                </c:pt>
                <c:pt idx="12378">
                  <c:v>5.9763986325793859</c:v>
                </c:pt>
                <c:pt idx="12379">
                  <c:v>6.0520601196750654</c:v>
                </c:pt>
                <c:pt idx="12380">
                  <c:v>7.1069613757301626</c:v>
                </c:pt>
                <c:pt idx="12381">
                  <c:v>5.0068926707346142</c:v>
                </c:pt>
                <c:pt idx="12382">
                  <c:v>6.0263142831136882</c:v>
                </c:pt>
                <c:pt idx="12383">
                  <c:v>5.984989434329461</c:v>
                </c:pt>
                <c:pt idx="12384">
                  <c:v>6.0236589831550624</c:v>
                </c:pt>
                <c:pt idx="12385">
                  <c:v>6.0655918780057654</c:v>
                </c:pt>
                <c:pt idx="12386">
                  <c:v>6.9578662324070537</c:v>
                </c:pt>
                <c:pt idx="12387">
                  <c:v>5.9981034745063795</c:v>
                </c:pt>
                <c:pt idx="12388">
                  <c:v>6.9445883179823813</c:v>
                </c:pt>
                <c:pt idx="12389">
                  <c:v>5.8698540800718861</c:v>
                </c:pt>
                <c:pt idx="12390">
                  <c:v>6.1359989570357962</c:v>
                </c:pt>
                <c:pt idx="12391">
                  <c:v>5.9567679891124659</c:v>
                </c:pt>
                <c:pt idx="12392">
                  <c:v>4.8334318355260599</c:v>
                </c:pt>
                <c:pt idx="12393">
                  <c:v>6.8444216249541112</c:v>
                </c:pt>
                <c:pt idx="12394">
                  <c:v>6.018963244347054</c:v>
                </c:pt>
                <c:pt idx="12395">
                  <c:v>6.0380304480649389</c:v>
                </c:pt>
                <c:pt idx="12396">
                  <c:v>6.9213604863486333</c:v>
                </c:pt>
                <c:pt idx="12397">
                  <c:v>5.9584260901135968</c:v>
                </c:pt>
                <c:pt idx="12398">
                  <c:v>6.0111142396596948</c:v>
                </c:pt>
                <c:pt idx="12399">
                  <c:v>4.8435305267248392</c:v>
                </c:pt>
                <c:pt idx="12400">
                  <c:v>5.9883404000983287</c:v>
                </c:pt>
                <c:pt idx="12401">
                  <c:v>5.8247419149032584</c:v>
                </c:pt>
                <c:pt idx="12402">
                  <c:v>5.9082399799507304</c:v>
                </c:pt>
                <c:pt idx="12403">
                  <c:v>5.9660905013998855</c:v>
                </c:pt>
                <c:pt idx="12404">
                  <c:v>7.032496402379194</c:v>
                </c:pt>
                <c:pt idx="12405">
                  <c:v>5.9735864064307949</c:v>
                </c:pt>
                <c:pt idx="12406">
                  <c:v>6.9715724023164336</c:v>
                </c:pt>
                <c:pt idx="12407">
                  <c:v>6.0764756371132718</c:v>
                </c:pt>
                <c:pt idx="12408">
                  <c:v>6.0215945279159522</c:v>
                </c:pt>
                <c:pt idx="12409">
                  <c:v>4.9493748356535701</c:v>
                </c:pt>
                <c:pt idx="12410">
                  <c:v>5.8941440970709902</c:v>
                </c:pt>
                <c:pt idx="12411">
                  <c:v>6.1437097792289865</c:v>
                </c:pt>
                <c:pt idx="12412">
                  <c:v>6.1426867924105819</c:v>
                </c:pt>
                <c:pt idx="12413">
                  <c:v>6.0168249700843175</c:v>
                </c:pt>
                <c:pt idx="12414">
                  <c:v>6.0629232743246844</c:v>
                </c:pt>
                <c:pt idx="12415">
                  <c:v>6.0535033744676321</c:v>
                </c:pt>
                <c:pt idx="12416">
                  <c:v>6.0580487112256129</c:v>
                </c:pt>
                <c:pt idx="12417">
                  <c:v>5.7662145259117024</c:v>
                </c:pt>
                <c:pt idx="12418">
                  <c:v>6.131084846700622</c:v>
                </c:pt>
                <c:pt idx="12419">
                  <c:v>5.8711834840976111</c:v>
                </c:pt>
                <c:pt idx="12420">
                  <c:v>7.0677205881458347</c:v>
                </c:pt>
                <c:pt idx="12421">
                  <c:v>6.0259738804093725</c:v>
                </c:pt>
                <c:pt idx="12422">
                  <c:v>5.9094912257137695</c:v>
                </c:pt>
                <c:pt idx="12423">
                  <c:v>5.8567226232068794</c:v>
                </c:pt>
                <c:pt idx="12424">
                  <c:v>6.1275615223941138</c:v>
                </c:pt>
                <c:pt idx="12425">
                  <c:v>5.9700291983964489</c:v>
                </c:pt>
                <c:pt idx="12426">
                  <c:v>5.8757550733487349</c:v>
                </c:pt>
                <c:pt idx="12427">
                  <c:v>6.0238955785364254</c:v>
                </c:pt>
                <c:pt idx="12428">
                  <c:v>6.8593787374901227</c:v>
                </c:pt>
                <c:pt idx="12429">
                  <c:v>6.0022244570501631</c:v>
                </c:pt>
                <c:pt idx="12430">
                  <c:v>7.1869129293068728</c:v>
                </c:pt>
                <c:pt idx="12431">
                  <c:v>5.8958324824606558</c:v>
                </c:pt>
                <c:pt idx="12432">
                  <c:v>6.0741282445414519</c:v>
                </c:pt>
                <c:pt idx="12433">
                  <c:v>5.825252297726685</c:v>
                </c:pt>
                <c:pt idx="12434">
                  <c:v>5.0855530740869481</c:v>
                </c:pt>
                <c:pt idx="12435">
                  <c:v>3.8269730225027225</c:v>
                </c:pt>
                <c:pt idx="12436">
                  <c:v>6.0678095234678739</c:v>
                </c:pt>
                <c:pt idx="12437">
                  <c:v>4.1756300779893341</c:v>
                </c:pt>
                <c:pt idx="12438">
                  <c:v>5.9112141512277709</c:v>
                </c:pt>
                <c:pt idx="12439">
                  <c:v>6.0948923086311195</c:v>
                </c:pt>
                <c:pt idx="12440">
                  <c:v>5.1256538909121234</c:v>
                </c:pt>
                <c:pt idx="12441">
                  <c:v>6.0810546802003671</c:v>
                </c:pt>
                <c:pt idx="12442">
                  <c:v>4.0795317467708765</c:v>
                </c:pt>
                <c:pt idx="12443">
                  <c:v>6.050066713136248</c:v>
                </c:pt>
                <c:pt idx="12444">
                  <c:v>6.0775429022280676</c:v>
                </c:pt>
                <c:pt idx="12445">
                  <c:v>6.0220228506930287</c:v>
                </c:pt>
                <c:pt idx="12446">
                  <c:v>6.1116734405239468</c:v>
                </c:pt>
                <c:pt idx="12447">
                  <c:v>7.0359037564182092</c:v>
                </c:pt>
                <c:pt idx="12448">
                  <c:v>4.8417474555848914</c:v>
                </c:pt>
                <c:pt idx="12449">
                  <c:v>6.205809831771707</c:v>
                </c:pt>
                <c:pt idx="12450">
                  <c:v>7.0677875264616583</c:v>
                </c:pt>
                <c:pt idx="12451">
                  <c:v>5.9346433587132399</c:v>
                </c:pt>
                <c:pt idx="12452">
                  <c:v>5.018100837800926</c:v>
                </c:pt>
                <c:pt idx="12453">
                  <c:v>6.0757487553870879</c:v>
                </c:pt>
                <c:pt idx="12454">
                  <c:v>6.06170407715544</c:v>
                </c:pt>
                <c:pt idx="12455">
                  <c:v>6.0500880466007665</c:v>
                </c:pt>
                <c:pt idx="12456">
                  <c:v>5.990543945346559</c:v>
                </c:pt>
                <c:pt idx="12457">
                  <c:v>3.8404232916354863</c:v>
                </c:pt>
                <c:pt idx="12458">
                  <c:v>6.9079131313399573</c:v>
                </c:pt>
                <c:pt idx="12459">
                  <c:v>5.9970751259004258</c:v>
                </c:pt>
                <c:pt idx="12460">
                  <c:v>6.9595786925820962</c:v>
                </c:pt>
                <c:pt idx="12461">
                  <c:v>6.1267719536005405</c:v>
                </c:pt>
                <c:pt idx="12462">
                  <c:v>4.8655516512264008</c:v>
                </c:pt>
                <c:pt idx="12463">
                  <c:v>5.9854568875558831</c:v>
                </c:pt>
                <c:pt idx="12464">
                  <c:v>5.9192379401195394</c:v>
                </c:pt>
                <c:pt idx="12465">
                  <c:v>5.9642565371848901</c:v>
                </c:pt>
                <c:pt idx="12466">
                  <c:v>7.2506500577139015</c:v>
                </c:pt>
                <c:pt idx="12467">
                  <c:v>5.981351942958776</c:v>
                </c:pt>
                <c:pt idx="12468">
                  <c:v>5.0143956607034035</c:v>
                </c:pt>
                <c:pt idx="12469">
                  <c:v>6.9843231967671464</c:v>
                </c:pt>
                <c:pt idx="12470">
                  <c:v>5.0503812545813958</c:v>
                </c:pt>
                <c:pt idx="12471">
                  <c:v>4.9370131918513929</c:v>
                </c:pt>
                <c:pt idx="12472">
                  <c:v>5.9315808380246819</c:v>
                </c:pt>
                <c:pt idx="12473">
                  <c:v>5.9450560557607037</c:v>
                </c:pt>
                <c:pt idx="12474">
                  <c:v>6.9842800642512426</c:v>
                </c:pt>
                <c:pt idx="12475">
                  <c:v>6.9620292719386994</c:v>
                </c:pt>
                <c:pt idx="12476">
                  <c:v>6.0870061011120562</c:v>
                </c:pt>
                <c:pt idx="12477">
                  <c:v>4.9536406278191745</c:v>
                </c:pt>
                <c:pt idx="12478">
                  <c:v>5.9772186023648741</c:v>
                </c:pt>
                <c:pt idx="12479">
                  <c:v>6.9315125071804111</c:v>
                </c:pt>
                <c:pt idx="12480">
                  <c:v>6.0847438775694824</c:v>
                </c:pt>
                <c:pt idx="12481">
                  <c:v>5.9726849031352156</c:v>
                </c:pt>
                <c:pt idx="12482">
                  <c:v>7.0942791212587295</c:v>
                </c:pt>
                <c:pt idx="12483">
                  <c:v>6.9301045142268096</c:v>
                </c:pt>
                <c:pt idx="12484">
                  <c:v>4.9603410520520992</c:v>
                </c:pt>
                <c:pt idx="12485">
                  <c:v>5.9159489532764189</c:v>
                </c:pt>
                <c:pt idx="12486">
                  <c:v>7.0573888721046574</c:v>
                </c:pt>
                <c:pt idx="12487">
                  <c:v>5.9069732564007253</c:v>
                </c:pt>
                <c:pt idx="12488">
                  <c:v>4.9909118611068637</c:v>
                </c:pt>
                <c:pt idx="12489">
                  <c:v>4.8657084333300729</c:v>
                </c:pt>
                <c:pt idx="12490">
                  <c:v>7.1383629276669502</c:v>
                </c:pt>
                <c:pt idx="12491">
                  <c:v>5.9700854820467173</c:v>
                </c:pt>
                <c:pt idx="12492">
                  <c:v>5.9333495261469427</c:v>
                </c:pt>
                <c:pt idx="12493">
                  <c:v>6.9836965705761784</c:v>
                </c:pt>
                <c:pt idx="12494">
                  <c:v>6.0201124368195789</c:v>
                </c:pt>
                <c:pt idx="12495">
                  <c:v>7.0187883969785014</c:v>
                </c:pt>
                <c:pt idx="12496">
                  <c:v>6.1348928208380489</c:v>
                </c:pt>
                <c:pt idx="12497">
                  <c:v>5.8162807930870599</c:v>
                </c:pt>
                <c:pt idx="12498">
                  <c:v>7.0977451739077448</c:v>
                </c:pt>
                <c:pt idx="12499">
                  <c:v>6.1112436907175089</c:v>
                </c:pt>
                <c:pt idx="12500">
                  <c:v>7.0341902754338372</c:v>
                </c:pt>
                <c:pt idx="12501">
                  <c:v>7.0717192205019526</c:v>
                </c:pt>
                <c:pt idx="12502">
                  <c:v>6.9888494295636141</c:v>
                </c:pt>
                <c:pt idx="12503">
                  <c:v>5.9488457455572936</c:v>
                </c:pt>
                <c:pt idx="12504">
                  <c:v>6.8926288128118705</c:v>
                </c:pt>
                <c:pt idx="12505">
                  <c:v>6.7914553202174535</c:v>
                </c:pt>
                <c:pt idx="12506">
                  <c:v>6.9291520150946821</c:v>
                </c:pt>
                <c:pt idx="12507">
                  <c:v>5.9970985038957636</c:v>
                </c:pt>
                <c:pt idx="12508">
                  <c:v>6.1049183312270401</c:v>
                </c:pt>
                <c:pt idx="12509">
                  <c:v>3.9263915675200498</c:v>
                </c:pt>
                <c:pt idx="12510">
                  <c:v>6.0337959120350781</c:v>
                </c:pt>
                <c:pt idx="12511">
                  <c:v>6.8895703700418647</c:v>
                </c:pt>
                <c:pt idx="12512">
                  <c:v>7.1621296140667488</c:v>
                </c:pt>
                <c:pt idx="12513">
                  <c:v>6.9996457502806342</c:v>
                </c:pt>
                <c:pt idx="12514">
                  <c:v>3.0533032506038471</c:v>
                </c:pt>
                <c:pt idx="12515">
                  <c:v>6.1417582254162131</c:v>
                </c:pt>
                <c:pt idx="12516">
                  <c:v>7.0449373209042241</c:v>
                </c:pt>
                <c:pt idx="12517">
                  <c:v>6.9521504808440655</c:v>
                </c:pt>
                <c:pt idx="12518">
                  <c:v>5.0183721449420862</c:v>
                </c:pt>
                <c:pt idx="12519">
                  <c:v>6.0781998100523777</c:v>
                </c:pt>
                <c:pt idx="12520">
                  <c:v>5.951734599251929</c:v>
                </c:pt>
                <c:pt idx="12521">
                  <c:v>6.0560543707897958</c:v>
                </c:pt>
                <c:pt idx="12522">
                  <c:v>4.8561330856166993</c:v>
                </c:pt>
                <c:pt idx="12523">
                  <c:v>5.9345603951306929</c:v>
                </c:pt>
                <c:pt idx="12524">
                  <c:v>6.7978689691471468</c:v>
                </c:pt>
                <c:pt idx="12525">
                  <c:v>6.0625436628862897</c:v>
                </c:pt>
                <c:pt idx="12526">
                  <c:v>4.9827217773634604</c:v>
                </c:pt>
                <c:pt idx="12527">
                  <c:v>6.0304847131003747</c:v>
                </c:pt>
                <c:pt idx="12528">
                  <c:v>5.8650973291304567</c:v>
                </c:pt>
                <c:pt idx="12529">
                  <c:v>5.0700090580334694</c:v>
                </c:pt>
                <c:pt idx="12530">
                  <c:v>5.8726949925297216</c:v>
                </c:pt>
                <c:pt idx="12531">
                  <c:v>5.0330976817454465</c:v>
                </c:pt>
                <c:pt idx="12532">
                  <c:v>5.0407771863918605</c:v>
                </c:pt>
                <c:pt idx="12533">
                  <c:v>6.1104729271173044</c:v>
                </c:pt>
                <c:pt idx="12534">
                  <c:v>5.9106466146923822</c:v>
                </c:pt>
                <c:pt idx="12535">
                  <c:v>6.1608241847917808</c:v>
                </c:pt>
                <c:pt idx="12536">
                  <c:v>6.053590674879036</c:v>
                </c:pt>
                <c:pt idx="12537">
                  <c:v>6.9282250794592386</c:v>
                </c:pt>
                <c:pt idx="12538">
                  <c:v>6.0769938977058642</c:v>
                </c:pt>
                <c:pt idx="12539">
                  <c:v>5.8905298693693116</c:v>
                </c:pt>
                <c:pt idx="12540">
                  <c:v>6.0059675197137379</c:v>
                </c:pt>
                <c:pt idx="12541">
                  <c:v>6.0945529847674083</c:v>
                </c:pt>
                <c:pt idx="12542">
                  <c:v>1.9444771351321299</c:v>
                </c:pt>
                <c:pt idx="12543">
                  <c:v>5.8366687187289923</c:v>
                </c:pt>
                <c:pt idx="12544">
                  <c:v>6.3239402387660668</c:v>
                </c:pt>
                <c:pt idx="12545">
                  <c:v>6.9774121344182944</c:v>
                </c:pt>
                <c:pt idx="12546">
                  <c:v>5.0667000266821436</c:v>
                </c:pt>
                <c:pt idx="12547">
                  <c:v>5.9626460912327595</c:v>
                </c:pt>
                <c:pt idx="12548">
                  <c:v>7.1693857186145395</c:v>
                </c:pt>
                <c:pt idx="12549">
                  <c:v>6.0277078134265585</c:v>
                </c:pt>
                <c:pt idx="12550">
                  <c:v>6.0962296961757048</c:v>
                </c:pt>
                <c:pt idx="12551">
                  <c:v>5.8800630745036582</c:v>
                </c:pt>
                <c:pt idx="12552">
                  <c:v>6.1372102193592921</c:v>
                </c:pt>
                <c:pt idx="12553">
                  <c:v>6.8764704747095093</c:v>
                </c:pt>
                <c:pt idx="12554">
                  <c:v>2.1861048549222044</c:v>
                </c:pt>
                <c:pt idx="12555">
                  <c:v>5.9952060671323588</c:v>
                </c:pt>
                <c:pt idx="12556">
                  <c:v>6.0193470672033076</c:v>
                </c:pt>
                <c:pt idx="12557">
                  <c:v>4.9791072779773966</c:v>
                </c:pt>
                <c:pt idx="12558">
                  <c:v>5.9737174766364207</c:v>
                </c:pt>
                <c:pt idx="12559">
                  <c:v>6.1195493719708294</c:v>
                </c:pt>
                <c:pt idx="12560">
                  <c:v>5.8956641511202061</c:v>
                </c:pt>
                <c:pt idx="12561">
                  <c:v>5.8325529377932384</c:v>
                </c:pt>
                <c:pt idx="12562">
                  <c:v>6.0621872556309091</c:v>
                </c:pt>
                <c:pt idx="12563">
                  <c:v>5.8561129542094719</c:v>
                </c:pt>
                <c:pt idx="12564">
                  <c:v>6.2943603292040136</c:v>
                </c:pt>
                <c:pt idx="12565">
                  <c:v>6.0034051585482171</c:v>
                </c:pt>
                <c:pt idx="12566">
                  <c:v>6.1559974934685027</c:v>
                </c:pt>
                <c:pt idx="12567">
                  <c:v>5.8672310118208362</c:v>
                </c:pt>
                <c:pt idx="12568">
                  <c:v>5.9401591770838706</c:v>
                </c:pt>
                <c:pt idx="12569">
                  <c:v>5.963079742083278</c:v>
                </c:pt>
                <c:pt idx="12570">
                  <c:v>5.0078945950724485</c:v>
                </c:pt>
                <c:pt idx="12571">
                  <c:v>6.0177430336588911</c:v>
                </c:pt>
                <c:pt idx="12572">
                  <c:v>4.880816111180037</c:v>
                </c:pt>
                <c:pt idx="12573">
                  <c:v>6.0248796949304477</c:v>
                </c:pt>
                <c:pt idx="12574">
                  <c:v>5.0280860738682147</c:v>
                </c:pt>
                <c:pt idx="12575">
                  <c:v>6.9729959159643364</c:v>
                </c:pt>
                <c:pt idx="12576">
                  <c:v>5.9896893789371788</c:v>
                </c:pt>
                <c:pt idx="12577">
                  <c:v>6.0906777505212988</c:v>
                </c:pt>
                <c:pt idx="12578">
                  <c:v>6.7371432976861314</c:v>
                </c:pt>
                <c:pt idx="12579">
                  <c:v>5.9307173656251528</c:v>
                </c:pt>
                <c:pt idx="12580">
                  <c:v>6.1708736857354864</c:v>
                </c:pt>
                <c:pt idx="12581">
                  <c:v>5.886813209769536</c:v>
                </c:pt>
                <c:pt idx="12582">
                  <c:v>5.9363015073802483</c:v>
                </c:pt>
                <c:pt idx="12583">
                  <c:v>6.0676692180464959</c:v>
                </c:pt>
                <c:pt idx="12584">
                  <c:v>5.9195732702292894</c:v>
                </c:pt>
                <c:pt idx="12585">
                  <c:v>5.8612206181971001</c:v>
                </c:pt>
                <c:pt idx="12586">
                  <c:v>5.8386580435757454</c:v>
                </c:pt>
                <c:pt idx="12587">
                  <c:v>6.0149330780596779</c:v>
                </c:pt>
                <c:pt idx="12588">
                  <c:v>6.0162980490043898</c:v>
                </c:pt>
                <c:pt idx="12589">
                  <c:v>6.0559946862119078</c:v>
                </c:pt>
                <c:pt idx="12590">
                  <c:v>5.7993783812223958</c:v>
                </c:pt>
                <c:pt idx="12591">
                  <c:v>6.9525935120704085</c:v>
                </c:pt>
                <c:pt idx="12592">
                  <c:v>4.0752358930515822</c:v>
                </c:pt>
                <c:pt idx="12593">
                  <c:v>5.8467269325469031</c:v>
                </c:pt>
                <c:pt idx="12594">
                  <c:v>5.9021736357879888</c:v>
                </c:pt>
                <c:pt idx="12595">
                  <c:v>6.0787814333319101</c:v>
                </c:pt>
                <c:pt idx="12596">
                  <c:v>6.1103340432458522</c:v>
                </c:pt>
                <c:pt idx="12597">
                  <c:v>6.1158979986223452</c:v>
                </c:pt>
                <c:pt idx="12598">
                  <c:v>5.9546514695331938</c:v>
                </c:pt>
                <c:pt idx="12599">
                  <c:v>5.9387889620214356</c:v>
                </c:pt>
                <c:pt idx="12600">
                  <c:v>5.8591793943855697</c:v>
                </c:pt>
                <c:pt idx="12601">
                  <c:v>5.9755095795865341</c:v>
                </c:pt>
                <c:pt idx="12602">
                  <c:v>5.8776707030901427</c:v>
                </c:pt>
                <c:pt idx="12603">
                  <c:v>6.139659592453194</c:v>
                </c:pt>
                <c:pt idx="12604">
                  <c:v>6.9618562786093001</c:v>
                </c:pt>
                <c:pt idx="12605">
                  <c:v>5.9980262127018298</c:v>
                </c:pt>
                <c:pt idx="12606">
                  <c:v>6.0449834867042682</c:v>
                </c:pt>
                <c:pt idx="12607">
                  <c:v>6.9241699756238244</c:v>
                </c:pt>
                <c:pt idx="12608">
                  <c:v>6.0626676041726437</c:v>
                </c:pt>
                <c:pt idx="12609">
                  <c:v>5.8310983186727077</c:v>
                </c:pt>
                <c:pt idx="12610">
                  <c:v>5.8499801302425558</c:v>
                </c:pt>
                <c:pt idx="12611">
                  <c:v>5.8863490289588665</c:v>
                </c:pt>
                <c:pt idx="12612">
                  <c:v>6.1936783741300587</c:v>
                </c:pt>
                <c:pt idx="12613">
                  <c:v>5.9932773660295178</c:v>
                </c:pt>
                <c:pt idx="12614">
                  <c:v>6.0080804099803986</c:v>
                </c:pt>
                <c:pt idx="12615">
                  <c:v>6.0561149795766509</c:v>
                </c:pt>
                <c:pt idx="12616">
                  <c:v>6.1358861914006777</c:v>
                </c:pt>
                <c:pt idx="12617">
                  <c:v>5.8826563055667709</c:v>
                </c:pt>
                <c:pt idx="12618">
                  <c:v>6.0204089434773467</c:v>
                </c:pt>
                <c:pt idx="12619">
                  <c:v>6.1203960890602129</c:v>
                </c:pt>
                <c:pt idx="12620">
                  <c:v>6.6696032514314787</c:v>
                </c:pt>
                <c:pt idx="12621">
                  <c:v>6.0822771785007106</c:v>
                </c:pt>
                <c:pt idx="12622">
                  <c:v>6.1773772275438308</c:v>
                </c:pt>
                <c:pt idx="12623">
                  <c:v>6.7976880761366356</c:v>
                </c:pt>
                <c:pt idx="12624">
                  <c:v>3.0269737410496664</c:v>
                </c:pt>
                <c:pt idx="12625">
                  <c:v>7.0786278353117726</c:v>
                </c:pt>
                <c:pt idx="12626">
                  <c:v>6.1515952184995637</c:v>
                </c:pt>
                <c:pt idx="12627">
                  <c:v>7.0265679740663947</c:v>
                </c:pt>
                <c:pt idx="12628">
                  <c:v>5.997413032325615</c:v>
                </c:pt>
                <c:pt idx="12629">
                  <c:v>5.8477492433427978</c:v>
                </c:pt>
                <c:pt idx="12630">
                  <c:v>6.0285402314796848</c:v>
                </c:pt>
                <c:pt idx="12631">
                  <c:v>5.8869408892892601</c:v>
                </c:pt>
                <c:pt idx="12632">
                  <c:v>6.0192069697734629</c:v>
                </c:pt>
                <c:pt idx="12633">
                  <c:v>6.0950656526248608</c:v>
                </c:pt>
                <c:pt idx="12634">
                  <c:v>5.8895283755333745</c:v>
                </c:pt>
                <c:pt idx="12635">
                  <c:v>6.1067655015510747</c:v>
                </c:pt>
                <c:pt idx="12636">
                  <c:v>6.0438264812721165</c:v>
                </c:pt>
                <c:pt idx="12637">
                  <c:v>6.0919549088735314</c:v>
                </c:pt>
                <c:pt idx="12638">
                  <c:v>6.1128436437886009</c:v>
                </c:pt>
                <c:pt idx="12639">
                  <c:v>6.0371399707814559</c:v>
                </c:pt>
                <c:pt idx="12640">
                  <c:v>6.154492464412364</c:v>
                </c:pt>
                <c:pt idx="12641">
                  <c:v>5.9552051720499311</c:v>
                </c:pt>
                <c:pt idx="12642">
                  <c:v>6.0676362667105428</c:v>
                </c:pt>
                <c:pt idx="12643">
                  <c:v>5.9802761376342213</c:v>
                </c:pt>
                <c:pt idx="12644">
                  <c:v>5.0629710207567724</c:v>
                </c:pt>
                <c:pt idx="12645">
                  <c:v>6.1565268765005046</c:v>
                </c:pt>
                <c:pt idx="12646">
                  <c:v>6.0303720260529543</c:v>
                </c:pt>
                <c:pt idx="12647">
                  <c:v>6.9732326524726664</c:v>
                </c:pt>
                <c:pt idx="12648">
                  <c:v>6.9356138594164145</c:v>
                </c:pt>
                <c:pt idx="12649">
                  <c:v>5.8663647406681454</c:v>
                </c:pt>
                <c:pt idx="12650">
                  <c:v>6.1123683699984701</c:v>
                </c:pt>
                <c:pt idx="12651">
                  <c:v>5.0002850993163523</c:v>
                </c:pt>
                <c:pt idx="12652">
                  <c:v>4.017703542072744</c:v>
                </c:pt>
                <c:pt idx="12653">
                  <c:v>3.9222297218111644</c:v>
                </c:pt>
                <c:pt idx="12654">
                  <c:v>5.897116104167238</c:v>
                </c:pt>
                <c:pt idx="12655">
                  <c:v>7.1644864234994179</c:v>
                </c:pt>
                <c:pt idx="12656">
                  <c:v>5.0736765198485765</c:v>
                </c:pt>
                <c:pt idx="12657">
                  <c:v>6.0452188367573312</c:v>
                </c:pt>
                <c:pt idx="12658">
                  <c:v>6.0642173820719432</c:v>
                </c:pt>
                <c:pt idx="12659">
                  <c:v>5.004812211522875</c:v>
                </c:pt>
                <c:pt idx="12660">
                  <c:v>5.0918384348814021</c:v>
                </c:pt>
                <c:pt idx="12661">
                  <c:v>5.9177658302905156</c:v>
                </c:pt>
                <c:pt idx="12662">
                  <c:v>4.9452411259560112</c:v>
                </c:pt>
                <c:pt idx="12663">
                  <c:v>6.1157249052648259</c:v>
                </c:pt>
                <c:pt idx="12664">
                  <c:v>6.0320558279728518</c:v>
                </c:pt>
                <c:pt idx="12665">
                  <c:v>4.9386415199736415</c:v>
                </c:pt>
                <c:pt idx="12666">
                  <c:v>5.943723422475558</c:v>
                </c:pt>
                <c:pt idx="12667">
                  <c:v>7.0692576016358393</c:v>
                </c:pt>
                <c:pt idx="12668">
                  <c:v>5.9673659061460951</c:v>
                </c:pt>
                <c:pt idx="12669">
                  <c:v>6.9755155566703078</c:v>
                </c:pt>
                <c:pt idx="12670">
                  <c:v>4.872169731235295</c:v>
                </c:pt>
                <c:pt idx="12671">
                  <c:v>4.9348931735159116</c:v>
                </c:pt>
                <c:pt idx="12672">
                  <c:v>5.98026771911948</c:v>
                </c:pt>
                <c:pt idx="12673">
                  <c:v>6.0657782694687015</c:v>
                </c:pt>
                <c:pt idx="12674">
                  <c:v>5.1181897551515405</c:v>
                </c:pt>
                <c:pt idx="12675">
                  <c:v>6.0734669709654598</c:v>
                </c:pt>
                <c:pt idx="12676">
                  <c:v>6.122984246826654</c:v>
                </c:pt>
                <c:pt idx="12677">
                  <c:v>5.9095423077091827</c:v>
                </c:pt>
                <c:pt idx="12678">
                  <c:v>5.8793470802112244</c:v>
                </c:pt>
                <c:pt idx="12679">
                  <c:v>7.0437350373457059</c:v>
                </c:pt>
                <c:pt idx="12680">
                  <c:v>7.0381617188990084</c:v>
                </c:pt>
                <c:pt idx="12681">
                  <c:v>7.0991960712011331</c:v>
                </c:pt>
                <c:pt idx="12682">
                  <c:v>6.9624281280167439</c:v>
                </c:pt>
                <c:pt idx="12683">
                  <c:v>5.9278897500334917</c:v>
                </c:pt>
                <c:pt idx="12684">
                  <c:v>7.0345319739540066</c:v>
                </c:pt>
                <c:pt idx="12685">
                  <c:v>5.8477395404025527</c:v>
                </c:pt>
                <c:pt idx="12686">
                  <c:v>6.045866667913141</c:v>
                </c:pt>
                <c:pt idx="12687">
                  <c:v>6.1226534169492286</c:v>
                </c:pt>
                <c:pt idx="12688">
                  <c:v>6.0669669113346716</c:v>
                </c:pt>
                <c:pt idx="12689">
                  <c:v>6.0147184640897402</c:v>
                </c:pt>
                <c:pt idx="12690">
                  <c:v>5.9301001082011844</c:v>
                </c:pt>
                <c:pt idx="12691">
                  <c:v>4.9953426413430577</c:v>
                </c:pt>
                <c:pt idx="12692">
                  <c:v>6.0414879231445004</c:v>
                </c:pt>
                <c:pt idx="12693">
                  <c:v>5.8123329304592035</c:v>
                </c:pt>
                <c:pt idx="12694">
                  <c:v>5.8971475962533715</c:v>
                </c:pt>
                <c:pt idx="12695">
                  <c:v>6.0662297363024829</c:v>
                </c:pt>
                <c:pt idx="12696">
                  <c:v>6.1654970849832829</c:v>
                </c:pt>
                <c:pt idx="12697">
                  <c:v>5.9447833852030838</c:v>
                </c:pt>
                <c:pt idx="12698">
                  <c:v>5.8826305017787091</c:v>
                </c:pt>
                <c:pt idx="12699">
                  <c:v>6.0269533795047847</c:v>
                </c:pt>
                <c:pt idx="12700">
                  <c:v>5.0018401228886198</c:v>
                </c:pt>
                <c:pt idx="12701">
                  <c:v>5.9782955394904276</c:v>
                </c:pt>
                <c:pt idx="12702">
                  <c:v>7.0073104870721847</c:v>
                </c:pt>
                <c:pt idx="12703">
                  <c:v>5.9278119851193658</c:v>
                </c:pt>
                <c:pt idx="12704">
                  <c:v>5.9665642055665602</c:v>
                </c:pt>
                <c:pt idx="12705">
                  <c:v>4.9075114761661673</c:v>
                </c:pt>
                <c:pt idx="12706">
                  <c:v>5.909836848397406</c:v>
                </c:pt>
                <c:pt idx="12707">
                  <c:v>6.0658854310799306</c:v>
                </c:pt>
                <c:pt idx="12708">
                  <c:v>5.92431434971689</c:v>
                </c:pt>
                <c:pt idx="12709">
                  <c:v>6.9600979619186019</c:v>
                </c:pt>
                <c:pt idx="12710">
                  <c:v>6.0032700582475407</c:v>
                </c:pt>
                <c:pt idx="12711">
                  <c:v>6.0032907406223925</c:v>
                </c:pt>
                <c:pt idx="12712">
                  <c:v>5.981100064189766</c:v>
                </c:pt>
                <c:pt idx="12713">
                  <c:v>6.1168398569443081</c:v>
                </c:pt>
                <c:pt idx="12714">
                  <c:v>6.1409091196987982</c:v>
                </c:pt>
                <c:pt idx="12715">
                  <c:v>5.0956300513233641</c:v>
                </c:pt>
                <c:pt idx="12716">
                  <c:v>5.9069240284394722</c:v>
                </c:pt>
                <c:pt idx="12717">
                  <c:v>5.9178110068597336</c:v>
                </c:pt>
                <c:pt idx="12718">
                  <c:v>6.1184839803740774</c:v>
                </c:pt>
                <c:pt idx="12719">
                  <c:v>4.9602749504803603</c:v>
                </c:pt>
                <c:pt idx="12720">
                  <c:v>6.0513757172422222</c:v>
                </c:pt>
                <c:pt idx="12721">
                  <c:v>7.0095139871802559</c:v>
                </c:pt>
                <c:pt idx="12722">
                  <c:v>6.1212141911846141</c:v>
                </c:pt>
                <c:pt idx="12723">
                  <c:v>6.0434613865304279</c:v>
                </c:pt>
                <c:pt idx="12724">
                  <c:v>6.2425671952820636</c:v>
                </c:pt>
                <c:pt idx="12725">
                  <c:v>5.9933474644265274</c:v>
                </c:pt>
                <c:pt idx="12726">
                  <c:v>6.1564388002791191</c:v>
                </c:pt>
                <c:pt idx="12727">
                  <c:v>5.9765162997110437</c:v>
                </c:pt>
                <c:pt idx="12728">
                  <c:v>5.8855668449705689</c:v>
                </c:pt>
                <c:pt idx="12729">
                  <c:v>4.9642499126818933</c:v>
                </c:pt>
                <c:pt idx="12730">
                  <c:v>5.9558573667155343</c:v>
                </c:pt>
                <c:pt idx="12731">
                  <c:v>4.98092200326158</c:v>
                </c:pt>
                <c:pt idx="12732">
                  <c:v>5.966704583612791</c:v>
                </c:pt>
                <c:pt idx="12733">
                  <c:v>5.9901220799074322</c:v>
                </c:pt>
                <c:pt idx="12734">
                  <c:v>6.8212082305006057</c:v>
                </c:pt>
                <c:pt idx="12735">
                  <c:v>7.0856398215784262</c:v>
                </c:pt>
                <c:pt idx="12736">
                  <c:v>6.0785845575424737</c:v>
                </c:pt>
                <c:pt idx="12737">
                  <c:v>5.9205312248677311</c:v>
                </c:pt>
                <c:pt idx="12738">
                  <c:v>5.9144728955654369</c:v>
                </c:pt>
                <c:pt idx="12739">
                  <c:v>5.1557007073720289</c:v>
                </c:pt>
                <c:pt idx="12740">
                  <c:v>5.9381023629031215</c:v>
                </c:pt>
                <c:pt idx="12741">
                  <c:v>4.950810167906849</c:v>
                </c:pt>
                <c:pt idx="12742">
                  <c:v>5.0714360400085674</c:v>
                </c:pt>
                <c:pt idx="12743">
                  <c:v>7.0220584742693983</c:v>
                </c:pt>
                <c:pt idx="12744">
                  <c:v>6.9980034800454467</c:v>
                </c:pt>
                <c:pt idx="12745">
                  <c:v>6.02117315151611</c:v>
                </c:pt>
                <c:pt idx="12746">
                  <c:v>6.9796919597653488</c:v>
                </c:pt>
                <c:pt idx="12747">
                  <c:v>7.1336064069370462</c:v>
                </c:pt>
                <c:pt idx="12748">
                  <c:v>6.8884272099769541</c:v>
                </c:pt>
                <c:pt idx="12749">
                  <c:v>6.9515230876181731</c:v>
                </c:pt>
                <c:pt idx="12750">
                  <c:v>6.9698944480456761</c:v>
                </c:pt>
                <c:pt idx="12751">
                  <c:v>7.0686429074129187</c:v>
                </c:pt>
                <c:pt idx="12752">
                  <c:v>7.0092899210714075</c:v>
                </c:pt>
                <c:pt idx="12753">
                  <c:v>7.2744873771048759</c:v>
                </c:pt>
                <c:pt idx="12754">
                  <c:v>6.8842889263865077</c:v>
                </c:pt>
                <c:pt idx="12755">
                  <c:v>5.8529685288440945</c:v>
                </c:pt>
                <c:pt idx="12756">
                  <c:v>6.9517086587037884</c:v>
                </c:pt>
                <c:pt idx="12757">
                  <c:v>7.0469805339227705</c:v>
                </c:pt>
                <c:pt idx="12758">
                  <c:v>7.114554895741497</c:v>
                </c:pt>
                <c:pt idx="12759">
                  <c:v>5.8752798840788447</c:v>
                </c:pt>
                <c:pt idx="12760">
                  <c:v>6.0288352178063462</c:v>
                </c:pt>
                <c:pt idx="12761">
                  <c:v>5.9992018317878841</c:v>
                </c:pt>
                <c:pt idx="12762">
                  <c:v>6.0266974342793471</c:v>
                </c:pt>
                <c:pt idx="12763">
                  <c:v>5.9108510877631417</c:v>
                </c:pt>
                <c:pt idx="12764">
                  <c:v>5.9662823117987296</c:v>
                </c:pt>
                <c:pt idx="12765">
                  <c:v>6.0915908222989721</c:v>
                </c:pt>
                <c:pt idx="12766">
                  <c:v>6.9781544671389684</c:v>
                </c:pt>
                <c:pt idx="12767">
                  <c:v>6.1798004408642448</c:v>
                </c:pt>
                <c:pt idx="12768">
                  <c:v>6.0951969260187884</c:v>
                </c:pt>
                <c:pt idx="12769">
                  <c:v>7.1103645483307236</c:v>
                </c:pt>
                <c:pt idx="12770">
                  <c:v>7.0324330885037156</c:v>
                </c:pt>
                <c:pt idx="12771">
                  <c:v>7.0302636432224537</c:v>
                </c:pt>
                <c:pt idx="12772">
                  <c:v>6.0654251960924208</c:v>
                </c:pt>
                <c:pt idx="12773">
                  <c:v>6.0363187141294112</c:v>
                </c:pt>
                <c:pt idx="12774">
                  <c:v>6.1054469097795243</c:v>
                </c:pt>
                <c:pt idx="12775">
                  <c:v>6.031885339559107</c:v>
                </c:pt>
                <c:pt idx="12776">
                  <c:v>5.881049122110805</c:v>
                </c:pt>
                <c:pt idx="12777">
                  <c:v>5.8887265747529591</c:v>
                </c:pt>
                <c:pt idx="12778">
                  <c:v>6.0476084896886757</c:v>
                </c:pt>
                <c:pt idx="12779">
                  <c:v>5.8720614776830313</c:v>
                </c:pt>
                <c:pt idx="12780">
                  <c:v>5.9093272371334447</c:v>
                </c:pt>
                <c:pt idx="12781">
                  <c:v>6.1441252723004611</c:v>
                </c:pt>
                <c:pt idx="12782">
                  <c:v>6.1099758532925206</c:v>
                </c:pt>
                <c:pt idx="12783">
                  <c:v>2.0411116702457424</c:v>
                </c:pt>
                <c:pt idx="12784">
                  <c:v>6.0500886304544634</c:v>
                </c:pt>
                <c:pt idx="12785">
                  <c:v>5.1031398678356998</c:v>
                </c:pt>
                <c:pt idx="12786">
                  <c:v>5.9119358251722085</c:v>
                </c:pt>
                <c:pt idx="12787">
                  <c:v>6.1012497036310167</c:v>
                </c:pt>
                <c:pt idx="12788">
                  <c:v>6.146766909442662</c:v>
                </c:pt>
                <c:pt idx="12789">
                  <c:v>6.0630490178036327</c:v>
                </c:pt>
                <c:pt idx="12790">
                  <c:v>4.8321730625174446</c:v>
                </c:pt>
                <c:pt idx="12791">
                  <c:v>5.9218735974627235</c:v>
                </c:pt>
                <c:pt idx="12792">
                  <c:v>6.035662566220509</c:v>
                </c:pt>
                <c:pt idx="12793">
                  <c:v>6.0701931659291288</c:v>
                </c:pt>
                <c:pt idx="12794">
                  <c:v>3.848765604355096</c:v>
                </c:pt>
                <c:pt idx="12795">
                  <c:v>5.9207605191169348</c:v>
                </c:pt>
                <c:pt idx="12796">
                  <c:v>6.0903474920863312</c:v>
                </c:pt>
                <c:pt idx="12797">
                  <c:v>6.1782833384995621</c:v>
                </c:pt>
                <c:pt idx="12798">
                  <c:v>5.0775831112698349</c:v>
                </c:pt>
                <c:pt idx="12799">
                  <c:v>5.9886771101556491</c:v>
                </c:pt>
                <c:pt idx="12800">
                  <c:v>5.916032756320317</c:v>
                </c:pt>
                <c:pt idx="12801">
                  <c:v>5.8196259924563334</c:v>
                </c:pt>
                <c:pt idx="12802">
                  <c:v>4.7336306456651451</c:v>
                </c:pt>
                <c:pt idx="12803">
                  <c:v>5.0150009191970115</c:v>
                </c:pt>
                <c:pt idx="12804">
                  <c:v>6.0037259452576155</c:v>
                </c:pt>
                <c:pt idx="12805">
                  <c:v>6.0717146864960831</c:v>
                </c:pt>
                <c:pt idx="12806">
                  <c:v>6.0640871174890272</c:v>
                </c:pt>
                <c:pt idx="12807">
                  <c:v>5.9009567681430317</c:v>
                </c:pt>
                <c:pt idx="12808">
                  <c:v>6.113474328964176</c:v>
                </c:pt>
                <c:pt idx="12809">
                  <c:v>6.059356482717166</c:v>
                </c:pt>
                <c:pt idx="12810">
                  <c:v>4.9597903788854865</c:v>
                </c:pt>
                <c:pt idx="12811">
                  <c:v>7.0542394100695045</c:v>
                </c:pt>
                <c:pt idx="12812">
                  <c:v>6.9756497565842999</c:v>
                </c:pt>
                <c:pt idx="12813">
                  <c:v>5.8943201843005522</c:v>
                </c:pt>
                <c:pt idx="12814">
                  <c:v>6.1130375196960536</c:v>
                </c:pt>
                <c:pt idx="12815">
                  <c:v>5.8301192130626962</c:v>
                </c:pt>
                <c:pt idx="12816">
                  <c:v>5.9299282410733625</c:v>
                </c:pt>
                <c:pt idx="12817">
                  <c:v>5.9794995681696186</c:v>
                </c:pt>
                <c:pt idx="12818">
                  <c:v>4.9672367098364951</c:v>
                </c:pt>
                <c:pt idx="12819">
                  <c:v>4.8402973953555462</c:v>
                </c:pt>
                <c:pt idx="12820">
                  <c:v>6.9010292665158914</c:v>
                </c:pt>
                <c:pt idx="12821">
                  <c:v>7.187252563607017</c:v>
                </c:pt>
                <c:pt idx="12822">
                  <c:v>5.1838625322080354</c:v>
                </c:pt>
                <c:pt idx="12823">
                  <c:v>6.0296363449029027</c:v>
                </c:pt>
                <c:pt idx="12824">
                  <c:v>5.8895804175791104</c:v>
                </c:pt>
                <c:pt idx="12825">
                  <c:v>5.0055953629993528</c:v>
                </c:pt>
                <c:pt idx="12826">
                  <c:v>5.8522117981517594</c:v>
                </c:pt>
                <c:pt idx="12827">
                  <c:v>5.9213297481881702</c:v>
                </c:pt>
                <c:pt idx="12828">
                  <c:v>6.0800845024673125</c:v>
                </c:pt>
                <c:pt idx="12829">
                  <c:v>6.1530754789016111</c:v>
                </c:pt>
                <c:pt idx="12830">
                  <c:v>5.046865502258763</c:v>
                </c:pt>
                <c:pt idx="12831">
                  <c:v>4.8927468318458276</c:v>
                </c:pt>
                <c:pt idx="12832">
                  <c:v>5.8841455651724832</c:v>
                </c:pt>
                <c:pt idx="12833">
                  <c:v>5.9683086855502818</c:v>
                </c:pt>
                <c:pt idx="12834">
                  <c:v>4.9225428274064198</c:v>
                </c:pt>
                <c:pt idx="12835">
                  <c:v>6.9230837221116914</c:v>
                </c:pt>
                <c:pt idx="12836">
                  <c:v>6.9118515492166424</c:v>
                </c:pt>
                <c:pt idx="12837">
                  <c:v>5.011453051649486</c:v>
                </c:pt>
                <c:pt idx="12838">
                  <c:v>7.1143028644922497</c:v>
                </c:pt>
                <c:pt idx="12839">
                  <c:v>6.9710229135618507</c:v>
                </c:pt>
                <c:pt idx="12840">
                  <c:v>4.9145861357720184</c:v>
                </c:pt>
                <c:pt idx="12841">
                  <c:v>6.9803493692950926</c:v>
                </c:pt>
                <c:pt idx="12842">
                  <c:v>6.01408302337442</c:v>
                </c:pt>
                <c:pt idx="12843">
                  <c:v>6.1322008216394108</c:v>
                </c:pt>
                <c:pt idx="12844">
                  <c:v>5.0164811130104665</c:v>
                </c:pt>
                <c:pt idx="12845">
                  <c:v>7.0918289421444243</c:v>
                </c:pt>
                <c:pt idx="12846">
                  <c:v>4.9251359714067542</c:v>
                </c:pt>
                <c:pt idx="12847">
                  <c:v>5.9532978929206184</c:v>
                </c:pt>
                <c:pt idx="12848">
                  <c:v>5.9414113048041859</c:v>
                </c:pt>
                <c:pt idx="12849">
                  <c:v>5.9484167694495724</c:v>
                </c:pt>
                <c:pt idx="12850">
                  <c:v>5.8812269870491312</c:v>
                </c:pt>
                <c:pt idx="12851">
                  <c:v>5.8974517102901443</c:v>
                </c:pt>
                <c:pt idx="12852">
                  <c:v>5.9542420186868519</c:v>
                </c:pt>
                <c:pt idx="12853">
                  <c:v>6.0903906432201191</c:v>
                </c:pt>
                <c:pt idx="12854">
                  <c:v>4.0399411286139335</c:v>
                </c:pt>
                <c:pt idx="12855">
                  <c:v>2.9281401492276387</c:v>
                </c:pt>
                <c:pt idx="12856">
                  <c:v>5.8592813485686577</c:v>
                </c:pt>
                <c:pt idx="12857">
                  <c:v>5.9005240259403093</c:v>
                </c:pt>
                <c:pt idx="12858">
                  <c:v>5.0703922372214425</c:v>
                </c:pt>
                <c:pt idx="12859">
                  <c:v>5.9943096239866165</c:v>
                </c:pt>
                <c:pt idx="12860">
                  <c:v>4.848654815405018</c:v>
                </c:pt>
                <c:pt idx="12861">
                  <c:v>6.0361903690146894</c:v>
                </c:pt>
                <c:pt idx="12862">
                  <c:v>5.0569591387576889</c:v>
                </c:pt>
                <c:pt idx="12863">
                  <c:v>4.9498250788375149</c:v>
                </c:pt>
                <c:pt idx="12864">
                  <c:v>4.9537318561505641</c:v>
                </c:pt>
                <c:pt idx="12865">
                  <c:v>5.0885224554238899</c:v>
                </c:pt>
                <c:pt idx="12866">
                  <c:v>5.0121411079236875</c:v>
                </c:pt>
                <c:pt idx="12867">
                  <c:v>6.0287986045493147</c:v>
                </c:pt>
                <c:pt idx="12868">
                  <c:v>7.0615967741493613</c:v>
                </c:pt>
                <c:pt idx="12869">
                  <c:v>4.9523468243485915</c:v>
                </c:pt>
                <c:pt idx="12870">
                  <c:v>6.202174912958017</c:v>
                </c:pt>
                <c:pt idx="12871">
                  <c:v>5.9388729886422551</c:v>
                </c:pt>
                <c:pt idx="12872">
                  <c:v>5.8772094684034402</c:v>
                </c:pt>
                <c:pt idx="12873">
                  <c:v>5.0070822397337116</c:v>
                </c:pt>
                <c:pt idx="12874">
                  <c:v>5.0220208344001946</c:v>
                </c:pt>
                <c:pt idx="12875">
                  <c:v>5.0255280873532362</c:v>
                </c:pt>
                <c:pt idx="12876">
                  <c:v>5.9230622201616203</c:v>
                </c:pt>
                <c:pt idx="12877">
                  <c:v>5.0140521183150932</c:v>
                </c:pt>
                <c:pt idx="12878">
                  <c:v>5.9078344069212783</c:v>
                </c:pt>
                <c:pt idx="12879">
                  <c:v>5.869655159500315</c:v>
                </c:pt>
                <c:pt idx="12880">
                  <c:v>6.117287688056753</c:v>
                </c:pt>
                <c:pt idx="12881">
                  <c:v>9.0449240105679909</c:v>
                </c:pt>
                <c:pt idx="12882">
                  <c:v>6.0431729281061033</c:v>
                </c:pt>
                <c:pt idx="12883">
                  <c:v>3.9935901267655614</c:v>
                </c:pt>
                <c:pt idx="12884">
                  <c:v>5.7882856494349086</c:v>
                </c:pt>
                <c:pt idx="12885">
                  <c:v>7.1275211836454071</c:v>
                </c:pt>
                <c:pt idx="12886">
                  <c:v>7.0455750898627967</c:v>
                </c:pt>
                <c:pt idx="12887">
                  <c:v>5.9125098944978145</c:v>
                </c:pt>
                <c:pt idx="12888">
                  <c:v>5.8327997293939102</c:v>
                </c:pt>
                <c:pt idx="12889">
                  <c:v>4.8362247594034518</c:v>
                </c:pt>
                <c:pt idx="12890">
                  <c:v>7.0482565947881657</c:v>
                </c:pt>
                <c:pt idx="12891">
                  <c:v>6.0185297245985732</c:v>
                </c:pt>
                <c:pt idx="12892">
                  <c:v>4.9697718256937815</c:v>
                </c:pt>
                <c:pt idx="12893">
                  <c:v>5.924633671233682</c:v>
                </c:pt>
                <c:pt idx="12894">
                  <c:v>4.9982759934781011</c:v>
                </c:pt>
                <c:pt idx="12895">
                  <c:v>6.8496627549674853</c:v>
                </c:pt>
                <c:pt idx="12896">
                  <c:v>6.020840344412818</c:v>
                </c:pt>
                <c:pt idx="12897">
                  <c:v>6.0048891489217668</c:v>
                </c:pt>
                <c:pt idx="12898">
                  <c:v>5.8656442944021183</c:v>
                </c:pt>
                <c:pt idx="12899">
                  <c:v>6.169584686257358</c:v>
                </c:pt>
                <c:pt idx="12900">
                  <c:v>6.9834741262756133</c:v>
                </c:pt>
                <c:pt idx="12901">
                  <c:v>5.8570814867493066</c:v>
                </c:pt>
                <c:pt idx="12902">
                  <c:v>7.1567651859778261</c:v>
                </c:pt>
                <c:pt idx="12903">
                  <c:v>5.8355165490004328</c:v>
                </c:pt>
                <c:pt idx="12904">
                  <c:v>5.0584735644717336</c:v>
                </c:pt>
                <c:pt idx="12905">
                  <c:v>5.9972088128806931</c:v>
                </c:pt>
                <c:pt idx="12906">
                  <c:v>5.9737813719367576</c:v>
                </c:pt>
                <c:pt idx="12907">
                  <c:v>6.07639760007046</c:v>
                </c:pt>
                <c:pt idx="12908">
                  <c:v>6.024970998391491</c:v>
                </c:pt>
                <c:pt idx="12909">
                  <c:v>6.0519281752899268</c:v>
                </c:pt>
                <c:pt idx="12910">
                  <c:v>9.1281917455379293</c:v>
                </c:pt>
                <c:pt idx="12911">
                  <c:v>5.9099024977769039</c:v>
                </c:pt>
                <c:pt idx="12912">
                  <c:v>5.9806966056732351</c:v>
                </c:pt>
                <c:pt idx="12913">
                  <c:v>6.953299529223214</c:v>
                </c:pt>
                <c:pt idx="12914">
                  <c:v>4.9014291046749792</c:v>
                </c:pt>
                <c:pt idx="12915">
                  <c:v>6.9193499529556002</c:v>
                </c:pt>
                <c:pt idx="12916">
                  <c:v>3.906069628371001</c:v>
                </c:pt>
                <c:pt idx="12917">
                  <c:v>6.0784591530381773</c:v>
                </c:pt>
                <c:pt idx="12918">
                  <c:v>6.0837880070051771</c:v>
                </c:pt>
                <c:pt idx="12919">
                  <c:v>4.1652740031689621</c:v>
                </c:pt>
                <c:pt idx="12920">
                  <c:v>5.9541304270465556</c:v>
                </c:pt>
                <c:pt idx="12921">
                  <c:v>6.9595987621587616</c:v>
                </c:pt>
                <c:pt idx="12922">
                  <c:v>5.9890735066229954</c:v>
                </c:pt>
                <c:pt idx="12923">
                  <c:v>6.048981761237842</c:v>
                </c:pt>
                <c:pt idx="12924">
                  <c:v>6.1607698157626123</c:v>
                </c:pt>
                <c:pt idx="12925">
                  <c:v>6.9399283065298212</c:v>
                </c:pt>
                <c:pt idx="12926">
                  <c:v>7.0185448643518589</c:v>
                </c:pt>
                <c:pt idx="12927">
                  <c:v>6.0300636961778862</c:v>
                </c:pt>
                <c:pt idx="12928">
                  <c:v>7.8899505866676813</c:v>
                </c:pt>
                <c:pt idx="12929">
                  <c:v>4.2873586785438365</c:v>
                </c:pt>
                <c:pt idx="12930">
                  <c:v>4.065252983590228</c:v>
                </c:pt>
                <c:pt idx="12931">
                  <c:v>3.9368257098590198</c:v>
                </c:pt>
                <c:pt idx="12932">
                  <c:v>6.1627363326608551</c:v>
                </c:pt>
                <c:pt idx="12933">
                  <c:v>3.9721912786418181</c:v>
                </c:pt>
                <c:pt idx="12934">
                  <c:v>6.9655497501138912</c:v>
                </c:pt>
                <c:pt idx="12935">
                  <c:v>7.0754733171881528</c:v>
                </c:pt>
                <c:pt idx="12936">
                  <c:v>6.9442828129696146</c:v>
                </c:pt>
                <c:pt idx="12937">
                  <c:v>4.1307914303332467</c:v>
                </c:pt>
                <c:pt idx="12938">
                  <c:v>3.8769352766369987</c:v>
                </c:pt>
                <c:pt idx="12939">
                  <c:v>5.9160122312229797</c:v>
                </c:pt>
                <c:pt idx="12940">
                  <c:v>5.9684764299769837</c:v>
                </c:pt>
                <c:pt idx="12941">
                  <c:v>6.2418958711224874</c:v>
                </c:pt>
                <c:pt idx="12942">
                  <c:v>7.0363719865584304</c:v>
                </c:pt>
                <c:pt idx="12943">
                  <c:v>4.8728133585746898</c:v>
                </c:pt>
                <c:pt idx="12944">
                  <c:v>5.9983861347653802</c:v>
                </c:pt>
                <c:pt idx="12945">
                  <c:v>6.8327938134362585</c:v>
                </c:pt>
                <c:pt idx="12946">
                  <c:v>2.0604309912966232</c:v>
                </c:pt>
                <c:pt idx="12947">
                  <c:v>5.9846071204397076</c:v>
                </c:pt>
                <c:pt idx="12948">
                  <c:v>4.871791124196009</c:v>
                </c:pt>
                <c:pt idx="12949">
                  <c:v>7.0529706404731876</c:v>
                </c:pt>
                <c:pt idx="12950">
                  <c:v>4.9575750999648243</c:v>
                </c:pt>
                <c:pt idx="12951">
                  <c:v>6.8713571806149067</c:v>
                </c:pt>
                <c:pt idx="12952">
                  <c:v>4.9039528379740984</c:v>
                </c:pt>
                <c:pt idx="12953">
                  <c:v>5.9690903463969223</c:v>
                </c:pt>
                <c:pt idx="12954">
                  <c:v>6.0168537813891332</c:v>
                </c:pt>
                <c:pt idx="12955">
                  <c:v>5.155317282117899</c:v>
                </c:pt>
                <c:pt idx="12956">
                  <c:v>4.9674628114884403</c:v>
                </c:pt>
                <c:pt idx="12957">
                  <c:v>5.938870155672606</c:v>
                </c:pt>
                <c:pt idx="12958">
                  <c:v>6.112416801626793</c:v>
                </c:pt>
                <c:pt idx="12959">
                  <c:v>4.932060235210753</c:v>
                </c:pt>
                <c:pt idx="12960">
                  <c:v>5.9749051794587</c:v>
                </c:pt>
                <c:pt idx="12961">
                  <c:v>5.1197759576353947</c:v>
                </c:pt>
                <c:pt idx="12962">
                  <c:v>6.0848947055077138</c:v>
                </c:pt>
                <c:pt idx="12963">
                  <c:v>7.1480641456314853</c:v>
                </c:pt>
                <c:pt idx="12964">
                  <c:v>5.0084232931765706</c:v>
                </c:pt>
                <c:pt idx="12965">
                  <c:v>5.9531802356159442</c:v>
                </c:pt>
                <c:pt idx="12966">
                  <c:v>4.9026826210676244</c:v>
                </c:pt>
                <c:pt idx="12967">
                  <c:v>4.8775003674406792</c:v>
                </c:pt>
                <c:pt idx="12968">
                  <c:v>4.8914703400706658</c:v>
                </c:pt>
                <c:pt idx="12969">
                  <c:v>5.8352450960807056</c:v>
                </c:pt>
                <c:pt idx="12970">
                  <c:v>4.8569313905935472</c:v>
                </c:pt>
                <c:pt idx="12971">
                  <c:v>6.8667943129736058</c:v>
                </c:pt>
                <c:pt idx="12972">
                  <c:v>5.7745955707604768</c:v>
                </c:pt>
                <c:pt idx="12973">
                  <c:v>6.1451751837600934</c:v>
                </c:pt>
                <c:pt idx="12974">
                  <c:v>4.9098740438195341</c:v>
                </c:pt>
                <c:pt idx="12975">
                  <c:v>3.0422621697778602</c:v>
                </c:pt>
                <c:pt idx="12976">
                  <c:v>6.035026644441893</c:v>
                </c:pt>
                <c:pt idx="12977">
                  <c:v>6.2475244359270503</c:v>
                </c:pt>
                <c:pt idx="12978">
                  <c:v>3.9391700489101233</c:v>
                </c:pt>
                <c:pt idx="12979">
                  <c:v>5.9169982514809227</c:v>
                </c:pt>
                <c:pt idx="12980">
                  <c:v>5.0041016928918722</c:v>
                </c:pt>
                <c:pt idx="12981">
                  <c:v>6.0887817035994996</c:v>
                </c:pt>
                <c:pt idx="12982">
                  <c:v>4.0656279740641192</c:v>
                </c:pt>
                <c:pt idx="12983">
                  <c:v>6.0434743878365538</c:v>
                </c:pt>
                <c:pt idx="12984">
                  <c:v>3.9141584293681775</c:v>
                </c:pt>
                <c:pt idx="12985">
                  <c:v>6.0913195486303371</c:v>
                </c:pt>
                <c:pt idx="12986">
                  <c:v>5.0464105285868373</c:v>
                </c:pt>
                <c:pt idx="12987">
                  <c:v>4.8756253165323171</c:v>
                </c:pt>
                <c:pt idx="12988">
                  <c:v>5.0111739994273305</c:v>
                </c:pt>
                <c:pt idx="12989">
                  <c:v>4.9883825313343229</c:v>
                </c:pt>
                <c:pt idx="12990">
                  <c:v>4.9849135260101347</c:v>
                </c:pt>
                <c:pt idx="12991">
                  <c:v>5.904504475267963</c:v>
                </c:pt>
                <c:pt idx="12992">
                  <c:v>4.817727909677445</c:v>
                </c:pt>
                <c:pt idx="12993">
                  <c:v>4.0694466899976449</c:v>
                </c:pt>
                <c:pt idx="12994">
                  <c:v>5.2487266069455547</c:v>
                </c:pt>
                <c:pt idx="12995">
                  <c:v>5.9067674445390042</c:v>
                </c:pt>
                <c:pt idx="12996">
                  <c:v>5.8797901067857365</c:v>
                </c:pt>
                <c:pt idx="12997">
                  <c:v>6.9235097227302438</c:v>
                </c:pt>
                <c:pt idx="12998">
                  <c:v>6.9563374959010575</c:v>
                </c:pt>
                <c:pt idx="12999">
                  <c:v>3.1337168436135756</c:v>
                </c:pt>
                <c:pt idx="13000">
                  <c:v>4.2744983259940392</c:v>
                </c:pt>
                <c:pt idx="13001">
                  <c:v>6.9613608845628612</c:v>
                </c:pt>
                <c:pt idx="13002">
                  <c:v>3.9727720120926984</c:v>
                </c:pt>
                <c:pt idx="13003">
                  <c:v>2.9999366087733077</c:v>
                </c:pt>
                <c:pt idx="13004">
                  <c:v>6.1616665215075042</c:v>
                </c:pt>
                <c:pt idx="13005">
                  <c:v>5.0133699362281199</c:v>
                </c:pt>
                <c:pt idx="13006">
                  <c:v>6.0060055172056135</c:v>
                </c:pt>
                <c:pt idx="13007">
                  <c:v>5.9110886086289449</c:v>
                </c:pt>
                <c:pt idx="13008">
                  <c:v>7.1240769936327784</c:v>
                </c:pt>
                <c:pt idx="13009">
                  <c:v>7.0338911636757953</c:v>
                </c:pt>
                <c:pt idx="13010">
                  <c:v>5.9151217530753843</c:v>
                </c:pt>
                <c:pt idx="13011">
                  <c:v>6.9114050632545467</c:v>
                </c:pt>
                <c:pt idx="13012">
                  <c:v>5.0776697392168568</c:v>
                </c:pt>
                <c:pt idx="13013">
                  <c:v>5.954949220048487</c:v>
                </c:pt>
                <c:pt idx="13014">
                  <c:v>5.8838756240795638</c:v>
                </c:pt>
                <c:pt idx="13015">
                  <c:v>5.0233410703068042</c:v>
                </c:pt>
                <c:pt idx="13016">
                  <c:v>7.9305516023115121</c:v>
                </c:pt>
                <c:pt idx="13017">
                  <c:v>5.0346771964621535</c:v>
                </c:pt>
                <c:pt idx="13018">
                  <c:v>6.1397204856747392</c:v>
                </c:pt>
                <c:pt idx="13019">
                  <c:v>7.1035798748719383</c:v>
                </c:pt>
                <c:pt idx="13020">
                  <c:v>5.9987052763483595</c:v>
                </c:pt>
                <c:pt idx="13021">
                  <c:v>7.0356393132613197</c:v>
                </c:pt>
                <c:pt idx="13022">
                  <c:v>2.9877402415856777</c:v>
                </c:pt>
                <c:pt idx="13023">
                  <c:v>2.9927817229751934</c:v>
                </c:pt>
                <c:pt idx="13024">
                  <c:v>6.0678893115153612</c:v>
                </c:pt>
                <c:pt idx="13025">
                  <c:v>3.0311397522508257</c:v>
                </c:pt>
                <c:pt idx="13026">
                  <c:v>5.0526035713069763</c:v>
                </c:pt>
                <c:pt idx="13027">
                  <c:v>5.0592100019276334</c:v>
                </c:pt>
                <c:pt idx="13028">
                  <c:v>6.0521412545019437</c:v>
                </c:pt>
                <c:pt idx="13029">
                  <c:v>7.0359304813654333</c:v>
                </c:pt>
                <c:pt idx="13030">
                  <c:v>4.8637341774992606</c:v>
                </c:pt>
                <c:pt idx="13031">
                  <c:v>7.0173994333300627</c:v>
                </c:pt>
                <c:pt idx="13032">
                  <c:v>3.0058190361483166</c:v>
                </c:pt>
                <c:pt idx="13033">
                  <c:v>4.9257655810675098</c:v>
                </c:pt>
                <c:pt idx="13034">
                  <c:v>6.0427861907019995</c:v>
                </c:pt>
                <c:pt idx="13035">
                  <c:v>6.9478215303365358</c:v>
                </c:pt>
                <c:pt idx="13036">
                  <c:v>5.1848036842148844</c:v>
                </c:pt>
                <c:pt idx="13037">
                  <c:v>2.0297000293494101</c:v>
                </c:pt>
                <c:pt idx="13038">
                  <c:v>4.9698589347474158</c:v>
                </c:pt>
                <c:pt idx="13039">
                  <c:v>6.0272936135539048</c:v>
                </c:pt>
                <c:pt idx="13040">
                  <c:v>8.02833359353113</c:v>
                </c:pt>
                <c:pt idx="13041">
                  <c:v>8.0289330266707637</c:v>
                </c:pt>
                <c:pt idx="13042">
                  <c:v>8.096038379773308</c:v>
                </c:pt>
                <c:pt idx="13043">
                  <c:v>8.0226374381105572</c:v>
                </c:pt>
                <c:pt idx="13044">
                  <c:v>7.9791864977780858</c:v>
                </c:pt>
                <c:pt idx="13045">
                  <c:v>5.9720061969252702</c:v>
                </c:pt>
                <c:pt idx="13046">
                  <c:v>6.0786666265607812</c:v>
                </c:pt>
                <c:pt idx="13047">
                  <c:v>5.9519201935610866</c:v>
                </c:pt>
                <c:pt idx="13048">
                  <c:v>5.9159762710620978</c:v>
                </c:pt>
                <c:pt idx="13049">
                  <c:v>7.115247403510315</c:v>
                </c:pt>
                <c:pt idx="13050">
                  <c:v>6.8952952268375061</c:v>
                </c:pt>
                <c:pt idx="13051">
                  <c:v>7.0222937623964867</c:v>
                </c:pt>
                <c:pt idx="13052">
                  <c:v>6.1639082769587787</c:v>
                </c:pt>
                <c:pt idx="13053">
                  <c:v>6.8913050406479277</c:v>
                </c:pt>
                <c:pt idx="13054">
                  <c:v>7.02197325591123</c:v>
                </c:pt>
                <c:pt idx="13055">
                  <c:v>3.9967825833492965</c:v>
                </c:pt>
                <c:pt idx="13056">
                  <c:v>5.0175739963299746</c:v>
                </c:pt>
                <c:pt idx="13057">
                  <c:v>3.8771865793336775</c:v>
                </c:pt>
                <c:pt idx="13058">
                  <c:v>5.9559768048808763</c:v>
                </c:pt>
                <c:pt idx="13059">
                  <c:v>5.9036136368231276</c:v>
                </c:pt>
                <c:pt idx="13060">
                  <c:v>7.0531412311597075</c:v>
                </c:pt>
                <c:pt idx="13061">
                  <c:v>6.8906431080914992</c:v>
                </c:pt>
                <c:pt idx="13062">
                  <c:v>5.9738345966711464</c:v>
                </c:pt>
                <c:pt idx="13063">
                  <c:v>4.9417148419643429</c:v>
                </c:pt>
                <c:pt idx="13064">
                  <c:v>7.077049533041758</c:v>
                </c:pt>
                <c:pt idx="13065">
                  <c:v>3.9639264590526837</c:v>
                </c:pt>
                <c:pt idx="13066">
                  <c:v>6.9211564355071209</c:v>
                </c:pt>
                <c:pt idx="13067">
                  <c:v>4.9732353419603044</c:v>
                </c:pt>
                <c:pt idx="13068">
                  <c:v>5.0025083250848965</c:v>
                </c:pt>
                <c:pt idx="13069">
                  <c:v>7.0969143951824121</c:v>
                </c:pt>
                <c:pt idx="13070">
                  <c:v>4.8692088612812876</c:v>
                </c:pt>
                <c:pt idx="13071">
                  <c:v>5.1043530288091565</c:v>
                </c:pt>
                <c:pt idx="13072">
                  <c:v>5.0276593994277974</c:v>
                </c:pt>
                <c:pt idx="13073">
                  <c:v>6.9371997964985752</c:v>
                </c:pt>
                <c:pt idx="13074">
                  <c:v>4.9676769299709163</c:v>
                </c:pt>
                <c:pt idx="13075">
                  <c:v>7.0383912737638612</c:v>
                </c:pt>
                <c:pt idx="13076">
                  <c:v>7.0059404557840601</c:v>
                </c:pt>
                <c:pt idx="13077">
                  <c:v>3.9667851694152656</c:v>
                </c:pt>
                <c:pt idx="13078">
                  <c:v>7.9598965873155487</c:v>
                </c:pt>
                <c:pt idx="13079">
                  <c:v>6.9151993678374861</c:v>
                </c:pt>
                <c:pt idx="13080">
                  <c:v>4.0978510674826119</c:v>
                </c:pt>
              </c:numCache>
            </c:numRef>
          </c:yVal>
          <c:smooth val="0"/>
          <c:extLst>
            <c:ext xmlns:c16="http://schemas.microsoft.com/office/drawing/2014/chart" uri="{C3380CC4-5D6E-409C-BE32-E72D297353CC}">
              <c16:uniqueId val="{00000002-CB98-46CC-B7E4-0466270B0873}"/>
            </c:ext>
          </c:extLst>
        </c:ser>
        <c:ser>
          <c:idx val="3"/>
          <c:order val="3"/>
          <c:tx>
            <c:strRef>
              <c:f>'power_generator-2024-09-23T (2)'!$Y$1</c:f>
              <c:strCache>
                <c:ptCount val="1"/>
                <c:pt idx="0">
                  <c:v>Storage</c:v>
                </c:pt>
              </c:strCache>
            </c:strRef>
          </c:tx>
          <c:spPr>
            <a:ln w="38100" cap="rnd">
              <a:noFill/>
              <a:round/>
            </a:ln>
            <a:effectLst/>
          </c:spPr>
          <c:marker>
            <c:symbol val="square"/>
            <c:size val="5"/>
            <c:spPr>
              <a:solidFill>
                <a:schemeClr val="bg1">
                  <a:lumMod val="65000"/>
                  <a:alpha val="25000"/>
                </a:schemeClr>
              </a:solidFill>
              <a:ln w="9525">
                <a:solidFill>
                  <a:schemeClr val="bg1">
                    <a:lumMod val="65000"/>
                  </a:schemeClr>
                </a:solidFill>
              </a:ln>
              <a:effectLst/>
            </c:spPr>
          </c:marker>
          <c:xVal>
            <c:numRef>
              <c:f>'power_generator-2024-09-23T (2)'!$Y$2:$Y$13082</c:f>
              <c:numCache>
                <c:formatCode>0.00</c:formatCode>
                <c:ptCount val="13081"/>
                <c:pt idx="0">
                  <c:v>0.11506849315068493</c:v>
                </c:pt>
                <c:pt idx="1">
                  <c:v>#N/A</c:v>
                </c:pt>
                <c:pt idx="2">
                  <c:v>#N/A</c:v>
                </c:pt>
                <c:pt idx="3">
                  <c:v>#N/A</c:v>
                </c:pt>
                <c:pt idx="4">
                  <c:v>#N/A</c:v>
                </c:pt>
                <c:pt idx="5">
                  <c:v>0.13150684931506848</c:v>
                </c:pt>
                <c:pt idx="6">
                  <c:v>0.13424657534246576</c:v>
                </c:pt>
                <c:pt idx="7">
                  <c:v>0.13698630136986301</c:v>
                </c:pt>
                <c:pt idx="8">
                  <c:v>#N/A</c:v>
                </c:pt>
                <c:pt idx="9">
                  <c:v>0.13698630136986301</c:v>
                </c:pt>
                <c:pt idx="10">
                  <c:v>#N/A</c:v>
                </c:pt>
                <c:pt idx="11">
                  <c:v>#N/A</c:v>
                </c:pt>
                <c:pt idx="12">
                  <c:v>0.17534246575342466</c:v>
                </c:pt>
                <c:pt idx="13">
                  <c:v>#N/A</c:v>
                </c:pt>
                <c:pt idx="14">
                  <c:v>0.17534246575342466</c:v>
                </c:pt>
                <c:pt idx="15">
                  <c:v>0.17534246575342466</c:v>
                </c:pt>
                <c:pt idx="16">
                  <c:v>0.17534246575342466</c:v>
                </c:pt>
                <c:pt idx="17">
                  <c:v>#N/A</c:v>
                </c:pt>
                <c:pt idx="18">
                  <c:v>0.17534246575342466</c:v>
                </c:pt>
                <c:pt idx="19">
                  <c:v>0.17534246575342466</c:v>
                </c:pt>
                <c:pt idx="20">
                  <c:v>0.17534246575342466</c:v>
                </c:pt>
                <c:pt idx="21">
                  <c:v>0.17534246575342466</c:v>
                </c:pt>
                <c:pt idx="22">
                  <c:v>0.17534246575342466</c:v>
                </c:pt>
                <c:pt idx="23">
                  <c:v>#N/A</c:v>
                </c:pt>
                <c:pt idx="24">
                  <c:v>#N/A</c:v>
                </c:pt>
                <c:pt idx="25">
                  <c:v>0.17808219178082191</c:v>
                </c:pt>
                <c:pt idx="26">
                  <c:v>#N/A</c:v>
                </c:pt>
                <c:pt idx="27">
                  <c:v>0.17808219178082191</c:v>
                </c:pt>
                <c:pt idx="28">
                  <c:v>0.17808219178082191</c:v>
                </c:pt>
                <c:pt idx="29">
                  <c:v>#N/A</c:v>
                </c:pt>
                <c:pt idx="30">
                  <c:v>0.19726027397260273</c:v>
                </c:pt>
                <c:pt idx="31">
                  <c:v>0.19726027397260273</c:v>
                </c:pt>
                <c:pt idx="32">
                  <c:v>#N/A</c:v>
                </c:pt>
                <c:pt idx="33">
                  <c:v>0.19726027397260273</c:v>
                </c:pt>
                <c:pt idx="34">
                  <c:v>#N/A</c:v>
                </c:pt>
                <c:pt idx="35">
                  <c:v>#N/A</c:v>
                </c:pt>
                <c:pt idx="36">
                  <c:v>0.19726027397260273</c:v>
                </c:pt>
                <c:pt idx="37">
                  <c:v>#N/A</c:v>
                </c:pt>
                <c:pt idx="38">
                  <c:v>#N/A</c:v>
                </c:pt>
                <c:pt idx="39">
                  <c:v>#N/A</c:v>
                </c:pt>
                <c:pt idx="40">
                  <c:v>0.19726027397260273</c:v>
                </c:pt>
                <c:pt idx="41">
                  <c:v>0.19726027397260273</c:v>
                </c:pt>
                <c:pt idx="42">
                  <c:v>0.19726027397260273</c:v>
                </c:pt>
                <c:pt idx="43">
                  <c:v>#N/A</c:v>
                </c:pt>
                <c:pt idx="44">
                  <c:v>#N/A</c:v>
                </c:pt>
                <c:pt idx="45">
                  <c:v>#N/A</c:v>
                </c:pt>
                <c:pt idx="46">
                  <c:v>#N/A</c:v>
                </c:pt>
                <c:pt idx="47">
                  <c:v>0.19726027397260273</c:v>
                </c:pt>
                <c:pt idx="48">
                  <c:v>#N/A</c:v>
                </c:pt>
                <c:pt idx="49">
                  <c:v>#N/A</c:v>
                </c:pt>
                <c:pt idx="50">
                  <c:v>#N/A</c:v>
                </c:pt>
                <c:pt idx="51">
                  <c:v>0.25479452054794521</c:v>
                </c:pt>
                <c:pt idx="52">
                  <c:v>#N/A</c:v>
                </c:pt>
                <c:pt idx="53">
                  <c:v>#N/A</c:v>
                </c:pt>
                <c:pt idx="54">
                  <c:v>0.25479452054794521</c:v>
                </c:pt>
                <c:pt idx="55">
                  <c:v>0.25479452054794521</c:v>
                </c:pt>
                <c:pt idx="56">
                  <c:v>#N/A</c:v>
                </c:pt>
                <c:pt idx="57">
                  <c:v>#N/A</c:v>
                </c:pt>
                <c:pt idx="58">
                  <c:v>0.25479452054794521</c:v>
                </c:pt>
                <c:pt idx="59">
                  <c:v>#N/A</c:v>
                </c:pt>
                <c:pt idx="60">
                  <c:v>0.25479452054794521</c:v>
                </c:pt>
                <c:pt idx="61">
                  <c:v>#N/A</c:v>
                </c:pt>
                <c:pt idx="62">
                  <c:v>#N/A</c:v>
                </c:pt>
                <c:pt idx="63">
                  <c:v>#N/A</c:v>
                </c:pt>
                <c:pt idx="64">
                  <c:v>0.26575342465753427</c:v>
                </c:pt>
                <c:pt idx="65">
                  <c:v>#N/A</c:v>
                </c:pt>
                <c:pt idx="66">
                  <c:v>0.28767123287671231</c:v>
                </c:pt>
                <c:pt idx="67">
                  <c:v>0.28767123287671231</c:v>
                </c:pt>
                <c:pt idx="68">
                  <c:v>0.28767123287671231</c:v>
                </c:pt>
                <c:pt idx="69">
                  <c:v>#N/A</c:v>
                </c:pt>
                <c:pt idx="70">
                  <c:v>#N/A</c:v>
                </c:pt>
                <c:pt idx="71">
                  <c:v>#N/A</c:v>
                </c:pt>
                <c:pt idx="72">
                  <c:v>#N/A</c:v>
                </c:pt>
                <c:pt idx="73">
                  <c:v>#N/A</c:v>
                </c:pt>
                <c:pt idx="74">
                  <c:v>#N/A</c:v>
                </c:pt>
                <c:pt idx="75">
                  <c:v>#N/A</c:v>
                </c:pt>
                <c:pt idx="76">
                  <c:v>0.30136986301369861</c:v>
                </c:pt>
                <c:pt idx="77">
                  <c:v>#N/A</c:v>
                </c:pt>
                <c:pt idx="78">
                  <c:v>0.30136986301369861</c:v>
                </c:pt>
                <c:pt idx="79">
                  <c:v>0.30136986301369861</c:v>
                </c:pt>
                <c:pt idx="80">
                  <c:v>0.30136986301369861</c:v>
                </c:pt>
                <c:pt idx="81">
                  <c:v>#N/A</c:v>
                </c:pt>
                <c:pt idx="82">
                  <c:v>0.30136986301369861</c:v>
                </c:pt>
                <c:pt idx="83">
                  <c:v>0.30136986301369861</c:v>
                </c:pt>
                <c:pt idx="84">
                  <c:v>0.30136986301369861</c:v>
                </c:pt>
                <c:pt idx="85">
                  <c:v>0.30136986301369861</c:v>
                </c:pt>
                <c:pt idx="86">
                  <c:v>#N/A</c:v>
                </c:pt>
                <c:pt idx="87">
                  <c:v>#N/A</c:v>
                </c:pt>
                <c:pt idx="88">
                  <c:v>0.30136986301369861</c:v>
                </c:pt>
                <c:pt idx="89">
                  <c:v>#N/A</c:v>
                </c:pt>
                <c:pt idx="90">
                  <c:v>0.30136986301369861</c:v>
                </c:pt>
                <c:pt idx="91">
                  <c:v>#N/A</c:v>
                </c:pt>
                <c:pt idx="92">
                  <c:v>#N/A</c:v>
                </c:pt>
                <c:pt idx="93">
                  <c:v>0.30136986301369861</c:v>
                </c:pt>
                <c:pt idx="94">
                  <c:v>#N/A</c:v>
                </c:pt>
                <c:pt idx="95">
                  <c:v>#N/A</c:v>
                </c:pt>
                <c:pt idx="96">
                  <c:v>0.30410958904109592</c:v>
                </c:pt>
                <c:pt idx="97">
                  <c:v>0.30410958904109592</c:v>
                </c:pt>
                <c:pt idx="98">
                  <c:v>#N/A</c:v>
                </c:pt>
                <c:pt idx="99">
                  <c:v>#N/A</c:v>
                </c:pt>
                <c:pt idx="100">
                  <c:v>#N/A</c:v>
                </c:pt>
                <c:pt idx="101">
                  <c:v>#N/A</c:v>
                </c:pt>
                <c:pt idx="102">
                  <c:v>#N/A</c:v>
                </c:pt>
                <c:pt idx="103">
                  <c:v>0.30410958904109592</c:v>
                </c:pt>
                <c:pt idx="104">
                  <c:v>#N/A</c:v>
                </c:pt>
                <c:pt idx="105">
                  <c:v>#N/A</c:v>
                </c:pt>
                <c:pt idx="106">
                  <c:v>0.30410958904109592</c:v>
                </c:pt>
                <c:pt idx="107">
                  <c:v>0.30410958904109592</c:v>
                </c:pt>
                <c:pt idx="108">
                  <c:v>0.30410958904109592</c:v>
                </c:pt>
                <c:pt idx="109">
                  <c:v>0.30410958904109592</c:v>
                </c:pt>
                <c:pt idx="110">
                  <c:v>0.30410958904109592</c:v>
                </c:pt>
                <c:pt idx="111">
                  <c:v>0.30684931506849317</c:v>
                </c:pt>
                <c:pt idx="112">
                  <c:v>#N/A</c:v>
                </c:pt>
                <c:pt idx="113">
                  <c:v>0.30958904109589042</c:v>
                </c:pt>
                <c:pt idx="114">
                  <c:v>#N/A</c:v>
                </c:pt>
                <c:pt idx="115">
                  <c:v>0.31232876712328766</c:v>
                </c:pt>
                <c:pt idx="116">
                  <c:v>#N/A</c:v>
                </c:pt>
                <c:pt idx="117">
                  <c:v>#N/A</c:v>
                </c:pt>
                <c:pt idx="118">
                  <c:v>#N/A</c:v>
                </c:pt>
                <c:pt idx="119">
                  <c:v>0.32054794520547947</c:v>
                </c:pt>
                <c:pt idx="120">
                  <c:v>#N/A</c:v>
                </c:pt>
                <c:pt idx="121">
                  <c:v>0.32328767123287672</c:v>
                </c:pt>
                <c:pt idx="122">
                  <c:v>0.32328767123287672</c:v>
                </c:pt>
                <c:pt idx="123">
                  <c:v>#N/A</c:v>
                </c:pt>
                <c:pt idx="124">
                  <c:v>0.32328767123287672</c:v>
                </c:pt>
                <c:pt idx="125">
                  <c:v>0.32328767123287672</c:v>
                </c:pt>
                <c:pt idx="126">
                  <c:v>0.32328767123287672</c:v>
                </c:pt>
                <c:pt idx="127">
                  <c:v>0.32328767123287672</c:v>
                </c:pt>
                <c:pt idx="128">
                  <c:v>0.32328767123287672</c:v>
                </c:pt>
                <c:pt idx="129">
                  <c:v>0.32328767123287672</c:v>
                </c:pt>
                <c:pt idx="130">
                  <c:v>#N/A</c:v>
                </c:pt>
                <c:pt idx="131">
                  <c:v>0.32328767123287672</c:v>
                </c:pt>
                <c:pt idx="132">
                  <c:v>#N/A</c:v>
                </c:pt>
                <c:pt idx="133">
                  <c:v>#N/A</c:v>
                </c:pt>
                <c:pt idx="134">
                  <c:v>#N/A</c:v>
                </c:pt>
                <c:pt idx="135">
                  <c:v>0.32876712328767121</c:v>
                </c:pt>
                <c:pt idx="136">
                  <c:v>0.32876712328767121</c:v>
                </c:pt>
                <c:pt idx="137">
                  <c:v>0.33150684931506852</c:v>
                </c:pt>
                <c:pt idx="138">
                  <c:v>#N/A</c:v>
                </c:pt>
                <c:pt idx="139">
                  <c:v>#N/A</c:v>
                </c:pt>
                <c:pt idx="140">
                  <c:v>0.33150684931506852</c:v>
                </c:pt>
                <c:pt idx="141">
                  <c:v>#N/A</c:v>
                </c:pt>
                <c:pt idx="142">
                  <c:v>#N/A</c:v>
                </c:pt>
                <c:pt idx="143">
                  <c:v>0.33150684931506852</c:v>
                </c:pt>
                <c:pt idx="144">
                  <c:v>#N/A</c:v>
                </c:pt>
                <c:pt idx="145">
                  <c:v>0.33150684931506852</c:v>
                </c:pt>
                <c:pt idx="146">
                  <c:v>0.33150684931506852</c:v>
                </c:pt>
                <c:pt idx="147">
                  <c:v>#N/A</c:v>
                </c:pt>
                <c:pt idx="148">
                  <c:v>0.33972602739726027</c:v>
                </c:pt>
                <c:pt idx="149">
                  <c:v>0.33972602739726027</c:v>
                </c:pt>
                <c:pt idx="150">
                  <c:v>#N/A</c:v>
                </c:pt>
                <c:pt idx="151">
                  <c:v>0.33972602739726027</c:v>
                </c:pt>
                <c:pt idx="152">
                  <c:v>#N/A</c:v>
                </c:pt>
                <c:pt idx="153">
                  <c:v>#N/A</c:v>
                </c:pt>
                <c:pt idx="154">
                  <c:v>#N/A</c:v>
                </c:pt>
                <c:pt idx="155">
                  <c:v>#N/A</c:v>
                </c:pt>
                <c:pt idx="156">
                  <c:v>#N/A</c:v>
                </c:pt>
                <c:pt idx="157">
                  <c:v>#N/A</c:v>
                </c:pt>
                <c:pt idx="158">
                  <c:v>#N/A</c:v>
                </c:pt>
                <c:pt idx="159">
                  <c:v>#N/A</c:v>
                </c:pt>
                <c:pt idx="160">
                  <c:v>0.34246575342465752</c:v>
                </c:pt>
                <c:pt idx="161">
                  <c:v>#N/A</c:v>
                </c:pt>
                <c:pt idx="162">
                  <c:v>0.34246575342465752</c:v>
                </c:pt>
                <c:pt idx="163">
                  <c:v>0.34246575342465752</c:v>
                </c:pt>
                <c:pt idx="164">
                  <c:v>#N/A</c:v>
                </c:pt>
                <c:pt idx="165">
                  <c:v>0.34520547945205482</c:v>
                </c:pt>
                <c:pt idx="166">
                  <c:v>#N/A</c:v>
                </c:pt>
                <c:pt idx="167">
                  <c:v>#N/A</c:v>
                </c:pt>
                <c:pt idx="168">
                  <c:v>#N/A</c:v>
                </c:pt>
                <c:pt idx="169">
                  <c:v>0.34520547945205482</c:v>
                </c:pt>
                <c:pt idx="170">
                  <c:v>#N/A</c:v>
                </c:pt>
                <c:pt idx="171">
                  <c:v>#N/A</c:v>
                </c:pt>
                <c:pt idx="172">
                  <c:v>0.34520547945205482</c:v>
                </c:pt>
                <c:pt idx="173">
                  <c:v>#N/A</c:v>
                </c:pt>
                <c:pt idx="174">
                  <c:v>#N/A</c:v>
                </c:pt>
                <c:pt idx="175">
                  <c:v>0.34520547945205482</c:v>
                </c:pt>
                <c:pt idx="176">
                  <c:v>0.34520547945205482</c:v>
                </c:pt>
                <c:pt idx="177">
                  <c:v>#N/A</c:v>
                </c:pt>
                <c:pt idx="178">
                  <c:v>0.34520547945205482</c:v>
                </c:pt>
                <c:pt idx="179">
                  <c:v>#N/A</c:v>
                </c:pt>
                <c:pt idx="180">
                  <c:v>#N/A</c:v>
                </c:pt>
                <c:pt idx="181">
                  <c:v>#N/A</c:v>
                </c:pt>
                <c:pt idx="182">
                  <c:v>0.34520547945205482</c:v>
                </c:pt>
                <c:pt idx="183">
                  <c:v>0.34520547945205482</c:v>
                </c:pt>
                <c:pt idx="184">
                  <c:v>#N/A</c:v>
                </c:pt>
                <c:pt idx="185">
                  <c:v>#N/A</c:v>
                </c:pt>
                <c:pt idx="186">
                  <c:v>0.34520547945205482</c:v>
                </c:pt>
                <c:pt idx="187">
                  <c:v>#N/A</c:v>
                </c:pt>
                <c:pt idx="188">
                  <c:v>0.34794520547945207</c:v>
                </c:pt>
                <c:pt idx="189">
                  <c:v>0.34794520547945207</c:v>
                </c:pt>
                <c:pt idx="190">
                  <c:v>0.34794520547945207</c:v>
                </c:pt>
                <c:pt idx="191">
                  <c:v>#N/A</c:v>
                </c:pt>
                <c:pt idx="192">
                  <c:v>0.34794520547945207</c:v>
                </c:pt>
                <c:pt idx="193">
                  <c:v>0.34794520547945207</c:v>
                </c:pt>
                <c:pt idx="194">
                  <c:v>#N/A</c:v>
                </c:pt>
                <c:pt idx="195">
                  <c:v>#N/A</c:v>
                </c:pt>
                <c:pt idx="196">
                  <c:v>#N/A</c:v>
                </c:pt>
                <c:pt idx="197">
                  <c:v>0.35616438356164382</c:v>
                </c:pt>
                <c:pt idx="198">
                  <c:v>#N/A</c:v>
                </c:pt>
                <c:pt idx="199">
                  <c:v>0.35890410958904112</c:v>
                </c:pt>
                <c:pt idx="200">
                  <c:v>#N/A</c:v>
                </c:pt>
                <c:pt idx="201">
                  <c:v>0.35890410958904112</c:v>
                </c:pt>
                <c:pt idx="202">
                  <c:v>#N/A</c:v>
                </c:pt>
                <c:pt idx="203">
                  <c:v>#N/A</c:v>
                </c:pt>
                <c:pt idx="204">
                  <c:v>#N/A</c:v>
                </c:pt>
                <c:pt idx="205">
                  <c:v>#N/A</c:v>
                </c:pt>
                <c:pt idx="206">
                  <c:v>#N/A</c:v>
                </c:pt>
                <c:pt idx="207">
                  <c:v>#N/A</c:v>
                </c:pt>
                <c:pt idx="208">
                  <c:v>#N/A</c:v>
                </c:pt>
                <c:pt idx="209">
                  <c:v>0.36164383561643837</c:v>
                </c:pt>
                <c:pt idx="210">
                  <c:v>#N/A</c:v>
                </c:pt>
                <c:pt idx="211">
                  <c:v>0.36164383561643837</c:v>
                </c:pt>
                <c:pt idx="212">
                  <c:v>#N/A</c:v>
                </c:pt>
                <c:pt idx="213">
                  <c:v>0.36164383561643837</c:v>
                </c:pt>
                <c:pt idx="214">
                  <c:v>0.36164383561643837</c:v>
                </c:pt>
                <c:pt idx="215">
                  <c:v>#N/A</c:v>
                </c:pt>
                <c:pt idx="216">
                  <c:v>#N/A</c:v>
                </c:pt>
                <c:pt idx="217">
                  <c:v>#N/A</c:v>
                </c:pt>
                <c:pt idx="218">
                  <c:v>#N/A</c:v>
                </c:pt>
                <c:pt idx="219">
                  <c:v>0.36438356164383562</c:v>
                </c:pt>
                <c:pt idx="220">
                  <c:v>0.36712328767123287</c:v>
                </c:pt>
                <c:pt idx="221">
                  <c:v>#N/A</c:v>
                </c:pt>
                <c:pt idx="222">
                  <c:v>#N/A</c:v>
                </c:pt>
                <c:pt idx="223">
                  <c:v>#N/A</c:v>
                </c:pt>
                <c:pt idx="224">
                  <c:v>#N/A</c:v>
                </c:pt>
                <c:pt idx="225">
                  <c:v>0.36986301369863012</c:v>
                </c:pt>
                <c:pt idx="226">
                  <c:v>0.36986301369863012</c:v>
                </c:pt>
                <c:pt idx="227">
                  <c:v>0.36986301369863012</c:v>
                </c:pt>
                <c:pt idx="228">
                  <c:v>0.36986301369863012</c:v>
                </c:pt>
                <c:pt idx="229">
                  <c:v>#N/A</c:v>
                </c:pt>
                <c:pt idx="230">
                  <c:v>0.36986301369863012</c:v>
                </c:pt>
                <c:pt idx="231">
                  <c:v>0.36986301369863012</c:v>
                </c:pt>
                <c:pt idx="232">
                  <c:v>0.36986301369863012</c:v>
                </c:pt>
                <c:pt idx="233">
                  <c:v>#N/A</c:v>
                </c:pt>
                <c:pt idx="234">
                  <c:v>0.36986301369863012</c:v>
                </c:pt>
                <c:pt idx="235">
                  <c:v>#N/A</c:v>
                </c:pt>
                <c:pt idx="236">
                  <c:v>0.36986301369863012</c:v>
                </c:pt>
                <c:pt idx="237">
                  <c:v>0.36986301369863012</c:v>
                </c:pt>
                <c:pt idx="238">
                  <c:v>#N/A</c:v>
                </c:pt>
                <c:pt idx="239">
                  <c:v>#N/A</c:v>
                </c:pt>
                <c:pt idx="240">
                  <c:v>0.37808219178082192</c:v>
                </c:pt>
                <c:pt idx="241">
                  <c:v>#N/A</c:v>
                </c:pt>
                <c:pt idx="242">
                  <c:v>#N/A</c:v>
                </c:pt>
                <c:pt idx="243">
                  <c:v>#N/A</c:v>
                </c:pt>
                <c:pt idx="244">
                  <c:v>#N/A</c:v>
                </c:pt>
                <c:pt idx="245">
                  <c:v>0.37808219178082192</c:v>
                </c:pt>
                <c:pt idx="246">
                  <c:v>0.37808219178082192</c:v>
                </c:pt>
                <c:pt idx="247">
                  <c:v>0.37808219178082192</c:v>
                </c:pt>
                <c:pt idx="248">
                  <c:v>#N/A</c:v>
                </c:pt>
                <c:pt idx="249">
                  <c:v>0.37808219178082192</c:v>
                </c:pt>
                <c:pt idx="250">
                  <c:v>0.37808219178082192</c:v>
                </c:pt>
                <c:pt idx="251">
                  <c:v>#N/A</c:v>
                </c:pt>
                <c:pt idx="252">
                  <c:v>#N/A</c:v>
                </c:pt>
                <c:pt idx="253">
                  <c:v>0.38356164383561642</c:v>
                </c:pt>
                <c:pt idx="254">
                  <c:v>0.38356164383561642</c:v>
                </c:pt>
                <c:pt idx="255">
                  <c:v>0.38356164383561642</c:v>
                </c:pt>
                <c:pt idx="256">
                  <c:v>0.38356164383561642</c:v>
                </c:pt>
                <c:pt idx="257">
                  <c:v>0.38356164383561642</c:v>
                </c:pt>
                <c:pt idx="258">
                  <c:v>#N/A</c:v>
                </c:pt>
                <c:pt idx="259">
                  <c:v>0.38356164383561642</c:v>
                </c:pt>
                <c:pt idx="260">
                  <c:v>0.38356164383561642</c:v>
                </c:pt>
                <c:pt idx="261">
                  <c:v>0.38356164383561642</c:v>
                </c:pt>
                <c:pt idx="262">
                  <c:v>0.38356164383561642</c:v>
                </c:pt>
                <c:pt idx="263">
                  <c:v>0.38356164383561642</c:v>
                </c:pt>
                <c:pt idx="264">
                  <c:v>#N/A</c:v>
                </c:pt>
                <c:pt idx="265">
                  <c:v>0.38356164383561642</c:v>
                </c:pt>
                <c:pt idx="266">
                  <c:v>0.38356164383561642</c:v>
                </c:pt>
                <c:pt idx="267">
                  <c:v>0.38356164383561642</c:v>
                </c:pt>
                <c:pt idx="268">
                  <c:v>0.38356164383561642</c:v>
                </c:pt>
                <c:pt idx="269">
                  <c:v>0.38356164383561642</c:v>
                </c:pt>
                <c:pt idx="270">
                  <c:v>#N/A</c:v>
                </c:pt>
                <c:pt idx="271">
                  <c:v>#N/A</c:v>
                </c:pt>
                <c:pt idx="272">
                  <c:v>#N/A</c:v>
                </c:pt>
                <c:pt idx="273">
                  <c:v>#N/A</c:v>
                </c:pt>
                <c:pt idx="274">
                  <c:v>0.38356164383561642</c:v>
                </c:pt>
                <c:pt idx="275">
                  <c:v>#N/A</c:v>
                </c:pt>
                <c:pt idx="276">
                  <c:v>#N/A</c:v>
                </c:pt>
                <c:pt idx="277">
                  <c:v>#N/A</c:v>
                </c:pt>
                <c:pt idx="278">
                  <c:v>#N/A</c:v>
                </c:pt>
                <c:pt idx="279">
                  <c:v>#N/A</c:v>
                </c:pt>
                <c:pt idx="280">
                  <c:v>#N/A</c:v>
                </c:pt>
                <c:pt idx="281">
                  <c:v>#N/A</c:v>
                </c:pt>
                <c:pt idx="282">
                  <c:v>#N/A</c:v>
                </c:pt>
                <c:pt idx="283">
                  <c:v>#N/A</c:v>
                </c:pt>
                <c:pt idx="284">
                  <c:v>0.38356164383561642</c:v>
                </c:pt>
                <c:pt idx="285">
                  <c:v>0.38356164383561642</c:v>
                </c:pt>
                <c:pt idx="286">
                  <c:v>0.38356164383561642</c:v>
                </c:pt>
                <c:pt idx="287">
                  <c:v>#N/A</c:v>
                </c:pt>
                <c:pt idx="288">
                  <c:v>#N/A</c:v>
                </c:pt>
                <c:pt idx="289">
                  <c:v>#N/A</c:v>
                </c:pt>
                <c:pt idx="290">
                  <c:v>#N/A</c:v>
                </c:pt>
                <c:pt idx="291">
                  <c:v>#N/A</c:v>
                </c:pt>
                <c:pt idx="292">
                  <c:v>#N/A</c:v>
                </c:pt>
                <c:pt idx="293">
                  <c:v>0.38356164383561642</c:v>
                </c:pt>
                <c:pt idx="294">
                  <c:v>#N/A</c:v>
                </c:pt>
                <c:pt idx="295">
                  <c:v>0.38356164383561642</c:v>
                </c:pt>
                <c:pt idx="296">
                  <c:v>#N/A</c:v>
                </c:pt>
                <c:pt idx="297">
                  <c:v>0.38356164383561642</c:v>
                </c:pt>
                <c:pt idx="298">
                  <c:v>#N/A</c:v>
                </c:pt>
                <c:pt idx="299">
                  <c:v>0.38356164383561642</c:v>
                </c:pt>
                <c:pt idx="300">
                  <c:v>0.38356164383561642</c:v>
                </c:pt>
                <c:pt idx="301">
                  <c:v>0.38356164383561642</c:v>
                </c:pt>
                <c:pt idx="302">
                  <c:v>0.38356164383561642</c:v>
                </c:pt>
                <c:pt idx="303">
                  <c:v>#N/A</c:v>
                </c:pt>
                <c:pt idx="304">
                  <c:v>#N/A</c:v>
                </c:pt>
                <c:pt idx="305">
                  <c:v>0.38356164383561642</c:v>
                </c:pt>
                <c:pt idx="306">
                  <c:v>0.38356164383561642</c:v>
                </c:pt>
                <c:pt idx="307">
                  <c:v>0.38356164383561642</c:v>
                </c:pt>
                <c:pt idx="308">
                  <c:v>#N/A</c:v>
                </c:pt>
                <c:pt idx="309">
                  <c:v>#N/A</c:v>
                </c:pt>
                <c:pt idx="310">
                  <c:v>0.38356164383561642</c:v>
                </c:pt>
                <c:pt idx="311">
                  <c:v>#N/A</c:v>
                </c:pt>
                <c:pt idx="312">
                  <c:v>#N/A</c:v>
                </c:pt>
                <c:pt idx="313">
                  <c:v>0.38356164383561642</c:v>
                </c:pt>
                <c:pt idx="314">
                  <c:v>0.38356164383561642</c:v>
                </c:pt>
                <c:pt idx="315">
                  <c:v>0.38356164383561642</c:v>
                </c:pt>
                <c:pt idx="316">
                  <c:v>#N/A</c:v>
                </c:pt>
                <c:pt idx="317">
                  <c:v>0.38356164383561642</c:v>
                </c:pt>
                <c:pt idx="318">
                  <c:v>0.38356164383561642</c:v>
                </c:pt>
                <c:pt idx="319">
                  <c:v>#N/A</c:v>
                </c:pt>
                <c:pt idx="320">
                  <c:v>#N/A</c:v>
                </c:pt>
                <c:pt idx="321">
                  <c:v>#N/A</c:v>
                </c:pt>
                <c:pt idx="322">
                  <c:v>#N/A</c:v>
                </c:pt>
                <c:pt idx="323">
                  <c:v>#N/A</c:v>
                </c:pt>
                <c:pt idx="324">
                  <c:v>#N/A</c:v>
                </c:pt>
                <c:pt idx="325">
                  <c:v>0.38356164383561642</c:v>
                </c:pt>
                <c:pt idx="326">
                  <c:v>0.38356164383561642</c:v>
                </c:pt>
                <c:pt idx="327">
                  <c:v>#N/A</c:v>
                </c:pt>
                <c:pt idx="328">
                  <c:v>#N/A</c:v>
                </c:pt>
                <c:pt idx="329">
                  <c:v>0.38356164383561642</c:v>
                </c:pt>
                <c:pt idx="330">
                  <c:v>0.38356164383561642</c:v>
                </c:pt>
                <c:pt idx="331">
                  <c:v>#N/A</c:v>
                </c:pt>
                <c:pt idx="332">
                  <c:v>0.38356164383561642</c:v>
                </c:pt>
                <c:pt idx="333">
                  <c:v>#N/A</c:v>
                </c:pt>
                <c:pt idx="334">
                  <c:v>0.38356164383561642</c:v>
                </c:pt>
                <c:pt idx="335">
                  <c:v>#N/A</c:v>
                </c:pt>
                <c:pt idx="336">
                  <c:v>0.38356164383561642</c:v>
                </c:pt>
                <c:pt idx="337">
                  <c:v>#N/A</c:v>
                </c:pt>
                <c:pt idx="338">
                  <c:v>#N/A</c:v>
                </c:pt>
                <c:pt idx="339">
                  <c:v>0.38356164383561642</c:v>
                </c:pt>
                <c:pt idx="340">
                  <c:v>0.38356164383561642</c:v>
                </c:pt>
                <c:pt idx="341">
                  <c:v>#N/A</c:v>
                </c:pt>
                <c:pt idx="342">
                  <c:v>#N/A</c:v>
                </c:pt>
                <c:pt idx="343">
                  <c:v>#N/A</c:v>
                </c:pt>
                <c:pt idx="344">
                  <c:v>#N/A</c:v>
                </c:pt>
                <c:pt idx="345">
                  <c:v>0.38356164383561642</c:v>
                </c:pt>
                <c:pt idx="346">
                  <c:v>0.38356164383561642</c:v>
                </c:pt>
                <c:pt idx="347">
                  <c:v>0.38356164383561642</c:v>
                </c:pt>
                <c:pt idx="348">
                  <c:v>0.38356164383561642</c:v>
                </c:pt>
                <c:pt idx="349">
                  <c:v>#N/A</c:v>
                </c:pt>
                <c:pt idx="350">
                  <c:v>0.38356164383561642</c:v>
                </c:pt>
                <c:pt idx="351">
                  <c:v>0.38356164383561642</c:v>
                </c:pt>
                <c:pt idx="352">
                  <c:v>0.38356164383561642</c:v>
                </c:pt>
                <c:pt idx="353">
                  <c:v>#N/A</c:v>
                </c:pt>
                <c:pt idx="354">
                  <c:v>#N/A</c:v>
                </c:pt>
                <c:pt idx="355">
                  <c:v>#N/A</c:v>
                </c:pt>
                <c:pt idx="356">
                  <c:v>0.38356164383561642</c:v>
                </c:pt>
                <c:pt idx="357">
                  <c:v>0.38356164383561642</c:v>
                </c:pt>
                <c:pt idx="358">
                  <c:v>#N/A</c:v>
                </c:pt>
                <c:pt idx="359">
                  <c:v>0.38356164383561642</c:v>
                </c:pt>
                <c:pt idx="360">
                  <c:v>#N/A</c:v>
                </c:pt>
                <c:pt idx="361">
                  <c:v>0.38356164383561642</c:v>
                </c:pt>
                <c:pt idx="362">
                  <c:v>#N/A</c:v>
                </c:pt>
                <c:pt idx="363">
                  <c:v>#N/A</c:v>
                </c:pt>
                <c:pt idx="364">
                  <c:v>#N/A</c:v>
                </c:pt>
                <c:pt idx="365">
                  <c:v>0.38356164383561642</c:v>
                </c:pt>
                <c:pt idx="366">
                  <c:v>0.38356164383561642</c:v>
                </c:pt>
                <c:pt idx="367">
                  <c:v>0.38356164383561642</c:v>
                </c:pt>
                <c:pt idx="368">
                  <c:v>0.38356164383561642</c:v>
                </c:pt>
                <c:pt idx="369">
                  <c:v>0.38356164383561642</c:v>
                </c:pt>
                <c:pt idx="370">
                  <c:v>0.38356164383561642</c:v>
                </c:pt>
                <c:pt idx="371">
                  <c:v>#N/A</c:v>
                </c:pt>
                <c:pt idx="372">
                  <c:v>0.38356164383561642</c:v>
                </c:pt>
                <c:pt idx="373">
                  <c:v>0.38356164383561642</c:v>
                </c:pt>
                <c:pt idx="374">
                  <c:v>#N/A</c:v>
                </c:pt>
                <c:pt idx="375">
                  <c:v>#N/A</c:v>
                </c:pt>
                <c:pt idx="376">
                  <c:v>#N/A</c:v>
                </c:pt>
                <c:pt idx="377">
                  <c:v>#N/A</c:v>
                </c:pt>
                <c:pt idx="378">
                  <c:v>0.38356164383561642</c:v>
                </c:pt>
                <c:pt idx="379">
                  <c:v>#N/A</c:v>
                </c:pt>
                <c:pt idx="380">
                  <c:v>#N/A</c:v>
                </c:pt>
                <c:pt idx="381">
                  <c:v>0.38356164383561642</c:v>
                </c:pt>
                <c:pt idx="382">
                  <c:v>0.38356164383561642</c:v>
                </c:pt>
                <c:pt idx="383">
                  <c:v>#N/A</c:v>
                </c:pt>
                <c:pt idx="384">
                  <c:v>#N/A</c:v>
                </c:pt>
                <c:pt idx="385">
                  <c:v>#N/A</c:v>
                </c:pt>
                <c:pt idx="386">
                  <c:v>0.38356164383561642</c:v>
                </c:pt>
                <c:pt idx="387">
                  <c:v>0.38356164383561642</c:v>
                </c:pt>
                <c:pt idx="388">
                  <c:v>0.38356164383561642</c:v>
                </c:pt>
                <c:pt idx="389">
                  <c:v>0.38356164383561642</c:v>
                </c:pt>
                <c:pt idx="390">
                  <c:v>0.38356164383561642</c:v>
                </c:pt>
                <c:pt idx="391">
                  <c:v>0.38630136986301372</c:v>
                </c:pt>
                <c:pt idx="392">
                  <c:v>#N/A</c:v>
                </c:pt>
                <c:pt idx="393">
                  <c:v>#N/A</c:v>
                </c:pt>
                <c:pt idx="394">
                  <c:v>#N/A</c:v>
                </c:pt>
                <c:pt idx="395">
                  <c:v>#N/A</c:v>
                </c:pt>
                <c:pt idx="396">
                  <c:v>#N/A</c:v>
                </c:pt>
                <c:pt idx="397">
                  <c:v>#N/A</c:v>
                </c:pt>
                <c:pt idx="398">
                  <c:v>#N/A</c:v>
                </c:pt>
                <c:pt idx="399">
                  <c:v>0.38630136986301372</c:v>
                </c:pt>
                <c:pt idx="400">
                  <c:v>#N/A</c:v>
                </c:pt>
                <c:pt idx="401">
                  <c:v>0.38630136986301372</c:v>
                </c:pt>
                <c:pt idx="402">
                  <c:v>0.38630136986301372</c:v>
                </c:pt>
                <c:pt idx="403">
                  <c:v>#N/A</c:v>
                </c:pt>
                <c:pt idx="404">
                  <c:v>#N/A</c:v>
                </c:pt>
                <c:pt idx="405">
                  <c:v>#N/A</c:v>
                </c:pt>
                <c:pt idx="406">
                  <c:v>#N/A</c:v>
                </c:pt>
                <c:pt idx="407">
                  <c:v>0.38904109589041097</c:v>
                </c:pt>
                <c:pt idx="408">
                  <c:v>#N/A</c:v>
                </c:pt>
                <c:pt idx="409">
                  <c:v>#N/A</c:v>
                </c:pt>
                <c:pt idx="410">
                  <c:v>#N/A</c:v>
                </c:pt>
                <c:pt idx="411">
                  <c:v>0.39726027397260272</c:v>
                </c:pt>
                <c:pt idx="412">
                  <c:v>0.39726027397260272</c:v>
                </c:pt>
                <c:pt idx="413">
                  <c:v>0.39726027397260272</c:v>
                </c:pt>
                <c:pt idx="414">
                  <c:v>0.39726027397260272</c:v>
                </c:pt>
                <c:pt idx="415">
                  <c:v>#N/A</c:v>
                </c:pt>
                <c:pt idx="416">
                  <c:v>0.39726027397260272</c:v>
                </c:pt>
                <c:pt idx="417">
                  <c:v>#N/A</c:v>
                </c:pt>
                <c:pt idx="418">
                  <c:v>0.39726027397260272</c:v>
                </c:pt>
                <c:pt idx="419">
                  <c:v>#N/A</c:v>
                </c:pt>
                <c:pt idx="420">
                  <c:v>#N/A</c:v>
                </c:pt>
                <c:pt idx="421">
                  <c:v>#N/A</c:v>
                </c:pt>
                <c:pt idx="422">
                  <c:v>0.4</c:v>
                </c:pt>
                <c:pt idx="423">
                  <c:v>0.4</c:v>
                </c:pt>
                <c:pt idx="424">
                  <c:v>0.4</c:v>
                </c:pt>
                <c:pt idx="425">
                  <c:v>#N/A</c:v>
                </c:pt>
                <c:pt idx="426">
                  <c:v>0.4</c:v>
                </c:pt>
                <c:pt idx="427">
                  <c:v>#N/A</c:v>
                </c:pt>
                <c:pt idx="428">
                  <c:v>0.4</c:v>
                </c:pt>
                <c:pt idx="429">
                  <c:v>#N/A</c:v>
                </c:pt>
                <c:pt idx="430">
                  <c:v>0.4</c:v>
                </c:pt>
                <c:pt idx="431">
                  <c:v>#N/A</c:v>
                </c:pt>
                <c:pt idx="432">
                  <c:v>0.4</c:v>
                </c:pt>
                <c:pt idx="433">
                  <c:v>0.4</c:v>
                </c:pt>
                <c:pt idx="434">
                  <c:v>#N/A</c:v>
                </c:pt>
                <c:pt idx="435">
                  <c:v>#N/A</c:v>
                </c:pt>
                <c:pt idx="436">
                  <c:v>0.4</c:v>
                </c:pt>
                <c:pt idx="437">
                  <c:v>0.4</c:v>
                </c:pt>
                <c:pt idx="438">
                  <c:v>#N/A</c:v>
                </c:pt>
                <c:pt idx="439">
                  <c:v>0.4</c:v>
                </c:pt>
                <c:pt idx="440">
                  <c:v>0.4</c:v>
                </c:pt>
                <c:pt idx="441">
                  <c:v>0.4</c:v>
                </c:pt>
                <c:pt idx="442">
                  <c:v>0.4</c:v>
                </c:pt>
                <c:pt idx="443">
                  <c:v>#N/A</c:v>
                </c:pt>
                <c:pt idx="444">
                  <c:v>#N/A</c:v>
                </c:pt>
                <c:pt idx="445">
                  <c:v>0.4</c:v>
                </c:pt>
                <c:pt idx="446">
                  <c:v>0.40273972602739727</c:v>
                </c:pt>
                <c:pt idx="447">
                  <c:v>0.40273972602739727</c:v>
                </c:pt>
                <c:pt idx="448">
                  <c:v>0.40273972602739727</c:v>
                </c:pt>
                <c:pt idx="449">
                  <c:v>0.40273972602739727</c:v>
                </c:pt>
                <c:pt idx="450">
                  <c:v>#N/A</c:v>
                </c:pt>
                <c:pt idx="451">
                  <c:v>0.40273972602739727</c:v>
                </c:pt>
                <c:pt idx="452">
                  <c:v>#N/A</c:v>
                </c:pt>
                <c:pt idx="453">
                  <c:v>#N/A</c:v>
                </c:pt>
                <c:pt idx="454">
                  <c:v>0.40273972602739727</c:v>
                </c:pt>
                <c:pt idx="455">
                  <c:v>0.40273972602739727</c:v>
                </c:pt>
                <c:pt idx="456">
                  <c:v>0.40273972602739727</c:v>
                </c:pt>
                <c:pt idx="457">
                  <c:v>#N/A</c:v>
                </c:pt>
                <c:pt idx="458">
                  <c:v>0.40273972602739727</c:v>
                </c:pt>
                <c:pt idx="459">
                  <c:v>0.40273972602739727</c:v>
                </c:pt>
                <c:pt idx="460">
                  <c:v>#N/A</c:v>
                </c:pt>
                <c:pt idx="461">
                  <c:v>#N/A</c:v>
                </c:pt>
                <c:pt idx="462">
                  <c:v>#N/A</c:v>
                </c:pt>
                <c:pt idx="463">
                  <c:v>#N/A</c:v>
                </c:pt>
                <c:pt idx="464">
                  <c:v>0.40273972602739727</c:v>
                </c:pt>
                <c:pt idx="465">
                  <c:v>#N/A</c:v>
                </c:pt>
                <c:pt idx="466">
                  <c:v>#N/A</c:v>
                </c:pt>
                <c:pt idx="467">
                  <c:v>0.40273972602739727</c:v>
                </c:pt>
                <c:pt idx="468">
                  <c:v>#N/A</c:v>
                </c:pt>
                <c:pt idx="469">
                  <c:v>0.40547945205479452</c:v>
                </c:pt>
                <c:pt idx="470">
                  <c:v>#N/A</c:v>
                </c:pt>
                <c:pt idx="471">
                  <c:v>0.40547945205479452</c:v>
                </c:pt>
                <c:pt idx="472">
                  <c:v>0.40821917808219177</c:v>
                </c:pt>
                <c:pt idx="473">
                  <c:v>#N/A</c:v>
                </c:pt>
                <c:pt idx="474">
                  <c:v>0.40821917808219177</c:v>
                </c:pt>
                <c:pt idx="475">
                  <c:v>#N/A</c:v>
                </c:pt>
                <c:pt idx="476">
                  <c:v>#N/A</c:v>
                </c:pt>
                <c:pt idx="477">
                  <c:v>#N/A</c:v>
                </c:pt>
                <c:pt idx="478">
                  <c:v>#N/A</c:v>
                </c:pt>
                <c:pt idx="479">
                  <c:v>0.40821917808219177</c:v>
                </c:pt>
                <c:pt idx="480">
                  <c:v>0.40821917808219177</c:v>
                </c:pt>
                <c:pt idx="481">
                  <c:v>0.40821917808219177</c:v>
                </c:pt>
                <c:pt idx="482">
                  <c:v>#N/A</c:v>
                </c:pt>
                <c:pt idx="483">
                  <c:v>0.41643835616438357</c:v>
                </c:pt>
                <c:pt idx="484">
                  <c:v>0.41643835616438357</c:v>
                </c:pt>
                <c:pt idx="485">
                  <c:v>#N/A</c:v>
                </c:pt>
                <c:pt idx="486">
                  <c:v>0.41917808219178082</c:v>
                </c:pt>
                <c:pt idx="487">
                  <c:v>0.42191780821917807</c:v>
                </c:pt>
                <c:pt idx="488">
                  <c:v>#N/A</c:v>
                </c:pt>
                <c:pt idx="489">
                  <c:v>#N/A</c:v>
                </c:pt>
                <c:pt idx="490">
                  <c:v>#N/A</c:v>
                </c:pt>
                <c:pt idx="491">
                  <c:v>#N/A</c:v>
                </c:pt>
                <c:pt idx="492">
                  <c:v>0.42465753424657532</c:v>
                </c:pt>
                <c:pt idx="493">
                  <c:v>#N/A</c:v>
                </c:pt>
                <c:pt idx="494">
                  <c:v>0.42465753424657532</c:v>
                </c:pt>
                <c:pt idx="495">
                  <c:v>#N/A</c:v>
                </c:pt>
                <c:pt idx="496">
                  <c:v>0.42465753424657532</c:v>
                </c:pt>
                <c:pt idx="497">
                  <c:v>#N/A</c:v>
                </c:pt>
                <c:pt idx="498">
                  <c:v>#N/A</c:v>
                </c:pt>
                <c:pt idx="499">
                  <c:v>0.42465753424657532</c:v>
                </c:pt>
                <c:pt idx="500">
                  <c:v>#N/A</c:v>
                </c:pt>
                <c:pt idx="501">
                  <c:v>0.42739726027397262</c:v>
                </c:pt>
                <c:pt idx="502">
                  <c:v>0.42739726027397262</c:v>
                </c:pt>
                <c:pt idx="503">
                  <c:v>#N/A</c:v>
                </c:pt>
                <c:pt idx="504">
                  <c:v>#N/A</c:v>
                </c:pt>
                <c:pt idx="505">
                  <c:v>0.42739726027397262</c:v>
                </c:pt>
                <c:pt idx="506">
                  <c:v>#N/A</c:v>
                </c:pt>
                <c:pt idx="507">
                  <c:v>#N/A</c:v>
                </c:pt>
                <c:pt idx="508">
                  <c:v>#N/A</c:v>
                </c:pt>
                <c:pt idx="509">
                  <c:v>0.42739726027397262</c:v>
                </c:pt>
                <c:pt idx="510">
                  <c:v>#N/A</c:v>
                </c:pt>
                <c:pt idx="511">
                  <c:v>0.42739726027397262</c:v>
                </c:pt>
                <c:pt idx="512">
                  <c:v>0.42739726027397262</c:v>
                </c:pt>
                <c:pt idx="513">
                  <c:v>0.42739726027397262</c:v>
                </c:pt>
                <c:pt idx="514">
                  <c:v>#N/A</c:v>
                </c:pt>
                <c:pt idx="515">
                  <c:v>#N/A</c:v>
                </c:pt>
                <c:pt idx="516">
                  <c:v>#N/A</c:v>
                </c:pt>
                <c:pt idx="517">
                  <c:v>#N/A</c:v>
                </c:pt>
                <c:pt idx="518">
                  <c:v>0.43835616438356162</c:v>
                </c:pt>
                <c:pt idx="519">
                  <c:v>#N/A</c:v>
                </c:pt>
                <c:pt idx="520">
                  <c:v>#N/A</c:v>
                </c:pt>
                <c:pt idx="521">
                  <c:v>#N/A</c:v>
                </c:pt>
                <c:pt idx="522">
                  <c:v>0.43835616438356162</c:v>
                </c:pt>
                <c:pt idx="523">
                  <c:v>#N/A</c:v>
                </c:pt>
                <c:pt idx="524">
                  <c:v>0.44109589041095892</c:v>
                </c:pt>
                <c:pt idx="525">
                  <c:v>#N/A</c:v>
                </c:pt>
                <c:pt idx="526">
                  <c:v>#N/A</c:v>
                </c:pt>
                <c:pt idx="527">
                  <c:v>#N/A</c:v>
                </c:pt>
                <c:pt idx="528">
                  <c:v>0.44657534246575342</c:v>
                </c:pt>
                <c:pt idx="529">
                  <c:v>0.44657534246575342</c:v>
                </c:pt>
                <c:pt idx="530">
                  <c:v>0.45479452054794522</c:v>
                </c:pt>
                <c:pt idx="531">
                  <c:v>0.45479452054794522</c:v>
                </c:pt>
                <c:pt idx="532">
                  <c:v>#N/A</c:v>
                </c:pt>
                <c:pt idx="533">
                  <c:v>#N/A</c:v>
                </c:pt>
                <c:pt idx="534">
                  <c:v>#N/A</c:v>
                </c:pt>
                <c:pt idx="535">
                  <c:v>#N/A</c:v>
                </c:pt>
                <c:pt idx="536">
                  <c:v>#N/A</c:v>
                </c:pt>
                <c:pt idx="537">
                  <c:v>#N/A</c:v>
                </c:pt>
                <c:pt idx="538">
                  <c:v>0.45753424657534247</c:v>
                </c:pt>
                <c:pt idx="539">
                  <c:v>0.45753424657534247</c:v>
                </c:pt>
                <c:pt idx="540">
                  <c:v>0.45753424657534247</c:v>
                </c:pt>
                <c:pt idx="541">
                  <c:v>#N/A</c:v>
                </c:pt>
                <c:pt idx="542">
                  <c:v>#N/A</c:v>
                </c:pt>
                <c:pt idx="543">
                  <c:v>0.45753424657534247</c:v>
                </c:pt>
                <c:pt idx="544">
                  <c:v>#N/A</c:v>
                </c:pt>
                <c:pt idx="545">
                  <c:v>0.45753424657534247</c:v>
                </c:pt>
                <c:pt idx="546">
                  <c:v>#N/A</c:v>
                </c:pt>
                <c:pt idx="547">
                  <c:v>#N/A</c:v>
                </c:pt>
                <c:pt idx="548">
                  <c:v>#N/A</c:v>
                </c:pt>
                <c:pt idx="549">
                  <c:v>#N/A</c:v>
                </c:pt>
                <c:pt idx="550">
                  <c:v>0.45753424657534247</c:v>
                </c:pt>
                <c:pt idx="551">
                  <c:v>#N/A</c:v>
                </c:pt>
                <c:pt idx="552">
                  <c:v>0.45753424657534247</c:v>
                </c:pt>
                <c:pt idx="553">
                  <c:v>#N/A</c:v>
                </c:pt>
                <c:pt idx="554">
                  <c:v>#N/A</c:v>
                </c:pt>
                <c:pt idx="555">
                  <c:v>#N/A</c:v>
                </c:pt>
                <c:pt idx="556">
                  <c:v>#N/A</c:v>
                </c:pt>
                <c:pt idx="557">
                  <c:v>#N/A</c:v>
                </c:pt>
                <c:pt idx="558">
                  <c:v>0.45753424657534247</c:v>
                </c:pt>
                <c:pt idx="559">
                  <c:v>#N/A</c:v>
                </c:pt>
                <c:pt idx="560">
                  <c:v>#N/A</c:v>
                </c:pt>
                <c:pt idx="561">
                  <c:v>#N/A</c:v>
                </c:pt>
                <c:pt idx="562">
                  <c:v>#N/A</c:v>
                </c:pt>
                <c:pt idx="563">
                  <c:v>#N/A</c:v>
                </c:pt>
                <c:pt idx="564">
                  <c:v>#N/A</c:v>
                </c:pt>
                <c:pt idx="565">
                  <c:v>0.45753424657534247</c:v>
                </c:pt>
                <c:pt idx="566">
                  <c:v>0.45753424657534247</c:v>
                </c:pt>
                <c:pt idx="567">
                  <c:v>#N/A</c:v>
                </c:pt>
                <c:pt idx="568">
                  <c:v>#N/A</c:v>
                </c:pt>
                <c:pt idx="569">
                  <c:v>0.45753424657534247</c:v>
                </c:pt>
                <c:pt idx="570">
                  <c:v>#N/A</c:v>
                </c:pt>
                <c:pt idx="571">
                  <c:v>#N/A</c:v>
                </c:pt>
                <c:pt idx="572">
                  <c:v>#N/A</c:v>
                </c:pt>
                <c:pt idx="573">
                  <c:v>#N/A</c:v>
                </c:pt>
                <c:pt idx="574">
                  <c:v>#N/A</c:v>
                </c:pt>
                <c:pt idx="575">
                  <c:v>#N/A</c:v>
                </c:pt>
                <c:pt idx="576">
                  <c:v>#N/A</c:v>
                </c:pt>
                <c:pt idx="577">
                  <c:v>#N/A</c:v>
                </c:pt>
                <c:pt idx="578">
                  <c:v>#N/A</c:v>
                </c:pt>
                <c:pt idx="579">
                  <c:v>#N/A</c:v>
                </c:pt>
                <c:pt idx="580">
                  <c:v>#N/A</c:v>
                </c:pt>
                <c:pt idx="581">
                  <c:v>#N/A</c:v>
                </c:pt>
                <c:pt idx="582">
                  <c:v>#N/A</c:v>
                </c:pt>
                <c:pt idx="583">
                  <c:v>#N/A</c:v>
                </c:pt>
                <c:pt idx="584">
                  <c:v>#N/A</c:v>
                </c:pt>
                <c:pt idx="585">
                  <c:v>#N/A</c:v>
                </c:pt>
                <c:pt idx="586">
                  <c:v>0.45753424657534247</c:v>
                </c:pt>
                <c:pt idx="587">
                  <c:v>#N/A</c:v>
                </c:pt>
                <c:pt idx="588">
                  <c:v>0.45753424657534247</c:v>
                </c:pt>
                <c:pt idx="589">
                  <c:v>#N/A</c:v>
                </c:pt>
                <c:pt idx="590">
                  <c:v>0.45753424657534247</c:v>
                </c:pt>
                <c:pt idx="591">
                  <c:v>#N/A</c:v>
                </c:pt>
                <c:pt idx="592">
                  <c:v>0.45753424657534247</c:v>
                </c:pt>
                <c:pt idx="593">
                  <c:v>#N/A</c:v>
                </c:pt>
                <c:pt idx="594">
                  <c:v>0.45753424657534247</c:v>
                </c:pt>
                <c:pt idx="595">
                  <c:v>#N/A</c:v>
                </c:pt>
                <c:pt idx="596">
                  <c:v>#N/A</c:v>
                </c:pt>
                <c:pt idx="597">
                  <c:v>0.45753424657534247</c:v>
                </c:pt>
                <c:pt idx="598">
                  <c:v>#N/A</c:v>
                </c:pt>
                <c:pt idx="599">
                  <c:v>#N/A</c:v>
                </c:pt>
                <c:pt idx="600">
                  <c:v>#N/A</c:v>
                </c:pt>
                <c:pt idx="601">
                  <c:v>#N/A</c:v>
                </c:pt>
                <c:pt idx="602">
                  <c:v>#N/A</c:v>
                </c:pt>
                <c:pt idx="603">
                  <c:v>#N/A</c:v>
                </c:pt>
                <c:pt idx="604">
                  <c:v>#N/A</c:v>
                </c:pt>
                <c:pt idx="605">
                  <c:v>#N/A</c:v>
                </c:pt>
                <c:pt idx="606">
                  <c:v>#N/A</c:v>
                </c:pt>
                <c:pt idx="607">
                  <c:v>#N/A</c:v>
                </c:pt>
                <c:pt idx="608">
                  <c:v>0.45753424657534247</c:v>
                </c:pt>
                <c:pt idx="609">
                  <c:v>#N/A</c:v>
                </c:pt>
                <c:pt idx="610">
                  <c:v>0.45753424657534247</c:v>
                </c:pt>
                <c:pt idx="611">
                  <c:v>#N/A</c:v>
                </c:pt>
                <c:pt idx="612">
                  <c:v>#N/A</c:v>
                </c:pt>
                <c:pt idx="613">
                  <c:v>#N/A</c:v>
                </c:pt>
                <c:pt idx="614">
                  <c:v>0.45753424657534247</c:v>
                </c:pt>
                <c:pt idx="615">
                  <c:v>0.45753424657534247</c:v>
                </c:pt>
                <c:pt idx="616">
                  <c:v>#N/A</c:v>
                </c:pt>
                <c:pt idx="617">
                  <c:v>0.45753424657534247</c:v>
                </c:pt>
                <c:pt idx="618">
                  <c:v>#N/A</c:v>
                </c:pt>
                <c:pt idx="619">
                  <c:v>#N/A</c:v>
                </c:pt>
                <c:pt idx="620">
                  <c:v>0.45753424657534247</c:v>
                </c:pt>
                <c:pt idx="621">
                  <c:v>0.45753424657534247</c:v>
                </c:pt>
                <c:pt idx="622">
                  <c:v>0.45753424657534247</c:v>
                </c:pt>
                <c:pt idx="623">
                  <c:v>#N/A</c:v>
                </c:pt>
                <c:pt idx="624">
                  <c:v>#N/A</c:v>
                </c:pt>
                <c:pt idx="625">
                  <c:v>#N/A</c:v>
                </c:pt>
                <c:pt idx="626">
                  <c:v>#N/A</c:v>
                </c:pt>
                <c:pt idx="627">
                  <c:v>#N/A</c:v>
                </c:pt>
                <c:pt idx="628">
                  <c:v>0.45753424657534247</c:v>
                </c:pt>
                <c:pt idx="629">
                  <c:v>0.45753424657534247</c:v>
                </c:pt>
                <c:pt idx="630">
                  <c:v>0.45753424657534247</c:v>
                </c:pt>
                <c:pt idx="631">
                  <c:v>#N/A</c:v>
                </c:pt>
                <c:pt idx="632">
                  <c:v>#N/A</c:v>
                </c:pt>
                <c:pt idx="633">
                  <c:v>#N/A</c:v>
                </c:pt>
                <c:pt idx="634">
                  <c:v>#N/A</c:v>
                </c:pt>
                <c:pt idx="635">
                  <c:v>#N/A</c:v>
                </c:pt>
                <c:pt idx="636">
                  <c:v>0.45753424657534247</c:v>
                </c:pt>
                <c:pt idx="637">
                  <c:v>#N/A</c:v>
                </c:pt>
                <c:pt idx="638">
                  <c:v>#N/A</c:v>
                </c:pt>
                <c:pt idx="639">
                  <c:v>#N/A</c:v>
                </c:pt>
                <c:pt idx="640">
                  <c:v>0.45753424657534247</c:v>
                </c:pt>
                <c:pt idx="641">
                  <c:v>#N/A</c:v>
                </c:pt>
                <c:pt idx="642">
                  <c:v>#N/A</c:v>
                </c:pt>
                <c:pt idx="643">
                  <c:v>0.45753424657534247</c:v>
                </c:pt>
                <c:pt idx="644">
                  <c:v>#N/A</c:v>
                </c:pt>
                <c:pt idx="645">
                  <c:v>0.45753424657534247</c:v>
                </c:pt>
                <c:pt idx="646">
                  <c:v>#N/A</c:v>
                </c:pt>
                <c:pt idx="647">
                  <c:v>0.45753424657534247</c:v>
                </c:pt>
                <c:pt idx="648">
                  <c:v>#N/A</c:v>
                </c:pt>
                <c:pt idx="649">
                  <c:v>#N/A</c:v>
                </c:pt>
                <c:pt idx="650">
                  <c:v>0.45753424657534247</c:v>
                </c:pt>
                <c:pt idx="651">
                  <c:v>#N/A</c:v>
                </c:pt>
                <c:pt idx="652">
                  <c:v>#N/A</c:v>
                </c:pt>
                <c:pt idx="653">
                  <c:v>0.45753424657534247</c:v>
                </c:pt>
                <c:pt idx="654">
                  <c:v>#N/A</c:v>
                </c:pt>
                <c:pt idx="655">
                  <c:v>#N/A</c:v>
                </c:pt>
                <c:pt idx="656">
                  <c:v>#N/A</c:v>
                </c:pt>
                <c:pt idx="657">
                  <c:v>#N/A</c:v>
                </c:pt>
                <c:pt idx="658">
                  <c:v>#N/A</c:v>
                </c:pt>
                <c:pt idx="659">
                  <c:v>#N/A</c:v>
                </c:pt>
                <c:pt idx="660">
                  <c:v>0.45753424657534247</c:v>
                </c:pt>
                <c:pt idx="661">
                  <c:v>#N/A</c:v>
                </c:pt>
                <c:pt idx="662">
                  <c:v>0.45753424657534247</c:v>
                </c:pt>
                <c:pt idx="663">
                  <c:v>#N/A</c:v>
                </c:pt>
                <c:pt idx="664">
                  <c:v>#N/A</c:v>
                </c:pt>
                <c:pt idx="665">
                  <c:v>#N/A</c:v>
                </c:pt>
                <c:pt idx="666">
                  <c:v>#N/A</c:v>
                </c:pt>
                <c:pt idx="667">
                  <c:v>#N/A</c:v>
                </c:pt>
                <c:pt idx="668">
                  <c:v>#N/A</c:v>
                </c:pt>
                <c:pt idx="669">
                  <c:v>0.45753424657534247</c:v>
                </c:pt>
                <c:pt idx="670">
                  <c:v>#N/A</c:v>
                </c:pt>
                <c:pt idx="671">
                  <c:v>#N/A</c:v>
                </c:pt>
                <c:pt idx="672">
                  <c:v>#N/A</c:v>
                </c:pt>
                <c:pt idx="673">
                  <c:v>0.45753424657534247</c:v>
                </c:pt>
                <c:pt idx="674">
                  <c:v>#N/A</c:v>
                </c:pt>
                <c:pt idx="675">
                  <c:v>#N/A</c:v>
                </c:pt>
                <c:pt idx="676">
                  <c:v>#N/A</c:v>
                </c:pt>
                <c:pt idx="677">
                  <c:v>0.45753424657534247</c:v>
                </c:pt>
                <c:pt idx="678">
                  <c:v>0.45753424657534247</c:v>
                </c:pt>
                <c:pt idx="679">
                  <c:v>#N/A</c:v>
                </c:pt>
                <c:pt idx="680">
                  <c:v>0.45753424657534247</c:v>
                </c:pt>
                <c:pt idx="681">
                  <c:v>0.45753424657534247</c:v>
                </c:pt>
                <c:pt idx="682">
                  <c:v>#N/A</c:v>
                </c:pt>
                <c:pt idx="683">
                  <c:v>0.45753424657534247</c:v>
                </c:pt>
                <c:pt idx="684">
                  <c:v>#N/A</c:v>
                </c:pt>
                <c:pt idx="685">
                  <c:v>#N/A</c:v>
                </c:pt>
                <c:pt idx="686">
                  <c:v>#N/A</c:v>
                </c:pt>
                <c:pt idx="687">
                  <c:v>#N/A</c:v>
                </c:pt>
                <c:pt idx="688">
                  <c:v>0.45753424657534247</c:v>
                </c:pt>
                <c:pt idx="689">
                  <c:v>#N/A</c:v>
                </c:pt>
                <c:pt idx="690">
                  <c:v>#N/A</c:v>
                </c:pt>
                <c:pt idx="691">
                  <c:v>#N/A</c:v>
                </c:pt>
                <c:pt idx="692">
                  <c:v>0.45753424657534247</c:v>
                </c:pt>
                <c:pt idx="693">
                  <c:v>#N/A</c:v>
                </c:pt>
                <c:pt idx="694">
                  <c:v>#N/A</c:v>
                </c:pt>
                <c:pt idx="695">
                  <c:v>0.45753424657534247</c:v>
                </c:pt>
                <c:pt idx="696">
                  <c:v>#N/A</c:v>
                </c:pt>
                <c:pt idx="697">
                  <c:v>0.45753424657534247</c:v>
                </c:pt>
                <c:pt idx="698">
                  <c:v>#N/A</c:v>
                </c:pt>
                <c:pt idx="699">
                  <c:v>#N/A</c:v>
                </c:pt>
                <c:pt idx="700">
                  <c:v>0.45753424657534247</c:v>
                </c:pt>
                <c:pt idx="701">
                  <c:v>0.45753424657534247</c:v>
                </c:pt>
                <c:pt idx="702">
                  <c:v>#N/A</c:v>
                </c:pt>
                <c:pt idx="703">
                  <c:v>0.45753424657534247</c:v>
                </c:pt>
                <c:pt idx="704">
                  <c:v>#N/A</c:v>
                </c:pt>
                <c:pt idx="705">
                  <c:v>#N/A</c:v>
                </c:pt>
                <c:pt idx="706">
                  <c:v>#N/A</c:v>
                </c:pt>
                <c:pt idx="707">
                  <c:v>#N/A</c:v>
                </c:pt>
                <c:pt idx="708">
                  <c:v>#N/A</c:v>
                </c:pt>
                <c:pt idx="709">
                  <c:v>#N/A</c:v>
                </c:pt>
                <c:pt idx="710">
                  <c:v>#N/A</c:v>
                </c:pt>
                <c:pt idx="711">
                  <c:v>#N/A</c:v>
                </c:pt>
                <c:pt idx="712">
                  <c:v>0.45753424657534247</c:v>
                </c:pt>
                <c:pt idx="713">
                  <c:v>0.45753424657534247</c:v>
                </c:pt>
                <c:pt idx="714">
                  <c:v>#N/A</c:v>
                </c:pt>
                <c:pt idx="715">
                  <c:v>#N/A</c:v>
                </c:pt>
                <c:pt idx="716">
                  <c:v>#N/A</c:v>
                </c:pt>
                <c:pt idx="717">
                  <c:v>#N/A</c:v>
                </c:pt>
                <c:pt idx="718">
                  <c:v>0.45753424657534247</c:v>
                </c:pt>
                <c:pt idx="719">
                  <c:v>#N/A</c:v>
                </c:pt>
                <c:pt idx="720">
                  <c:v>0.45753424657534247</c:v>
                </c:pt>
                <c:pt idx="721">
                  <c:v>0.45753424657534247</c:v>
                </c:pt>
                <c:pt idx="722">
                  <c:v>#N/A</c:v>
                </c:pt>
                <c:pt idx="723">
                  <c:v>0.45753424657534247</c:v>
                </c:pt>
                <c:pt idx="724">
                  <c:v>#N/A</c:v>
                </c:pt>
                <c:pt idx="725">
                  <c:v>#N/A</c:v>
                </c:pt>
                <c:pt idx="726">
                  <c:v>0.45753424657534247</c:v>
                </c:pt>
                <c:pt idx="727">
                  <c:v>#N/A</c:v>
                </c:pt>
                <c:pt idx="728">
                  <c:v>0.45753424657534247</c:v>
                </c:pt>
                <c:pt idx="729">
                  <c:v>#N/A</c:v>
                </c:pt>
                <c:pt idx="730">
                  <c:v>#N/A</c:v>
                </c:pt>
                <c:pt idx="731">
                  <c:v>#N/A</c:v>
                </c:pt>
                <c:pt idx="732">
                  <c:v>#N/A</c:v>
                </c:pt>
                <c:pt idx="733">
                  <c:v>#N/A</c:v>
                </c:pt>
                <c:pt idx="734">
                  <c:v>#N/A</c:v>
                </c:pt>
                <c:pt idx="735">
                  <c:v>#N/A</c:v>
                </c:pt>
                <c:pt idx="736">
                  <c:v>#N/A</c:v>
                </c:pt>
                <c:pt idx="737">
                  <c:v>0.45753424657534247</c:v>
                </c:pt>
                <c:pt idx="738">
                  <c:v>0.45753424657534247</c:v>
                </c:pt>
                <c:pt idx="739">
                  <c:v>#N/A</c:v>
                </c:pt>
                <c:pt idx="740">
                  <c:v>#N/A</c:v>
                </c:pt>
                <c:pt idx="741">
                  <c:v>0.46027397260273972</c:v>
                </c:pt>
                <c:pt idx="742">
                  <c:v>#N/A</c:v>
                </c:pt>
                <c:pt idx="743">
                  <c:v>#N/A</c:v>
                </c:pt>
                <c:pt idx="744">
                  <c:v>#N/A</c:v>
                </c:pt>
                <c:pt idx="745">
                  <c:v>#N/A</c:v>
                </c:pt>
                <c:pt idx="746">
                  <c:v>#N/A</c:v>
                </c:pt>
                <c:pt idx="747">
                  <c:v>#N/A</c:v>
                </c:pt>
                <c:pt idx="748">
                  <c:v>#N/A</c:v>
                </c:pt>
                <c:pt idx="749">
                  <c:v>#N/A</c:v>
                </c:pt>
                <c:pt idx="750">
                  <c:v>#N/A</c:v>
                </c:pt>
                <c:pt idx="751">
                  <c:v>0.46027397260273972</c:v>
                </c:pt>
                <c:pt idx="752">
                  <c:v>#N/A</c:v>
                </c:pt>
                <c:pt idx="753">
                  <c:v>#N/A</c:v>
                </c:pt>
                <c:pt idx="754">
                  <c:v>#N/A</c:v>
                </c:pt>
                <c:pt idx="755">
                  <c:v>#N/A</c:v>
                </c:pt>
                <c:pt idx="756">
                  <c:v>#N/A</c:v>
                </c:pt>
                <c:pt idx="757">
                  <c:v>0.46027397260273972</c:v>
                </c:pt>
                <c:pt idx="758">
                  <c:v>#N/A</c:v>
                </c:pt>
                <c:pt idx="759">
                  <c:v>#N/A</c:v>
                </c:pt>
                <c:pt idx="760">
                  <c:v>#N/A</c:v>
                </c:pt>
                <c:pt idx="761">
                  <c:v>#N/A</c:v>
                </c:pt>
                <c:pt idx="762">
                  <c:v>#N/A</c:v>
                </c:pt>
                <c:pt idx="763">
                  <c:v>#N/A</c:v>
                </c:pt>
                <c:pt idx="764">
                  <c:v>0.46027397260273972</c:v>
                </c:pt>
                <c:pt idx="765">
                  <c:v>#N/A</c:v>
                </c:pt>
                <c:pt idx="766">
                  <c:v>#N/A</c:v>
                </c:pt>
                <c:pt idx="767">
                  <c:v>#N/A</c:v>
                </c:pt>
                <c:pt idx="768">
                  <c:v>#N/A</c:v>
                </c:pt>
                <c:pt idx="769">
                  <c:v>#N/A</c:v>
                </c:pt>
                <c:pt idx="770">
                  <c:v>#N/A</c:v>
                </c:pt>
                <c:pt idx="771">
                  <c:v>#N/A</c:v>
                </c:pt>
                <c:pt idx="772">
                  <c:v>#N/A</c:v>
                </c:pt>
                <c:pt idx="773">
                  <c:v>#N/A</c:v>
                </c:pt>
                <c:pt idx="774">
                  <c:v>#N/A</c:v>
                </c:pt>
                <c:pt idx="775">
                  <c:v>0.46027397260273972</c:v>
                </c:pt>
                <c:pt idx="776">
                  <c:v>#N/A</c:v>
                </c:pt>
                <c:pt idx="777">
                  <c:v>#N/A</c:v>
                </c:pt>
                <c:pt idx="778">
                  <c:v>0.46027397260273972</c:v>
                </c:pt>
                <c:pt idx="779">
                  <c:v>0.46027397260273972</c:v>
                </c:pt>
                <c:pt idx="780">
                  <c:v>#N/A</c:v>
                </c:pt>
                <c:pt idx="781">
                  <c:v>0.46027397260273972</c:v>
                </c:pt>
                <c:pt idx="782">
                  <c:v>#N/A</c:v>
                </c:pt>
                <c:pt idx="783">
                  <c:v>#N/A</c:v>
                </c:pt>
                <c:pt idx="784">
                  <c:v>0.46027397260273972</c:v>
                </c:pt>
                <c:pt idx="785">
                  <c:v>0.46027397260273972</c:v>
                </c:pt>
                <c:pt idx="786">
                  <c:v>0.46027397260273972</c:v>
                </c:pt>
                <c:pt idx="787">
                  <c:v>#N/A</c:v>
                </c:pt>
                <c:pt idx="788">
                  <c:v>0.46027397260273972</c:v>
                </c:pt>
                <c:pt idx="789">
                  <c:v>#N/A</c:v>
                </c:pt>
                <c:pt idx="790">
                  <c:v>#N/A</c:v>
                </c:pt>
                <c:pt idx="791">
                  <c:v>#N/A</c:v>
                </c:pt>
                <c:pt idx="792">
                  <c:v>0.46027397260273972</c:v>
                </c:pt>
                <c:pt idx="793">
                  <c:v>#N/A</c:v>
                </c:pt>
                <c:pt idx="794">
                  <c:v>#N/A</c:v>
                </c:pt>
                <c:pt idx="795">
                  <c:v>#N/A</c:v>
                </c:pt>
                <c:pt idx="796">
                  <c:v>#N/A</c:v>
                </c:pt>
                <c:pt idx="797">
                  <c:v>#N/A</c:v>
                </c:pt>
                <c:pt idx="798">
                  <c:v>#N/A</c:v>
                </c:pt>
                <c:pt idx="799">
                  <c:v>0.46027397260273972</c:v>
                </c:pt>
                <c:pt idx="800">
                  <c:v>0.46027397260273972</c:v>
                </c:pt>
                <c:pt idx="801">
                  <c:v>#N/A</c:v>
                </c:pt>
                <c:pt idx="802">
                  <c:v>#N/A</c:v>
                </c:pt>
                <c:pt idx="803">
                  <c:v>#N/A</c:v>
                </c:pt>
                <c:pt idx="804">
                  <c:v>#N/A</c:v>
                </c:pt>
                <c:pt idx="805">
                  <c:v>#N/A</c:v>
                </c:pt>
                <c:pt idx="806">
                  <c:v>0.46027397260273972</c:v>
                </c:pt>
                <c:pt idx="807">
                  <c:v>#N/A</c:v>
                </c:pt>
                <c:pt idx="808">
                  <c:v>0.46027397260273972</c:v>
                </c:pt>
                <c:pt idx="809">
                  <c:v>0.46027397260273972</c:v>
                </c:pt>
                <c:pt idx="810">
                  <c:v>0.46027397260273972</c:v>
                </c:pt>
                <c:pt idx="811">
                  <c:v>#N/A</c:v>
                </c:pt>
                <c:pt idx="812">
                  <c:v>#N/A</c:v>
                </c:pt>
                <c:pt idx="813">
                  <c:v>#N/A</c:v>
                </c:pt>
                <c:pt idx="814">
                  <c:v>0.46027397260273972</c:v>
                </c:pt>
                <c:pt idx="815">
                  <c:v>#N/A</c:v>
                </c:pt>
                <c:pt idx="816">
                  <c:v>#N/A</c:v>
                </c:pt>
                <c:pt idx="817">
                  <c:v>#N/A</c:v>
                </c:pt>
                <c:pt idx="818">
                  <c:v>#N/A</c:v>
                </c:pt>
                <c:pt idx="819">
                  <c:v>#N/A</c:v>
                </c:pt>
                <c:pt idx="820">
                  <c:v>0.46027397260273972</c:v>
                </c:pt>
                <c:pt idx="821">
                  <c:v>0.46027397260273972</c:v>
                </c:pt>
                <c:pt idx="822">
                  <c:v>#N/A</c:v>
                </c:pt>
                <c:pt idx="823">
                  <c:v>#N/A</c:v>
                </c:pt>
                <c:pt idx="824">
                  <c:v>#N/A</c:v>
                </c:pt>
                <c:pt idx="825">
                  <c:v>#N/A</c:v>
                </c:pt>
                <c:pt idx="826">
                  <c:v>0.46027397260273972</c:v>
                </c:pt>
                <c:pt idx="827">
                  <c:v>#N/A</c:v>
                </c:pt>
                <c:pt idx="828">
                  <c:v>#N/A</c:v>
                </c:pt>
                <c:pt idx="829">
                  <c:v>#N/A</c:v>
                </c:pt>
                <c:pt idx="830">
                  <c:v>0.46027397260273972</c:v>
                </c:pt>
                <c:pt idx="831">
                  <c:v>#N/A</c:v>
                </c:pt>
                <c:pt idx="832">
                  <c:v>0.46027397260273972</c:v>
                </c:pt>
                <c:pt idx="833">
                  <c:v>0.46027397260273972</c:v>
                </c:pt>
                <c:pt idx="834">
                  <c:v>0.46027397260273972</c:v>
                </c:pt>
                <c:pt idx="835">
                  <c:v>0.46027397260273972</c:v>
                </c:pt>
                <c:pt idx="836">
                  <c:v>#N/A</c:v>
                </c:pt>
                <c:pt idx="837">
                  <c:v>#N/A</c:v>
                </c:pt>
                <c:pt idx="838">
                  <c:v>0.46027397260273972</c:v>
                </c:pt>
                <c:pt idx="839">
                  <c:v>0.46027397260273972</c:v>
                </c:pt>
                <c:pt idx="840">
                  <c:v>0.46027397260273972</c:v>
                </c:pt>
                <c:pt idx="841">
                  <c:v>0.46027397260273972</c:v>
                </c:pt>
                <c:pt idx="842">
                  <c:v>0.46027397260273972</c:v>
                </c:pt>
                <c:pt idx="843">
                  <c:v>0.46027397260273972</c:v>
                </c:pt>
                <c:pt idx="844">
                  <c:v>0.46027397260273972</c:v>
                </c:pt>
                <c:pt idx="845">
                  <c:v>#N/A</c:v>
                </c:pt>
                <c:pt idx="846">
                  <c:v>#N/A</c:v>
                </c:pt>
                <c:pt idx="847">
                  <c:v>#N/A</c:v>
                </c:pt>
                <c:pt idx="848">
                  <c:v>#N/A</c:v>
                </c:pt>
                <c:pt idx="849">
                  <c:v>0.46027397260273972</c:v>
                </c:pt>
                <c:pt idx="850">
                  <c:v>#N/A</c:v>
                </c:pt>
                <c:pt idx="851">
                  <c:v>#N/A</c:v>
                </c:pt>
                <c:pt idx="852">
                  <c:v>#N/A</c:v>
                </c:pt>
                <c:pt idx="853">
                  <c:v>#N/A</c:v>
                </c:pt>
                <c:pt idx="854">
                  <c:v>#N/A</c:v>
                </c:pt>
                <c:pt idx="855">
                  <c:v>#N/A</c:v>
                </c:pt>
                <c:pt idx="856">
                  <c:v>0.46027397260273972</c:v>
                </c:pt>
                <c:pt idx="857">
                  <c:v>#N/A</c:v>
                </c:pt>
                <c:pt idx="858">
                  <c:v>0.46027397260273972</c:v>
                </c:pt>
                <c:pt idx="859">
                  <c:v>#N/A</c:v>
                </c:pt>
                <c:pt idx="860">
                  <c:v>0.46027397260273972</c:v>
                </c:pt>
                <c:pt idx="861">
                  <c:v>#N/A</c:v>
                </c:pt>
                <c:pt idx="862">
                  <c:v>#N/A</c:v>
                </c:pt>
                <c:pt idx="863">
                  <c:v>0.46027397260273972</c:v>
                </c:pt>
                <c:pt idx="864">
                  <c:v>#N/A</c:v>
                </c:pt>
                <c:pt idx="865">
                  <c:v>#N/A</c:v>
                </c:pt>
                <c:pt idx="866">
                  <c:v>#N/A</c:v>
                </c:pt>
                <c:pt idx="867">
                  <c:v>#N/A</c:v>
                </c:pt>
                <c:pt idx="868">
                  <c:v>0.46027397260273972</c:v>
                </c:pt>
                <c:pt idx="869">
                  <c:v>#N/A</c:v>
                </c:pt>
                <c:pt idx="870">
                  <c:v>#N/A</c:v>
                </c:pt>
                <c:pt idx="871">
                  <c:v>#N/A</c:v>
                </c:pt>
                <c:pt idx="872">
                  <c:v>#N/A</c:v>
                </c:pt>
                <c:pt idx="873">
                  <c:v>#N/A</c:v>
                </c:pt>
                <c:pt idx="874">
                  <c:v>#N/A</c:v>
                </c:pt>
                <c:pt idx="875">
                  <c:v>#N/A</c:v>
                </c:pt>
                <c:pt idx="876">
                  <c:v>#N/A</c:v>
                </c:pt>
                <c:pt idx="877">
                  <c:v>#N/A</c:v>
                </c:pt>
                <c:pt idx="878">
                  <c:v>0.46027397260273972</c:v>
                </c:pt>
                <c:pt idx="879">
                  <c:v>#N/A</c:v>
                </c:pt>
                <c:pt idx="880">
                  <c:v>#N/A</c:v>
                </c:pt>
                <c:pt idx="881">
                  <c:v>#N/A</c:v>
                </c:pt>
                <c:pt idx="882">
                  <c:v>#N/A</c:v>
                </c:pt>
                <c:pt idx="883">
                  <c:v>#N/A</c:v>
                </c:pt>
                <c:pt idx="884">
                  <c:v>#N/A</c:v>
                </c:pt>
                <c:pt idx="885">
                  <c:v>#N/A</c:v>
                </c:pt>
                <c:pt idx="886">
                  <c:v>#N/A</c:v>
                </c:pt>
                <c:pt idx="887">
                  <c:v>#N/A</c:v>
                </c:pt>
                <c:pt idx="888">
                  <c:v>#N/A</c:v>
                </c:pt>
                <c:pt idx="889">
                  <c:v>0.46027397260273972</c:v>
                </c:pt>
                <c:pt idx="890">
                  <c:v>#N/A</c:v>
                </c:pt>
                <c:pt idx="891">
                  <c:v>0.46027397260273972</c:v>
                </c:pt>
                <c:pt idx="892">
                  <c:v>0.46027397260273972</c:v>
                </c:pt>
                <c:pt idx="893">
                  <c:v>#N/A</c:v>
                </c:pt>
                <c:pt idx="894">
                  <c:v>#N/A</c:v>
                </c:pt>
                <c:pt idx="895">
                  <c:v>0.46027397260273972</c:v>
                </c:pt>
                <c:pt idx="896">
                  <c:v>0.46027397260273972</c:v>
                </c:pt>
                <c:pt idx="897">
                  <c:v>#N/A</c:v>
                </c:pt>
                <c:pt idx="898">
                  <c:v>#N/A</c:v>
                </c:pt>
                <c:pt idx="899">
                  <c:v>#N/A</c:v>
                </c:pt>
                <c:pt idx="900">
                  <c:v>#N/A</c:v>
                </c:pt>
                <c:pt idx="901">
                  <c:v>#N/A</c:v>
                </c:pt>
                <c:pt idx="902">
                  <c:v>#N/A</c:v>
                </c:pt>
                <c:pt idx="903">
                  <c:v>0.46301369863013697</c:v>
                </c:pt>
                <c:pt idx="904">
                  <c:v>0.46301369863013697</c:v>
                </c:pt>
                <c:pt idx="905">
                  <c:v>#N/A</c:v>
                </c:pt>
                <c:pt idx="906">
                  <c:v>#N/A</c:v>
                </c:pt>
                <c:pt idx="907">
                  <c:v>#N/A</c:v>
                </c:pt>
                <c:pt idx="908">
                  <c:v>0.46301369863013697</c:v>
                </c:pt>
                <c:pt idx="909">
                  <c:v>#N/A</c:v>
                </c:pt>
                <c:pt idx="910">
                  <c:v>0.46301369863013697</c:v>
                </c:pt>
                <c:pt idx="911">
                  <c:v>0.46301369863013697</c:v>
                </c:pt>
                <c:pt idx="912">
                  <c:v>#N/A</c:v>
                </c:pt>
                <c:pt idx="913">
                  <c:v>#N/A</c:v>
                </c:pt>
                <c:pt idx="914">
                  <c:v>0.46301369863013697</c:v>
                </c:pt>
                <c:pt idx="915">
                  <c:v>#N/A</c:v>
                </c:pt>
                <c:pt idx="916">
                  <c:v>0.46301369863013697</c:v>
                </c:pt>
                <c:pt idx="917">
                  <c:v>0.46301369863013697</c:v>
                </c:pt>
                <c:pt idx="918">
                  <c:v>0.46301369863013697</c:v>
                </c:pt>
                <c:pt idx="919">
                  <c:v>#N/A</c:v>
                </c:pt>
                <c:pt idx="920">
                  <c:v>#N/A</c:v>
                </c:pt>
                <c:pt idx="921">
                  <c:v>#N/A</c:v>
                </c:pt>
                <c:pt idx="922">
                  <c:v>0.46301369863013697</c:v>
                </c:pt>
                <c:pt idx="923">
                  <c:v>0.46301369863013697</c:v>
                </c:pt>
                <c:pt idx="924">
                  <c:v>#N/A</c:v>
                </c:pt>
                <c:pt idx="925">
                  <c:v>#N/A</c:v>
                </c:pt>
                <c:pt idx="926">
                  <c:v>#N/A</c:v>
                </c:pt>
                <c:pt idx="927">
                  <c:v>#N/A</c:v>
                </c:pt>
                <c:pt idx="928">
                  <c:v>#N/A</c:v>
                </c:pt>
                <c:pt idx="929">
                  <c:v>#N/A</c:v>
                </c:pt>
                <c:pt idx="930">
                  <c:v>0.46301369863013697</c:v>
                </c:pt>
                <c:pt idx="931">
                  <c:v>0.46301369863013697</c:v>
                </c:pt>
                <c:pt idx="932">
                  <c:v>0.46301369863013697</c:v>
                </c:pt>
                <c:pt idx="933">
                  <c:v>#N/A</c:v>
                </c:pt>
                <c:pt idx="934">
                  <c:v>#N/A</c:v>
                </c:pt>
                <c:pt idx="935">
                  <c:v>#N/A</c:v>
                </c:pt>
                <c:pt idx="936">
                  <c:v>0.46301369863013697</c:v>
                </c:pt>
                <c:pt idx="937">
                  <c:v>#N/A</c:v>
                </c:pt>
                <c:pt idx="938">
                  <c:v>#N/A</c:v>
                </c:pt>
                <c:pt idx="939">
                  <c:v>0.46301369863013697</c:v>
                </c:pt>
                <c:pt idx="940">
                  <c:v>#N/A</c:v>
                </c:pt>
                <c:pt idx="941">
                  <c:v>0.46301369863013697</c:v>
                </c:pt>
                <c:pt idx="942">
                  <c:v>0.46301369863013697</c:v>
                </c:pt>
                <c:pt idx="943">
                  <c:v>#N/A</c:v>
                </c:pt>
                <c:pt idx="944">
                  <c:v>#N/A</c:v>
                </c:pt>
                <c:pt idx="945">
                  <c:v>#N/A</c:v>
                </c:pt>
                <c:pt idx="946">
                  <c:v>#N/A</c:v>
                </c:pt>
                <c:pt idx="947">
                  <c:v>#N/A</c:v>
                </c:pt>
                <c:pt idx="948">
                  <c:v>#N/A</c:v>
                </c:pt>
                <c:pt idx="949">
                  <c:v>0.46301369863013697</c:v>
                </c:pt>
                <c:pt idx="950">
                  <c:v>0.46301369863013697</c:v>
                </c:pt>
                <c:pt idx="951">
                  <c:v>0.46301369863013697</c:v>
                </c:pt>
                <c:pt idx="952">
                  <c:v>0.46301369863013697</c:v>
                </c:pt>
                <c:pt idx="953">
                  <c:v>#N/A</c:v>
                </c:pt>
                <c:pt idx="954">
                  <c:v>0.46301369863013697</c:v>
                </c:pt>
                <c:pt idx="955">
                  <c:v>#N/A</c:v>
                </c:pt>
                <c:pt idx="956">
                  <c:v>0.46301369863013697</c:v>
                </c:pt>
                <c:pt idx="957">
                  <c:v>#N/A</c:v>
                </c:pt>
                <c:pt idx="958">
                  <c:v>0.46301369863013697</c:v>
                </c:pt>
                <c:pt idx="959">
                  <c:v>#N/A</c:v>
                </c:pt>
                <c:pt idx="960">
                  <c:v>#N/A</c:v>
                </c:pt>
                <c:pt idx="961">
                  <c:v>#N/A</c:v>
                </c:pt>
                <c:pt idx="962">
                  <c:v>#N/A</c:v>
                </c:pt>
                <c:pt idx="963">
                  <c:v>#N/A</c:v>
                </c:pt>
                <c:pt idx="964">
                  <c:v>0.46301369863013697</c:v>
                </c:pt>
                <c:pt idx="965">
                  <c:v>#N/A</c:v>
                </c:pt>
                <c:pt idx="966">
                  <c:v>#N/A</c:v>
                </c:pt>
                <c:pt idx="967">
                  <c:v>#N/A</c:v>
                </c:pt>
                <c:pt idx="968">
                  <c:v>#N/A</c:v>
                </c:pt>
                <c:pt idx="969">
                  <c:v>#N/A</c:v>
                </c:pt>
                <c:pt idx="970">
                  <c:v>0.46301369863013697</c:v>
                </c:pt>
                <c:pt idx="971">
                  <c:v>0.46301369863013697</c:v>
                </c:pt>
                <c:pt idx="972">
                  <c:v>#N/A</c:v>
                </c:pt>
                <c:pt idx="973">
                  <c:v>0.46301369863013697</c:v>
                </c:pt>
                <c:pt idx="974">
                  <c:v>0.46575342465753422</c:v>
                </c:pt>
                <c:pt idx="975">
                  <c:v>#N/A</c:v>
                </c:pt>
                <c:pt idx="976">
                  <c:v>0.46575342465753422</c:v>
                </c:pt>
                <c:pt idx="977">
                  <c:v>#N/A</c:v>
                </c:pt>
                <c:pt idx="978">
                  <c:v>0.46575342465753422</c:v>
                </c:pt>
                <c:pt idx="979">
                  <c:v>0.46575342465753422</c:v>
                </c:pt>
                <c:pt idx="980">
                  <c:v>0.46575342465753422</c:v>
                </c:pt>
                <c:pt idx="981">
                  <c:v>0.46575342465753422</c:v>
                </c:pt>
                <c:pt idx="982">
                  <c:v>0.46575342465753422</c:v>
                </c:pt>
                <c:pt idx="983">
                  <c:v>#N/A</c:v>
                </c:pt>
                <c:pt idx="984">
                  <c:v>0.46575342465753422</c:v>
                </c:pt>
                <c:pt idx="985">
                  <c:v>#N/A</c:v>
                </c:pt>
                <c:pt idx="986">
                  <c:v>0.46575342465753422</c:v>
                </c:pt>
                <c:pt idx="987">
                  <c:v>#N/A</c:v>
                </c:pt>
                <c:pt idx="988">
                  <c:v>#N/A</c:v>
                </c:pt>
                <c:pt idx="989">
                  <c:v>0.46575342465753422</c:v>
                </c:pt>
                <c:pt idx="990">
                  <c:v>#N/A</c:v>
                </c:pt>
                <c:pt idx="991">
                  <c:v>0.46575342465753422</c:v>
                </c:pt>
                <c:pt idx="992">
                  <c:v>#N/A</c:v>
                </c:pt>
                <c:pt idx="993">
                  <c:v>0.46575342465753422</c:v>
                </c:pt>
                <c:pt idx="994">
                  <c:v>0.46575342465753422</c:v>
                </c:pt>
                <c:pt idx="995">
                  <c:v>#N/A</c:v>
                </c:pt>
                <c:pt idx="996">
                  <c:v>#N/A</c:v>
                </c:pt>
                <c:pt idx="997">
                  <c:v>0.46575342465753422</c:v>
                </c:pt>
                <c:pt idx="998">
                  <c:v>#N/A</c:v>
                </c:pt>
                <c:pt idx="999">
                  <c:v>#N/A</c:v>
                </c:pt>
                <c:pt idx="1000">
                  <c:v>#N/A</c:v>
                </c:pt>
                <c:pt idx="1001">
                  <c:v>#N/A</c:v>
                </c:pt>
                <c:pt idx="1002">
                  <c:v>#N/A</c:v>
                </c:pt>
                <c:pt idx="1003">
                  <c:v>#N/A</c:v>
                </c:pt>
                <c:pt idx="1004">
                  <c:v>#N/A</c:v>
                </c:pt>
                <c:pt idx="1005">
                  <c:v>0.46575342465753422</c:v>
                </c:pt>
                <c:pt idx="1006">
                  <c:v>#N/A</c:v>
                </c:pt>
                <c:pt idx="1007">
                  <c:v>0.46575342465753422</c:v>
                </c:pt>
                <c:pt idx="1008">
                  <c:v>#N/A</c:v>
                </c:pt>
                <c:pt idx="1009">
                  <c:v>0.46575342465753422</c:v>
                </c:pt>
                <c:pt idx="1010">
                  <c:v>0.46575342465753422</c:v>
                </c:pt>
                <c:pt idx="1011">
                  <c:v>0.46575342465753422</c:v>
                </c:pt>
                <c:pt idx="1012">
                  <c:v>0.46575342465753422</c:v>
                </c:pt>
                <c:pt idx="1013">
                  <c:v>0.46575342465753422</c:v>
                </c:pt>
                <c:pt idx="1014">
                  <c:v>0.46575342465753422</c:v>
                </c:pt>
                <c:pt idx="1015">
                  <c:v>#N/A</c:v>
                </c:pt>
                <c:pt idx="1016">
                  <c:v>#N/A</c:v>
                </c:pt>
                <c:pt idx="1017">
                  <c:v>0.46575342465753422</c:v>
                </c:pt>
                <c:pt idx="1018">
                  <c:v>#N/A</c:v>
                </c:pt>
                <c:pt idx="1019">
                  <c:v>0.46575342465753422</c:v>
                </c:pt>
                <c:pt idx="1020">
                  <c:v>#N/A</c:v>
                </c:pt>
                <c:pt idx="1021">
                  <c:v>0.46575342465753422</c:v>
                </c:pt>
                <c:pt idx="1022">
                  <c:v>#N/A</c:v>
                </c:pt>
                <c:pt idx="1023">
                  <c:v>0.46575342465753422</c:v>
                </c:pt>
                <c:pt idx="1024">
                  <c:v>0.46575342465753422</c:v>
                </c:pt>
                <c:pt idx="1025">
                  <c:v>#N/A</c:v>
                </c:pt>
                <c:pt idx="1026">
                  <c:v>0.46575342465753422</c:v>
                </c:pt>
                <c:pt idx="1027">
                  <c:v>#N/A</c:v>
                </c:pt>
                <c:pt idx="1028">
                  <c:v>#N/A</c:v>
                </c:pt>
                <c:pt idx="1029">
                  <c:v>0.46575342465753422</c:v>
                </c:pt>
                <c:pt idx="1030">
                  <c:v>0.46575342465753422</c:v>
                </c:pt>
                <c:pt idx="1031">
                  <c:v>0.46575342465753422</c:v>
                </c:pt>
                <c:pt idx="1032">
                  <c:v>#N/A</c:v>
                </c:pt>
                <c:pt idx="1033">
                  <c:v>0.46575342465753422</c:v>
                </c:pt>
                <c:pt idx="1034">
                  <c:v>0.46575342465753422</c:v>
                </c:pt>
                <c:pt idx="1035">
                  <c:v>0.46575342465753422</c:v>
                </c:pt>
                <c:pt idx="1036">
                  <c:v>#N/A</c:v>
                </c:pt>
                <c:pt idx="1037">
                  <c:v>0.46575342465753422</c:v>
                </c:pt>
                <c:pt idx="1038">
                  <c:v>0.46575342465753422</c:v>
                </c:pt>
                <c:pt idx="1039">
                  <c:v>#N/A</c:v>
                </c:pt>
                <c:pt idx="1040">
                  <c:v>#N/A</c:v>
                </c:pt>
                <c:pt idx="1041">
                  <c:v>#N/A</c:v>
                </c:pt>
                <c:pt idx="1042">
                  <c:v>#N/A</c:v>
                </c:pt>
                <c:pt idx="1043">
                  <c:v>0.46849315068493153</c:v>
                </c:pt>
                <c:pt idx="1044">
                  <c:v>0.47123287671232877</c:v>
                </c:pt>
                <c:pt idx="1045">
                  <c:v>0.47123287671232877</c:v>
                </c:pt>
                <c:pt idx="1046">
                  <c:v>0.47123287671232877</c:v>
                </c:pt>
                <c:pt idx="1047">
                  <c:v>#N/A</c:v>
                </c:pt>
                <c:pt idx="1048">
                  <c:v>0.47123287671232877</c:v>
                </c:pt>
                <c:pt idx="1049">
                  <c:v>#N/A</c:v>
                </c:pt>
                <c:pt idx="1050">
                  <c:v>0.47123287671232877</c:v>
                </c:pt>
                <c:pt idx="1051">
                  <c:v>#N/A</c:v>
                </c:pt>
                <c:pt idx="1052">
                  <c:v>#N/A</c:v>
                </c:pt>
                <c:pt idx="1053">
                  <c:v>#N/A</c:v>
                </c:pt>
                <c:pt idx="1054">
                  <c:v>#N/A</c:v>
                </c:pt>
                <c:pt idx="1055">
                  <c:v>0.47123287671232877</c:v>
                </c:pt>
                <c:pt idx="1056">
                  <c:v>#N/A</c:v>
                </c:pt>
                <c:pt idx="1057">
                  <c:v>#N/A</c:v>
                </c:pt>
                <c:pt idx="1058">
                  <c:v>#N/A</c:v>
                </c:pt>
                <c:pt idx="1059">
                  <c:v>0.47397260273972602</c:v>
                </c:pt>
                <c:pt idx="1060">
                  <c:v>#N/A</c:v>
                </c:pt>
                <c:pt idx="1061">
                  <c:v>#N/A</c:v>
                </c:pt>
                <c:pt idx="1062">
                  <c:v>#N/A</c:v>
                </c:pt>
                <c:pt idx="1063">
                  <c:v>#N/A</c:v>
                </c:pt>
                <c:pt idx="1064">
                  <c:v>#N/A</c:v>
                </c:pt>
                <c:pt idx="1065">
                  <c:v>#N/A</c:v>
                </c:pt>
                <c:pt idx="1066">
                  <c:v>0.47397260273972602</c:v>
                </c:pt>
                <c:pt idx="1067">
                  <c:v>#N/A</c:v>
                </c:pt>
                <c:pt idx="1068">
                  <c:v>#N/A</c:v>
                </c:pt>
                <c:pt idx="1069">
                  <c:v>#N/A</c:v>
                </c:pt>
                <c:pt idx="1070">
                  <c:v>#N/A</c:v>
                </c:pt>
                <c:pt idx="1071">
                  <c:v>#N/A</c:v>
                </c:pt>
                <c:pt idx="1072">
                  <c:v>#N/A</c:v>
                </c:pt>
                <c:pt idx="1073">
                  <c:v>#N/A</c:v>
                </c:pt>
                <c:pt idx="1074">
                  <c:v>#N/A</c:v>
                </c:pt>
                <c:pt idx="1075">
                  <c:v>#N/A</c:v>
                </c:pt>
                <c:pt idx="1076">
                  <c:v>0.47397260273972602</c:v>
                </c:pt>
                <c:pt idx="1077">
                  <c:v>#N/A</c:v>
                </c:pt>
                <c:pt idx="1078">
                  <c:v>#N/A</c:v>
                </c:pt>
                <c:pt idx="1079">
                  <c:v>#N/A</c:v>
                </c:pt>
                <c:pt idx="1080">
                  <c:v>0.47397260273972602</c:v>
                </c:pt>
                <c:pt idx="1081">
                  <c:v>#N/A</c:v>
                </c:pt>
                <c:pt idx="1082">
                  <c:v>#N/A</c:v>
                </c:pt>
                <c:pt idx="1083">
                  <c:v>0.47397260273972602</c:v>
                </c:pt>
                <c:pt idx="1084">
                  <c:v>0.47397260273972602</c:v>
                </c:pt>
                <c:pt idx="1085">
                  <c:v>0.47397260273972602</c:v>
                </c:pt>
                <c:pt idx="1086">
                  <c:v>0.47397260273972602</c:v>
                </c:pt>
                <c:pt idx="1087">
                  <c:v>0.47671232876712327</c:v>
                </c:pt>
                <c:pt idx="1088">
                  <c:v>#N/A</c:v>
                </c:pt>
                <c:pt idx="1089">
                  <c:v>0.47671232876712327</c:v>
                </c:pt>
                <c:pt idx="1090">
                  <c:v>#N/A</c:v>
                </c:pt>
                <c:pt idx="1091">
                  <c:v>0.47671232876712327</c:v>
                </c:pt>
                <c:pt idx="1092">
                  <c:v>#N/A</c:v>
                </c:pt>
                <c:pt idx="1093">
                  <c:v>#N/A</c:v>
                </c:pt>
                <c:pt idx="1094">
                  <c:v>#N/A</c:v>
                </c:pt>
                <c:pt idx="1095">
                  <c:v>#N/A</c:v>
                </c:pt>
                <c:pt idx="1096">
                  <c:v>#N/A</c:v>
                </c:pt>
                <c:pt idx="1097">
                  <c:v>#N/A</c:v>
                </c:pt>
                <c:pt idx="1098">
                  <c:v>#N/A</c:v>
                </c:pt>
                <c:pt idx="1099">
                  <c:v>#N/A</c:v>
                </c:pt>
                <c:pt idx="1100">
                  <c:v>#N/A</c:v>
                </c:pt>
                <c:pt idx="1101">
                  <c:v>#N/A</c:v>
                </c:pt>
                <c:pt idx="1102">
                  <c:v>#N/A</c:v>
                </c:pt>
                <c:pt idx="1103">
                  <c:v>#N/A</c:v>
                </c:pt>
                <c:pt idx="1104">
                  <c:v>0.48219178082191783</c:v>
                </c:pt>
                <c:pt idx="1105">
                  <c:v>#N/A</c:v>
                </c:pt>
                <c:pt idx="1106">
                  <c:v>#N/A</c:v>
                </c:pt>
                <c:pt idx="1107">
                  <c:v>#N/A</c:v>
                </c:pt>
                <c:pt idx="1108">
                  <c:v>#N/A</c:v>
                </c:pt>
                <c:pt idx="1109">
                  <c:v>0.48219178082191783</c:v>
                </c:pt>
                <c:pt idx="1110">
                  <c:v>0.48219178082191783</c:v>
                </c:pt>
                <c:pt idx="1111">
                  <c:v>0.48219178082191783</c:v>
                </c:pt>
                <c:pt idx="1112">
                  <c:v>0.48219178082191783</c:v>
                </c:pt>
                <c:pt idx="1113">
                  <c:v>0.48219178082191783</c:v>
                </c:pt>
                <c:pt idx="1114">
                  <c:v>#N/A</c:v>
                </c:pt>
                <c:pt idx="1115">
                  <c:v>0.48219178082191783</c:v>
                </c:pt>
                <c:pt idx="1116">
                  <c:v>#N/A</c:v>
                </c:pt>
                <c:pt idx="1117">
                  <c:v>0.48219178082191783</c:v>
                </c:pt>
                <c:pt idx="1118">
                  <c:v>0.48219178082191783</c:v>
                </c:pt>
                <c:pt idx="1119">
                  <c:v>#N/A</c:v>
                </c:pt>
                <c:pt idx="1120">
                  <c:v>0.48493150684931507</c:v>
                </c:pt>
                <c:pt idx="1121">
                  <c:v>0.48493150684931507</c:v>
                </c:pt>
                <c:pt idx="1122">
                  <c:v>0.49315068493150682</c:v>
                </c:pt>
                <c:pt idx="1123">
                  <c:v>0.49315068493150682</c:v>
                </c:pt>
                <c:pt idx="1124">
                  <c:v>0.49315068493150682</c:v>
                </c:pt>
                <c:pt idx="1125">
                  <c:v>#N/A</c:v>
                </c:pt>
                <c:pt idx="1126">
                  <c:v>#N/A</c:v>
                </c:pt>
                <c:pt idx="1127">
                  <c:v>#N/A</c:v>
                </c:pt>
                <c:pt idx="1128">
                  <c:v>#N/A</c:v>
                </c:pt>
                <c:pt idx="1129">
                  <c:v>#N/A</c:v>
                </c:pt>
                <c:pt idx="1130">
                  <c:v>#N/A</c:v>
                </c:pt>
                <c:pt idx="1131">
                  <c:v>0.49315068493150682</c:v>
                </c:pt>
                <c:pt idx="1132">
                  <c:v>0.49315068493150682</c:v>
                </c:pt>
                <c:pt idx="1133">
                  <c:v>0.49315068493150682</c:v>
                </c:pt>
                <c:pt idx="1134">
                  <c:v>#N/A</c:v>
                </c:pt>
                <c:pt idx="1135">
                  <c:v>#N/A</c:v>
                </c:pt>
                <c:pt idx="1136">
                  <c:v>0.49315068493150682</c:v>
                </c:pt>
                <c:pt idx="1137">
                  <c:v>#N/A</c:v>
                </c:pt>
                <c:pt idx="1138">
                  <c:v>#N/A</c:v>
                </c:pt>
                <c:pt idx="1139">
                  <c:v>0.49315068493150682</c:v>
                </c:pt>
                <c:pt idx="1140">
                  <c:v>#N/A</c:v>
                </c:pt>
                <c:pt idx="1141">
                  <c:v>0.49589041095890413</c:v>
                </c:pt>
                <c:pt idx="1142">
                  <c:v>0.49589041095890413</c:v>
                </c:pt>
                <c:pt idx="1143">
                  <c:v>#N/A</c:v>
                </c:pt>
                <c:pt idx="1144">
                  <c:v>0.49863013698630138</c:v>
                </c:pt>
                <c:pt idx="1145">
                  <c:v>0.49863013698630138</c:v>
                </c:pt>
                <c:pt idx="1146">
                  <c:v>0.49863013698630138</c:v>
                </c:pt>
                <c:pt idx="1147">
                  <c:v>0.49863013698630138</c:v>
                </c:pt>
                <c:pt idx="1148">
                  <c:v>0.50136986301369868</c:v>
                </c:pt>
                <c:pt idx="1149">
                  <c:v>#N/A</c:v>
                </c:pt>
                <c:pt idx="1150">
                  <c:v>#N/A</c:v>
                </c:pt>
                <c:pt idx="1151">
                  <c:v>#N/A</c:v>
                </c:pt>
                <c:pt idx="1152">
                  <c:v>#N/A</c:v>
                </c:pt>
                <c:pt idx="1153">
                  <c:v>#N/A</c:v>
                </c:pt>
                <c:pt idx="1154">
                  <c:v>#N/A</c:v>
                </c:pt>
                <c:pt idx="1155">
                  <c:v>#N/A</c:v>
                </c:pt>
                <c:pt idx="1156">
                  <c:v>0.50410958904109593</c:v>
                </c:pt>
                <c:pt idx="1157">
                  <c:v>0.50410958904109593</c:v>
                </c:pt>
                <c:pt idx="1158">
                  <c:v>#N/A</c:v>
                </c:pt>
                <c:pt idx="1159">
                  <c:v>#N/A</c:v>
                </c:pt>
                <c:pt idx="1160">
                  <c:v>#N/A</c:v>
                </c:pt>
                <c:pt idx="1161">
                  <c:v>#N/A</c:v>
                </c:pt>
                <c:pt idx="1162">
                  <c:v>0.51232876712328768</c:v>
                </c:pt>
                <c:pt idx="1163">
                  <c:v>0.51232876712328768</c:v>
                </c:pt>
                <c:pt idx="1164">
                  <c:v>#N/A</c:v>
                </c:pt>
                <c:pt idx="1165">
                  <c:v>0.51232876712328768</c:v>
                </c:pt>
                <c:pt idx="1166">
                  <c:v>#N/A</c:v>
                </c:pt>
                <c:pt idx="1167">
                  <c:v>#N/A</c:v>
                </c:pt>
                <c:pt idx="1168">
                  <c:v>0.51232876712328768</c:v>
                </c:pt>
                <c:pt idx="1169">
                  <c:v>#N/A</c:v>
                </c:pt>
                <c:pt idx="1170">
                  <c:v>0.51232876712328768</c:v>
                </c:pt>
                <c:pt idx="1171">
                  <c:v>#N/A</c:v>
                </c:pt>
                <c:pt idx="1172">
                  <c:v>0.51232876712328768</c:v>
                </c:pt>
                <c:pt idx="1173">
                  <c:v>#N/A</c:v>
                </c:pt>
                <c:pt idx="1174">
                  <c:v>0.51506849315068493</c:v>
                </c:pt>
                <c:pt idx="1175">
                  <c:v>#N/A</c:v>
                </c:pt>
                <c:pt idx="1176">
                  <c:v>0.51506849315068493</c:v>
                </c:pt>
                <c:pt idx="1177">
                  <c:v>#N/A</c:v>
                </c:pt>
                <c:pt idx="1178">
                  <c:v>#N/A</c:v>
                </c:pt>
                <c:pt idx="1179">
                  <c:v>0.51506849315068493</c:v>
                </c:pt>
                <c:pt idx="1180">
                  <c:v>0.51506849315068493</c:v>
                </c:pt>
                <c:pt idx="1181">
                  <c:v>0.51506849315068493</c:v>
                </c:pt>
                <c:pt idx="1182">
                  <c:v>0.51506849315068493</c:v>
                </c:pt>
                <c:pt idx="1183">
                  <c:v>0.51506849315068493</c:v>
                </c:pt>
                <c:pt idx="1184">
                  <c:v>0.51506849315068493</c:v>
                </c:pt>
                <c:pt idx="1185">
                  <c:v>#N/A</c:v>
                </c:pt>
                <c:pt idx="1186">
                  <c:v>#N/A</c:v>
                </c:pt>
                <c:pt idx="1187">
                  <c:v>0.51506849315068493</c:v>
                </c:pt>
                <c:pt idx="1188">
                  <c:v>0.51506849315068493</c:v>
                </c:pt>
                <c:pt idx="1189">
                  <c:v>0.51506849315068493</c:v>
                </c:pt>
                <c:pt idx="1190">
                  <c:v>0.51506849315068493</c:v>
                </c:pt>
                <c:pt idx="1191">
                  <c:v>#N/A</c:v>
                </c:pt>
                <c:pt idx="1192">
                  <c:v>0.51506849315068493</c:v>
                </c:pt>
                <c:pt idx="1193">
                  <c:v>#N/A</c:v>
                </c:pt>
                <c:pt idx="1194">
                  <c:v>#N/A</c:v>
                </c:pt>
                <c:pt idx="1195">
                  <c:v>#N/A</c:v>
                </c:pt>
                <c:pt idx="1196">
                  <c:v>0.51506849315068493</c:v>
                </c:pt>
                <c:pt idx="1197">
                  <c:v>#N/A</c:v>
                </c:pt>
                <c:pt idx="1198">
                  <c:v>#N/A</c:v>
                </c:pt>
                <c:pt idx="1199">
                  <c:v>0.51780821917808217</c:v>
                </c:pt>
                <c:pt idx="1200">
                  <c:v>0.51780821917808217</c:v>
                </c:pt>
                <c:pt idx="1201">
                  <c:v>#N/A</c:v>
                </c:pt>
                <c:pt idx="1202">
                  <c:v>0.51780821917808217</c:v>
                </c:pt>
                <c:pt idx="1203">
                  <c:v>#N/A</c:v>
                </c:pt>
                <c:pt idx="1204">
                  <c:v>#N/A</c:v>
                </c:pt>
                <c:pt idx="1205">
                  <c:v>#N/A</c:v>
                </c:pt>
                <c:pt idx="1206">
                  <c:v>#N/A</c:v>
                </c:pt>
                <c:pt idx="1207">
                  <c:v>#N/A</c:v>
                </c:pt>
                <c:pt idx="1208">
                  <c:v>0.51780821917808217</c:v>
                </c:pt>
                <c:pt idx="1209">
                  <c:v>#N/A</c:v>
                </c:pt>
                <c:pt idx="1210">
                  <c:v>0.51780821917808217</c:v>
                </c:pt>
                <c:pt idx="1211">
                  <c:v>0.51780821917808217</c:v>
                </c:pt>
                <c:pt idx="1212">
                  <c:v>#N/A</c:v>
                </c:pt>
                <c:pt idx="1213">
                  <c:v>#N/A</c:v>
                </c:pt>
                <c:pt idx="1214">
                  <c:v>#N/A</c:v>
                </c:pt>
                <c:pt idx="1215">
                  <c:v>0.51780821917808217</c:v>
                </c:pt>
                <c:pt idx="1216">
                  <c:v>#N/A</c:v>
                </c:pt>
                <c:pt idx="1217">
                  <c:v>0.51780821917808217</c:v>
                </c:pt>
                <c:pt idx="1218">
                  <c:v>#N/A</c:v>
                </c:pt>
                <c:pt idx="1219">
                  <c:v>#N/A</c:v>
                </c:pt>
                <c:pt idx="1220">
                  <c:v>#N/A</c:v>
                </c:pt>
                <c:pt idx="1221">
                  <c:v>0.52054794520547942</c:v>
                </c:pt>
                <c:pt idx="1222">
                  <c:v>#N/A</c:v>
                </c:pt>
                <c:pt idx="1223">
                  <c:v>0.52054794520547942</c:v>
                </c:pt>
                <c:pt idx="1224">
                  <c:v>#N/A</c:v>
                </c:pt>
                <c:pt idx="1225">
                  <c:v>#N/A</c:v>
                </c:pt>
                <c:pt idx="1226">
                  <c:v>#N/A</c:v>
                </c:pt>
                <c:pt idx="1227">
                  <c:v>#N/A</c:v>
                </c:pt>
                <c:pt idx="1228">
                  <c:v>0.52054794520547942</c:v>
                </c:pt>
                <c:pt idx="1229">
                  <c:v>#N/A</c:v>
                </c:pt>
                <c:pt idx="1230">
                  <c:v>0.52054794520547942</c:v>
                </c:pt>
                <c:pt idx="1231">
                  <c:v>#N/A</c:v>
                </c:pt>
                <c:pt idx="1232">
                  <c:v>0.52054794520547942</c:v>
                </c:pt>
                <c:pt idx="1233">
                  <c:v>#N/A</c:v>
                </c:pt>
                <c:pt idx="1234">
                  <c:v>#N/A</c:v>
                </c:pt>
                <c:pt idx="1235">
                  <c:v>0.52328767123287667</c:v>
                </c:pt>
                <c:pt idx="1236">
                  <c:v>#N/A</c:v>
                </c:pt>
                <c:pt idx="1237">
                  <c:v>#N/A</c:v>
                </c:pt>
                <c:pt idx="1238">
                  <c:v>0.52328767123287667</c:v>
                </c:pt>
                <c:pt idx="1239">
                  <c:v>0.52328767123287667</c:v>
                </c:pt>
                <c:pt idx="1240">
                  <c:v>0.52328767123287667</c:v>
                </c:pt>
                <c:pt idx="1241">
                  <c:v>#N/A</c:v>
                </c:pt>
                <c:pt idx="1242">
                  <c:v>0.52328767123287667</c:v>
                </c:pt>
                <c:pt idx="1243">
                  <c:v>0.53150684931506853</c:v>
                </c:pt>
                <c:pt idx="1244">
                  <c:v>#N/A</c:v>
                </c:pt>
                <c:pt idx="1245">
                  <c:v>#N/A</c:v>
                </c:pt>
                <c:pt idx="1246">
                  <c:v>#N/A</c:v>
                </c:pt>
                <c:pt idx="1247">
                  <c:v>#N/A</c:v>
                </c:pt>
                <c:pt idx="1248">
                  <c:v>#N/A</c:v>
                </c:pt>
                <c:pt idx="1249">
                  <c:v>0.53150684931506853</c:v>
                </c:pt>
                <c:pt idx="1250">
                  <c:v>0.53150684931506853</c:v>
                </c:pt>
                <c:pt idx="1251">
                  <c:v>#N/A</c:v>
                </c:pt>
                <c:pt idx="1252">
                  <c:v>#N/A</c:v>
                </c:pt>
                <c:pt idx="1253">
                  <c:v>0.53150684931506853</c:v>
                </c:pt>
                <c:pt idx="1254">
                  <c:v>0.53150684931506853</c:v>
                </c:pt>
                <c:pt idx="1255">
                  <c:v>0.53150684931506853</c:v>
                </c:pt>
                <c:pt idx="1256">
                  <c:v>0.53150684931506853</c:v>
                </c:pt>
                <c:pt idx="1257">
                  <c:v>0.53150684931506853</c:v>
                </c:pt>
                <c:pt idx="1258">
                  <c:v>#N/A</c:v>
                </c:pt>
                <c:pt idx="1259">
                  <c:v>#N/A</c:v>
                </c:pt>
                <c:pt idx="1260">
                  <c:v>#N/A</c:v>
                </c:pt>
                <c:pt idx="1261">
                  <c:v>0.53150684931506853</c:v>
                </c:pt>
                <c:pt idx="1262">
                  <c:v>0.53150684931506853</c:v>
                </c:pt>
                <c:pt idx="1263">
                  <c:v>#N/A</c:v>
                </c:pt>
                <c:pt idx="1264">
                  <c:v>#N/A</c:v>
                </c:pt>
                <c:pt idx="1265">
                  <c:v>#N/A</c:v>
                </c:pt>
                <c:pt idx="1266">
                  <c:v>0.53150684931506853</c:v>
                </c:pt>
                <c:pt idx="1267">
                  <c:v>0.53150684931506853</c:v>
                </c:pt>
                <c:pt idx="1268">
                  <c:v>0.53150684931506853</c:v>
                </c:pt>
                <c:pt idx="1269">
                  <c:v>0.53150684931506853</c:v>
                </c:pt>
                <c:pt idx="1270">
                  <c:v>#N/A</c:v>
                </c:pt>
                <c:pt idx="1271">
                  <c:v>0.53150684931506853</c:v>
                </c:pt>
                <c:pt idx="1272">
                  <c:v>0.53150684931506853</c:v>
                </c:pt>
                <c:pt idx="1273">
                  <c:v>0.53150684931506853</c:v>
                </c:pt>
                <c:pt idx="1274">
                  <c:v>0.53150684931506853</c:v>
                </c:pt>
                <c:pt idx="1275">
                  <c:v>0.53150684931506853</c:v>
                </c:pt>
                <c:pt idx="1276">
                  <c:v>#N/A</c:v>
                </c:pt>
                <c:pt idx="1277">
                  <c:v>#N/A</c:v>
                </c:pt>
                <c:pt idx="1278">
                  <c:v>0.53150684931506853</c:v>
                </c:pt>
                <c:pt idx="1279">
                  <c:v>0.53150684931506853</c:v>
                </c:pt>
                <c:pt idx="1280">
                  <c:v>0.53424657534246578</c:v>
                </c:pt>
                <c:pt idx="1281">
                  <c:v>0.53424657534246578</c:v>
                </c:pt>
                <c:pt idx="1282">
                  <c:v>0.53424657534246578</c:v>
                </c:pt>
                <c:pt idx="1283">
                  <c:v>#N/A</c:v>
                </c:pt>
                <c:pt idx="1284">
                  <c:v>#N/A</c:v>
                </c:pt>
                <c:pt idx="1285">
                  <c:v>#N/A</c:v>
                </c:pt>
                <c:pt idx="1286">
                  <c:v>#N/A</c:v>
                </c:pt>
                <c:pt idx="1287">
                  <c:v>#N/A</c:v>
                </c:pt>
                <c:pt idx="1288">
                  <c:v>0.53972602739726028</c:v>
                </c:pt>
                <c:pt idx="1289">
                  <c:v>#N/A</c:v>
                </c:pt>
                <c:pt idx="1290">
                  <c:v>#N/A</c:v>
                </c:pt>
                <c:pt idx="1291">
                  <c:v>#N/A</c:v>
                </c:pt>
                <c:pt idx="1292">
                  <c:v>#N/A</c:v>
                </c:pt>
                <c:pt idx="1293">
                  <c:v>#N/A</c:v>
                </c:pt>
                <c:pt idx="1294">
                  <c:v>#N/A</c:v>
                </c:pt>
                <c:pt idx="1295">
                  <c:v>#N/A</c:v>
                </c:pt>
                <c:pt idx="1296">
                  <c:v>#N/A</c:v>
                </c:pt>
                <c:pt idx="1297">
                  <c:v>#N/A</c:v>
                </c:pt>
                <c:pt idx="1298">
                  <c:v>#N/A</c:v>
                </c:pt>
                <c:pt idx="1299">
                  <c:v>#N/A</c:v>
                </c:pt>
                <c:pt idx="1300">
                  <c:v>#N/A</c:v>
                </c:pt>
                <c:pt idx="1301">
                  <c:v>#N/A</c:v>
                </c:pt>
                <c:pt idx="1302">
                  <c:v>0.54246575342465753</c:v>
                </c:pt>
                <c:pt idx="1303">
                  <c:v>0.54246575342465753</c:v>
                </c:pt>
                <c:pt idx="1304">
                  <c:v>#N/A</c:v>
                </c:pt>
                <c:pt idx="1305">
                  <c:v>#N/A</c:v>
                </c:pt>
                <c:pt idx="1306">
                  <c:v>#N/A</c:v>
                </c:pt>
                <c:pt idx="1307">
                  <c:v>#N/A</c:v>
                </c:pt>
                <c:pt idx="1308">
                  <c:v>#N/A</c:v>
                </c:pt>
                <c:pt idx="1309">
                  <c:v>#N/A</c:v>
                </c:pt>
                <c:pt idx="1310">
                  <c:v>#N/A</c:v>
                </c:pt>
                <c:pt idx="1311">
                  <c:v>#N/A</c:v>
                </c:pt>
                <c:pt idx="1312">
                  <c:v>#N/A</c:v>
                </c:pt>
                <c:pt idx="1313">
                  <c:v>#N/A</c:v>
                </c:pt>
                <c:pt idx="1314">
                  <c:v>#N/A</c:v>
                </c:pt>
                <c:pt idx="1315">
                  <c:v>#N/A</c:v>
                </c:pt>
                <c:pt idx="1316">
                  <c:v>#N/A</c:v>
                </c:pt>
                <c:pt idx="1317">
                  <c:v>#N/A</c:v>
                </c:pt>
                <c:pt idx="1318">
                  <c:v>#N/A</c:v>
                </c:pt>
                <c:pt idx="1319">
                  <c:v>0.56986301369863013</c:v>
                </c:pt>
                <c:pt idx="1320">
                  <c:v>#N/A</c:v>
                </c:pt>
                <c:pt idx="1321">
                  <c:v>0.57534246575342463</c:v>
                </c:pt>
                <c:pt idx="1322">
                  <c:v>0.57808219178082187</c:v>
                </c:pt>
                <c:pt idx="1323">
                  <c:v>#N/A</c:v>
                </c:pt>
                <c:pt idx="1324">
                  <c:v>#N/A</c:v>
                </c:pt>
                <c:pt idx="1325">
                  <c:v>#N/A</c:v>
                </c:pt>
                <c:pt idx="1326">
                  <c:v>#N/A</c:v>
                </c:pt>
                <c:pt idx="1327">
                  <c:v>0.58904109589041098</c:v>
                </c:pt>
                <c:pt idx="1328">
                  <c:v>0.59452054794520548</c:v>
                </c:pt>
                <c:pt idx="1329">
                  <c:v>0.59726027397260273</c:v>
                </c:pt>
                <c:pt idx="1330">
                  <c:v>#N/A</c:v>
                </c:pt>
                <c:pt idx="1331">
                  <c:v>#N/A</c:v>
                </c:pt>
                <c:pt idx="1332">
                  <c:v>#N/A</c:v>
                </c:pt>
                <c:pt idx="1333">
                  <c:v>#N/A</c:v>
                </c:pt>
                <c:pt idx="1334">
                  <c:v>#N/A</c:v>
                </c:pt>
                <c:pt idx="1335">
                  <c:v>0.59726027397260273</c:v>
                </c:pt>
                <c:pt idx="1336">
                  <c:v>#N/A</c:v>
                </c:pt>
                <c:pt idx="1337">
                  <c:v>#N/A</c:v>
                </c:pt>
                <c:pt idx="1338">
                  <c:v>0.59726027397260273</c:v>
                </c:pt>
                <c:pt idx="1339">
                  <c:v>#N/A</c:v>
                </c:pt>
                <c:pt idx="1340">
                  <c:v>#N/A</c:v>
                </c:pt>
                <c:pt idx="1341">
                  <c:v>0.59726027397260273</c:v>
                </c:pt>
                <c:pt idx="1342">
                  <c:v>0.59726027397260273</c:v>
                </c:pt>
                <c:pt idx="1343">
                  <c:v>0.59726027397260273</c:v>
                </c:pt>
                <c:pt idx="1344">
                  <c:v>#N/A</c:v>
                </c:pt>
                <c:pt idx="1345">
                  <c:v>0.59726027397260273</c:v>
                </c:pt>
                <c:pt idx="1346">
                  <c:v>0.59726027397260273</c:v>
                </c:pt>
                <c:pt idx="1347">
                  <c:v>0.59726027397260273</c:v>
                </c:pt>
                <c:pt idx="1348">
                  <c:v>0.59726027397260273</c:v>
                </c:pt>
                <c:pt idx="1349">
                  <c:v>0.59726027397260273</c:v>
                </c:pt>
                <c:pt idx="1350">
                  <c:v>0.59726027397260273</c:v>
                </c:pt>
                <c:pt idx="1351">
                  <c:v>0.59726027397260273</c:v>
                </c:pt>
                <c:pt idx="1352">
                  <c:v>0.59726027397260273</c:v>
                </c:pt>
                <c:pt idx="1353">
                  <c:v>0.59726027397260273</c:v>
                </c:pt>
                <c:pt idx="1354">
                  <c:v>#N/A</c:v>
                </c:pt>
                <c:pt idx="1355">
                  <c:v>#N/A</c:v>
                </c:pt>
                <c:pt idx="1356">
                  <c:v>#N/A</c:v>
                </c:pt>
                <c:pt idx="1357">
                  <c:v>#N/A</c:v>
                </c:pt>
                <c:pt idx="1358">
                  <c:v>0.6</c:v>
                </c:pt>
                <c:pt idx="1359">
                  <c:v>0.6</c:v>
                </c:pt>
                <c:pt idx="1360">
                  <c:v>0.6</c:v>
                </c:pt>
                <c:pt idx="1361">
                  <c:v>0.60821917808219184</c:v>
                </c:pt>
                <c:pt idx="1362">
                  <c:v>0.61095890410958908</c:v>
                </c:pt>
                <c:pt idx="1363">
                  <c:v>#N/A</c:v>
                </c:pt>
                <c:pt idx="1364">
                  <c:v>#N/A</c:v>
                </c:pt>
                <c:pt idx="1365">
                  <c:v>#N/A</c:v>
                </c:pt>
                <c:pt idx="1366">
                  <c:v>#N/A</c:v>
                </c:pt>
                <c:pt idx="1367">
                  <c:v>#N/A</c:v>
                </c:pt>
                <c:pt idx="1368">
                  <c:v>#N/A</c:v>
                </c:pt>
                <c:pt idx="1369">
                  <c:v>0.61643835616438358</c:v>
                </c:pt>
                <c:pt idx="1370">
                  <c:v>0.62739726027397258</c:v>
                </c:pt>
                <c:pt idx="1371">
                  <c:v>#N/A</c:v>
                </c:pt>
                <c:pt idx="1372">
                  <c:v>#N/A</c:v>
                </c:pt>
                <c:pt idx="1373">
                  <c:v>0.63013698630136983</c:v>
                </c:pt>
                <c:pt idx="1374">
                  <c:v>#N/A</c:v>
                </c:pt>
                <c:pt idx="1375">
                  <c:v>#N/A</c:v>
                </c:pt>
                <c:pt idx="1376">
                  <c:v>#N/A</c:v>
                </c:pt>
                <c:pt idx="1377">
                  <c:v>0.63561643835616444</c:v>
                </c:pt>
                <c:pt idx="1378">
                  <c:v>#N/A</c:v>
                </c:pt>
                <c:pt idx="1379">
                  <c:v>0.64931506849315068</c:v>
                </c:pt>
                <c:pt idx="1380">
                  <c:v>0.64931506849315068</c:v>
                </c:pt>
                <c:pt idx="1381">
                  <c:v>0.64931506849315068</c:v>
                </c:pt>
                <c:pt idx="1382">
                  <c:v>0.64931506849315068</c:v>
                </c:pt>
                <c:pt idx="1383">
                  <c:v>0.64931506849315068</c:v>
                </c:pt>
                <c:pt idx="1384">
                  <c:v>#N/A</c:v>
                </c:pt>
                <c:pt idx="1385">
                  <c:v>0.65205479452054793</c:v>
                </c:pt>
                <c:pt idx="1386">
                  <c:v>0.65205479452054793</c:v>
                </c:pt>
                <c:pt idx="1387">
                  <c:v>#N/A</c:v>
                </c:pt>
                <c:pt idx="1388">
                  <c:v>0.65205479452054793</c:v>
                </c:pt>
                <c:pt idx="1389">
                  <c:v>0.65205479452054793</c:v>
                </c:pt>
                <c:pt idx="1390">
                  <c:v>0.65205479452054793</c:v>
                </c:pt>
                <c:pt idx="1391">
                  <c:v>0.65205479452054793</c:v>
                </c:pt>
                <c:pt idx="1392">
                  <c:v>0.65205479452054793</c:v>
                </c:pt>
                <c:pt idx="1393">
                  <c:v>0.65205479452054793</c:v>
                </c:pt>
                <c:pt idx="1394">
                  <c:v>0.65205479452054793</c:v>
                </c:pt>
                <c:pt idx="1395">
                  <c:v>0.65205479452054793</c:v>
                </c:pt>
                <c:pt idx="1396">
                  <c:v>0.65205479452054793</c:v>
                </c:pt>
                <c:pt idx="1397">
                  <c:v>#N/A</c:v>
                </c:pt>
                <c:pt idx="1398">
                  <c:v>#N/A</c:v>
                </c:pt>
                <c:pt idx="1399">
                  <c:v>0.65205479452054793</c:v>
                </c:pt>
                <c:pt idx="1400">
                  <c:v>#N/A</c:v>
                </c:pt>
                <c:pt idx="1401">
                  <c:v>0.65205479452054793</c:v>
                </c:pt>
                <c:pt idx="1402">
                  <c:v>0.65479452054794518</c:v>
                </c:pt>
                <c:pt idx="1403">
                  <c:v>0.65753424657534243</c:v>
                </c:pt>
                <c:pt idx="1404">
                  <c:v>0.65753424657534243</c:v>
                </c:pt>
                <c:pt idx="1405">
                  <c:v>0.65753424657534243</c:v>
                </c:pt>
                <c:pt idx="1406">
                  <c:v>0.65753424657534243</c:v>
                </c:pt>
                <c:pt idx="1407">
                  <c:v>0.65753424657534243</c:v>
                </c:pt>
                <c:pt idx="1408">
                  <c:v>#N/A</c:v>
                </c:pt>
                <c:pt idx="1409">
                  <c:v>#N/A</c:v>
                </c:pt>
                <c:pt idx="1410">
                  <c:v>0.65753424657534243</c:v>
                </c:pt>
                <c:pt idx="1411">
                  <c:v>0.65753424657534243</c:v>
                </c:pt>
                <c:pt idx="1412">
                  <c:v>0.65753424657534243</c:v>
                </c:pt>
                <c:pt idx="1413">
                  <c:v>#N/A</c:v>
                </c:pt>
                <c:pt idx="1414">
                  <c:v>0.65753424657534243</c:v>
                </c:pt>
                <c:pt idx="1415">
                  <c:v>#N/A</c:v>
                </c:pt>
                <c:pt idx="1416">
                  <c:v>#N/A</c:v>
                </c:pt>
                <c:pt idx="1417">
                  <c:v>0.65753424657534243</c:v>
                </c:pt>
                <c:pt idx="1418">
                  <c:v>#N/A</c:v>
                </c:pt>
                <c:pt idx="1419">
                  <c:v>0.65753424657534243</c:v>
                </c:pt>
                <c:pt idx="1420">
                  <c:v>0.65753424657534243</c:v>
                </c:pt>
                <c:pt idx="1421">
                  <c:v>#N/A</c:v>
                </c:pt>
                <c:pt idx="1422">
                  <c:v>#N/A</c:v>
                </c:pt>
                <c:pt idx="1423">
                  <c:v>#N/A</c:v>
                </c:pt>
                <c:pt idx="1424">
                  <c:v>0.65753424657534243</c:v>
                </c:pt>
                <c:pt idx="1425">
                  <c:v>#N/A</c:v>
                </c:pt>
                <c:pt idx="1426">
                  <c:v>0.65753424657534243</c:v>
                </c:pt>
                <c:pt idx="1427">
                  <c:v>#N/A</c:v>
                </c:pt>
                <c:pt idx="1428">
                  <c:v>0.65753424657534243</c:v>
                </c:pt>
                <c:pt idx="1429">
                  <c:v>#N/A</c:v>
                </c:pt>
                <c:pt idx="1430">
                  <c:v>0.66575342465753429</c:v>
                </c:pt>
                <c:pt idx="1431">
                  <c:v>0.66575342465753429</c:v>
                </c:pt>
                <c:pt idx="1432">
                  <c:v>#N/A</c:v>
                </c:pt>
                <c:pt idx="1433">
                  <c:v>0.66575342465753429</c:v>
                </c:pt>
                <c:pt idx="1434">
                  <c:v>0.66575342465753429</c:v>
                </c:pt>
                <c:pt idx="1435">
                  <c:v>#N/A</c:v>
                </c:pt>
                <c:pt idx="1436">
                  <c:v>#N/A</c:v>
                </c:pt>
                <c:pt idx="1437">
                  <c:v>0.66575342465753429</c:v>
                </c:pt>
                <c:pt idx="1438">
                  <c:v>#N/A</c:v>
                </c:pt>
                <c:pt idx="1439">
                  <c:v>0.66575342465753429</c:v>
                </c:pt>
                <c:pt idx="1440">
                  <c:v>0.66575342465753429</c:v>
                </c:pt>
                <c:pt idx="1441">
                  <c:v>0.66575342465753429</c:v>
                </c:pt>
                <c:pt idx="1442">
                  <c:v>#N/A</c:v>
                </c:pt>
                <c:pt idx="1443">
                  <c:v>0.66575342465753429</c:v>
                </c:pt>
                <c:pt idx="1444">
                  <c:v>0.66575342465753429</c:v>
                </c:pt>
                <c:pt idx="1445">
                  <c:v>#N/A</c:v>
                </c:pt>
                <c:pt idx="1446">
                  <c:v>0.66575342465753429</c:v>
                </c:pt>
                <c:pt idx="1447">
                  <c:v>0.66849315068493154</c:v>
                </c:pt>
                <c:pt idx="1448">
                  <c:v>#N/A</c:v>
                </c:pt>
                <c:pt idx="1449">
                  <c:v>0.66849315068493154</c:v>
                </c:pt>
                <c:pt idx="1450">
                  <c:v>0.66849315068493154</c:v>
                </c:pt>
                <c:pt idx="1451">
                  <c:v>#N/A</c:v>
                </c:pt>
                <c:pt idx="1452">
                  <c:v>#N/A</c:v>
                </c:pt>
                <c:pt idx="1453">
                  <c:v>0.66849315068493154</c:v>
                </c:pt>
                <c:pt idx="1454">
                  <c:v>#N/A</c:v>
                </c:pt>
                <c:pt idx="1455">
                  <c:v>#N/A</c:v>
                </c:pt>
                <c:pt idx="1456">
                  <c:v>#N/A</c:v>
                </c:pt>
                <c:pt idx="1457">
                  <c:v>#N/A</c:v>
                </c:pt>
                <c:pt idx="1458">
                  <c:v>#N/A</c:v>
                </c:pt>
                <c:pt idx="1459">
                  <c:v>#N/A</c:v>
                </c:pt>
                <c:pt idx="1460">
                  <c:v>#N/A</c:v>
                </c:pt>
                <c:pt idx="1461">
                  <c:v>#N/A</c:v>
                </c:pt>
                <c:pt idx="1462">
                  <c:v>#N/A</c:v>
                </c:pt>
                <c:pt idx="1463">
                  <c:v>#N/A</c:v>
                </c:pt>
                <c:pt idx="1464">
                  <c:v>#N/A</c:v>
                </c:pt>
                <c:pt idx="1465">
                  <c:v>#N/A</c:v>
                </c:pt>
                <c:pt idx="1466">
                  <c:v>0.67671232876712328</c:v>
                </c:pt>
                <c:pt idx="1467">
                  <c:v>0.68493150684931503</c:v>
                </c:pt>
                <c:pt idx="1468">
                  <c:v>0.68493150684931503</c:v>
                </c:pt>
                <c:pt idx="1469">
                  <c:v>0.68493150684931503</c:v>
                </c:pt>
                <c:pt idx="1470">
                  <c:v>0.68493150684931503</c:v>
                </c:pt>
                <c:pt idx="1471">
                  <c:v>#N/A</c:v>
                </c:pt>
                <c:pt idx="1472">
                  <c:v>#N/A</c:v>
                </c:pt>
                <c:pt idx="1473">
                  <c:v>#N/A</c:v>
                </c:pt>
                <c:pt idx="1474">
                  <c:v>0.68493150684931503</c:v>
                </c:pt>
                <c:pt idx="1475">
                  <c:v>0.68767123287671228</c:v>
                </c:pt>
                <c:pt idx="1476">
                  <c:v>#N/A</c:v>
                </c:pt>
                <c:pt idx="1477">
                  <c:v>#N/A</c:v>
                </c:pt>
                <c:pt idx="1478">
                  <c:v>#N/A</c:v>
                </c:pt>
                <c:pt idx="1479">
                  <c:v>0.69315068493150689</c:v>
                </c:pt>
                <c:pt idx="1480">
                  <c:v>#N/A</c:v>
                </c:pt>
                <c:pt idx="1481">
                  <c:v>0.69315068493150689</c:v>
                </c:pt>
                <c:pt idx="1482">
                  <c:v>#N/A</c:v>
                </c:pt>
                <c:pt idx="1483">
                  <c:v>#N/A</c:v>
                </c:pt>
                <c:pt idx="1484">
                  <c:v>#N/A</c:v>
                </c:pt>
                <c:pt idx="1485">
                  <c:v>#N/A</c:v>
                </c:pt>
                <c:pt idx="1486">
                  <c:v>0.69589041095890414</c:v>
                </c:pt>
                <c:pt idx="1487">
                  <c:v>0.70410958904109588</c:v>
                </c:pt>
                <c:pt idx="1488">
                  <c:v>#N/A</c:v>
                </c:pt>
                <c:pt idx="1489">
                  <c:v>#N/A</c:v>
                </c:pt>
                <c:pt idx="1490">
                  <c:v>0.70958904109589038</c:v>
                </c:pt>
                <c:pt idx="1491">
                  <c:v>#N/A</c:v>
                </c:pt>
                <c:pt idx="1492">
                  <c:v>0.71506849315068488</c:v>
                </c:pt>
                <c:pt idx="1493">
                  <c:v>#N/A</c:v>
                </c:pt>
                <c:pt idx="1494">
                  <c:v>#N/A</c:v>
                </c:pt>
                <c:pt idx="1495">
                  <c:v>#N/A</c:v>
                </c:pt>
                <c:pt idx="1496">
                  <c:v>0.72602739726027399</c:v>
                </c:pt>
                <c:pt idx="1497">
                  <c:v>#N/A</c:v>
                </c:pt>
                <c:pt idx="1498">
                  <c:v>0.72602739726027399</c:v>
                </c:pt>
                <c:pt idx="1499">
                  <c:v>0.72602739726027399</c:v>
                </c:pt>
                <c:pt idx="1500">
                  <c:v>0.72602739726027399</c:v>
                </c:pt>
                <c:pt idx="1501">
                  <c:v>0.72602739726027399</c:v>
                </c:pt>
                <c:pt idx="1502">
                  <c:v>0.72602739726027399</c:v>
                </c:pt>
                <c:pt idx="1503">
                  <c:v>#N/A</c:v>
                </c:pt>
                <c:pt idx="1504">
                  <c:v>#N/A</c:v>
                </c:pt>
                <c:pt idx="1505">
                  <c:v>#N/A</c:v>
                </c:pt>
                <c:pt idx="1506">
                  <c:v>#N/A</c:v>
                </c:pt>
                <c:pt idx="1507">
                  <c:v>0.72602739726027399</c:v>
                </c:pt>
                <c:pt idx="1508">
                  <c:v>#N/A</c:v>
                </c:pt>
                <c:pt idx="1509">
                  <c:v>0.72602739726027399</c:v>
                </c:pt>
                <c:pt idx="1510">
                  <c:v>0.72602739726027399</c:v>
                </c:pt>
                <c:pt idx="1511">
                  <c:v>#N/A</c:v>
                </c:pt>
                <c:pt idx="1512">
                  <c:v>#N/A</c:v>
                </c:pt>
                <c:pt idx="1513">
                  <c:v>#N/A</c:v>
                </c:pt>
                <c:pt idx="1514">
                  <c:v>#N/A</c:v>
                </c:pt>
                <c:pt idx="1515">
                  <c:v>#N/A</c:v>
                </c:pt>
                <c:pt idx="1516">
                  <c:v>#N/A</c:v>
                </c:pt>
                <c:pt idx="1517">
                  <c:v>#N/A</c:v>
                </c:pt>
                <c:pt idx="1518">
                  <c:v>0.73150684931506849</c:v>
                </c:pt>
                <c:pt idx="1519">
                  <c:v>#N/A</c:v>
                </c:pt>
                <c:pt idx="1520">
                  <c:v>#N/A</c:v>
                </c:pt>
                <c:pt idx="1521">
                  <c:v>#N/A</c:v>
                </c:pt>
                <c:pt idx="1522">
                  <c:v>#N/A</c:v>
                </c:pt>
                <c:pt idx="1523">
                  <c:v>#N/A</c:v>
                </c:pt>
                <c:pt idx="1524">
                  <c:v>0.73150684931506849</c:v>
                </c:pt>
                <c:pt idx="1525">
                  <c:v>#N/A</c:v>
                </c:pt>
                <c:pt idx="1526">
                  <c:v>0.73424657534246573</c:v>
                </c:pt>
                <c:pt idx="1527">
                  <c:v>#N/A</c:v>
                </c:pt>
                <c:pt idx="1528">
                  <c:v>0.73424657534246573</c:v>
                </c:pt>
                <c:pt idx="1529">
                  <c:v>0.73424657534246573</c:v>
                </c:pt>
                <c:pt idx="1530">
                  <c:v>0.73424657534246573</c:v>
                </c:pt>
                <c:pt idx="1531">
                  <c:v>#N/A</c:v>
                </c:pt>
                <c:pt idx="1532">
                  <c:v>0.74246575342465748</c:v>
                </c:pt>
                <c:pt idx="1533">
                  <c:v>0.74794520547945209</c:v>
                </c:pt>
                <c:pt idx="1534">
                  <c:v>0.74794520547945209</c:v>
                </c:pt>
                <c:pt idx="1535">
                  <c:v>0.74794520547945209</c:v>
                </c:pt>
                <c:pt idx="1536">
                  <c:v>#N/A</c:v>
                </c:pt>
                <c:pt idx="1537">
                  <c:v>#N/A</c:v>
                </c:pt>
                <c:pt idx="1538">
                  <c:v>#N/A</c:v>
                </c:pt>
                <c:pt idx="1539">
                  <c:v>#N/A</c:v>
                </c:pt>
                <c:pt idx="1540">
                  <c:v>0.74794520547945209</c:v>
                </c:pt>
                <c:pt idx="1541">
                  <c:v>#N/A</c:v>
                </c:pt>
                <c:pt idx="1542">
                  <c:v>0.74794520547945209</c:v>
                </c:pt>
                <c:pt idx="1543">
                  <c:v>0.74794520547945209</c:v>
                </c:pt>
                <c:pt idx="1544">
                  <c:v>#N/A</c:v>
                </c:pt>
                <c:pt idx="1545">
                  <c:v>0.74794520547945209</c:v>
                </c:pt>
                <c:pt idx="1546">
                  <c:v>#N/A</c:v>
                </c:pt>
                <c:pt idx="1547">
                  <c:v>0.74794520547945209</c:v>
                </c:pt>
                <c:pt idx="1548">
                  <c:v>0.74794520547945209</c:v>
                </c:pt>
                <c:pt idx="1549">
                  <c:v>0.74794520547945209</c:v>
                </c:pt>
                <c:pt idx="1550">
                  <c:v>0.74794520547945209</c:v>
                </c:pt>
                <c:pt idx="1551">
                  <c:v>#N/A</c:v>
                </c:pt>
                <c:pt idx="1552">
                  <c:v>#N/A</c:v>
                </c:pt>
                <c:pt idx="1553">
                  <c:v>#N/A</c:v>
                </c:pt>
                <c:pt idx="1554">
                  <c:v>#N/A</c:v>
                </c:pt>
                <c:pt idx="1555">
                  <c:v>0.74794520547945209</c:v>
                </c:pt>
                <c:pt idx="1556">
                  <c:v>0.74794520547945209</c:v>
                </c:pt>
                <c:pt idx="1557">
                  <c:v>#N/A</c:v>
                </c:pt>
                <c:pt idx="1558">
                  <c:v>0.74794520547945209</c:v>
                </c:pt>
                <c:pt idx="1559">
                  <c:v>0.74794520547945209</c:v>
                </c:pt>
                <c:pt idx="1560">
                  <c:v>0.74794520547945209</c:v>
                </c:pt>
                <c:pt idx="1561">
                  <c:v>0.74794520547945209</c:v>
                </c:pt>
                <c:pt idx="1562">
                  <c:v>0.74794520547945209</c:v>
                </c:pt>
                <c:pt idx="1563">
                  <c:v>#N/A</c:v>
                </c:pt>
                <c:pt idx="1564">
                  <c:v>0.74794520547945209</c:v>
                </c:pt>
                <c:pt idx="1565">
                  <c:v>#N/A</c:v>
                </c:pt>
                <c:pt idx="1566">
                  <c:v>0.74794520547945209</c:v>
                </c:pt>
                <c:pt idx="1567">
                  <c:v>#N/A</c:v>
                </c:pt>
                <c:pt idx="1568">
                  <c:v>#N/A</c:v>
                </c:pt>
                <c:pt idx="1569">
                  <c:v>0.74794520547945209</c:v>
                </c:pt>
                <c:pt idx="1570">
                  <c:v>0.74794520547945209</c:v>
                </c:pt>
                <c:pt idx="1571">
                  <c:v>0.74794520547945209</c:v>
                </c:pt>
                <c:pt idx="1572">
                  <c:v>#N/A</c:v>
                </c:pt>
                <c:pt idx="1573">
                  <c:v>0.74794520547945209</c:v>
                </c:pt>
                <c:pt idx="1574">
                  <c:v>0.74794520547945209</c:v>
                </c:pt>
                <c:pt idx="1575">
                  <c:v>0.74794520547945209</c:v>
                </c:pt>
                <c:pt idx="1576">
                  <c:v>0.74794520547945209</c:v>
                </c:pt>
                <c:pt idx="1577">
                  <c:v>#N/A</c:v>
                </c:pt>
                <c:pt idx="1578">
                  <c:v>0.74794520547945209</c:v>
                </c:pt>
                <c:pt idx="1579">
                  <c:v>0.74794520547945209</c:v>
                </c:pt>
                <c:pt idx="1580">
                  <c:v>0.74794520547945209</c:v>
                </c:pt>
                <c:pt idx="1581">
                  <c:v>#N/A</c:v>
                </c:pt>
                <c:pt idx="1582">
                  <c:v>0.74794520547945209</c:v>
                </c:pt>
                <c:pt idx="1583">
                  <c:v>0.74794520547945209</c:v>
                </c:pt>
                <c:pt idx="1584">
                  <c:v>#N/A</c:v>
                </c:pt>
                <c:pt idx="1585">
                  <c:v>0.74794520547945209</c:v>
                </c:pt>
                <c:pt idx="1586">
                  <c:v>0.74794520547945209</c:v>
                </c:pt>
                <c:pt idx="1587">
                  <c:v>#N/A</c:v>
                </c:pt>
                <c:pt idx="1588">
                  <c:v>#N/A</c:v>
                </c:pt>
                <c:pt idx="1589">
                  <c:v>#N/A</c:v>
                </c:pt>
                <c:pt idx="1590">
                  <c:v>0.74794520547945209</c:v>
                </c:pt>
                <c:pt idx="1591">
                  <c:v>0.74794520547945209</c:v>
                </c:pt>
                <c:pt idx="1592">
                  <c:v>0.74794520547945209</c:v>
                </c:pt>
                <c:pt idx="1593">
                  <c:v>0.74794520547945209</c:v>
                </c:pt>
                <c:pt idx="1594">
                  <c:v>#N/A</c:v>
                </c:pt>
                <c:pt idx="1595">
                  <c:v>0.74794520547945209</c:v>
                </c:pt>
                <c:pt idx="1596">
                  <c:v>#N/A</c:v>
                </c:pt>
                <c:pt idx="1597">
                  <c:v>#N/A</c:v>
                </c:pt>
                <c:pt idx="1598">
                  <c:v>0.74794520547945209</c:v>
                </c:pt>
                <c:pt idx="1599">
                  <c:v>#N/A</c:v>
                </c:pt>
                <c:pt idx="1600">
                  <c:v>#N/A</c:v>
                </c:pt>
                <c:pt idx="1601">
                  <c:v>0.74794520547945209</c:v>
                </c:pt>
                <c:pt idx="1602">
                  <c:v>0.74794520547945209</c:v>
                </c:pt>
                <c:pt idx="1603">
                  <c:v>#N/A</c:v>
                </c:pt>
                <c:pt idx="1604">
                  <c:v>0.74794520547945209</c:v>
                </c:pt>
                <c:pt idx="1605">
                  <c:v>#N/A</c:v>
                </c:pt>
                <c:pt idx="1606">
                  <c:v>0.74794520547945209</c:v>
                </c:pt>
                <c:pt idx="1607">
                  <c:v>#N/A</c:v>
                </c:pt>
                <c:pt idx="1608">
                  <c:v>#N/A</c:v>
                </c:pt>
                <c:pt idx="1609">
                  <c:v>0.75068493150684934</c:v>
                </c:pt>
                <c:pt idx="1610">
                  <c:v>#N/A</c:v>
                </c:pt>
                <c:pt idx="1611">
                  <c:v>#N/A</c:v>
                </c:pt>
                <c:pt idx="1612">
                  <c:v>#N/A</c:v>
                </c:pt>
                <c:pt idx="1613">
                  <c:v>#N/A</c:v>
                </c:pt>
                <c:pt idx="1614">
                  <c:v>#N/A</c:v>
                </c:pt>
                <c:pt idx="1615">
                  <c:v>#N/A</c:v>
                </c:pt>
                <c:pt idx="1616">
                  <c:v>#N/A</c:v>
                </c:pt>
                <c:pt idx="1617">
                  <c:v>#N/A</c:v>
                </c:pt>
                <c:pt idx="1618">
                  <c:v>0.76438356164383559</c:v>
                </c:pt>
                <c:pt idx="1619">
                  <c:v>#N/A</c:v>
                </c:pt>
                <c:pt idx="1620">
                  <c:v>#N/A</c:v>
                </c:pt>
                <c:pt idx="1621">
                  <c:v>0.78082191780821919</c:v>
                </c:pt>
                <c:pt idx="1622">
                  <c:v>0.78082191780821919</c:v>
                </c:pt>
                <c:pt idx="1623">
                  <c:v>#N/A</c:v>
                </c:pt>
                <c:pt idx="1624">
                  <c:v>0.78356164383561644</c:v>
                </c:pt>
                <c:pt idx="1625">
                  <c:v>#N/A</c:v>
                </c:pt>
                <c:pt idx="1626">
                  <c:v>#N/A</c:v>
                </c:pt>
                <c:pt idx="1627">
                  <c:v>#N/A</c:v>
                </c:pt>
                <c:pt idx="1628">
                  <c:v>0.78630136986301369</c:v>
                </c:pt>
                <c:pt idx="1629">
                  <c:v>#N/A</c:v>
                </c:pt>
                <c:pt idx="1630">
                  <c:v>#N/A</c:v>
                </c:pt>
                <c:pt idx="1631">
                  <c:v>0.78630136986301369</c:v>
                </c:pt>
                <c:pt idx="1632">
                  <c:v>0.78630136986301369</c:v>
                </c:pt>
                <c:pt idx="1633">
                  <c:v>0.78630136986301369</c:v>
                </c:pt>
                <c:pt idx="1634">
                  <c:v>0.78630136986301369</c:v>
                </c:pt>
                <c:pt idx="1635">
                  <c:v>#N/A</c:v>
                </c:pt>
                <c:pt idx="1636">
                  <c:v>0.78904109589041094</c:v>
                </c:pt>
                <c:pt idx="1637">
                  <c:v>0.78904109589041094</c:v>
                </c:pt>
                <c:pt idx="1638">
                  <c:v>0.78904109589041094</c:v>
                </c:pt>
                <c:pt idx="1639">
                  <c:v>0.78904109589041094</c:v>
                </c:pt>
                <c:pt idx="1640">
                  <c:v>0.78904109589041094</c:v>
                </c:pt>
                <c:pt idx="1641">
                  <c:v>#N/A</c:v>
                </c:pt>
                <c:pt idx="1642">
                  <c:v>#N/A</c:v>
                </c:pt>
                <c:pt idx="1643">
                  <c:v>0.78904109589041094</c:v>
                </c:pt>
                <c:pt idx="1644">
                  <c:v>#N/A</c:v>
                </c:pt>
                <c:pt idx="1645">
                  <c:v>0.78904109589041094</c:v>
                </c:pt>
                <c:pt idx="1646">
                  <c:v>0.79178082191780819</c:v>
                </c:pt>
                <c:pt idx="1647">
                  <c:v>0.79178082191780819</c:v>
                </c:pt>
                <c:pt idx="1648">
                  <c:v>#N/A</c:v>
                </c:pt>
                <c:pt idx="1649">
                  <c:v>0.79178082191780819</c:v>
                </c:pt>
                <c:pt idx="1650">
                  <c:v>0.79178082191780819</c:v>
                </c:pt>
                <c:pt idx="1651">
                  <c:v>#N/A</c:v>
                </c:pt>
                <c:pt idx="1652">
                  <c:v>#N/A</c:v>
                </c:pt>
                <c:pt idx="1653">
                  <c:v>#N/A</c:v>
                </c:pt>
                <c:pt idx="1654">
                  <c:v>0.79178082191780819</c:v>
                </c:pt>
                <c:pt idx="1655">
                  <c:v>#N/A</c:v>
                </c:pt>
                <c:pt idx="1656">
                  <c:v>#N/A</c:v>
                </c:pt>
                <c:pt idx="1657">
                  <c:v>#N/A</c:v>
                </c:pt>
                <c:pt idx="1658">
                  <c:v>#N/A</c:v>
                </c:pt>
                <c:pt idx="1659">
                  <c:v>#N/A</c:v>
                </c:pt>
                <c:pt idx="1660">
                  <c:v>0.8</c:v>
                </c:pt>
                <c:pt idx="1661">
                  <c:v>#N/A</c:v>
                </c:pt>
                <c:pt idx="1662">
                  <c:v>#N/A</c:v>
                </c:pt>
                <c:pt idx="1663">
                  <c:v>#N/A</c:v>
                </c:pt>
                <c:pt idx="1664">
                  <c:v>#N/A</c:v>
                </c:pt>
                <c:pt idx="1665">
                  <c:v>0.8</c:v>
                </c:pt>
                <c:pt idx="1666">
                  <c:v>0.8</c:v>
                </c:pt>
                <c:pt idx="1667">
                  <c:v>0.8</c:v>
                </c:pt>
                <c:pt idx="1668">
                  <c:v>0.80273972602739729</c:v>
                </c:pt>
                <c:pt idx="1669">
                  <c:v>#N/A</c:v>
                </c:pt>
                <c:pt idx="1670">
                  <c:v>0.80547945205479454</c:v>
                </c:pt>
                <c:pt idx="1671">
                  <c:v>#N/A</c:v>
                </c:pt>
                <c:pt idx="1672">
                  <c:v>0.80821917808219179</c:v>
                </c:pt>
                <c:pt idx="1673">
                  <c:v>0.80821917808219179</c:v>
                </c:pt>
                <c:pt idx="1674">
                  <c:v>#N/A</c:v>
                </c:pt>
                <c:pt idx="1675">
                  <c:v>#N/A</c:v>
                </c:pt>
                <c:pt idx="1676">
                  <c:v>#N/A</c:v>
                </c:pt>
                <c:pt idx="1677">
                  <c:v>#N/A</c:v>
                </c:pt>
                <c:pt idx="1678">
                  <c:v>0.81369863013698629</c:v>
                </c:pt>
                <c:pt idx="1679">
                  <c:v>0.81917808219178079</c:v>
                </c:pt>
                <c:pt idx="1680">
                  <c:v>#N/A</c:v>
                </c:pt>
                <c:pt idx="1681">
                  <c:v>0.82739726027397265</c:v>
                </c:pt>
                <c:pt idx="1682">
                  <c:v>#N/A</c:v>
                </c:pt>
                <c:pt idx="1683">
                  <c:v>0.82739726027397265</c:v>
                </c:pt>
                <c:pt idx="1684">
                  <c:v>#N/A</c:v>
                </c:pt>
                <c:pt idx="1685">
                  <c:v>#N/A</c:v>
                </c:pt>
                <c:pt idx="1686">
                  <c:v>#N/A</c:v>
                </c:pt>
                <c:pt idx="1687">
                  <c:v>#N/A</c:v>
                </c:pt>
                <c:pt idx="1688">
                  <c:v>0.83013698630136989</c:v>
                </c:pt>
                <c:pt idx="1689">
                  <c:v>#N/A</c:v>
                </c:pt>
                <c:pt idx="1690">
                  <c:v>0.83013698630136989</c:v>
                </c:pt>
                <c:pt idx="1691">
                  <c:v>0.83013698630136989</c:v>
                </c:pt>
                <c:pt idx="1692">
                  <c:v>#N/A</c:v>
                </c:pt>
                <c:pt idx="1693">
                  <c:v>#N/A</c:v>
                </c:pt>
                <c:pt idx="1694">
                  <c:v>0.83013698630136989</c:v>
                </c:pt>
                <c:pt idx="1695">
                  <c:v>0.83013698630136989</c:v>
                </c:pt>
                <c:pt idx="1696">
                  <c:v>0.83013698630136989</c:v>
                </c:pt>
                <c:pt idx="1697">
                  <c:v>#N/A</c:v>
                </c:pt>
                <c:pt idx="1698">
                  <c:v>0.83013698630136989</c:v>
                </c:pt>
                <c:pt idx="1699">
                  <c:v>0.83013698630136989</c:v>
                </c:pt>
                <c:pt idx="1700">
                  <c:v>#N/A</c:v>
                </c:pt>
                <c:pt idx="1701">
                  <c:v>#N/A</c:v>
                </c:pt>
                <c:pt idx="1702">
                  <c:v>#N/A</c:v>
                </c:pt>
                <c:pt idx="1703">
                  <c:v>#N/A</c:v>
                </c:pt>
                <c:pt idx="1704">
                  <c:v>#N/A</c:v>
                </c:pt>
                <c:pt idx="1705">
                  <c:v>0.83835616438356164</c:v>
                </c:pt>
                <c:pt idx="1706">
                  <c:v>0.83835616438356164</c:v>
                </c:pt>
                <c:pt idx="1707">
                  <c:v>#N/A</c:v>
                </c:pt>
                <c:pt idx="1708">
                  <c:v>#N/A</c:v>
                </c:pt>
                <c:pt idx="1709">
                  <c:v>#N/A</c:v>
                </c:pt>
                <c:pt idx="1710">
                  <c:v>0.83835616438356164</c:v>
                </c:pt>
                <c:pt idx="1711">
                  <c:v>#N/A</c:v>
                </c:pt>
                <c:pt idx="1712">
                  <c:v>0.83835616438356164</c:v>
                </c:pt>
                <c:pt idx="1713">
                  <c:v>#N/A</c:v>
                </c:pt>
                <c:pt idx="1714">
                  <c:v>0.84109589041095889</c:v>
                </c:pt>
                <c:pt idx="1715">
                  <c:v>0.84109589041095889</c:v>
                </c:pt>
                <c:pt idx="1716">
                  <c:v>0.84109589041095889</c:v>
                </c:pt>
                <c:pt idx="1717">
                  <c:v>#N/A</c:v>
                </c:pt>
                <c:pt idx="1718">
                  <c:v>0.84109589041095889</c:v>
                </c:pt>
                <c:pt idx="1719">
                  <c:v>0.84109589041095889</c:v>
                </c:pt>
                <c:pt idx="1720">
                  <c:v>0.84109589041095889</c:v>
                </c:pt>
                <c:pt idx="1721">
                  <c:v>0.84109589041095889</c:v>
                </c:pt>
                <c:pt idx="1722">
                  <c:v>0.84109589041095889</c:v>
                </c:pt>
                <c:pt idx="1723">
                  <c:v>0.84109589041095889</c:v>
                </c:pt>
                <c:pt idx="1724">
                  <c:v>#N/A</c:v>
                </c:pt>
                <c:pt idx="1725">
                  <c:v>#N/A</c:v>
                </c:pt>
                <c:pt idx="1726">
                  <c:v>#N/A</c:v>
                </c:pt>
                <c:pt idx="1727">
                  <c:v>#N/A</c:v>
                </c:pt>
                <c:pt idx="1728">
                  <c:v>0.84657534246575339</c:v>
                </c:pt>
                <c:pt idx="1729">
                  <c:v>#N/A</c:v>
                </c:pt>
                <c:pt idx="1730">
                  <c:v>0.84657534246575339</c:v>
                </c:pt>
                <c:pt idx="1731">
                  <c:v>0.84657534246575339</c:v>
                </c:pt>
                <c:pt idx="1732">
                  <c:v>#N/A</c:v>
                </c:pt>
                <c:pt idx="1733">
                  <c:v>#N/A</c:v>
                </c:pt>
                <c:pt idx="1734">
                  <c:v>0.84931506849315064</c:v>
                </c:pt>
                <c:pt idx="1735">
                  <c:v>#N/A</c:v>
                </c:pt>
                <c:pt idx="1736">
                  <c:v>#N/A</c:v>
                </c:pt>
                <c:pt idx="1737">
                  <c:v>0.86301369863013699</c:v>
                </c:pt>
                <c:pt idx="1738">
                  <c:v>#N/A</c:v>
                </c:pt>
                <c:pt idx="1739">
                  <c:v>#N/A</c:v>
                </c:pt>
                <c:pt idx="1740">
                  <c:v>#N/A</c:v>
                </c:pt>
                <c:pt idx="1741">
                  <c:v>#N/A</c:v>
                </c:pt>
                <c:pt idx="1742">
                  <c:v>0.86301369863013699</c:v>
                </c:pt>
                <c:pt idx="1743">
                  <c:v>0.86301369863013699</c:v>
                </c:pt>
                <c:pt idx="1744">
                  <c:v>0.86301369863013699</c:v>
                </c:pt>
                <c:pt idx="1745">
                  <c:v>0.86301369863013699</c:v>
                </c:pt>
                <c:pt idx="1746">
                  <c:v>#N/A</c:v>
                </c:pt>
                <c:pt idx="1747">
                  <c:v>0.86301369863013699</c:v>
                </c:pt>
                <c:pt idx="1748">
                  <c:v>0.86301369863013699</c:v>
                </c:pt>
                <c:pt idx="1749">
                  <c:v>0.86301369863013699</c:v>
                </c:pt>
                <c:pt idx="1750">
                  <c:v>0.86301369863013699</c:v>
                </c:pt>
                <c:pt idx="1751">
                  <c:v>0.86301369863013699</c:v>
                </c:pt>
                <c:pt idx="1752">
                  <c:v>0.86301369863013699</c:v>
                </c:pt>
                <c:pt idx="1753">
                  <c:v>#N/A</c:v>
                </c:pt>
                <c:pt idx="1754">
                  <c:v>#N/A</c:v>
                </c:pt>
                <c:pt idx="1755">
                  <c:v>#N/A</c:v>
                </c:pt>
                <c:pt idx="1756">
                  <c:v>0.86575342465753424</c:v>
                </c:pt>
                <c:pt idx="1757">
                  <c:v>#N/A</c:v>
                </c:pt>
                <c:pt idx="1758">
                  <c:v>0.86575342465753424</c:v>
                </c:pt>
                <c:pt idx="1759">
                  <c:v>0.86575342465753424</c:v>
                </c:pt>
                <c:pt idx="1760">
                  <c:v>#N/A</c:v>
                </c:pt>
                <c:pt idx="1761">
                  <c:v>0.86575342465753424</c:v>
                </c:pt>
                <c:pt idx="1762">
                  <c:v>#N/A</c:v>
                </c:pt>
                <c:pt idx="1763">
                  <c:v>#N/A</c:v>
                </c:pt>
                <c:pt idx="1764">
                  <c:v>0.86575342465753424</c:v>
                </c:pt>
                <c:pt idx="1765">
                  <c:v>#N/A</c:v>
                </c:pt>
                <c:pt idx="1766">
                  <c:v>0.86575342465753424</c:v>
                </c:pt>
                <c:pt idx="1767">
                  <c:v>#N/A</c:v>
                </c:pt>
                <c:pt idx="1768">
                  <c:v>#N/A</c:v>
                </c:pt>
                <c:pt idx="1769">
                  <c:v>#N/A</c:v>
                </c:pt>
                <c:pt idx="1770">
                  <c:v>#N/A</c:v>
                </c:pt>
                <c:pt idx="1771">
                  <c:v>0.86575342465753424</c:v>
                </c:pt>
                <c:pt idx="1772">
                  <c:v>0.86575342465753424</c:v>
                </c:pt>
                <c:pt idx="1773">
                  <c:v>0.86575342465753424</c:v>
                </c:pt>
                <c:pt idx="1774">
                  <c:v>0.86575342465753424</c:v>
                </c:pt>
                <c:pt idx="1775">
                  <c:v>0.86575342465753424</c:v>
                </c:pt>
                <c:pt idx="1776">
                  <c:v>0.86575342465753424</c:v>
                </c:pt>
                <c:pt idx="1777">
                  <c:v>#N/A</c:v>
                </c:pt>
                <c:pt idx="1778">
                  <c:v>0.86575342465753424</c:v>
                </c:pt>
                <c:pt idx="1779">
                  <c:v>#N/A</c:v>
                </c:pt>
                <c:pt idx="1780">
                  <c:v>#N/A</c:v>
                </c:pt>
                <c:pt idx="1781">
                  <c:v>#N/A</c:v>
                </c:pt>
                <c:pt idx="1782">
                  <c:v>#N/A</c:v>
                </c:pt>
                <c:pt idx="1783">
                  <c:v>#N/A</c:v>
                </c:pt>
                <c:pt idx="1784">
                  <c:v>0.86575342465753424</c:v>
                </c:pt>
                <c:pt idx="1785">
                  <c:v>#N/A</c:v>
                </c:pt>
                <c:pt idx="1786">
                  <c:v>0.86575342465753424</c:v>
                </c:pt>
                <c:pt idx="1787">
                  <c:v>#N/A</c:v>
                </c:pt>
                <c:pt idx="1788">
                  <c:v>0.86575342465753424</c:v>
                </c:pt>
                <c:pt idx="1789">
                  <c:v>#N/A</c:v>
                </c:pt>
                <c:pt idx="1790">
                  <c:v>#N/A</c:v>
                </c:pt>
                <c:pt idx="1791">
                  <c:v>0.86575342465753424</c:v>
                </c:pt>
                <c:pt idx="1792">
                  <c:v>#N/A</c:v>
                </c:pt>
                <c:pt idx="1793">
                  <c:v>#N/A</c:v>
                </c:pt>
                <c:pt idx="1794">
                  <c:v>#N/A</c:v>
                </c:pt>
                <c:pt idx="1795">
                  <c:v>#N/A</c:v>
                </c:pt>
                <c:pt idx="1796">
                  <c:v>#N/A</c:v>
                </c:pt>
                <c:pt idx="1797">
                  <c:v>0.86575342465753424</c:v>
                </c:pt>
                <c:pt idx="1798">
                  <c:v>#N/A</c:v>
                </c:pt>
                <c:pt idx="1799">
                  <c:v>#N/A</c:v>
                </c:pt>
                <c:pt idx="1800">
                  <c:v>0.86575342465753424</c:v>
                </c:pt>
                <c:pt idx="1801">
                  <c:v>#N/A</c:v>
                </c:pt>
                <c:pt idx="1802">
                  <c:v>#N/A</c:v>
                </c:pt>
                <c:pt idx="1803">
                  <c:v>0.86575342465753424</c:v>
                </c:pt>
                <c:pt idx="1804">
                  <c:v>#N/A</c:v>
                </c:pt>
                <c:pt idx="1805">
                  <c:v>#N/A</c:v>
                </c:pt>
                <c:pt idx="1806">
                  <c:v>0.86849315068493149</c:v>
                </c:pt>
                <c:pt idx="1807">
                  <c:v>#N/A</c:v>
                </c:pt>
                <c:pt idx="1808">
                  <c:v>0.86849315068493149</c:v>
                </c:pt>
                <c:pt idx="1809">
                  <c:v>#N/A</c:v>
                </c:pt>
                <c:pt idx="1810">
                  <c:v>#N/A</c:v>
                </c:pt>
                <c:pt idx="1811">
                  <c:v>#N/A</c:v>
                </c:pt>
                <c:pt idx="1812">
                  <c:v>#N/A</c:v>
                </c:pt>
                <c:pt idx="1813">
                  <c:v>0.87671232876712324</c:v>
                </c:pt>
                <c:pt idx="1814">
                  <c:v>#N/A</c:v>
                </c:pt>
                <c:pt idx="1815">
                  <c:v>#N/A</c:v>
                </c:pt>
                <c:pt idx="1816">
                  <c:v>#N/A</c:v>
                </c:pt>
                <c:pt idx="1817">
                  <c:v>#N/A</c:v>
                </c:pt>
                <c:pt idx="1818">
                  <c:v>#N/A</c:v>
                </c:pt>
                <c:pt idx="1819">
                  <c:v>#N/A</c:v>
                </c:pt>
                <c:pt idx="1820">
                  <c:v>#N/A</c:v>
                </c:pt>
                <c:pt idx="1821">
                  <c:v>0.8794520547945206</c:v>
                </c:pt>
                <c:pt idx="1822">
                  <c:v>#N/A</c:v>
                </c:pt>
                <c:pt idx="1823">
                  <c:v>#N/A</c:v>
                </c:pt>
                <c:pt idx="1824">
                  <c:v>#N/A</c:v>
                </c:pt>
                <c:pt idx="1825">
                  <c:v>#N/A</c:v>
                </c:pt>
                <c:pt idx="1826">
                  <c:v>#N/A</c:v>
                </c:pt>
                <c:pt idx="1827">
                  <c:v>0.88219178082191785</c:v>
                </c:pt>
                <c:pt idx="1828">
                  <c:v>0.8849315068493151</c:v>
                </c:pt>
                <c:pt idx="1829">
                  <c:v>0.8849315068493151</c:v>
                </c:pt>
                <c:pt idx="1830">
                  <c:v>0.8849315068493151</c:v>
                </c:pt>
                <c:pt idx="1831">
                  <c:v>#N/A</c:v>
                </c:pt>
                <c:pt idx="1832">
                  <c:v>0.8849315068493151</c:v>
                </c:pt>
                <c:pt idx="1833">
                  <c:v>0.8849315068493151</c:v>
                </c:pt>
                <c:pt idx="1834">
                  <c:v>0.8849315068493151</c:v>
                </c:pt>
                <c:pt idx="1835">
                  <c:v>#N/A</c:v>
                </c:pt>
                <c:pt idx="1836">
                  <c:v>0.8849315068493151</c:v>
                </c:pt>
                <c:pt idx="1837">
                  <c:v>0.8849315068493151</c:v>
                </c:pt>
                <c:pt idx="1838">
                  <c:v>0.8849315068493151</c:v>
                </c:pt>
                <c:pt idx="1839">
                  <c:v>#N/A</c:v>
                </c:pt>
                <c:pt idx="1840">
                  <c:v>#N/A</c:v>
                </c:pt>
                <c:pt idx="1841">
                  <c:v>#N/A</c:v>
                </c:pt>
                <c:pt idx="1842">
                  <c:v>0.8849315068493151</c:v>
                </c:pt>
                <c:pt idx="1843">
                  <c:v>0.8849315068493151</c:v>
                </c:pt>
                <c:pt idx="1844">
                  <c:v>#N/A</c:v>
                </c:pt>
                <c:pt idx="1845">
                  <c:v>0.88767123287671235</c:v>
                </c:pt>
                <c:pt idx="1846">
                  <c:v>#N/A</c:v>
                </c:pt>
                <c:pt idx="1847">
                  <c:v>#N/A</c:v>
                </c:pt>
                <c:pt idx="1848">
                  <c:v>#N/A</c:v>
                </c:pt>
                <c:pt idx="1849">
                  <c:v>0.90410958904109584</c:v>
                </c:pt>
                <c:pt idx="1850">
                  <c:v>#N/A</c:v>
                </c:pt>
                <c:pt idx="1851">
                  <c:v>#N/A</c:v>
                </c:pt>
                <c:pt idx="1852">
                  <c:v>#N/A</c:v>
                </c:pt>
                <c:pt idx="1853">
                  <c:v>#N/A</c:v>
                </c:pt>
                <c:pt idx="1854">
                  <c:v>#N/A</c:v>
                </c:pt>
                <c:pt idx="1855">
                  <c:v>#N/A</c:v>
                </c:pt>
                <c:pt idx="1856">
                  <c:v>#N/A</c:v>
                </c:pt>
                <c:pt idx="1857">
                  <c:v>0.9068493150684932</c:v>
                </c:pt>
                <c:pt idx="1858">
                  <c:v>#N/A</c:v>
                </c:pt>
                <c:pt idx="1859">
                  <c:v>#N/A</c:v>
                </c:pt>
                <c:pt idx="1860">
                  <c:v>#N/A</c:v>
                </c:pt>
                <c:pt idx="1861">
                  <c:v>#N/A</c:v>
                </c:pt>
                <c:pt idx="1862">
                  <c:v>#N/A</c:v>
                </c:pt>
                <c:pt idx="1863">
                  <c:v>#N/A</c:v>
                </c:pt>
                <c:pt idx="1864">
                  <c:v>0.9068493150684932</c:v>
                </c:pt>
                <c:pt idx="1865">
                  <c:v>#N/A</c:v>
                </c:pt>
                <c:pt idx="1866">
                  <c:v>0.91506849315068495</c:v>
                </c:pt>
                <c:pt idx="1867">
                  <c:v>#N/A</c:v>
                </c:pt>
                <c:pt idx="1868">
                  <c:v>0.91506849315068495</c:v>
                </c:pt>
                <c:pt idx="1869">
                  <c:v>0.91506849315068495</c:v>
                </c:pt>
                <c:pt idx="1870">
                  <c:v>0.91506849315068495</c:v>
                </c:pt>
                <c:pt idx="1871">
                  <c:v>#N/A</c:v>
                </c:pt>
                <c:pt idx="1872">
                  <c:v>#N/A</c:v>
                </c:pt>
                <c:pt idx="1873">
                  <c:v>#N/A</c:v>
                </c:pt>
                <c:pt idx="1874">
                  <c:v>#N/A</c:v>
                </c:pt>
                <c:pt idx="1875">
                  <c:v>#N/A</c:v>
                </c:pt>
                <c:pt idx="1876">
                  <c:v>#N/A</c:v>
                </c:pt>
                <c:pt idx="1877">
                  <c:v>0.91506849315068495</c:v>
                </c:pt>
                <c:pt idx="1878">
                  <c:v>0.91506849315068495</c:v>
                </c:pt>
                <c:pt idx="1879">
                  <c:v>0.91506849315068495</c:v>
                </c:pt>
                <c:pt idx="1880">
                  <c:v>0.91506849315068495</c:v>
                </c:pt>
                <c:pt idx="1881">
                  <c:v>#N/A</c:v>
                </c:pt>
                <c:pt idx="1882">
                  <c:v>#N/A</c:v>
                </c:pt>
                <c:pt idx="1883">
                  <c:v>#N/A</c:v>
                </c:pt>
                <c:pt idx="1884">
                  <c:v>0.92328767123287669</c:v>
                </c:pt>
                <c:pt idx="1885">
                  <c:v>#N/A</c:v>
                </c:pt>
                <c:pt idx="1886">
                  <c:v>#N/A</c:v>
                </c:pt>
                <c:pt idx="1887">
                  <c:v>0.92602739726027394</c:v>
                </c:pt>
                <c:pt idx="1888">
                  <c:v>0.92602739726027394</c:v>
                </c:pt>
                <c:pt idx="1889">
                  <c:v>#N/A</c:v>
                </c:pt>
                <c:pt idx="1890">
                  <c:v>0.9342465753424658</c:v>
                </c:pt>
                <c:pt idx="1891">
                  <c:v>#N/A</c:v>
                </c:pt>
                <c:pt idx="1892">
                  <c:v>#N/A</c:v>
                </c:pt>
                <c:pt idx="1893">
                  <c:v>#N/A</c:v>
                </c:pt>
                <c:pt idx="1894">
                  <c:v>#N/A</c:v>
                </c:pt>
                <c:pt idx="1895">
                  <c:v>#N/A</c:v>
                </c:pt>
                <c:pt idx="1896">
                  <c:v>0.9342465753424658</c:v>
                </c:pt>
                <c:pt idx="1897">
                  <c:v>0.9342465753424658</c:v>
                </c:pt>
                <c:pt idx="1898">
                  <c:v>#N/A</c:v>
                </c:pt>
                <c:pt idx="1899">
                  <c:v>0.93698630136986305</c:v>
                </c:pt>
                <c:pt idx="1900">
                  <c:v>#N/A</c:v>
                </c:pt>
                <c:pt idx="1901">
                  <c:v>#N/A</c:v>
                </c:pt>
                <c:pt idx="1902">
                  <c:v>#N/A</c:v>
                </c:pt>
                <c:pt idx="1903">
                  <c:v>#N/A</c:v>
                </c:pt>
                <c:pt idx="1904">
                  <c:v>#N/A</c:v>
                </c:pt>
                <c:pt idx="1905">
                  <c:v>0.93698630136986305</c:v>
                </c:pt>
                <c:pt idx="1906">
                  <c:v>0.9397260273972603</c:v>
                </c:pt>
                <c:pt idx="1907">
                  <c:v>0.9397260273972603</c:v>
                </c:pt>
                <c:pt idx="1908">
                  <c:v>#N/A</c:v>
                </c:pt>
                <c:pt idx="1909">
                  <c:v>0.9397260273972603</c:v>
                </c:pt>
                <c:pt idx="1910">
                  <c:v>0.9397260273972603</c:v>
                </c:pt>
                <c:pt idx="1911">
                  <c:v>0.9397260273972603</c:v>
                </c:pt>
                <c:pt idx="1912">
                  <c:v>#N/A</c:v>
                </c:pt>
                <c:pt idx="1913">
                  <c:v>0.9397260273972603</c:v>
                </c:pt>
                <c:pt idx="1914">
                  <c:v>0.9397260273972603</c:v>
                </c:pt>
                <c:pt idx="1915">
                  <c:v>0.9397260273972603</c:v>
                </c:pt>
                <c:pt idx="1916">
                  <c:v>0.9397260273972603</c:v>
                </c:pt>
                <c:pt idx="1917">
                  <c:v>#N/A</c:v>
                </c:pt>
                <c:pt idx="1918">
                  <c:v>#N/A</c:v>
                </c:pt>
                <c:pt idx="1919">
                  <c:v>0.9397260273972603</c:v>
                </c:pt>
                <c:pt idx="1920">
                  <c:v>0.9397260273972603</c:v>
                </c:pt>
                <c:pt idx="1921">
                  <c:v>#N/A</c:v>
                </c:pt>
                <c:pt idx="1922">
                  <c:v>0.9397260273972603</c:v>
                </c:pt>
                <c:pt idx="1923">
                  <c:v>0.9397260273972603</c:v>
                </c:pt>
                <c:pt idx="1924">
                  <c:v>0.9397260273972603</c:v>
                </c:pt>
                <c:pt idx="1925">
                  <c:v>0.9397260273972603</c:v>
                </c:pt>
                <c:pt idx="1926">
                  <c:v>0.9397260273972603</c:v>
                </c:pt>
                <c:pt idx="1927">
                  <c:v>0.9397260273972603</c:v>
                </c:pt>
                <c:pt idx="1928">
                  <c:v>#N/A</c:v>
                </c:pt>
                <c:pt idx="1929">
                  <c:v>#N/A</c:v>
                </c:pt>
                <c:pt idx="1930">
                  <c:v>0.95342465753424654</c:v>
                </c:pt>
                <c:pt idx="1931">
                  <c:v>0.95342465753424654</c:v>
                </c:pt>
                <c:pt idx="1932">
                  <c:v>#N/A</c:v>
                </c:pt>
                <c:pt idx="1933">
                  <c:v>0.95342465753424654</c:v>
                </c:pt>
                <c:pt idx="1934">
                  <c:v>0.95342465753424654</c:v>
                </c:pt>
                <c:pt idx="1935">
                  <c:v>#N/A</c:v>
                </c:pt>
                <c:pt idx="1936">
                  <c:v>#N/A</c:v>
                </c:pt>
                <c:pt idx="1937">
                  <c:v>0.95616438356164379</c:v>
                </c:pt>
                <c:pt idx="1938">
                  <c:v>#N/A</c:v>
                </c:pt>
                <c:pt idx="1939">
                  <c:v>0.95890410958904104</c:v>
                </c:pt>
                <c:pt idx="1940">
                  <c:v>0.95890410958904104</c:v>
                </c:pt>
                <c:pt idx="1941">
                  <c:v>#N/A</c:v>
                </c:pt>
                <c:pt idx="1942">
                  <c:v>#N/A</c:v>
                </c:pt>
                <c:pt idx="1943">
                  <c:v>0.95890410958904104</c:v>
                </c:pt>
                <c:pt idx="1944">
                  <c:v>#N/A</c:v>
                </c:pt>
                <c:pt idx="1945">
                  <c:v>#N/A</c:v>
                </c:pt>
                <c:pt idx="1946">
                  <c:v>#N/A</c:v>
                </c:pt>
                <c:pt idx="1947">
                  <c:v>0.9616438356164384</c:v>
                </c:pt>
                <c:pt idx="1948">
                  <c:v>0.9616438356164384</c:v>
                </c:pt>
                <c:pt idx="1949">
                  <c:v>#N/A</c:v>
                </c:pt>
                <c:pt idx="1950">
                  <c:v>#N/A</c:v>
                </c:pt>
                <c:pt idx="1951">
                  <c:v>#N/A</c:v>
                </c:pt>
                <c:pt idx="1952">
                  <c:v>#N/A</c:v>
                </c:pt>
                <c:pt idx="1953">
                  <c:v>#N/A</c:v>
                </c:pt>
                <c:pt idx="1954">
                  <c:v>#N/A</c:v>
                </c:pt>
                <c:pt idx="1955">
                  <c:v>#N/A</c:v>
                </c:pt>
                <c:pt idx="1956">
                  <c:v>#N/A</c:v>
                </c:pt>
                <c:pt idx="1957">
                  <c:v>#N/A</c:v>
                </c:pt>
                <c:pt idx="1958">
                  <c:v>0.9726027397260274</c:v>
                </c:pt>
                <c:pt idx="1959">
                  <c:v>#N/A</c:v>
                </c:pt>
                <c:pt idx="1960">
                  <c:v>#N/A</c:v>
                </c:pt>
                <c:pt idx="1961">
                  <c:v>#N/A</c:v>
                </c:pt>
                <c:pt idx="1962">
                  <c:v>0.9726027397260274</c:v>
                </c:pt>
                <c:pt idx="1963">
                  <c:v>#N/A</c:v>
                </c:pt>
                <c:pt idx="1964">
                  <c:v>0.9726027397260274</c:v>
                </c:pt>
                <c:pt idx="1965">
                  <c:v>#N/A</c:v>
                </c:pt>
                <c:pt idx="1966">
                  <c:v>#N/A</c:v>
                </c:pt>
                <c:pt idx="1967">
                  <c:v>0.9726027397260274</c:v>
                </c:pt>
                <c:pt idx="1968">
                  <c:v>0.9726027397260274</c:v>
                </c:pt>
                <c:pt idx="1969">
                  <c:v>#N/A</c:v>
                </c:pt>
                <c:pt idx="1970">
                  <c:v>0.9726027397260274</c:v>
                </c:pt>
                <c:pt idx="1971">
                  <c:v>#N/A</c:v>
                </c:pt>
                <c:pt idx="1972">
                  <c:v>0.9726027397260274</c:v>
                </c:pt>
                <c:pt idx="1973">
                  <c:v>0.9726027397260274</c:v>
                </c:pt>
                <c:pt idx="1974">
                  <c:v>0.9726027397260274</c:v>
                </c:pt>
                <c:pt idx="1975">
                  <c:v>0.9726027397260274</c:v>
                </c:pt>
                <c:pt idx="1976">
                  <c:v>0.9726027397260274</c:v>
                </c:pt>
                <c:pt idx="1977">
                  <c:v>#N/A</c:v>
                </c:pt>
                <c:pt idx="1978">
                  <c:v>#N/A</c:v>
                </c:pt>
                <c:pt idx="1979">
                  <c:v>#N/A</c:v>
                </c:pt>
                <c:pt idx="1980">
                  <c:v>0.9726027397260274</c:v>
                </c:pt>
                <c:pt idx="1981">
                  <c:v>#N/A</c:v>
                </c:pt>
                <c:pt idx="1982">
                  <c:v>#N/A</c:v>
                </c:pt>
                <c:pt idx="1983">
                  <c:v>#N/A</c:v>
                </c:pt>
                <c:pt idx="1984">
                  <c:v>0.97534246575342465</c:v>
                </c:pt>
                <c:pt idx="1985">
                  <c:v>0.9780821917808219</c:v>
                </c:pt>
                <c:pt idx="1986">
                  <c:v>#N/A</c:v>
                </c:pt>
                <c:pt idx="1987">
                  <c:v>0.9780821917808219</c:v>
                </c:pt>
                <c:pt idx="1988">
                  <c:v>0.9780821917808219</c:v>
                </c:pt>
                <c:pt idx="1989">
                  <c:v>#N/A</c:v>
                </c:pt>
                <c:pt idx="1990">
                  <c:v>#N/A</c:v>
                </c:pt>
                <c:pt idx="1991">
                  <c:v>0.9780821917808219</c:v>
                </c:pt>
                <c:pt idx="1992">
                  <c:v>0.9780821917808219</c:v>
                </c:pt>
                <c:pt idx="1993">
                  <c:v>0.9780821917808219</c:v>
                </c:pt>
                <c:pt idx="1994">
                  <c:v>#N/A</c:v>
                </c:pt>
                <c:pt idx="1995">
                  <c:v>0.9780821917808219</c:v>
                </c:pt>
                <c:pt idx="1996">
                  <c:v>0.9780821917808219</c:v>
                </c:pt>
                <c:pt idx="1997">
                  <c:v>0.9780821917808219</c:v>
                </c:pt>
                <c:pt idx="1998">
                  <c:v>0.9780821917808219</c:v>
                </c:pt>
                <c:pt idx="1999">
                  <c:v>0.98082191780821915</c:v>
                </c:pt>
                <c:pt idx="2000">
                  <c:v>0.98082191780821915</c:v>
                </c:pt>
                <c:pt idx="2001">
                  <c:v>#N/A</c:v>
                </c:pt>
                <c:pt idx="2002">
                  <c:v>#N/A</c:v>
                </c:pt>
                <c:pt idx="2003">
                  <c:v>0.99178082191780825</c:v>
                </c:pt>
                <c:pt idx="2004">
                  <c:v>#N/A</c:v>
                </c:pt>
                <c:pt idx="2005">
                  <c:v>#N/A</c:v>
                </c:pt>
                <c:pt idx="2006">
                  <c:v>#N/A</c:v>
                </c:pt>
                <c:pt idx="2007">
                  <c:v>#N/A</c:v>
                </c:pt>
                <c:pt idx="2008">
                  <c:v>#N/A</c:v>
                </c:pt>
                <c:pt idx="2009">
                  <c:v>0.9945205479452055</c:v>
                </c:pt>
                <c:pt idx="2010">
                  <c:v>0.9945205479452055</c:v>
                </c:pt>
                <c:pt idx="2011">
                  <c:v>#N/A</c:v>
                </c:pt>
                <c:pt idx="2012">
                  <c:v>0.9945205479452055</c:v>
                </c:pt>
                <c:pt idx="2013">
                  <c:v>0.9945205479452055</c:v>
                </c:pt>
                <c:pt idx="2014">
                  <c:v>0.9945205479452055</c:v>
                </c:pt>
                <c:pt idx="2015">
                  <c:v>#N/A</c:v>
                </c:pt>
                <c:pt idx="2016">
                  <c:v>#N/A</c:v>
                </c:pt>
                <c:pt idx="2017">
                  <c:v>0.9945205479452055</c:v>
                </c:pt>
                <c:pt idx="2018">
                  <c:v>0.9945205479452055</c:v>
                </c:pt>
                <c:pt idx="2019">
                  <c:v>#N/A</c:v>
                </c:pt>
                <c:pt idx="2020">
                  <c:v>0.9945205479452055</c:v>
                </c:pt>
                <c:pt idx="2021">
                  <c:v>0.9945205479452055</c:v>
                </c:pt>
                <c:pt idx="2022">
                  <c:v>0.99726027397260275</c:v>
                </c:pt>
                <c:pt idx="2023">
                  <c:v>0.99726027397260275</c:v>
                </c:pt>
                <c:pt idx="2024">
                  <c:v>#N/A</c:v>
                </c:pt>
                <c:pt idx="2025">
                  <c:v>0.99726027397260275</c:v>
                </c:pt>
                <c:pt idx="2026">
                  <c:v>#N/A</c:v>
                </c:pt>
                <c:pt idx="2027">
                  <c:v>0.99726027397260275</c:v>
                </c:pt>
                <c:pt idx="2028">
                  <c:v>0.99726027397260275</c:v>
                </c:pt>
                <c:pt idx="2029">
                  <c:v>0.99726027397260275</c:v>
                </c:pt>
                <c:pt idx="2030">
                  <c:v>0.99726027397260275</c:v>
                </c:pt>
                <c:pt idx="2031">
                  <c:v>0.99726027397260275</c:v>
                </c:pt>
                <c:pt idx="2032">
                  <c:v>0.99726027397260275</c:v>
                </c:pt>
                <c:pt idx="2033">
                  <c:v>0.99726027397260275</c:v>
                </c:pt>
                <c:pt idx="2034">
                  <c:v>#N/A</c:v>
                </c:pt>
                <c:pt idx="2035">
                  <c:v>#N/A</c:v>
                </c:pt>
                <c:pt idx="2036">
                  <c:v>#N/A</c:v>
                </c:pt>
                <c:pt idx="2037">
                  <c:v>1</c:v>
                </c:pt>
                <c:pt idx="2038">
                  <c:v>1</c:v>
                </c:pt>
                <c:pt idx="2039">
                  <c:v>#N/A</c:v>
                </c:pt>
                <c:pt idx="2040">
                  <c:v>#N/A</c:v>
                </c:pt>
                <c:pt idx="2041">
                  <c:v>#N/A</c:v>
                </c:pt>
                <c:pt idx="2042">
                  <c:v>#N/A</c:v>
                </c:pt>
                <c:pt idx="2043">
                  <c:v>#N/A</c:v>
                </c:pt>
                <c:pt idx="2044">
                  <c:v>#N/A</c:v>
                </c:pt>
                <c:pt idx="2045">
                  <c:v>#N/A</c:v>
                </c:pt>
                <c:pt idx="2046">
                  <c:v>1.0027397260273974</c:v>
                </c:pt>
                <c:pt idx="2047">
                  <c:v>#N/A</c:v>
                </c:pt>
                <c:pt idx="2048">
                  <c:v>1.0027397260273974</c:v>
                </c:pt>
                <c:pt idx="2049">
                  <c:v>#N/A</c:v>
                </c:pt>
                <c:pt idx="2050">
                  <c:v>1.0027397260273974</c:v>
                </c:pt>
                <c:pt idx="2051">
                  <c:v>#N/A</c:v>
                </c:pt>
                <c:pt idx="2052">
                  <c:v>#N/A</c:v>
                </c:pt>
                <c:pt idx="2053">
                  <c:v>#N/A</c:v>
                </c:pt>
                <c:pt idx="2054">
                  <c:v>1.0027397260273974</c:v>
                </c:pt>
                <c:pt idx="2055">
                  <c:v>#N/A</c:v>
                </c:pt>
                <c:pt idx="2056">
                  <c:v>1.0027397260273974</c:v>
                </c:pt>
                <c:pt idx="2057">
                  <c:v>#N/A</c:v>
                </c:pt>
                <c:pt idx="2058">
                  <c:v>1.0027397260273974</c:v>
                </c:pt>
                <c:pt idx="2059">
                  <c:v>1.0027397260273974</c:v>
                </c:pt>
                <c:pt idx="2060">
                  <c:v>#N/A</c:v>
                </c:pt>
                <c:pt idx="2061">
                  <c:v>#N/A</c:v>
                </c:pt>
                <c:pt idx="2062">
                  <c:v>1.0027397260273974</c:v>
                </c:pt>
                <c:pt idx="2063">
                  <c:v>#N/A</c:v>
                </c:pt>
                <c:pt idx="2064">
                  <c:v>#N/A</c:v>
                </c:pt>
                <c:pt idx="2065">
                  <c:v>1.0027397260273974</c:v>
                </c:pt>
                <c:pt idx="2066">
                  <c:v>1.0027397260273974</c:v>
                </c:pt>
                <c:pt idx="2067">
                  <c:v>#N/A</c:v>
                </c:pt>
                <c:pt idx="2068">
                  <c:v>#N/A</c:v>
                </c:pt>
                <c:pt idx="2069">
                  <c:v>1.0027397260273974</c:v>
                </c:pt>
                <c:pt idx="2070">
                  <c:v>1.0027397260273974</c:v>
                </c:pt>
                <c:pt idx="2071">
                  <c:v>#N/A</c:v>
                </c:pt>
                <c:pt idx="2072">
                  <c:v>#N/A</c:v>
                </c:pt>
                <c:pt idx="2073">
                  <c:v>#N/A</c:v>
                </c:pt>
                <c:pt idx="2074">
                  <c:v>1.0027397260273974</c:v>
                </c:pt>
                <c:pt idx="2075">
                  <c:v>1.0027397260273974</c:v>
                </c:pt>
                <c:pt idx="2076">
                  <c:v>#N/A</c:v>
                </c:pt>
                <c:pt idx="2077">
                  <c:v>#N/A</c:v>
                </c:pt>
                <c:pt idx="2078">
                  <c:v>1.0027397260273974</c:v>
                </c:pt>
                <c:pt idx="2079">
                  <c:v>1.0027397260273974</c:v>
                </c:pt>
                <c:pt idx="2080">
                  <c:v>#N/A</c:v>
                </c:pt>
                <c:pt idx="2081">
                  <c:v>#N/A</c:v>
                </c:pt>
                <c:pt idx="2082">
                  <c:v>#N/A</c:v>
                </c:pt>
                <c:pt idx="2083">
                  <c:v>#N/A</c:v>
                </c:pt>
                <c:pt idx="2084">
                  <c:v>1.0027397260273974</c:v>
                </c:pt>
                <c:pt idx="2085">
                  <c:v>#N/A</c:v>
                </c:pt>
                <c:pt idx="2086">
                  <c:v>1.0027397260273974</c:v>
                </c:pt>
                <c:pt idx="2087">
                  <c:v>1.0027397260273974</c:v>
                </c:pt>
                <c:pt idx="2088">
                  <c:v>#N/A</c:v>
                </c:pt>
                <c:pt idx="2089">
                  <c:v>1.0027397260273974</c:v>
                </c:pt>
                <c:pt idx="2090">
                  <c:v>#N/A</c:v>
                </c:pt>
                <c:pt idx="2091">
                  <c:v>1.0027397260273974</c:v>
                </c:pt>
                <c:pt idx="2092">
                  <c:v>1.0027397260273974</c:v>
                </c:pt>
                <c:pt idx="2093">
                  <c:v>1.0027397260273974</c:v>
                </c:pt>
                <c:pt idx="2094">
                  <c:v>#N/A</c:v>
                </c:pt>
                <c:pt idx="2095">
                  <c:v>1.0027397260273974</c:v>
                </c:pt>
                <c:pt idx="2096">
                  <c:v>#N/A</c:v>
                </c:pt>
                <c:pt idx="2097">
                  <c:v>1.0027397260273974</c:v>
                </c:pt>
                <c:pt idx="2098">
                  <c:v>#N/A</c:v>
                </c:pt>
                <c:pt idx="2099">
                  <c:v>1.0027397260273974</c:v>
                </c:pt>
                <c:pt idx="2100">
                  <c:v>#N/A</c:v>
                </c:pt>
                <c:pt idx="2101">
                  <c:v>#N/A</c:v>
                </c:pt>
                <c:pt idx="2102">
                  <c:v>1.0027397260273974</c:v>
                </c:pt>
                <c:pt idx="2103">
                  <c:v>#N/A</c:v>
                </c:pt>
                <c:pt idx="2104">
                  <c:v>1.0027397260273974</c:v>
                </c:pt>
                <c:pt idx="2105">
                  <c:v>#N/A</c:v>
                </c:pt>
                <c:pt idx="2106">
                  <c:v>#N/A</c:v>
                </c:pt>
                <c:pt idx="2107">
                  <c:v>#N/A</c:v>
                </c:pt>
                <c:pt idx="2108">
                  <c:v>#N/A</c:v>
                </c:pt>
                <c:pt idx="2109">
                  <c:v>#N/A</c:v>
                </c:pt>
                <c:pt idx="2110">
                  <c:v>#N/A</c:v>
                </c:pt>
                <c:pt idx="2111">
                  <c:v>#N/A</c:v>
                </c:pt>
                <c:pt idx="2112">
                  <c:v>#N/A</c:v>
                </c:pt>
                <c:pt idx="2113">
                  <c:v>1.0027397260273974</c:v>
                </c:pt>
                <c:pt idx="2114">
                  <c:v>#N/A</c:v>
                </c:pt>
                <c:pt idx="2115">
                  <c:v>#N/A</c:v>
                </c:pt>
                <c:pt idx="2116">
                  <c:v>1.0027397260273974</c:v>
                </c:pt>
                <c:pt idx="2117">
                  <c:v>#N/A</c:v>
                </c:pt>
                <c:pt idx="2118">
                  <c:v>1.0027397260273974</c:v>
                </c:pt>
                <c:pt idx="2119">
                  <c:v>1.0027397260273974</c:v>
                </c:pt>
                <c:pt idx="2120">
                  <c:v>#N/A</c:v>
                </c:pt>
                <c:pt idx="2121">
                  <c:v>1.0027397260273974</c:v>
                </c:pt>
                <c:pt idx="2122">
                  <c:v>1.0027397260273974</c:v>
                </c:pt>
                <c:pt idx="2123">
                  <c:v>#N/A</c:v>
                </c:pt>
                <c:pt idx="2124">
                  <c:v>#N/A</c:v>
                </c:pt>
                <c:pt idx="2125">
                  <c:v>1.0027397260273974</c:v>
                </c:pt>
                <c:pt idx="2126">
                  <c:v>1.0027397260273974</c:v>
                </c:pt>
                <c:pt idx="2127">
                  <c:v>1.0027397260273974</c:v>
                </c:pt>
                <c:pt idx="2128">
                  <c:v>#N/A</c:v>
                </c:pt>
                <c:pt idx="2129">
                  <c:v>1.0027397260273974</c:v>
                </c:pt>
                <c:pt idx="2130">
                  <c:v>1.0027397260273974</c:v>
                </c:pt>
                <c:pt idx="2131">
                  <c:v>#N/A</c:v>
                </c:pt>
                <c:pt idx="2132">
                  <c:v>#N/A</c:v>
                </c:pt>
                <c:pt idx="2133">
                  <c:v>#N/A</c:v>
                </c:pt>
                <c:pt idx="2134">
                  <c:v>1.0027397260273974</c:v>
                </c:pt>
                <c:pt idx="2135">
                  <c:v>#N/A</c:v>
                </c:pt>
                <c:pt idx="2136">
                  <c:v>#N/A</c:v>
                </c:pt>
                <c:pt idx="2137">
                  <c:v>1.0027397260273974</c:v>
                </c:pt>
                <c:pt idx="2138">
                  <c:v>#N/A</c:v>
                </c:pt>
                <c:pt idx="2139">
                  <c:v>#N/A</c:v>
                </c:pt>
                <c:pt idx="2140">
                  <c:v>#N/A</c:v>
                </c:pt>
                <c:pt idx="2141">
                  <c:v>#N/A</c:v>
                </c:pt>
                <c:pt idx="2142">
                  <c:v>#N/A</c:v>
                </c:pt>
                <c:pt idx="2143">
                  <c:v>1.0027397260273974</c:v>
                </c:pt>
                <c:pt idx="2144">
                  <c:v>1.0027397260273974</c:v>
                </c:pt>
                <c:pt idx="2145">
                  <c:v>1.0027397260273974</c:v>
                </c:pt>
                <c:pt idx="2146">
                  <c:v>#N/A</c:v>
                </c:pt>
                <c:pt idx="2147">
                  <c:v>#N/A</c:v>
                </c:pt>
                <c:pt idx="2148">
                  <c:v>1.0027397260273974</c:v>
                </c:pt>
                <c:pt idx="2149">
                  <c:v>#N/A</c:v>
                </c:pt>
                <c:pt idx="2150">
                  <c:v>1.0027397260273974</c:v>
                </c:pt>
                <c:pt idx="2151">
                  <c:v>#N/A</c:v>
                </c:pt>
                <c:pt idx="2152">
                  <c:v>#N/A</c:v>
                </c:pt>
                <c:pt idx="2153">
                  <c:v>1.0027397260273974</c:v>
                </c:pt>
                <c:pt idx="2154">
                  <c:v>1.0027397260273974</c:v>
                </c:pt>
                <c:pt idx="2155">
                  <c:v>1.0027397260273974</c:v>
                </c:pt>
                <c:pt idx="2156">
                  <c:v>#N/A</c:v>
                </c:pt>
                <c:pt idx="2157">
                  <c:v>1.0027397260273974</c:v>
                </c:pt>
                <c:pt idx="2158">
                  <c:v>#N/A</c:v>
                </c:pt>
                <c:pt idx="2159">
                  <c:v>#N/A</c:v>
                </c:pt>
                <c:pt idx="2160">
                  <c:v>#N/A</c:v>
                </c:pt>
                <c:pt idx="2161">
                  <c:v>1.0027397260273974</c:v>
                </c:pt>
                <c:pt idx="2162">
                  <c:v>1.0027397260273974</c:v>
                </c:pt>
                <c:pt idx="2163">
                  <c:v>1.0027397260273974</c:v>
                </c:pt>
                <c:pt idx="2164">
                  <c:v>#N/A</c:v>
                </c:pt>
                <c:pt idx="2165">
                  <c:v>1.0027397260273974</c:v>
                </c:pt>
                <c:pt idx="2166">
                  <c:v>#N/A</c:v>
                </c:pt>
                <c:pt idx="2167">
                  <c:v>#N/A</c:v>
                </c:pt>
                <c:pt idx="2168">
                  <c:v>#N/A</c:v>
                </c:pt>
                <c:pt idx="2169">
                  <c:v>#N/A</c:v>
                </c:pt>
                <c:pt idx="2170">
                  <c:v>#N/A</c:v>
                </c:pt>
                <c:pt idx="2171">
                  <c:v>1.0027397260273974</c:v>
                </c:pt>
                <c:pt idx="2172">
                  <c:v>#N/A</c:v>
                </c:pt>
                <c:pt idx="2173">
                  <c:v>1.0027397260273974</c:v>
                </c:pt>
                <c:pt idx="2174">
                  <c:v>#N/A</c:v>
                </c:pt>
                <c:pt idx="2175">
                  <c:v>1.0027397260273974</c:v>
                </c:pt>
                <c:pt idx="2176">
                  <c:v>1.0027397260273974</c:v>
                </c:pt>
                <c:pt idx="2177">
                  <c:v>#N/A</c:v>
                </c:pt>
                <c:pt idx="2178">
                  <c:v>#N/A</c:v>
                </c:pt>
                <c:pt idx="2179">
                  <c:v>#N/A</c:v>
                </c:pt>
                <c:pt idx="2180">
                  <c:v>#N/A</c:v>
                </c:pt>
                <c:pt idx="2181">
                  <c:v>#N/A</c:v>
                </c:pt>
                <c:pt idx="2182">
                  <c:v>#N/A</c:v>
                </c:pt>
                <c:pt idx="2183">
                  <c:v>#N/A</c:v>
                </c:pt>
                <c:pt idx="2184">
                  <c:v>#N/A</c:v>
                </c:pt>
                <c:pt idx="2185">
                  <c:v>#N/A</c:v>
                </c:pt>
                <c:pt idx="2186">
                  <c:v>#N/A</c:v>
                </c:pt>
                <c:pt idx="2187">
                  <c:v>#N/A</c:v>
                </c:pt>
                <c:pt idx="2188">
                  <c:v>#N/A</c:v>
                </c:pt>
                <c:pt idx="2189">
                  <c:v>#N/A</c:v>
                </c:pt>
                <c:pt idx="2190">
                  <c:v>#N/A</c:v>
                </c:pt>
                <c:pt idx="2191">
                  <c:v>#N/A</c:v>
                </c:pt>
                <c:pt idx="2192">
                  <c:v>#N/A</c:v>
                </c:pt>
                <c:pt idx="2193">
                  <c:v>#N/A</c:v>
                </c:pt>
                <c:pt idx="2194">
                  <c:v>1.010958904109589</c:v>
                </c:pt>
                <c:pt idx="2195">
                  <c:v>#N/A</c:v>
                </c:pt>
                <c:pt idx="2196">
                  <c:v>#N/A</c:v>
                </c:pt>
                <c:pt idx="2197">
                  <c:v>#N/A</c:v>
                </c:pt>
                <c:pt idx="2198">
                  <c:v>#N/A</c:v>
                </c:pt>
                <c:pt idx="2199">
                  <c:v>1.010958904109589</c:v>
                </c:pt>
                <c:pt idx="2200">
                  <c:v>1.010958904109589</c:v>
                </c:pt>
                <c:pt idx="2201">
                  <c:v>1.010958904109589</c:v>
                </c:pt>
                <c:pt idx="2202">
                  <c:v>1.010958904109589</c:v>
                </c:pt>
                <c:pt idx="2203">
                  <c:v>#N/A</c:v>
                </c:pt>
                <c:pt idx="2204">
                  <c:v>#N/A</c:v>
                </c:pt>
                <c:pt idx="2205">
                  <c:v>#N/A</c:v>
                </c:pt>
                <c:pt idx="2206">
                  <c:v>#N/A</c:v>
                </c:pt>
                <c:pt idx="2207">
                  <c:v>1.010958904109589</c:v>
                </c:pt>
                <c:pt idx="2208">
                  <c:v>1.010958904109589</c:v>
                </c:pt>
                <c:pt idx="2209">
                  <c:v>1.010958904109589</c:v>
                </c:pt>
                <c:pt idx="2210">
                  <c:v>1.010958904109589</c:v>
                </c:pt>
                <c:pt idx="2211">
                  <c:v>#N/A</c:v>
                </c:pt>
                <c:pt idx="2212">
                  <c:v>#N/A</c:v>
                </c:pt>
                <c:pt idx="2213">
                  <c:v>#N/A</c:v>
                </c:pt>
                <c:pt idx="2214">
                  <c:v>#N/A</c:v>
                </c:pt>
                <c:pt idx="2215">
                  <c:v>1.0136986301369864</c:v>
                </c:pt>
                <c:pt idx="2216">
                  <c:v>#N/A</c:v>
                </c:pt>
                <c:pt idx="2217">
                  <c:v>#N/A</c:v>
                </c:pt>
                <c:pt idx="2218">
                  <c:v>#N/A</c:v>
                </c:pt>
                <c:pt idx="2219">
                  <c:v>#N/A</c:v>
                </c:pt>
                <c:pt idx="2220">
                  <c:v>#N/A</c:v>
                </c:pt>
                <c:pt idx="2221">
                  <c:v>#N/A</c:v>
                </c:pt>
                <c:pt idx="2222">
                  <c:v>#N/A</c:v>
                </c:pt>
                <c:pt idx="2223">
                  <c:v>#N/A</c:v>
                </c:pt>
                <c:pt idx="2224">
                  <c:v>#N/A</c:v>
                </c:pt>
                <c:pt idx="2225">
                  <c:v>#N/A</c:v>
                </c:pt>
                <c:pt idx="2226">
                  <c:v>#N/A</c:v>
                </c:pt>
                <c:pt idx="2227">
                  <c:v>1.0136986301369864</c:v>
                </c:pt>
                <c:pt idx="2228">
                  <c:v>#N/A</c:v>
                </c:pt>
                <c:pt idx="2229">
                  <c:v>#N/A</c:v>
                </c:pt>
                <c:pt idx="2230">
                  <c:v>#N/A</c:v>
                </c:pt>
                <c:pt idx="2231">
                  <c:v>#N/A</c:v>
                </c:pt>
                <c:pt idx="2232">
                  <c:v>#N/A</c:v>
                </c:pt>
                <c:pt idx="2233">
                  <c:v>#N/A</c:v>
                </c:pt>
                <c:pt idx="2234">
                  <c:v>#N/A</c:v>
                </c:pt>
                <c:pt idx="2235">
                  <c:v>1.0164383561643835</c:v>
                </c:pt>
                <c:pt idx="2236">
                  <c:v>#N/A</c:v>
                </c:pt>
                <c:pt idx="2237">
                  <c:v>#N/A</c:v>
                </c:pt>
                <c:pt idx="2238">
                  <c:v>#N/A</c:v>
                </c:pt>
                <c:pt idx="2239">
                  <c:v>#N/A</c:v>
                </c:pt>
                <c:pt idx="2240">
                  <c:v>#N/A</c:v>
                </c:pt>
                <c:pt idx="2241">
                  <c:v>#N/A</c:v>
                </c:pt>
                <c:pt idx="2242">
                  <c:v>1.0191780821917809</c:v>
                </c:pt>
                <c:pt idx="2243">
                  <c:v>#N/A</c:v>
                </c:pt>
                <c:pt idx="2244">
                  <c:v>1.0191780821917809</c:v>
                </c:pt>
                <c:pt idx="2245">
                  <c:v>#N/A</c:v>
                </c:pt>
                <c:pt idx="2246">
                  <c:v>1.0191780821917809</c:v>
                </c:pt>
                <c:pt idx="2247">
                  <c:v>1.021917808219178</c:v>
                </c:pt>
                <c:pt idx="2248">
                  <c:v>1.021917808219178</c:v>
                </c:pt>
                <c:pt idx="2249">
                  <c:v>1.021917808219178</c:v>
                </c:pt>
                <c:pt idx="2250">
                  <c:v>#N/A</c:v>
                </c:pt>
                <c:pt idx="2251">
                  <c:v>#N/A</c:v>
                </c:pt>
                <c:pt idx="2252">
                  <c:v>#N/A</c:v>
                </c:pt>
                <c:pt idx="2253">
                  <c:v>#N/A</c:v>
                </c:pt>
                <c:pt idx="2254">
                  <c:v>1.021917808219178</c:v>
                </c:pt>
                <c:pt idx="2255">
                  <c:v>#N/A</c:v>
                </c:pt>
                <c:pt idx="2256">
                  <c:v>1.021917808219178</c:v>
                </c:pt>
                <c:pt idx="2257">
                  <c:v>1.021917808219178</c:v>
                </c:pt>
                <c:pt idx="2258">
                  <c:v>1.021917808219178</c:v>
                </c:pt>
                <c:pt idx="2259">
                  <c:v>#N/A</c:v>
                </c:pt>
                <c:pt idx="2260">
                  <c:v>1.0273972602739727</c:v>
                </c:pt>
                <c:pt idx="2261">
                  <c:v>1.0273972602739727</c:v>
                </c:pt>
                <c:pt idx="2262">
                  <c:v>1.0273972602739727</c:v>
                </c:pt>
                <c:pt idx="2263">
                  <c:v>#N/A</c:v>
                </c:pt>
                <c:pt idx="2264">
                  <c:v>1.0301369863013699</c:v>
                </c:pt>
                <c:pt idx="2265">
                  <c:v>#N/A</c:v>
                </c:pt>
                <c:pt idx="2266">
                  <c:v>1.0301369863013699</c:v>
                </c:pt>
                <c:pt idx="2267">
                  <c:v>#N/A</c:v>
                </c:pt>
                <c:pt idx="2268">
                  <c:v>1.0301369863013699</c:v>
                </c:pt>
                <c:pt idx="2269">
                  <c:v>#N/A</c:v>
                </c:pt>
                <c:pt idx="2270">
                  <c:v>#N/A</c:v>
                </c:pt>
                <c:pt idx="2271">
                  <c:v>#N/A</c:v>
                </c:pt>
                <c:pt idx="2272">
                  <c:v>#N/A</c:v>
                </c:pt>
                <c:pt idx="2273">
                  <c:v>#N/A</c:v>
                </c:pt>
                <c:pt idx="2274">
                  <c:v>#N/A</c:v>
                </c:pt>
                <c:pt idx="2275">
                  <c:v>#N/A</c:v>
                </c:pt>
                <c:pt idx="2276">
                  <c:v>#N/A</c:v>
                </c:pt>
                <c:pt idx="2277">
                  <c:v>1.0301369863013699</c:v>
                </c:pt>
                <c:pt idx="2278">
                  <c:v>1.0301369863013699</c:v>
                </c:pt>
                <c:pt idx="2279">
                  <c:v>1.0301369863013699</c:v>
                </c:pt>
                <c:pt idx="2280">
                  <c:v>1.0301369863013699</c:v>
                </c:pt>
                <c:pt idx="2281">
                  <c:v>#N/A</c:v>
                </c:pt>
                <c:pt idx="2282">
                  <c:v>1.0356164383561643</c:v>
                </c:pt>
                <c:pt idx="2283">
                  <c:v>#N/A</c:v>
                </c:pt>
                <c:pt idx="2284">
                  <c:v>#N/A</c:v>
                </c:pt>
                <c:pt idx="2285">
                  <c:v>#N/A</c:v>
                </c:pt>
                <c:pt idx="2286">
                  <c:v>#N/A</c:v>
                </c:pt>
                <c:pt idx="2287">
                  <c:v>1.0383561643835617</c:v>
                </c:pt>
                <c:pt idx="2288">
                  <c:v>#N/A</c:v>
                </c:pt>
                <c:pt idx="2289">
                  <c:v>#N/A</c:v>
                </c:pt>
                <c:pt idx="2290">
                  <c:v>#N/A</c:v>
                </c:pt>
                <c:pt idx="2291">
                  <c:v>1.0383561643835617</c:v>
                </c:pt>
                <c:pt idx="2292">
                  <c:v>#N/A</c:v>
                </c:pt>
                <c:pt idx="2293">
                  <c:v>#N/A</c:v>
                </c:pt>
                <c:pt idx="2294">
                  <c:v>1.0410958904109588</c:v>
                </c:pt>
                <c:pt idx="2295">
                  <c:v>1.0410958904109588</c:v>
                </c:pt>
                <c:pt idx="2296">
                  <c:v>#N/A</c:v>
                </c:pt>
                <c:pt idx="2297">
                  <c:v>#N/A</c:v>
                </c:pt>
                <c:pt idx="2298">
                  <c:v>1.0410958904109588</c:v>
                </c:pt>
                <c:pt idx="2299">
                  <c:v>#N/A</c:v>
                </c:pt>
                <c:pt idx="2300">
                  <c:v>#N/A</c:v>
                </c:pt>
                <c:pt idx="2301">
                  <c:v>#N/A</c:v>
                </c:pt>
                <c:pt idx="2302">
                  <c:v>#N/A</c:v>
                </c:pt>
                <c:pt idx="2303">
                  <c:v>#N/A</c:v>
                </c:pt>
                <c:pt idx="2304">
                  <c:v>#N/A</c:v>
                </c:pt>
                <c:pt idx="2305">
                  <c:v>#N/A</c:v>
                </c:pt>
                <c:pt idx="2306">
                  <c:v>1.0684931506849316</c:v>
                </c:pt>
                <c:pt idx="2307">
                  <c:v>1.0684931506849316</c:v>
                </c:pt>
                <c:pt idx="2308">
                  <c:v>1.0684931506849316</c:v>
                </c:pt>
                <c:pt idx="2309">
                  <c:v>1.0684931506849316</c:v>
                </c:pt>
                <c:pt idx="2310">
                  <c:v>1.0684931506849316</c:v>
                </c:pt>
                <c:pt idx="2311">
                  <c:v>1.0684931506849316</c:v>
                </c:pt>
                <c:pt idx="2312">
                  <c:v>1.0684931506849316</c:v>
                </c:pt>
                <c:pt idx="2313">
                  <c:v>#N/A</c:v>
                </c:pt>
                <c:pt idx="2314">
                  <c:v>#N/A</c:v>
                </c:pt>
                <c:pt idx="2315">
                  <c:v>1.0712328767123287</c:v>
                </c:pt>
                <c:pt idx="2316">
                  <c:v>#N/A</c:v>
                </c:pt>
                <c:pt idx="2317">
                  <c:v>#N/A</c:v>
                </c:pt>
                <c:pt idx="2318">
                  <c:v>#N/A</c:v>
                </c:pt>
                <c:pt idx="2319">
                  <c:v>#N/A</c:v>
                </c:pt>
                <c:pt idx="2320">
                  <c:v>#N/A</c:v>
                </c:pt>
                <c:pt idx="2321">
                  <c:v>1.0712328767123287</c:v>
                </c:pt>
                <c:pt idx="2322">
                  <c:v>1.0712328767123287</c:v>
                </c:pt>
                <c:pt idx="2323">
                  <c:v>#N/A</c:v>
                </c:pt>
                <c:pt idx="2324">
                  <c:v>1.0712328767123287</c:v>
                </c:pt>
                <c:pt idx="2325">
                  <c:v>#N/A</c:v>
                </c:pt>
                <c:pt idx="2326">
                  <c:v>1.0712328767123287</c:v>
                </c:pt>
                <c:pt idx="2327">
                  <c:v>#N/A</c:v>
                </c:pt>
                <c:pt idx="2328">
                  <c:v>#N/A</c:v>
                </c:pt>
                <c:pt idx="2329">
                  <c:v>1.0712328767123287</c:v>
                </c:pt>
                <c:pt idx="2330">
                  <c:v>1.0712328767123287</c:v>
                </c:pt>
                <c:pt idx="2331">
                  <c:v>1.0712328767123287</c:v>
                </c:pt>
                <c:pt idx="2332">
                  <c:v>#N/A</c:v>
                </c:pt>
                <c:pt idx="2333">
                  <c:v>#N/A</c:v>
                </c:pt>
                <c:pt idx="2334">
                  <c:v>#N/A</c:v>
                </c:pt>
                <c:pt idx="2335">
                  <c:v>#N/A</c:v>
                </c:pt>
                <c:pt idx="2336">
                  <c:v>1.0712328767123287</c:v>
                </c:pt>
                <c:pt idx="2337">
                  <c:v>1.0712328767123287</c:v>
                </c:pt>
                <c:pt idx="2338">
                  <c:v>#N/A</c:v>
                </c:pt>
                <c:pt idx="2339">
                  <c:v>1.0712328767123287</c:v>
                </c:pt>
                <c:pt idx="2340">
                  <c:v>#N/A</c:v>
                </c:pt>
                <c:pt idx="2341">
                  <c:v>1.0712328767123287</c:v>
                </c:pt>
                <c:pt idx="2342">
                  <c:v>#N/A</c:v>
                </c:pt>
                <c:pt idx="2343">
                  <c:v>1.0767123287671232</c:v>
                </c:pt>
                <c:pt idx="2344">
                  <c:v>#N/A</c:v>
                </c:pt>
                <c:pt idx="2345">
                  <c:v>#N/A</c:v>
                </c:pt>
                <c:pt idx="2346">
                  <c:v>1.0767123287671232</c:v>
                </c:pt>
                <c:pt idx="2347">
                  <c:v>1.0767123287671232</c:v>
                </c:pt>
                <c:pt idx="2348">
                  <c:v>#N/A</c:v>
                </c:pt>
                <c:pt idx="2349">
                  <c:v>1.0767123287671232</c:v>
                </c:pt>
                <c:pt idx="2350">
                  <c:v>1.0767123287671232</c:v>
                </c:pt>
                <c:pt idx="2351">
                  <c:v>#N/A</c:v>
                </c:pt>
                <c:pt idx="2352">
                  <c:v>#N/A</c:v>
                </c:pt>
                <c:pt idx="2353">
                  <c:v>#N/A</c:v>
                </c:pt>
                <c:pt idx="2354">
                  <c:v>#N/A</c:v>
                </c:pt>
                <c:pt idx="2355">
                  <c:v>#N/A</c:v>
                </c:pt>
                <c:pt idx="2356">
                  <c:v>#N/A</c:v>
                </c:pt>
                <c:pt idx="2357">
                  <c:v>1.0876712328767124</c:v>
                </c:pt>
                <c:pt idx="2358">
                  <c:v>1.0876712328767124</c:v>
                </c:pt>
                <c:pt idx="2359">
                  <c:v>#N/A</c:v>
                </c:pt>
                <c:pt idx="2360">
                  <c:v>1.0876712328767124</c:v>
                </c:pt>
                <c:pt idx="2361">
                  <c:v>1.0904109589041096</c:v>
                </c:pt>
                <c:pt idx="2362">
                  <c:v>#N/A</c:v>
                </c:pt>
                <c:pt idx="2363">
                  <c:v>1.0904109589041096</c:v>
                </c:pt>
                <c:pt idx="2364">
                  <c:v>1.0931506849315069</c:v>
                </c:pt>
                <c:pt idx="2365">
                  <c:v>#N/A</c:v>
                </c:pt>
                <c:pt idx="2366">
                  <c:v>#N/A</c:v>
                </c:pt>
                <c:pt idx="2367">
                  <c:v>1.095890410958904</c:v>
                </c:pt>
                <c:pt idx="2368">
                  <c:v>1.0986301369863014</c:v>
                </c:pt>
                <c:pt idx="2369">
                  <c:v>#N/A</c:v>
                </c:pt>
                <c:pt idx="2370">
                  <c:v>1.0986301369863014</c:v>
                </c:pt>
                <c:pt idx="2371">
                  <c:v>1.0986301369863014</c:v>
                </c:pt>
                <c:pt idx="2372">
                  <c:v>#N/A</c:v>
                </c:pt>
                <c:pt idx="2373">
                  <c:v>#N/A</c:v>
                </c:pt>
                <c:pt idx="2374">
                  <c:v>1.106849315068493</c:v>
                </c:pt>
                <c:pt idx="2375">
                  <c:v>#N/A</c:v>
                </c:pt>
                <c:pt idx="2376">
                  <c:v>1.106849315068493</c:v>
                </c:pt>
                <c:pt idx="2377">
                  <c:v>#N/A</c:v>
                </c:pt>
                <c:pt idx="2378">
                  <c:v>#N/A</c:v>
                </c:pt>
                <c:pt idx="2379">
                  <c:v>#N/A</c:v>
                </c:pt>
                <c:pt idx="2380">
                  <c:v>1.1150684931506849</c:v>
                </c:pt>
                <c:pt idx="2381">
                  <c:v>1.1150684931506849</c:v>
                </c:pt>
                <c:pt idx="2382">
                  <c:v>#N/A</c:v>
                </c:pt>
                <c:pt idx="2383">
                  <c:v>1.1178082191780823</c:v>
                </c:pt>
                <c:pt idx="2384">
                  <c:v>1.1178082191780823</c:v>
                </c:pt>
                <c:pt idx="2385">
                  <c:v>1.1178082191780823</c:v>
                </c:pt>
                <c:pt idx="2386">
                  <c:v>#N/A</c:v>
                </c:pt>
                <c:pt idx="2387">
                  <c:v>#N/A</c:v>
                </c:pt>
                <c:pt idx="2388">
                  <c:v>1.1178082191780823</c:v>
                </c:pt>
                <c:pt idx="2389">
                  <c:v>1.1178082191780823</c:v>
                </c:pt>
                <c:pt idx="2390">
                  <c:v>1.1178082191780823</c:v>
                </c:pt>
                <c:pt idx="2391">
                  <c:v>1.1178082191780823</c:v>
                </c:pt>
                <c:pt idx="2392">
                  <c:v>#N/A</c:v>
                </c:pt>
                <c:pt idx="2393">
                  <c:v>1.1178082191780823</c:v>
                </c:pt>
                <c:pt idx="2394">
                  <c:v>1.1178082191780823</c:v>
                </c:pt>
                <c:pt idx="2395">
                  <c:v>#N/A</c:v>
                </c:pt>
                <c:pt idx="2396">
                  <c:v>#N/A</c:v>
                </c:pt>
                <c:pt idx="2397">
                  <c:v>1.1287671232876713</c:v>
                </c:pt>
                <c:pt idx="2398">
                  <c:v>#N/A</c:v>
                </c:pt>
                <c:pt idx="2399">
                  <c:v>#N/A</c:v>
                </c:pt>
                <c:pt idx="2400">
                  <c:v>1.1315068493150684</c:v>
                </c:pt>
                <c:pt idx="2401">
                  <c:v>1.1369863013698631</c:v>
                </c:pt>
                <c:pt idx="2402">
                  <c:v>1.1369863013698631</c:v>
                </c:pt>
                <c:pt idx="2403">
                  <c:v>#N/A</c:v>
                </c:pt>
                <c:pt idx="2404">
                  <c:v>#N/A</c:v>
                </c:pt>
                <c:pt idx="2405">
                  <c:v>#N/A</c:v>
                </c:pt>
                <c:pt idx="2406">
                  <c:v>#N/A</c:v>
                </c:pt>
                <c:pt idx="2407">
                  <c:v>1.1369863013698631</c:v>
                </c:pt>
                <c:pt idx="2408">
                  <c:v>1.1369863013698631</c:v>
                </c:pt>
                <c:pt idx="2409">
                  <c:v>#N/A</c:v>
                </c:pt>
                <c:pt idx="2410">
                  <c:v>#N/A</c:v>
                </c:pt>
                <c:pt idx="2411">
                  <c:v>1.1369863013698631</c:v>
                </c:pt>
                <c:pt idx="2412">
                  <c:v>1.1369863013698631</c:v>
                </c:pt>
                <c:pt idx="2413">
                  <c:v>1.1369863013698631</c:v>
                </c:pt>
                <c:pt idx="2414">
                  <c:v>#N/A</c:v>
                </c:pt>
                <c:pt idx="2415">
                  <c:v>#N/A</c:v>
                </c:pt>
                <c:pt idx="2416">
                  <c:v>#N/A</c:v>
                </c:pt>
                <c:pt idx="2417">
                  <c:v>#N/A</c:v>
                </c:pt>
                <c:pt idx="2418">
                  <c:v>1.1506849315068493</c:v>
                </c:pt>
                <c:pt idx="2419">
                  <c:v>1.1506849315068493</c:v>
                </c:pt>
                <c:pt idx="2420">
                  <c:v>1.1534246575342466</c:v>
                </c:pt>
                <c:pt idx="2421">
                  <c:v>#N/A</c:v>
                </c:pt>
                <c:pt idx="2422">
                  <c:v>1.1534246575342466</c:v>
                </c:pt>
                <c:pt idx="2423">
                  <c:v>#N/A</c:v>
                </c:pt>
                <c:pt idx="2424">
                  <c:v>1.1561643835616437</c:v>
                </c:pt>
                <c:pt idx="2425">
                  <c:v>#N/A</c:v>
                </c:pt>
                <c:pt idx="2426">
                  <c:v>1.1643835616438356</c:v>
                </c:pt>
                <c:pt idx="2427">
                  <c:v>#N/A</c:v>
                </c:pt>
                <c:pt idx="2428">
                  <c:v>#N/A</c:v>
                </c:pt>
                <c:pt idx="2429">
                  <c:v>#N/A</c:v>
                </c:pt>
                <c:pt idx="2430">
                  <c:v>#N/A</c:v>
                </c:pt>
                <c:pt idx="2431">
                  <c:v>#N/A</c:v>
                </c:pt>
                <c:pt idx="2432">
                  <c:v>#N/A</c:v>
                </c:pt>
                <c:pt idx="2433">
                  <c:v>#N/A</c:v>
                </c:pt>
                <c:pt idx="2434">
                  <c:v>#N/A</c:v>
                </c:pt>
                <c:pt idx="2435">
                  <c:v>#N/A</c:v>
                </c:pt>
                <c:pt idx="2436">
                  <c:v>#N/A</c:v>
                </c:pt>
                <c:pt idx="2437">
                  <c:v>#N/A</c:v>
                </c:pt>
                <c:pt idx="2438">
                  <c:v>#N/A</c:v>
                </c:pt>
                <c:pt idx="2439">
                  <c:v>1.1753424657534246</c:v>
                </c:pt>
                <c:pt idx="2440">
                  <c:v>1.1753424657534246</c:v>
                </c:pt>
                <c:pt idx="2441">
                  <c:v>1.1753424657534246</c:v>
                </c:pt>
                <c:pt idx="2442">
                  <c:v>#N/A</c:v>
                </c:pt>
                <c:pt idx="2443">
                  <c:v>1.1753424657534246</c:v>
                </c:pt>
                <c:pt idx="2444">
                  <c:v>1.1753424657534246</c:v>
                </c:pt>
                <c:pt idx="2445">
                  <c:v>1.1753424657534246</c:v>
                </c:pt>
                <c:pt idx="2446">
                  <c:v>1.1753424657534246</c:v>
                </c:pt>
                <c:pt idx="2447">
                  <c:v>#N/A</c:v>
                </c:pt>
                <c:pt idx="2448">
                  <c:v>1.1753424657534246</c:v>
                </c:pt>
                <c:pt idx="2449">
                  <c:v>1.1753424657534246</c:v>
                </c:pt>
                <c:pt idx="2450">
                  <c:v>#N/A</c:v>
                </c:pt>
                <c:pt idx="2451">
                  <c:v>#N/A</c:v>
                </c:pt>
                <c:pt idx="2452">
                  <c:v>#N/A</c:v>
                </c:pt>
                <c:pt idx="2453">
                  <c:v>1.1835616438356165</c:v>
                </c:pt>
                <c:pt idx="2454">
                  <c:v>#N/A</c:v>
                </c:pt>
                <c:pt idx="2455">
                  <c:v>1.1835616438356165</c:v>
                </c:pt>
                <c:pt idx="2456">
                  <c:v>#N/A</c:v>
                </c:pt>
                <c:pt idx="2457">
                  <c:v>#N/A</c:v>
                </c:pt>
                <c:pt idx="2458">
                  <c:v>#N/A</c:v>
                </c:pt>
                <c:pt idx="2459">
                  <c:v>#N/A</c:v>
                </c:pt>
                <c:pt idx="2460">
                  <c:v>#N/A</c:v>
                </c:pt>
                <c:pt idx="2461">
                  <c:v>#N/A</c:v>
                </c:pt>
                <c:pt idx="2462">
                  <c:v>#N/A</c:v>
                </c:pt>
                <c:pt idx="2463">
                  <c:v>#N/A</c:v>
                </c:pt>
                <c:pt idx="2464">
                  <c:v>#N/A</c:v>
                </c:pt>
                <c:pt idx="2465">
                  <c:v>#N/A</c:v>
                </c:pt>
                <c:pt idx="2466">
                  <c:v>#N/A</c:v>
                </c:pt>
                <c:pt idx="2467">
                  <c:v>#N/A</c:v>
                </c:pt>
                <c:pt idx="2468">
                  <c:v>#N/A</c:v>
                </c:pt>
                <c:pt idx="2469">
                  <c:v>#N/A</c:v>
                </c:pt>
                <c:pt idx="2470">
                  <c:v>#N/A</c:v>
                </c:pt>
                <c:pt idx="2471">
                  <c:v>#N/A</c:v>
                </c:pt>
                <c:pt idx="2472">
                  <c:v>#N/A</c:v>
                </c:pt>
                <c:pt idx="2473">
                  <c:v>#N/A</c:v>
                </c:pt>
                <c:pt idx="2474">
                  <c:v>1.1945205479452055</c:v>
                </c:pt>
                <c:pt idx="2475">
                  <c:v>#N/A</c:v>
                </c:pt>
                <c:pt idx="2476">
                  <c:v>#N/A</c:v>
                </c:pt>
                <c:pt idx="2477">
                  <c:v>1.1945205479452055</c:v>
                </c:pt>
                <c:pt idx="2478">
                  <c:v>1.1945205479452055</c:v>
                </c:pt>
                <c:pt idx="2479">
                  <c:v>#N/A</c:v>
                </c:pt>
                <c:pt idx="2480">
                  <c:v>1.1945205479452055</c:v>
                </c:pt>
                <c:pt idx="2481">
                  <c:v>1.1945205479452055</c:v>
                </c:pt>
                <c:pt idx="2482">
                  <c:v>#N/A</c:v>
                </c:pt>
                <c:pt idx="2483">
                  <c:v>#N/A</c:v>
                </c:pt>
                <c:pt idx="2484">
                  <c:v>#N/A</c:v>
                </c:pt>
                <c:pt idx="2485">
                  <c:v>1.2054794520547945</c:v>
                </c:pt>
                <c:pt idx="2486">
                  <c:v>1.2054794520547945</c:v>
                </c:pt>
                <c:pt idx="2487">
                  <c:v>#N/A</c:v>
                </c:pt>
                <c:pt idx="2488">
                  <c:v>1.2082191780821918</c:v>
                </c:pt>
                <c:pt idx="2489">
                  <c:v>#N/A</c:v>
                </c:pt>
                <c:pt idx="2490">
                  <c:v>#N/A</c:v>
                </c:pt>
                <c:pt idx="2491">
                  <c:v>1.210958904109589</c:v>
                </c:pt>
                <c:pt idx="2492">
                  <c:v>#N/A</c:v>
                </c:pt>
                <c:pt idx="2493">
                  <c:v>1.210958904109589</c:v>
                </c:pt>
                <c:pt idx="2494">
                  <c:v>1.210958904109589</c:v>
                </c:pt>
                <c:pt idx="2495">
                  <c:v>#N/A</c:v>
                </c:pt>
                <c:pt idx="2496">
                  <c:v>1.210958904109589</c:v>
                </c:pt>
                <c:pt idx="2497">
                  <c:v>#N/A</c:v>
                </c:pt>
                <c:pt idx="2498">
                  <c:v>#N/A</c:v>
                </c:pt>
                <c:pt idx="2499">
                  <c:v>#N/A</c:v>
                </c:pt>
                <c:pt idx="2500">
                  <c:v>#N/A</c:v>
                </c:pt>
                <c:pt idx="2501">
                  <c:v>#N/A</c:v>
                </c:pt>
                <c:pt idx="2502">
                  <c:v>#N/A</c:v>
                </c:pt>
                <c:pt idx="2503">
                  <c:v>1.210958904109589</c:v>
                </c:pt>
                <c:pt idx="2504">
                  <c:v>#N/A</c:v>
                </c:pt>
                <c:pt idx="2505">
                  <c:v>#N/A</c:v>
                </c:pt>
                <c:pt idx="2506">
                  <c:v>1.210958904109589</c:v>
                </c:pt>
                <c:pt idx="2507">
                  <c:v>#N/A</c:v>
                </c:pt>
                <c:pt idx="2508">
                  <c:v>#N/A</c:v>
                </c:pt>
                <c:pt idx="2509">
                  <c:v>1.2136986301369863</c:v>
                </c:pt>
                <c:pt idx="2510">
                  <c:v>#N/A</c:v>
                </c:pt>
                <c:pt idx="2511">
                  <c:v>1.2219178082191782</c:v>
                </c:pt>
                <c:pt idx="2512">
                  <c:v>#N/A</c:v>
                </c:pt>
                <c:pt idx="2513">
                  <c:v>1.2219178082191782</c:v>
                </c:pt>
                <c:pt idx="2514">
                  <c:v>#N/A</c:v>
                </c:pt>
                <c:pt idx="2515">
                  <c:v>#N/A</c:v>
                </c:pt>
                <c:pt idx="2516">
                  <c:v>1.2219178082191782</c:v>
                </c:pt>
                <c:pt idx="2517">
                  <c:v>#N/A</c:v>
                </c:pt>
                <c:pt idx="2518">
                  <c:v>#N/A</c:v>
                </c:pt>
                <c:pt idx="2519">
                  <c:v>1.2273972602739727</c:v>
                </c:pt>
                <c:pt idx="2520">
                  <c:v>1.2273972602739727</c:v>
                </c:pt>
                <c:pt idx="2521">
                  <c:v>1.2273972602739727</c:v>
                </c:pt>
                <c:pt idx="2522">
                  <c:v>#N/A</c:v>
                </c:pt>
                <c:pt idx="2523">
                  <c:v>1.2301369863013698</c:v>
                </c:pt>
                <c:pt idx="2524">
                  <c:v>#N/A</c:v>
                </c:pt>
                <c:pt idx="2525">
                  <c:v>#N/A</c:v>
                </c:pt>
                <c:pt idx="2526">
                  <c:v>1.2328767123287672</c:v>
                </c:pt>
                <c:pt idx="2527">
                  <c:v>#N/A</c:v>
                </c:pt>
                <c:pt idx="2528">
                  <c:v>1.2328767123287672</c:v>
                </c:pt>
                <c:pt idx="2529">
                  <c:v>#N/A</c:v>
                </c:pt>
                <c:pt idx="2530">
                  <c:v>1.2328767123287672</c:v>
                </c:pt>
                <c:pt idx="2531">
                  <c:v>1.2328767123287672</c:v>
                </c:pt>
                <c:pt idx="2532">
                  <c:v>1.2328767123287672</c:v>
                </c:pt>
                <c:pt idx="2533">
                  <c:v>1.2328767123287672</c:v>
                </c:pt>
                <c:pt idx="2534">
                  <c:v>#N/A</c:v>
                </c:pt>
                <c:pt idx="2535">
                  <c:v>#N/A</c:v>
                </c:pt>
                <c:pt idx="2536">
                  <c:v>#N/A</c:v>
                </c:pt>
                <c:pt idx="2537">
                  <c:v>1.2328767123287672</c:v>
                </c:pt>
                <c:pt idx="2538">
                  <c:v>1.2328767123287672</c:v>
                </c:pt>
                <c:pt idx="2539">
                  <c:v>1.2328767123287672</c:v>
                </c:pt>
                <c:pt idx="2540">
                  <c:v>1.2328767123287672</c:v>
                </c:pt>
                <c:pt idx="2541">
                  <c:v>1.2328767123287672</c:v>
                </c:pt>
                <c:pt idx="2542">
                  <c:v>1.2328767123287672</c:v>
                </c:pt>
                <c:pt idx="2543">
                  <c:v>#N/A</c:v>
                </c:pt>
                <c:pt idx="2544">
                  <c:v>1.2328767123287672</c:v>
                </c:pt>
                <c:pt idx="2545">
                  <c:v>#N/A</c:v>
                </c:pt>
                <c:pt idx="2546">
                  <c:v>1.2383561643835617</c:v>
                </c:pt>
                <c:pt idx="2547">
                  <c:v>#N/A</c:v>
                </c:pt>
                <c:pt idx="2548">
                  <c:v>1.2410958904109588</c:v>
                </c:pt>
                <c:pt idx="2549">
                  <c:v>#N/A</c:v>
                </c:pt>
                <c:pt idx="2550">
                  <c:v>1.2410958904109588</c:v>
                </c:pt>
                <c:pt idx="2551">
                  <c:v>#N/A</c:v>
                </c:pt>
                <c:pt idx="2552">
                  <c:v>1.2438356164383562</c:v>
                </c:pt>
                <c:pt idx="2553">
                  <c:v>#N/A</c:v>
                </c:pt>
                <c:pt idx="2554">
                  <c:v>1.2438356164383562</c:v>
                </c:pt>
                <c:pt idx="2555">
                  <c:v>#N/A</c:v>
                </c:pt>
                <c:pt idx="2556">
                  <c:v>#N/A</c:v>
                </c:pt>
                <c:pt idx="2557">
                  <c:v>#N/A</c:v>
                </c:pt>
                <c:pt idx="2558">
                  <c:v>1.2602739726027397</c:v>
                </c:pt>
                <c:pt idx="2559">
                  <c:v>#N/A</c:v>
                </c:pt>
                <c:pt idx="2560">
                  <c:v>#N/A</c:v>
                </c:pt>
                <c:pt idx="2561">
                  <c:v>#N/A</c:v>
                </c:pt>
                <c:pt idx="2562">
                  <c:v>#N/A</c:v>
                </c:pt>
                <c:pt idx="2563">
                  <c:v>1.2602739726027397</c:v>
                </c:pt>
                <c:pt idx="2564">
                  <c:v>1.2602739726027397</c:v>
                </c:pt>
                <c:pt idx="2565">
                  <c:v>1.2602739726027397</c:v>
                </c:pt>
                <c:pt idx="2566">
                  <c:v>1.2602739726027397</c:v>
                </c:pt>
                <c:pt idx="2567">
                  <c:v>#N/A</c:v>
                </c:pt>
                <c:pt idx="2568">
                  <c:v>#N/A</c:v>
                </c:pt>
                <c:pt idx="2569">
                  <c:v>#N/A</c:v>
                </c:pt>
                <c:pt idx="2570">
                  <c:v>1.2602739726027397</c:v>
                </c:pt>
                <c:pt idx="2571">
                  <c:v>#N/A</c:v>
                </c:pt>
                <c:pt idx="2572">
                  <c:v>#N/A</c:v>
                </c:pt>
                <c:pt idx="2573">
                  <c:v>1.2602739726027397</c:v>
                </c:pt>
                <c:pt idx="2574">
                  <c:v>1.2602739726027397</c:v>
                </c:pt>
                <c:pt idx="2575">
                  <c:v>#N/A</c:v>
                </c:pt>
                <c:pt idx="2576">
                  <c:v>1.2602739726027397</c:v>
                </c:pt>
                <c:pt idx="2577">
                  <c:v>1.2602739726027397</c:v>
                </c:pt>
                <c:pt idx="2578">
                  <c:v>1.2602739726027397</c:v>
                </c:pt>
                <c:pt idx="2579">
                  <c:v>#N/A</c:v>
                </c:pt>
                <c:pt idx="2580">
                  <c:v>#N/A</c:v>
                </c:pt>
                <c:pt idx="2581">
                  <c:v>1.2602739726027397</c:v>
                </c:pt>
                <c:pt idx="2582">
                  <c:v>#N/A</c:v>
                </c:pt>
                <c:pt idx="2583">
                  <c:v>#N/A</c:v>
                </c:pt>
                <c:pt idx="2584">
                  <c:v>#N/A</c:v>
                </c:pt>
                <c:pt idx="2585">
                  <c:v>#N/A</c:v>
                </c:pt>
                <c:pt idx="2586">
                  <c:v>#N/A</c:v>
                </c:pt>
                <c:pt idx="2587">
                  <c:v>1.2602739726027397</c:v>
                </c:pt>
                <c:pt idx="2588">
                  <c:v>1.2602739726027397</c:v>
                </c:pt>
                <c:pt idx="2589">
                  <c:v>#N/A</c:v>
                </c:pt>
                <c:pt idx="2590">
                  <c:v>#N/A</c:v>
                </c:pt>
                <c:pt idx="2591">
                  <c:v>#N/A</c:v>
                </c:pt>
                <c:pt idx="2592">
                  <c:v>#N/A</c:v>
                </c:pt>
                <c:pt idx="2593">
                  <c:v>1.2602739726027397</c:v>
                </c:pt>
                <c:pt idx="2594">
                  <c:v>#N/A</c:v>
                </c:pt>
                <c:pt idx="2595">
                  <c:v>#N/A</c:v>
                </c:pt>
                <c:pt idx="2596">
                  <c:v>1.2602739726027397</c:v>
                </c:pt>
                <c:pt idx="2597">
                  <c:v>#N/A</c:v>
                </c:pt>
                <c:pt idx="2598">
                  <c:v>1.2602739726027397</c:v>
                </c:pt>
                <c:pt idx="2599">
                  <c:v>#N/A</c:v>
                </c:pt>
                <c:pt idx="2600">
                  <c:v>#N/A</c:v>
                </c:pt>
                <c:pt idx="2601">
                  <c:v>1.2602739726027397</c:v>
                </c:pt>
                <c:pt idx="2602">
                  <c:v>#N/A</c:v>
                </c:pt>
                <c:pt idx="2603">
                  <c:v>#N/A</c:v>
                </c:pt>
                <c:pt idx="2604">
                  <c:v>#N/A</c:v>
                </c:pt>
                <c:pt idx="2605">
                  <c:v>#N/A</c:v>
                </c:pt>
                <c:pt idx="2606">
                  <c:v>#N/A</c:v>
                </c:pt>
                <c:pt idx="2607">
                  <c:v>#N/A</c:v>
                </c:pt>
                <c:pt idx="2608">
                  <c:v>#N/A</c:v>
                </c:pt>
                <c:pt idx="2609">
                  <c:v>#N/A</c:v>
                </c:pt>
                <c:pt idx="2610">
                  <c:v>1.2602739726027397</c:v>
                </c:pt>
                <c:pt idx="2611">
                  <c:v>1.2602739726027397</c:v>
                </c:pt>
                <c:pt idx="2612">
                  <c:v>1.2602739726027397</c:v>
                </c:pt>
                <c:pt idx="2613">
                  <c:v>1.2602739726027397</c:v>
                </c:pt>
                <c:pt idx="2614">
                  <c:v>#N/A</c:v>
                </c:pt>
                <c:pt idx="2615">
                  <c:v>#N/A</c:v>
                </c:pt>
                <c:pt idx="2616">
                  <c:v>#N/A</c:v>
                </c:pt>
                <c:pt idx="2617">
                  <c:v>#N/A</c:v>
                </c:pt>
                <c:pt idx="2618">
                  <c:v>#N/A</c:v>
                </c:pt>
                <c:pt idx="2619">
                  <c:v>#N/A</c:v>
                </c:pt>
                <c:pt idx="2620">
                  <c:v>1.2602739726027397</c:v>
                </c:pt>
                <c:pt idx="2621">
                  <c:v>1.2602739726027397</c:v>
                </c:pt>
                <c:pt idx="2622">
                  <c:v>1.263013698630137</c:v>
                </c:pt>
                <c:pt idx="2623">
                  <c:v>#N/A</c:v>
                </c:pt>
                <c:pt idx="2624">
                  <c:v>1.263013698630137</c:v>
                </c:pt>
                <c:pt idx="2625">
                  <c:v>#N/A</c:v>
                </c:pt>
                <c:pt idx="2626">
                  <c:v>#N/A</c:v>
                </c:pt>
                <c:pt idx="2627">
                  <c:v>#N/A</c:v>
                </c:pt>
                <c:pt idx="2628">
                  <c:v>1.263013698630137</c:v>
                </c:pt>
                <c:pt idx="2629">
                  <c:v>#N/A</c:v>
                </c:pt>
                <c:pt idx="2630">
                  <c:v>1.2657534246575342</c:v>
                </c:pt>
                <c:pt idx="2631">
                  <c:v>#N/A</c:v>
                </c:pt>
                <c:pt idx="2632">
                  <c:v>#N/A</c:v>
                </c:pt>
                <c:pt idx="2633">
                  <c:v>#N/A</c:v>
                </c:pt>
                <c:pt idx="2634">
                  <c:v>1.2657534246575342</c:v>
                </c:pt>
                <c:pt idx="2635">
                  <c:v>1.2657534246575342</c:v>
                </c:pt>
                <c:pt idx="2636">
                  <c:v>1.2657534246575342</c:v>
                </c:pt>
                <c:pt idx="2637">
                  <c:v>#N/A</c:v>
                </c:pt>
                <c:pt idx="2638">
                  <c:v>#N/A</c:v>
                </c:pt>
                <c:pt idx="2639">
                  <c:v>#N/A</c:v>
                </c:pt>
                <c:pt idx="2640">
                  <c:v>#N/A</c:v>
                </c:pt>
                <c:pt idx="2641">
                  <c:v>#N/A</c:v>
                </c:pt>
                <c:pt idx="2642">
                  <c:v>1.2657534246575342</c:v>
                </c:pt>
                <c:pt idx="2643">
                  <c:v>#N/A</c:v>
                </c:pt>
                <c:pt idx="2644">
                  <c:v>1.2657534246575342</c:v>
                </c:pt>
                <c:pt idx="2645">
                  <c:v>1.2657534246575342</c:v>
                </c:pt>
                <c:pt idx="2646">
                  <c:v>1.2657534246575342</c:v>
                </c:pt>
                <c:pt idx="2647">
                  <c:v>#N/A</c:v>
                </c:pt>
                <c:pt idx="2648">
                  <c:v>1.2657534246575342</c:v>
                </c:pt>
                <c:pt idx="2649">
                  <c:v>1.2657534246575342</c:v>
                </c:pt>
                <c:pt idx="2650">
                  <c:v>1.2657534246575342</c:v>
                </c:pt>
                <c:pt idx="2651">
                  <c:v>1.2657534246575342</c:v>
                </c:pt>
                <c:pt idx="2652">
                  <c:v>#N/A</c:v>
                </c:pt>
                <c:pt idx="2653">
                  <c:v>#N/A</c:v>
                </c:pt>
                <c:pt idx="2654">
                  <c:v>#N/A</c:v>
                </c:pt>
                <c:pt idx="2655">
                  <c:v>#N/A</c:v>
                </c:pt>
                <c:pt idx="2656">
                  <c:v>1.2657534246575342</c:v>
                </c:pt>
                <c:pt idx="2657">
                  <c:v>1.2657534246575342</c:v>
                </c:pt>
                <c:pt idx="2658">
                  <c:v>1.2657534246575342</c:v>
                </c:pt>
                <c:pt idx="2659">
                  <c:v>1.2657534246575342</c:v>
                </c:pt>
                <c:pt idx="2660">
                  <c:v>#N/A</c:v>
                </c:pt>
                <c:pt idx="2661">
                  <c:v>#N/A</c:v>
                </c:pt>
                <c:pt idx="2662">
                  <c:v>#N/A</c:v>
                </c:pt>
                <c:pt idx="2663">
                  <c:v>#N/A</c:v>
                </c:pt>
                <c:pt idx="2664">
                  <c:v>1.2657534246575342</c:v>
                </c:pt>
                <c:pt idx="2665">
                  <c:v>1.2657534246575342</c:v>
                </c:pt>
                <c:pt idx="2666">
                  <c:v>#N/A</c:v>
                </c:pt>
                <c:pt idx="2667">
                  <c:v>#N/A</c:v>
                </c:pt>
                <c:pt idx="2668">
                  <c:v>1.2657534246575342</c:v>
                </c:pt>
                <c:pt idx="2669">
                  <c:v>#N/A</c:v>
                </c:pt>
                <c:pt idx="2670">
                  <c:v>#N/A</c:v>
                </c:pt>
                <c:pt idx="2671">
                  <c:v>1.2657534246575342</c:v>
                </c:pt>
                <c:pt idx="2672">
                  <c:v>#N/A</c:v>
                </c:pt>
                <c:pt idx="2673">
                  <c:v>#N/A</c:v>
                </c:pt>
                <c:pt idx="2674">
                  <c:v>1.2657534246575342</c:v>
                </c:pt>
                <c:pt idx="2675">
                  <c:v>#N/A</c:v>
                </c:pt>
                <c:pt idx="2676">
                  <c:v>#N/A</c:v>
                </c:pt>
                <c:pt idx="2677">
                  <c:v>1.2657534246575342</c:v>
                </c:pt>
                <c:pt idx="2678">
                  <c:v>#N/A</c:v>
                </c:pt>
                <c:pt idx="2679">
                  <c:v>1.2657534246575342</c:v>
                </c:pt>
                <c:pt idx="2680">
                  <c:v>1.2684931506849315</c:v>
                </c:pt>
                <c:pt idx="2681">
                  <c:v>1.2684931506849315</c:v>
                </c:pt>
                <c:pt idx="2682">
                  <c:v>#N/A</c:v>
                </c:pt>
                <c:pt idx="2683">
                  <c:v>#N/A</c:v>
                </c:pt>
                <c:pt idx="2684">
                  <c:v>1.2684931506849315</c:v>
                </c:pt>
                <c:pt idx="2685">
                  <c:v>#N/A</c:v>
                </c:pt>
                <c:pt idx="2686">
                  <c:v>#N/A</c:v>
                </c:pt>
                <c:pt idx="2687">
                  <c:v>#N/A</c:v>
                </c:pt>
                <c:pt idx="2688">
                  <c:v>#N/A</c:v>
                </c:pt>
                <c:pt idx="2689">
                  <c:v>1.2712328767123289</c:v>
                </c:pt>
                <c:pt idx="2690">
                  <c:v>#N/A</c:v>
                </c:pt>
                <c:pt idx="2691">
                  <c:v>1.2712328767123289</c:v>
                </c:pt>
                <c:pt idx="2692">
                  <c:v>#N/A</c:v>
                </c:pt>
                <c:pt idx="2693">
                  <c:v>1.2712328767123289</c:v>
                </c:pt>
                <c:pt idx="2694">
                  <c:v>#N/A</c:v>
                </c:pt>
                <c:pt idx="2695">
                  <c:v>1.2794520547945205</c:v>
                </c:pt>
                <c:pt idx="2696">
                  <c:v>#N/A</c:v>
                </c:pt>
                <c:pt idx="2697">
                  <c:v>#N/A</c:v>
                </c:pt>
                <c:pt idx="2698">
                  <c:v>1.2821917808219179</c:v>
                </c:pt>
                <c:pt idx="2699">
                  <c:v>1.2821917808219179</c:v>
                </c:pt>
                <c:pt idx="2700">
                  <c:v>#N/A</c:v>
                </c:pt>
                <c:pt idx="2701">
                  <c:v>#N/A</c:v>
                </c:pt>
                <c:pt idx="2702">
                  <c:v>#N/A</c:v>
                </c:pt>
                <c:pt idx="2703">
                  <c:v>1.284931506849315</c:v>
                </c:pt>
                <c:pt idx="2704">
                  <c:v>1.284931506849315</c:v>
                </c:pt>
                <c:pt idx="2705">
                  <c:v>#N/A</c:v>
                </c:pt>
                <c:pt idx="2706">
                  <c:v>1.2876712328767124</c:v>
                </c:pt>
                <c:pt idx="2707">
                  <c:v>1.2876712328767124</c:v>
                </c:pt>
                <c:pt idx="2708">
                  <c:v>1.2876712328767124</c:v>
                </c:pt>
                <c:pt idx="2709">
                  <c:v>#N/A</c:v>
                </c:pt>
                <c:pt idx="2710">
                  <c:v>1.2876712328767124</c:v>
                </c:pt>
                <c:pt idx="2711">
                  <c:v>1.2876712328767124</c:v>
                </c:pt>
                <c:pt idx="2712">
                  <c:v>1.2876712328767124</c:v>
                </c:pt>
                <c:pt idx="2713">
                  <c:v>#N/A</c:v>
                </c:pt>
                <c:pt idx="2714">
                  <c:v>1.2876712328767124</c:v>
                </c:pt>
                <c:pt idx="2715">
                  <c:v>#N/A</c:v>
                </c:pt>
                <c:pt idx="2716">
                  <c:v>1.2904109589041095</c:v>
                </c:pt>
                <c:pt idx="2717">
                  <c:v>#N/A</c:v>
                </c:pt>
                <c:pt idx="2718">
                  <c:v>1.2986301369863014</c:v>
                </c:pt>
                <c:pt idx="2719">
                  <c:v>#N/A</c:v>
                </c:pt>
                <c:pt idx="2720">
                  <c:v>1.2986301369863014</c:v>
                </c:pt>
                <c:pt idx="2721">
                  <c:v>#N/A</c:v>
                </c:pt>
                <c:pt idx="2722">
                  <c:v>#N/A</c:v>
                </c:pt>
                <c:pt idx="2723">
                  <c:v>1.2986301369863014</c:v>
                </c:pt>
                <c:pt idx="2724">
                  <c:v>#N/A</c:v>
                </c:pt>
                <c:pt idx="2725">
                  <c:v>#N/A</c:v>
                </c:pt>
                <c:pt idx="2726">
                  <c:v>#N/A</c:v>
                </c:pt>
                <c:pt idx="2727">
                  <c:v>#N/A</c:v>
                </c:pt>
                <c:pt idx="2728">
                  <c:v>#N/A</c:v>
                </c:pt>
                <c:pt idx="2729">
                  <c:v>#N/A</c:v>
                </c:pt>
                <c:pt idx="2730">
                  <c:v>1.3068493150684932</c:v>
                </c:pt>
                <c:pt idx="2731">
                  <c:v>1.3068493150684932</c:v>
                </c:pt>
                <c:pt idx="2732">
                  <c:v>#N/A</c:v>
                </c:pt>
                <c:pt idx="2733">
                  <c:v>1.3068493150684932</c:v>
                </c:pt>
                <c:pt idx="2734">
                  <c:v>1.3068493150684932</c:v>
                </c:pt>
                <c:pt idx="2735">
                  <c:v>#N/A</c:v>
                </c:pt>
                <c:pt idx="2736">
                  <c:v>#N/A</c:v>
                </c:pt>
                <c:pt idx="2737">
                  <c:v>1.3068493150684932</c:v>
                </c:pt>
                <c:pt idx="2738">
                  <c:v>1.3068493150684932</c:v>
                </c:pt>
                <c:pt idx="2739">
                  <c:v>#N/A</c:v>
                </c:pt>
                <c:pt idx="2740">
                  <c:v>#N/A</c:v>
                </c:pt>
                <c:pt idx="2741">
                  <c:v>1.3068493150684932</c:v>
                </c:pt>
                <c:pt idx="2742">
                  <c:v>#N/A</c:v>
                </c:pt>
                <c:pt idx="2743">
                  <c:v>1.3068493150684932</c:v>
                </c:pt>
                <c:pt idx="2744">
                  <c:v>#N/A</c:v>
                </c:pt>
                <c:pt idx="2745">
                  <c:v>#N/A</c:v>
                </c:pt>
                <c:pt idx="2746">
                  <c:v>1.3095890410958904</c:v>
                </c:pt>
                <c:pt idx="2747">
                  <c:v>1.3178082191780822</c:v>
                </c:pt>
                <c:pt idx="2748">
                  <c:v>#N/A</c:v>
                </c:pt>
                <c:pt idx="2749">
                  <c:v>1.3178082191780822</c:v>
                </c:pt>
                <c:pt idx="2750">
                  <c:v>1.3178082191780822</c:v>
                </c:pt>
                <c:pt idx="2751">
                  <c:v>1.3178082191780822</c:v>
                </c:pt>
                <c:pt idx="2752">
                  <c:v>1.3178082191780822</c:v>
                </c:pt>
                <c:pt idx="2753">
                  <c:v>1.3205479452054794</c:v>
                </c:pt>
                <c:pt idx="2754">
                  <c:v>1.3232876712328767</c:v>
                </c:pt>
                <c:pt idx="2755">
                  <c:v>#N/A</c:v>
                </c:pt>
                <c:pt idx="2756">
                  <c:v>#N/A</c:v>
                </c:pt>
                <c:pt idx="2757">
                  <c:v>#N/A</c:v>
                </c:pt>
                <c:pt idx="2758">
                  <c:v>1.3232876712328767</c:v>
                </c:pt>
                <c:pt idx="2759">
                  <c:v>1.3232876712328767</c:v>
                </c:pt>
                <c:pt idx="2760">
                  <c:v>1.3232876712328767</c:v>
                </c:pt>
                <c:pt idx="2761">
                  <c:v>1.3232876712328767</c:v>
                </c:pt>
                <c:pt idx="2762">
                  <c:v>#N/A</c:v>
                </c:pt>
                <c:pt idx="2763">
                  <c:v>1.3232876712328767</c:v>
                </c:pt>
                <c:pt idx="2764">
                  <c:v>1.3232876712328767</c:v>
                </c:pt>
                <c:pt idx="2765">
                  <c:v>1.3232876712328767</c:v>
                </c:pt>
                <c:pt idx="2766">
                  <c:v>1.3232876712328767</c:v>
                </c:pt>
                <c:pt idx="2767">
                  <c:v>1.3232876712328767</c:v>
                </c:pt>
                <c:pt idx="2768">
                  <c:v>#N/A</c:v>
                </c:pt>
                <c:pt idx="2769">
                  <c:v>#N/A</c:v>
                </c:pt>
                <c:pt idx="2770">
                  <c:v>1.3232876712328767</c:v>
                </c:pt>
                <c:pt idx="2771">
                  <c:v>1.3232876712328767</c:v>
                </c:pt>
                <c:pt idx="2772">
                  <c:v>1.3232876712328767</c:v>
                </c:pt>
                <c:pt idx="2773">
                  <c:v>1.3232876712328767</c:v>
                </c:pt>
                <c:pt idx="2774">
                  <c:v>#N/A</c:v>
                </c:pt>
                <c:pt idx="2775">
                  <c:v>#N/A</c:v>
                </c:pt>
                <c:pt idx="2776">
                  <c:v>#N/A</c:v>
                </c:pt>
                <c:pt idx="2777">
                  <c:v>#N/A</c:v>
                </c:pt>
                <c:pt idx="2778">
                  <c:v>#N/A</c:v>
                </c:pt>
                <c:pt idx="2779">
                  <c:v>#N/A</c:v>
                </c:pt>
                <c:pt idx="2780">
                  <c:v>#N/A</c:v>
                </c:pt>
                <c:pt idx="2781">
                  <c:v>#N/A</c:v>
                </c:pt>
                <c:pt idx="2782">
                  <c:v>1.3287671232876712</c:v>
                </c:pt>
                <c:pt idx="2783">
                  <c:v>#N/A</c:v>
                </c:pt>
                <c:pt idx="2784">
                  <c:v>#N/A</c:v>
                </c:pt>
                <c:pt idx="2785">
                  <c:v>#N/A</c:v>
                </c:pt>
                <c:pt idx="2786">
                  <c:v>#N/A</c:v>
                </c:pt>
                <c:pt idx="2787">
                  <c:v>#N/A</c:v>
                </c:pt>
                <c:pt idx="2788">
                  <c:v>#N/A</c:v>
                </c:pt>
                <c:pt idx="2789">
                  <c:v>#N/A</c:v>
                </c:pt>
                <c:pt idx="2790">
                  <c:v>#N/A</c:v>
                </c:pt>
                <c:pt idx="2791">
                  <c:v>#N/A</c:v>
                </c:pt>
                <c:pt idx="2792">
                  <c:v>1.3287671232876712</c:v>
                </c:pt>
                <c:pt idx="2793">
                  <c:v>#N/A</c:v>
                </c:pt>
                <c:pt idx="2794">
                  <c:v>#N/A</c:v>
                </c:pt>
                <c:pt idx="2795">
                  <c:v>1.3287671232876712</c:v>
                </c:pt>
                <c:pt idx="2796">
                  <c:v>#N/A</c:v>
                </c:pt>
                <c:pt idx="2797">
                  <c:v>#N/A</c:v>
                </c:pt>
                <c:pt idx="2798">
                  <c:v>1.3369863013698631</c:v>
                </c:pt>
                <c:pt idx="2799">
                  <c:v>#N/A</c:v>
                </c:pt>
                <c:pt idx="2800">
                  <c:v>#N/A</c:v>
                </c:pt>
                <c:pt idx="2801">
                  <c:v>#N/A</c:v>
                </c:pt>
                <c:pt idx="2802">
                  <c:v>#N/A</c:v>
                </c:pt>
                <c:pt idx="2803">
                  <c:v>#N/A</c:v>
                </c:pt>
                <c:pt idx="2804">
                  <c:v>#N/A</c:v>
                </c:pt>
                <c:pt idx="2805">
                  <c:v>#N/A</c:v>
                </c:pt>
                <c:pt idx="2806">
                  <c:v>#N/A</c:v>
                </c:pt>
                <c:pt idx="2807">
                  <c:v>1.3397260273972602</c:v>
                </c:pt>
                <c:pt idx="2808">
                  <c:v>#N/A</c:v>
                </c:pt>
                <c:pt idx="2809">
                  <c:v>#N/A</c:v>
                </c:pt>
                <c:pt idx="2810">
                  <c:v>1.3397260273972602</c:v>
                </c:pt>
                <c:pt idx="2811">
                  <c:v>#N/A</c:v>
                </c:pt>
                <c:pt idx="2812">
                  <c:v>1.3397260273972602</c:v>
                </c:pt>
                <c:pt idx="2813">
                  <c:v>#N/A</c:v>
                </c:pt>
                <c:pt idx="2814">
                  <c:v>#N/A</c:v>
                </c:pt>
                <c:pt idx="2815">
                  <c:v>#N/A</c:v>
                </c:pt>
                <c:pt idx="2816">
                  <c:v>#N/A</c:v>
                </c:pt>
                <c:pt idx="2817">
                  <c:v>#N/A</c:v>
                </c:pt>
                <c:pt idx="2818">
                  <c:v>#N/A</c:v>
                </c:pt>
                <c:pt idx="2819">
                  <c:v>1.3397260273972602</c:v>
                </c:pt>
                <c:pt idx="2820">
                  <c:v>#N/A</c:v>
                </c:pt>
                <c:pt idx="2821">
                  <c:v>#N/A</c:v>
                </c:pt>
                <c:pt idx="2822">
                  <c:v>1.3397260273972602</c:v>
                </c:pt>
                <c:pt idx="2823">
                  <c:v>#N/A</c:v>
                </c:pt>
                <c:pt idx="2824">
                  <c:v>1.3397260273972602</c:v>
                </c:pt>
                <c:pt idx="2825">
                  <c:v>#N/A</c:v>
                </c:pt>
                <c:pt idx="2826">
                  <c:v>#N/A</c:v>
                </c:pt>
                <c:pt idx="2827">
                  <c:v>#N/A</c:v>
                </c:pt>
                <c:pt idx="2828">
                  <c:v>#N/A</c:v>
                </c:pt>
                <c:pt idx="2829">
                  <c:v>1.3397260273972602</c:v>
                </c:pt>
                <c:pt idx="2830">
                  <c:v>1.3397260273972602</c:v>
                </c:pt>
                <c:pt idx="2831">
                  <c:v>#N/A</c:v>
                </c:pt>
                <c:pt idx="2832">
                  <c:v>1.3397260273972602</c:v>
                </c:pt>
                <c:pt idx="2833">
                  <c:v>1.3397260273972602</c:v>
                </c:pt>
                <c:pt idx="2834">
                  <c:v>#N/A</c:v>
                </c:pt>
                <c:pt idx="2835">
                  <c:v>1.3397260273972602</c:v>
                </c:pt>
                <c:pt idx="2836">
                  <c:v>#N/A</c:v>
                </c:pt>
                <c:pt idx="2837">
                  <c:v>#N/A</c:v>
                </c:pt>
                <c:pt idx="2838">
                  <c:v>#N/A</c:v>
                </c:pt>
                <c:pt idx="2839">
                  <c:v>#N/A</c:v>
                </c:pt>
                <c:pt idx="2840">
                  <c:v>1.3397260273972602</c:v>
                </c:pt>
                <c:pt idx="2841">
                  <c:v>#N/A</c:v>
                </c:pt>
                <c:pt idx="2842">
                  <c:v>1.3397260273972602</c:v>
                </c:pt>
                <c:pt idx="2843">
                  <c:v>#N/A</c:v>
                </c:pt>
                <c:pt idx="2844">
                  <c:v>#N/A</c:v>
                </c:pt>
                <c:pt idx="2845">
                  <c:v>#N/A</c:v>
                </c:pt>
                <c:pt idx="2846">
                  <c:v>1.3397260273972602</c:v>
                </c:pt>
                <c:pt idx="2847">
                  <c:v>#N/A</c:v>
                </c:pt>
                <c:pt idx="2848">
                  <c:v>1.3397260273972602</c:v>
                </c:pt>
                <c:pt idx="2849">
                  <c:v>1.3397260273972602</c:v>
                </c:pt>
                <c:pt idx="2850">
                  <c:v>#N/A</c:v>
                </c:pt>
                <c:pt idx="2851">
                  <c:v>#N/A</c:v>
                </c:pt>
                <c:pt idx="2852">
                  <c:v>1.3397260273972602</c:v>
                </c:pt>
                <c:pt idx="2853">
                  <c:v>1.3397260273972602</c:v>
                </c:pt>
                <c:pt idx="2854">
                  <c:v>#N/A</c:v>
                </c:pt>
                <c:pt idx="2855">
                  <c:v>#N/A</c:v>
                </c:pt>
                <c:pt idx="2856">
                  <c:v>#N/A</c:v>
                </c:pt>
                <c:pt idx="2857">
                  <c:v>#N/A</c:v>
                </c:pt>
                <c:pt idx="2858">
                  <c:v>1.3424657534246576</c:v>
                </c:pt>
                <c:pt idx="2859">
                  <c:v>1.3424657534246576</c:v>
                </c:pt>
                <c:pt idx="2860">
                  <c:v>#N/A</c:v>
                </c:pt>
                <c:pt idx="2861">
                  <c:v>#N/A</c:v>
                </c:pt>
                <c:pt idx="2862">
                  <c:v>#N/A</c:v>
                </c:pt>
                <c:pt idx="2863">
                  <c:v>1.3424657534246576</c:v>
                </c:pt>
                <c:pt idx="2864">
                  <c:v>#N/A</c:v>
                </c:pt>
                <c:pt idx="2865">
                  <c:v>#N/A</c:v>
                </c:pt>
                <c:pt idx="2866">
                  <c:v>#N/A</c:v>
                </c:pt>
                <c:pt idx="2867">
                  <c:v>1.3424657534246576</c:v>
                </c:pt>
                <c:pt idx="2868">
                  <c:v>1.3424657534246576</c:v>
                </c:pt>
                <c:pt idx="2869">
                  <c:v>#N/A</c:v>
                </c:pt>
                <c:pt idx="2870">
                  <c:v>1.3452054794520547</c:v>
                </c:pt>
                <c:pt idx="2871">
                  <c:v>#N/A</c:v>
                </c:pt>
                <c:pt idx="2872">
                  <c:v>1.3452054794520547</c:v>
                </c:pt>
                <c:pt idx="2873">
                  <c:v>#N/A</c:v>
                </c:pt>
                <c:pt idx="2874">
                  <c:v>#N/A</c:v>
                </c:pt>
                <c:pt idx="2875">
                  <c:v>1.3561643835616439</c:v>
                </c:pt>
                <c:pt idx="2876">
                  <c:v>#N/A</c:v>
                </c:pt>
                <c:pt idx="2877">
                  <c:v>1.3561643835616439</c:v>
                </c:pt>
                <c:pt idx="2878">
                  <c:v>1.3561643835616439</c:v>
                </c:pt>
                <c:pt idx="2879">
                  <c:v>#N/A</c:v>
                </c:pt>
                <c:pt idx="2880">
                  <c:v>#N/A</c:v>
                </c:pt>
                <c:pt idx="2881">
                  <c:v>#N/A</c:v>
                </c:pt>
                <c:pt idx="2882">
                  <c:v>1.3561643835616439</c:v>
                </c:pt>
                <c:pt idx="2883">
                  <c:v>#N/A</c:v>
                </c:pt>
                <c:pt idx="2884">
                  <c:v>#N/A</c:v>
                </c:pt>
                <c:pt idx="2885">
                  <c:v>1.3561643835616439</c:v>
                </c:pt>
                <c:pt idx="2886">
                  <c:v>1.3561643835616439</c:v>
                </c:pt>
                <c:pt idx="2887">
                  <c:v>1.3561643835616439</c:v>
                </c:pt>
                <c:pt idx="2888">
                  <c:v>1.3589041095890411</c:v>
                </c:pt>
                <c:pt idx="2889">
                  <c:v>#N/A</c:v>
                </c:pt>
                <c:pt idx="2890">
                  <c:v>1.3589041095890411</c:v>
                </c:pt>
                <c:pt idx="2891">
                  <c:v>1.3589041095890411</c:v>
                </c:pt>
                <c:pt idx="2892">
                  <c:v>#N/A</c:v>
                </c:pt>
                <c:pt idx="2893">
                  <c:v>1.3616438356164384</c:v>
                </c:pt>
                <c:pt idx="2894">
                  <c:v>1.3616438356164384</c:v>
                </c:pt>
                <c:pt idx="2895">
                  <c:v>1.3616438356164384</c:v>
                </c:pt>
                <c:pt idx="2896">
                  <c:v>1.3616438356164384</c:v>
                </c:pt>
                <c:pt idx="2897">
                  <c:v>#N/A</c:v>
                </c:pt>
                <c:pt idx="2898">
                  <c:v>#N/A</c:v>
                </c:pt>
                <c:pt idx="2899">
                  <c:v>#N/A</c:v>
                </c:pt>
                <c:pt idx="2900">
                  <c:v>1.3671232876712329</c:v>
                </c:pt>
                <c:pt idx="2901">
                  <c:v>1.3671232876712329</c:v>
                </c:pt>
                <c:pt idx="2902">
                  <c:v>#N/A</c:v>
                </c:pt>
                <c:pt idx="2903">
                  <c:v>#N/A</c:v>
                </c:pt>
                <c:pt idx="2904">
                  <c:v>#N/A</c:v>
                </c:pt>
                <c:pt idx="2905">
                  <c:v>1.3671232876712329</c:v>
                </c:pt>
                <c:pt idx="2906">
                  <c:v>#N/A</c:v>
                </c:pt>
                <c:pt idx="2907">
                  <c:v>#N/A</c:v>
                </c:pt>
                <c:pt idx="2908">
                  <c:v>1.3726027397260274</c:v>
                </c:pt>
                <c:pt idx="2909">
                  <c:v>1.3753424657534246</c:v>
                </c:pt>
                <c:pt idx="2910">
                  <c:v>#N/A</c:v>
                </c:pt>
                <c:pt idx="2911">
                  <c:v>#N/A</c:v>
                </c:pt>
                <c:pt idx="2912">
                  <c:v>1.3753424657534246</c:v>
                </c:pt>
                <c:pt idx="2913">
                  <c:v>1.3753424657534246</c:v>
                </c:pt>
                <c:pt idx="2914">
                  <c:v>#N/A</c:v>
                </c:pt>
                <c:pt idx="2915">
                  <c:v>1.3780821917808219</c:v>
                </c:pt>
                <c:pt idx="2916">
                  <c:v>1.3780821917808219</c:v>
                </c:pt>
                <c:pt idx="2917">
                  <c:v>#N/A</c:v>
                </c:pt>
                <c:pt idx="2918">
                  <c:v>1.3863013698630138</c:v>
                </c:pt>
                <c:pt idx="2919">
                  <c:v>1.3863013698630138</c:v>
                </c:pt>
                <c:pt idx="2920">
                  <c:v>#N/A</c:v>
                </c:pt>
                <c:pt idx="2921">
                  <c:v>1.3863013698630138</c:v>
                </c:pt>
                <c:pt idx="2922">
                  <c:v>#N/A</c:v>
                </c:pt>
                <c:pt idx="2923">
                  <c:v>1.3863013698630138</c:v>
                </c:pt>
                <c:pt idx="2924">
                  <c:v>#N/A</c:v>
                </c:pt>
                <c:pt idx="2925">
                  <c:v>#N/A</c:v>
                </c:pt>
                <c:pt idx="2926">
                  <c:v>1.3863013698630138</c:v>
                </c:pt>
                <c:pt idx="2927">
                  <c:v>#N/A</c:v>
                </c:pt>
                <c:pt idx="2928">
                  <c:v>1.3863013698630138</c:v>
                </c:pt>
                <c:pt idx="2929">
                  <c:v>#N/A</c:v>
                </c:pt>
                <c:pt idx="2930">
                  <c:v>#N/A</c:v>
                </c:pt>
                <c:pt idx="2931">
                  <c:v>1.3863013698630138</c:v>
                </c:pt>
                <c:pt idx="2932">
                  <c:v>1.3863013698630138</c:v>
                </c:pt>
                <c:pt idx="2933">
                  <c:v>1.3863013698630138</c:v>
                </c:pt>
                <c:pt idx="2934">
                  <c:v>1.3863013698630138</c:v>
                </c:pt>
                <c:pt idx="2935">
                  <c:v>1.3863013698630138</c:v>
                </c:pt>
                <c:pt idx="2936">
                  <c:v>#N/A</c:v>
                </c:pt>
                <c:pt idx="2937">
                  <c:v>1.3863013698630138</c:v>
                </c:pt>
                <c:pt idx="2938">
                  <c:v>1.3863013698630138</c:v>
                </c:pt>
                <c:pt idx="2939">
                  <c:v>#N/A</c:v>
                </c:pt>
                <c:pt idx="2940">
                  <c:v>1.3863013698630138</c:v>
                </c:pt>
                <c:pt idx="2941">
                  <c:v>#N/A</c:v>
                </c:pt>
                <c:pt idx="2942">
                  <c:v>#N/A</c:v>
                </c:pt>
                <c:pt idx="2943">
                  <c:v>1.3863013698630138</c:v>
                </c:pt>
                <c:pt idx="2944">
                  <c:v>1.3863013698630138</c:v>
                </c:pt>
                <c:pt idx="2945">
                  <c:v>1.3863013698630138</c:v>
                </c:pt>
                <c:pt idx="2946">
                  <c:v>#N/A</c:v>
                </c:pt>
                <c:pt idx="2947">
                  <c:v>#N/A</c:v>
                </c:pt>
                <c:pt idx="2948">
                  <c:v>#N/A</c:v>
                </c:pt>
                <c:pt idx="2949">
                  <c:v>1.3863013698630138</c:v>
                </c:pt>
                <c:pt idx="2950">
                  <c:v>1.3863013698630138</c:v>
                </c:pt>
                <c:pt idx="2951">
                  <c:v>#N/A</c:v>
                </c:pt>
                <c:pt idx="2952">
                  <c:v>1.3863013698630138</c:v>
                </c:pt>
                <c:pt idx="2953">
                  <c:v>#N/A</c:v>
                </c:pt>
                <c:pt idx="2954">
                  <c:v>1.3863013698630138</c:v>
                </c:pt>
                <c:pt idx="2955">
                  <c:v>#N/A</c:v>
                </c:pt>
                <c:pt idx="2956">
                  <c:v>#N/A</c:v>
                </c:pt>
                <c:pt idx="2957">
                  <c:v>#N/A</c:v>
                </c:pt>
                <c:pt idx="2958">
                  <c:v>#N/A</c:v>
                </c:pt>
                <c:pt idx="2959">
                  <c:v>#N/A</c:v>
                </c:pt>
                <c:pt idx="2960">
                  <c:v>#N/A</c:v>
                </c:pt>
                <c:pt idx="2961">
                  <c:v>1.3863013698630138</c:v>
                </c:pt>
                <c:pt idx="2962">
                  <c:v>1.3863013698630138</c:v>
                </c:pt>
                <c:pt idx="2963">
                  <c:v>1.3863013698630138</c:v>
                </c:pt>
                <c:pt idx="2964">
                  <c:v>#N/A</c:v>
                </c:pt>
                <c:pt idx="2965">
                  <c:v>1.3863013698630138</c:v>
                </c:pt>
                <c:pt idx="2966">
                  <c:v>1.3863013698630138</c:v>
                </c:pt>
                <c:pt idx="2967">
                  <c:v>1.3863013698630138</c:v>
                </c:pt>
                <c:pt idx="2968">
                  <c:v>1.3863013698630138</c:v>
                </c:pt>
                <c:pt idx="2969">
                  <c:v>#N/A</c:v>
                </c:pt>
                <c:pt idx="2970">
                  <c:v>#N/A</c:v>
                </c:pt>
                <c:pt idx="2971">
                  <c:v>1.3863013698630138</c:v>
                </c:pt>
                <c:pt idx="2972">
                  <c:v>1.3863013698630138</c:v>
                </c:pt>
                <c:pt idx="2973">
                  <c:v>#N/A</c:v>
                </c:pt>
                <c:pt idx="2974">
                  <c:v>#N/A</c:v>
                </c:pt>
                <c:pt idx="2975">
                  <c:v>#N/A</c:v>
                </c:pt>
                <c:pt idx="2976">
                  <c:v>1.3863013698630138</c:v>
                </c:pt>
                <c:pt idx="2977">
                  <c:v>#N/A</c:v>
                </c:pt>
                <c:pt idx="2978">
                  <c:v>#N/A</c:v>
                </c:pt>
                <c:pt idx="2979">
                  <c:v>#N/A</c:v>
                </c:pt>
                <c:pt idx="2980">
                  <c:v>1.3863013698630138</c:v>
                </c:pt>
                <c:pt idx="2981">
                  <c:v>1.3863013698630138</c:v>
                </c:pt>
                <c:pt idx="2982">
                  <c:v>1.3863013698630138</c:v>
                </c:pt>
                <c:pt idx="2983">
                  <c:v>#N/A</c:v>
                </c:pt>
                <c:pt idx="2984">
                  <c:v>1.3863013698630138</c:v>
                </c:pt>
                <c:pt idx="2985">
                  <c:v>1.3863013698630138</c:v>
                </c:pt>
                <c:pt idx="2986">
                  <c:v>1.3863013698630138</c:v>
                </c:pt>
                <c:pt idx="2987">
                  <c:v>1.3863013698630138</c:v>
                </c:pt>
                <c:pt idx="2988">
                  <c:v>1.3863013698630138</c:v>
                </c:pt>
                <c:pt idx="2989">
                  <c:v>#N/A</c:v>
                </c:pt>
                <c:pt idx="2990">
                  <c:v>1.3863013698630138</c:v>
                </c:pt>
                <c:pt idx="2991">
                  <c:v>#N/A</c:v>
                </c:pt>
                <c:pt idx="2992">
                  <c:v>1.3863013698630138</c:v>
                </c:pt>
                <c:pt idx="2993">
                  <c:v>1.3863013698630138</c:v>
                </c:pt>
                <c:pt idx="2994">
                  <c:v>#N/A</c:v>
                </c:pt>
                <c:pt idx="2995">
                  <c:v>#N/A</c:v>
                </c:pt>
                <c:pt idx="2996">
                  <c:v>#N/A</c:v>
                </c:pt>
                <c:pt idx="2997">
                  <c:v>1.3863013698630138</c:v>
                </c:pt>
                <c:pt idx="2998">
                  <c:v>1.3863013698630138</c:v>
                </c:pt>
                <c:pt idx="2999">
                  <c:v>1.3863013698630138</c:v>
                </c:pt>
                <c:pt idx="3000">
                  <c:v>1.3863013698630138</c:v>
                </c:pt>
                <c:pt idx="3001">
                  <c:v>#N/A</c:v>
                </c:pt>
                <c:pt idx="3002">
                  <c:v>#N/A</c:v>
                </c:pt>
                <c:pt idx="3003">
                  <c:v>#N/A</c:v>
                </c:pt>
                <c:pt idx="3004">
                  <c:v>1.3945205479452054</c:v>
                </c:pt>
                <c:pt idx="3005">
                  <c:v>1.3945205479452054</c:v>
                </c:pt>
                <c:pt idx="3006">
                  <c:v>#N/A</c:v>
                </c:pt>
                <c:pt idx="3007">
                  <c:v>#N/A</c:v>
                </c:pt>
                <c:pt idx="3008">
                  <c:v>1.3945205479452054</c:v>
                </c:pt>
                <c:pt idx="3009">
                  <c:v>#N/A</c:v>
                </c:pt>
                <c:pt idx="3010">
                  <c:v>#N/A</c:v>
                </c:pt>
                <c:pt idx="3011">
                  <c:v>1.3945205479452054</c:v>
                </c:pt>
                <c:pt idx="3012">
                  <c:v>#N/A</c:v>
                </c:pt>
                <c:pt idx="3013">
                  <c:v>#N/A</c:v>
                </c:pt>
                <c:pt idx="3014">
                  <c:v>#N/A</c:v>
                </c:pt>
                <c:pt idx="3015">
                  <c:v>1.3945205479452054</c:v>
                </c:pt>
                <c:pt idx="3016">
                  <c:v>1.3945205479452054</c:v>
                </c:pt>
                <c:pt idx="3017">
                  <c:v>1.3972602739726028</c:v>
                </c:pt>
                <c:pt idx="3018">
                  <c:v>#N/A</c:v>
                </c:pt>
                <c:pt idx="3019">
                  <c:v>1.3972602739726028</c:v>
                </c:pt>
                <c:pt idx="3020">
                  <c:v>#N/A</c:v>
                </c:pt>
                <c:pt idx="3021">
                  <c:v>#N/A</c:v>
                </c:pt>
                <c:pt idx="3022">
                  <c:v>1.3972602739726028</c:v>
                </c:pt>
                <c:pt idx="3023">
                  <c:v>1.3972602739726028</c:v>
                </c:pt>
                <c:pt idx="3024">
                  <c:v>1.3972602739726028</c:v>
                </c:pt>
                <c:pt idx="3025">
                  <c:v>#N/A</c:v>
                </c:pt>
                <c:pt idx="3026">
                  <c:v>#N/A</c:v>
                </c:pt>
                <c:pt idx="3027">
                  <c:v>#N/A</c:v>
                </c:pt>
                <c:pt idx="3028">
                  <c:v>1.3972602739726028</c:v>
                </c:pt>
                <c:pt idx="3029">
                  <c:v>1.3972602739726028</c:v>
                </c:pt>
                <c:pt idx="3030">
                  <c:v>1.3972602739726028</c:v>
                </c:pt>
                <c:pt idx="3031">
                  <c:v>1.3972602739726028</c:v>
                </c:pt>
                <c:pt idx="3032">
                  <c:v>#N/A</c:v>
                </c:pt>
                <c:pt idx="3033">
                  <c:v>1.3972602739726028</c:v>
                </c:pt>
                <c:pt idx="3034">
                  <c:v>#N/A</c:v>
                </c:pt>
                <c:pt idx="3035">
                  <c:v>1.4</c:v>
                </c:pt>
                <c:pt idx="3036">
                  <c:v>1.4</c:v>
                </c:pt>
                <c:pt idx="3037">
                  <c:v>#N/A</c:v>
                </c:pt>
                <c:pt idx="3038">
                  <c:v>#N/A</c:v>
                </c:pt>
                <c:pt idx="3039">
                  <c:v>#N/A</c:v>
                </c:pt>
                <c:pt idx="3040">
                  <c:v>1.4</c:v>
                </c:pt>
                <c:pt idx="3041">
                  <c:v>1.4</c:v>
                </c:pt>
                <c:pt idx="3042">
                  <c:v>#N/A</c:v>
                </c:pt>
                <c:pt idx="3043">
                  <c:v>1.4</c:v>
                </c:pt>
                <c:pt idx="3044">
                  <c:v>1.4</c:v>
                </c:pt>
                <c:pt idx="3045">
                  <c:v>1.4054794520547946</c:v>
                </c:pt>
                <c:pt idx="3046">
                  <c:v>1.4054794520547946</c:v>
                </c:pt>
                <c:pt idx="3047">
                  <c:v>#N/A</c:v>
                </c:pt>
                <c:pt idx="3048">
                  <c:v>#N/A</c:v>
                </c:pt>
                <c:pt idx="3049">
                  <c:v>1.4054794520547946</c:v>
                </c:pt>
                <c:pt idx="3050">
                  <c:v>1.4054794520547946</c:v>
                </c:pt>
                <c:pt idx="3051">
                  <c:v>#N/A</c:v>
                </c:pt>
                <c:pt idx="3052">
                  <c:v>#N/A</c:v>
                </c:pt>
                <c:pt idx="3053">
                  <c:v>1.4054794520547946</c:v>
                </c:pt>
                <c:pt idx="3054">
                  <c:v>1.4054794520547946</c:v>
                </c:pt>
                <c:pt idx="3055">
                  <c:v>1.4054794520547946</c:v>
                </c:pt>
                <c:pt idx="3056">
                  <c:v>1.4054794520547946</c:v>
                </c:pt>
                <c:pt idx="3057">
                  <c:v>#N/A</c:v>
                </c:pt>
                <c:pt idx="3058">
                  <c:v>1.4054794520547946</c:v>
                </c:pt>
                <c:pt idx="3059">
                  <c:v>#N/A</c:v>
                </c:pt>
                <c:pt idx="3060">
                  <c:v>#N/A</c:v>
                </c:pt>
                <c:pt idx="3061">
                  <c:v>#N/A</c:v>
                </c:pt>
                <c:pt idx="3062">
                  <c:v>1.4054794520547946</c:v>
                </c:pt>
                <c:pt idx="3063">
                  <c:v>#N/A</c:v>
                </c:pt>
                <c:pt idx="3064">
                  <c:v>1.4054794520547946</c:v>
                </c:pt>
                <c:pt idx="3065">
                  <c:v>#N/A</c:v>
                </c:pt>
                <c:pt idx="3066">
                  <c:v>1.4054794520547946</c:v>
                </c:pt>
                <c:pt idx="3067">
                  <c:v>#N/A</c:v>
                </c:pt>
                <c:pt idx="3068">
                  <c:v>1.4136986301369863</c:v>
                </c:pt>
                <c:pt idx="3069">
                  <c:v>1.4136986301369863</c:v>
                </c:pt>
                <c:pt idx="3070">
                  <c:v>#N/A</c:v>
                </c:pt>
                <c:pt idx="3071">
                  <c:v>1.4136986301369863</c:v>
                </c:pt>
                <c:pt idx="3072">
                  <c:v>#N/A</c:v>
                </c:pt>
                <c:pt idx="3073">
                  <c:v>1.4136986301369863</c:v>
                </c:pt>
                <c:pt idx="3074">
                  <c:v>1.4164383561643836</c:v>
                </c:pt>
                <c:pt idx="3075">
                  <c:v>#N/A</c:v>
                </c:pt>
                <c:pt idx="3076">
                  <c:v>#N/A</c:v>
                </c:pt>
                <c:pt idx="3077">
                  <c:v>1.4164383561643836</c:v>
                </c:pt>
                <c:pt idx="3078">
                  <c:v>1.4191780821917808</c:v>
                </c:pt>
                <c:pt idx="3079">
                  <c:v>1.4191780821917808</c:v>
                </c:pt>
                <c:pt idx="3080">
                  <c:v>1.4191780821917808</c:v>
                </c:pt>
                <c:pt idx="3081">
                  <c:v>1.4191780821917808</c:v>
                </c:pt>
                <c:pt idx="3082">
                  <c:v>1.4191780821917808</c:v>
                </c:pt>
                <c:pt idx="3083">
                  <c:v>1.4191780821917808</c:v>
                </c:pt>
                <c:pt idx="3084">
                  <c:v>1.4191780821917808</c:v>
                </c:pt>
                <c:pt idx="3085">
                  <c:v>#N/A</c:v>
                </c:pt>
                <c:pt idx="3086">
                  <c:v>1.4191780821917808</c:v>
                </c:pt>
                <c:pt idx="3087">
                  <c:v>#N/A</c:v>
                </c:pt>
                <c:pt idx="3088">
                  <c:v>#N/A</c:v>
                </c:pt>
                <c:pt idx="3089">
                  <c:v>1.4191780821917808</c:v>
                </c:pt>
                <c:pt idx="3090">
                  <c:v>1.4191780821917808</c:v>
                </c:pt>
                <c:pt idx="3091">
                  <c:v>#N/A</c:v>
                </c:pt>
                <c:pt idx="3092">
                  <c:v>1.4191780821917808</c:v>
                </c:pt>
                <c:pt idx="3093">
                  <c:v>#N/A</c:v>
                </c:pt>
                <c:pt idx="3094">
                  <c:v>#N/A</c:v>
                </c:pt>
                <c:pt idx="3095">
                  <c:v>1.4191780821917808</c:v>
                </c:pt>
                <c:pt idx="3096">
                  <c:v>#N/A</c:v>
                </c:pt>
                <c:pt idx="3097">
                  <c:v>1.4191780821917808</c:v>
                </c:pt>
                <c:pt idx="3098">
                  <c:v>1.4191780821917808</c:v>
                </c:pt>
                <c:pt idx="3099">
                  <c:v>#N/A</c:v>
                </c:pt>
                <c:pt idx="3100">
                  <c:v>1.4219178082191781</c:v>
                </c:pt>
                <c:pt idx="3101">
                  <c:v>#N/A</c:v>
                </c:pt>
                <c:pt idx="3102">
                  <c:v>1.4219178082191781</c:v>
                </c:pt>
                <c:pt idx="3103">
                  <c:v>#N/A</c:v>
                </c:pt>
                <c:pt idx="3104">
                  <c:v>#N/A</c:v>
                </c:pt>
                <c:pt idx="3105">
                  <c:v>1.4219178082191781</c:v>
                </c:pt>
                <c:pt idx="3106">
                  <c:v>1.4219178082191781</c:v>
                </c:pt>
                <c:pt idx="3107">
                  <c:v>#N/A</c:v>
                </c:pt>
                <c:pt idx="3108">
                  <c:v>#N/A</c:v>
                </c:pt>
                <c:pt idx="3109">
                  <c:v>#N/A</c:v>
                </c:pt>
                <c:pt idx="3110">
                  <c:v>#N/A</c:v>
                </c:pt>
                <c:pt idx="3111">
                  <c:v>#N/A</c:v>
                </c:pt>
                <c:pt idx="3112">
                  <c:v>#N/A</c:v>
                </c:pt>
                <c:pt idx="3113">
                  <c:v>#N/A</c:v>
                </c:pt>
                <c:pt idx="3114">
                  <c:v>1.4328767123287671</c:v>
                </c:pt>
                <c:pt idx="3115">
                  <c:v>1.4328767123287671</c:v>
                </c:pt>
                <c:pt idx="3116">
                  <c:v>#N/A</c:v>
                </c:pt>
                <c:pt idx="3117">
                  <c:v>#N/A</c:v>
                </c:pt>
                <c:pt idx="3118">
                  <c:v>1.4328767123287671</c:v>
                </c:pt>
                <c:pt idx="3119">
                  <c:v>#N/A</c:v>
                </c:pt>
                <c:pt idx="3120">
                  <c:v>1.4328767123287671</c:v>
                </c:pt>
                <c:pt idx="3121">
                  <c:v>#N/A</c:v>
                </c:pt>
                <c:pt idx="3122">
                  <c:v>#N/A</c:v>
                </c:pt>
                <c:pt idx="3123">
                  <c:v>#N/A</c:v>
                </c:pt>
                <c:pt idx="3124">
                  <c:v>#N/A</c:v>
                </c:pt>
                <c:pt idx="3125">
                  <c:v>#N/A</c:v>
                </c:pt>
                <c:pt idx="3126">
                  <c:v>1.4356164383561645</c:v>
                </c:pt>
                <c:pt idx="3127">
                  <c:v>1.4356164383561645</c:v>
                </c:pt>
                <c:pt idx="3128">
                  <c:v>#N/A</c:v>
                </c:pt>
                <c:pt idx="3129">
                  <c:v>1.4356164383561645</c:v>
                </c:pt>
                <c:pt idx="3130">
                  <c:v>#N/A</c:v>
                </c:pt>
                <c:pt idx="3131">
                  <c:v>#N/A</c:v>
                </c:pt>
                <c:pt idx="3132">
                  <c:v>1.4356164383561645</c:v>
                </c:pt>
                <c:pt idx="3133">
                  <c:v>#N/A</c:v>
                </c:pt>
                <c:pt idx="3134">
                  <c:v>#N/A</c:v>
                </c:pt>
                <c:pt idx="3135">
                  <c:v>1.4383561643835616</c:v>
                </c:pt>
                <c:pt idx="3136">
                  <c:v>#N/A</c:v>
                </c:pt>
                <c:pt idx="3137">
                  <c:v>1.4383561643835616</c:v>
                </c:pt>
                <c:pt idx="3138">
                  <c:v>#N/A</c:v>
                </c:pt>
                <c:pt idx="3139">
                  <c:v>#N/A</c:v>
                </c:pt>
                <c:pt idx="3140">
                  <c:v>#N/A</c:v>
                </c:pt>
                <c:pt idx="3141">
                  <c:v>1.4438356164383561</c:v>
                </c:pt>
                <c:pt idx="3142">
                  <c:v>1.4438356164383561</c:v>
                </c:pt>
                <c:pt idx="3143">
                  <c:v>#N/A</c:v>
                </c:pt>
                <c:pt idx="3144">
                  <c:v>#N/A</c:v>
                </c:pt>
                <c:pt idx="3145">
                  <c:v>#N/A</c:v>
                </c:pt>
                <c:pt idx="3146">
                  <c:v>#N/A</c:v>
                </c:pt>
                <c:pt idx="3147">
                  <c:v>1.4493150684931506</c:v>
                </c:pt>
                <c:pt idx="3148">
                  <c:v>#N/A</c:v>
                </c:pt>
                <c:pt idx="3149">
                  <c:v>#N/A</c:v>
                </c:pt>
                <c:pt idx="3150">
                  <c:v>1.452054794520548</c:v>
                </c:pt>
                <c:pt idx="3151">
                  <c:v>#N/A</c:v>
                </c:pt>
                <c:pt idx="3152">
                  <c:v>1.452054794520548</c:v>
                </c:pt>
                <c:pt idx="3153">
                  <c:v>1.452054794520548</c:v>
                </c:pt>
                <c:pt idx="3154">
                  <c:v>1.452054794520548</c:v>
                </c:pt>
                <c:pt idx="3155">
                  <c:v>1.4547945205479451</c:v>
                </c:pt>
                <c:pt idx="3156">
                  <c:v>1.4547945205479451</c:v>
                </c:pt>
                <c:pt idx="3157">
                  <c:v>#N/A</c:v>
                </c:pt>
                <c:pt idx="3158">
                  <c:v>#N/A</c:v>
                </c:pt>
                <c:pt idx="3159">
                  <c:v>#N/A</c:v>
                </c:pt>
                <c:pt idx="3160">
                  <c:v>#N/A</c:v>
                </c:pt>
                <c:pt idx="3161">
                  <c:v>1.4575342465753425</c:v>
                </c:pt>
                <c:pt idx="3162">
                  <c:v>1.4575342465753425</c:v>
                </c:pt>
                <c:pt idx="3163">
                  <c:v>#N/A</c:v>
                </c:pt>
                <c:pt idx="3164">
                  <c:v>1.4575342465753425</c:v>
                </c:pt>
                <c:pt idx="3165">
                  <c:v>1.4575342465753425</c:v>
                </c:pt>
                <c:pt idx="3166">
                  <c:v>1.4575342465753425</c:v>
                </c:pt>
                <c:pt idx="3167">
                  <c:v>1.4575342465753425</c:v>
                </c:pt>
                <c:pt idx="3168">
                  <c:v>#N/A</c:v>
                </c:pt>
                <c:pt idx="3169">
                  <c:v>1.4575342465753425</c:v>
                </c:pt>
                <c:pt idx="3170">
                  <c:v>1.4575342465753425</c:v>
                </c:pt>
                <c:pt idx="3171">
                  <c:v>1.4575342465753425</c:v>
                </c:pt>
                <c:pt idx="3172">
                  <c:v>1.4575342465753425</c:v>
                </c:pt>
                <c:pt idx="3173">
                  <c:v>1.4575342465753425</c:v>
                </c:pt>
                <c:pt idx="3174">
                  <c:v>#N/A</c:v>
                </c:pt>
                <c:pt idx="3175">
                  <c:v>1.4575342465753425</c:v>
                </c:pt>
                <c:pt idx="3176">
                  <c:v>1.4602739726027398</c:v>
                </c:pt>
                <c:pt idx="3177">
                  <c:v>1.4602739726027398</c:v>
                </c:pt>
                <c:pt idx="3178">
                  <c:v>1.4602739726027398</c:v>
                </c:pt>
                <c:pt idx="3179">
                  <c:v>#N/A</c:v>
                </c:pt>
                <c:pt idx="3180">
                  <c:v>#N/A</c:v>
                </c:pt>
                <c:pt idx="3181">
                  <c:v>1.4602739726027398</c:v>
                </c:pt>
                <c:pt idx="3182">
                  <c:v>#N/A</c:v>
                </c:pt>
                <c:pt idx="3183">
                  <c:v>#N/A</c:v>
                </c:pt>
                <c:pt idx="3184">
                  <c:v>#N/A</c:v>
                </c:pt>
                <c:pt idx="3185">
                  <c:v>1.463013698630137</c:v>
                </c:pt>
                <c:pt idx="3186">
                  <c:v>1.463013698630137</c:v>
                </c:pt>
                <c:pt idx="3187">
                  <c:v>#N/A</c:v>
                </c:pt>
                <c:pt idx="3188">
                  <c:v>1.4684931506849315</c:v>
                </c:pt>
                <c:pt idx="3189">
                  <c:v>#N/A</c:v>
                </c:pt>
                <c:pt idx="3190">
                  <c:v>1.4684931506849315</c:v>
                </c:pt>
                <c:pt idx="3191">
                  <c:v>1.4684931506849315</c:v>
                </c:pt>
                <c:pt idx="3192">
                  <c:v>#N/A</c:v>
                </c:pt>
                <c:pt idx="3193">
                  <c:v>#N/A</c:v>
                </c:pt>
                <c:pt idx="3194">
                  <c:v>1.4684931506849315</c:v>
                </c:pt>
                <c:pt idx="3195">
                  <c:v>1.4684931506849315</c:v>
                </c:pt>
                <c:pt idx="3196">
                  <c:v>#N/A</c:v>
                </c:pt>
                <c:pt idx="3197">
                  <c:v>1.4684931506849315</c:v>
                </c:pt>
                <c:pt idx="3198">
                  <c:v>#N/A</c:v>
                </c:pt>
                <c:pt idx="3199">
                  <c:v>#N/A</c:v>
                </c:pt>
                <c:pt idx="3200">
                  <c:v>1.4684931506849315</c:v>
                </c:pt>
                <c:pt idx="3201">
                  <c:v>1.4684931506849315</c:v>
                </c:pt>
                <c:pt idx="3202">
                  <c:v>#N/A</c:v>
                </c:pt>
                <c:pt idx="3203">
                  <c:v>1.4684931506849315</c:v>
                </c:pt>
                <c:pt idx="3204">
                  <c:v>1.4684931506849315</c:v>
                </c:pt>
                <c:pt idx="3205">
                  <c:v>1.4684931506849315</c:v>
                </c:pt>
                <c:pt idx="3206">
                  <c:v>1.4684931506849315</c:v>
                </c:pt>
                <c:pt idx="3207">
                  <c:v>#N/A</c:v>
                </c:pt>
                <c:pt idx="3208">
                  <c:v>#N/A</c:v>
                </c:pt>
                <c:pt idx="3209">
                  <c:v>#N/A</c:v>
                </c:pt>
                <c:pt idx="3210">
                  <c:v>#N/A</c:v>
                </c:pt>
                <c:pt idx="3211">
                  <c:v>1.4684931506849315</c:v>
                </c:pt>
                <c:pt idx="3212">
                  <c:v>#N/A</c:v>
                </c:pt>
                <c:pt idx="3213">
                  <c:v>1.4684931506849315</c:v>
                </c:pt>
                <c:pt idx="3214">
                  <c:v>1.4684931506849315</c:v>
                </c:pt>
                <c:pt idx="3215">
                  <c:v>1.4684931506849315</c:v>
                </c:pt>
                <c:pt idx="3216">
                  <c:v>1.4684931506849315</c:v>
                </c:pt>
                <c:pt idx="3217">
                  <c:v>#N/A</c:v>
                </c:pt>
                <c:pt idx="3218">
                  <c:v>#N/A</c:v>
                </c:pt>
                <c:pt idx="3219">
                  <c:v>1.4684931506849315</c:v>
                </c:pt>
                <c:pt idx="3220">
                  <c:v>1.4684931506849315</c:v>
                </c:pt>
                <c:pt idx="3221">
                  <c:v>1.4684931506849315</c:v>
                </c:pt>
                <c:pt idx="3222">
                  <c:v>1.4684931506849315</c:v>
                </c:pt>
                <c:pt idx="3223">
                  <c:v>1.4684931506849315</c:v>
                </c:pt>
                <c:pt idx="3224">
                  <c:v>1.4684931506849315</c:v>
                </c:pt>
                <c:pt idx="3225">
                  <c:v>1.4684931506849315</c:v>
                </c:pt>
                <c:pt idx="3226">
                  <c:v>1.4684931506849315</c:v>
                </c:pt>
                <c:pt idx="3227">
                  <c:v>1.4684931506849315</c:v>
                </c:pt>
                <c:pt idx="3228">
                  <c:v>#N/A</c:v>
                </c:pt>
                <c:pt idx="3229">
                  <c:v>#N/A</c:v>
                </c:pt>
                <c:pt idx="3230">
                  <c:v>1.4684931506849315</c:v>
                </c:pt>
                <c:pt idx="3231">
                  <c:v>1.4684931506849315</c:v>
                </c:pt>
                <c:pt idx="3232">
                  <c:v>1.4684931506849315</c:v>
                </c:pt>
                <c:pt idx="3233">
                  <c:v>1.4684931506849315</c:v>
                </c:pt>
                <c:pt idx="3234">
                  <c:v>1.4684931506849315</c:v>
                </c:pt>
                <c:pt idx="3235">
                  <c:v>1.4684931506849315</c:v>
                </c:pt>
                <c:pt idx="3236">
                  <c:v>#N/A</c:v>
                </c:pt>
                <c:pt idx="3237">
                  <c:v>#N/A</c:v>
                </c:pt>
                <c:pt idx="3238">
                  <c:v>#N/A</c:v>
                </c:pt>
                <c:pt idx="3239">
                  <c:v>1.4684931506849315</c:v>
                </c:pt>
                <c:pt idx="3240">
                  <c:v>1.4684931506849315</c:v>
                </c:pt>
                <c:pt idx="3241">
                  <c:v>#N/A</c:v>
                </c:pt>
                <c:pt idx="3242">
                  <c:v>1.4684931506849315</c:v>
                </c:pt>
                <c:pt idx="3243">
                  <c:v>1.4684931506849315</c:v>
                </c:pt>
                <c:pt idx="3244">
                  <c:v>1.4684931506849315</c:v>
                </c:pt>
                <c:pt idx="3245">
                  <c:v>#N/A</c:v>
                </c:pt>
                <c:pt idx="3246">
                  <c:v>1.4684931506849315</c:v>
                </c:pt>
                <c:pt idx="3247">
                  <c:v>1.4684931506849315</c:v>
                </c:pt>
                <c:pt idx="3248">
                  <c:v>1.4684931506849315</c:v>
                </c:pt>
                <c:pt idx="3249">
                  <c:v>#N/A</c:v>
                </c:pt>
                <c:pt idx="3250">
                  <c:v>1.4684931506849315</c:v>
                </c:pt>
                <c:pt idx="3251">
                  <c:v>1.4684931506849315</c:v>
                </c:pt>
                <c:pt idx="3252">
                  <c:v>1.4684931506849315</c:v>
                </c:pt>
                <c:pt idx="3253">
                  <c:v>1.4684931506849315</c:v>
                </c:pt>
                <c:pt idx="3254">
                  <c:v>#N/A</c:v>
                </c:pt>
                <c:pt idx="3255">
                  <c:v>#N/A</c:v>
                </c:pt>
                <c:pt idx="3256">
                  <c:v>#N/A</c:v>
                </c:pt>
                <c:pt idx="3257">
                  <c:v>1.4684931506849315</c:v>
                </c:pt>
                <c:pt idx="3258">
                  <c:v>1.4684931506849315</c:v>
                </c:pt>
                <c:pt idx="3259">
                  <c:v>#N/A</c:v>
                </c:pt>
                <c:pt idx="3260">
                  <c:v>#N/A</c:v>
                </c:pt>
                <c:pt idx="3261">
                  <c:v>1.4684931506849315</c:v>
                </c:pt>
                <c:pt idx="3262">
                  <c:v>#N/A</c:v>
                </c:pt>
                <c:pt idx="3263">
                  <c:v>#N/A</c:v>
                </c:pt>
                <c:pt idx="3264">
                  <c:v>1.4684931506849315</c:v>
                </c:pt>
                <c:pt idx="3265">
                  <c:v>1.4684931506849315</c:v>
                </c:pt>
                <c:pt idx="3266">
                  <c:v>#N/A</c:v>
                </c:pt>
                <c:pt idx="3267">
                  <c:v>1.4684931506849315</c:v>
                </c:pt>
                <c:pt idx="3268">
                  <c:v>1.4684931506849315</c:v>
                </c:pt>
                <c:pt idx="3269">
                  <c:v>#N/A</c:v>
                </c:pt>
                <c:pt idx="3270">
                  <c:v>#N/A</c:v>
                </c:pt>
                <c:pt idx="3271">
                  <c:v>1.4684931506849315</c:v>
                </c:pt>
                <c:pt idx="3272">
                  <c:v>#N/A</c:v>
                </c:pt>
                <c:pt idx="3273">
                  <c:v>1.4684931506849315</c:v>
                </c:pt>
                <c:pt idx="3274">
                  <c:v>1.4684931506849315</c:v>
                </c:pt>
                <c:pt idx="3275">
                  <c:v>1.4684931506849315</c:v>
                </c:pt>
                <c:pt idx="3276">
                  <c:v>1.4684931506849315</c:v>
                </c:pt>
                <c:pt idx="3277">
                  <c:v>#N/A</c:v>
                </c:pt>
                <c:pt idx="3278">
                  <c:v>1.4684931506849315</c:v>
                </c:pt>
                <c:pt idx="3279">
                  <c:v>1.4684931506849315</c:v>
                </c:pt>
                <c:pt idx="3280">
                  <c:v>1.4684931506849315</c:v>
                </c:pt>
                <c:pt idx="3281">
                  <c:v>#N/A</c:v>
                </c:pt>
                <c:pt idx="3282">
                  <c:v>1.4684931506849315</c:v>
                </c:pt>
                <c:pt idx="3283">
                  <c:v>#N/A</c:v>
                </c:pt>
                <c:pt idx="3284">
                  <c:v>#N/A</c:v>
                </c:pt>
                <c:pt idx="3285">
                  <c:v>1.4684931506849315</c:v>
                </c:pt>
                <c:pt idx="3286">
                  <c:v>1.4684931506849315</c:v>
                </c:pt>
                <c:pt idx="3287">
                  <c:v>#N/A</c:v>
                </c:pt>
                <c:pt idx="3288">
                  <c:v>1.4684931506849315</c:v>
                </c:pt>
                <c:pt idx="3289">
                  <c:v>1.4684931506849315</c:v>
                </c:pt>
                <c:pt idx="3290">
                  <c:v>1.4684931506849315</c:v>
                </c:pt>
                <c:pt idx="3291">
                  <c:v>1.4684931506849315</c:v>
                </c:pt>
                <c:pt idx="3292">
                  <c:v>1.4684931506849315</c:v>
                </c:pt>
                <c:pt idx="3293">
                  <c:v>#N/A</c:v>
                </c:pt>
                <c:pt idx="3294">
                  <c:v>1.4684931506849315</c:v>
                </c:pt>
                <c:pt idx="3295">
                  <c:v>1.4684931506849315</c:v>
                </c:pt>
                <c:pt idx="3296">
                  <c:v>#N/A</c:v>
                </c:pt>
                <c:pt idx="3297">
                  <c:v>1.4684931506849315</c:v>
                </c:pt>
                <c:pt idx="3298">
                  <c:v>1.4684931506849315</c:v>
                </c:pt>
                <c:pt idx="3299">
                  <c:v>1.4684931506849315</c:v>
                </c:pt>
                <c:pt idx="3300">
                  <c:v>1.4684931506849315</c:v>
                </c:pt>
                <c:pt idx="3301">
                  <c:v>#N/A</c:v>
                </c:pt>
                <c:pt idx="3302">
                  <c:v>1.4684931506849315</c:v>
                </c:pt>
                <c:pt idx="3303">
                  <c:v>1.4684931506849315</c:v>
                </c:pt>
                <c:pt idx="3304">
                  <c:v>1.4684931506849315</c:v>
                </c:pt>
                <c:pt idx="3305">
                  <c:v>1.4684931506849315</c:v>
                </c:pt>
                <c:pt idx="3306">
                  <c:v>#N/A</c:v>
                </c:pt>
                <c:pt idx="3307">
                  <c:v>1.4684931506849315</c:v>
                </c:pt>
                <c:pt idx="3308">
                  <c:v>1.4684931506849315</c:v>
                </c:pt>
                <c:pt idx="3309">
                  <c:v>1.4684931506849315</c:v>
                </c:pt>
                <c:pt idx="3310">
                  <c:v>#N/A</c:v>
                </c:pt>
                <c:pt idx="3311">
                  <c:v>#N/A</c:v>
                </c:pt>
                <c:pt idx="3312">
                  <c:v>#N/A</c:v>
                </c:pt>
                <c:pt idx="3313">
                  <c:v>1.4684931506849315</c:v>
                </c:pt>
                <c:pt idx="3314">
                  <c:v>1.4684931506849315</c:v>
                </c:pt>
                <c:pt idx="3315">
                  <c:v>#N/A</c:v>
                </c:pt>
                <c:pt idx="3316">
                  <c:v>1.4684931506849315</c:v>
                </c:pt>
                <c:pt idx="3317">
                  <c:v>1.4684931506849315</c:v>
                </c:pt>
                <c:pt idx="3318">
                  <c:v>#N/A</c:v>
                </c:pt>
                <c:pt idx="3319">
                  <c:v>1.4684931506849315</c:v>
                </c:pt>
                <c:pt idx="3320">
                  <c:v>#N/A</c:v>
                </c:pt>
                <c:pt idx="3321">
                  <c:v>1.4684931506849315</c:v>
                </c:pt>
                <c:pt idx="3322">
                  <c:v>#N/A</c:v>
                </c:pt>
                <c:pt idx="3323">
                  <c:v>1.4684931506849315</c:v>
                </c:pt>
                <c:pt idx="3324">
                  <c:v>1.4684931506849315</c:v>
                </c:pt>
                <c:pt idx="3325">
                  <c:v>1.4684931506849315</c:v>
                </c:pt>
                <c:pt idx="3326">
                  <c:v>#N/A</c:v>
                </c:pt>
                <c:pt idx="3327">
                  <c:v>#N/A</c:v>
                </c:pt>
                <c:pt idx="3328">
                  <c:v>1.4684931506849315</c:v>
                </c:pt>
                <c:pt idx="3329">
                  <c:v>#N/A</c:v>
                </c:pt>
                <c:pt idx="3330">
                  <c:v>#N/A</c:v>
                </c:pt>
                <c:pt idx="3331">
                  <c:v>1.4684931506849315</c:v>
                </c:pt>
                <c:pt idx="3332">
                  <c:v>#N/A</c:v>
                </c:pt>
                <c:pt idx="3333">
                  <c:v>1.4684931506849315</c:v>
                </c:pt>
                <c:pt idx="3334">
                  <c:v>1.4684931506849315</c:v>
                </c:pt>
                <c:pt idx="3335">
                  <c:v>1.4684931506849315</c:v>
                </c:pt>
                <c:pt idx="3336">
                  <c:v>1.4684931506849315</c:v>
                </c:pt>
                <c:pt idx="3337">
                  <c:v>1.4684931506849315</c:v>
                </c:pt>
                <c:pt idx="3338">
                  <c:v>1.4684931506849315</c:v>
                </c:pt>
                <c:pt idx="3339">
                  <c:v>1.4684931506849315</c:v>
                </c:pt>
                <c:pt idx="3340">
                  <c:v>1.4684931506849315</c:v>
                </c:pt>
                <c:pt idx="3341">
                  <c:v>1.4684931506849315</c:v>
                </c:pt>
                <c:pt idx="3342">
                  <c:v>#N/A</c:v>
                </c:pt>
                <c:pt idx="3343">
                  <c:v>#N/A</c:v>
                </c:pt>
                <c:pt idx="3344">
                  <c:v>#N/A</c:v>
                </c:pt>
                <c:pt idx="3345">
                  <c:v>1.4684931506849315</c:v>
                </c:pt>
                <c:pt idx="3346">
                  <c:v>#N/A</c:v>
                </c:pt>
                <c:pt idx="3347">
                  <c:v>#N/A</c:v>
                </c:pt>
                <c:pt idx="3348">
                  <c:v>1.4684931506849315</c:v>
                </c:pt>
                <c:pt idx="3349">
                  <c:v>#N/A</c:v>
                </c:pt>
                <c:pt idx="3350">
                  <c:v>1.4684931506849315</c:v>
                </c:pt>
                <c:pt idx="3351">
                  <c:v>1.4684931506849315</c:v>
                </c:pt>
                <c:pt idx="3352">
                  <c:v>#N/A</c:v>
                </c:pt>
                <c:pt idx="3353">
                  <c:v>#N/A</c:v>
                </c:pt>
                <c:pt idx="3354">
                  <c:v>1.4684931506849315</c:v>
                </c:pt>
                <c:pt idx="3355">
                  <c:v>#N/A</c:v>
                </c:pt>
                <c:pt idx="3356">
                  <c:v>1.4684931506849315</c:v>
                </c:pt>
                <c:pt idx="3357">
                  <c:v>1.4684931506849315</c:v>
                </c:pt>
                <c:pt idx="3358">
                  <c:v>1.4684931506849315</c:v>
                </c:pt>
                <c:pt idx="3359">
                  <c:v>#N/A</c:v>
                </c:pt>
                <c:pt idx="3360">
                  <c:v>1.4684931506849315</c:v>
                </c:pt>
                <c:pt idx="3361">
                  <c:v>1.4684931506849315</c:v>
                </c:pt>
                <c:pt idx="3362">
                  <c:v>1.4684931506849315</c:v>
                </c:pt>
                <c:pt idx="3363">
                  <c:v>#N/A</c:v>
                </c:pt>
                <c:pt idx="3364">
                  <c:v>1.4684931506849315</c:v>
                </c:pt>
                <c:pt idx="3365">
                  <c:v>1.4684931506849315</c:v>
                </c:pt>
                <c:pt idx="3366">
                  <c:v>1.4684931506849315</c:v>
                </c:pt>
                <c:pt idx="3367">
                  <c:v>1.4684931506849315</c:v>
                </c:pt>
                <c:pt idx="3368">
                  <c:v>1.4684931506849315</c:v>
                </c:pt>
                <c:pt idx="3369">
                  <c:v>1.4684931506849315</c:v>
                </c:pt>
                <c:pt idx="3370">
                  <c:v>1.4684931506849315</c:v>
                </c:pt>
                <c:pt idx="3371">
                  <c:v>1.4684931506849315</c:v>
                </c:pt>
                <c:pt idx="3372">
                  <c:v>1.4684931506849315</c:v>
                </c:pt>
                <c:pt idx="3373">
                  <c:v>1.4684931506849315</c:v>
                </c:pt>
                <c:pt idx="3374">
                  <c:v>#N/A</c:v>
                </c:pt>
                <c:pt idx="3375">
                  <c:v>#N/A</c:v>
                </c:pt>
                <c:pt idx="3376">
                  <c:v>1.4684931506849315</c:v>
                </c:pt>
                <c:pt idx="3377">
                  <c:v>#N/A</c:v>
                </c:pt>
                <c:pt idx="3378">
                  <c:v>#N/A</c:v>
                </c:pt>
                <c:pt idx="3379">
                  <c:v>1.4684931506849315</c:v>
                </c:pt>
                <c:pt idx="3380">
                  <c:v>1.4684931506849315</c:v>
                </c:pt>
                <c:pt idx="3381">
                  <c:v>1.4684931506849315</c:v>
                </c:pt>
                <c:pt idx="3382">
                  <c:v>1.4684931506849315</c:v>
                </c:pt>
                <c:pt idx="3383">
                  <c:v>#N/A</c:v>
                </c:pt>
                <c:pt idx="3384">
                  <c:v>1.4684931506849315</c:v>
                </c:pt>
                <c:pt idx="3385">
                  <c:v>1.4684931506849315</c:v>
                </c:pt>
                <c:pt idx="3386">
                  <c:v>1.4684931506849315</c:v>
                </c:pt>
                <c:pt idx="3387">
                  <c:v>1.4684931506849315</c:v>
                </c:pt>
                <c:pt idx="3388">
                  <c:v>#N/A</c:v>
                </c:pt>
                <c:pt idx="3389">
                  <c:v>1.4684931506849315</c:v>
                </c:pt>
                <c:pt idx="3390">
                  <c:v>1.4684931506849315</c:v>
                </c:pt>
                <c:pt idx="3391">
                  <c:v>#N/A</c:v>
                </c:pt>
                <c:pt idx="3392">
                  <c:v>1.4684931506849315</c:v>
                </c:pt>
                <c:pt idx="3393">
                  <c:v>#N/A</c:v>
                </c:pt>
                <c:pt idx="3394">
                  <c:v>1.4684931506849315</c:v>
                </c:pt>
                <c:pt idx="3395">
                  <c:v>1.4684931506849315</c:v>
                </c:pt>
                <c:pt idx="3396">
                  <c:v>1.4684931506849315</c:v>
                </c:pt>
                <c:pt idx="3397">
                  <c:v>1.4684931506849315</c:v>
                </c:pt>
                <c:pt idx="3398">
                  <c:v>1.4684931506849315</c:v>
                </c:pt>
                <c:pt idx="3399">
                  <c:v>1.4684931506849315</c:v>
                </c:pt>
                <c:pt idx="3400">
                  <c:v>1.4684931506849315</c:v>
                </c:pt>
                <c:pt idx="3401">
                  <c:v>1.4684931506849315</c:v>
                </c:pt>
                <c:pt idx="3402">
                  <c:v>1.4684931506849315</c:v>
                </c:pt>
                <c:pt idx="3403">
                  <c:v>1.4684931506849315</c:v>
                </c:pt>
                <c:pt idx="3404">
                  <c:v>1.4684931506849315</c:v>
                </c:pt>
                <c:pt idx="3405">
                  <c:v>1.4684931506849315</c:v>
                </c:pt>
                <c:pt idx="3406">
                  <c:v>#N/A</c:v>
                </c:pt>
                <c:pt idx="3407">
                  <c:v>#N/A</c:v>
                </c:pt>
                <c:pt idx="3408">
                  <c:v>#N/A</c:v>
                </c:pt>
                <c:pt idx="3409">
                  <c:v>#N/A</c:v>
                </c:pt>
                <c:pt idx="3410">
                  <c:v>1.4684931506849315</c:v>
                </c:pt>
                <c:pt idx="3411">
                  <c:v>1.4684931506849315</c:v>
                </c:pt>
                <c:pt idx="3412">
                  <c:v>1.4684931506849315</c:v>
                </c:pt>
                <c:pt idx="3413">
                  <c:v>1.4684931506849315</c:v>
                </c:pt>
                <c:pt idx="3414">
                  <c:v>1.4684931506849315</c:v>
                </c:pt>
                <c:pt idx="3415">
                  <c:v>1.4684931506849315</c:v>
                </c:pt>
                <c:pt idx="3416">
                  <c:v>#N/A</c:v>
                </c:pt>
                <c:pt idx="3417">
                  <c:v>1.4684931506849315</c:v>
                </c:pt>
                <c:pt idx="3418">
                  <c:v>1.4684931506849315</c:v>
                </c:pt>
                <c:pt idx="3419">
                  <c:v>1.4684931506849315</c:v>
                </c:pt>
                <c:pt idx="3420">
                  <c:v>#N/A</c:v>
                </c:pt>
                <c:pt idx="3421">
                  <c:v>1.4684931506849315</c:v>
                </c:pt>
                <c:pt idx="3422">
                  <c:v>1.4684931506849315</c:v>
                </c:pt>
                <c:pt idx="3423">
                  <c:v>#N/A</c:v>
                </c:pt>
                <c:pt idx="3424">
                  <c:v>1.4684931506849315</c:v>
                </c:pt>
                <c:pt idx="3425">
                  <c:v>1.4684931506849315</c:v>
                </c:pt>
                <c:pt idx="3426">
                  <c:v>1.4684931506849315</c:v>
                </c:pt>
                <c:pt idx="3427">
                  <c:v>1.4684931506849315</c:v>
                </c:pt>
                <c:pt idx="3428">
                  <c:v>#N/A</c:v>
                </c:pt>
                <c:pt idx="3429">
                  <c:v>1.4684931506849315</c:v>
                </c:pt>
                <c:pt idx="3430">
                  <c:v>1.4684931506849315</c:v>
                </c:pt>
                <c:pt idx="3431">
                  <c:v>1.4684931506849315</c:v>
                </c:pt>
                <c:pt idx="3432">
                  <c:v>1.4684931506849315</c:v>
                </c:pt>
                <c:pt idx="3433">
                  <c:v>1.4684931506849315</c:v>
                </c:pt>
                <c:pt idx="3434">
                  <c:v>#N/A</c:v>
                </c:pt>
                <c:pt idx="3435">
                  <c:v>1.4684931506849315</c:v>
                </c:pt>
                <c:pt idx="3436">
                  <c:v>1.4684931506849315</c:v>
                </c:pt>
                <c:pt idx="3437">
                  <c:v>1.4684931506849315</c:v>
                </c:pt>
                <c:pt idx="3438">
                  <c:v>1.4684931506849315</c:v>
                </c:pt>
                <c:pt idx="3439">
                  <c:v>#N/A</c:v>
                </c:pt>
                <c:pt idx="3440">
                  <c:v>#N/A</c:v>
                </c:pt>
                <c:pt idx="3441">
                  <c:v>#N/A</c:v>
                </c:pt>
                <c:pt idx="3442">
                  <c:v>1.4684931506849315</c:v>
                </c:pt>
                <c:pt idx="3443">
                  <c:v>#N/A</c:v>
                </c:pt>
                <c:pt idx="3444">
                  <c:v>1.4684931506849315</c:v>
                </c:pt>
                <c:pt idx="3445">
                  <c:v>#N/A</c:v>
                </c:pt>
                <c:pt idx="3446">
                  <c:v>#N/A</c:v>
                </c:pt>
                <c:pt idx="3447">
                  <c:v>#N/A</c:v>
                </c:pt>
                <c:pt idx="3448">
                  <c:v>1.4684931506849315</c:v>
                </c:pt>
                <c:pt idx="3449">
                  <c:v>#N/A</c:v>
                </c:pt>
                <c:pt idx="3450">
                  <c:v>#N/A</c:v>
                </c:pt>
                <c:pt idx="3451">
                  <c:v>1.4684931506849315</c:v>
                </c:pt>
                <c:pt idx="3452">
                  <c:v>1.4684931506849315</c:v>
                </c:pt>
                <c:pt idx="3453">
                  <c:v>1.4684931506849315</c:v>
                </c:pt>
                <c:pt idx="3454">
                  <c:v>1.4684931506849315</c:v>
                </c:pt>
                <c:pt idx="3455">
                  <c:v>1.4684931506849315</c:v>
                </c:pt>
                <c:pt idx="3456">
                  <c:v>#N/A</c:v>
                </c:pt>
                <c:pt idx="3457">
                  <c:v>1.4684931506849315</c:v>
                </c:pt>
                <c:pt idx="3458">
                  <c:v>1.4684931506849315</c:v>
                </c:pt>
                <c:pt idx="3459">
                  <c:v>#N/A</c:v>
                </c:pt>
                <c:pt idx="3460">
                  <c:v>#N/A</c:v>
                </c:pt>
                <c:pt idx="3461">
                  <c:v>#N/A</c:v>
                </c:pt>
                <c:pt idx="3462">
                  <c:v>1.4684931506849315</c:v>
                </c:pt>
                <c:pt idx="3463">
                  <c:v>1.4684931506849315</c:v>
                </c:pt>
                <c:pt idx="3464">
                  <c:v>1.4684931506849315</c:v>
                </c:pt>
                <c:pt idx="3465">
                  <c:v>1.4684931506849315</c:v>
                </c:pt>
                <c:pt idx="3466">
                  <c:v>1.4684931506849315</c:v>
                </c:pt>
                <c:pt idx="3467">
                  <c:v>#N/A</c:v>
                </c:pt>
                <c:pt idx="3468">
                  <c:v>#N/A</c:v>
                </c:pt>
                <c:pt idx="3469">
                  <c:v>1.4684931506849315</c:v>
                </c:pt>
                <c:pt idx="3470">
                  <c:v>#N/A</c:v>
                </c:pt>
                <c:pt idx="3471">
                  <c:v>1.4684931506849315</c:v>
                </c:pt>
                <c:pt idx="3472">
                  <c:v>1.4684931506849315</c:v>
                </c:pt>
                <c:pt idx="3473">
                  <c:v>1.4684931506849315</c:v>
                </c:pt>
                <c:pt idx="3474">
                  <c:v>#N/A</c:v>
                </c:pt>
                <c:pt idx="3475">
                  <c:v>1.4684931506849315</c:v>
                </c:pt>
                <c:pt idx="3476">
                  <c:v>1.4684931506849315</c:v>
                </c:pt>
                <c:pt idx="3477">
                  <c:v>#N/A</c:v>
                </c:pt>
                <c:pt idx="3478">
                  <c:v>1.4684931506849315</c:v>
                </c:pt>
                <c:pt idx="3479">
                  <c:v>1.4684931506849315</c:v>
                </c:pt>
                <c:pt idx="3480">
                  <c:v>#N/A</c:v>
                </c:pt>
                <c:pt idx="3481">
                  <c:v>1.4684931506849315</c:v>
                </c:pt>
                <c:pt idx="3482">
                  <c:v>#N/A</c:v>
                </c:pt>
                <c:pt idx="3483">
                  <c:v>1.4684931506849315</c:v>
                </c:pt>
                <c:pt idx="3484">
                  <c:v>1.4684931506849315</c:v>
                </c:pt>
                <c:pt idx="3485">
                  <c:v>1.4684931506849315</c:v>
                </c:pt>
                <c:pt idx="3486">
                  <c:v>1.4684931506849315</c:v>
                </c:pt>
                <c:pt idx="3487">
                  <c:v>1.4684931506849315</c:v>
                </c:pt>
                <c:pt idx="3488">
                  <c:v>1.4684931506849315</c:v>
                </c:pt>
                <c:pt idx="3489">
                  <c:v>1.4684931506849315</c:v>
                </c:pt>
                <c:pt idx="3490">
                  <c:v>1.4684931506849315</c:v>
                </c:pt>
                <c:pt idx="3491">
                  <c:v>#N/A</c:v>
                </c:pt>
                <c:pt idx="3492">
                  <c:v>#N/A</c:v>
                </c:pt>
                <c:pt idx="3493">
                  <c:v>1.4684931506849315</c:v>
                </c:pt>
                <c:pt idx="3494">
                  <c:v>1.4684931506849315</c:v>
                </c:pt>
                <c:pt idx="3495">
                  <c:v>1.4684931506849315</c:v>
                </c:pt>
                <c:pt idx="3496">
                  <c:v>1.4684931506849315</c:v>
                </c:pt>
                <c:pt idx="3497">
                  <c:v>1.4684931506849315</c:v>
                </c:pt>
                <c:pt idx="3498">
                  <c:v>#N/A</c:v>
                </c:pt>
                <c:pt idx="3499">
                  <c:v>1.4684931506849315</c:v>
                </c:pt>
                <c:pt idx="3500">
                  <c:v>#N/A</c:v>
                </c:pt>
                <c:pt idx="3501">
                  <c:v>#N/A</c:v>
                </c:pt>
                <c:pt idx="3502">
                  <c:v>1.4684931506849315</c:v>
                </c:pt>
                <c:pt idx="3503">
                  <c:v>1.4684931506849315</c:v>
                </c:pt>
                <c:pt idx="3504">
                  <c:v>#N/A</c:v>
                </c:pt>
                <c:pt idx="3505">
                  <c:v>1.4684931506849315</c:v>
                </c:pt>
                <c:pt idx="3506">
                  <c:v>1.4684931506849315</c:v>
                </c:pt>
                <c:pt idx="3507">
                  <c:v>1.4684931506849315</c:v>
                </c:pt>
                <c:pt idx="3508">
                  <c:v>1.4684931506849315</c:v>
                </c:pt>
                <c:pt idx="3509">
                  <c:v>#N/A</c:v>
                </c:pt>
                <c:pt idx="3510">
                  <c:v>1.4684931506849315</c:v>
                </c:pt>
                <c:pt idx="3511">
                  <c:v>1.4684931506849315</c:v>
                </c:pt>
                <c:pt idx="3512">
                  <c:v>#N/A</c:v>
                </c:pt>
                <c:pt idx="3513">
                  <c:v>1.4684931506849315</c:v>
                </c:pt>
                <c:pt idx="3514">
                  <c:v>#N/A</c:v>
                </c:pt>
                <c:pt idx="3515">
                  <c:v>#N/A</c:v>
                </c:pt>
                <c:pt idx="3516">
                  <c:v>1.4684931506849315</c:v>
                </c:pt>
                <c:pt idx="3517">
                  <c:v>#N/A</c:v>
                </c:pt>
                <c:pt idx="3518">
                  <c:v>#N/A</c:v>
                </c:pt>
                <c:pt idx="3519">
                  <c:v>1.4684931506849315</c:v>
                </c:pt>
                <c:pt idx="3520">
                  <c:v>1.4684931506849315</c:v>
                </c:pt>
                <c:pt idx="3521">
                  <c:v>1.4684931506849315</c:v>
                </c:pt>
                <c:pt idx="3522">
                  <c:v>1.4684931506849315</c:v>
                </c:pt>
                <c:pt idx="3523">
                  <c:v>1.4684931506849315</c:v>
                </c:pt>
                <c:pt idx="3524">
                  <c:v>1.4684931506849315</c:v>
                </c:pt>
                <c:pt idx="3525">
                  <c:v>1.4684931506849315</c:v>
                </c:pt>
                <c:pt idx="3526">
                  <c:v>1.4684931506849315</c:v>
                </c:pt>
                <c:pt idx="3527">
                  <c:v>1.4684931506849315</c:v>
                </c:pt>
                <c:pt idx="3528">
                  <c:v>1.4684931506849315</c:v>
                </c:pt>
                <c:pt idx="3529">
                  <c:v>1.4684931506849315</c:v>
                </c:pt>
                <c:pt idx="3530">
                  <c:v>1.4684931506849315</c:v>
                </c:pt>
                <c:pt idx="3531">
                  <c:v>#N/A</c:v>
                </c:pt>
                <c:pt idx="3532">
                  <c:v>1.4684931506849315</c:v>
                </c:pt>
                <c:pt idx="3533">
                  <c:v>1.4684931506849315</c:v>
                </c:pt>
                <c:pt idx="3534">
                  <c:v>#N/A</c:v>
                </c:pt>
                <c:pt idx="3535">
                  <c:v>1.4684931506849315</c:v>
                </c:pt>
                <c:pt idx="3536">
                  <c:v>1.4684931506849315</c:v>
                </c:pt>
                <c:pt idx="3537">
                  <c:v>1.4684931506849315</c:v>
                </c:pt>
                <c:pt idx="3538">
                  <c:v>1.4684931506849315</c:v>
                </c:pt>
                <c:pt idx="3539">
                  <c:v>#N/A</c:v>
                </c:pt>
                <c:pt idx="3540">
                  <c:v>1.4684931506849315</c:v>
                </c:pt>
                <c:pt idx="3541">
                  <c:v>1.4684931506849315</c:v>
                </c:pt>
                <c:pt idx="3542">
                  <c:v>1.4684931506849315</c:v>
                </c:pt>
                <c:pt idx="3543">
                  <c:v>1.4684931506849315</c:v>
                </c:pt>
                <c:pt idx="3544">
                  <c:v>#N/A</c:v>
                </c:pt>
                <c:pt idx="3545">
                  <c:v>1.4684931506849315</c:v>
                </c:pt>
                <c:pt idx="3546">
                  <c:v>1.4684931506849315</c:v>
                </c:pt>
                <c:pt idx="3547">
                  <c:v>1.4684931506849315</c:v>
                </c:pt>
                <c:pt idx="3548">
                  <c:v>1.4684931506849315</c:v>
                </c:pt>
                <c:pt idx="3549">
                  <c:v>1.4684931506849315</c:v>
                </c:pt>
                <c:pt idx="3550">
                  <c:v>1.4684931506849315</c:v>
                </c:pt>
                <c:pt idx="3551">
                  <c:v>#N/A</c:v>
                </c:pt>
                <c:pt idx="3552">
                  <c:v>#N/A</c:v>
                </c:pt>
                <c:pt idx="3553">
                  <c:v>#N/A</c:v>
                </c:pt>
                <c:pt idx="3554">
                  <c:v>#N/A</c:v>
                </c:pt>
                <c:pt idx="3555">
                  <c:v>1.4684931506849315</c:v>
                </c:pt>
                <c:pt idx="3556">
                  <c:v>1.4684931506849315</c:v>
                </c:pt>
                <c:pt idx="3557">
                  <c:v>1.4684931506849315</c:v>
                </c:pt>
                <c:pt idx="3558">
                  <c:v>1.4684931506849315</c:v>
                </c:pt>
                <c:pt idx="3559">
                  <c:v>#N/A</c:v>
                </c:pt>
                <c:pt idx="3560">
                  <c:v>1.4684931506849315</c:v>
                </c:pt>
                <c:pt idx="3561">
                  <c:v>1.4684931506849315</c:v>
                </c:pt>
                <c:pt idx="3562">
                  <c:v>#N/A</c:v>
                </c:pt>
                <c:pt idx="3563">
                  <c:v>1.4684931506849315</c:v>
                </c:pt>
                <c:pt idx="3564">
                  <c:v>#N/A</c:v>
                </c:pt>
                <c:pt idx="3565">
                  <c:v>1.4684931506849315</c:v>
                </c:pt>
                <c:pt idx="3566">
                  <c:v>1.4684931506849315</c:v>
                </c:pt>
                <c:pt idx="3567">
                  <c:v>1.4684931506849315</c:v>
                </c:pt>
                <c:pt idx="3568">
                  <c:v>1.4684931506849315</c:v>
                </c:pt>
                <c:pt idx="3569">
                  <c:v>1.4684931506849315</c:v>
                </c:pt>
                <c:pt idx="3570">
                  <c:v>1.4684931506849315</c:v>
                </c:pt>
                <c:pt idx="3571">
                  <c:v>#N/A</c:v>
                </c:pt>
                <c:pt idx="3572">
                  <c:v>1.4684931506849315</c:v>
                </c:pt>
                <c:pt idx="3573">
                  <c:v>1.4684931506849315</c:v>
                </c:pt>
                <c:pt idx="3574">
                  <c:v>1.4684931506849315</c:v>
                </c:pt>
                <c:pt idx="3575">
                  <c:v>1.4684931506849315</c:v>
                </c:pt>
                <c:pt idx="3576">
                  <c:v>1.4684931506849315</c:v>
                </c:pt>
                <c:pt idx="3577">
                  <c:v>1.4684931506849315</c:v>
                </c:pt>
                <c:pt idx="3578">
                  <c:v>1.4684931506849315</c:v>
                </c:pt>
                <c:pt idx="3579">
                  <c:v>1.4684931506849315</c:v>
                </c:pt>
                <c:pt idx="3580">
                  <c:v>#N/A</c:v>
                </c:pt>
                <c:pt idx="3581">
                  <c:v>1.4684931506849315</c:v>
                </c:pt>
                <c:pt idx="3582">
                  <c:v>1.4684931506849315</c:v>
                </c:pt>
                <c:pt idx="3583">
                  <c:v>1.4684931506849315</c:v>
                </c:pt>
                <c:pt idx="3584">
                  <c:v>1.4684931506849315</c:v>
                </c:pt>
                <c:pt idx="3585">
                  <c:v>1.4684931506849315</c:v>
                </c:pt>
                <c:pt idx="3586">
                  <c:v>1.4684931506849315</c:v>
                </c:pt>
                <c:pt idx="3587">
                  <c:v>1.4684931506849315</c:v>
                </c:pt>
                <c:pt idx="3588">
                  <c:v>1.4684931506849315</c:v>
                </c:pt>
                <c:pt idx="3589">
                  <c:v>1.4684931506849315</c:v>
                </c:pt>
                <c:pt idx="3590">
                  <c:v>1.4684931506849315</c:v>
                </c:pt>
                <c:pt idx="3591">
                  <c:v>1.4684931506849315</c:v>
                </c:pt>
                <c:pt idx="3592">
                  <c:v>1.4684931506849315</c:v>
                </c:pt>
                <c:pt idx="3593">
                  <c:v>#N/A</c:v>
                </c:pt>
                <c:pt idx="3594">
                  <c:v>1.4684931506849315</c:v>
                </c:pt>
                <c:pt idx="3595">
                  <c:v>1.4684931506849315</c:v>
                </c:pt>
                <c:pt idx="3596">
                  <c:v>1.4684931506849315</c:v>
                </c:pt>
                <c:pt idx="3597">
                  <c:v>1.4684931506849315</c:v>
                </c:pt>
                <c:pt idx="3598">
                  <c:v>1.4684931506849315</c:v>
                </c:pt>
                <c:pt idx="3599">
                  <c:v>1.4684931506849315</c:v>
                </c:pt>
                <c:pt idx="3600">
                  <c:v>1.4684931506849315</c:v>
                </c:pt>
                <c:pt idx="3601">
                  <c:v>1.4684931506849315</c:v>
                </c:pt>
                <c:pt idx="3602">
                  <c:v>1.4684931506849315</c:v>
                </c:pt>
                <c:pt idx="3603">
                  <c:v>#N/A</c:v>
                </c:pt>
                <c:pt idx="3604">
                  <c:v>#N/A</c:v>
                </c:pt>
                <c:pt idx="3605">
                  <c:v>#N/A</c:v>
                </c:pt>
                <c:pt idx="3606">
                  <c:v>1.4684931506849315</c:v>
                </c:pt>
                <c:pt idx="3607">
                  <c:v>#N/A</c:v>
                </c:pt>
                <c:pt idx="3608">
                  <c:v>1.4684931506849315</c:v>
                </c:pt>
                <c:pt idx="3609">
                  <c:v>1.4684931506849315</c:v>
                </c:pt>
                <c:pt idx="3610">
                  <c:v>1.4684931506849315</c:v>
                </c:pt>
                <c:pt idx="3611">
                  <c:v>1.4684931506849315</c:v>
                </c:pt>
                <c:pt idx="3612">
                  <c:v>#N/A</c:v>
                </c:pt>
                <c:pt idx="3613">
                  <c:v>1.4684931506849315</c:v>
                </c:pt>
                <c:pt idx="3614">
                  <c:v>1.4684931506849315</c:v>
                </c:pt>
                <c:pt idx="3615">
                  <c:v>1.4684931506849315</c:v>
                </c:pt>
                <c:pt idx="3616">
                  <c:v>1.4684931506849315</c:v>
                </c:pt>
                <c:pt idx="3617">
                  <c:v>1.4684931506849315</c:v>
                </c:pt>
                <c:pt idx="3618">
                  <c:v>#N/A</c:v>
                </c:pt>
                <c:pt idx="3619">
                  <c:v>1.4684931506849315</c:v>
                </c:pt>
                <c:pt idx="3620">
                  <c:v>1.4684931506849315</c:v>
                </c:pt>
                <c:pt idx="3621">
                  <c:v>1.4684931506849315</c:v>
                </c:pt>
                <c:pt idx="3622">
                  <c:v>1.4684931506849315</c:v>
                </c:pt>
                <c:pt idx="3623">
                  <c:v>#N/A</c:v>
                </c:pt>
                <c:pt idx="3624">
                  <c:v>1.4684931506849315</c:v>
                </c:pt>
                <c:pt idx="3625">
                  <c:v>1.4684931506849315</c:v>
                </c:pt>
                <c:pt idx="3626">
                  <c:v>1.4684931506849315</c:v>
                </c:pt>
                <c:pt idx="3627">
                  <c:v>1.4684931506849315</c:v>
                </c:pt>
                <c:pt idx="3628">
                  <c:v>#N/A</c:v>
                </c:pt>
                <c:pt idx="3629">
                  <c:v>1.4684931506849315</c:v>
                </c:pt>
                <c:pt idx="3630">
                  <c:v>1.4684931506849315</c:v>
                </c:pt>
                <c:pt idx="3631">
                  <c:v>1.4684931506849315</c:v>
                </c:pt>
                <c:pt idx="3632">
                  <c:v>#N/A</c:v>
                </c:pt>
                <c:pt idx="3633">
                  <c:v>1.4684931506849315</c:v>
                </c:pt>
                <c:pt idx="3634">
                  <c:v>1.4684931506849315</c:v>
                </c:pt>
                <c:pt idx="3635">
                  <c:v>1.4684931506849315</c:v>
                </c:pt>
                <c:pt idx="3636">
                  <c:v>1.4684931506849315</c:v>
                </c:pt>
                <c:pt idx="3637">
                  <c:v>1.4684931506849315</c:v>
                </c:pt>
                <c:pt idx="3638">
                  <c:v>1.4684931506849315</c:v>
                </c:pt>
                <c:pt idx="3639">
                  <c:v>#N/A</c:v>
                </c:pt>
                <c:pt idx="3640">
                  <c:v>#N/A</c:v>
                </c:pt>
                <c:pt idx="3641">
                  <c:v>#N/A</c:v>
                </c:pt>
                <c:pt idx="3642">
                  <c:v>1.4684931506849315</c:v>
                </c:pt>
                <c:pt idx="3643">
                  <c:v>1.4684931506849315</c:v>
                </c:pt>
                <c:pt idx="3644">
                  <c:v>#N/A</c:v>
                </c:pt>
                <c:pt idx="3645">
                  <c:v>1.4684931506849315</c:v>
                </c:pt>
                <c:pt idx="3646">
                  <c:v>1.4684931506849315</c:v>
                </c:pt>
                <c:pt idx="3647">
                  <c:v>1.4684931506849315</c:v>
                </c:pt>
                <c:pt idx="3648">
                  <c:v>1.4684931506849315</c:v>
                </c:pt>
                <c:pt idx="3649">
                  <c:v>1.4684931506849315</c:v>
                </c:pt>
                <c:pt idx="3650">
                  <c:v>#N/A</c:v>
                </c:pt>
                <c:pt idx="3651">
                  <c:v>1.4684931506849315</c:v>
                </c:pt>
                <c:pt idx="3652">
                  <c:v>#N/A</c:v>
                </c:pt>
                <c:pt idx="3653">
                  <c:v>1.4684931506849315</c:v>
                </c:pt>
                <c:pt idx="3654">
                  <c:v>1.4684931506849315</c:v>
                </c:pt>
                <c:pt idx="3655">
                  <c:v>#N/A</c:v>
                </c:pt>
                <c:pt idx="3656">
                  <c:v>1.4684931506849315</c:v>
                </c:pt>
                <c:pt idx="3657">
                  <c:v>#N/A</c:v>
                </c:pt>
                <c:pt idx="3658">
                  <c:v>1.4684931506849315</c:v>
                </c:pt>
                <c:pt idx="3659">
                  <c:v>1.4684931506849315</c:v>
                </c:pt>
                <c:pt idx="3660">
                  <c:v>1.4684931506849315</c:v>
                </c:pt>
                <c:pt idx="3661">
                  <c:v>1.4684931506849315</c:v>
                </c:pt>
                <c:pt idx="3662">
                  <c:v>#N/A</c:v>
                </c:pt>
                <c:pt idx="3663">
                  <c:v>#N/A</c:v>
                </c:pt>
                <c:pt idx="3664">
                  <c:v>1.4684931506849315</c:v>
                </c:pt>
                <c:pt idx="3665">
                  <c:v>1.4684931506849315</c:v>
                </c:pt>
                <c:pt idx="3666">
                  <c:v>1.4684931506849315</c:v>
                </c:pt>
                <c:pt idx="3667">
                  <c:v>#N/A</c:v>
                </c:pt>
                <c:pt idx="3668">
                  <c:v>1.4684931506849315</c:v>
                </c:pt>
                <c:pt idx="3669">
                  <c:v>1.4684931506849315</c:v>
                </c:pt>
                <c:pt idx="3670">
                  <c:v>1.4684931506849315</c:v>
                </c:pt>
                <c:pt idx="3671">
                  <c:v>1.4684931506849315</c:v>
                </c:pt>
                <c:pt idx="3672">
                  <c:v>1.4684931506849315</c:v>
                </c:pt>
                <c:pt idx="3673">
                  <c:v>1.4684931506849315</c:v>
                </c:pt>
                <c:pt idx="3674">
                  <c:v>1.4684931506849315</c:v>
                </c:pt>
                <c:pt idx="3675">
                  <c:v>#N/A</c:v>
                </c:pt>
                <c:pt idx="3676">
                  <c:v>1.4684931506849315</c:v>
                </c:pt>
                <c:pt idx="3677">
                  <c:v>1.4684931506849315</c:v>
                </c:pt>
                <c:pt idx="3678">
                  <c:v>#N/A</c:v>
                </c:pt>
                <c:pt idx="3679">
                  <c:v>#N/A</c:v>
                </c:pt>
                <c:pt idx="3680">
                  <c:v>1.4684931506849315</c:v>
                </c:pt>
                <c:pt idx="3681">
                  <c:v>#N/A</c:v>
                </c:pt>
                <c:pt idx="3682">
                  <c:v>#N/A</c:v>
                </c:pt>
                <c:pt idx="3683">
                  <c:v>#N/A</c:v>
                </c:pt>
                <c:pt idx="3684">
                  <c:v>#N/A</c:v>
                </c:pt>
                <c:pt idx="3685">
                  <c:v>1.4684931506849315</c:v>
                </c:pt>
                <c:pt idx="3686">
                  <c:v>#N/A</c:v>
                </c:pt>
                <c:pt idx="3687">
                  <c:v>#N/A</c:v>
                </c:pt>
                <c:pt idx="3688">
                  <c:v>#N/A</c:v>
                </c:pt>
                <c:pt idx="3689">
                  <c:v>1.4684931506849315</c:v>
                </c:pt>
                <c:pt idx="3690">
                  <c:v>1.4684931506849315</c:v>
                </c:pt>
                <c:pt idx="3691">
                  <c:v>#N/A</c:v>
                </c:pt>
                <c:pt idx="3692">
                  <c:v>#N/A</c:v>
                </c:pt>
                <c:pt idx="3693">
                  <c:v>1.4684931506849315</c:v>
                </c:pt>
                <c:pt idx="3694">
                  <c:v>1.4684931506849315</c:v>
                </c:pt>
                <c:pt idx="3695">
                  <c:v>1.4684931506849315</c:v>
                </c:pt>
                <c:pt idx="3696">
                  <c:v>1.4684931506849315</c:v>
                </c:pt>
                <c:pt idx="3697">
                  <c:v>1.4684931506849315</c:v>
                </c:pt>
                <c:pt idx="3698">
                  <c:v>1.4684931506849315</c:v>
                </c:pt>
                <c:pt idx="3699">
                  <c:v>1.4684931506849315</c:v>
                </c:pt>
                <c:pt idx="3700">
                  <c:v>1.4684931506849315</c:v>
                </c:pt>
                <c:pt idx="3701">
                  <c:v>1.4684931506849315</c:v>
                </c:pt>
                <c:pt idx="3702">
                  <c:v>#N/A</c:v>
                </c:pt>
                <c:pt idx="3703">
                  <c:v>#N/A</c:v>
                </c:pt>
                <c:pt idx="3704">
                  <c:v>#N/A</c:v>
                </c:pt>
                <c:pt idx="3705">
                  <c:v>#N/A</c:v>
                </c:pt>
                <c:pt idx="3706">
                  <c:v>#N/A</c:v>
                </c:pt>
                <c:pt idx="3707">
                  <c:v>1.4684931506849315</c:v>
                </c:pt>
                <c:pt idx="3708">
                  <c:v>1.4684931506849315</c:v>
                </c:pt>
                <c:pt idx="3709">
                  <c:v>#N/A</c:v>
                </c:pt>
                <c:pt idx="3710">
                  <c:v>1.4684931506849315</c:v>
                </c:pt>
                <c:pt idx="3711">
                  <c:v>1.4684931506849315</c:v>
                </c:pt>
                <c:pt idx="3712">
                  <c:v>1.4684931506849315</c:v>
                </c:pt>
                <c:pt idx="3713">
                  <c:v>#N/A</c:v>
                </c:pt>
                <c:pt idx="3714">
                  <c:v>#N/A</c:v>
                </c:pt>
                <c:pt idx="3715">
                  <c:v>#N/A</c:v>
                </c:pt>
                <c:pt idx="3716">
                  <c:v>#N/A</c:v>
                </c:pt>
                <c:pt idx="3717">
                  <c:v>#N/A</c:v>
                </c:pt>
                <c:pt idx="3718">
                  <c:v>1.4684931506849315</c:v>
                </c:pt>
                <c:pt idx="3719">
                  <c:v>1.4684931506849315</c:v>
                </c:pt>
                <c:pt idx="3720">
                  <c:v>#N/A</c:v>
                </c:pt>
                <c:pt idx="3721">
                  <c:v>1.4684931506849315</c:v>
                </c:pt>
                <c:pt idx="3722">
                  <c:v>1.4684931506849315</c:v>
                </c:pt>
                <c:pt idx="3723">
                  <c:v>1.4684931506849315</c:v>
                </c:pt>
                <c:pt idx="3724">
                  <c:v>1.4684931506849315</c:v>
                </c:pt>
                <c:pt idx="3725">
                  <c:v>1.4684931506849315</c:v>
                </c:pt>
                <c:pt idx="3726">
                  <c:v>#N/A</c:v>
                </c:pt>
                <c:pt idx="3727">
                  <c:v>1.4684931506849315</c:v>
                </c:pt>
                <c:pt idx="3728">
                  <c:v>1.4684931506849315</c:v>
                </c:pt>
                <c:pt idx="3729">
                  <c:v>#N/A</c:v>
                </c:pt>
                <c:pt idx="3730">
                  <c:v>#N/A</c:v>
                </c:pt>
                <c:pt idx="3731">
                  <c:v>1.4684931506849315</c:v>
                </c:pt>
                <c:pt idx="3732">
                  <c:v>1.4684931506849315</c:v>
                </c:pt>
                <c:pt idx="3733">
                  <c:v>1.4684931506849315</c:v>
                </c:pt>
                <c:pt idx="3734">
                  <c:v>1.4684931506849315</c:v>
                </c:pt>
                <c:pt idx="3735">
                  <c:v>#N/A</c:v>
                </c:pt>
                <c:pt idx="3736">
                  <c:v>1.4684931506849315</c:v>
                </c:pt>
                <c:pt idx="3737">
                  <c:v>#N/A</c:v>
                </c:pt>
                <c:pt idx="3738">
                  <c:v>1.4684931506849315</c:v>
                </c:pt>
                <c:pt idx="3739">
                  <c:v>1.4684931506849315</c:v>
                </c:pt>
                <c:pt idx="3740">
                  <c:v>1.4684931506849315</c:v>
                </c:pt>
                <c:pt idx="3741">
                  <c:v>#N/A</c:v>
                </c:pt>
                <c:pt idx="3742">
                  <c:v>1.4684931506849315</c:v>
                </c:pt>
                <c:pt idx="3743">
                  <c:v>1.4684931506849315</c:v>
                </c:pt>
                <c:pt idx="3744">
                  <c:v>1.4684931506849315</c:v>
                </c:pt>
                <c:pt idx="3745">
                  <c:v>1.4684931506849315</c:v>
                </c:pt>
                <c:pt idx="3746">
                  <c:v>1.4684931506849315</c:v>
                </c:pt>
                <c:pt idx="3747">
                  <c:v>#N/A</c:v>
                </c:pt>
                <c:pt idx="3748">
                  <c:v>1.4684931506849315</c:v>
                </c:pt>
                <c:pt idx="3749">
                  <c:v>1.4684931506849315</c:v>
                </c:pt>
                <c:pt idx="3750">
                  <c:v>1.4684931506849315</c:v>
                </c:pt>
                <c:pt idx="3751">
                  <c:v>#N/A</c:v>
                </c:pt>
                <c:pt idx="3752">
                  <c:v>1.4684931506849315</c:v>
                </c:pt>
                <c:pt idx="3753">
                  <c:v>#N/A</c:v>
                </c:pt>
                <c:pt idx="3754">
                  <c:v>#N/A</c:v>
                </c:pt>
                <c:pt idx="3755">
                  <c:v>1.4684931506849315</c:v>
                </c:pt>
                <c:pt idx="3756">
                  <c:v>#N/A</c:v>
                </c:pt>
                <c:pt idx="3757">
                  <c:v>1.4684931506849315</c:v>
                </c:pt>
                <c:pt idx="3758">
                  <c:v>#N/A</c:v>
                </c:pt>
                <c:pt idx="3759">
                  <c:v>#N/A</c:v>
                </c:pt>
                <c:pt idx="3760">
                  <c:v>1.4684931506849315</c:v>
                </c:pt>
                <c:pt idx="3761">
                  <c:v>#N/A</c:v>
                </c:pt>
                <c:pt idx="3762">
                  <c:v>#N/A</c:v>
                </c:pt>
                <c:pt idx="3763">
                  <c:v>#N/A</c:v>
                </c:pt>
                <c:pt idx="3764">
                  <c:v>1.4684931506849315</c:v>
                </c:pt>
                <c:pt idx="3765">
                  <c:v>#N/A</c:v>
                </c:pt>
                <c:pt idx="3766">
                  <c:v>1.4684931506849315</c:v>
                </c:pt>
                <c:pt idx="3767">
                  <c:v>1.4684931506849315</c:v>
                </c:pt>
                <c:pt idx="3768">
                  <c:v>#N/A</c:v>
                </c:pt>
                <c:pt idx="3769">
                  <c:v>#N/A</c:v>
                </c:pt>
                <c:pt idx="3770">
                  <c:v>1.4684931506849315</c:v>
                </c:pt>
                <c:pt idx="3771">
                  <c:v>#N/A</c:v>
                </c:pt>
                <c:pt idx="3772">
                  <c:v>1.4684931506849315</c:v>
                </c:pt>
                <c:pt idx="3773">
                  <c:v>#N/A</c:v>
                </c:pt>
                <c:pt idx="3774">
                  <c:v>1.4684931506849315</c:v>
                </c:pt>
                <c:pt idx="3775">
                  <c:v>#N/A</c:v>
                </c:pt>
                <c:pt idx="3776">
                  <c:v>1.4684931506849315</c:v>
                </c:pt>
                <c:pt idx="3777">
                  <c:v>1.4684931506849315</c:v>
                </c:pt>
                <c:pt idx="3778">
                  <c:v>#N/A</c:v>
                </c:pt>
                <c:pt idx="3779">
                  <c:v>1.4684931506849315</c:v>
                </c:pt>
                <c:pt idx="3780">
                  <c:v>1.4684931506849315</c:v>
                </c:pt>
                <c:pt idx="3781">
                  <c:v>#N/A</c:v>
                </c:pt>
                <c:pt idx="3782">
                  <c:v>1.4684931506849315</c:v>
                </c:pt>
                <c:pt idx="3783">
                  <c:v>#N/A</c:v>
                </c:pt>
                <c:pt idx="3784">
                  <c:v>1.4684931506849315</c:v>
                </c:pt>
                <c:pt idx="3785">
                  <c:v>1.4684931506849315</c:v>
                </c:pt>
                <c:pt idx="3786">
                  <c:v>#N/A</c:v>
                </c:pt>
                <c:pt idx="3787">
                  <c:v>#N/A</c:v>
                </c:pt>
                <c:pt idx="3788">
                  <c:v>1.4684931506849315</c:v>
                </c:pt>
                <c:pt idx="3789">
                  <c:v>1.4684931506849315</c:v>
                </c:pt>
                <c:pt idx="3790">
                  <c:v>#N/A</c:v>
                </c:pt>
                <c:pt idx="3791">
                  <c:v>#N/A</c:v>
                </c:pt>
                <c:pt idx="3792">
                  <c:v>#N/A</c:v>
                </c:pt>
                <c:pt idx="3793">
                  <c:v>1.4684931506849315</c:v>
                </c:pt>
                <c:pt idx="3794">
                  <c:v>1.4684931506849315</c:v>
                </c:pt>
                <c:pt idx="3795">
                  <c:v>1.4684931506849315</c:v>
                </c:pt>
                <c:pt idx="3796">
                  <c:v>1.4684931506849315</c:v>
                </c:pt>
                <c:pt idx="3797">
                  <c:v>#N/A</c:v>
                </c:pt>
                <c:pt idx="3798">
                  <c:v>1.4684931506849315</c:v>
                </c:pt>
                <c:pt idx="3799">
                  <c:v>1.4684931506849315</c:v>
                </c:pt>
                <c:pt idx="3800">
                  <c:v>#N/A</c:v>
                </c:pt>
                <c:pt idx="3801">
                  <c:v>1.4684931506849315</c:v>
                </c:pt>
                <c:pt idx="3802">
                  <c:v>#N/A</c:v>
                </c:pt>
                <c:pt idx="3803">
                  <c:v>#N/A</c:v>
                </c:pt>
                <c:pt idx="3804">
                  <c:v>1.4684931506849315</c:v>
                </c:pt>
                <c:pt idx="3805">
                  <c:v>1.4684931506849315</c:v>
                </c:pt>
                <c:pt idx="3806">
                  <c:v>#N/A</c:v>
                </c:pt>
                <c:pt idx="3807">
                  <c:v>1.4684931506849315</c:v>
                </c:pt>
                <c:pt idx="3808">
                  <c:v>1.4684931506849315</c:v>
                </c:pt>
                <c:pt idx="3809">
                  <c:v>1.4684931506849315</c:v>
                </c:pt>
                <c:pt idx="3810">
                  <c:v>1.4684931506849315</c:v>
                </c:pt>
                <c:pt idx="3811">
                  <c:v>1.4684931506849315</c:v>
                </c:pt>
                <c:pt idx="3812">
                  <c:v>1.4684931506849315</c:v>
                </c:pt>
                <c:pt idx="3813">
                  <c:v>1.4684931506849315</c:v>
                </c:pt>
                <c:pt idx="3814">
                  <c:v>1.4684931506849315</c:v>
                </c:pt>
                <c:pt idx="3815">
                  <c:v>1.4684931506849315</c:v>
                </c:pt>
                <c:pt idx="3816">
                  <c:v>#N/A</c:v>
                </c:pt>
                <c:pt idx="3817">
                  <c:v>1.4684931506849315</c:v>
                </c:pt>
                <c:pt idx="3818">
                  <c:v>1.4684931506849315</c:v>
                </c:pt>
                <c:pt idx="3819">
                  <c:v>1.4684931506849315</c:v>
                </c:pt>
                <c:pt idx="3820">
                  <c:v>#N/A</c:v>
                </c:pt>
                <c:pt idx="3821">
                  <c:v>#N/A</c:v>
                </c:pt>
                <c:pt idx="3822">
                  <c:v>1.4684931506849315</c:v>
                </c:pt>
                <c:pt idx="3823">
                  <c:v>1.4684931506849315</c:v>
                </c:pt>
                <c:pt idx="3824">
                  <c:v>1.4684931506849315</c:v>
                </c:pt>
                <c:pt idx="3825">
                  <c:v>#N/A</c:v>
                </c:pt>
                <c:pt idx="3826">
                  <c:v>#N/A</c:v>
                </c:pt>
                <c:pt idx="3827">
                  <c:v>1.4684931506849315</c:v>
                </c:pt>
                <c:pt idx="3828">
                  <c:v>#N/A</c:v>
                </c:pt>
                <c:pt idx="3829">
                  <c:v>1.4684931506849315</c:v>
                </c:pt>
                <c:pt idx="3830">
                  <c:v>1.4684931506849315</c:v>
                </c:pt>
                <c:pt idx="3831">
                  <c:v>#N/A</c:v>
                </c:pt>
                <c:pt idx="3832">
                  <c:v>#N/A</c:v>
                </c:pt>
                <c:pt idx="3833">
                  <c:v>1.4684931506849315</c:v>
                </c:pt>
                <c:pt idx="3834">
                  <c:v>#N/A</c:v>
                </c:pt>
                <c:pt idx="3835">
                  <c:v>1.4684931506849315</c:v>
                </c:pt>
                <c:pt idx="3836">
                  <c:v>1.4684931506849315</c:v>
                </c:pt>
                <c:pt idx="3837">
                  <c:v>1.4684931506849315</c:v>
                </c:pt>
                <c:pt idx="3838">
                  <c:v>#N/A</c:v>
                </c:pt>
                <c:pt idx="3839">
                  <c:v>1.4684931506849315</c:v>
                </c:pt>
                <c:pt idx="3840">
                  <c:v>#N/A</c:v>
                </c:pt>
                <c:pt idx="3841">
                  <c:v>1.4684931506849315</c:v>
                </c:pt>
                <c:pt idx="3842">
                  <c:v>#N/A</c:v>
                </c:pt>
                <c:pt idx="3843">
                  <c:v>1.4684931506849315</c:v>
                </c:pt>
                <c:pt idx="3844">
                  <c:v>#N/A</c:v>
                </c:pt>
                <c:pt idx="3845">
                  <c:v>#N/A</c:v>
                </c:pt>
                <c:pt idx="3846">
                  <c:v>1.4684931506849315</c:v>
                </c:pt>
                <c:pt idx="3847">
                  <c:v>1.4684931506849315</c:v>
                </c:pt>
                <c:pt idx="3848">
                  <c:v>1.4684931506849315</c:v>
                </c:pt>
                <c:pt idx="3849">
                  <c:v>1.4684931506849315</c:v>
                </c:pt>
                <c:pt idx="3850">
                  <c:v>#N/A</c:v>
                </c:pt>
                <c:pt idx="3851">
                  <c:v>1.4684931506849315</c:v>
                </c:pt>
                <c:pt idx="3852">
                  <c:v>1.4684931506849315</c:v>
                </c:pt>
                <c:pt idx="3853">
                  <c:v>1.4684931506849315</c:v>
                </c:pt>
                <c:pt idx="3854">
                  <c:v>1.4684931506849315</c:v>
                </c:pt>
                <c:pt idx="3855">
                  <c:v>1.4684931506849315</c:v>
                </c:pt>
                <c:pt idx="3856">
                  <c:v>#N/A</c:v>
                </c:pt>
                <c:pt idx="3857">
                  <c:v>#N/A</c:v>
                </c:pt>
                <c:pt idx="3858">
                  <c:v>1.4684931506849315</c:v>
                </c:pt>
                <c:pt idx="3859">
                  <c:v>1.4684931506849315</c:v>
                </c:pt>
                <c:pt idx="3860">
                  <c:v>#N/A</c:v>
                </c:pt>
                <c:pt idx="3861">
                  <c:v>#N/A</c:v>
                </c:pt>
                <c:pt idx="3862">
                  <c:v>1.4684931506849315</c:v>
                </c:pt>
                <c:pt idx="3863">
                  <c:v>1.4684931506849315</c:v>
                </c:pt>
                <c:pt idx="3864">
                  <c:v>1.4684931506849315</c:v>
                </c:pt>
                <c:pt idx="3865">
                  <c:v>1.4684931506849315</c:v>
                </c:pt>
                <c:pt idx="3866">
                  <c:v>1.4684931506849315</c:v>
                </c:pt>
                <c:pt idx="3867">
                  <c:v>1.4684931506849315</c:v>
                </c:pt>
                <c:pt idx="3868">
                  <c:v>1.4684931506849315</c:v>
                </c:pt>
                <c:pt idx="3869">
                  <c:v>1.4684931506849315</c:v>
                </c:pt>
                <c:pt idx="3870">
                  <c:v>1.4684931506849315</c:v>
                </c:pt>
                <c:pt idx="3871">
                  <c:v>1.4684931506849315</c:v>
                </c:pt>
                <c:pt idx="3872">
                  <c:v>1.4684931506849315</c:v>
                </c:pt>
                <c:pt idx="3873">
                  <c:v>1.4684931506849315</c:v>
                </c:pt>
                <c:pt idx="3874">
                  <c:v>1.4684931506849315</c:v>
                </c:pt>
                <c:pt idx="3875">
                  <c:v>1.4684931506849315</c:v>
                </c:pt>
                <c:pt idx="3876">
                  <c:v>1.4684931506849315</c:v>
                </c:pt>
                <c:pt idx="3877">
                  <c:v>#N/A</c:v>
                </c:pt>
                <c:pt idx="3878">
                  <c:v>1.4684931506849315</c:v>
                </c:pt>
                <c:pt idx="3879">
                  <c:v>1.4684931506849315</c:v>
                </c:pt>
                <c:pt idx="3880">
                  <c:v>#N/A</c:v>
                </c:pt>
                <c:pt idx="3881">
                  <c:v>1.4684931506849315</c:v>
                </c:pt>
                <c:pt idx="3882">
                  <c:v>1.4684931506849315</c:v>
                </c:pt>
                <c:pt idx="3883">
                  <c:v>1.4684931506849315</c:v>
                </c:pt>
                <c:pt idx="3884">
                  <c:v>1.4684931506849315</c:v>
                </c:pt>
                <c:pt idx="3885">
                  <c:v>#N/A</c:v>
                </c:pt>
                <c:pt idx="3886">
                  <c:v>1.4684931506849315</c:v>
                </c:pt>
                <c:pt idx="3887">
                  <c:v>1.4684931506849315</c:v>
                </c:pt>
                <c:pt idx="3888">
                  <c:v>1.4684931506849315</c:v>
                </c:pt>
                <c:pt idx="3889">
                  <c:v>#N/A</c:v>
                </c:pt>
                <c:pt idx="3890">
                  <c:v>#N/A</c:v>
                </c:pt>
                <c:pt idx="3891">
                  <c:v>1.4684931506849315</c:v>
                </c:pt>
                <c:pt idx="3892">
                  <c:v>1.4684931506849315</c:v>
                </c:pt>
                <c:pt idx="3893">
                  <c:v>1.4684931506849315</c:v>
                </c:pt>
                <c:pt idx="3894">
                  <c:v>#N/A</c:v>
                </c:pt>
                <c:pt idx="3895">
                  <c:v>1.4684931506849315</c:v>
                </c:pt>
                <c:pt idx="3896">
                  <c:v>1.4684931506849315</c:v>
                </c:pt>
                <c:pt idx="3897">
                  <c:v>1.4684931506849315</c:v>
                </c:pt>
                <c:pt idx="3898">
                  <c:v>1.4684931506849315</c:v>
                </c:pt>
                <c:pt idx="3899">
                  <c:v>1.4684931506849315</c:v>
                </c:pt>
                <c:pt idx="3900">
                  <c:v>1.4684931506849315</c:v>
                </c:pt>
                <c:pt idx="3901">
                  <c:v>1.4684931506849315</c:v>
                </c:pt>
                <c:pt idx="3902">
                  <c:v>#N/A</c:v>
                </c:pt>
                <c:pt idx="3903">
                  <c:v>#N/A</c:v>
                </c:pt>
                <c:pt idx="3904">
                  <c:v>1.4684931506849315</c:v>
                </c:pt>
                <c:pt idx="3905">
                  <c:v>1.4684931506849315</c:v>
                </c:pt>
                <c:pt idx="3906">
                  <c:v>1.4684931506849315</c:v>
                </c:pt>
                <c:pt idx="3907">
                  <c:v>1.4684931506849315</c:v>
                </c:pt>
                <c:pt idx="3908">
                  <c:v>1.4684931506849315</c:v>
                </c:pt>
                <c:pt idx="3909">
                  <c:v>#N/A</c:v>
                </c:pt>
                <c:pt idx="3910">
                  <c:v>1.4684931506849315</c:v>
                </c:pt>
                <c:pt idx="3911">
                  <c:v>#N/A</c:v>
                </c:pt>
                <c:pt idx="3912">
                  <c:v>1.4712328767123288</c:v>
                </c:pt>
                <c:pt idx="3913">
                  <c:v>1.4712328767123288</c:v>
                </c:pt>
                <c:pt idx="3914">
                  <c:v>#N/A</c:v>
                </c:pt>
                <c:pt idx="3915">
                  <c:v>1.4712328767123288</c:v>
                </c:pt>
                <c:pt idx="3916">
                  <c:v>#N/A</c:v>
                </c:pt>
                <c:pt idx="3917">
                  <c:v>#N/A</c:v>
                </c:pt>
                <c:pt idx="3918">
                  <c:v>#N/A</c:v>
                </c:pt>
                <c:pt idx="3919">
                  <c:v>#N/A</c:v>
                </c:pt>
                <c:pt idx="3920">
                  <c:v>#N/A</c:v>
                </c:pt>
                <c:pt idx="3921">
                  <c:v>#N/A</c:v>
                </c:pt>
                <c:pt idx="3922">
                  <c:v>1.4712328767123288</c:v>
                </c:pt>
                <c:pt idx="3923">
                  <c:v>1.4712328767123288</c:v>
                </c:pt>
                <c:pt idx="3924">
                  <c:v>#N/A</c:v>
                </c:pt>
                <c:pt idx="3925">
                  <c:v>#N/A</c:v>
                </c:pt>
                <c:pt idx="3926">
                  <c:v>#N/A</c:v>
                </c:pt>
                <c:pt idx="3927">
                  <c:v>1.4712328767123288</c:v>
                </c:pt>
                <c:pt idx="3928">
                  <c:v>1.4712328767123288</c:v>
                </c:pt>
                <c:pt idx="3929">
                  <c:v>#N/A</c:v>
                </c:pt>
                <c:pt idx="3930">
                  <c:v>#N/A</c:v>
                </c:pt>
                <c:pt idx="3931">
                  <c:v>#N/A</c:v>
                </c:pt>
                <c:pt idx="3932">
                  <c:v>1.473972602739726</c:v>
                </c:pt>
                <c:pt idx="3933">
                  <c:v>1.473972602739726</c:v>
                </c:pt>
                <c:pt idx="3934">
                  <c:v>1.4794520547945205</c:v>
                </c:pt>
                <c:pt idx="3935">
                  <c:v>#N/A</c:v>
                </c:pt>
                <c:pt idx="3936">
                  <c:v>#N/A</c:v>
                </c:pt>
                <c:pt idx="3937">
                  <c:v>#N/A</c:v>
                </c:pt>
                <c:pt idx="3938">
                  <c:v>#N/A</c:v>
                </c:pt>
                <c:pt idx="3939">
                  <c:v>1.4904109589041097</c:v>
                </c:pt>
                <c:pt idx="3940">
                  <c:v>1.4904109589041097</c:v>
                </c:pt>
                <c:pt idx="3941">
                  <c:v>#N/A</c:v>
                </c:pt>
                <c:pt idx="3942">
                  <c:v>1.4904109589041097</c:v>
                </c:pt>
                <c:pt idx="3943">
                  <c:v>1.4904109589041097</c:v>
                </c:pt>
                <c:pt idx="3944">
                  <c:v>1.4904109589041097</c:v>
                </c:pt>
                <c:pt idx="3945">
                  <c:v>#N/A</c:v>
                </c:pt>
                <c:pt idx="3946">
                  <c:v>#N/A</c:v>
                </c:pt>
                <c:pt idx="3947">
                  <c:v>#N/A</c:v>
                </c:pt>
                <c:pt idx="3948">
                  <c:v>1.4931506849315068</c:v>
                </c:pt>
                <c:pt idx="3949">
                  <c:v>#N/A</c:v>
                </c:pt>
                <c:pt idx="3950">
                  <c:v>#N/A</c:v>
                </c:pt>
                <c:pt idx="3951">
                  <c:v>1.4986301369863013</c:v>
                </c:pt>
                <c:pt idx="3952">
                  <c:v>1.4986301369863013</c:v>
                </c:pt>
                <c:pt idx="3953">
                  <c:v>#N/A</c:v>
                </c:pt>
                <c:pt idx="3954">
                  <c:v>1.5013698630136987</c:v>
                </c:pt>
                <c:pt idx="3955">
                  <c:v>1.5013698630136987</c:v>
                </c:pt>
                <c:pt idx="3956">
                  <c:v>#N/A</c:v>
                </c:pt>
                <c:pt idx="3957">
                  <c:v>#N/A</c:v>
                </c:pt>
                <c:pt idx="3958">
                  <c:v>#N/A</c:v>
                </c:pt>
                <c:pt idx="3959">
                  <c:v>1.5095890410958903</c:v>
                </c:pt>
                <c:pt idx="3960">
                  <c:v>#N/A</c:v>
                </c:pt>
                <c:pt idx="3961">
                  <c:v>#N/A</c:v>
                </c:pt>
                <c:pt idx="3962">
                  <c:v>#N/A</c:v>
                </c:pt>
                <c:pt idx="3963">
                  <c:v>#N/A</c:v>
                </c:pt>
                <c:pt idx="3964">
                  <c:v>1.5095890410958903</c:v>
                </c:pt>
                <c:pt idx="3965">
                  <c:v>1.5095890410958903</c:v>
                </c:pt>
                <c:pt idx="3966">
                  <c:v>1.5095890410958903</c:v>
                </c:pt>
                <c:pt idx="3967">
                  <c:v>#N/A</c:v>
                </c:pt>
                <c:pt idx="3968">
                  <c:v>#N/A</c:v>
                </c:pt>
                <c:pt idx="3969">
                  <c:v>1.5123287671232877</c:v>
                </c:pt>
                <c:pt idx="3970">
                  <c:v>1.5123287671232877</c:v>
                </c:pt>
                <c:pt idx="3971">
                  <c:v>1.5123287671232877</c:v>
                </c:pt>
                <c:pt idx="3972">
                  <c:v>#N/A</c:v>
                </c:pt>
                <c:pt idx="3973">
                  <c:v>1.515068493150685</c:v>
                </c:pt>
                <c:pt idx="3974">
                  <c:v>#N/A</c:v>
                </c:pt>
                <c:pt idx="3975">
                  <c:v>#N/A</c:v>
                </c:pt>
                <c:pt idx="3976">
                  <c:v>#N/A</c:v>
                </c:pt>
                <c:pt idx="3977">
                  <c:v>#N/A</c:v>
                </c:pt>
                <c:pt idx="3978">
                  <c:v>#N/A</c:v>
                </c:pt>
                <c:pt idx="3979">
                  <c:v>1.515068493150685</c:v>
                </c:pt>
                <c:pt idx="3980">
                  <c:v>1.515068493150685</c:v>
                </c:pt>
                <c:pt idx="3981">
                  <c:v>1.515068493150685</c:v>
                </c:pt>
                <c:pt idx="3982">
                  <c:v>#N/A</c:v>
                </c:pt>
                <c:pt idx="3983">
                  <c:v>1.515068493150685</c:v>
                </c:pt>
                <c:pt idx="3984">
                  <c:v>#N/A</c:v>
                </c:pt>
                <c:pt idx="3985">
                  <c:v>1.515068493150685</c:v>
                </c:pt>
                <c:pt idx="3986">
                  <c:v>1.5178082191780822</c:v>
                </c:pt>
                <c:pt idx="3987">
                  <c:v>#N/A</c:v>
                </c:pt>
                <c:pt idx="3988">
                  <c:v>1.5178082191780822</c:v>
                </c:pt>
                <c:pt idx="3989">
                  <c:v>1.5178082191780822</c:v>
                </c:pt>
                <c:pt idx="3990">
                  <c:v>1.5178082191780822</c:v>
                </c:pt>
                <c:pt idx="3991">
                  <c:v>1.5178082191780822</c:v>
                </c:pt>
                <c:pt idx="3992">
                  <c:v>1.5178082191780822</c:v>
                </c:pt>
                <c:pt idx="3993">
                  <c:v>1.5178082191780822</c:v>
                </c:pt>
                <c:pt idx="3994">
                  <c:v>1.5178082191780822</c:v>
                </c:pt>
                <c:pt idx="3995">
                  <c:v>1.5178082191780822</c:v>
                </c:pt>
                <c:pt idx="3996">
                  <c:v>#N/A</c:v>
                </c:pt>
                <c:pt idx="3997">
                  <c:v>1.5178082191780822</c:v>
                </c:pt>
                <c:pt idx="3998">
                  <c:v>#N/A</c:v>
                </c:pt>
                <c:pt idx="3999">
                  <c:v>1.5178082191780822</c:v>
                </c:pt>
                <c:pt idx="4000">
                  <c:v>#N/A</c:v>
                </c:pt>
                <c:pt idx="4001">
                  <c:v>#N/A</c:v>
                </c:pt>
                <c:pt idx="4002">
                  <c:v>1.5178082191780822</c:v>
                </c:pt>
                <c:pt idx="4003">
                  <c:v>#N/A</c:v>
                </c:pt>
                <c:pt idx="4004">
                  <c:v>#N/A</c:v>
                </c:pt>
                <c:pt idx="4005">
                  <c:v>1.5178082191780822</c:v>
                </c:pt>
                <c:pt idx="4006">
                  <c:v>#N/A</c:v>
                </c:pt>
                <c:pt idx="4007">
                  <c:v>#N/A</c:v>
                </c:pt>
                <c:pt idx="4008">
                  <c:v>1.5205479452054795</c:v>
                </c:pt>
                <c:pt idx="4009">
                  <c:v>1.5205479452054795</c:v>
                </c:pt>
                <c:pt idx="4010">
                  <c:v>1.5205479452054795</c:v>
                </c:pt>
                <c:pt idx="4011">
                  <c:v>1.5205479452054795</c:v>
                </c:pt>
                <c:pt idx="4012">
                  <c:v>#N/A</c:v>
                </c:pt>
                <c:pt idx="4013">
                  <c:v>#N/A</c:v>
                </c:pt>
                <c:pt idx="4014">
                  <c:v>1.5205479452054795</c:v>
                </c:pt>
                <c:pt idx="4015">
                  <c:v>1.5205479452054795</c:v>
                </c:pt>
                <c:pt idx="4016">
                  <c:v>1.5205479452054795</c:v>
                </c:pt>
                <c:pt idx="4017">
                  <c:v>1.5205479452054795</c:v>
                </c:pt>
                <c:pt idx="4018">
                  <c:v>1.5205479452054795</c:v>
                </c:pt>
                <c:pt idx="4019">
                  <c:v>1.5205479452054795</c:v>
                </c:pt>
                <c:pt idx="4020">
                  <c:v>1.5205479452054795</c:v>
                </c:pt>
                <c:pt idx="4021">
                  <c:v>1.5205479452054795</c:v>
                </c:pt>
                <c:pt idx="4022">
                  <c:v>#N/A</c:v>
                </c:pt>
                <c:pt idx="4023">
                  <c:v>#N/A</c:v>
                </c:pt>
                <c:pt idx="4024">
                  <c:v>1.5205479452054795</c:v>
                </c:pt>
                <c:pt idx="4025">
                  <c:v>1.5205479452054795</c:v>
                </c:pt>
                <c:pt idx="4026">
                  <c:v>1.5205479452054795</c:v>
                </c:pt>
                <c:pt idx="4027">
                  <c:v>#N/A</c:v>
                </c:pt>
                <c:pt idx="4028">
                  <c:v>#N/A</c:v>
                </c:pt>
                <c:pt idx="4029">
                  <c:v>#N/A</c:v>
                </c:pt>
                <c:pt idx="4030">
                  <c:v>1.5205479452054795</c:v>
                </c:pt>
                <c:pt idx="4031">
                  <c:v>#N/A</c:v>
                </c:pt>
                <c:pt idx="4032">
                  <c:v>#N/A</c:v>
                </c:pt>
                <c:pt idx="4033">
                  <c:v>1.5287671232876712</c:v>
                </c:pt>
                <c:pt idx="4034">
                  <c:v>1.5287671232876712</c:v>
                </c:pt>
                <c:pt idx="4035">
                  <c:v>1.5287671232876712</c:v>
                </c:pt>
                <c:pt idx="4036">
                  <c:v>#N/A</c:v>
                </c:pt>
                <c:pt idx="4037">
                  <c:v>#N/A</c:v>
                </c:pt>
                <c:pt idx="4038">
                  <c:v>#N/A</c:v>
                </c:pt>
                <c:pt idx="4039">
                  <c:v>#N/A</c:v>
                </c:pt>
                <c:pt idx="4040">
                  <c:v>1.5287671232876712</c:v>
                </c:pt>
                <c:pt idx="4041">
                  <c:v>#N/A</c:v>
                </c:pt>
                <c:pt idx="4042">
                  <c:v>1.5287671232876712</c:v>
                </c:pt>
                <c:pt idx="4043">
                  <c:v>1.5315068493150685</c:v>
                </c:pt>
                <c:pt idx="4044">
                  <c:v>#N/A</c:v>
                </c:pt>
                <c:pt idx="4045">
                  <c:v>#N/A</c:v>
                </c:pt>
                <c:pt idx="4046">
                  <c:v>1.5315068493150685</c:v>
                </c:pt>
                <c:pt idx="4047">
                  <c:v>#N/A</c:v>
                </c:pt>
                <c:pt idx="4048">
                  <c:v>1.5315068493150685</c:v>
                </c:pt>
                <c:pt idx="4049">
                  <c:v>1.5342465753424657</c:v>
                </c:pt>
                <c:pt idx="4050">
                  <c:v>#N/A</c:v>
                </c:pt>
                <c:pt idx="4051">
                  <c:v>1.5342465753424657</c:v>
                </c:pt>
                <c:pt idx="4052">
                  <c:v>1.5342465753424657</c:v>
                </c:pt>
                <c:pt idx="4053">
                  <c:v>#N/A</c:v>
                </c:pt>
                <c:pt idx="4054">
                  <c:v>#N/A</c:v>
                </c:pt>
                <c:pt idx="4055">
                  <c:v>1.5342465753424657</c:v>
                </c:pt>
                <c:pt idx="4056">
                  <c:v>#N/A</c:v>
                </c:pt>
                <c:pt idx="4057">
                  <c:v>#N/A</c:v>
                </c:pt>
                <c:pt idx="4058">
                  <c:v>#N/A</c:v>
                </c:pt>
                <c:pt idx="4059">
                  <c:v>1.5342465753424657</c:v>
                </c:pt>
                <c:pt idx="4060">
                  <c:v>#N/A</c:v>
                </c:pt>
                <c:pt idx="4061">
                  <c:v>#N/A</c:v>
                </c:pt>
                <c:pt idx="4062">
                  <c:v>#N/A</c:v>
                </c:pt>
                <c:pt idx="4063">
                  <c:v>1.5342465753424657</c:v>
                </c:pt>
                <c:pt idx="4064">
                  <c:v>#N/A</c:v>
                </c:pt>
                <c:pt idx="4065">
                  <c:v>#N/A</c:v>
                </c:pt>
                <c:pt idx="4066">
                  <c:v>1.547945205479452</c:v>
                </c:pt>
                <c:pt idx="4067">
                  <c:v>#N/A</c:v>
                </c:pt>
                <c:pt idx="4068">
                  <c:v>1.5534246575342465</c:v>
                </c:pt>
                <c:pt idx="4069">
                  <c:v>#N/A</c:v>
                </c:pt>
                <c:pt idx="4070">
                  <c:v>#N/A</c:v>
                </c:pt>
                <c:pt idx="4071">
                  <c:v>1.5561643835616439</c:v>
                </c:pt>
                <c:pt idx="4072">
                  <c:v>#N/A</c:v>
                </c:pt>
                <c:pt idx="4073">
                  <c:v>#N/A</c:v>
                </c:pt>
                <c:pt idx="4074">
                  <c:v>#N/A</c:v>
                </c:pt>
                <c:pt idx="4075">
                  <c:v>1.5561643835616439</c:v>
                </c:pt>
                <c:pt idx="4076">
                  <c:v>#N/A</c:v>
                </c:pt>
                <c:pt idx="4077">
                  <c:v>1.558904109589041</c:v>
                </c:pt>
                <c:pt idx="4078">
                  <c:v>#N/A</c:v>
                </c:pt>
                <c:pt idx="4079">
                  <c:v>1.558904109589041</c:v>
                </c:pt>
                <c:pt idx="4080">
                  <c:v>#N/A</c:v>
                </c:pt>
                <c:pt idx="4081">
                  <c:v>1.558904109589041</c:v>
                </c:pt>
                <c:pt idx="4082">
                  <c:v>#N/A</c:v>
                </c:pt>
                <c:pt idx="4083">
                  <c:v>1.558904109589041</c:v>
                </c:pt>
                <c:pt idx="4084">
                  <c:v>1.558904109589041</c:v>
                </c:pt>
                <c:pt idx="4085">
                  <c:v>#N/A</c:v>
                </c:pt>
                <c:pt idx="4086">
                  <c:v>#N/A</c:v>
                </c:pt>
                <c:pt idx="4087">
                  <c:v>#N/A</c:v>
                </c:pt>
                <c:pt idx="4088">
                  <c:v>1.558904109589041</c:v>
                </c:pt>
                <c:pt idx="4089">
                  <c:v>1.558904109589041</c:v>
                </c:pt>
                <c:pt idx="4090">
                  <c:v>1.558904109589041</c:v>
                </c:pt>
                <c:pt idx="4091">
                  <c:v>1.558904109589041</c:v>
                </c:pt>
                <c:pt idx="4092">
                  <c:v>1.558904109589041</c:v>
                </c:pt>
                <c:pt idx="4093">
                  <c:v>#N/A</c:v>
                </c:pt>
                <c:pt idx="4094">
                  <c:v>#N/A</c:v>
                </c:pt>
                <c:pt idx="4095">
                  <c:v>1.558904109589041</c:v>
                </c:pt>
                <c:pt idx="4096">
                  <c:v>#N/A</c:v>
                </c:pt>
                <c:pt idx="4097">
                  <c:v>1.5643835616438355</c:v>
                </c:pt>
                <c:pt idx="4098">
                  <c:v>1.5643835616438355</c:v>
                </c:pt>
                <c:pt idx="4099">
                  <c:v>#N/A</c:v>
                </c:pt>
                <c:pt idx="4100">
                  <c:v>#N/A</c:v>
                </c:pt>
                <c:pt idx="4101">
                  <c:v>#N/A</c:v>
                </c:pt>
                <c:pt idx="4102">
                  <c:v>#N/A</c:v>
                </c:pt>
                <c:pt idx="4103">
                  <c:v>#N/A</c:v>
                </c:pt>
                <c:pt idx="4104">
                  <c:v>#N/A</c:v>
                </c:pt>
                <c:pt idx="4105">
                  <c:v>#N/A</c:v>
                </c:pt>
                <c:pt idx="4106">
                  <c:v>1.5671232876712329</c:v>
                </c:pt>
                <c:pt idx="4107">
                  <c:v>#N/A</c:v>
                </c:pt>
                <c:pt idx="4108">
                  <c:v>#N/A</c:v>
                </c:pt>
                <c:pt idx="4109">
                  <c:v>#N/A</c:v>
                </c:pt>
                <c:pt idx="4110">
                  <c:v>1.5671232876712329</c:v>
                </c:pt>
                <c:pt idx="4111">
                  <c:v>1.5671232876712329</c:v>
                </c:pt>
                <c:pt idx="4112">
                  <c:v>1.5671232876712329</c:v>
                </c:pt>
                <c:pt idx="4113">
                  <c:v>#N/A</c:v>
                </c:pt>
                <c:pt idx="4114">
                  <c:v>1.5671232876712329</c:v>
                </c:pt>
                <c:pt idx="4115">
                  <c:v>1.5671232876712329</c:v>
                </c:pt>
                <c:pt idx="4116">
                  <c:v>#N/A</c:v>
                </c:pt>
                <c:pt idx="4117">
                  <c:v>#N/A</c:v>
                </c:pt>
                <c:pt idx="4118">
                  <c:v>1.5671232876712329</c:v>
                </c:pt>
                <c:pt idx="4119">
                  <c:v>#N/A</c:v>
                </c:pt>
                <c:pt idx="4120">
                  <c:v>1.5698630136986302</c:v>
                </c:pt>
                <c:pt idx="4121">
                  <c:v>#N/A</c:v>
                </c:pt>
                <c:pt idx="4122">
                  <c:v>1.5698630136986302</c:v>
                </c:pt>
                <c:pt idx="4123">
                  <c:v>#N/A</c:v>
                </c:pt>
                <c:pt idx="4124">
                  <c:v>1.5698630136986302</c:v>
                </c:pt>
                <c:pt idx="4125">
                  <c:v>#N/A</c:v>
                </c:pt>
                <c:pt idx="4126">
                  <c:v>1.5698630136986302</c:v>
                </c:pt>
                <c:pt idx="4127">
                  <c:v>1.5726027397260274</c:v>
                </c:pt>
                <c:pt idx="4128">
                  <c:v>#N/A</c:v>
                </c:pt>
                <c:pt idx="4129">
                  <c:v>1.5726027397260274</c:v>
                </c:pt>
                <c:pt idx="4130">
                  <c:v>1.5726027397260274</c:v>
                </c:pt>
                <c:pt idx="4131">
                  <c:v>1.5726027397260274</c:v>
                </c:pt>
                <c:pt idx="4132">
                  <c:v>1.5726027397260274</c:v>
                </c:pt>
                <c:pt idx="4133">
                  <c:v>#N/A</c:v>
                </c:pt>
                <c:pt idx="4134">
                  <c:v>1.5726027397260274</c:v>
                </c:pt>
                <c:pt idx="4135">
                  <c:v>1.5726027397260274</c:v>
                </c:pt>
                <c:pt idx="4136">
                  <c:v>1.5726027397260274</c:v>
                </c:pt>
                <c:pt idx="4137">
                  <c:v>#N/A</c:v>
                </c:pt>
                <c:pt idx="4138">
                  <c:v>1.5726027397260274</c:v>
                </c:pt>
                <c:pt idx="4139">
                  <c:v>1.5726027397260274</c:v>
                </c:pt>
                <c:pt idx="4140">
                  <c:v>1.5726027397260274</c:v>
                </c:pt>
                <c:pt idx="4141">
                  <c:v>#N/A</c:v>
                </c:pt>
                <c:pt idx="4142">
                  <c:v>#N/A</c:v>
                </c:pt>
                <c:pt idx="4143">
                  <c:v>1.5726027397260274</c:v>
                </c:pt>
                <c:pt idx="4144">
                  <c:v>1.5753424657534247</c:v>
                </c:pt>
                <c:pt idx="4145">
                  <c:v>1.5753424657534247</c:v>
                </c:pt>
                <c:pt idx="4146">
                  <c:v>#N/A</c:v>
                </c:pt>
                <c:pt idx="4147">
                  <c:v>#N/A</c:v>
                </c:pt>
                <c:pt idx="4148">
                  <c:v>1.5780821917808219</c:v>
                </c:pt>
                <c:pt idx="4149">
                  <c:v>#N/A</c:v>
                </c:pt>
                <c:pt idx="4150">
                  <c:v>1.5780821917808219</c:v>
                </c:pt>
                <c:pt idx="4151">
                  <c:v>#N/A</c:v>
                </c:pt>
                <c:pt idx="4152">
                  <c:v>#N/A</c:v>
                </c:pt>
                <c:pt idx="4153">
                  <c:v>#N/A</c:v>
                </c:pt>
                <c:pt idx="4154">
                  <c:v>1.5835616438356164</c:v>
                </c:pt>
                <c:pt idx="4155">
                  <c:v>#N/A</c:v>
                </c:pt>
                <c:pt idx="4156">
                  <c:v>#N/A</c:v>
                </c:pt>
                <c:pt idx="4157">
                  <c:v>#N/A</c:v>
                </c:pt>
                <c:pt idx="4158">
                  <c:v>#N/A</c:v>
                </c:pt>
                <c:pt idx="4159">
                  <c:v>#N/A</c:v>
                </c:pt>
                <c:pt idx="4160">
                  <c:v>1.5863013698630137</c:v>
                </c:pt>
                <c:pt idx="4161">
                  <c:v>#N/A</c:v>
                </c:pt>
                <c:pt idx="4162">
                  <c:v>#N/A</c:v>
                </c:pt>
                <c:pt idx="4163">
                  <c:v>#N/A</c:v>
                </c:pt>
                <c:pt idx="4164">
                  <c:v>#N/A</c:v>
                </c:pt>
                <c:pt idx="4165">
                  <c:v>1.5863013698630137</c:v>
                </c:pt>
                <c:pt idx="4166">
                  <c:v>1.5863013698630137</c:v>
                </c:pt>
                <c:pt idx="4167">
                  <c:v>#N/A</c:v>
                </c:pt>
                <c:pt idx="4168">
                  <c:v>1.5863013698630137</c:v>
                </c:pt>
                <c:pt idx="4169">
                  <c:v>#N/A</c:v>
                </c:pt>
                <c:pt idx="4170">
                  <c:v>#N/A</c:v>
                </c:pt>
                <c:pt idx="4171">
                  <c:v>1.5863013698630137</c:v>
                </c:pt>
                <c:pt idx="4172">
                  <c:v>#N/A</c:v>
                </c:pt>
                <c:pt idx="4173">
                  <c:v>1.5863013698630137</c:v>
                </c:pt>
                <c:pt idx="4174">
                  <c:v>1.5863013698630137</c:v>
                </c:pt>
                <c:pt idx="4175">
                  <c:v>#N/A</c:v>
                </c:pt>
                <c:pt idx="4176">
                  <c:v>1.5890410958904109</c:v>
                </c:pt>
                <c:pt idx="4177">
                  <c:v>1.5890410958904109</c:v>
                </c:pt>
                <c:pt idx="4178">
                  <c:v>#N/A</c:v>
                </c:pt>
                <c:pt idx="4179">
                  <c:v>1.5890410958904109</c:v>
                </c:pt>
                <c:pt idx="4180">
                  <c:v>1.5890410958904109</c:v>
                </c:pt>
                <c:pt idx="4181">
                  <c:v>#N/A</c:v>
                </c:pt>
                <c:pt idx="4182">
                  <c:v>1.5890410958904109</c:v>
                </c:pt>
                <c:pt idx="4183">
                  <c:v>1.5890410958904109</c:v>
                </c:pt>
                <c:pt idx="4184">
                  <c:v>1.5890410958904109</c:v>
                </c:pt>
                <c:pt idx="4185">
                  <c:v>1.5890410958904109</c:v>
                </c:pt>
                <c:pt idx="4186">
                  <c:v>1.5890410958904109</c:v>
                </c:pt>
                <c:pt idx="4187">
                  <c:v>1.5890410958904109</c:v>
                </c:pt>
                <c:pt idx="4188">
                  <c:v>#N/A</c:v>
                </c:pt>
                <c:pt idx="4189">
                  <c:v>1.5890410958904109</c:v>
                </c:pt>
                <c:pt idx="4190">
                  <c:v>1.5890410958904109</c:v>
                </c:pt>
                <c:pt idx="4191">
                  <c:v>1.5890410958904109</c:v>
                </c:pt>
                <c:pt idx="4192">
                  <c:v>1.5890410958904109</c:v>
                </c:pt>
                <c:pt idx="4193">
                  <c:v>1.5890410958904109</c:v>
                </c:pt>
                <c:pt idx="4194">
                  <c:v>1.5890410958904109</c:v>
                </c:pt>
                <c:pt idx="4195">
                  <c:v>1.5890410958904109</c:v>
                </c:pt>
                <c:pt idx="4196">
                  <c:v>1.5890410958904109</c:v>
                </c:pt>
                <c:pt idx="4197">
                  <c:v>#N/A</c:v>
                </c:pt>
                <c:pt idx="4198">
                  <c:v>1.5890410958904109</c:v>
                </c:pt>
                <c:pt idx="4199">
                  <c:v>1.5890410958904109</c:v>
                </c:pt>
                <c:pt idx="4200">
                  <c:v>1.5917808219178082</c:v>
                </c:pt>
                <c:pt idx="4201">
                  <c:v>1.5917808219178082</c:v>
                </c:pt>
                <c:pt idx="4202">
                  <c:v>1.5917808219178082</c:v>
                </c:pt>
                <c:pt idx="4203">
                  <c:v>#N/A</c:v>
                </c:pt>
                <c:pt idx="4204">
                  <c:v>#N/A</c:v>
                </c:pt>
                <c:pt idx="4205">
                  <c:v>1.5917808219178082</c:v>
                </c:pt>
                <c:pt idx="4206">
                  <c:v>#N/A</c:v>
                </c:pt>
                <c:pt idx="4207">
                  <c:v>1.5917808219178082</c:v>
                </c:pt>
                <c:pt idx="4208">
                  <c:v>1.5917808219178082</c:v>
                </c:pt>
                <c:pt idx="4209">
                  <c:v>1.5917808219178082</c:v>
                </c:pt>
                <c:pt idx="4210">
                  <c:v>#N/A</c:v>
                </c:pt>
                <c:pt idx="4211">
                  <c:v>#N/A</c:v>
                </c:pt>
                <c:pt idx="4212">
                  <c:v>1.5917808219178082</c:v>
                </c:pt>
                <c:pt idx="4213">
                  <c:v>1.5917808219178082</c:v>
                </c:pt>
                <c:pt idx="4214">
                  <c:v>1.5917808219178082</c:v>
                </c:pt>
                <c:pt idx="4215">
                  <c:v>1.5917808219178082</c:v>
                </c:pt>
                <c:pt idx="4216">
                  <c:v>#N/A</c:v>
                </c:pt>
                <c:pt idx="4217">
                  <c:v>#N/A</c:v>
                </c:pt>
                <c:pt idx="4218">
                  <c:v>1.5945205479452054</c:v>
                </c:pt>
                <c:pt idx="4219">
                  <c:v>#N/A</c:v>
                </c:pt>
                <c:pt idx="4220">
                  <c:v>1.5945205479452054</c:v>
                </c:pt>
                <c:pt idx="4221">
                  <c:v>#N/A</c:v>
                </c:pt>
                <c:pt idx="4222">
                  <c:v>1.5945205479452054</c:v>
                </c:pt>
                <c:pt idx="4223">
                  <c:v>#N/A</c:v>
                </c:pt>
                <c:pt idx="4224">
                  <c:v>1.5945205479452054</c:v>
                </c:pt>
                <c:pt idx="4225">
                  <c:v>1.5945205479452054</c:v>
                </c:pt>
                <c:pt idx="4226">
                  <c:v>#N/A</c:v>
                </c:pt>
                <c:pt idx="4227">
                  <c:v>#N/A</c:v>
                </c:pt>
                <c:pt idx="4228">
                  <c:v>#N/A</c:v>
                </c:pt>
                <c:pt idx="4229">
                  <c:v>#N/A</c:v>
                </c:pt>
                <c:pt idx="4230">
                  <c:v>1.5972602739726027</c:v>
                </c:pt>
                <c:pt idx="4231">
                  <c:v>1.5972602739726027</c:v>
                </c:pt>
                <c:pt idx="4232">
                  <c:v>1.5972602739726027</c:v>
                </c:pt>
                <c:pt idx="4233">
                  <c:v>1.5972602739726027</c:v>
                </c:pt>
                <c:pt idx="4234">
                  <c:v>#N/A</c:v>
                </c:pt>
                <c:pt idx="4235">
                  <c:v>1.6</c:v>
                </c:pt>
                <c:pt idx="4236">
                  <c:v>#N/A</c:v>
                </c:pt>
                <c:pt idx="4237">
                  <c:v>#N/A</c:v>
                </c:pt>
                <c:pt idx="4238">
                  <c:v>1.6054794520547946</c:v>
                </c:pt>
                <c:pt idx="4239">
                  <c:v>#N/A</c:v>
                </c:pt>
                <c:pt idx="4240">
                  <c:v>1.6054794520547946</c:v>
                </c:pt>
                <c:pt idx="4241">
                  <c:v>1.6054794520547946</c:v>
                </c:pt>
                <c:pt idx="4242">
                  <c:v>1.6054794520547946</c:v>
                </c:pt>
                <c:pt idx="4243">
                  <c:v>1.6054794520547946</c:v>
                </c:pt>
                <c:pt idx="4244">
                  <c:v>#N/A</c:v>
                </c:pt>
                <c:pt idx="4245">
                  <c:v>1.6054794520547946</c:v>
                </c:pt>
                <c:pt idx="4246">
                  <c:v>1.6054794520547946</c:v>
                </c:pt>
                <c:pt idx="4247">
                  <c:v>1.6054794520547946</c:v>
                </c:pt>
                <c:pt idx="4248">
                  <c:v>1.6054794520547946</c:v>
                </c:pt>
                <c:pt idx="4249">
                  <c:v>#N/A</c:v>
                </c:pt>
                <c:pt idx="4250">
                  <c:v>#N/A</c:v>
                </c:pt>
                <c:pt idx="4251">
                  <c:v>#N/A</c:v>
                </c:pt>
                <c:pt idx="4252">
                  <c:v>#N/A</c:v>
                </c:pt>
                <c:pt idx="4253">
                  <c:v>1.6082191780821917</c:v>
                </c:pt>
                <c:pt idx="4254">
                  <c:v>1.6082191780821917</c:v>
                </c:pt>
                <c:pt idx="4255">
                  <c:v>1.6082191780821917</c:v>
                </c:pt>
                <c:pt idx="4256">
                  <c:v>#N/A</c:v>
                </c:pt>
                <c:pt idx="4257">
                  <c:v>1.6109589041095891</c:v>
                </c:pt>
                <c:pt idx="4258">
                  <c:v>1.6109589041095891</c:v>
                </c:pt>
                <c:pt idx="4259">
                  <c:v>#N/A</c:v>
                </c:pt>
                <c:pt idx="4260">
                  <c:v>#N/A</c:v>
                </c:pt>
                <c:pt idx="4261">
                  <c:v>1.6109589041095891</c:v>
                </c:pt>
                <c:pt idx="4262">
                  <c:v>1.6136986301369862</c:v>
                </c:pt>
                <c:pt idx="4263">
                  <c:v>1.6136986301369862</c:v>
                </c:pt>
                <c:pt idx="4264">
                  <c:v>1.6136986301369862</c:v>
                </c:pt>
                <c:pt idx="4265">
                  <c:v>#N/A</c:v>
                </c:pt>
                <c:pt idx="4266">
                  <c:v>1.6136986301369862</c:v>
                </c:pt>
                <c:pt idx="4267">
                  <c:v>1.6136986301369862</c:v>
                </c:pt>
                <c:pt idx="4268">
                  <c:v>1.6136986301369862</c:v>
                </c:pt>
                <c:pt idx="4269">
                  <c:v>1.6136986301369862</c:v>
                </c:pt>
                <c:pt idx="4270">
                  <c:v>1.6136986301369862</c:v>
                </c:pt>
                <c:pt idx="4271">
                  <c:v>1.6136986301369862</c:v>
                </c:pt>
                <c:pt idx="4272">
                  <c:v>1.6136986301369862</c:v>
                </c:pt>
                <c:pt idx="4273">
                  <c:v>1.6136986301369862</c:v>
                </c:pt>
                <c:pt idx="4274">
                  <c:v>1.6136986301369862</c:v>
                </c:pt>
                <c:pt idx="4275">
                  <c:v>1.6136986301369862</c:v>
                </c:pt>
                <c:pt idx="4276">
                  <c:v>1.6136986301369862</c:v>
                </c:pt>
                <c:pt idx="4277">
                  <c:v>1.6136986301369862</c:v>
                </c:pt>
                <c:pt idx="4278">
                  <c:v>#N/A</c:v>
                </c:pt>
                <c:pt idx="4279">
                  <c:v>1.6164383561643836</c:v>
                </c:pt>
                <c:pt idx="4280">
                  <c:v>#N/A</c:v>
                </c:pt>
                <c:pt idx="4281">
                  <c:v>#N/A</c:v>
                </c:pt>
                <c:pt idx="4282">
                  <c:v>#N/A</c:v>
                </c:pt>
                <c:pt idx="4283">
                  <c:v>#N/A</c:v>
                </c:pt>
                <c:pt idx="4284">
                  <c:v>1.6164383561643836</c:v>
                </c:pt>
                <c:pt idx="4285">
                  <c:v>1.6164383561643836</c:v>
                </c:pt>
                <c:pt idx="4286">
                  <c:v>1.6164383561643836</c:v>
                </c:pt>
                <c:pt idx="4287">
                  <c:v>#N/A</c:v>
                </c:pt>
                <c:pt idx="4288">
                  <c:v>#N/A</c:v>
                </c:pt>
                <c:pt idx="4289">
                  <c:v>#N/A</c:v>
                </c:pt>
                <c:pt idx="4290">
                  <c:v>1.6219178082191781</c:v>
                </c:pt>
                <c:pt idx="4291">
                  <c:v>#N/A</c:v>
                </c:pt>
                <c:pt idx="4292">
                  <c:v>#N/A</c:v>
                </c:pt>
                <c:pt idx="4293">
                  <c:v>1.6246575342465754</c:v>
                </c:pt>
                <c:pt idx="4294">
                  <c:v>#N/A</c:v>
                </c:pt>
                <c:pt idx="4295">
                  <c:v>#N/A</c:v>
                </c:pt>
                <c:pt idx="4296">
                  <c:v>#N/A</c:v>
                </c:pt>
                <c:pt idx="4297">
                  <c:v>#N/A</c:v>
                </c:pt>
                <c:pt idx="4298">
                  <c:v>1.6301369863013699</c:v>
                </c:pt>
                <c:pt idx="4299">
                  <c:v>1.6301369863013699</c:v>
                </c:pt>
                <c:pt idx="4300">
                  <c:v>#N/A</c:v>
                </c:pt>
                <c:pt idx="4301">
                  <c:v>1.6328767123287671</c:v>
                </c:pt>
                <c:pt idx="4302">
                  <c:v>#N/A</c:v>
                </c:pt>
                <c:pt idx="4303">
                  <c:v>#N/A</c:v>
                </c:pt>
                <c:pt idx="4304">
                  <c:v>1.6356164383561644</c:v>
                </c:pt>
                <c:pt idx="4305">
                  <c:v>1.6356164383561644</c:v>
                </c:pt>
                <c:pt idx="4306">
                  <c:v>#N/A</c:v>
                </c:pt>
                <c:pt idx="4307">
                  <c:v>#N/A</c:v>
                </c:pt>
                <c:pt idx="4308">
                  <c:v>#N/A</c:v>
                </c:pt>
                <c:pt idx="4309">
                  <c:v>1.6356164383561644</c:v>
                </c:pt>
                <c:pt idx="4310">
                  <c:v>#N/A</c:v>
                </c:pt>
                <c:pt idx="4311">
                  <c:v>1.6438356164383561</c:v>
                </c:pt>
                <c:pt idx="4312">
                  <c:v>1.6438356164383561</c:v>
                </c:pt>
                <c:pt idx="4313">
                  <c:v>#N/A</c:v>
                </c:pt>
                <c:pt idx="4314">
                  <c:v>#N/A</c:v>
                </c:pt>
                <c:pt idx="4315">
                  <c:v>1.6465753424657534</c:v>
                </c:pt>
                <c:pt idx="4316">
                  <c:v>1.6465753424657534</c:v>
                </c:pt>
                <c:pt idx="4317">
                  <c:v>#N/A</c:v>
                </c:pt>
                <c:pt idx="4318">
                  <c:v>1.6465753424657534</c:v>
                </c:pt>
                <c:pt idx="4319">
                  <c:v>1.6465753424657534</c:v>
                </c:pt>
                <c:pt idx="4320">
                  <c:v>1.6465753424657534</c:v>
                </c:pt>
                <c:pt idx="4321">
                  <c:v>#N/A</c:v>
                </c:pt>
                <c:pt idx="4322">
                  <c:v>1.6493150684931508</c:v>
                </c:pt>
                <c:pt idx="4323">
                  <c:v>#N/A</c:v>
                </c:pt>
                <c:pt idx="4324">
                  <c:v>1.6520547945205479</c:v>
                </c:pt>
                <c:pt idx="4325">
                  <c:v>#N/A</c:v>
                </c:pt>
                <c:pt idx="4326">
                  <c:v>#N/A</c:v>
                </c:pt>
                <c:pt idx="4327">
                  <c:v>1.6520547945205479</c:v>
                </c:pt>
                <c:pt idx="4328">
                  <c:v>1.6547945205479453</c:v>
                </c:pt>
                <c:pt idx="4329">
                  <c:v>1.6547945205479453</c:v>
                </c:pt>
                <c:pt idx="4330">
                  <c:v>1.6547945205479453</c:v>
                </c:pt>
                <c:pt idx="4331">
                  <c:v>1.6547945205479453</c:v>
                </c:pt>
                <c:pt idx="4332">
                  <c:v>1.6630136986301369</c:v>
                </c:pt>
                <c:pt idx="4333">
                  <c:v>#N/A</c:v>
                </c:pt>
                <c:pt idx="4334">
                  <c:v>#N/A</c:v>
                </c:pt>
                <c:pt idx="4335">
                  <c:v>1.6630136986301369</c:v>
                </c:pt>
                <c:pt idx="4336">
                  <c:v>#N/A</c:v>
                </c:pt>
                <c:pt idx="4337">
                  <c:v>1.6657534246575343</c:v>
                </c:pt>
                <c:pt idx="4338">
                  <c:v>#N/A</c:v>
                </c:pt>
                <c:pt idx="4339">
                  <c:v>1.6657534246575343</c:v>
                </c:pt>
                <c:pt idx="4340">
                  <c:v>#N/A</c:v>
                </c:pt>
                <c:pt idx="4341">
                  <c:v>#N/A</c:v>
                </c:pt>
                <c:pt idx="4342">
                  <c:v>#N/A</c:v>
                </c:pt>
                <c:pt idx="4343">
                  <c:v>1.6657534246575343</c:v>
                </c:pt>
                <c:pt idx="4344">
                  <c:v>1.6684931506849314</c:v>
                </c:pt>
                <c:pt idx="4345">
                  <c:v>1.6684931506849314</c:v>
                </c:pt>
                <c:pt idx="4346">
                  <c:v>1.6684931506849314</c:v>
                </c:pt>
                <c:pt idx="4347">
                  <c:v>1.6684931506849314</c:v>
                </c:pt>
                <c:pt idx="4348">
                  <c:v>#N/A</c:v>
                </c:pt>
                <c:pt idx="4349">
                  <c:v>1.6684931506849314</c:v>
                </c:pt>
                <c:pt idx="4350">
                  <c:v>1.6684931506849314</c:v>
                </c:pt>
                <c:pt idx="4351">
                  <c:v>#N/A</c:v>
                </c:pt>
                <c:pt idx="4352">
                  <c:v>#N/A</c:v>
                </c:pt>
                <c:pt idx="4353">
                  <c:v>1.6712328767123288</c:v>
                </c:pt>
                <c:pt idx="4354">
                  <c:v>#N/A</c:v>
                </c:pt>
                <c:pt idx="4355">
                  <c:v>1.6739726027397259</c:v>
                </c:pt>
                <c:pt idx="4356">
                  <c:v>#N/A</c:v>
                </c:pt>
                <c:pt idx="4357">
                  <c:v>#N/A</c:v>
                </c:pt>
                <c:pt idx="4358">
                  <c:v>1.6739726027397259</c:v>
                </c:pt>
                <c:pt idx="4359">
                  <c:v>1.6739726027397259</c:v>
                </c:pt>
                <c:pt idx="4360">
                  <c:v>1.6739726027397259</c:v>
                </c:pt>
                <c:pt idx="4361">
                  <c:v>1.6739726027397259</c:v>
                </c:pt>
                <c:pt idx="4362">
                  <c:v>#N/A</c:v>
                </c:pt>
                <c:pt idx="4363">
                  <c:v>#N/A</c:v>
                </c:pt>
                <c:pt idx="4364">
                  <c:v>1.6739726027397259</c:v>
                </c:pt>
                <c:pt idx="4365">
                  <c:v>1.6821917808219178</c:v>
                </c:pt>
                <c:pt idx="4366">
                  <c:v>1.6849315068493151</c:v>
                </c:pt>
                <c:pt idx="4367">
                  <c:v>1.6849315068493151</c:v>
                </c:pt>
                <c:pt idx="4368">
                  <c:v>1.6849315068493151</c:v>
                </c:pt>
                <c:pt idx="4369">
                  <c:v>1.6849315068493151</c:v>
                </c:pt>
                <c:pt idx="4370">
                  <c:v>#N/A</c:v>
                </c:pt>
                <c:pt idx="4371">
                  <c:v>#N/A</c:v>
                </c:pt>
                <c:pt idx="4372">
                  <c:v>1.6849315068493151</c:v>
                </c:pt>
                <c:pt idx="4373">
                  <c:v>#N/A</c:v>
                </c:pt>
                <c:pt idx="4374">
                  <c:v>#N/A</c:v>
                </c:pt>
                <c:pt idx="4375">
                  <c:v>1.6849315068493151</c:v>
                </c:pt>
                <c:pt idx="4376">
                  <c:v>#N/A</c:v>
                </c:pt>
                <c:pt idx="4377">
                  <c:v>1.6849315068493151</c:v>
                </c:pt>
                <c:pt idx="4378">
                  <c:v>#N/A</c:v>
                </c:pt>
                <c:pt idx="4379">
                  <c:v>1.6849315068493151</c:v>
                </c:pt>
                <c:pt idx="4380">
                  <c:v>#N/A</c:v>
                </c:pt>
                <c:pt idx="4381">
                  <c:v>#N/A</c:v>
                </c:pt>
                <c:pt idx="4382">
                  <c:v>1.6876712328767123</c:v>
                </c:pt>
                <c:pt idx="4383">
                  <c:v>#N/A</c:v>
                </c:pt>
                <c:pt idx="4384">
                  <c:v>#N/A</c:v>
                </c:pt>
                <c:pt idx="4385">
                  <c:v>#N/A</c:v>
                </c:pt>
                <c:pt idx="4386">
                  <c:v>#N/A</c:v>
                </c:pt>
                <c:pt idx="4387">
                  <c:v>#N/A</c:v>
                </c:pt>
                <c:pt idx="4388">
                  <c:v>1.6904109589041096</c:v>
                </c:pt>
                <c:pt idx="4389">
                  <c:v>#N/A</c:v>
                </c:pt>
                <c:pt idx="4390">
                  <c:v>#N/A</c:v>
                </c:pt>
                <c:pt idx="4391">
                  <c:v>#N/A</c:v>
                </c:pt>
                <c:pt idx="4392">
                  <c:v>1.6931506849315068</c:v>
                </c:pt>
                <c:pt idx="4393">
                  <c:v>1.6931506849315068</c:v>
                </c:pt>
                <c:pt idx="4394">
                  <c:v>1.6931506849315068</c:v>
                </c:pt>
                <c:pt idx="4395">
                  <c:v>1.7013698630136986</c:v>
                </c:pt>
                <c:pt idx="4396">
                  <c:v>1.7013698630136986</c:v>
                </c:pt>
                <c:pt idx="4397">
                  <c:v>#N/A</c:v>
                </c:pt>
                <c:pt idx="4398">
                  <c:v>#N/A</c:v>
                </c:pt>
                <c:pt idx="4399">
                  <c:v>#N/A</c:v>
                </c:pt>
                <c:pt idx="4400">
                  <c:v>#N/A</c:v>
                </c:pt>
                <c:pt idx="4401">
                  <c:v>#N/A</c:v>
                </c:pt>
                <c:pt idx="4402">
                  <c:v>#N/A</c:v>
                </c:pt>
                <c:pt idx="4403">
                  <c:v>1.704109589041096</c:v>
                </c:pt>
                <c:pt idx="4404">
                  <c:v>#N/A</c:v>
                </c:pt>
                <c:pt idx="4405">
                  <c:v>1.704109589041096</c:v>
                </c:pt>
                <c:pt idx="4406">
                  <c:v>1.7068493150684931</c:v>
                </c:pt>
                <c:pt idx="4407">
                  <c:v>#N/A</c:v>
                </c:pt>
                <c:pt idx="4408">
                  <c:v>1.7095890410958905</c:v>
                </c:pt>
                <c:pt idx="4409">
                  <c:v>#N/A</c:v>
                </c:pt>
                <c:pt idx="4410">
                  <c:v>1.7095890410958905</c:v>
                </c:pt>
                <c:pt idx="4411">
                  <c:v>1.7095890410958905</c:v>
                </c:pt>
                <c:pt idx="4412">
                  <c:v>#N/A</c:v>
                </c:pt>
                <c:pt idx="4413">
                  <c:v>#N/A</c:v>
                </c:pt>
                <c:pt idx="4414">
                  <c:v>1.7095890410958905</c:v>
                </c:pt>
                <c:pt idx="4415">
                  <c:v>#N/A</c:v>
                </c:pt>
                <c:pt idx="4416">
                  <c:v>#N/A</c:v>
                </c:pt>
                <c:pt idx="4417">
                  <c:v>#N/A</c:v>
                </c:pt>
                <c:pt idx="4418">
                  <c:v>1.7095890410958905</c:v>
                </c:pt>
                <c:pt idx="4419">
                  <c:v>#N/A</c:v>
                </c:pt>
                <c:pt idx="4420">
                  <c:v>#N/A</c:v>
                </c:pt>
                <c:pt idx="4421">
                  <c:v>1.7095890410958905</c:v>
                </c:pt>
                <c:pt idx="4422">
                  <c:v>1.7095890410958905</c:v>
                </c:pt>
                <c:pt idx="4423">
                  <c:v>1.7095890410958905</c:v>
                </c:pt>
                <c:pt idx="4424">
                  <c:v>#N/A</c:v>
                </c:pt>
                <c:pt idx="4425">
                  <c:v>1.7095890410958905</c:v>
                </c:pt>
                <c:pt idx="4426">
                  <c:v>1.7095890410958905</c:v>
                </c:pt>
                <c:pt idx="4427">
                  <c:v>#N/A</c:v>
                </c:pt>
                <c:pt idx="4428">
                  <c:v>#N/A</c:v>
                </c:pt>
                <c:pt idx="4429">
                  <c:v>1.7232876712328766</c:v>
                </c:pt>
                <c:pt idx="4430">
                  <c:v>1.7232876712328766</c:v>
                </c:pt>
                <c:pt idx="4431">
                  <c:v>#N/A</c:v>
                </c:pt>
                <c:pt idx="4432">
                  <c:v>1.7232876712328766</c:v>
                </c:pt>
                <c:pt idx="4433">
                  <c:v>1.7232876712328766</c:v>
                </c:pt>
                <c:pt idx="4434">
                  <c:v>1.7232876712328766</c:v>
                </c:pt>
                <c:pt idx="4435">
                  <c:v>#N/A</c:v>
                </c:pt>
                <c:pt idx="4436">
                  <c:v>#N/A</c:v>
                </c:pt>
                <c:pt idx="4437">
                  <c:v>#N/A</c:v>
                </c:pt>
                <c:pt idx="4438">
                  <c:v>1.7287671232876711</c:v>
                </c:pt>
                <c:pt idx="4439">
                  <c:v>1.7287671232876711</c:v>
                </c:pt>
                <c:pt idx="4440">
                  <c:v>#N/A</c:v>
                </c:pt>
                <c:pt idx="4441">
                  <c:v>#N/A</c:v>
                </c:pt>
                <c:pt idx="4442">
                  <c:v>1.7287671232876711</c:v>
                </c:pt>
                <c:pt idx="4443">
                  <c:v>1.7287671232876711</c:v>
                </c:pt>
                <c:pt idx="4444">
                  <c:v>1.7287671232876711</c:v>
                </c:pt>
                <c:pt idx="4445">
                  <c:v>#N/A</c:v>
                </c:pt>
                <c:pt idx="4446">
                  <c:v>1.7287671232876711</c:v>
                </c:pt>
                <c:pt idx="4447">
                  <c:v>1.7287671232876711</c:v>
                </c:pt>
                <c:pt idx="4448">
                  <c:v>1.7287671232876711</c:v>
                </c:pt>
                <c:pt idx="4449">
                  <c:v>1.7287671232876711</c:v>
                </c:pt>
                <c:pt idx="4450">
                  <c:v>1.7287671232876711</c:v>
                </c:pt>
                <c:pt idx="4451">
                  <c:v>#N/A</c:v>
                </c:pt>
                <c:pt idx="4452">
                  <c:v>1.7287671232876711</c:v>
                </c:pt>
                <c:pt idx="4453">
                  <c:v>1.7287671232876711</c:v>
                </c:pt>
                <c:pt idx="4454">
                  <c:v>#N/A</c:v>
                </c:pt>
                <c:pt idx="4455">
                  <c:v>1.7287671232876711</c:v>
                </c:pt>
                <c:pt idx="4456">
                  <c:v>#N/A</c:v>
                </c:pt>
                <c:pt idx="4457">
                  <c:v>#N/A</c:v>
                </c:pt>
                <c:pt idx="4458">
                  <c:v>#N/A</c:v>
                </c:pt>
                <c:pt idx="4459">
                  <c:v>#N/A</c:v>
                </c:pt>
                <c:pt idx="4460">
                  <c:v>#N/A</c:v>
                </c:pt>
                <c:pt idx="4461">
                  <c:v>1.7315068493150685</c:v>
                </c:pt>
                <c:pt idx="4462">
                  <c:v>#N/A</c:v>
                </c:pt>
                <c:pt idx="4463">
                  <c:v>#N/A</c:v>
                </c:pt>
                <c:pt idx="4464">
                  <c:v>#N/A</c:v>
                </c:pt>
                <c:pt idx="4465">
                  <c:v>1.7315068493150685</c:v>
                </c:pt>
                <c:pt idx="4466">
                  <c:v>#N/A</c:v>
                </c:pt>
                <c:pt idx="4467">
                  <c:v>1.7315068493150685</c:v>
                </c:pt>
                <c:pt idx="4468">
                  <c:v>#N/A</c:v>
                </c:pt>
                <c:pt idx="4469">
                  <c:v>#N/A</c:v>
                </c:pt>
                <c:pt idx="4470">
                  <c:v>1.7315068493150685</c:v>
                </c:pt>
                <c:pt idx="4471">
                  <c:v>1.7315068493150685</c:v>
                </c:pt>
                <c:pt idx="4472">
                  <c:v>1.7315068493150685</c:v>
                </c:pt>
                <c:pt idx="4473">
                  <c:v>#N/A</c:v>
                </c:pt>
                <c:pt idx="4474">
                  <c:v>1.7315068493150685</c:v>
                </c:pt>
                <c:pt idx="4475">
                  <c:v>1.7315068493150685</c:v>
                </c:pt>
                <c:pt idx="4476">
                  <c:v>#N/A</c:v>
                </c:pt>
                <c:pt idx="4477">
                  <c:v>#N/A</c:v>
                </c:pt>
                <c:pt idx="4478">
                  <c:v>#N/A</c:v>
                </c:pt>
                <c:pt idx="4479">
                  <c:v>#N/A</c:v>
                </c:pt>
                <c:pt idx="4480">
                  <c:v>#N/A</c:v>
                </c:pt>
                <c:pt idx="4481">
                  <c:v>#N/A</c:v>
                </c:pt>
                <c:pt idx="4482">
                  <c:v>#N/A</c:v>
                </c:pt>
                <c:pt idx="4483">
                  <c:v>#N/A</c:v>
                </c:pt>
                <c:pt idx="4484">
                  <c:v>#N/A</c:v>
                </c:pt>
                <c:pt idx="4485">
                  <c:v>#N/A</c:v>
                </c:pt>
                <c:pt idx="4486">
                  <c:v>#N/A</c:v>
                </c:pt>
                <c:pt idx="4487">
                  <c:v>#N/A</c:v>
                </c:pt>
                <c:pt idx="4488">
                  <c:v>#N/A</c:v>
                </c:pt>
                <c:pt idx="4489">
                  <c:v>#N/A</c:v>
                </c:pt>
                <c:pt idx="4490">
                  <c:v>#N/A</c:v>
                </c:pt>
                <c:pt idx="4491">
                  <c:v>#N/A</c:v>
                </c:pt>
                <c:pt idx="4492">
                  <c:v>#N/A</c:v>
                </c:pt>
                <c:pt idx="4493">
                  <c:v>#N/A</c:v>
                </c:pt>
                <c:pt idx="4494">
                  <c:v>#N/A</c:v>
                </c:pt>
                <c:pt idx="4495">
                  <c:v>#N/A</c:v>
                </c:pt>
                <c:pt idx="4496">
                  <c:v>#N/A</c:v>
                </c:pt>
                <c:pt idx="4497">
                  <c:v>#N/A</c:v>
                </c:pt>
                <c:pt idx="4498">
                  <c:v>#N/A</c:v>
                </c:pt>
                <c:pt idx="4499">
                  <c:v>#N/A</c:v>
                </c:pt>
                <c:pt idx="4500">
                  <c:v>#N/A</c:v>
                </c:pt>
                <c:pt idx="4501">
                  <c:v>#N/A</c:v>
                </c:pt>
                <c:pt idx="4502">
                  <c:v>#N/A</c:v>
                </c:pt>
                <c:pt idx="4503">
                  <c:v>#N/A</c:v>
                </c:pt>
                <c:pt idx="4504">
                  <c:v>#N/A</c:v>
                </c:pt>
                <c:pt idx="4505">
                  <c:v>#N/A</c:v>
                </c:pt>
                <c:pt idx="4506">
                  <c:v>#N/A</c:v>
                </c:pt>
                <c:pt idx="4507">
                  <c:v>#N/A</c:v>
                </c:pt>
                <c:pt idx="4508">
                  <c:v>#N/A</c:v>
                </c:pt>
                <c:pt idx="4509">
                  <c:v>#N/A</c:v>
                </c:pt>
                <c:pt idx="4510">
                  <c:v>#N/A</c:v>
                </c:pt>
                <c:pt idx="4511">
                  <c:v>#N/A</c:v>
                </c:pt>
                <c:pt idx="4512">
                  <c:v>#N/A</c:v>
                </c:pt>
                <c:pt idx="4513">
                  <c:v>#N/A</c:v>
                </c:pt>
                <c:pt idx="4514">
                  <c:v>#N/A</c:v>
                </c:pt>
                <c:pt idx="4515">
                  <c:v>#N/A</c:v>
                </c:pt>
                <c:pt idx="4516">
                  <c:v>1.7397260273972603</c:v>
                </c:pt>
                <c:pt idx="4517">
                  <c:v>#N/A</c:v>
                </c:pt>
                <c:pt idx="4518">
                  <c:v>#N/A</c:v>
                </c:pt>
                <c:pt idx="4519">
                  <c:v>#N/A</c:v>
                </c:pt>
                <c:pt idx="4520">
                  <c:v>#N/A</c:v>
                </c:pt>
                <c:pt idx="4521">
                  <c:v>#N/A</c:v>
                </c:pt>
                <c:pt idx="4522">
                  <c:v>#N/A</c:v>
                </c:pt>
                <c:pt idx="4523">
                  <c:v>#N/A</c:v>
                </c:pt>
                <c:pt idx="4524">
                  <c:v>#N/A</c:v>
                </c:pt>
                <c:pt idx="4525">
                  <c:v>#N/A</c:v>
                </c:pt>
                <c:pt idx="4526">
                  <c:v>#N/A</c:v>
                </c:pt>
                <c:pt idx="4527">
                  <c:v>#N/A</c:v>
                </c:pt>
                <c:pt idx="4528">
                  <c:v>#N/A</c:v>
                </c:pt>
                <c:pt idx="4529">
                  <c:v>#N/A</c:v>
                </c:pt>
                <c:pt idx="4530">
                  <c:v>1.7397260273972603</c:v>
                </c:pt>
                <c:pt idx="4531">
                  <c:v>#N/A</c:v>
                </c:pt>
                <c:pt idx="4532">
                  <c:v>#N/A</c:v>
                </c:pt>
                <c:pt idx="4533">
                  <c:v>#N/A</c:v>
                </c:pt>
                <c:pt idx="4534">
                  <c:v>#N/A</c:v>
                </c:pt>
                <c:pt idx="4535">
                  <c:v>#N/A</c:v>
                </c:pt>
                <c:pt idx="4536">
                  <c:v>#N/A</c:v>
                </c:pt>
                <c:pt idx="4537">
                  <c:v>#N/A</c:v>
                </c:pt>
                <c:pt idx="4538">
                  <c:v>#N/A</c:v>
                </c:pt>
                <c:pt idx="4539">
                  <c:v>#N/A</c:v>
                </c:pt>
                <c:pt idx="4540">
                  <c:v>#N/A</c:v>
                </c:pt>
                <c:pt idx="4541">
                  <c:v>#N/A</c:v>
                </c:pt>
                <c:pt idx="4542">
                  <c:v>1.7424657534246575</c:v>
                </c:pt>
                <c:pt idx="4543">
                  <c:v>1.7452054794520548</c:v>
                </c:pt>
                <c:pt idx="4544">
                  <c:v>1.7452054794520548</c:v>
                </c:pt>
                <c:pt idx="4545">
                  <c:v>#N/A</c:v>
                </c:pt>
                <c:pt idx="4546">
                  <c:v>#N/A</c:v>
                </c:pt>
                <c:pt idx="4547">
                  <c:v>1.747945205479452</c:v>
                </c:pt>
                <c:pt idx="4548">
                  <c:v>1.747945205479452</c:v>
                </c:pt>
                <c:pt idx="4549">
                  <c:v>1.747945205479452</c:v>
                </c:pt>
                <c:pt idx="4550">
                  <c:v>1.747945205479452</c:v>
                </c:pt>
                <c:pt idx="4551">
                  <c:v>#N/A</c:v>
                </c:pt>
                <c:pt idx="4552">
                  <c:v>#N/A</c:v>
                </c:pt>
                <c:pt idx="4553">
                  <c:v>1.747945205479452</c:v>
                </c:pt>
                <c:pt idx="4554">
                  <c:v>#N/A</c:v>
                </c:pt>
                <c:pt idx="4555">
                  <c:v>#N/A</c:v>
                </c:pt>
                <c:pt idx="4556">
                  <c:v>#N/A</c:v>
                </c:pt>
                <c:pt idx="4557">
                  <c:v>#N/A</c:v>
                </c:pt>
                <c:pt idx="4558">
                  <c:v>1.747945205479452</c:v>
                </c:pt>
                <c:pt idx="4559">
                  <c:v>1.747945205479452</c:v>
                </c:pt>
                <c:pt idx="4560">
                  <c:v>1.747945205479452</c:v>
                </c:pt>
                <c:pt idx="4561">
                  <c:v>#N/A</c:v>
                </c:pt>
                <c:pt idx="4562">
                  <c:v>#N/A</c:v>
                </c:pt>
                <c:pt idx="4563">
                  <c:v>1.7589041095890412</c:v>
                </c:pt>
                <c:pt idx="4564">
                  <c:v>#N/A</c:v>
                </c:pt>
                <c:pt idx="4565">
                  <c:v>#N/A</c:v>
                </c:pt>
                <c:pt idx="4566">
                  <c:v>#N/A</c:v>
                </c:pt>
                <c:pt idx="4567">
                  <c:v>#N/A</c:v>
                </c:pt>
                <c:pt idx="4568">
                  <c:v>1.7589041095890412</c:v>
                </c:pt>
                <c:pt idx="4569">
                  <c:v>#N/A</c:v>
                </c:pt>
                <c:pt idx="4570">
                  <c:v>#N/A</c:v>
                </c:pt>
                <c:pt idx="4571">
                  <c:v>1.7808219178082192</c:v>
                </c:pt>
                <c:pt idx="4572">
                  <c:v>1.7808219178082192</c:v>
                </c:pt>
                <c:pt idx="4573">
                  <c:v>1.7808219178082192</c:v>
                </c:pt>
                <c:pt idx="4574">
                  <c:v>1.7808219178082192</c:v>
                </c:pt>
                <c:pt idx="4575">
                  <c:v>#N/A</c:v>
                </c:pt>
                <c:pt idx="4576">
                  <c:v>1.7808219178082192</c:v>
                </c:pt>
                <c:pt idx="4577">
                  <c:v>#N/A</c:v>
                </c:pt>
                <c:pt idx="4578">
                  <c:v>#N/A</c:v>
                </c:pt>
                <c:pt idx="4579">
                  <c:v>#N/A</c:v>
                </c:pt>
                <c:pt idx="4580">
                  <c:v>#N/A</c:v>
                </c:pt>
                <c:pt idx="4581">
                  <c:v>#N/A</c:v>
                </c:pt>
                <c:pt idx="4582">
                  <c:v>1.7808219178082192</c:v>
                </c:pt>
                <c:pt idx="4583">
                  <c:v>#N/A</c:v>
                </c:pt>
                <c:pt idx="4584">
                  <c:v>1.7808219178082192</c:v>
                </c:pt>
                <c:pt idx="4585">
                  <c:v>#N/A</c:v>
                </c:pt>
                <c:pt idx="4586">
                  <c:v>#N/A</c:v>
                </c:pt>
                <c:pt idx="4587">
                  <c:v>1.7863013698630137</c:v>
                </c:pt>
                <c:pt idx="4588">
                  <c:v>#N/A</c:v>
                </c:pt>
                <c:pt idx="4589">
                  <c:v>1.789041095890411</c:v>
                </c:pt>
                <c:pt idx="4590">
                  <c:v>1.789041095890411</c:v>
                </c:pt>
                <c:pt idx="4591">
                  <c:v>1.789041095890411</c:v>
                </c:pt>
                <c:pt idx="4592">
                  <c:v>1.7972602739726027</c:v>
                </c:pt>
                <c:pt idx="4593">
                  <c:v>1.8</c:v>
                </c:pt>
                <c:pt idx="4594">
                  <c:v>1.8</c:v>
                </c:pt>
                <c:pt idx="4595">
                  <c:v>1.8</c:v>
                </c:pt>
                <c:pt idx="4596">
                  <c:v>1.8</c:v>
                </c:pt>
                <c:pt idx="4597">
                  <c:v>1.8</c:v>
                </c:pt>
                <c:pt idx="4598">
                  <c:v>1.8</c:v>
                </c:pt>
                <c:pt idx="4599">
                  <c:v>#N/A</c:v>
                </c:pt>
                <c:pt idx="4600">
                  <c:v>#N/A</c:v>
                </c:pt>
                <c:pt idx="4601">
                  <c:v>#N/A</c:v>
                </c:pt>
                <c:pt idx="4602">
                  <c:v>#N/A</c:v>
                </c:pt>
                <c:pt idx="4603">
                  <c:v>#N/A</c:v>
                </c:pt>
                <c:pt idx="4604">
                  <c:v>1.8</c:v>
                </c:pt>
                <c:pt idx="4605">
                  <c:v>1.8</c:v>
                </c:pt>
                <c:pt idx="4606">
                  <c:v>#N/A</c:v>
                </c:pt>
                <c:pt idx="4607">
                  <c:v>#N/A</c:v>
                </c:pt>
                <c:pt idx="4608">
                  <c:v>1.8027397260273972</c:v>
                </c:pt>
                <c:pt idx="4609">
                  <c:v>1.8027397260273972</c:v>
                </c:pt>
                <c:pt idx="4610">
                  <c:v>#N/A</c:v>
                </c:pt>
                <c:pt idx="4611">
                  <c:v>1.8027397260273972</c:v>
                </c:pt>
                <c:pt idx="4612">
                  <c:v>1.8054794520547945</c:v>
                </c:pt>
                <c:pt idx="4613">
                  <c:v>#N/A</c:v>
                </c:pt>
                <c:pt idx="4614">
                  <c:v>#N/A</c:v>
                </c:pt>
                <c:pt idx="4615">
                  <c:v>1.8164383561643835</c:v>
                </c:pt>
                <c:pt idx="4616">
                  <c:v>#N/A</c:v>
                </c:pt>
                <c:pt idx="4617">
                  <c:v>1.8164383561643835</c:v>
                </c:pt>
                <c:pt idx="4618">
                  <c:v>#N/A</c:v>
                </c:pt>
                <c:pt idx="4619">
                  <c:v>1.8164383561643835</c:v>
                </c:pt>
                <c:pt idx="4620">
                  <c:v>#N/A</c:v>
                </c:pt>
                <c:pt idx="4621">
                  <c:v>#N/A</c:v>
                </c:pt>
                <c:pt idx="4622">
                  <c:v>1.8191780821917809</c:v>
                </c:pt>
                <c:pt idx="4623">
                  <c:v>#N/A</c:v>
                </c:pt>
                <c:pt idx="4624">
                  <c:v>#N/A</c:v>
                </c:pt>
                <c:pt idx="4625">
                  <c:v>#N/A</c:v>
                </c:pt>
                <c:pt idx="4626">
                  <c:v>1.821917808219178</c:v>
                </c:pt>
                <c:pt idx="4627">
                  <c:v>#N/A</c:v>
                </c:pt>
                <c:pt idx="4628">
                  <c:v>1.821917808219178</c:v>
                </c:pt>
                <c:pt idx="4629">
                  <c:v>#N/A</c:v>
                </c:pt>
                <c:pt idx="4630">
                  <c:v>1.821917808219178</c:v>
                </c:pt>
                <c:pt idx="4631">
                  <c:v>#N/A</c:v>
                </c:pt>
                <c:pt idx="4632">
                  <c:v>#N/A</c:v>
                </c:pt>
                <c:pt idx="4633">
                  <c:v>1.821917808219178</c:v>
                </c:pt>
                <c:pt idx="4634">
                  <c:v>#N/A</c:v>
                </c:pt>
                <c:pt idx="4635">
                  <c:v>1.821917808219178</c:v>
                </c:pt>
                <c:pt idx="4636">
                  <c:v>1.821917808219178</c:v>
                </c:pt>
                <c:pt idx="4637">
                  <c:v>1.821917808219178</c:v>
                </c:pt>
                <c:pt idx="4638">
                  <c:v>#N/A</c:v>
                </c:pt>
                <c:pt idx="4639">
                  <c:v>1.821917808219178</c:v>
                </c:pt>
                <c:pt idx="4640">
                  <c:v>#N/A</c:v>
                </c:pt>
                <c:pt idx="4641">
                  <c:v>1.8246575342465754</c:v>
                </c:pt>
                <c:pt idx="4642">
                  <c:v>#N/A</c:v>
                </c:pt>
                <c:pt idx="4643">
                  <c:v>#N/A</c:v>
                </c:pt>
                <c:pt idx="4644">
                  <c:v>1.8356164383561644</c:v>
                </c:pt>
                <c:pt idx="4645">
                  <c:v>#N/A</c:v>
                </c:pt>
                <c:pt idx="4646">
                  <c:v>1.8383561643835618</c:v>
                </c:pt>
                <c:pt idx="4647">
                  <c:v>#N/A</c:v>
                </c:pt>
                <c:pt idx="4648">
                  <c:v>1.8410958904109589</c:v>
                </c:pt>
                <c:pt idx="4649">
                  <c:v>#N/A</c:v>
                </c:pt>
                <c:pt idx="4650">
                  <c:v>1.8410958904109589</c:v>
                </c:pt>
                <c:pt idx="4651">
                  <c:v>1.8410958904109589</c:v>
                </c:pt>
                <c:pt idx="4652">
                  <c:v>#N/A</c:v>
                </c:pt>
                <c:pt idx="4653">
                  <c:v>1.8410958904109589</c:v>
                </c:pt>
                <c:pt idx="4654">
                  <c:v>#N/A</c:v>
                </c:pt>
                <c:pt idx="4655">
                  <c:v>#N/A</c:v>
                </c:pt>
                <c:pt idx="4656">
                  <c:v>#N/A</c:v>
                </c:pt>
                <c:pt idx="4657">
                  <c:v>1.8438356164383563</c:v>
                </c:pt>
                <c:pt idx="4658">
                  <c:v>#N/A</c:v>
                </c:pt>
                <c:pt idx="4659">
                  <c:v>#N/A</c:v>
                </c:pt>
                <c:pt idx="4660">
                  <c:v>#N/A</c:v>
                </c:pt>
                <c:pt idx="4661">
                  <c:v>1.8438356164383563</c:v>
                </c:pt>
                <c:pt idx="4662">
                  <c:v>1.8465753424657534</c:v>
                </c:pt>
                <c:pt idx="4663">
                  <c:v>#N/A</c:v>
                </c:pt>
                <c:pt idx="4664">
                  <c:v>1.8602739726027397</c:v>
                </c:pt>
                <c:pt idx="4665">
                  <c:v>1.8602739726027397</c:v>
                </c:pt>
                <c:pt idx="4666">
                  <c:v>#N/A</c:v>
                </c:pt>
                <c:pt idx="4667">
                  <c:v>1.8602739726027397</c:v>
                </c:pt>
                <c:pt idx="4668">
                  <c:v>#N/A</c:v>
                </c:pt>
                <c:pt idx="4669">
                  <c:v>1.8602739726027397</c:v>
                </c:pt>
                <c:pt idx="4670">
                  <c:v>#N/A</c:v>
                </c:pt>
                <c:pt idx="4671">
                  <c:v>1.8602739726027397</c:v>
                </c:pt>
                <c:pt idx="4672">
                  <c:v>1.8602739726027397</c:v>
                </c:pt>
                <c:pt idx="4673">
                  <c:v>1.8602739726027397</c:v>
                </c:pt>
                <c:pt idx="4674">
                  <c:v>1.8602739726027397</c:v>
                </c:pt>
                <c:pt idx="4675">
                  <c:v>1.8630136986301369</c:v>
                </c:pt>
                <c:pt idx="4676">
                  <c:v>#N/A</c:v>
                </c:pt>
                <c:pt idx="4677">
                  <c:v>1.8630136986301369</c:v>
                </c:pt>
                <c:pt idx="4678">
                  <c:v>#N/A</c:v>
                </c:pt>
                <c:pt idx="4679">
                  <c:v>#N/A</c:v>
                </c:pt>
                <c:pt idx="4680">
                  <c:v>#N/A</c:v>
                </c:pt>
                <c:pt idx="4681">
                  <c:v>1.8684931506849316</c:v>
                </c:pt>
                <c:pt idx="4682">
                  <c:v>1.8684931506849316</c:v>
                </c:pt>
                <c:pt idx="4683">
                  <c:v>#N/A</c:v>
                </c:pt>
                <c:pt idx="4684">
                  <c:v>1.8712328767123287</c:v>
                </c:pt>
                <c:pt idx="4685">
                  <c:v>#N/A</c:v>
                </c:pt>
                <c:pt idx="4686">
                  <c:v>#N/A</c:v>
                </c:pt>
                <c:pt idx="4687">
                  <c:v>#N/A</c:v>
                </c:pt>
                <c:pt idx="4688">
                  <c:v>#N/A</c:v>
                </c:pt>
                <c:pt idx="4689">
                  <c:v>1.8739726027397261</c:v>
                </c:pt>
                <c:pt idx="4690">
                  <c:v>1.8739726027397261</c:v>
                </c:pt>
                <c:pt idx="4691">
                  <c:v>1.8739726027397261</c:v>
                </c:pt>
                <c:pt idx="4692">
                  <c:v>1.8739726027397261</c:v>
                </c:pt>
                <c:pt idx="4693">
                  <c:v>1.8767123287671232</c:v>
                </c:pt>
                <c:pt idx="4694">
                  <c:v>#N/A</c:v>
                </c:pt>
                <c:pt idx="4695">
                  <c:v>#N/A</c:v>
                </c:pt>
                <c:pt idx="4696">
                  <c:v>#N/A</c:v>
                </c:pt>
                <c:pt idx="4697">
                  <c:v>#N/A</c:v>
                </c:pt>
                <c:pt idx="4698">
                  <c:v>1.8821917808219177</c:v>
                </c:pt>
                <c:pt idx="4699">
                  <c:v>#N/A</c:v>
                </c:pt>
                <c:pt idx="4700">
                  <c:v>1.8821917808219177</c:v>
                </c:pt>
                <c:pt idx="4701">
                  <c:v>#N/A</c:v>
                </c:pt>
                <c:pt idx="4702">
                  <c:v>#N/A</c:v>
                </c:pt>
                <c:pt idx="4703">
                  <c:v>1.8821917808219177</c:v>
                </c:pt>
                <c:pt idx="4704">
                  <c:v>#N/A</c:v>
                </c:pt>
                <c:pt idx="4705">
                  <c:v>1.8821917808219177</c:v>
                </c:pt>
                <c:pt idx="4706">
                  <c:v>1.8821917808219177</c:v>
                </c:pt>
                <c:pt idx="4707">
                  <c:v>1.8821917808219177</c:v>
                </c:pt>
                <c:pt idx="4708">
                  <c:v>1.8821917808219177</c:v>
                </c:pt>
                <c:pt idx="4709">
                  <c:v>1.8821917808219177</c:v>
                </c:pt>
                <c:pt idx="4710">
                  <c:v>#N/A</c:v>
                </c:pt>
                <c:pt idx="4711">
                  <c:v>#N/A</c:v>
                </c:pt>
                <c:pt idx="4712">
                  <c:v>#N/A</c:v>
                </c:pt>
                <c:pt idx="4713">
                  <c:v>1.8821917808219177</c:v>
                </c:pt>
                <c:pt idx="4714">
                  <c:v>1.8821917808219177</c:v>
                </c:pt>
                <c:pt idx="4715">
                  <c:v>#N/A</c:v>
                </c:pt>
                <c:pt idx="4716">
                  <c:v>1.8821917808219177</c:v>
                </c:pt>
                <c:pt idx="4717">
                  <c:v>#N/A</c:v>
                </c:pt>
                <c:pt idx="4718">
                  <c:v>#N/A</c:v>
                </c:pt>
                <c:pt idx="4719">
                  <c:v>1.8849315068493151</c:v>
                </c:pt>
                <c:pt idx="4720">
                  <c:v>#N/A</c:v>
                </c:pt>
                <c:pt idx="4721">
                  <c:v>#N/A</c:v>
                </c:pt>
                <c:pt idx="4722">
                  <c:v>1.8849315068493151</c:v>
                </c:pt>
                <c:pt idx="4723">
                  <c:v>1.8958904109589041</c:v>
                </c:pt>
                <c:pt idx="4724">
                  <c:v>1.8958904109589041</c:v>
                </c:pt>
                <c:pt idx="4725">
                  <c:v>1.8958904109589041</c:v>
                </c:pt>
                <c:pt idx="4726">
                  <c:v>#N/A</c:v>
                </c:pt>
                <c:pt idx="4727">
                  <c:v>1.8958904109589041</c:v>
                </c:pt>
                <c:pt idx="4728">
                  <c:v>#N/A</c:v>
                </c:pt>
                <c:pt idx="4729">
                  <c:v>1.904109589041096</c:v>
                </c:pt>
                <c:pt idx="4730">
                  <c:v>1.904109589041096</c:v>
                </c:pt>
                <c:pt idx="4731">
                  <c:v>#N/A</c:v>
                </c:pt>
                <c:pt idx="4732">
                  <c:v>#N/A</c:v>
                </c:pt>
                <c:pt idx="4733">
                  <c:v>1.904109589041096</c:v>
                </c:pt>
                <c:pt idx="4734">
                  <c:v>1.904109589041096</c:v>
                </c:pt>
                <c:pt idx="4735">
                  <c:v>1.904109589041096</c:v>
                </c:pt>
                <c:pt idx="4736">
                  <c:v>1.904109589041096</c:v>
                </c:pt>
                <c:pt idx="4737">
                  <c:v>#N/A</c:v>
                </c:pt>
                <c:pt idx="4738">
                  <c:v>1.904109589041096</c:v>
                </c:pt>
                <c:pt idx="4739">
                  <c:v>#N/A</c:v>
                </c:pt>
                <c:pt idx="4740">
                  <c:v>1.904109589041096</c:v>
                </c:pt>
                <c:pt idx="4741">
                  <c:v>1.904109589041096</c:v>
                </c:pt>
                <c:pt idx="4742">
                  <c:v>1.904109589041096</c:v>
                </c:pt>
                <c:pt idx="4743">
                  <c:v>#N/A</c:v>
                </c:pt>
                <c:pt idx="4744">
                  <c:v>#N/A</c:v>
                </c:pt>
                <c:pt idx="4745">
                  <c:v>#N/A</c:v>
                </c:pt>
                <c:pt idx="4746">
                  <c:v>#N/A</c:v>
                </c:pt>
                <c:pt idx="4747">
                  <c:v>#N/A</c:v>
                </c:pt>
                <c:pt idx="4748">
                  <c:v>1.9123287671232876</c:v>
                </c:pt>
                <c:pt idx="4749">
                  <c:v>1.9123287671232876</c:v>
                </c:pt>
                <c:pt idx="4750">
                  <c:v>#N/A</c:v>
                </c:pt>
                <c:pt idx="4751">
                  <c:v>1.9123287671232876</c:v>
                </c:pt>
                <c:pt idx="4752">
                  <c:v>#N/A</c:v>
                </c:pt>
                <c:pt idx="4753">
                  <c:v>#N/A</c:v>
                </c:pt>
                <c:pt idx="4754">
                  <c:v>#N/A</c:v>
                </c:pt>
                <c:pt idx="4755">
                  <c:v>#N/A</c:v>
                </c:pt>
                <c:pt idx="4756">
                  <c:v>#N/A</c:v>
                </c:pt>
                <c:pt idx="4757">
                  <c:v>1.9260273972602739</c:v>
                </c:pt>
                <c:pt idx="4758">
                  <c:v>1.9287671232876713</c:v>
                </c:pt>
                <c:pt idx="4759">
                  <c:v>#N/A</c:v>
                </c:pt>
                <c:pt idx="4760">
                  <c:v>#N/A</c:v>
                </c:pt>
                <c:pt idx="4761">
                  <c:v>1.9369863013698629</c:v>
                </c:pt>
                <c:pt idx="4762">
                  <c:v>#N/A</c:v>
                </c:pt>
                <c:pt idx="4763">
                  <c:v>1.9369863013698629</c:v>
                </c:pt>
                <c:pt idx="4764">
                  <c:v>#N/A</c:v>
                </c:pt>
                <c:pt idx="4765">
                  <c:v>1.9369863013698629</c:v>
                </c:pt>
                <c:pt idx="4766">
                  <c:v>1.9397260273972603</c:v>
                </c:pt>
                <c:pt idx="4767">
                  <c:v>1.9397260273972603</c:v>
                </c:pt>
                <c:pt idx="4768">
                  <c:v>#N/A</c:v>
                </c:pt>
                <c:pt idx="4769">
                  <c:v>#N/A</c:v>
                </c:pt>
                <c:pt idx="4770">
                  <c:v>1.9424657534246574</c:v>
                </c:pt>
                <c:pt idx="4771">
                  <c:v>1.9424657534246574</c:v>
                </c:pt>
                <c:pt idx="4772">
                  <c:v>#N/A</c:v>
                </c:pt>
                <c:pt idx="4773">
                  <c:v>1.9424657534246574</c:v>
                </c:pt>
                <c:pt idx="4774">
                  <c:v>1.9424657534246574</c:v>
                </c:pt>
                <c:pt idx="4775">
                  <c:v>1.9424657534246574</c:v>
                </c:pt>
                <c:pt idx="4776">
                  <c:v>#N/A</c:v>
                </c:pt>
                <c:pt idx="4777">
                  <c:v>#N/A</c:v>
                </c:pt>
                <c:pt idx="4778">
                  <c:v>#N/A</c:v>
                </c:pt>
                <c:pt idx="4779">
                  <c:v>1.9589041095890412</c:v>
                </c:pt>
                <c:pt idx="4780">
                  <c:v>#N/A</c:v>
                </c:pt>
                <c:pt idx="4781">
                  <c:v>1.9589041095890412</c:v>
                </c:pt>
                <c:pt idx="4782">
                  <c:v>#N/A</c:v>
                </c:pt>
                <c:pt idx="4783">
                  <c:v>1.9589041095890412</c:v>
                </c:pt>
                <c:pt idx="4784">
                  <c:v>1.9589041095890412</c:v>
                </c:pt>
                <c:pt idx="4785">
                  <c:v>#N/A</c:v>
                </c:pt>
                <c:pt idx="4786">
                  <c:v>1.9589041095890412</c:v>
                </c:pt>
                <c:pt idx="4787">
                  <c:v>#N/A</c:v>
                </c:pt>
                <c:pt idx="4788">
                  <c:v>1.9589041095890412</c:v>
                </c:pt>
                <c:pt idx="4789">
                  <c:v>#N/A</c:v>
                </c:pt>
                <c:pt idx="4790">
                  <c:v>1.9616438356164383</c:v>
                </c:pt>
                <c:pt idx="4791">
                  <c:v>#N/A</c:v>
                </c:pt>
                <c:pt idx="4792">
                  <c:v>#N/A</c:v>
                </c:pt>
                <c:pt idx="4793">
                  <c:v>1.9698630136986301</c:v>
                </c:pt>
                <c:pt idx="4794">
                  <c:v>1.9698630136986301</c:v>
                </c:pt>
                <c:pt idx="4795">
                  <c:v>#N/A</c:v>
                </c:pt>
                <c:pt idx="4796">
                  <c:v>#N/A</c:v>
                </c:pt>
                <c:pt idx="4797">
                  <c:v>1.9726027397260273</c:v>
                </c:pt>
                <c:pt idx="4798">
                  <c:v>1.9808219178082191</c:v>
                </c:pt>
                <c:pt idx="4799">
                  <c:v>#N/A</c:v>
                </c:pt>
                <c:pt idx="4800">
                  <c:v>1.989041095890411</c:v>
                </c:pt>
                <c:pt idx="4801">
                  <c:v>1.989041095890411</c:v>
                </c:pt>
                <c:pt idx="4802">
                  <c:v>#N/A</c:v>
                </c:pt>
                <c:pt idx="4803">
                  <c:v>1.9917808219178081</c:v>
                </c:pt>
                <c:pt idx="4804">
                  <c:v>#N/A</c:v>
                </c:pt>
                <c:pt idx="4805">
                  <c:v>1.9917808219178081</c:v>
                </c:pt>
                <c:pt idx="4806">
                  <c:v>#N/A</c:v>
                </c:pt>
                <c:pt idx="4807">
                  <c:v>#N/A</c:v>
                </c:pt>
                <c:pt idx="4808">
                  <c:v>#N/A</c:v>
                </c:pt>
                <c:pt idx="4809">
                  <c:v>#N/A</c:v>
                </c:pt>
                <c:pt idx="4810">
                  <c:v>#N/A</c:v>
                </c:pt>
                <c:pt idx="4811">
                  <c:v>#N/A</c:v>
                </c:pt>
                <c:pt idx="4812">
                  <c:v>1.9972602739726026</c:v>
                </c:pt>
                <c:pt idx="4813">
                  <c:v>#N/A</c:v>
                </c:pt>
                <c:pt idx="4814">
                  <c:v>#N/A</c:v>
                </c:pt>
                <c:pt idx="4815">
                  <c:v>#N/A</c:v>
                </c:pt>
                <c:pt idx="4816">
                  <c:v>#N/A</c:v>
                </c:pt>
                <c:pt idx="4817">
                  <c:v>1.9972602739726026</c:v>
                </c:pt>
                <c:pt idx="4818">
                  <c:v>1.9972602739726026</c:v>
                </c:pt>
                <c:pt idx="4819">
                  <c:v>1.9972602739726026</c:v>
                </c:pt>
                <c:pt idx="4820">
                  <c:v>#N/A</c:v>
                </c:pt>
                <c:pt idx="4821">
                  <c:v>#N/A</c:v>
                </c:pt>
                <c:pt idx="4822">
                  <c:v>2</c:v>
                </c:pt>
                <c:pt idx="4823">
                  <c:v>2</c:v>
                </c:pt>
                <c:pt idx="4824">
                  <c:v>#N/A</c:v>
                </c:pt>
                <c:pt idx="4825">
                  <c:v>2.0054794520547947</c:v>
                </c:pt>
                <c:pt idx="4826">
                  <c:v>2.0054794520547947</c:v>
                </c:pt>
                <c:pt idx="4827">
                  <c:v>#N/A</c:v>
                </c:pt>
                <c:pt idx="4828">
                  <c:v>#N/A</c:v>
                </c:pt>
                <c:pt idx="4829">
                  <c:v>2.0082191780821916</c:v>
                </c:pt>
                <c:pt idx="4830">
                  <c:v>#N/A</c:v>
                </c:pt>
                <c:pt idx="4831">
                  <c:v>2.0082191780821916</c:v>
                </c:pt>
                <c:pt idx="4832">
                  <c:v>#N/A</c:v>
                </c:pt>
                <c:pt idx="4833">
                  <c:v>2.0082191780821916</c:v>
                </c:pt>
                <c:pt idx="4834">
                  <c:v>#N/A</c:v>
                </c:pt>
                <c:pt idx="4835">
                  <c:v>#N/A</c:v>
                </c:pt>
                <c:pt idx="4836">
                  <c:v>#N/A</c:v>
                </c:pt>
                <c:pt idx="4837">
                  <c:v>2.010958904109589</c:v>
                </c:pt>
                <c:pt idx="4838">
                  <c:v>2.010958904109589</c:v>
                </c:pt>
                <c:pt idx="4839">
                  <c:v>2.0136986301369864</c:v>
                </c:pt>
                <c:pt idx="4840">
                  <c:v>#N/A</c:v>
                </c:pt>
                <c:pt idx="4841">
                  <c:v>2.0136986301369864</c:v>
                </c:pt>
                <c:pt idx="4842">
                  <c:v>#N/A</c:v>
                </c:pt>
                <c:pt idx="4843">
                  <c:v>2.0136986301369864</c:v>
                </c:pt>
                <c:pt idx="4844">
                  <c:v>#N/A</c:v>
                </c:pt>
                <c:pt idx="4845">
                  <c:v>2.0136986301369864</c:v>
                </c:pt>
                <c:pt idx="4846">
                  <c:v>#N/A</c:v>
                </c:pt>
                <c:pt idx="4847">
                  <c:v>#N/A</c:v>
                </c:pt>
                <c:pt idx="4848">
                  <c:v>#N/A</c:v>
                </c:pt>
                <c:pt idx="4849">
                  <c:v>#N/A</c:v>
                </c:pt>
                <c:pt idx="4850">
                  <c:v>#N/A</c:v>
                </c:pt>
                <c:pt idx="4851">
                  <c:v>#N/A</c:v>
                </c:pt>
                <c:pt idx="4852">
                  <c:v>#N/A</c:v>
                </c:pt>
                <c:pt idx="4853">
                  <c:v>#N/A</c:v>
                </c:pt>
                <c:pt idx="4854">
                  <c:v>#N/A</c:v>
                </c:pt>
                <c:pt idx="4855">
                  <c:v>#N/A</c:v>
                </c:pt>
                <c:pt idx="4856">
                  <c:v>#N/A</c:v>
                </c:pt>
                <c:pt idx="4857">
                  <c:v>#N/A</c:v>
                </c:pt>
                <c:pt idx="4858">
                  <c:v>2.0164383561643837</c:v>
                </c:pt>
                <c:pt idx="4859">
                  <c:v>2.0164383561643837</c:v>
                </c:pt>
                <c:pt idx="4860">
                  <c:v>2.0164383561643837</c:v>
                </c:pt>
                <c:pt idx="4861">
                  <c:v>2.0164383561643837</c:v>
                </c:pt>
                <c:pt idx="4862">
                  <c:v>#N/A</c:v>
                </c:pt>
                <c:pt idx="4863">
                  <c:v>#N/A</c:v>
                </c:pt>
                <c:pt idx="4864">
                  <c:v>2.0164383561643837</c:v>
                </c:pt>
                <c:pt idx="4865">
                  <c:v>2.0164383561643837</c:v>
                </c:pt>
                <c:pt idx="4866">
                  <c:v>2.0164383561643837</c:v>
                </c:pt>
                <c:pt idx="4867">
                  <c:v>#N/A</c:v>
                </c:pt>
                <c:pt idx="4868">
                  <c:v>#N/A</c:v>
                </c:pt>
                <c:pt idx="4869">
                  <c:v>2.0191780821917806</c:v>
                </c:pt>
                <c:pt idx="4870">
                  <c:v>2.0273972602739727</c:v>
                </c:pt>
                <c:pt idx="4871">
                  <c:v>#N/A</c:v>
                </c:pt>
                <c:pt idx="4872">
                  <c:v>#N/A</c:v>
                </c:pt>
                <c:pt idx="4873">
                  <c:v>#N/A</c:v>
                </c:pt>
                <c:pt idx="4874">
                  <c:v>2.0301369863013701</c:v>
                </c:pt>
                <c:pt idx="4875">
                  <c:v>2.0301369863013701</c:v>
                </c:pt>
                <c:pt idx="4876">
                  <c:v>#N/A</c:v>
                </c:pt>
                <c:pt idx="4877">
                  <c:v>2.0301369863013701</c:v>
                </c:pt>
                <c:pt idx="4878">
                  <c:v>2.032876712328767</c:v>
                </c:pt>
                <c:pt idx="4879">
                  <c:v>2.032876712328767</c:v>
                </c:pt>
                <c:pt idx="4880">
                  <c:v>#N/A</c:v>
                </c:pt>
                <c:pt idx="4881">
                  <c:v>#N/A</c:v>
                </c:pt>
                <c:pt idx="4882">
                  <c:v>2.032876712328767</c:v>
                </c:pt>
                <c:pt idx="4883">
                  <c:v>#N/A</c:v>
                </c:pt>
                <c:pt idx="4884">
                  <c:v>2.032876712328767</c:v>
                </c:pt>
                <c:pt idx="4885">
                  <c:v>2.032876712328767</c:v>
                </c:pt>
                <c:pt idx="4886">
                  <c:v>2.032876712328767</c:v>
                </c:pt>
                <c:pt idx="4887">
                  <c:v>#N/A</c:v>
                </c:pt>
                <c:pt idx="4888">
                  <c:v>#N/A</c:v>
                </c:pt>
                <c:pt idx="4889">
                  <c:v>#N/A</c:v>
                </c:pt>
                <c:pt idx="4890">
                  <c:v>2.032876712328767</c:v>
                </c:pt>
                <c:pt idx="4891">
                  <c:v>2.032876712328767</c:v>
                </c:pt>
                <c:pt idx="4892">
                  <c:v>2.032876712328767</c:v>
                </c:pt>
                <c:pt idx="4893">
                  <c:v>2.032876712328767</c:v>
                </c:pt>
                <c:pt idx="4894">
                  <c:v>#N/A</c:v>
                </c:pt>
                <c:pt idx="4895">
                  <c:v>2.032876712328767</c:v>
                </c:pt>
                <c:pt idx="4896">
                  <c:v>2.032876712328767</c:v>
                </c:pt>
                <c:pt idx="4897">
                  <c:v>2.032876712328767</c:v>
                </c:pt>
                <c:pt idx="4898">
                  <c:v>2.032876712328767</c:v>
                </c:pt>
                <c:pt idx="4899">
                  <c:v>2.032876712328767</c:v>
                </c:pt>
                <c:pt idx="4900">
                  <c:v>2.032876712328767</c:v>
                </c:pt>
                <c:pt idx="4901">
                  <c:v>2.032876712328767</c:v>
                </c:pt>
                <c:pt idx="4902">
                  <c:v>2.0356164383561643</c:v>
                </c:pt>
                <c:pt idx="4903">
                  <c:v>#N/A</c:v>
                </c:pt>
                <c:pt idx="4904">
                  <c:v>2.0465753424657533</c:v>
                </c:pt>
                <c:pt idx="4905">
                  <c:v>2.0465753424657533</c:v>
                </c:pt>
                <c:pt idx="4906">
                  <c:v>#N/A</c:v>
                </c:pt>
                <c:pt idx="4907">
                  <c:v>#N/A</c:v>
                </c:pt>
                <c:pt idx="4908">
                  <c:v>2.0465753424657533</c:v>
                </c:pt>
                <c:pt idx="4909">
                  <c:v>2.0465753424657533</c:v>
                </c:pt>
                <c:pt idx="4910">
                  <c:v>#N/A</c:v>
                </c:pt>
                <c:pt idx="4911">
                  <c:v>2.0465753424657533</c:v>
                </c:pt>
                <c:pt idx="4912">
                  <c:v>#N/A</c:v>
                </c:pt>
                <c:pt idx="4913">
                  <c:v>#N/A</c:v>
                </c:pt>
                <c:pt idx="4914">
                  <c:v>2.0465753424657533</c:v>
                </c:pt>
                <c:pt idx="4915">
                  <c:v>2.0465753424657533</c:v>
                </c:pt>
                <c:pt idx="4916">
                  <c:v>#N/A</c:v>
                </c:pt>
                <c:pt idx="4917">
                  <c:v>#N/A</c:v>
                </c:pt>
                <c:pt idx="4918">
                  <c:v>2.0465753424657533</c:v>
                </c:pt>
                <c:pt idx="4919">
                  <c:v>#N/A</c:v>
                </c:pt>
                <c:pt idx="4920">
                  <c:v>#N/A</c:v>
                </c:pt>
                <c:pt idx="4921">
                  <c:v>#N/A</c:v>
                </c:pt>
                <c:pt idx="4922">
                  <c:v>2.0465753424657533</c:v>
                </c:pt>
                <c:pt idx="4923">
                  <c:v>#N/A</c:v>
                </c:pt>
                <c:pt idx="4924">
                  <c:v>2.0465753424657533</c:v>
                </c:pt>
                <c:pt idx="4925">
                  <c:v>#N/A</c:v>
                </c:pt>
                <c:pt idx="4926">
                  <c:v>2.0465753424657533</c:v>
                </c:pt>
                <c:pt idx="4927">
                  <c:v>2.0465753424657533</c:v>
                </c:pt>
                <c:pt idx="4928">
                  <c:v>2.0465753424657533</c:v>
                </c:pt>
                <c:pt idx="4929">
                  <c:v>#N/A</c:v>
                </c:pt>
                <c:pt idx="4930">
                  <c:v>#N/A</c:v>
                </c:pt>
                <c:pt idx="4931">
                  <c:v>2.0493150684931507</c:v>
                </c:pt>
                <c:pt idx="4932">
                  <c:v>#N/A</c:v>
                </c:pt>
                <c:pt idx="4933">
                  <c:v>#N/A</c:v>
                </c:pt>
                <c:pt idx="4934">
                  <c:v>#N/A</c:v>
                </c:pt>
                <c:pt idx="4935">
                  <c:v>#N/A</c:v>
                </c:pt>
                <c:pt idx="4936">
                  <c:v>#N/A</c:v>
                </c:pt>
                <c:pt idx="4937">
                  <c:v>#N/A</c:v>
                </c:pt>
                <c:pt idx="4938">
                  <c:v>#N/A</c:v>
                </c:pt>
                <c:pt idx="4939">
                  <c:v>#N/A</c:v>
                </c:pt>
                <c:pt idx="4940">
                  <c:v>#N/A</c:v>
                </c:pt>
                <c:pt idx="4941">
                  <c:v>2.0493150684931507</c:v>
                </c:pt>
                <c:pt idx="4942">
                  <c:v>#N/A</c:v>
                </c:pt>
                <c:pt idx="4943">
                  <c:v>2.0493150684931507</c:v>
                </c:pt>
                <c:pt idx="4944">
                  <c:v>2.0493150684931507</c:v>
                </c:pt>
                <c:pt idx="4945">
                  <c:v>2.0493150684931507</c:v>
                </c:pt>
                <c:pt idx="4946">
                  <c:v>#N/A</c:v>
                </c:pt>
                <c:pt idx="4947">
                  <c:v>2.0493150684931507</c:v>
                </c:pt>
                <c:pt idx="4948">
                  <c:v>2.0493150684931507</c:v>
                </c:pt>
                <c:pt idx="4949">
                  <c:v>#N/A</c:v>
                </c:pt>
                <c:pt idx="4950">
                  <c:v>2.0493150684931507</c:v>
                </c:pt>
                <c:pt idx="4951">
                  <c:v>#N/A</c:v>
                </c:pt>
                <c:pt idx="4952">
                  <c:v>#N/A</c:v>
                </c:pt>
                <c:pt idx="4953">
                  <c:v>#N/A</c:v>
                </c:pt>
                <c:pt idx="4954">
                  <c:v>#N/A</c:v>
                </c:pt>
                <c:pt idx="4955">
                  <c:v>#N/A</c:v>
                </c:pt>
                <c:pt idx="4956">
                  <c:v>#N/A</c:v>
                </c:pt>
                <c:pt idx="4957">
                  <c:v>#N/A</c:v>
                </c:pt>
                <c:pt idx="4958">
                  <c:v>#N/A</c:v>
                </c:pt>
                <c:pt idx="4959">
                  <c:v>#N/A</c:v>
                </c:pt>
                <c:pt idx="4960">
                  <c:v>2.0493150684931507</c:v>
                </c:pt>
                <c:pt idx="4961">
                  <c:v>2.0493150684931507</c:v>
                </c:pt>
                <c:pt idx="4962">
                  <c:v>#N/A</c:v>
                </c:pt>
                <c:pt idx="4963">
                  <c:v>#N/A</c:v>
                </c:pt>
                <c:pt idx="4964">
                  <c:v>2.0493150684931507</c:v>
                </c:pt>
                <c:pt idx="4965">
                  <c:v>2.0493150684931507</c:v>
                </c:pt>
                <c:pt idx="4966">
                  <c:v>2.0493150684931507</c:v>
                </c:pt>
                <c:pt idx="4967">
                  <c:v>#N/A</c:v>
                </c:pt>
                <c:pt idx="4968">
                  <c:v>2.0493150684931507</c:v>
                </c:pt>
                <c:pt idx="4969">
                  <c:v>#N/A</c:v>
                </c:pt>
                <c:pt idx="4970">
                  <c:v>#N/A</c:v>
                </c:pt>
                <c:pt idx="4971">
                  <c:v>#N/A</c:v>
                </c:pt>
                <c:pt idx="4972">
                  <c:v>#N/A</c:v>
                </c:pt>
                <c:pt idx="4973">
                  <c:v>#N/A</c:v>
                </c:pt>
                <c:pt idx="4974">
                  <c:v>2.0493150684931507</c:v>
                </c:pt>
                <c:pt idx="4975">
                  <c:v>2.0493150684931507</c:v>
                </c:pt>
                <c:pt idx="4976">
                  <c:v>#N/A</c:v>
                </c:pt>
                <c:pt idx="4977">
                  <c:v>#N/A</c:v>
                </c:pt>
                <c:pt idx="4978">
                  <c:v>2.0493150684931507</c:v>
                </c:pt>
                <c:pt idx="4979">
                  <c:v>#N/A</c:v>
                </c:pt>
                <c:pt idx="4980">
                  <c:v>#N/A</c:v>
                </c:pt>
                <c:pt idx="4981">
                  <c:v>#N/A</c:v>
                </c:pt>
                <c:pt idx="4982">
                  <c:v>2.0493150684931507</c:v>
                </c:pt>
                <c:pt idx="4983">
                  <c:v>#N/A</c:v>
                </c:pt>
                <c:pt idx="4984">
                  <c:v>2.0493150684931507</c:v>
                </c:pt>
                <c:pt idx="4985">
                  <c:v>#N/A</c:v>
                </c:pt>
                <c:pt idx="4986">
                  <c:v>#N/A</c:v>
                </c:pt>
                <c:pt idx="4987">
                  <c:v>#N/A</c:v>
                </c:pt>
                <c:pt idx="4988">
                  <c:v>#N/A</c:v>
                </c:pt>
                <c:pt idx="4989">
                  <c:v>#N/A</c:v>
                </c:pt>
                <c:pt idx="4990">
                  <c:v>2.0493150684931507</c:v>
                </c:pt>
                <c:pt idx="4991">
                  <c:v>2.0493150684931507</c:v>
                </c:pt>
                <c:pt idx="4992">
                  <c:v>2.0493150684931507</c:v>
                </c:pt>
                <c:pt idx="4993">
                  <c:v>2.0493150684931507</c:v>
                </c:pt>
                <c:pt idx="4994">
                  <c:v>#N/A</c:v>
                </c:pt>
                <c:pt idx="4995">
                  <c:v>#N/A</c:v>
                </c:pt>
                <c:pt idx="4996">
                  <c:v>2.0493150684931507</c:v>
                </c:pt>
                <c:pt idx="4997">
                  <c:v>2.0493150684931507</c:v>
                </c:pt>
                <c:pt idx="4998">
                  <c:v>#N/A</c:v>
                </c:pt>
                <c:pt idx="4999">
                  <c:v>#N/A</c:v>
                </c:pt>
                <c:pt idx="5000">
                  <c:v>2.0493150684931507</c:v>
                </c:pt>
                <c:pt idx="5001">
                  <c:v>#N/A</c:v>
                </c:pt>
                <c:pt idx="5002">
                  <c:v>2.0493150684931507</c:v>
                </c:pt>
                <c:pt idx="5003">
                  <c:v>#N/A</c:v>
                </c:pt>
                <c:pt idx="5004">
                  <c:v>#N/A</c:v>
                </c:pt>
                <c:pt idx="5005">
                  <c:v>2.0493150684931507</c:v>
                </c:pt>
                <c:pt idx="5006">
                  <c:v>2.0493150684931507</c:v>
                </c:pt>
                <c:pt idx="5007">
                  <c:v>#N/A</c:v>
                </c:pt>
                <c:pt idx="5008">
                  <c:v>#N/A</c:v>
                </c:pt>
                <c:pt idx="5009">
                  <c:v>2.0493150684931507</c:v>
                </c:pt>
                <c:pt idx="5010">
                  <c:v>#N/A</c:v>
                </c:pt>
                <c:pt idx="5011">
                  <c:v>#N/A</c:v>
                </c:pt>
                <c:pt idx="5012">
                  <c:v>#N/A</c:v>
                </c:pt>
                <c:pt idx="5013">
                  <c:v>#N/A</c:v>
                </c:pt>
                <c:pt idx="5014">
                  <c:v>#N/A</c:v>
                </c:pt>
                <c:pt idx="5015">
                  <c:v>#N/A</c:v>
                </c:pt>
                <c:pt idx="5016">
                  <c:v>2.0493150684931507</c:v>
                </c:pt>
                <c:pt idx="5017">
                  <c:v>#N/A</c:v>
                </c:pt>
                <c:pt idx="5018">
                  <c:v>2.0493150684931507</c:v>
                </c:pt>
                <c:pt idx="5019">
                  <c:v>2.0493150684931507</c:v>
                </c:pt>
                <c:pt idx="5020">
                  <c:v>#N/A</c:v>
                </c:pt>
                <c:pt idx="5021">
                  <c:v>2.0493150684931507</c:v>
                </c:pt>
                <c:pt idx="5022">
                  <c:v>#N/A</c:v>
                </c:pt>
                <c:pt idx="5023">
                  <c:v>#N/A</c:v>
                </c:pt>
                <c:pt idx="5024">
                  <c:v>#N/A</c:v>
                </c:pt>
                <c:pt idx="5025">
                  <c:v>#N/A</c:v>
                </c:pt>
                <c:pt idx="5026">
                  <c:v>2.0493150684931507</c:v>
                </c:pt>
                <c:pt idx="5027">
                  <c:v>#N/A</c:v>
                </c:pt>
                <c:pt idx="5028">
                  <c:v>#N/A</c:v>
                </c:pt>
                <c:pt idx="5029">
                  <c:v>#N/A</c:v>
                </c:pt>
                <c:pt idx="5030">
                  <c:v>#N/A</c:v>
                </c:pt>
                <c:pt idx="5031">
                  <c:v>#N/A</c:v>
                </c:pt>
                <c:pt idx="5032">
                  <c:v>2.0493150684931507</c:v>
                </c:pt>
                <c:pt idx="5033">
                  <c:v>#N/A</c:v>
                </c:pt>
                <c:pt idx="5034">
                  <c:v>#N/A</c:v>
                </c:pt>
                <c:pt idx="5035">
                  <c:v>#N/A</c:v>
                </c:pt>
                <c:pt idx="5036">
                  <c:v>#N/A</c:v>
                </c:pt>
                <c:pt idx="5037">
                  <c:v>#N/A</c:v>
                </c:pt>
                <c:pt idx="5038">
                  <c:v>#N/A</c:v>
                </c:pt>
                <c:pt idx="5039">
                  <c:v>#N/A</c:v>
                </c:pt>
                <c:pt idx="5040">
                  <c:v>#N/A</c:v>
                </c:pt>
                <c:pt idx="5041">
                  <c:v>2.0493150684931507</c:v>
                </c:pt>
                <c:pt idx="5042">
                  <c:v>#N/A</c:v>
                </c:pt>
                <c:pt idx="5043">
                  <c:v>#N/A</c:v>
                </c:pt>
                <c:pt idx="5044">
                  <c:v>#N/A</c:v>
                </c:pt>
                <c:pt idx="5045">
                  <c:v>2.0493150684931507</c:v>
                </c:pt>
                <c:pt idx="5046">
                  <c:v>#N/A</c:v>
                </c:pt>
                <c:pt idx="5047">
                  <c:v>#N/A</c:v>
                </c:pt>
                <c:pt idx="5048">
                  <c:v>#N/A</c:v>
                </c:pt>
                <c:pt idx="5049">
                  <c:v>2.0493150684931507</c:v>
                </c:pt>
                <c:pt idx="5050">
                  <c:v>#N/A</c:v>
                </c:pt>
                <c:pt idx="5051">
                  <c:v>#N/A</c:v>
                </c:pt>
                <c:pt idx="5052">
                  <c:v>#N/A</c:v>
                </c:pt>
                <c:pt idx="5053">
                  <c:v>#N/A</c:v>
                </c:pt>
                <c:pt idx="5054">
                  <c:v>2.0493150684931507</c:v>
                </c:pt>
                <c:pt idx="5055">
                  <c:v>#N/A</c:v>
                </c:pt>
                <c:pt idx="5056">
                  <c:v>#N/A</c:v>
                </c:pt>
                <c:pt idx="5057">
                  <c:v>#N/A</c:v>
                </c:pt>
                <c:pt idx="5058">
                  <c:v>2.0493150684931507</c:v>
                </c:pt>
                <c:pt idx="5059">
                  <c:v>#N/A</c:v>
                </c:pt>
                <c:pt idx="5060">
                  <c:v>#N/A</c:v>
                </c:pt>
                <c:pt idx="5061">
                  <c:v>#N/A</c:v>
                </c:pt>
                <c:pt idx="5062">
                  <c:v>2.0493150684931507</c:v>
                </c:pt>
                <c:pt idx="5063">
                  <c:v>#N/A</c:v>
                </c:pt>
                <c:pt idx="5064">
                  <c:v>2.0493150684931507</c:v>
                </c:pt>
                <c:pt idx="5065">
                  <c:v>#N/A</c:v>
                </c:pt>
                <c:pt idx="5066">
                  <c:v>2.0493150684931507</c:v>
                </c:pt>
                <c:pt idx="5067">
                  <c:v>#N/A</c:v>
                </c:pt>
                <c:pt idx="5068">
                  <c:v>2.0493150684931507</c:v>
                </c:pt>
                <c:pt idx="5069">
                  <c:v>2.0493150684931507</c:v>
                </c:pt>
                <c:pt idx="5070">
                  <c:v>2.0493150684931507</c:v>
                </c:pt>
                <c:pt idx="5071">
                  <c:v>#N/A</c:v>
                </c:pt>
                <c:pt idx="5072">
                  <c:v>#N/A</c:v>
                </c:pt>
                <c:pt idx="5073">
                  <c:v>#N/A</c:v>
                </c:pt>
                <c:pt idx="5074">
                  <c:v>#N/A</c:v>
                </c:pt>
                <c:pt idx="5075">
                  <c:v>2.0493150684931507</c:v>
                </c:pt>
                <c:pt idx="5076">
                  <c:v>2.0493150684931507</c:v>
                </c:pt>
                <c:pt idx="5077">
                  <c:v>#N/A</c:v>
                </c:pt>
                <c:pt idx="5078">
                  <c:v>2.0493150684931507</c:v>
                </c:pt>
                <c:pt idx="5079">
                  <c:v>2.0493150684931507</c:v>
                </c:pt>
                <c:pt idx="5080">
                  <c:v>2.0493150684931507</c:v>
                </c:pt>
                <c:pt idx="5081">
                  <c:v>2.0493150684931507</c:v>
                </c:pt>
                <c:pt idx="5082">
                  <c:v>#N/A</c:v>
                </c:pt>
                <c:pt idx="5083">
                  <c:v>#N/A</c:v>
                </c:pt>
                <c:pt idx="5084">
                  <c:v>2.0493150684931507</c:v>
                </c:pt>
                <c:pt idx="5085">
                  <c:v>#N/A</c:v>
                </c:pt>
                <c:pt idx="5086">
                  <c:v>2.0493150684931507</c:v>
                </c:pt>
                <c:pt idx="5087">
                  <c:v>2.0493150684931507</c:v>
                </c:pt>
                <c:pt idx="5088">
                  <c:v>#N/A</c:v>
                </c:pt>
                <c:pt idx="5089">
                  <c:v>2.0493150684931507</c:v>
                </c:pt>
                <c:pt idx="5090">
                  <c:v>2.0493150684931507</c:v>
                </c:pt>
                <c:pt idx="5091">
                  <c:v>2.0493150684931507</c:v>
                </c:pt>
                <c:pt idx="5092">
                  <c:v>#N/A</c:v>
                </c:pt>
                <c:pt idx="5093">
                  <c:v>#N/A</c:v>
                </c:pt>
                <c:pt idx="5094">
                  <c:v>2.0493150684931507</c:v>
                </c:pt>
                <c:pt idx="5095">
                  <c:v>#N/A</c:v>
                </c:pt>
                <c:pt idx="5096">
                  <c:v>#N/A</c:v>
                </c:pt>
                <c:pt idx="5097">
                  <c:v>#N/A</c:v>
                </c:pt>
                <c:pt idx="5098">
                  <c:v>#N/A</c:v>
                </c:pt>
                <c:pt idx="5099">
                  <c:v>#N/A</c:v>
                </c:pt>
                <c:pt idx="5100">
                  <c:v>2.0493150684931507</c:v>
                </c:pt>
                <c:pt idx="5101">
                  <c:v>#N/A</c:v>
                </c:pt>
                <c:pt idx="5102">
                  <c:v>#N/A</c:v>
                </c:pt>
                <c:pt idx="5103">
                  <c:v>2.0493150684931507</c:v>
                </c:pt>
                <c:pt idx="5104">
                  <c:v>#N/A</c:v>
                </c:pt>
                <c:pt idx="5105">
                  <c:v>#N/A</c:v>
                </c:pt>
                <c:pt idx="5106">
                  <c:v>#N/A</c:v>
                </c:pt>
                <c:pt idx="5107">
                  <c:v>#N/A</c:v>
                </c:pt>
                <c:pt idx="5108">
                  <c:v>#N/A</c:v>
                </c:pt>
                <c:pt idx="5109">
                  <c:v>#N/A</c:v>
                </c:pt>
                <c:pt idx="5110">
                  <c:v>#N/A</c:v>
                </c:pt>
                <c:pt idx="5111">
                  <c:v>2.0493150684931507</c:v>
                </c:pt>
                <c:pt idx="5112">
                  <c:v>2.0493150684931507</c:v>
                </c:pt>
                <c:pt idx="5113">
                  <c:v>2.0493150684931507</c:v>
                </c:pt>
                <c:pt idx="5114">
                  <c:v>2.0493150684931507</c:v>
                </c:pt>
                <c:pt idx="5115">
                  <c:v>#N/A</c:v>
                </c:pt>
                <c:pt idx="5116">
                  <c:v>#N/A</c:v>
                </c:pt>
                <c:pt idx="5117">
                  <c:v>2.0493150684931507</c:v>
                </c:pt>
                <c:pt idx="5118">
                  <c:v>#N/A</c:v>
                </c:pt>
                <c:pt idx="5119">
                  <c:v>2.0493150684931507</c:v>
                </c:pt>
                <c:pt idx="5120">
                  <c:v>#N/A</c:v>
                </c:pt>
                <c:pt idx="5121">
                  <c:v>2.0493150684931507</c:v>
                </c:pt>
                <c:pt idx="5122">
                  <c:v>2.0493150684931507</c:v>
                </c:pt>
                <c:pt idx="5123">
                  <c:v>#N/A</c:v>
                </c:pt>
                <c:pt idx="5124">
                  <c:v>2.0493150684931507</c:v>
                </c:pt>
                <c:pt idx="5125">
                  <c:v>#N/A</c:v>
                </c:pt>
                <c:pt idx="5126">
                  <c:v>#N/A</c:v>
                </c:pt>
                <c:pt idx="5127">
                  <c:v>2.0493150684931507</c:v>
                </c:pt>
                <c:pt idx="5128">
                  <c:v>#N/A</c:v>
                </c:pt>
                <c:pt idx="5129">
                  <c:v>#N/A</c:v>
                </c:pt>
                <c:pt idx="5130">
                  <c:v>#N/A</c:v>
                </c:pt>
                <c:pt idx="5131">
                  <c:v>#N/A</c:v>
                </c:pt>
                <c:pt idx="5132">
                  <c:v>#N/A</c:v>
                </c:pt>
                <c:pt idx="5133">
                  <c:v>#N/A</c:v>
                </c:pt>
                <c:pt idx="5134">
                  <c:v>#N/A</c:v>
                </c:pt>
                <c:pt idx="5135">
                  <c:v>#N/A</c:v>
                </c:pt>
                <c:pt idx="5136">
                  <c:v>#N/A</c:v>
                </c:pt>
                <c:pt idx="5137">
                  <c:v>2.0493150684931507</c:v>
                </c:pt>
                <c:pt idx="5138">
                  <c:v>#N/A</c:v>
                </c:pt>
                <c:pt idx="5139">
                  <c:v>#N/A</c:v>
                </c:pt>
                <c:pt idx="5140">
                  <c:v>#N/A</c:v>
                </c:pt>
                <c:pt idx="5141">
                  <c:v>#N/A</c:v>
                </c:pt>
                <c:pt idx="5142">
                  <c:v>#N/A</c:v>
                </c:pt>
                <c:pt idx="5143">
                  <c:v>#N/A</c:v>
                </c:pt>
                <c:pt idx="5144">
                  <c:v>2.0493150684931507</c:v>
                </c:pt>
                <c:pt idx="5145">
                  <c:v>2.0493150684931507</c:v>
                </c:pt>
                <c:pt idx="5146">
                  <c:v>2.0493150684931507</c:v>
                </c:pt>
                <c:pt idx="5147">
                  <c:v>#N/A</c:v>
                </c:pt>
                <c:pt idx="5148">
                  <c:v>#N/A</c:v>
                </c:pt>
                <c:pt idx="5149">
                  <c:v>#N/A</c:v>
                </c:pt>
                <c:pt idx="5150">
                  <c:v>2.0493150684931507</c:v>
                </c:pt>
                <c:pt idx="5151">
                  <c:v>2.0493150684931507</c:v>
                </c:pt>
                <c:pt idx="5152">
                  <c:v>2.0493150684931507</c:v>
                </c:pt>
                <c:pt idx="5153">
                  <c:v>2.0493150684931507</c:v>
                </c:pt>
                <c:pt idx="5154">
                  <c:v>2.0493150684931507</c:v>
                </c:pt>
                <c:pt idx="5155">
                  <c:v>#N/A</c:v>
                </c:pt>
                <c:pt idx="5156">
                  <c:v>#N/A</c:v>
                </c:pt>
                <c:pt idx="5157">
                  <c:v>#N/A</c:v>
                </c:pt>
                <c:pt idx="5158">
                  <c:v>#N/A</c:v>
                </c:pt>
                <c:pt idx="5159">
                  <c:v>2.0493150684931507</c:v>
                </c:pt>
                <c:pt idx="5160">
                  <c:v>2.0493150684931507</c:v>
                </c:pt>
                <c:pt idx="5161">
                  <c:v>#N/A</c:v>
                </c:pt>
                <c:pt idx="5162">
                  <c:v>#N/A</c:v>
                </c:pt>
                <c:pt idx="5163">
                  <c:v>#N/A</c:v>
                </c:pt>
                <c:pt idx="5164">
                  <c:v>#N/A</c:v>
                </c:pt>
                <c:pt idx="5165">
                  <c:v>2.0493150684931507</c:v>
                </c:pt>
                <c:pt idx="5166">
                  <c:v>#N/A</c:v>
                </c:pt>
                <c:pt idx="5167">
                  <c:v>2.0493150684931507</c:v>
                </c:pt>
                <c:pt idx="5168">
                  <c:v>2.0493150684931507</c:v>
                </c:pt>
                <c:pt idx="5169">
                  <c:v>#N/A</c:v>
                </c:pt>
                <c:pt idx="5170">
                  <c:v>#N/A</c:v>
                </c:pt>
                <c:pt idx="5171">
                  <c:v>#N/A</c:v>
                </c:pt>
                <c:pt idx="5172">
                  <c:v>2.0493150684931507</c:v>
                </c:pt>
                <c:pt idx="5173">
                  <c:v>#N/A</c:v>
                </c:pt>
                <c:pt idx="5174">
                  <c:v>#N/A</c:v>
                </c:pt>
                <c:pt idx="5175">
                  <c:v>#N/A</c:v>
                </c:pt>
                <c:pt idx="5176">
                  <c:v>2.0493150684931507</c:v>
                </c:pt>
                <c:pt idx="5177">
                  <c:v>2.0493150684931507</c:v>
                </c:pt>
                <c:pt idx="5178">
                  <c:v>#N/A</c:v>
                </c:pt>
                <c:pt idx="5179">
                  <c:v>#N/A</c:v>
                </c:pt>
                <c:pt idx="5180">
                  <c:v>#N/A</c:v>
                </c:pt>
                <c:pt idx="5181">
                  <c:v>#N/A</c:v>
                </c:pt>
                <c:pt idx="5182">
                  <c:v>2.0493150684931507</c:v>
                </c:pt>
                <c:pt idx="5183">
                  <c:v>#N/A</c:v>
                </c:pt>
                <c:pt idx="5184">
                  <c:v>2.0493150684931507</c:v>
                </c:pt>
                <c:pt idx="5185">
                  <c:v>#N/A</c:v>
                </c:pt>
                <c:pt idx="5186">
                  <c:v>2.0493150684931507</c:v>
                </c:pt>
                <c:pt idx="5187">
                  <c:v>2.0493150684931507</c:v>
                </c:pt>
                <c:pt idx="5188">
                  <c:v>#N/A</c:v>
                </c:pt>
                <c:pt idx="5189">
                  <c:v>#N/A</c:v>
                </c:pt>
                <c:pt idx="5190">
                  <c:v>2.0493150684931507</c:v>
                </c:pt>
                <c:pt idx="5191">
                  <c:v>#N/A</c:v>
                </c:pt>
                <c:pt idx="5192">
                  <c:v>#N/A</c:v>
                </c:pt>
                <c:pt idx="5193">
                  <c:v>#N/A</c:v>
                </c:pt>
                <c:pt idx="5194">
                  <c:v>#N/A</c:v>
                </c:pt>
                <c:pt idx="5195">
                  <c:v>2.0493150684931507</c:v>
                </c:pt>
                <c:pt idx="5196">
                  <c:v>2.0493150684931507</c:v>
                </c:pt>
                <c:pt idx="5197">
                  <c:v>2.0493150684931507</c:v>
                </c:pt>
                <c:pt idx="5198">
                  <c:v>#N/A</c:v>
                </c:pt>
                <c:pt idx="5199">
                  <c:v>#N/A</c:v>
                </c:pt>
                <c:pt idx="5200">
                  <c:v>#N/A</c:v>
                </c:pt>
                <c:pt idx="5201">
                  <c:v>#N/A</c:v>
                </c:pt>
                <c:pt idx="5202">
                  <c:v>#N/A</c:v>
                </c:pt>
                <c:pt idx="5203">
                  <c:v>#N/A</c:v>
                </c:pt>
                <c:pt idx="5204">
                  <c:v>2.0493150684931507</c:v>
                </c:pt>
                <c:pt idx="5205">
                  <c:v>#N/A</c:v>
                </c:pt>
                <c:pt idx="5206">
                  <c:v>#N/A</c:v>
                </c:pt>
                <c:pt idx="5207">
                  <c:v>2.0493150684931507</c:v>
                </c:pt>
                <c:pt idx="5208">
                  <c:v>2.0493150684931507</c:v>
                </c:pt>
                <c:pt idx="5209">
                  <c:v>#N/A</c:v>
                </c:pt>
                <c:pt idx="5210">
                  <c:v>2.0493150684931507</c:v>
                </c:pt>
                <c:pt idx="5211">
                  <c:v>#N/A</c:v>
                </c:pt>
                <c:pt idx="5212">
                  <c:v>2.0493150684931507</c:v>
                </c:pt>
                <c:pt idx="5213">
                  <c:v>2.0493150684931507</c:v>
                </c:pt>
                <c:pt idx="5214">
                  <c:v>#N/A</c:v>
                </c:pt>
                <c:pt idx="5215">
                  <c:v>2.0493150684931507</c:v>
                </c:pt>
                <c:pt idx="5216">
                  <c:v>2.0493150684931507</c:v>
                </c:pt>
                <c:pt idx="5217">
                  <c:v>2.0493150684931507</c:v>
                </c:pt>
                <c:pt idx="5218">
                  <c:v>#N/A</c:v>
                </c:pt>
                <c:pt idx="5219">
                  <c:v>2.0493150684931507</c:v>
                </c:pt>
                <c:pt idx="5220">
                  <c:v>#N/A</c:v>
                </c:pt>
                <c:pt idx="5221">
                  <c:v>2.0493150684931507</c:v>
                </c:pt>
                <c:pt idx="5222">
                  <c:v>#N/A</c:v>
                </c:pt>
                <c:pt idx="5223">
                  <c:v>#N/A</c:v>
                </c:pt>
                <c:pt idx="5224">
                  <c:v>#N/A</c:v>
                </c:pt>
                <c:pt idx="5225">
                  <c:v>2.0493150684931507</c:v>
                </c:pt>
                <c:pt idx="5226">
                  <c:v>#N/A</c:v>
                </c:pt>
                <c:pt idx="5227">
                  <c:v>2.0493150684931507</c:v>
                </c:pt>
                <c:pt idx="5228">
                  <c:v>2.0493150684931507</c:v>
                </c:pt>
                <c:pt idx="5229">
                  <c:v>#N/A</c:v>
                </c:pt>
                <c:pt idx="5230">
                  <c:v>#N/A</c:v>
                </c:pt>
                <c:pt idx="5231">
                  <c:v>#N/A</c:v>
                </c:pt>
                <c:pt idx="5232">
                  <c:v>#N/A</c:v>
                </c:pt>
                <c:pt idx="5233">
                  <c:v>2.0493150684931507</c:v>
                </c:pt>
                <c:pt idx="5234">
                  <c:v>2.0493150684931507</c:v>
                </c:pt>
                <c:pt idx="5235">
                  <c:v>#N/A</c:v>
                </c:pt>
                <c:pt idx="5236">
                  <c:v>#N/A</c:v>
                </c:pt>
                <c:pt idx="5237">
                  <c:v>2.0493150684931507</c:v>
                </c:pt>
                <c:pt idx="5238">
                  <c:v>#N/A</c:v>
                </c:pt>
                <c:pt idx="5239">
                  <c:v>#N/A</c:v>
                </c:pt>
                <c:pt idx="5240">
                  <c:v>2.0493150684931507</c:v>
                </c:pt>
                <c:pt idx="5241">
                  <c:v>2.0493150684931507</c:v>
                </c:pt>
                <c:pt idx="5242">
                  <c:v>#N/A</c:v>
                </c:pt>
                <c:pt idx="5243">
                  <c:v>#N/A</c:v>
                </c:pt>
                <c:pt idx="5244">
                  <c:v>2.0493150684931507</c:v>
                </c:pt>
                <c:pt idx="5245">
                  <c:v>#N/A</c:v>
                </c:pt>
                <c:pt idx="5246">
                  <c:v>2.0493150684931507</c:v>
                </c:pt>
                <c:pt idx="5247">
                  <c:v>#N/A</c:v>
                </c:pt>
                <c:pt idx="5248">
                  <c:v>#N/A</c:v>
                </c:pt>
                <c:pt idx="5249">
                  <c:v>2.0493150684931507</c:v>
                </c:pt>
                <c:pt idx="5250">
                  <c:v>#N/A</c:v>
                </c:pt>
                <c:pt idx="5251">
                  <c:v>#N/A</c:v>
                </c:pt>
                <c:pt idx="5252">
                  <c:v>#N/A</c:v>
                </c:pt>
                <c:pt idx="5253">
                  <c:v>2.0493150684931507</c:v>
                </c:pt>
                <c:pt idx="5254">
                  <c:v>2.0493150684931507</c:v>
                </c:pt>
                <c:pt idx="5255">
                  <c:v>#N/A</c:v>
                </c:pt>
                <c:pt idx="5256">
                  <c:v>#N/A</c:v>
                </c:pt>
                <c:pt idx="5257">
                  <c:v>#N/A</c:v>
                </c:pt>
                <c:pt idx="5258">
                  <c:v>#N/A</c:v>
                </c:pt>
                <c:pt idx="5259">
                  <c:v>#N/A</c:v>
                </c:pt>
                <c:pt idx="5260">
                  <c:v>2.0493150684931507</c:v>
                </c:pt>
                <c:pt idx="5261">
                  <c:v>#N/A</c:v>
                </c:pt>
                <c:pt idx="5262">
                  <c:v>#N/A</c:v>
                </c:pt>
                <c:pt idx="5263">
                  <c:v>#N/A</c:v>
                </c:pt>
                <c:pt idx="5264">
                  <c:v>#N/A</c:v>
                </c:pt>
                <c:pt idx="5265">
                  <c:v>#N/A</c:v>
                </c:pt>
                <c:pt idx="5266">
                  <c:v>#N/A</c:v>
                </c:pt>
                <c:pt idx="5267">
                  <c:v>#N/A</c:v>
                </c:pt>
                <c:pt idx="5268">
                  <c:v>2.0493150684931507</c:v>
                </c:pt>
                <c:pt idx="5269">
                  <c:v>#N/A</c:v>
                </c:pt>
                <c:pt idx="5270">
                  <c:v>#N/A</c:v>
                </c:pt>
                <c:pt idx="5271">
                  <c:v>#N/A</c:v>
                </c:pt>
                <c:pt idx="5272">
                  <c:v>#N/A</c:v>
                </c:pt>
                <c:pt idx="5273">
                  <c:v>#N/A</c:v>
                </c:pt>
                <c:pt idx="5274">
                  <c:v>#N/A</c:v>
                </c:pt>
                <c:pt idx="5275">
                  <c:v>#N/A</c:v>
                </c:pt>
                <c:pt idx="5276">
                  <c:v>2.0493150684931507</c:v>
                </c:pt>
                <c:pt idx="5277">
                  <c:v>2.0493150684931507</c:v>
                </c:pt>
                <c:pt idx="5278">
                  <c:v>#N/A</c:v>
                </c:pt>
                <c:pt idx="5279">
                  <c:v>#N/A</c:v>
                </c:pt>
                <c:pt idx="5280">
                  <c:v>2.0493150684931507</c:v>
                </c:pt>
                <c:pt idx="5281">
                  <c:v>#N/A</c:v>
                </c:pt>
                <c:pt idx="5282">
                  <c:v>2.0493150684931507</c:v>
                </c:pt>
                <c:pt idx="5283">
                  <c:v>2.0493150684931507</c:v>
                </c:pt>
                <c:pt idx="5284">
                  <c:v>#N/A</c:v>
                </c:pt>
                <c:pt idx="5285">
                  <c:v>#N/A</c:v>
                </c:pt>
                <c:pt idx="5286">
                  <c:v>#N/A</c:v>
                </c:pt>
                <c:pt idx="5287">
                  <c:v>2.0493150684931507</c:v>
                </c:pt>
                <c:pt idx="5288">
                  <c:v>#N/A</c:v>
                </c:pt>
                <c:pt idx="5289">
                  <c:v>2.0493150684931507</c:v>
                </c:pt>
                <c:pt idx="5290">
                  <c:v>#N/A</c:v>
                </c:pt>
                <c:pt idx="5291">
                  <c:v>2.0493150684931507</c:v>
                </c:pt>
                <c:pt idx="5292">
                  <c:v>2.0493150684931507</c:v>
                </c:pt>
                <c:pt idx="5293">
                  <c:v>2.0493150684931507</c:v>
                </c:pt>
                <c:pt idx="5294">
                  <c:v>2.0493150684931507</c:v>
                </c:pt>
                <c:pt idx="5295">
                  <c:v>#N/A</c:v>
                </c:pt>
                <c:pt idx="5296">
                  <c:v>2.0493150684931507</c:v>
                </c:pt>
                <c:pt idx="5297">
                  <c:v>#N/A</c:v>
                </c:pt>
                <c:pt idx="5298">
                  <c:v>#N/A</c:v>
                </c:pt>
                <c:pt idx="5299">
                  <c:v>#N/A</c:v>
                </c:pt>
                <c:pt idx="5300">
                  <c:v>#N/A</c:v>
                </c:pt>
                <c:pt idx="5301">
                  <c:v>#N/A</c:v>
                </c:pt>
                <c:pt idx="5302">
                  <c:v>2.0493150684931507</c:v>
                </c:pt>
                <c:pt idx="5303">
                  <c:v>#N/A</c:v>
                </c:pt>
                <c:pt idx="5304">
                  <c:v>2.0493150684931507</c:v>
                </c:pt>
                <c:pt idx="5305">
                  <c:v>#N/A</c:v>
                </c:pt>
                <c:pt idx="5306">
                  <c:v>2.0493150684931507</c:v>
                </c:pt>
                <c:pt idx="5307">
                  <c:v>2.0493150684931507</c:v>
                </c:pt>
                <c:pt idx="5308">
                  <c:v>#N/A</c:v>
                </c:pt>
                <c:pt idx="5309">
                  <c:v>#N/A</c:v>
                </c:pt>
                <c:pt idx="5310">
                  <c:v>2.0493150684931507</c:v>
                </c:pt>
                <c:pt idx="5311">
                  <c:v>#N/A</c:v>
                </c:pt>
                <c:pt idx="5312">
                  <c:v>#N/A</c:v>
                </c:pt>
                <c:pt idx="5313">
                  <c:v>2.0493150684931507</c:v>
                </c:pt>
                <c:pt idx="5314">
                  <c:v>2.0493150684931507</c:v>
                </c:pt>
                <c:pt idx="5315">
                  <c:v>2.0493150684931507</c:v>
                </c:pt>
                <c:pt idx="5316">
                  <c:v>#N/A</c:v>
                </c:pt>
                <c:pt idx="5317">
                  <c:v>2.0493150684931507</c:v>
                </c:pt>
                <c:pt idx="5318">
                  <c:v>#N/A</c:v>
                </c:pt>
                <c:pt idx="5319">
                  <c:v>#N/A</c:v>
                </c:pt>
                <c:pt idx="5320">
                  <c:v>#N/A</c:v>
                </c:pt>
                <c:pt idx="5321">
                  <c:v>#N/A</c:v>
                </c:pt>
                <c:pt idx="5322">
                  <c:v>#N/A</c:v>
                </c:pt>
                <c:pt idx="5323">
                  <c:v>2.0493150684931507</c:v>
                </c:pt>
                <c:pt idx="5324">
                  <c:v>#N/A</c:v>
                </c:pt>
                <c:pt idx="5325">
                  <c:v>#N/A</c:v>
                </c:pt>
                <c:pt idx="5326">
                  <c:v>2.0493150684931507</c:v>
                </c:pt>
                <c:pt idx="5327">
                  <c:v>#N/A</c:v>
                </c:pt>
                <c:pt idx="5328">
                  <c:v>#N/A</c:v>
                </c:pt>
                <c:pt idx="5329">
                  <c:v>#N/A</c:v>
                </c:pt>
                <c:pt idx="5330">
                  <c:v>2.0493150684931507</c:v>
                </c:pt>
                <c:pt idx="5331">
                  <c:v>#N/A</c:v>
                </c:pt>
                <c:pt idx="5332">
                  <c:v>#N/A</c:v>
                </c:pt>
                <c:pt idx="5333">
                  <c:v>#N/A</c:v>
                </c:pt>
                <c:pt idx="5334">
                  <c:v>#N/A</c:v>
                </c:pt>
                <c:pt idx="5335">
                  <c:v>#N/A</c:v>
                </c:pt>
                <c:pt idx="5336">
                  <c:v>#N/A</c:v>
                </c:pt>
                <c:pt idx="5337">
                  <c:v>2.0493150684931507</c:v>
                </c:pt>
                <c:pt idx="5338">
                  <c:v>#N/A</c:v>
                </c:pt>
                <c:pt idx="5339">
                  <c:v>#N/A</c:v>
                </c:pt>
                <c:pt idx="5340">
                  <c:v>2.0493150684931507</c:v>
                </c:pt>
                <c:pt idx="5341">
                  <c:v>2.0493150684931507</c:v>
                </c:pt>
                <c:pt idx="5342">
                  <c:v>2.0493150684931507</c:v>
                </c:pt>
                <c:pt idx="5343">
                  <c:v>2.0493150684931507</c:v>
                </c:pt>
                <c:pt idx="5344">
                  <c:v>#N/A</c:v>
                </c:pt>
                <c:pt idx="5345">
                  <c:v>2.0493150684931507</c:v>
                </c:pt>
                <c:pt idx="5346">
                  <c:v>#N/A</c:v>
                </c:pt>
                <c:pt idx="5347">
                  <c:v>#N/A</c:v>
                </c:pt>
                <c:pt idx="5348">
                  <c:v>2.0493150684931507</c:v>
                </c:pt>
                <c:pt idx="5349">
                  <c:v>2.0493150684931507</c:v>
                </c:pt>
                <c:pt idx="5350">
                  <c:v>#N/A</c:v>
                </c:pt>
                <c:pt idx="5351">
                  <c:v>#N/A</c:v>
                </c:pt>
                <c:pt idx="5352">
                  <c:v>#N/A</c:v>
                </c:pt>
                <c:pt idx="5353">
                  <c:v>2.0493150684931507</c:v>
                </c:pt>
                <c:pt idx="5354">
                  <c:v>2.0493150684931507</c:v>
                </c:pt>
                <c:pt idx="5355">
                  <c:v>2.0493150684931507</c:v>
                </c:pt>
                <c:pt idx="5356">
                  <c:v>2.0493150684931507</c:v>
                </c:pt>
                <c:pt idx="5357">
                  <c:v>#N/A</c:v>
                </c:pt>
                <c:pt idx="5358">
                  <c:v>2.0493150684931507</c:v>
                </c:pt>
                <c:pt idx="5359">
                  <c:v>#N/A</c:v>
                </c:pt>
                <c:pt idx="5360">
                  <c:v>#N/A</c:v>
                </c:pt>
                <c:pt idx="5361">
                  <c:v>#N/A</c:v>
                </c:pt>
                <c:pt idx="5362">
                  <c:v>2.0493150684931507</c:v>
                </c:pt>
                <c:pt idx="5363">
                  <c:v>2.0493150684931507</c:v>
                </c:pt>
                <c:pt idx="5364">
                  <c:v>#N/A</c:v>
                </c:pt>
                <c:pt idx="5365">
                  <c:v>2.0493150684931507</c:v>
                </c:pt>
                <c:pt idx="5366">
                  <c:v>#N/A</c:v>
                </c:pt>
                <c:pt idx="5367">
                  <c:v>2.0493150684931507</c:v>
                </c:pt>
                <c:pt idx="5368">
                  <c:v>#N/A</c:v>
                </c:pt>
                <c:pt idx="5369">
                  <c:v>2.0493150684931507</c:v>
                </c:pt>
                <c:pt idx="5370">
                  <c:v>2.0493150684931507</c:v>
                </c:pt>
                <c:pt idx="5371">
                  <c:v>2.0493150684931507</c:v>
                </c:pt>
                <c:pt idx="5372">
                  <c:v>#N/A</c:v>
                </c:pt>
                <c:pt idx="5373">
                  <c:v>#N/A</c:v>
                </c:pt>
                <c:pt idx="5374">
                  <c:v>#N/A</c:v>
                </c:pt>
                <c:pt idx="5375">
                  <c:v>#N/A</c:v>
                </c:pt>
                <c:pt idx="5376">
                  <c:v>2.0493150684931507</c:v>
                </c:pt>
                <c:pt idx="5377">
                  <c:v>#N/A</c:v>
                </c:pt>
                <c:pt idx="5378">
                  <c:v>#N/A</c:v>
                </c:pt>
                <c:pt idx="5379">
                  <c:v>#N/A</c:v>
                </c:pt>
                <c:pt idx="5380">
                  <c:v>#N/A</c:v>
                </c:pt>
                <c:pt idx="5381">
                  <c:v>2.0493150684931507</c:v>
                </c:pt>
                <c:pt idx="5382">
                  <c:v>#N/A</c:v>
                </c:pt>
                <c:pt idx="5383">
                  <c:v>#N/A</c:v>
                </c:pt>
                <c:pt idx="5384">
                  <c:v>#N/A</c:v>
                </c:pt>
                <c:pt idx="5385">
                  <c:v>#N/A</c:v>
                </c:pt>
                <c:pt idx="5386">
                  <c:v>#N/A</c:v>
                </c:pt>
                <c:pt idx="5387">
                  <c:v>#N/A</c:v>
                </c:pt>
                <c:pt idx="5388">
                  <c:v>2.0520547945205481</c:v>
                </c:pt>
                <c:pt idx="5389">
                  <c:v>2.0520547945205481</c:v>
                </c:pt>
                <c:pt idx="5390">
                  <c:v>2.0520547945205481</c:v>
                </c:pt>
                <c:pt idx="5391">
                  <c:v>#N/A</c:v>
                </c:pt>
                <c:pt idx="5392">
                  <c:v>2.0520547945205481</c:v>
                </c:pt>
                <c:pt idx="5393">
                  <c:v>2.0520547945205481</c:v>
                </c:pt>
                <c:pt idx="5394">
                  <c:v>#N/A</c:v>
                </c:pt>
                <c:pt idx="5395">
                  <c:v>#N/A</c:v>
                </c:pt>
                <c:pt idx="5396">
                  <c:v>#N/A</c:v>
                </c:pt>
                <c:pt idx="5397">
                  <c:v>#N/A</c:v>
                </c:pt>
                <c:pt idx="5398">
                  <c:v>#N/A</c:v>
                </c:pt>
                <c:pt idx="5399">
                  <c:v>#N/A</c:v>
                </c:pt>
                <c:pt idx="5400">
                  <c:v>#N/A</c:v>
                </c:pt>
                <c:pt idx="5401">
                  <c:v>#N/A</c:v>
                </c:pt>
                <c:pt idx="5402">
                  <c:v>#N/A</c:v>
                </c:pt>
                <c:pt idx="5403">
                  <c:v>#N/A</c:v>
                </c:pt>
                <c:pt idx="5404">
                  <c:v>2.0520547945205481</c:v>
                </c:pt>
                <c:pt idx="5405">
                  <c:v>2.0520547945205481</c:v>
                </c:pt>
                <c:pt idx="5406">
                  <c:v>2.0520547945205481</c:v>
                </c:pt>
                <c:pt idx="5407">
                  <c:v>#N/A</c:v>
                </c:pt>
                <c:pt idx="5408">
                  <c:v>#N/A</c:v>
                </c:pt>
                <c:pt idx="5409">
                  <c:v>#N/A</c:v>
                </c:pt>
                <c:pt idx="5410">
                  <c:v>#N/A</c:v>
                </c:pt>
                <c:pt idx="5411">
                  <c:v>2.0520547945205481</c:v>
                </c:pt>
                <c:pt idx="5412">
                  <c:v>#N/A</c:v>
                </c:pt>
                <c:pt idx="5413">
                  <c:v>#N/A</c:v>
                </c:pt>
                <c:pt idx="5414">
                  <c:v>#N/A</c:v>
                </c:pt>
                <c:pt idx="5415">
                  <c:v>#N/A</c:v>
                </c:pt>
                <c:pt idx="5416">
                  <c:v>#N/A</c:v>
                </c:pt>
                <c:pt idx="5417">
                  <c:v>2.0520547945205481</c:v>
                </c:pt>
                <c:pt idx="5418">
                  <c:v>#N/A</c:v>
                </c:pt>
                <c:pt idx="5419">
                  <c:v>2.0520547945205481</c:v>
                </c:pt>
                <c:pt idx="5420">
                  <c:v>#N/A</c:v>
                </c:pt>
                <c:pt idx="5421">
                  <c:v>#N/A</c:v>
                </c:pt>
                <c:pt idx="5422">
                  <c:v>#N/A</c:v>
                </c:pt>
                <c:pt idx="5423">
                  <c:v>#N/A</c:v>
                </c:pt>
                <c:pt idx="5424">
                  <c:v>#N/A</c:v>
                </c:pt>
                <c:pt idx="5425">
                  <c:v>#N/A</c:v>
                </c:pt>
                <c:pt idx="5426">
                  <c:v>#N/A</c:v>
                </c:pt>
                <c:pt idx="5427">
                  <c:v>#N/A</c:v>
                </c:pt>
                <c:pt idx="5428">
                  <c:v>#N/A</c:v>
                </c:pt>
                <c:pt idx="5429">
                  <c:v>#N/A</c:v>
                </c:pt>
                <c:pt idx="5430">
                  <c:v>2.0520547945205481</c:v>
                </c:pt>
                <c:pt idx="5431">
                  <c:v>#N/A</c:v>
                </c:pt>
                <c:pt idx="5432">
                  <c:v>#N/A</c:v>
                </c:pt>
                <c:pt idx="5433">
                  <c:v>#N/A</c:v>
                </c:pt>
                <c:pt idx="5434">
                  <c:v>#N/A</c:v>
                </c:pt>
                <c:pt idx="5435">
                  <c:v>#N/A</c:v>
                </c:pt>
                <c:pt idx="5436">
                  <c:v>#N/A</c:v>
                </c:pt>
                <c:pt idx="5437">
                  <c:v>2.0520547945205481</c:v>
                </c:pt>
                <c:pt idx="5438">
                  <c:v>2.0520547945205481</c:v>
                </c:pt>
                <c:pt idx="5439">
                  <c:v>#N/A</c:v>
                </c:pt>
                <c:pt idx="5440">
                  <c:v>#N/A</c:v>
                </c:pt>
                <c:pt idx="5441">
                  <c:v>2.0520547945205481</c:v>
                </c:pt>
                <c:pt idx="5442">
                  <c:v>2.0520547945205481</c:v>
                </c:pt>
                <c:pt idx="5443">
                  <c:v>#N/A</c:v>
                </c:pt>
                <c:pt idx="5444">
                  <c:v>#N/A</c:v>
                </c:pt>
                <c:pt idx="5445">
                  <c:v>2.0520547945205481</c:v>
                </c:pt>
                <c:pt idx="5446">
                  <c:v>#N/A</c:v>
                </c:pt>
                <c:pt idx="5447">
                  <c:v>2.0520547945205481</c:v>
                </c:pt>
                <c:pt idx="5448">
                  <c:v>#N/A</c:v>
                </c:pt>
                <c:pt idx="5449">
                  <c:v>#N/A</c:v>
                </c:pt>
                <c:pt idx="5450">
                  <c:v>2.0520547945205481</c:v>
                </c:pt>
                <c:pt idx="5451">
                  <c:v>#N/A</c:v>
                </c:pt>
                <c:pt idx="5452">
                  <c:v>2.0520547945205481</c:v>
                </c:pt>
                <c:pt idx="5453">
                  <c:v>2.0520547945205481</c:v>
                </c:pt>
                <c:pt idx="5454">
                  <c:v>#N/A</c:v>
                </c:pt>
                <c:pt idx="5455">
                  <c:v>2.0520547945205481</c:v>
                </c:pt>
                <c:pt idx="5456">
                  <c:v>#N/A</c:v>
                </c:pt>
                <c:pt idx="5457">
                  <c:v>#N/A</c:v>
                </c:pt>
                <c:pt idx="5458">
                  <c:v>#N/A</c:v>
                </c:pt>
                <c:pt idx="5459">
                  <c:v>#N/A</c:v>
                </c:pt>
                <c:pt idx="5460">
                  <c:v>#N/A</c:v>
                </c:pt>
                <c:pt idx="5461">
                  <c:v>#N/A</c:v>
                </c:pt>
                <c:pt idx="5462">
                  <c:v>2.0520547945205481</c:v>
                </c:pt>
                <c:pt idx="5463">
                  <c:v>#N/A</c:v>
                </c:pt>
                <c:pt idx="5464">
                  <c:v>#N/A</c:v>
                </c:pt>
                <c:pt idx="5465">
                  <c:v>#N/A</c:v>
                </c:pt>
                <c:pt idx="5466">
                  <c:v>#N/A</c:v>
                </c:pt>
                <c:pt idx="5467">
                  <c:v>2.0520547945205481</c:v>
                </c:pt>
                <c:pt idx="5468">
                  <c:v>#N/A</c:v>
                </c:pt>
                <c:pt idx="5469">
                  <c:v>2.0520547945205481</c:v>
                </c:pt>
                <c:pt idx="5470">
                  <c:v>#N/A</c:v>
                </c:pt>
                <c:pt idx="5471">
                  <c:v>#N/A</c:v>
                </c:pt>
                <c:pt idx="5472">
                  <c:v>#N/A</c:v>
                </c:pt>
                <c:pt idx="5473">
                  <c:v>#N/A</c:v>
                </c:pt>
                <c:pt idx="5474">
                  <c:v>#N/A</c:v>
                </c:pt>
                <c:pt idx="5475">
                  <c:v>#N/A</c:v>
                </c:pt>
                <c:pt idx="5476">
                  <c:v>#N/A</c:v>
                </c:pt>
                <c:pt idx="5477">
                  <c:v>2.0520547945205481</c:v>
                </c:pt>
                <c:pt idx="5478">
                  <c:v>#N/A</c:v>
                </c:pt>
                <c:pt idx="5479">
                  <c:v>#N/A</c:v>
                </c:pt>
                <c:pt idx="5480">
                  <c:v>#N/A</c:v>
                </c:pt>
                <c:pt idx="5481">
                  <c:v>#N/A</c:v>
                </c:pt>
                <c:pt idx="5482">
                  <c:v>#N/A</c:v>
                </c:pt>
                <c:pt idx="5483">
                  <c:v>2.0520547945205481</c:v>
                </c:pt>
                <c:pt idx="5484">
                  <c:v>#N/A</c:v>
                </c:pt>
                <c:pt idx="5485">
                  <c:v>#N/A</c:v>
                </c:pt>
                <c:pt idx="5486">
                  <c:v>#N/A</c:v>
                </c:pt>
                <c:pt idx="5487">
                  <c:v>#N/A</c:v>
                </c:pt>
                <c:pt idx="5488">
                  <c:v>2.0520547945205481</c:v>
                </c:pt>
                <c:pt idx="5489">
                  <c:v>#N/A</c:v>
                </c:pt>
                <c:pt idx="5490">
                  <c:v>#N/A</c:v>
                </c:pt>
                <c:pt idx="5491">
                  <c:v>#N/A</c:v>
                </c:pt>
                <c:pt idx="5492">
                  <c:v>#N/A</c:v>
                </c:pt>
                <c:pt idx="5493">
                  <c:v>#N/A</c:v>
                </c:pt>
                <c:pt idx="5494">
                  <c:v>#N/A</c:v>
                </c:pt>
                <c:pt idx="5495">
                  <c:v>#N/A</c:v>
                </c:pt>
                <c:pt idx="5496">
                  <c:v>2.0520547945205481</c:v>
                </c:pt>
                <c:pt idx="5497">
                  <c:v>#N/A</c:v>
                </c:pt>
                <c:pt idx="5498">
                  <c:v>#N/A</c:v>
                </c:pt>
                <c:pt idx="5499">
                  <c:v>2.0520547945205481</c:v>
                </c:pt>
                <c:pt idx="5500">
                  <c:v>2.0520547945205481</c:v>
                </c:pt>
                <c:pt idx="5501">
                  <c:v>#N/A</c:v>
                </c:pt>
                <c:pt idx="5502">
                  <c:v>#N/A</c:v>
                </c:pt>
                <c:pt idx="5503">
                  <c:v>2.0520547945205481</c:v>
                </c:pt>
                <c:pt idx="5504">
                  <c:v>#N/A</c:v>
                </c:pt>
                <c:pt idx="5505">
                  <c:v>2.0520547945205481</c:v>
                </c:pt>
                <c:pt idx="5506">
                  <c:v>2.0520547945205481</c:v>
                </c:pt>
                <c:pt idx="5507">
                  <c:v>#N/A</c:v>
                </c:pt>
                <c:pt idx="5508">
                  <c:v>#N/A</c:v>
                </c:pt>
                <c:pt idx="5509">
                  <c:v>#N/A</c:v>
                </c:pt>
                <c:pt idx="5510">
                  <c:v>2.0520547945205481</c:v>
                </c:pt>
                <c:pt idx="5511">
                  <c:v>2.0520547945205481</c:v>
                </c:pt>
                <c:pt idx="5512">
                  <c:v>#N/A</c:v>
                </c:pt>
                <c:pt idx="5513">
                  <c:v>2.0520547945205481</c:v>
                </c:pt>
                <c:pt idx="5514">
                  <c:v>#N/A</c:v>
                </c:pt>
                <c:pt idx="5515">
                  <c:v>#N/A</c:v>
                </c:pt>
                <c:pt idx="5516">
                  <c:v>#N/A</c:v>
                </c:pt>
                <c:pt idx="5517">
                  <c:v>#N/A</c:v>
                </c:pt>
                <c:pt idx="5518">
                  <c:v>#N/A</c:v>
                </c:pt>
                <c:pt idx="5519">
                  <c:v>#N/A</c:v>
                </c:pt>
                <c:pt idx="5520">
                  <c:v>2.0520547945205481</c:v>
                </c:pt>
                <c:pt idx="5521">
                  <c:v>#N/A</c:v>
                </c:pt>
                <c:pt idx="5522">
                  <c:v>#N/A</c:v>
                </c:pt>
                <c:pt idx="5523">
                  <c:v>#N/A</c:v>
                </c:pt>
                <c:pt idx="5524">
                  <c:v>#N/A</c:v>
                </c:pt>
                <c:pt idx="5525">
                  <c:v>#N/A</c:v>
                </c:pt>
                <c:pt idx="5526">
                  <c:v>2.0520547945205481</c:v>
                </c:pt>
                <c:pt idx="5527">
                  <c:v>2.0520547945205481</c:v>
                </c:pt>
                <c:pt idx="5528">
                  <c:v>#N/A</c:v>
                </c:pt>
                <c:pt idx="5529">
                  <c:v>#N/A</c:v>
                </c:pt>
                <c:pt idx="5530">
                  <c:v>2.0520547945205481</c:v>
                </c:pt>
                <c:pt idx="5531">
                  <c:v>#N/A</c:v>
                </c:pt>
                <c:pt idx="5532">
                  <c:v>#N/A</c:v>
                </c:pt>
                <c:pt idx="5533">
                  <c:v>#N/A</c:v>
                </c:pt>
                <c:pt idx="5534">
                  <c:v>2.0520547945205481</c:v>
                </c:pt>
                <c:pt idx="5535">
                  <c:v>#N/A</c:v>
                </c:pt>
                <c:pt idx="5536">
                  <c:v>2.0520547945205481</c:v>
                </c:pt>
                <c:pt idx="5537">
                  <c:v>2.0520547945205481</c:v>
                </c:pt>
                <c:pt idx="5538">
                  <c:v>#N/A</c:v>
                </c:pt>
                <c:pt idx="5539">
                  <c:v>#N/A</c:v>
                </c:pt>
                <c:pt idx="5540">
                  <c:v>#N/A</c:v>
                </c:pt>
                <c:pt idx="5541">
                  <c:v>#N/A</c:v>
                </c:pt>
                <c:pt idx="5542">
                  <c:v>#N/A</c:v>
                </c:pt>
                <c:pt idx="5543">
                  <c:v>#N/A</c:v>
                </c:pt>
                <c:pt idx="5544">
                  <c:v>#N/A</c:v>
                </c:pt>
                <c:pt idx="5545">
                  <c:v>#N/A</c:v>
                </c:pt>
                <c:pt idx="5546">
                  <c:v>2.0520547945205481</c:v>
                </c:pt>
                <c:pt idx="5547">
                  <c:v>2.0520547945205481</c:v>
                </c:pt>
                <c:pt idx="5548">
                  <c:v>2.0520547945205481</c:v>
                </c:pt>
                <c:pt idx="5549">
                  <c:v>#N/A</c:v>
                </c:pt>
                <c:pt idx="5550">
                  <c:v>#N/A</c:v>
                </c:pt>
                <c:pt idx="5551">
                  <c:v>2.0520547945205481</c:v>
                </c:pt>
                <c:pt idx="5552">
                  <c:v>#N/A</c:v>
                </c:pt>
                <c:pt idx="5553">
                  <c:v>#N/A</c:v>
                </c:pt>
                <c:pt idx="5554">
                  <c:v>#N/A</c:v>
                </c:pt>
                <c:pt idx="5555">
                  <c:v>2.0520547945205481</c:v>
                </c:pt>
                <c:pt idx="5556">
                  <c:v>#N/A</c:v>
                </c:pt>
                <c:pt idx="5557">
                  <c:v>#N/A</c:v>
                </c:pt>
                <c:pt idx="5558">
                  <c:v>#N/A</c:v>
                </c:pt>
                <c:pt idx="5559">
                  <c:v>2.0520547945205481</c:v>
                </c:pt>
                <c:pt idx="5560">
                  <c:v>#N/A</c:v>
                </c:pt>
                <c:pt idx="5561">
                  <c:v>#N/A</c:v>
                </c:pt>
                <c:pt idx="5562">
                  <c:v>2.0520547945205481</c:v>
                </c:pt>
                <c:pt idx="5563">
                  <c:v>2.0520547945205481</c:v>
                </c:pt>
                <c:pt idx="5564">
                  <c:v>#N/A</c:v>
                </c:pt>
                <c:pt idx="5565">
                  <c:v>2.0520547945205481</c:v>
                </c:pt>
                <c:pt idx="5566">
                  <c:v>2.0520547945205481</c:v>
                </c:pt>
                <c:pt idx="5567">
                  <c:v>2.0520547945205481</c:v>
                </c:pt>
                <c:pt idx="5568">
                  <c:v>2.0520547945205481</c:v>
                </c:pt>
                <c:pt idx="5569">
                  <c:v>#N/A</c:v>
                </c:pt>
                <c:pt idx="5570">
                  <c:v>#N/A</c:v>
                </c:pt>
                <c:pt idx="5571">
                  <c:v>#N/A</c:v>
                </c:pt>
                <c:pt idx="5572">
                  <c:v>#N/A</c:v>
                </c:pt>
                <c:pt idx="5573">
                  <c:v>2.0520547945205481</c:v>
                </c:pt>
                <c:pt idx="5574">
                  <c:v>#N/A</c:v>
                </c:pt>
                <c:pt idx="5575">
                  <c:v>#N/A</c:v>
                </c:pt>
                <c:pt idx="5576">
                  <c:v>#N/A</c:v>
                </c:pt>
                <c:pt idx="5577">
                  <c:v>#N/A</c:v>
                </c:pt>
                <c:pt idx="5578">
                  <c:v>2.0520547945205481</c:v>
                </c:pt>
                <c:pt idx="5579">
                  <c:v>#N/A</c:v>
                </c:pt>
                <c:pt idx="5580">
                  <c:v>2.0520547945205481</c:v>
                </c:pt>
                <c:pt idx="5581">
                  <c:v>2.0520547945205481</c:v>
                </c:pt>
                <c:pt idx="5582">
                  <c:v>2.0520547945205481</c:v>
                </c:pt>
                <c:pt idx="5583">
                  <c:v>#N/A</c:v>
                </c:pt>
                <c:pt idx="5584">
                  <c:v>#N/A</c:v>
                </c:pt>
                <c:pt idx="5585">
                  <c:v>#N/A</c:v>
                </c:pt>
                <c:pt idx="5586">
                  <c:v>2.0520547945205481</c:v>
                </c:pt>
                <c:pt idx="5587">
                  <c:v>2.0520547945205481</c:v>
                </c:pt>
                <c:pt idx="5588">
                  <c:v>#N/A</c:v>
                </c:pt>
                <c:pt idx="5589">
                  <c:v>#N/A</c:v>
                </c:pt>
                <c:pt idx="5590">
                  <c:v>#N/A</c:v>
                </c:pt>
                <c:pt idx="5591">
                  <c:v>#N/A</c:v>
                </c:pt>
                <c:pt idx="5592">
                  <c:v>#N/A</c:v>
                </c:pt>
                <c:pt idx="5593">
                  <c:v>2.0520547945205481</c:v>
                </c:pt>
                <c:pt idx="5594">
                  <c:v>#N/A</c:v>
                </c:pt>
                <c:pt idx="5595">
                  <c:v>#N/A</c:v>
                </c:pt>
                <c:pt idx="5596">
                  <c:v>#N/A</c:v>
                </c:pt>
                <c:pt idx="5597">
                  <c:v>#N/A</c:v>
                </c:pt>
                <c:pt idx="5598">
                  <c:v>2.0520547945205481</c:v>
                </c:pt>
                <c:pt idx="5599">
                  <c:v>#N/A</c:v>
                </c:pt>
                <c:pt idx="5600">
                  <c:v>2.0520547945205481</c:v>
                </c:pt>
                <c:pt idx="5601">
                  <c:v>2.0520547945205481</c:v>
                </c:pt>
                <c:pt idx="5602">
                  <c:v>2.0520547945205481</c:v>
                </c:pt>
                <c:pt idx="5603">
                  <c:v>#N/A</c:v>
                </c:pt>
                <c:pt idx="5604">
                  <c:v>#N/A</c:v>
                </c:pt>
                <c:pt idx="5605">
                  <c:v>2.0520547945205481</c:v>
                </c:pt>
                <c:pt idx="5606">
                  <c:v>2.0520547945205481</c:v>
                </c:pt>
                <c:pt idx="5607">
                  <c:v>#N/A</c:v>
                </c:pt>
                <c:pt idx="5608">
                  <c:v>2.0520547945205481</c:v>
                </c:pt>
                <c:pt idx="5609">
                  <c:v>#N/A</c:v>
                </c:pt>
                <c:pt idx="5610">
                  <c:v>2.0520547945205481</c:v>
                </c:pt>
                <c:pt idx="5611">
                  <c:v>#N/A</c:v>
                </c:pt>
                <c:pt idx="5612">
                  <c:v>#N/A</c:v>
                </c:pt>
                <c:pt idx="5613">
                  <c:v>#N/A</c:v>
                </c:pt>
                <c:pt idx="5614">
                  <c:v>2.0520547945205481</c:v>
                </c:pt>
                <c:pt idx="5615">
                  <c:v>#N/A</c:v>
                </c:pt>
                <c:pt idx="5616">
                  <c:v>#N/A</c:v>
                </c:pt>
                <c:pt idx="5617">
                  <c:v>#N/A</c:v>
                </c:pt>
                <c:pt idx="5618">
                  <c:v>#N/A</c:v>
                </c:pt>
                <c:pt idx="5619">
                  <c:v>#N/A</c:v>
                </c:pt>
                <c:pt idx="5620">
                  <c:v>#N/A</c:v>
                </c:pt>
                <c:pt idx="5621">
                  <c:v>#N/A</c:v>
                </c:pt>
                <c:pt idx="5622">
                  <c:v>#N/A</c:v>
                </c:pt>
                <c:pt idx="5623">
                  <c:v>#N/A</c:v>
                </c:pt>
                <c:pt idx="5624">
                  <c:v>#N/A</c:v>
                </c:pt>
                <c:pt idx="5625">
                  <c:v>#N/A</c:v>
                </c:pt>
                <c:pt idx="5626">
                  <c:v>#N/A</c:v>
                </c:pt>
                <c:pt idx="5627">
                  <c:v>#N/A</c:v>
                </c:pt>
                <c:pt idx="5628">
                  <c:v>#N/A</c:v>
                </c:pt>
                <c:pt idx="5629">
                  <c:v>#N/A</c:v>
                </c:pt>
                <c:pt idx="5630">
                  <c:v>2.0520547945205481</c:v>
                </c:pt>
                <c:pt idx="5631">
                  <c:v>#N/A</c:v>
                </c:pt>
                <c:pt idx="5632">
                  <c:v>2.0520547945205481</c:v>
                </c:pt>
                <c:pt idx="5633">
                  <c:v>#N/A</c:v>
                </c:pt>
                <c:pt idx="5634">
                  <c:v>#N/A</c:v>
                </c:pt>
                <c:pt idx="5635">
                  <c:v>2.0520547945205481</c:v>
                </c:pt>
                <c:pt idx="5636">
                  <c:v>2.0520547945205481</c:v>
                </c:pt>
                <c:pt idx="5637">
                  <c:v>#N/A</c:v>
                </c:pt>
                <c:pt idx="5638">
                  <c:v>2.0520547945205481</c:v>
                </c:pt>
                <c:pt idx="5639">
                  <c:v>#N/A</c:v>
                </c:pt>
                <c:pt idx="5640">
                  <c:v>2.0520547945205481</c:v>
                </c:pt>
                <c:pt idx="5641">
                  <c:v>#N/A</c:v>
                </c:pt>
                <c:pt idx="5642">
                  <c:v>2.0520547945205481</c:v>
                </c:pt>
                <c:pt idx="5643">
                  <c:v>2.0520547945205481</c:v>
                </c:pt>
                <c:pt idx="5644">
                  <c:v>#N/A</c:v>
                </c:pt>
                <c:pt idx="5645">
                  <c:v>#N/A</c:v>
                </c:pt>
                <c:pt idx="5646">
                  <c:v>2.0520547945205481</c:v>
                </c:pt>
                <c:pt idx="5647">
                  <c:v>#N/A</c:v>
                </c:pt>
                <c:pt idx="5648">
                  <c:v>2.0520547945205481</c:v>
                </c:pt>
                <c:pt idx="5649">
                  <c:v>#N/A</c:v>
                </c:pt>
                <c:pt idx="5650">
                  <c:v>#N/A</c:v>
                </c:pt>
                <c:pt idx="5651">
                  <c:v>2.0520547945205481</c:v>
                </c:pt>
                <c:pt idx="5652">
                  <c:v>#N/A</c:v>
                </c:pt>
                <c:pt idx="5653">
                  <c:v>2.0520547945205481</c:v>
                </c:pt>
                <c:pt idx="5654">
                  <c:v>#N/A</c:v>
                </c:pt>
                <c:pt idx="5655">
                  <c:v>2.0520547945205481</c:v>
                </c:pt>
                <c:pt idx="5656">
                  <c:v>2.0520547945205481</c:v>
                </c:pt>
                <c:pt idx="5657">
                  <c:v>#N/A</c:v>
                </c:pt>
                <c:pt idx="5658">
                  <c:v>#N/A</c:v>
                </c:pt>
                <c:pt idx="5659">
                  <c:v>#N/A</c:v>
                </c:pt>
                <c:pt idx="5660">
                  <c:v>#N/A</c:v>
                </c:pt>
                <c:pt idx="5661">
                  <c:v>#N/A</c:v>
                </c:pt>
                <c:pt idx="5662">
                  <c:v>2.0520547945205481</c:v>
                </c:pt>
                <c:pt idx="5663">
                  <c:v>2.0520547945205481</c:v>
                </c:pt>
                <c:pt idx="5664">
                  <c:v>#N/A</c:v>
                </c:pt>
                <c:pt idx="5665">
                  <c:v>#N/A</c:v>
                </c:pt>
                <c:pt idx="5666">
                  <c:v>#N/A</c:v>
                </c:pt>
                <c:pt idx="5667">
                  <c:v>#N/A</c:v>
                </c:pt>
                <c:pt idx="5668">
                  <c:v>2.0520547945205481</c:v>
                </c:pt>
                <c:pt idx="5669">
                  <c:v>2.0520547945205481</c:v>
                </c:pt>
                <c:pt idx="5670">
                  <c:v>#N/A</c:v>
                </c:pt>
                <c:pt idx="5671">
                  <c:v>#N/A</c:v>
                </c:pt>
                <c:pt idx="5672">
                  <c:v>#N/A</c:v>
                </c:pt>
                <c:pt idx="5673">
                  <c:v>#N/A</c:v>
                </c:pt>
                <c:pt idx="5674">
                  <c:v>#N/A</c:v>
                </c:pt>
                <c:pt idx="5675">
                  <c:v>2.0520547945205481</c:v>
                </c:pt>
                <c:pt idx="5676">
                  <c:v>2.0520547945205481</c:v>
                </c:pt>
                <c:pt idx="5677">
                  <c:v>#N/A</c:v>
                </c:pt>
                <c:pt idx="5678">
                  <c:v>#N/A</c:v>
                </c:pt>
                <c:pt idx="5679">
                  <c:v>2.0520547945205481</c:v>
                </c:pt>
                <c:pt idx="5680">
                  <c:v>#N/A</c:v>
                </c:pt>
                <c:pt idx="5681">
                  <c:v>#N/A</c:v>
                </c:pt>
                <c:pt idx="5682">
                  <c:v>#N/A</c:v>
                </c:pt>
                <c:pt idx="5683">
                  <c:v>#N/A</c:v>
                </c:pt>
                <c:pt idx="5684">
                  <c:v>#N/A</c:v>
                </c:pt>
                <c:pt idx="5685">
                  <c:v>2.0547945205479454</c:v>
                </c:pt>
                <c:pt idx="5686">
                  <c:v>#N/A</c:v>
                </c:pt>
                <c:pt idx="5687">
                  <c:v>2.0547945205479454</c:v>
                </c:pt>
                <c:pt idx="5688">
                  <c:v>#N/A</c:v>
                </c:pt>
                <c:pt idx="5689">
                  <c:v>2.0547945205479454</c:v>
                </c:pt>
                <c:pt idx="5690">
                  <c:v>2.0547945205479454</c:v>
                </c:pt>
                <c:pt idx="5691">
                  <c:v>#N/A</c:v>
                </c:pt>
                <c:pt idx="5692">
                  <c:v>#N/A</c:v>
                </c:pt>
                <c:pt idx="5693">
                  <c:v>#N/A</c:v>
                </c:pt>
                <c:pt idx="5694">
                  <c:v>2.0547945205479454</c:v>
                </c:pt>
                <c:pt idx="5695">
                  <c:v>#N/A</c:v>
                </c:pt>
                <c:pt idx="5696">
                  <c:v>#N/A</c:v>
                </c:pt>
                <c:pt idx="5697">
                  <c:v>#N/A</c:v>
                </c:pt>
                <c:pt idx="5698">
                  <c:v>#N/A</c:v>
                </c:pt>
                <c:pt idx="5699">
                  <c:v>#N/A</c:v>
                </c:pt>
                <c:pt idx="5700">
                  <c:v>#N/A</c:v>
                </c:pt>
                <c:pt idx="5701">
                  <c:v>#N/A</c:v>
                </c:pt>
                <c:pt idx="5702">
                  <c:v>#N/A</c:v>
                </c:pt>
                <c:pt idx="5703">
                  <c:v>#N/A</c:v>
                </c:pt>
                <c:pt idx="5704">
                  <c:v>2.0547945205479454</c:v>
                </c:pt>
                <c:pt idx="5705">
                  <c:v>2.0547945205479454</c:v>
                </c:pt>
                <c:pt idx="5706">
                  <c:v>#N/A</c:v>
                </c:pt>
                <c:pt idx="5707">
                  <c:v>2.0547945205479454</c:v>
                </c:pt>
                <c:pt idx="5708">
                  <c:v>#N/A</c:v>
                </c:pt>
                <c:pt idx="5709">
                  <c:v>#N/A</c:v>
                </c:pt>
                <c:pt idx="5710">
                  <c:v>2.0547945205479454</c:v>
                </c:pt>
                <c:pt idx="5711">
                  <c:v>#N/A</c:v>
                </c:pt>
                <c:pt idx="5712">
                  <c:v>#N/A</c:v>
                </c:pt>
                <c:pt idx="5713">
                  <c:v>2.0547945205479454</c:v>
                </c:pt>
                <c:pt idx="5714">
                  <c:v>#N/A</c:v>
                </c:pt>
                <c:pt idx="5715">
                  <c:v>#N/A</c:v>
                </c:pt>
                <c:pt idx="5716">
                  <c:v>#N/A</c:v>
                </c:pt>
                <c:pt idx="5717">
                  <c:v>#N/A</c:v>
                </c:pt>
                <c:pt idx="5718">
                  <c:v>#N/A</c:v>
                </c:pt>
                <c:pt idx="5719">
                  <c:v>2.0547945205479454</c:v>
                </c:pt>
                <c:pt idx="5720">
                  <c:v>#N/A</c:v>
                </c:pt>
                <c:pt idx="5721">
                  <c:v>#N/A</c:v>
                </c:pt>
                <c:pt idx="5722">
                  <c:v>2.0547945205479454</c:v>
                </c:pt>
                <c:pt idx="5723">
                  <c:v>#N/A</c:v>
                </c:pt>
                <c:pt idx="5724">
                  <c:v>#N/A</c:v>
                </c:pt>
                <c:pt idx="5725">
                  <c:v>2.0547945205479454</c:v>
                </c:pt>
                <c:pt idx="5726">
                  <c:v>2.0547945205479454</c:v>
                </c:pt>
                <c:pt idx="5727">
                  <c:v>#N/A</c:v>
                </c:pt>
                <c:pt idx="5728">
                  <c:v>#N/A</c:v>
                </c:pt>
                <c:pt idx="5729">
                  <c:v>#N/A</c:v>
                </c:pt>
                <c:pt idx="5730">
                  <c:v>#N/A</c:v>
                </c:pt>
                <c:pt idx="5731">
                  <c:v>#N/A</c:v>
                </c:pt>
                <c:pt idx="5732">
                  <c:v>#N/A</c:v>
                </c:pt>
                <c:pt idx="5733">
                  <c:v>#N/A</c:v>
                </c:pt>
                <c:pt idx="5734">
                  <c:v>2.0547945205479454</c:v>
                </c:pt>
                <c:pt idx="5735">
                  <c:v>#N/A</c:v>
                </c:pt>
                <c:pt idx="5736">
                  <c:v>2.0547945205479454</c:v>
                </c:pt>
                <c:pt idx="5737">
                  <c:v>#N/A</c:v>
                </c:pt>
                <c:pt idx="5738">
                  <c:v>#N/A</c:v>
                </c:pt>
                <c:pt idx="5739">
                  <c:v>2.0547945205479454</c:v>
                </c:pt>
                <c:pt idx="5740">
                  <c:v>2.0547945205479454</c:v>
                </c:pt>
                <c:pt idx="5741">
                  <c:v>#N/A</c:v>
                </c:pt>
                <c:pt idx="5742">
                  <c:v>#N/A</c:v>
                </c:pt>
                <c:pt idx="5743">
                  <c:v>#N/A</c:v>
                </c:pt>
                <c:pt idx="5744">
                  <c:v>2.0547945205479454</c:v>
                </c:pt>
                <c:pt idx="5745">
                  <c:v>#N/A</c:v>
                </c:pt>
                <c:pt idx="5746">
                  <c:v>#N/A</c:v>
                </c:pt>
                <c:pt idx="5747">
                  <c:v>#N/A</c:v>
                </c:pt>
                <c:pt idx="5748">
                  <c:v>2.0547945205479454</c:v>
                </c:pt>
                <c:pt idx="5749">
                  <c:v>#N/A</c:v>
                </c:pt>
                <c:pt idx="5750">
                  <c:v>#N/A</c:v>
                </c:pt>
                <c:pt idx="5751">
                  <c:v>#N/A</c:v>
                </c:pt>
                <c:pt idx="5752">
                  <c:v>#N/A</c:v>
                </c:pt>
                <c:pt idx="5753">
                  <c:v>#N/A</c:v>
                </c:pt>
                <c:pt idx="5754">
                  <c:v>#N/A</c:v>
                </c:pt>
                <c:pt idx="5755">
                  <c:v>#N/A</c:v>
                </c:pt>
                <c:pt idx="5756">
                  <c:v>2.0547945205479454</c:v>
                </c:pt>
                <c:pt idx="5757">
                  <c:v>2.0547945205479454</c:v>
                </c:pt>
                <c:pt idx="5758">
                  <c:v>#N/A</c:v>
                </c:pt>
                <c:pt idx="5759">
                  <c:v>2.0547945205479454</c:v>
                </c:pt>
                <c:pt idx="5760">
                  <c:v>2.0547945205479454</c:v>
                </c:pt>
                <c:pt idx="5761">
                  <c:v>#N/A</c:v>
                </c:pt>
                <c:pt idx="5762">
                  <c:v>2.0547945205479454</c:v>
                </c:pt>
                <c:pt idx="5763">
                  <c:v>2.0547945205479454</c:v>
                </c:pt>
                <c:pt idx="5764">
                  <c:v>#N/A</c:v>
                </c:pt>
                <c:pt idx="5765">
                  <c:v>#N/A</c:v>
                </c:pt>
                <c:pt idx="5766">
                  <c:v>#N/A</c:v>
                </c:pt>
                <c:pt idx="5767">
                  <c:v>#N/A</c:v>
                </c:pt>
                <c:pt idx="5768">
                  <c:v>#N/A</c:v>
                </c:pt>
                <c:pt idx="5769">
                  <c:v>#N/A</c:v>
                </c:pt>
                <c:pt idx="5770">
                  <c:v>#N/A</c:v>
                </c:pt>
                <c:pt idx="5771">
                  <c:v>2.0575342465753423</c:v>
                </c:pt>
                <c:pt idx="5772">
                  <c:v>#N/A</c:v>
                </c:pt>
                <c:pt idx="5773">
                  <c:v>2.0575342465753423</c:v>
                </c:pt>
                <c:pt idx="5774">
                  <c:v>2.0575342465753423</c:v>
                </c:pt>
                <c:pt idx="5775">
                  <c:v>#N/A</c:v>
                </c:pt>
                <c:pt idx="5776">
                  <c:v>#N/A</c:v>
                </c:pt>
                <c:pt idx="5777">
                  <c:v>#N/A</c:v>
                </c:pt>
                <c:pt idx="5778">
                  <c:v>#N/A</c:v>
                </c:pt>
                <c:pt idx="5779">
                  <c:v>#N/A</c:v>
                </c:pt>
                <c:pt idx="5780">
                  <c:v>#N/A</c:v>
                </c:pt>
                <c:pt idx="5781">
                  <c:v>2.0575342465753423</c:v>
                </c:pt>
                <c:pt idx="5782">
                  <c:v>2.0575342465753423</c:v>
                </c:pt>
                <c:pt idx="5783">
                  <c:v>#N/A</c:v>
                </c:pt>
                <c:pt idx="5784">
                  <c:v>2.0575342465753423</c:v>
                </c:pt>
                <c:pt idx="5785">
                  <c:v>2.0575342465753423</c:v>
                </c:pt>
                <c:pt idx="5786">
                  <c:v>#N/A</c:v>
                </c:pt>
                <c:pt idx="5787">
                  <c:v>#N/A</c:v>
                </c:pt>
                <c:pt idx="5788">
                  <c:v>#N/A</c:v>
                </c:pt>
                <c:pt idx="5789">
                  <c:v>#N/A</c:v>
                </c:pt>
                <c:pt idx="5790">
                  <c:v>#N/A</c:v>
                </c:pt>
                <c:pt idx="5791">
                  <c:v>#N/A</c:v>
                </c:pt>
                <c:pt idx="5792">
                  <c:v>2.0575342465753423</c:v>
                </c:pt>
                <c:pt idx="5793">
                  <c:v>#N/A</c:v>
                </c:pt>
                <c:pt idx="5794">
                  <c:v>#N/A</c:v>
                </c:pt>
                <c:pt idx="5795">
                  <c:v>#N/A</c:v>
                </c:pt>
                <c:pt idx="5796">
                  <c:v>2.0575342465753423</c:v>
                </c:pt>
                <c:pt idx="5797">
                  <c:v>#N/A</c:v>
                </c:pt>
                <c:pt idx="5798">
                  <c:v>2.0575342465753423</c:v>
                </c:pt>
                <c:pt idx="5799">
                  <c:v>#N/A</c:v>
                </c:pt>
                <c:pt idx="5800">
                  <c:v>#N/A</c:v>
                </c:pt>
                <c:pt idx="5801">
                  <c:v>2.0575342465753423</c:v>
                </c:pt>
                <c:pt idx="5802">
                  <c:v>#N/A</c:v>
                </c:pt>
                <c:pt idx="5803">
                  <c:v>2.0575342465753423</c:v>
                </c:pt>
                <c:pt idx="5804">
                  <c:v>#N/A</c:v>
                </c:pt>
                <c:pt idx="5805">
                  <c:v>2.0575342465753423</c:v>
                </c:pt>
                <c:pt idx="5806">
                  <c:v>2.0575342465753423</c:v>
                </c:pt>
                <c:pt idx="5807">
                  <c:v>#N/A</c:v>
                </c:pt>
                <c:pt idx="5808">
                  <c:v>#N/A</c:v>
                </c:pt>
                <c:pt idx="5809">
                  <c:v>2.0630136986301371</c:v>
                </c:pt>
                <c:pt idx="5810">
                  <c:v>#N/A</c:v>
                </c:pt>
                <c:pt idx="5811">
                  <c:v>#N/A</c:v>
                </c:pt>
                <c:pt idx="5812">
                  <c:v>2.0630136986301371</c:v>
                </c:pt>
                <c:pt idx="5813">
                  <c:v>2.0630136986301371</c:v>
                </c:pt>
                <c:pt idx="5814">
                  <c:v>#N/A</c:v>
                </c:pt>
                <c:pt idx="5815">
                  <c:v>2.0630136986301371</c:v>
                </c:pt>
                <c:pt idx="5816">
                  <c:v>#N/A</c:v>
                </c:pt>
                <c:pt idx="5817">
                  <c:v>#N/A</c:v>
                </c:pt>
                <c:pt idx="5818">
                  <c:v>#N/A</c:v>
                </c:pt>
                <c:pt idx="5819">
                  <c:v>#N/A</c:v>
                </c:pt>
                <c:pt idx="5820">
                  <c:v>#N/A</c:v>
                </c:pt>
                <c:pt idx="5821">
                  <c:v>2.0630136986301371</c:v>
                </c:pt>
                <c:pt idx="5822">
                  <c:v>#N/A</c:v>
                </c:pt>
                <c:pt idx="5823">
                  <c:v>2.0630136986301371</c:v>
                </c:pt>
                <c:pt idx="5824">
                  <c:v>2.0630136986301371</c:v>
                </c:pt>
                <c:pt idx="5825">
                  <c:v>2.0630136986301371</c:v>
                </c:pt>
                <c:pt idx="5826">
                  <c:v>2.0630136986301371</c:v>
                </c:pt>
                <c:pt idx="5827">
                  <c:v>#N/A</c:v>
                </c:pt>
                <c:pt idx="5828">
                  <c:v>#N/A</c:v>
                </c:pt>
                <c:pt idx="5829">
                  <c:v>2.0630136986301371</c:v>
                </c:pt>
                <c:pt idx="5830">
                  <c:v>#N/A</c:v>
                </c:pt>
                <c:pt idx="5831">
                  <c:v>2.0630136986301371</c:v>
                </c:pt>
                <c:pt idx="5832">
                  <c:v>#N/A</c:v>
                </c:pt>
                <c:pt idx="5833">
                  <c:v>#N/A</c:v>
                </c:pt>
                <c:pt idx="5834">
                  <c:v>#N/A</c:v>
                </c:pt>
                <c:pt idx="5835">
                  <c:v>#N/A</c:v>
                </c:pt>
                <c:pt idx="5836">
                  <c:v>#N/A</c:v>
                </c:pt>
                <c:pt idx="5837">
                  <c:v>#N/A</c:v>
                </c:pt>
                <c:pt idx="5838">
                  <c:v>#N/A</c:v>
                </c:pt>
                <c:pt idx="5839">
                  <c:v>#N/A</c:v>
                </c:pt>
                <c:pt idx="5840">
                  <c:v>#N/A</c:v>
                </c:pt>
                <c:pt idx="5841">
                  <c:v>2.0657534246575344</c:v>
                </c:pt>
                <c:pt idx="5842">
                  <c:v>2.0657534246575344</c:v>
                </c:pt>
                <c:pt idx="5843">
                  <c:v>#N/A</c:v>
                </c:pt>
                <c:pt idx="5844">
                  <c:v>#N/A</c:v>
                </c:pt>
                <c:pt idx="5845">
                  <c:v>2.0657534246575344</c:v>
                </c:pt>
                <c:pt idx="5846">
                  <c:v>2.0657534246575344</c:v>
                </c:pt>
                <c:pt idx="5847">
                  <c:v>2.0657534246575344</c:v>
                </c:pt>
                <c:pt idx="5848">
                  <c:v>#N/A</c:v>
                </c:pt>
                <c:pt idx="5849">
                  <c:v>2.0657534246575344</c:v>
                </c:pt>
                <c:pt idx="5850">
                  <c:v>#N/A</c:v>
                </c:pt>
                <c:pt idx="5851">
                  <c:v>2.0657534246575344</c:v>
                </c:pt>
                <c:pt idx="5852">
                  <c:v>2.0657534246575344</c:v>
                </c:pt>
                <c:pt idx="5853">
                  <c:v>#N/A</c:v>
                </c:pt>
                <c:pt idx="5854">
                  <c:v>2.0657534246575344</c:v>
                </c:pt>
                <c:pt idx="5855">
                  <c:v>2.0657534246575344</c:v>
                </c:pt>
                <c:pt idx="5856">
                  <c:v>2.0657534246575344</c:v>
                </c:pt>
                <c:pt idx="5857">
                  <c:v>#N/A</c:v>
                </c:pt>
                <c:pt idx="5858">
                  <c:v>2.0657534246575344</c:v>
                </c:pt>
                <c:pt idx="5859">
                  <c:v>2.0657534246575344</c:v>
                </c:pt>
                <c:pt idx="5860">
                  <c:v>2.0657534246575344</c:v>
                </c:pt>
                <c:pt idx="5861">
                  <c:v>#N/A</c:v>
                </c:pt>
                <c:pt idx="5862">
                  <c:v>2.0657534246575344</c:v>
                </c:pt>
                <c:pt idx="5863">
                  <c:v>2.0657534246575344</c:v>
                </c:pt>
                <c:pt idx="5864">
                  <c:v>#N/A</c:v>
                </c:pt>
                <c:pt idx="5865">
                  <c:v>#N/A</c:v>
                </c:pt>
                <c:pt idx="5866">
                  <c:v>#N/A</c:v>
                </c:pt>
                <c:pt idx="5867">
                  <c:v>#N/A</c:v>
                </c:pt>
                <c:pt idx="5868">
                  <c:v>2.0657534246575344</c:v>
                </c:pt>
                <c:pt idx="5869">
                  <c:v>2.0657534246575344</c:v>
                </c:pt>
                <c:pt idx="5870">
                  <c:v>#N/A</c:v>
                </c:pt>
                <c:pt idx="5871">
                  <c:v>2.0657534246575344</c:v>
                </c:pt>
                <c:pt idx="5872">
                  <c:v>2.0657534246575344</c:v>
                </c:pt>
                <c:pt idx="5873">
                  <c:v>#N/A</c:v>
                </c:pt>
                <c:pt idx="5874">
                  <c:v>2.0657534246575344</c:v>
                </c:pt>
                <c:pt idx="5875">
                  <c:v>#N/A</c:v>
                </c:pt>
                <c:pt idx="5876">
                  <c:v>#N/A</c:v>
                </c:pt>
                <c:pt idx="5877">
                  <c:v>2.0657534246575344</c:v>
                </c:pt>
                <c:pt idx="5878">
                  <c:v>#N/A</c:v>
                </c:pt>
                <c:pt idx="5879">
                  <c:v>#N/A</c:v>
                </c:pt>
                <c:pt idx="5880">
                  <c:v>#N/A</c:v>
                </c:pt>
                <c:pt idx="5881">
                  <c:v>2.0657534246575344</c:v>
                </c:pt>
                <c:pt idx="5882">
                  <c:v>2.0657534246575344</c:v>
                </c:pt>
                <c:pt idx="5883">
                  <c:v>2.0657534246575344</c:v>
                </c:pt>
                <c:pt idx="5884">
                  <c:v>#N/A</c:v>
                </c:pt>
                <c:pt idx="5885">
                  <c:v>2.0657534246575344</c:v>
                </c:pt>
                <c:pt idx="5886">
                  <c:v>#N/A</c:v>
                </c:pt>
                <c:pt idx="5887">
                  <c:v>2.0657534246575344</c:v>
                </c:pt>
                <c:pt idx="5888">
                  <c:v>2.0657534246575344</c:v>
                </c:pt>
                <c:pt idx="5889">
                  <c:v>2.0657534246575344</c:v>
                </c:pt>
                <c:pt idx="5890">
                  <c:v>2.0657534246575344</c:v>
                </c:pt>
                <c:pt idx="5891">
                  <c:v>2.0657534246575344</c:v>
                </c:pt>
                <c:pt idx="5892">
                  <c:v>#N/A</c:v>
                </c:pt>
                <c:pt idx="5893">
                  <c:v>2.0657534246575344</c:v>
                </c:pt>
                <c:pt idx="5894">
                  <c:v>#N/A</c:v>
                </c:pt>
                <c:pt idx="5895">
                  <c:v>2.0657534246575344</c:v>
                </c:pt>
                <c:pt idx="5896">
                  <c:v>2.0657534246575344</c:v>
                </c:pt>
                <c:pt idx="5897">
                  <c:v>#N/A</c:v>
                </c:pt>
                <c:pt idx="5898">
                  <c:v>#N/A</c:v>
                </c:pt>
                <c:pt idx="5899">
                  <c:v>2.0657534246575344</c:v>
                </c:pt>
                <c:pt idx="5900">
                  <c:v>#N/A</c:v>
                </c:pt>
                <c:pt idx="5901">
                  <c:v>2.0657534246575344</c:v>
                </c:pt>
                <c:pt idx="5902">
                  <c:v>2.0657534246575344</c:v>
                </c:pt>
                <c:pt idx="5903">
                  <c:v>2.0657534246575344</c:v>
                </c:pt>
                <c:pt idx="5904">
                  <c:v>2.0657534246575344</c:v>
                </c:pt>
                <c:pt idx="5905">
                  <c:v>#N/A</c:v>
                </c:pt>
                <c:pt idx="5906">
                  <c:v>#N/A</c:v>
                </c:pt>
                <c:pt idx="5907">
                  <c:v>2.0657534246575344</c:v>
                </c:pt>
                <c:pt idx="5908">
                  <c:v>#N/A</c:v>
                </c:pt>
                <c:pt idx="5909">
                  <c:v>2.0657534246575344</c:v>
                </c:pt>
                <c:pt idx="5910">
                  <c:v>2.0657534246575344</c:v>
                </c:pt>
                <c:pt idx="5911">
                  <c:v>#N/A</c:v>
                </c:pt>
                <c:pt idx="5912">
                  <c:v>2.0657534246575344</c:v>
                </c:pt>
                <c:pt idx="5913">
                  <c:v>#N/A</c:v>
                </c:pt>
                <c:pt idx="5914">
                  <c:v>2.0657534246575344</c:v>
                </c:pt>
                <c:pt idx="5915">
                  <c:v>2.0657534246575344</c:v>
                </c:pt>
                <c:pt idx="5916">
                  <c:v>#N/A</c:v>
                </c:pt>
                <c:pt idx="5917">
                  <c:v>2.0657534246575344</c:v>
                </c:pt>
                <c:pt idx="5918">
                  <c:v>#N/A</c:v>
                </c:pt>
                <c:pt idx="5919">
                  <c:v>#N/A</c:v>
                </c:pt>
                <c:pt idx="5920">
                  <c:v>#N/A</c:v>
                </c:pt>
                <c:pt idx="5921">
                  <c:v>2.0657534246575344</c:v>
                </c:pt>
                <c:pt idx="5922">
                  <c:v>#N/A</c:v>
                </c:pt>
                <c:pt idx="5923">
                  <c:v>2.0657534246575344</c:v>
                </c:pt>
                <c:pt idx="5924">
                  <c:v>2.0657534246575344</c:v>
                </c:pt>
                <c:pt idx="5925">
                  <c:v>#N/A</c:v>
                </c:pt>
                <c:pt idx="5926">
                  <c:v>2.0657534246575344</c:v>
                </c:pt>
                <c:pt idx="5927">
                  <c:v>#N/A</c:v>
                </c:pt>
                <c:pt idx="5928">
                  <c:v>#N/A</c:v>
                </c:pt>
                <c:pt idx="5929">
                  <c:v>#N/A</c:v>
                </c:pt>
                <c:pt idx="5930">
                  <c:v>#N/A</c:v>
                </c:pt>
                <c:pt idx="5931">
                  <c:v>2.0684931506849313</c:v>
                </c:pt>
                <c:pt idx="5932">
                  <c:v>#N/A</c:v>
                </c:pt>
                <c:pt idx="5933">
                  <c:v>2.0684931506849313</c:v>
                </c:pt>
                <c:pt idx="5934">
                  <c:v>2.0684931506849313</c:v>
                </c:pt>
                <c:pt idx="5935">
                  <c:v>#N/A</c:v>
                </c:pt>
                <c:pt idx="5936">
                  <c:v>2.0684931506849313</c:v>
                </c:pt>
                <c:pt idx="5937">
                  <c:v>#N/A</c:v>
                </c:pt>
                <c:pt idx="5938">
                  <c:v>#N/A</c:v>
                </c:pt>
                <c:pt idx="5939">
                  <c:v>#N/A</c:v>
                </c:pt>
                <c:pt idx="5940">
                  <c:v>2.0684931506849313</c:v>
                </c:pt>
                <c:pt idx="5941">
                  <c:v>2.0684931506849313</c:v>
                </c:pt>
                <c:pt idx="5942">
                  <c:v>#N/A</c:v>
                </c:pt>
                <c:pt idx="5943">
                  <c:v>#N/A</c:v>
                </c:pt>
                <c:pt idx="5944">
                  <c:v>2.0684931506849313</c:v>
                </c:pt>
                <c:pt idx="5945">
                  <c:v>2.0684931506849313</c:v>
                </c:pt>
                <c:pt idx="5946">
                  <c:v>#N/A</c:v>
                </c:pt>
                <c:pt idx="5947">
                  <c:v>2.0684931506849313</c:v>
                </c:pt>
                <c:pt idx="5948">
                  <c:v>2.0684931506849313</c:v>
                </c:pt>
                <c:pt idx="5949">
                  <c:v>#N/A</c:v>
                </c:pt>
                <c:pt idx="5950">
                  <c:v>#N/A</c:v>
                </c:pt>
                <c:pt idx="5951">
                  <c:v>#N/A</c:v>
                </c:pt>
                <c:pt idx="5952">
                  <c:v>#N/A</c:v>
                </c:pt>
                <c:pt idx="5953">
                  <c:v>#N/A</c:v>
                </c:pt>
                <c:pt idx="5954">
                  <c:v>#N/A</c:v>
                </c:pt>
                <c:pt idx="5955">
                  <c:v>#N/A</c:v>
                </c:pt>
                <c:pt idx="5956">
                  <c:v>2.0684931506849313</c:v>
                </c:pt>
                <c:pt idx="5957">
                  <c:v>#N/A</c:v>
                </c:pt>
                <c:pt idx="5958">
                  <c:v>2.0684931506849313</c:v>
                </c:pt>
                <c:pt idx="5959">
                  <c:v>#N/A</c:v>
                </c:pt>
                <c:pt idx="5960">
                  <c:v>#N/A</c:v>
                </c:pt>
                <c:pt idx="5961">
                  <c:v>2.0684931506849313</c:v>
                </c:pt>
                <c:pt idx="5962">
                  <c:v>2.0684931506849313</c:v>
                </c:pt>
                <c:pt idx="5963">
                  <c:v>#N/A</c:v>
                </c:pt>
                <c:pt idx="5964">
                  <c:v>2.0684931506849313</c:v>
                </c:pt>
                <c:pt idx="5965">
                  <c:v>#N/A</c:v>
                </c:pt>
                <c:pt idx="5966">
                  <c:v>2.0684931506849313</c:v>
                </c:pt>
                <c:pt idx="5967">
                  <c:v>#N/A</c:v>
                </c:pt>
                <c:pt idx="5968">
                  <c:v>2.0712328767123287</c:v>
                </c:pt>
                <c:pt idx="5969">
                  <c:v>#N/A</c:v>
                </c:pt>
                <c:pt idx="5970">
                  <c:v>2.0712328767123287</c:v>
                </c:pt>
                <c:pt idx="5971">
                  <c:v>#N/A</c:v>
                </c:pt>
                <c:pt idx="5972">
                  <c:v>#N/A</c:v>
                </c:pt>
                <c:pt idx="5973">
                  <c:v>#N/A</c:v>
                </c:pt>
                <c:pt idx="5974">
                  <c:v>#N/A</c:v>
                </c:pt>
                <c:pt idx="5975">
                  <c:v>#N/A</c:v>
                </c:pt>
                <c:pt idx="5976">
                  <c:v>2.0712328767123287</c:v>
                </c:pt>
                <c:pt idx="5977">
                  <c:v>2.0712328767123287</c:v>
                </c:pt>
                <c:pt idx="5978">
                  <c:v>#N/A</c:v>
                </c:pt>
                <c:pt idx="5979">
                  <c:v>2.0712328767123287</c:v>
                </c:pt>
                <c:pt idx="5980">
                  <c:v>2.0712328767123287</c:v>
                </c:pt>
                <c:pt idx="5981">
                  <c:v>#N/A</c:v>
                </c:pt>
                <c:pt idx="5982">
                  <c:v>#N/A</c:v>
                </c:pt>
                <c:pt idx="5983">
                  <c:v>#N/A</c:v>
                </c:pt>
                <c:pt idx="5984">
                  <c:v>2.0739726027397261</c:v>
                </c:pt>
                <c:pt idx="5985">
                  <c:v>2.0739726027397261</c:v>
                </c:pt>
                <c:pt idx="5986">
                  <c:v>2.0739726027397261</c:v>
                </c:pt>
                <c:pt idx="5987">
                  <c:v>2.0739726027397261</c:v>
                </c:pt>
                <c:pt idx="5988">
                  <c:v>#N/A</c:v>
                </c:pt>
                <c:pt idx="5989">
                  <c:v>#N/A</c:v>
                </c:pt>
                <c:pt idx="5990">
                  <c:v>#N/A</c:v>
                </c:pt>
                <c:pt idx="5991">
                  <c:v>2.0739726027397261</c:v>
                </c:pt>
                <c:pt idx="5992">
                  <c:v>#N/A</c:v>
                </c:pt>
                <c:pt idx="5993">
                  <c:v>2.0739726027397261</c:v>
                </c:pt>
                <c:pt idx="5994">
                  <c:v>#N/A</c:v>
                </c:pt>
                <c:pt idx="5995">
                  <c:v>#N/A</c:v>
                </c:pt>
                <c:pt idx="5996">
                  <c:v>2.0739726027397261</c:v>
                </c:pt>
                <c:pt idx="5997">
                  <c:v>#N/A</c:v>
                </c:pt>
                <c:pt idx="5998">
                  <c:v>2.0739726027397261</c:v>
                </c:pt>
                <c:pt idx="5999">
                  <c:v>#N/A</c:v>
                </c:pt>
                <c:pt idx="6000">
                  <c:v>#N/A</c:v>
                </c:pt>
                <c:pt idx="6001">
                  <c:v>#N/A</c:v>
                </c:pt>
                <c:pt idx="6002">
                  <c:v>2.0767123287671234</c:v>
                </c:pt>
                <c:pt idx="6003">
                  <c:v>#N/A</c:v>
                </c:pt>
                <c:pt idx="6004">
                  <c:v>2.0849315068493151</c:v>
                </c:pt>
                <c:pt idx="6005">
                  <c:v>2.0849315068493151</c:v>
                </c:pt>
                <c:pt idx="6006">
                  <c:v>#N/A</c:v>
                </c:pt>
                <c:pt idx="6007">
                  <c:v>#N/A</c:v>
                </c:pt>
                <c:pt idx="6008">
                  <c:v>2.0849315068493151</c:v>
                </c:pt>
                <c:pt idx="6009">
                  <c:v>#N/A</c:v>
                </c:pt>
                <c:pt idx="6010">
                  <c:v>2.0849315068493151</c:v>
                </c:pt>
                <c:pt idx="6011">
                  <c:v>2.0849315068493151</c:v>
                </c:pt>
                <c:pt idx="6012">
                  <c:v>#N/A</c:v>
                </c:pt>
                <c:pt idx="6013">
                  <c:v>2.0849315068493151</c:v>
                </c:pt>
                <c:pt idx="6014">
                  <c:v>2.0849315068493151</c:v>
                </c:pt>
                <c:pt idx="6015">
                  <c:v>#N/A</c:v>
                </c:pt>
                <c:pt idx="6016">
                  <c:v>2.0849315068493151</c:v>
                </c:pt>
                <c:pt idx="6017">
                  <c:v>#N/A</c:v>
                </c:pt>
                <c:pt idx="6018">
                  <c:v>#N/A</c:v>
                </c:pt>
                <c:pt idx="6019">
                  <c:v>#N/A</c:v>
                </c:pt>
                <c:pt idx="6020">
                  <c:v>#N/A</c:v>
                </c:pt>
                <c:pt idx="6021">
                  <c:v>2.0849315068493151</c:v>
                </c:pt>
                <c:pt idx="6022">
                  <c:v>2.0849315068493151</c:v>
                </c:pt>
                <c:pt idx="6023">
                  <c:v>#N/A</c:v>
                </c:pt>
                <c:pt idx="6024">
                  <c:v>#N/A</c:v>
                </c:pt>
                <c:pt idx="6025">
                  <c:v>2.0849315068493151</c:v>
                </c:pt>
                <c:pt idx="6026">
                  <c:v>2.0849315068493151</c:v>
                </c:pt>
                <c:pt idx="6027">
                  <c:v>2.0849315068493151</c:v>
                </c:pt>
                <c:pt idx="6028">
                  <c:v>2.0849315068493151</c:v>
                </c:pt>
                <c:pt idx="6029">
                  <c:v>#N/A</c:v>
                </c:pt>
                <c:pt idx="6030">
                  <c:v>#N/A</c:v>
                </c:pt>
                <c:pt idx="6031">
                  <c:v>2.0849315068493151</c:v>
                </c:pt>
                <c:pt idx="6032">
                  <c:v>#N/A</c:v>
                </c:pt>
                <c:pt idx="6033">
                  <c:v>#N/A</c:v>
                </c:pt>
                <c:pt idx="6034">
                  <c:v>#N/A</c:v>
                </c:pt>
                <c:pt idx="6035">
                  <c:v>2.0849315068493151</c:v>
                </c:pt>
                <c:pt idx="6036">
                  <c:v>#N/A</c:v>
                </c:pt>
                <c:pt idx="6037">
                  <c:v>#N/A</c:v>
                </c:pt>
                <c:pt idx="6038">
                  <c:v>2.0849315068493151</c:v>
                </c:pt>
                <c:pt idx="6039">
                  <c:v>2.0849315068493151</c:v>
                </c:pt>
                <c:pt idx="6040">
                  <c:v>2.0849315068493151</c:v>
                </c:pt>
                <c:pt idx="6041">
                  <c:v>#N/A</c:v>
                </c:pt>
                <c:pt idx="6042">
                  <c:v>#N/A</c:v>
                </c:pt>
                <c:pt idx="6043">
                  <c:v>#N/A</c:v>
                </c:pt>
                <c:pt idx="6044">
                  <c:v>#N/A</c:v>
                </c:pt>
                <c:pt idx="6045">
                  <c:v>2.0904109589041098</c:v>
                </c:pt>
                <c:pt idx="6046">
                  <c:v>2.0904109589041098</c:v>
                </c:pt>
                <c:pt idx="6047">
                  <c:v>#N/A</c:v>
                </c:pt>
                <c:pt idx="6048">
                  <c:v>2.0904109589041098</c:v>
                </c:pt>
                <c:pt idx="6049">
                  <c:v>2.0904109589041098</c:v>
                </c:pt>
                <c:pt idx="6050">
                  <c:v>#N/A</c:v>
                </c:pt>
                <c:pt idx="6051">
                  <c:v>#N/A</c:v>
                </c:pt>
                <c:pt idx="6052">
                  <c:v>#N/A</c:v>
                </c:pt>
                <c:pt idx="6053">
                  <c:v>2.0904109589041098</c:v>
                </c:pt>
                <c:pt idx="6054">
                  <c:v>#N/A</c:v>
                </c:pt>
                <c:pt idx="6055">
                  <c:v>2.0931506849315067</c:v>
                </c:pt>
                <c:pt idx="6056">
                  <c:v>#N/A</c:v>
                </c:pt>
                <c:pt idx="6057">
                  <c:v>#N/A</c:v>
                </c:pt>
                <c:pt idx="6058">
                  <c:v>#N/A</c:v>
                </c:pt>
                <c:pt idx="6059">
                  <c:v>#N/A</c:v>
                </c:pt>
                <c:pt idx="6060">
                  <c:v>#N/A</c:v>
                </c:pt>
                <c:pt idx="6061">
                  <c:v>#N/A</c:v>
                </c:pt>
                <c:pt idx="6062">
                  <c:v>#N/A</c:v>
                </c:pt>
                <c:pt idx="6063">
                  <c:v>2.0931506849315067</c:v>
                </c:pt>
                <c:pt idx="6064">
                  <c:v>#N/A</c:v>
                </c:pt>
                <c:pt idx="6065">
                  <c:v>2.095890410958904</c:v>
                </c:pt>
                <c:pt idx="6066">
                  <c:v>#N/A</c:v>
                </c:pt>
                <c:pt idx="6067">
                  <c:v>#N/A</c:v>
                </c:pt>
                <c:pt idx="6068">
                  <c:v>2.1041095890410957</c:v>
                </c:pt>
                <c:pt idx="6069">
                  <c:v>#N/A</c:v>
                </c:pt>
                <c:pt idx="6070">
                  <c:v>2.106849315068493</c:v>
                </c:pt>
                <c:pt idx="6071">
                  <c:v>2.106849315068493</c:v>
                </c:pt>
                <c:pt idx="6072">
                  <c:v>#N/A</c:v>
                </c:pt>
                <c:pt idx="6073">
                  <c:v>2.1095890410958904</c:v>
                </c:pt>
                <c:pt idx="6074">
                  <c:v>2.1095890410958904</c:v>
                </c:pt>
                <c:pt idx="6075">
                  <c:v>#N/A</c:v>
                </c:pt>
                <c:pt idx="6076">
                  <c:v>2.1123287671232878</c:v>
                </c:pt>
                <c:pt idx="6077">
                  <c:v>#N/A</c:v>
                </c:pt>
                <c:pt idx="6078">
                  <c:v>#N/A</c:v>
                </c:pt>
                <c:pt idx="6079">
                  <c:v>#N/A</c:v>
                </c:pt>
                <c:pt idx="6080">
                  <c:v>#N/A</c:v>
                </c:pt>
                <c:pt idx="6081">
                  <c:v>2.1260273972602741</c:v>
                </c:pt>
                <c:pt idx="6082">
                  <c:v>#N/A</c:v>
                </c:pt>
                <c:pt idx="6083">
                  <c:v>2.1260273972602741</c:v>
                </c:pt>
                <c:pt idx="6084">
                  <c:v>2.1260273972602741</c:v>
                </c:pt>
                <c:pt idx="6085">
                  <c:v>#N/A</c:v>
                </c:pt>
                <c:pt idx="6086">
                  <c:v>#N/A</c:v>
                </c:pt>
                <c:pt idx="6087">
                  <c:v>2.1260273972602741</c:v>
                </c:pt>
                <c:pt idx="6088">
                  <c:v>2.1260273972602741</c:v>
                </c:pt>
                <c:pt idx="6089">
                  <c:v>2.1260273972602741</c:v>
                </c:pt>
                <c:pt idx="6090">
                  <c:v>#N/A</c:v>
                </c:pt>
                <c:pt idx="6091">
                  <c:v>#N/A</c:v>
                </c:pt>
                <c:pt idx="6092">
                  <c:v>#N/A</c:v>
                </c:pt>
                <c:pt idx="6093">
                  <c:v>#N/A</c:v>
                </c:pt>
                <c:pt idx="6094">
                  <c:v>2.128767123287671</c:v>
                </c:pt>
                <c:pt idx="6095">
                  <c:v>#N/A</c:v>
                </c:pt>
                <c:pt idx="6096">
                  <c:v>2.128767123287671</c:v>
                </c:pt>
                <c:pt idx="6097">
                  <c:v>2.128767123287671</c:v>
                </c:pt>
                <c:pt idx="6098">
                  <c:v>#N/A</c:v>
                </c:pt>
                <c:pt idx="6099">
                  <c:v>#N/A</c:v>
                </c:pt>
                <c:pt idx="6100">
                  <c:v>#N/A</c:v>
                </c:pt>
                <c:pt idx="6101">
                  <c:v>2.128767123287671</c:v>
                </c:pt>
                <c:pt idx="6102">
                  <c:v>2.128767123287671</c:v>
                </c:pt>
                <c:pt idx="6103">
                  <c:v>2.128767123287671</c:v>
                </c:pt>
                <c:pt idx="6104">
                  <c:v>2.128767123287671</c:v>
                </c:pt>
                <c:pt idx="6105">
                  <c:v>#N/A</c:v>
                </c:pt>
                <c:pt idx="6106">
                  <c:v>2.1315068493150684</c:v>
                </c:pt>
                <c:pt idx="6107">
                  <c:v>2.1315068493150684</c:v>
                </c:pt>
                <c:pt idx="6108">
                  <c:v>#N/A</c:v>
                </c:pt>
                <c:pt idx="6109">
                  <c:v>2.1315068493150684</c:v>
                </c:pt>
                <c:pt idx="6110">
                  <c:v>2.1315068493150684</c:v>
                </c:pt>
                <c:pt idx="6111">
                  <c:v>2.1315068493150684</c:v>
                </c:pt>
                <c:pt idx="6112">
                  <c:v>#N/A</c:v>
                </c:pt>
                <c:pt idx="6113">
                  <c:v>2.1315068493150684</c:v>
                </c:pt>
                <c:pt idx="6114">
                  <c:v>#N/A</c:v>
                </c:pt>
                <c:pt idx="6115">
                  <c:v>#N/A</c:v>
                </c:pt>
                <c:pt idx="6116">
                  <c:v>#N/A</c:v>
                </c:pt>
                <c:pt idx="6117">
                  <c:v>#N/A</c:v>
                </c:pt>
                <c:pt idx="6118">
                  <c:v>2.1315068493150684</c:v>
                </c:pt>
                <c:pt idx="6119">
                  <c:v>2.1342465753424658</c:v>
                </c:pt>
                <c:pt idx="6120">
                  <c:v>#N/A</c:v>
                </c:pt>
                <c:pt idx="6121">
                  <c:v>#N/A</c:v>
                </c:pt>
                <c:pt idx="6122">
                  <c:v>#N/A</c:v>
                </c:pt>
                <c:pt idx="6123">
                  <c:v>#N/A</c:v>
                </c:pt>
                <c:pt idx="6124">
                  <c:v>#N/A</c:v>
                </c:pt>
                <c:pt idx="6125">
                  <c:v>2.1452054794520548</c:v>
                </c:pt>
                <c:pt idx="6126">
                  <c:v>#N/A</c:v>
                </c:pt>
                <c:pt idx="6127">
                  <c:v>#N/A</c:v>
                </c:pt>
                <c:pt idx="6128">
                  <c:v>#N/A</c:v>
                </c:pt>
                <c:pt idx="6129">
                  <c:v>2.1479452054794521</c:v>
                </c:pt>
                <c:pt idx="6130">
                  <c:v>2.1479452054794521</c:v>
                </c:pt>
                <c:pt idx="6131">
                  <c:v>2.1506849315068495</c:v>
                </c:pt>
                <c:pt idx="6132">
                  <c:v>2.1506849315068495</c:v>
                </c:pt>
                <c:pt idx="6133">
                  <c:v>#N/A</c:v>
                </c:pt>
                <c:pt idx="6134">
                  <c:v>2.1506849315068495</c:v>
                </c:pt>
                <c:pt idx="6135">
                  <c:v>#N/A</c:v>
                </c:pt>
                <c:pt idx="6136">
                  <c:v>2.1506849315068495</c:v>
                </c:pt>
                <c:pt idx="6137">
                  <c:v>#N/A</c:v>
                </c:pt>
                <c:pt idx="6138">
                  <c:v>2.1616438356164385</c:v>
                </c:pt>
                <c:pt idx="6139">
                  <c:v>2.1616438356164385</c:v>
                </c:pt>
                <c:pt idx="6140">
                  <c:v>2.1616438356164385</c:v>
                </c:pt>
                <c:pt idx="6141">
                  <c:v>2.1616438356164385</c:v>
                </c:pt>
                <c:pt idx="6142">
                  <c:v>2.1616438356164385</c:v>
                </c:pt>
                <c:pt idx="6143">
                  <c:v>2.1616438356164385</c:v>
                </c:pt>
                <c:pt idx="6144">
                  <c:v>#N/A</c:v>
                </c:pt>
                <c:pt idx="6145">
                  <c:v>2.1616438356164385</c:v>
                </c:pt>
                <c:pt idx="6146">
                  <c:v>#N/A</c:v>
                </c:pt>
                <c:pt idx="6147">
                  <c:v>2.1616438356164385</c:v>
                </c:pt>
                <c:pt idx="6148">
                  <c:v>#N/A</c:v>
                </c:pt>
                <c:pt idx="6149">
                  <c:v>#N/A</c:v>
                </c:pt>
                <c:pt idx="6150">
                  <c:v>#N/A</c:v>
                </c:pt>
                <c:pt idx="6151">
                  <c:v>#N/A</c:v>
                </c:pt>
                <c:pt idx="6152">
                  <c:v>2.1698630136986301</c:v>
                </c:pt>
                <c:pt idx="6153">
                  <c:v>#N/A</c:v>
                </c:pt>
                <c:pt idx="6154">
                  <c:v>2.1808219178082191</c:v>
                </c:pt>
                <c:pt idx="6155">
                  <c:v>2.1808219178082191</c:v>
                </c:pt>
                <c:pt idx="6156">
                  <c:v>2.1808219178082191</c:v>
                </c:pt>
                <c:pt idx="6157">
                  <c:v>#N/A</c:v>
                </c:pt>
                <c:pt idx="6158">
                  <c:v>2.1808219178082191</c:v>
                </c:pt>
                <c:pt idx="6159">
                  <c:v>#N/A</c:v>
                </c:pt>
                <c:pt idx="6160">
                  <c:v>#N/A</c:v>
                </c:pt>
                <c:pt idx="6161">
                  <c:v>#N/A</c:v>
                </c:pt>
                <c:pt idx="6162">
                  <c:v>#N/A</c:v>
                </c:pt>
                <c:pt idx="6163">
                  <c:v>#N/A</c:v>
                </c:pt>
                <c:pt idx="6164">
                  <c:v>#N/A</c:v>
                </c:pt>
                <c:pt idx="6165">
                  <c:v>#N/A</c:v>
                </c:pt>
                <c:pt idx="6166">
                  <c:v>#N/A</c:v>
                </c:pt>
                <c:pt idx="6167">
                  <c:v>#N/A</c:v>
                </c:pt>
                <c:pt idx="6168">
                  <c:v>#N/A</c:v>
                </c:pt>
                <c:pt idx="6169">
                  <c:v>#N/A</c:v>
                </c:pt>
                <c:pt idx="6170">
                  <c:v>#N/A</c:v>
                </c:pt>
                <c:pt idx="6171">
                  <c:v>#N/A</c:v>
                </c:pt>
                <c:pt idx="6172">
                  <c:v>2.1890410958904107</c:v>
                </c:pt>
                <c:pt idx="6173">
                  <c:v>2.1890410958904107</c:v>
                </c:pt>
                <c:pt idx="6174">
                  <c:v>#N/A</c:v>
                </c:pt>
                <c:pt idx="6175">
                  <c:v>2.1890410958904107</c:v>
                </c:pt>
                <c:pt idx="6176">
                  <c:v>#N/A</c:v>
                </c:pt>
                <c:pt idx="6177">
                  <c:v>#N/A</c:v>
                </c:pt>
                <c:pt idx="6178">
                  <c:v>2.1890410958904107</c:v>
                </c:pt>
                <c:pt idx="6179">
                  <c:v>#N/A</c:v>
                </c:pt>
                <c:pt idx="6180">
                  <c:v>2.1917808219178081</c:v>
                </c:pt>
                <c:pt idx="6181">
                  <c:v>2.1917808219178081</c:v>
                </c:pt>
                <c:pt idx="6182">
                  <c:v>2.1917808219178081</c:v>
                </c:pt>
                <c:pt idx="6183">
                  <c:v>#N/A</c:v>
                </c:pt>
                <c:pt idx="6184">
                  <c:v>#N/A</c:v>
                </c:pt>
                <c:pt idx="6185">
                  <c:v>2.1917808219178081</c:v>
                </c:pt>
                <c:pt idx="6186">
                  <c:v>#N/A</c:v>
                </c:pt>
                <c:pt idx="6187">
                  <c:v>2.1917808219178081</c:v>
                </c:pt>
                <c:pt idx="6188">
                  <c:v>2.1917808219178081</c:v>
                </c:pt>
                <c:pt idx="6189">
                  <c:v>#N/A</c:v>
                </c:pt>
                <c:pt idx="6190">
                  <c:v>2.1917808219178081</c:v>
                </c:pt>
                <c:pt idx="6191">
                  <c:v>2.1917808219178081</c:v>
                </c:pt>
                <c:pt idx="6192">
                  <c:v>2.1917808219178081</c:v>
                </c:pt>
                <c:pt idx="6193">
                  <c:v>2.1917808219178081</c:v>
                </c:pt>
                <c:pt idx="6194">
                  <c:v>#N/A</c:v>
                </c:pt>
                <c:pt idx="6195">
                  <c:v>#N/A</c:v>
                </c:pt>
                <c:pt idx="6196">
                  <c:v>2.1917808219178081</c:v>
                </c:pt>
                <c:pt idx="6197">
                  <c:v>2.1917808219178081</c:v>
                </c:pt>
                <c:pt idx="6198">
                  <c:v>#N/A</c:v>
                </c:pt>
                <c:pt idx="6199">
                  <c:v>#N/A</c:v>
                </c:pt>
                <c:pt idx="6200">
                  <c:v>#N/A</c:v>
                </c:pt>
                <c:pt idx="6201">
                  <c:v>#N/A</c:v>
                </c:pt>
                <c:pt idx="6202">
                  <c:v>#N/A</c:v>
                </c:pt>
                <c:pt idx="6203">
                  <c:v>#N/A</c:v>
                </c:pt>
                <c:pt idx="6204">
                  <c:v>#N/A</c:v>
                </c:pt>
                <c:pt idx="6205">
                  <c:v>#N/A</c:v>
                </c:pt>
                <c:pt idx="6206">
                  <c:v>#N/A</c:v>
                </c:pt>
                <c:pt idx="6207">
                  <c:v>#N/A</c:v>
                </c:pt>
                <c:pt idx="6208">
                  <c:v>#N/A</c:v>
                </c:pt>
                <c:pt idx="6209">
                  <c:v>#N/A</c:v>
                </c:pt>
                <c:pt idx="6210">
                  <c:v>#N/A</c:v>
                </c:pt>
                <c:pt idx="6211">
                  <c:v>#N/A</c:v>
                </c:pt>
                <c:pt idx="6212">
                  <c:v>2.2054794520547945</c:v>
                </c:pt>
                <c:pt idx="6213">
                  <c:v>#N/A</c:v>
                </c:pt>
                <c:pt idx="6214">
                  <c:v>#N/A</c:v>
                </c:pt>
                <c:pt idx="6215">
                  <c:v>#N/A</c:v>
                </c:pt>
                <c:pt idx="6216">
                  <c:v>#N/A</c:v>
                </c:pt>
                <c:pt idx="6217">
                  <c:v>#N/A</c:v>
                </c:pt>
                <c:pt idx="6218">
                  <c:v>#N/A</c:v>
                </c:pt>
                <c:pt idx="6219">
                  <c:v>#N/A</c:v>
                </c:pt>
                <c:pt idx="6220">
                  <c:v>#N/A</c:v>
                </c:pt>
                <c:pt idx="6221">
                  <c:v>#N/A</c:v>
                </c:pt>
                <c:pt idx="6222">
                  <c:v>2.2109589041095892</c:v>
                </c:pt>
                <c:pt idx="6223">
                  <c:v>2.2109589041095892</c:v>
                </c:pt>
                <c:pt idx="6224">
                  <c:v>#N/A</c:v>
                </c:pt>
                <c:pt idx="6225">
                  <c:v>#N/A</c:v>
                </c:pt>
                <c:pt idx="6226">
                  <c:v>2.2109589041095892</c:v>
                </c:pt>
                <c:pt idx="6227">
                  <c:v>#N/A</c:v>
                </c:pt>
                <c:pt idx="6228">
                  <c:v>2.2109589041095892</c:v>
                </c:pt>
                <c:pt idx="6229">
                  <c:v>2.2109589041095892</c:v>
                </c:pt>
                <c:pt idx="6230">
                  <c:v>2.2109589041095892</c:v>
                </c:pt>
                <c:pt idx="6231">
                  <c:v>2.2109589041095892</c:v>
                </c:pt>
                <c:pt idx="6232">
                  <c:v>2.2109589041095892</c:v>
                </c:pt>
                <c:pt idx="6233">
                  <c:v>#N/A</c:v>
                </c:pt>
                <c:pt idx="6234">
                  <c:v>2.2164383561643834</c:v>
                </c:pt>
                <c:pt idx="6235">
                  <c:v>#N/A</c:v>
                </c:pt>
                <c:pt idx="6236">
                  <c:v>2.2164383561643834</c:v>
                </c:pt>
                <c:pt idx="6237">
                  <c:v>#N/A</c:v>
                </c:pt>
                <c:pt idx="6238">
                  <c:v>#N/A</c:v>
                </c:pt>
                <c:pt idx="6239">
                  <c:v>2.2191780821917808</c:v>
                </c:pt>
                <c:pt idx="6240">
                  <c:v>2.2191780821917808</c:v>
                </c:pt>
                <c:pt idx="6241">
                  <c:v>#N/A</c:v>
                </c:pt>
                <c:pt idx="6242">
                  <c:v>2.2191780821917808</c:v>
                </c:pt>
                <c:pt idx="6243">
                  <c:v>2.2219178082191782</c:v>
                </c:pt>
                <c:pt idx="6244">
                  <c:v>2.2219178082191782</c:v>
                </c:pt>
                <c:pt idx="6245">
                  <c:v>2.2219178082191782</c:v>
                </c:pt>
                <c:pt idx="6246">
                  <c:v>#N/A</c:v>
                </c:pt>
                <c:pt idx="6247">
                  <c:v>#N/A</c:v>
                </c:pt>
                <c:pt idx="6248">
                  <c:v>2.2219178082191782</c:v>
                </c:pt>
                <c:pt idx="6249">
                  <c:v>2.2219178082191782</c:v>
                </c:pt>
                <c:pt idx="6250">
                  <c:v>#N/A</c:v>
                </c:pt>
                <c:pt idx="6251">
                  <c:v>#N/A</c:v>
                </c:pt>
                <c:pt idx="6252">
                  <c:v>#N/A</c:v>
                </c:pt>
                <c:pt idx="6253">
                  <c:v>#N/A</c:v>
                </c:pt>
                <c:pt idx="6254">
                  <c:v>2.2273972602739724</c:v>
                </c:pt>
                <c:pt idx="6255">
                  <c:v>#N/A</c:v>
                </c:pt>
                <c:pt idx="6256">
                  <c:v>2.2273972602739724</c:v>
                </c:pt>
                <c:pt idx="6257">
                  <c:v>#N/A</c:v>
                </c:pt>
                <c:pt idx="6258">
                  <c:v>#N/A</c:v>
                </c:pt>
                <c:pt idx="6259">
                  <c:v>#N/A</c:v>
                </c:pt>
                <c:pt idx="6260">
                  <c:v>2.2383561643835614</c:v>
                </c:pt>
                <c:pt idx="6261">
                  <c:v>#N/A</c:v>
                </c:pt>
                <c:pt idx="6262">
                  <c:v>#N/A</c:v>
                </c:pt>
                <c:pt idx="6263">
                  <c:v>#N/A</c:v>
                </c:pt>
                <c:pt idx="6264">
                  <c:v>2.2410958904109588</c:v>
                </c:pt>
                <c:pt idx="6265">
                  <c:v>2.2410958904109588</c:v>
                </c:pt>
                <c:pt idx="6266">
                  <c:v>#N/A</c:v>
                </c:pt>
                <c:pt idx="6267">
                  <c:v>#N/A</c:v>
                </c:pt>
                <c:pt idx="6268">
                  <c:v>#N/A</c:v>
                </c:pt>
                <c:pt idx="6269">
                  <c:v>2.2465753424657535</c:v>
                </c:pt>
                <c:pt idx="6270">
                  <c:v>2.2465753424657535</c:v>
                </c:pt>
                <c:pt idx="6271">
                  <c:v>#N/A</c:v>
                </c:pt>
                <c:pt idx="6272">
                  <c:v>2.2465753424657535</c:v>
                </c:pt>
                <c:pt idx="6273">
                  <c:v>2.2465753424657535</c:v>
                </c:pt>
                <c:pt idx="6274">
                  <c:v>2.2465753424657535</c:v>
                </c:pt>
                <c:pt idx="6275">
                  <c:v>2.2465753424657535</c:v>
                </c:pt>
                <c:pt idx="6276">
                  <c:v>2.2465753424657535</c:v>
                </c:pt>
                <c:pt idx="6277">
                  <c:v>#N/A</c:v>
                </c:pt>
                <c:pt idx="6278">
                  <c:v>#N/A</c:v>
                </c:pt>
                <c:pt idx="6279">
                  <c:v>#N/A</c:v>
                </c:pt>
                <c:pt idx="6280">
                  <c:v>#N/A</c:v>
                </c:pt>
                <c:pt idx="6281">
                  <c:v>#N/A</c:v>
                </c:pt>
                <c:pt idx="6282">
                  <c:v>#N/A</c:v>
                </c:pt>
                <c:pt idx="6283">
                  <c:v>#N/A</c:v>
                </c:pt>
                <c:pt idx="6284">
                  <c:v>#N/A</c:v>
                </c:pt>
                <c:pt idx="6285">
                  <c:v>#N/A</c:v>
                </c:pt>
                <c:pt idx="6286">
                  <c:v>#N/A</c:v>
                </c:pt>
                <c:pt idx="6287">
                  <c:v>#N/A</c:v>
                </c:pt>
                <c:pt idx="6288">
                  <c:v>#N/A</c:v>
                </c:pt>
                <c:pt idx="6289">
                  <c:v>#N/A</c:v>
                </c:pt>
                <c:pt idx="6290">
                  <c:v>#N/A</c:v>
                </c:pt>
                <c:pt idx="6291">
                  <c:v>#N/A</c:v>
                </c:pt>
                <c:pt idx="6292">
                  <c:v>#N/A</c:v>
                </c:pt>
                <c:pt idx="6293">
                  <c:v>#N/A</c:v>
                </c:pt>
                <c:pt idx="6294">
                  <c:v>#N/A</c:v>
                </c:pt>
                <c:pt idx="6295">
                  <c:v>#N/A</c:v>
                </c:pt>
                <c:pt idx="6296">
                  <c:v>#N/A</c:v>
                </c:pt>
                <c:pt idx="6297">
                  <c:v>#N/A</c:v>
                </c:pt>
                <c:pt idx="6298">
                  <c:v>#N/A</c:v>
                </c:pt>
                <c:pt idx="6299">
                  <c:v>#N/A</c:v>
                </c:pt>
                <c:pt idx="6300">
                  <c:v>#N/A</c:v>
                </c:pt>
                <c:pt idx="6301">
                  <c:v>2.2657534246575342</c:v>
                </c:pt>
                <c:pt idx="6302">
                  <c:v>#N/A</c:v>
                </c:pt>
                <c:pt idx="6303">
                  <c:v>#N/A</c:v>
                </c:pt>
                <c:pt idx="6304">
                  <c:v>2.2657534246575342</c:v>
                </c:pt>
                <c:pt idx="6305">
                  <c:v>#N/A</c:v>
                </c:pt>
                <c:pt idx="6306">
                  <c:v>#N/A</c:v>
                </c:pt>
                <c:pt idx="6307">
                  <c:v>#N/A</c:v>
                </c:pt>
                <c:pt idx="6308">
                  <c:v>#N/A</c:v>
                </c:pt>
                <c:pt idx="6309">
                  <c:v>2.2684931506849315</c:v>
                </c:pt>
                <c:pt idx="6310">
                  <c:v>#N/A</c:v>
                </c:pt>
                <c:pt idx="6311">
                  <c:v>#N/A</c:v>
                </c:pt>
                <c:pt idx="6312">
                  <c:v>2.2684931506849315</c:v>
                </c:pt>
                <c:pt idx="6313">
                  <c:v>2.2684931506849315</c:v>
                </c:pt>
                <c:pt idx="6314">
                  <c:v>#N/A</c:v>
                </c:pt>
                <c:pt idx="6315">
                  <c:v>#N/A</c:v>
                </c:pt>
                <c:pt idx="6316">
                  <c:v>2.2684931506849315</c:v>
                </c:pt>
                <c:pt idx="6317">
                  <c:v>#N/A</c:v>
                </c:pt>
                <c:pt idx="6318">
                  <c:v>2.2767123287671232</c:v>
                </c:pt>
                <c:pt idx="6319">
                  <c:v>#N/A</c:v>
                </c:pt>
                <c:pt idx="6320">
                  <c:v>#N/A</c:v>
                </c:pt>
                <c:pt idx="6321">
                  <c:v>2.2767123287671232</c:v>
                </c:pt>
                <c:pt idx="6322">
                  <c:v>#N/A</c:v>
                </c:pt>
                <c:pt idx="6323">
                  <c:v>#N/A</c:v>
                </c:pt>
                <c:pt idx="6324">
                  <c:v>#N/A</c:v>
                </c:pt>
                <c:pt idx="6325">
                  <c:v>2.2767123287671232</c:v>
                </c:pt>
                <c:pt idx="6326">
                  <c:v>#N/A</c:v>
                </c:pt>
                <c:pt idx="6327">
                  <c:v>#N/A</c:v>
                </c:pt>
                <c:pt idx="6328">
                  <c:v>#N/A</c:v>
                </c:pt>
                <c:pt idx="6329">
                  <c:v>#N/A</c:v>
                </c:pt>
                <c:pt idx="6330">
                  <c:v>#N/A</c:v>
                </c:pt>
                <c:pt idx="6331">
                  <c:v>#N/A</c:v>
                </c:pt>
                <c:pt idx="6332">
                  <c:v>#N/A</c:v>
                </c:pt>
                <c:pt idx="6333">
                  <c:v>#N/A</c:v>
                </c:pt>
                <c:pt idx="6334">
                  <c:v>#N/A</c:v>
                </c:pt>
                <c:pt idx="6335">
                  <c:v>2.2821917808219179</c:v>
                </c:pt>
                <c:pt idx="6336">
                  <c:v>#N/A</c:v>
                </c:pt>
                <c:pt idx="6337">
                  <c:v>#N/A</c:v>
                </c:pt>
                <c:pt idx="6338">
                  <c:v>#N/A</c:v>
                </c:pt>
                <c:pt idx="6339">
                  <c:v>#N/A</c:v>
                </c:pt>
                <c:pt idx="6340">
                  <c:v>#N/A</c:v>
                </c:pt>
                <c:pt idx="6341">
                  <c:v>#N/A</c:v>
                </c:pt>
                <c:pt idx="6342">
                  <c:v>#N/A</c:v>
                </c:pt>
                <c:pt idx="6343">
                  <c:v>#N/A</c:v>
                </c:pt>
                <c:pt idx="6344">
                  <c:v>#N/A</c:v>
                </c:pt>
                <c:pt idx="6345">
                  <c:v>2.2876712328767121</c:v>
                </c:pt>
                <c:pt idx="6346">
                  <c:v>#N/A</c:v>
                </c:pt>
                <c:pt idx="6347">
                  <c:v>#N/A</c:v>
                </c:pt>
                <c:pt idx="6348">
                  <c:v>2.2876712328767121</c:v>
                </c:pt>
                <c:pt idx="6349">
                  <c:v>#N/A</c:v>
                </c:pt>
                <c:pt idx="6350">
                  <c:v>#N/A</c:v>
                </c:pt>
                <c:pt idx="6351">
                  <c:v>2.2958904109589042</c:v>
                </c:pt>
                <c:pt idx="6352">
                  <c:v>2.2958904109589042</c:v>
                </c:pt>
                <c:pt idx="6353">
                  <c:v>#N/A</c:v>
                </c:pt>
                <c:pt idx="6354">
                  <c:v>2.2958904109589042</c:v>
                </c:pt>
                <c:pt idx="6355">
                  <c:v>#N/A</c:v>
                </c:pt>
                <c:pt idx="6356">
                  <c:v>2.2986301369863016</c:v>
                </c:pt>
                <c:pt idx="6357">
                  <c:v>#N/A</c:v>
                </c:pt>
                <c:pt idx="6358">
                  <c:v>#N/A</c:v>
                </c:pt>
                <c:pt idx="6359">
                  <c:v>2.2986301369863016</c:v>
                </c:pt>
                <c:pt idx="6360">
                  <c:v>#N/A</c:v>
                </c:pt>
                <c:pt idx="6361">
                  <c:v>2.2986301369863016</c:v>
                </c:pt>
                <c:pt idx="6362">
                  <c:v>2.3013698630136985</c:v>
                </c:pt>
                <c:pt idx="6363">
                  <c:v>2.3013698630136985</c:v>
                </c:pt>
                <c:pt idx="6364">
                  <c:v>2.3013698630136985</c:v>
                </c:pt>
                <c:pt idx="6365">
                  <c:v>2.3013698630136985</c:v>
                </c:pt>
                <c:pt idx="6366">
                  <c:v>2.3013698630136985</c:v>
                </c:pt>
                <c:pt idx="6367">
                  <c:v>#N/A</c:v>
                </c:pt>
                <c:pt idx="6368">
                  <c:v>#N/A</c:v>
                </c:pt>
                <c:pt idx="6369">
                  <c:v>#N/A</c:v>
                </c:pt>
                <c:pt idx="6370">
                  <c:v>#N/A</c:v>
                </c:pt>
                <c:pt idx="6371">
                  <c:v>2.3013698630136985</c:v>
                </c:pt>
                <c:pt idx="6372">
                  <c:v>#N/A</c:v>
                </c:pt>
                <c:pt idx="6373">
                  <c:v>#N/A</c:v>
                </c:pt>
                <c:pt idx="6374">
                  <c:v>2.3041095890410959</c:v>
                </c:pt>
                <c:pt idx="6375">
                  <c:v>#N/A</c:v>
                </c:pt>
                <c:pt idx="6376">
                  <c:v>#N/A</c:v>
                </c:pt>
                <c:pt idx="6377">
                  <c:v>#N/A</c:v>
                </c:pt>
                <c:pt idx="6378">
                  <c:v>2.3041095890410959</c:v>
                </c:pt>
                <c:pt idx="6379">
                  <c:v>#N/A</c:v>
                </c:pt>
                <c:pt idx="6380">
                  <c:v>#N/A</c:v>
                </c:pt>
                <c:pt idx="6381">
                  <c:v>2.3041095890410959</c:v>
                </c:pt>
                <c:pt idx="6382">
                  <c:v>2.3150684931506849</c:v>
                </c:pt>
                <c:pt idx="6383">
                  <c:v>#N/A</c:v>
                </c:pt>
                <c:pt idx="6384">
                  <c:v>2.3150684931506849</c:v>
                </c:pt>
                <c:pt idx="6385">
                  <c:v>2.3150684931506849</c:v>
                </c:pt>
                <c:pt idx="6386">
                  <c:v>#N/A</c:v>
                </c:pt>
                <c:pt idx="6387">
                  <c:v>2.3150684931506849</c:v>
                </c:pt>
                <c:pt idx="6388">
                  <c:v>#N/A</c:v>
                </c:pt>
                <c:pt idx="6389">
                  <c:v>2.3150684931506849</c:v>
                </c:pt>
                <c:pt idx="6390">
                  <c:v>#N/A</c:v>
                </c:pt>
                <c:pt idx="6391">
                  <c:v>2.3150684931506849</c:v>
                </c:pt>
                <c:pt idx="6392">
                  <c:v>2.3150684931506849</c:v>
                </c:pt>
                <c:pt idx="6393">
                  <c:v>#N/A</c:v>
                </c:pt>
                <c:pt idx="6394">
                  <c:v>2.3150684931506849</c:v>
                </c:pt>
                <c:pt idx="6395">
                  <c:v>2.3150684931506849</c:v>
                </c:pt>
                <c:pt idx="6396">
                  <c:v>2.3150684931506849</c:v>
                </c:pt>
                <c:pt idx="6397">
                  <c:v>#N/A</c:v>
                </c:pt>
                <c:pt idx="6398">
                  <c:v>2.3205479452054796</c:v>
                </c:pt>
                <c:pt idx="6399">
                  <c:v>2.3205479452054796</c:v>
                </c:pt>
                <c:pt idx="6400">
                  <c:v>#N/A</c:v>
                </c:pt>
                <c:pt idx="6401">
                  <c:v>#N/A</c:v>
                </c:pt>
                <c:pt idx="6402">
                  <c:v>#N/A</c:v>
                </c:pt>
                <c:pt idx="6403">
                  <c:v>2.3205479452054796</c:v>
                </c:pt>
                <c:pt idx="6404">
                  <c:v>2.3205479452054796</c:v>
                </c:pt>
                <c:pt idx="6405">
                  <c:v>2.3205479452054796</c:v>
                </c:pt>
                <c:pt idx="6406">
                  <c:v>#N/A</c:v>
                </c:pt>
                <c:pt idx="6407">
                  <c:v>#N/A</c:v>
                </c:pt>
                <c:pt idx="6408">
                  <c:v>#N/A</c:v>
                </c:pt>
                <c:pt idx="6409">
                  <c:v>#N/A</c:v>
                </c:pt>
                <c:pt idx="6410">
                  <c:v>#N/A</c:v>
                </c:pt>
                <c:pt idx="6411">
                  <c:v>#N/A</c:v>
                </c:pt>
                <c:pt idx="6412">
                  <c:v>2.3205479452054796</c:v>
                </c:pt>
                <c:pt idx="6413">
                  <c:v>2.3205479452054796</c:v>
                </c:pt>
                <c:pt idx="6414">
                  <c:v>2.3205479452054796</c:v>
                </c:pt>
                <c:pt idx="6415">
                  <c:v>#N/A</c:v>
                </c:pt>
                <c:pt idx="6416">
                  <c:v>2.3205479452054796</c:v>
                </c:pt>
                <c:pt idx="6417">
                  <c:v>2.3205479452054796</c:v>
                </c:pt>
                <c:pt idx="6418">
                  <c:v>2.3205479452054796</c:v>
                </c:pt>
                <c:pt idx="6419">
                  <c:v>2.3205479452054796</c:v>
                </c:pt>
                <c:pt idx="6420">
                  <c:v>#N/A</c:v>
                </c:pt>
                <c:pt idx="6421">
                  <c:v>2.3205479452054796</c:v>
                </c:pt>
                <c:pt idx="6422">
                  <c:v>#N/A</c:v>
                </c:pt>
                <c:pt idx="6423">
                  <c:v>#N/A</c:v>
                </c:pt>
                <c:pt idx="6424">
                  <c:v>#N/A</c:v>
                </c:pt>
                <c:pt idx="6425">
                  <c:v>#N/A</c:v>
                </c:pt>
                <c:pt idx="6426">
                  <c:v>#N/A</c:v>
                </c:pt>
                <c:pt idx="6427">
                  <c:v>#N/A</c:v>
                </c:pt>
                <c:pt idx="6428">
                  <c:v>2.3205479452054796</c:v>
                </c:pt>
                <c:pt idx="6429">
                  <c:v>2.3205479452054796</c:v>
                </c:pt>
                <c:pt idx="6430">
                  <c:v>2.3205479452054796</c:v>
                </c:pt>
                <c:pt idx="6431">
                  <c:v>2.3205479452054796</c:v>
                </c:pt>
                <c:pt idx="6432">
                  <c:v>2.3205479452054796</c:v>
                </c:pt>
                <c:pt idx="6433">
                  <c:v>#N/A</c:v>
                </c:pt>
                <c:pt idx="6434">
                  <c:v>2.3205479452054796</c:v>
                </c:pt>
                <c:pt idx="6435">
                  <c:v>2.3205479452054796</c:v>
                </c:pt>
                <c:pt idx="6436">
                  <c:v>2.3205479452054796</c:v>
                </c:pt>
                <c:pt idx="6437">
                  <c:v>#N/A</c:v>
                </c:pt>
                <c:pt idx="6438">
                  <c:v>#N/A</c:v>
                </c:pt>
                <c:pt idx="6439">
                  <c:v>2.3205479452054796</c:v>
                </c:pt>
                <c:pt idx="6440">
                  <c:v>2.3205479452054796</c:v>
                </c:pt>
                <c:pt idx="6441">
                  <c:v>#N/A</c:v>
                </c:pt>
                <c:pt idx="6442">
                  <c:v>#N/A</c:v>
                </c:pt>
                <c:pt idx="6443">
                  <c:v>2.3205479452054796</c:v>
                </c:pt>
                <c:pt idx="6444">
                  <c:v>2.3205479452054796</c:v>
                </c:pt>
                <c:pt idx="6445">
                  <c:v>#N/A</c:v>
                </c:pt>
                <c:pt idx="6446">
                  <c:v>2.3232876712328765</c:v>
                </c:pt>
                <c:pt idx="6447">
                  <c:v>#N/A</c:v>
                </c:pt>
                <c:pt idx="6448">
                  <c:v>#N/A</c:v>
                </c:pt>
                <c:pt idx="6449">
                  <c:v>2.3260273972602739</c:v>
                </c:pt>
                <c:pt idx="6450">
                  <c:v>2.3260273972602739</c:v>
                </c:pt>
                <c:pt idx="6451">
                  <c:v>#N/A</c:v>
                </c:pt>
                <c:pt idx="6452">
                  <c:v>2.3342465753424659</c:v>
                </c:pt>
                <c:pt idx="6453">
                  <c:v>#N/A</c:v>
                </c:pt>
                <c:pt idx="6454">
                  <c:v>2.3369863013698629</c:v>
                </c:pt>
                <c:pt idx="6455">
                  <c:v>2.3369863013698629</c:v>
                </c:pt>
                <c:pt idx="6456">
                  <c:v>2.3369863013698629</c:v>
                </c:pt>
                <c:pt idx="6457">
                  <c:v>#N/A</c:v>
                </c:pt>
                <c:pt idx="6458">
                  <c:v>2.3369863013698629</c:v>
                </c:pt>
                <c:pt idx="6459">
                  <c:v>2.3369863013698629</c:v>
                </c:pt>
                <c:pt idx="6460">
                  <c:v>2.3369863013698629</c:v>
                </c:pt>
                <c:pt idx="6461">
                  <c:v>2.3369863013698629</c:v>
                </c:pt>
                <c:pt idx="6462">
                  <c:v>2.3369863013698629</c:v>
                </c:pt>
                <c:pt idx="6463">
                  <c:v>2.3369863013698629</c:v>
                </c:pt>
                <c:pt idx="6464">
                  <c:v>#N/A</c:v>
                </c:pt>
                <c:pt idx="6465">
                  <c:v>2.3369863013698629</c:v>
                </c:pt>
                <c:pt idx="6466">
                  <c:v>2.3397260273972602</c:v>
                </c:pt>
                <c:pt idx="6467">
                  <c:v>#N/A</c:v>
                </c:pt>
                <c:pt idx="6468">
                  <c:v>2.3397260273972602</c:v>
                </c:pt>
                <c:pt idx="6469">
                  <c:v>2.3397260273972602</c:v>
                </c:pt>
                <c:pt idx="6470">
                  <c:v>#N/A</c:v>
                </c:pt>
                <c:pt idx="6471">
                  <c:v>2.3424657534246576</c:v>
                </c:pt>
                <c:pt idx="6472">
                  <c:v>2.3424657534246576</c:v>
                </c:pt>
                <c:pt idx="6473">
                  <c:v>2.3424657534246576</c:v>
                </c:pt>
                <c:pt idx="6474">
                  <c:v>#N/A</c:v>
                </c:pt>
                <c:pt idx="6475">
                  <c:v>#N/A</c:v>
                </c:pt>
                <c:pt idx="6476">
                  <c:v>#N/A</c:v>
                </c:pt>
                <c:pt idx="6477">
                  <c:v>#N/A</c:v>
                </c:pt>
                <c:pt idx="6478">
                  <c:v>#N/A</c:v>
                </c:pt>
                <c:pt idx="6479">
                  <c:v>2.3424657534246576</c:v>
                </c:pt>
                <c:pt idx="6480">
                  <c:v>#N/A</c:v>
                </c:pt>
                <c:pt idx="6481">
                  <c:v>#N/A</c:v>
                </c:pt>
                <c:pt idx="6482">
                  <c:v>#N/A</c:v>
                </c:pt>
                <c:pt idx="6483">
                  <c:v>#N/A</c:v>
                </c:pt>
                <c:pt idx="6484">
                  <c:v>2.3534246575342466</c:v>
                </c:pt>
                <c:pt idx="6485">
                  <c:v>2.3534246575342466</c:v>
                </c:pt>
                <c:pt idx="6486">
                  <c:v>#N/A</c:v>
                </c:pt>
                <c:pt idx="6487">
                  <c:v>2.3561643835616439</c:v>
                </c:pt>
                <c:pt idx="6488">
                  <c:v>#N/A</c:v>
                </c:pt>
                <c:pt idx="6489">
                  <c:v>#N/A</c:v>
                </c:pt>
                <c:pt idx="6490">
                  <c:v>#N/A</c:v>
                </c:pt>
                <c:pt idx="6491">
                  <c:v>#N/A</c:v>
                </c:pt>
                <c:pt idx="6492">
                  <c:v>2.3561643835616439</c:v>
                </c:pt>
                <c:pt idx="6493">
                  <c:v>#N/A</c:v>
                </c:pt>
                <c:pt idx="6494">
                  <c:v>#N/A</c:v>
                </c:pt>
                <c:pt idx="6495">
                  <c:v>#N/A</c:v>
                </c:pt>
                <c:pt idx="6496">
                  <c:v>#N/A</c:v>
                </c:pt>
                <c:pt idx="6497">
                  <c:v>#N/A</c:v>
                </c:pt>
                <c:pt idx="6498">
                  <c:v>#N/A</c:v>
                </c:pt>
                <c:pt idx="6499">
                  <c:v>2.3589041095890413</c:v>
                </c:pt>
                <c:pt idx="6500">
                  <c:v>2.3589041095890413</c:v>
                </c:pt>
                <c:pt idx="6501">
                  <c:v>#N/A</c:v>
                </c:pt>
                <c:pt idx="6502">
                  <c:v>#N/A</c:v>
                </c:pt>
                <c:pt idx="6503">
                  <c:v>2.3616438356164382</c:v>
                </c:pt>
                <c:pt idx="6504">
                  <c:v>#N/A</c:v>
                </c:pt>
                <c:pt idx="6505">
                  <c:v>2.3616438356164382</c:v>
                </c:pt>
                <c:pt idx="6506">
                  <c:v>#N/A</c:v>
                </c:pt>
                <c:pt idx="6507">
                  <c:v>#N/A</c:v>
                </c:pt>
                <c:pt idx="6508">
                  <c:v>2.3726027397260272</c:v>
                </c:pt>
                <c:pt idx="6509">
                  <c:v>2.3726027397260272</c:v>
                </c:pt>
                <c:pt idx="6510">
                  <c:v>2.3726027397260272</c:v>
                </c:pt>
                <c:pt idx="6511">
                  <c:v>2.3753424657534246</c:v>
                </c:pt>
                <c:pt idx="6512">
                  <c:v>2.3753424657534246</c:v>
                </c:pt>
                <c:pt idx="6513">
                  <c:v>#N/A</c:v>
                </c:pt>
                <c:pt idx="6514">
                  <c:v>#N/A</c:v>
                </c:pt>
                <c:pt idx="6515">
                  <c:v>2.3835616438356166</c:v>
                </c:pt>
                <c:pt idx="6516">
                  <c:v>2.3835616438356166</c:v>
                </c:pt>
                <c:pt idx="6517">
                  <c:v>#N/A</c:v>
                </c:pt>
                <c:pt idx="6518">
                  <c:v>2.3835616438356166</c:v>
                </c:pt>
                <c:pt idx="6519">
                  <c:v>#N/A</c:v>
                </c:pt>
                <c:pt idx="6520">
                  <c:v>#N/A</c:v>
                </c:pt>
                <c:pt idx="6521">
                  <c:v>#N/A</c:v>
                </c:pt>
                <c:pt idx="6522">
                  <c:v>2.3863013698630136</c:v>
                </c:pt>
                <c:pt idx="6523">
                  <c:v>#N/A</c:v>
                </c:pt>
                <c:pt idx="6524">
                  <c:v>2.3863013698630136</c:v>
                </c:pt>
                <c:pt idx="6525">
                  <c:v>2.3863013698630136</c:v>
                </c:pt>
                <c:pt idx="6526">
                  <c:v>2.3863013698630136</c:v>
                </c:pt>
                <c:pt idx="6527">
                  <c:v>2.3863013698630136</c:v>
                </c:pt>
                <c:pt idx="6528">
                  <c:v>2.3863013698630136</c:v>
                </c:pt>
                <c:pt idx="6529">
                  <c:v>#N/A</c:v>
                </c:pt>
                <c:pt idx="6530">
                  <c:v>#N/A</c:v>
                </c:pt>
                <c:pt idx="6531">
                  <c:v>#N/A</c:v>
                </c:pt>
                <c:pt idx="6532">
                  <c:v>#N/A</c:v>
                </c:pt>
                <c:pt idx="6533">
                  <c:v>#N/A</c:v>
                </c:pt>
                <c:pt idx="6534">
                  <c:v>#N/A</c:v>
                </c:pt>
                <c:pt idx="6535">
                  <c:v>#N/A</c:v>
                </c:pt>
                <c:pt idx="6536">
                  <c:v>#N/A</c:v>
                </c:pt>
                <c:pt idx="6537">
                  <c:v>#N/A</c:v>
                </c:pt>
                <c:pt idx="6538">
                  <c:v>#N/A</c:v>
                </c:pt>
                <c:pt idx="6539">
                  <c:v>2.3863013698630136</c:v>
                </c:pt>
                <c:pt idx="6540">
                  <c:v>2.3863013698630136</c:v>
                </c:pt>
                <c:pt idx="6541">
                  <c:v>#N/A</c:v>
                </c:pt>
                <c:pt idx="6542">
                  <c:v>#N/A</c:v>
                </c:pt>
                <c:pt idx="6543">
                  <c:v>2.3863013698630136</c:v>
                </c:pt>
                <c:pt idx="6544">
                  <c:v>2.3863013698630136</c:v>
                </c:pt>
                <c:pt idx="6545">
                  <c:v>2.3863013698630136</c:v>
                </c:pt>
                <c:pt idx="6546">
                  <c:v>2.3863013698630136</c:v>
                </c:pt>
                <c:pt idx="6547">
                  <c:v>2.3863013698630136</c:v>
                </c:pt>
                <c:pt idx="6548">
                  <c:v>2.3863013698630136</c:v>
                </c:pt>
                <c:pt idx="6549">
                  <c:v>2.3863013698630136</c:v>
                </c:pt>
                <c:pt idx="6550">
                  <c:v>#N/A</c:v>
                </c:pt>
                <c:pt idx="6551">
                  <c:v>2.3863013698630136</c:v>
                </c:pt>
                <c:pt idx="6552">
                  <c:v>#N/A</c:v>
                </c:pt>
                <c:pt idx="6553">
                  <c:v>#N/A</c:v>
                </c:pt>
                <c:pt idx="6554">
                  <c:v>#N/A</c:v>
                </c:pt>
                <c:pt idx="6555">
                  <c:v>2.3863013698630136</c:v>
                </c:pt>
                <c:pt idx="6556">
                  <c:v>#N/A</c:v>
                </c:pt>
                <c:pt idx="6557">
                  <c:v>2.3863013698630136</c:v>
                </c:pt>
                <c:pt idx="6558">
                  <c:v>2.3863013698630136</c:v>
                </c:pt>
                <c:pt idx="6559">
                  <c:v>2.3863013698630136</c:v>
                </c:pt>
                <c:pt idx="6560">
                  <c:v>#N/A</c:v>
                </c:pt>
                <c:pt idx="6561">
                  <c:v>#N/A</c:v>
                </c:pt>
                <c:pt idx="6562">
                  <c:v>#N/A</c:v>
                </c:pt>
                <c:pt idx="6563">
                  <c:v>2.3890410958904109</c:v>
                </c:pt>
                <c:pt idx="6564">
                  <c:v>2.3890410958904109</c:v>
                </c:pt>
                <c:pt idx="6565">
                  <c:v>2.3890410958904109</c:v>
                </c:pt>
                <c:pt idx="6566">
                  <c:v>2.3890410958904109</c:v>
                </c:pt>
                <c:pt idx="6567">
                  <c:v>2.3890410958904109</c:v>
                </c:pt>
                <c:pt idx="6568">
                  <c:v>2.3890410958904109</c:v>
                </c:pt>
                <c:pt idx="6569">
                  <c:v>#N/A</c:v>
                </c:pt>
                <c:pt idx="6570">
                  <c:v>#N/A</c:v>
                </c:pt>
                <c:pt idx="6571">
                  <c:v>2.3917808219178083</c:v>
                </c:pt>
                <c:pt idx="6572">
                  <c:v>2.3917808219178083</c:v>
                </c:pt>
                <c:pt idx="6573">
                  <c:v>#N/A</c:v>
                </c:pt>
                <c:pt idx="6574">
                  <c:v>#N/A</c:v>
                </c:pt>
                <c:pt idx="6575">
                  <c:v>#N/A</c:v>
                </c:pt>
                <c:pt idx="6576">
                  <c:v>#N/A</c:v>
                </c:pt>
                <c:pt idx="6577">
                  <c:v>2.3917808219178083</c:v>
                </c:pt>
                <c:pt idx="6578">
                  <c:v>2.3917808219178083</c:v>
                </c:pt>
                <c:pt idx="6579">
                  <c:v>#N/A</c:v>
                </c:pt>
                <c:pt idx="6580">
                  <c:v>#N/A</c:v>
                </c:pt>
                <c:pt idx="6581">
                  <c:v>#N/A</c:v>
                </c:pt>
                <c:pt idx="6582">
                  <c:v>2.3917808219178083</c:v>
                </c:pt>
                <c:pt idx="6583">
                  <c:v>2.3917808219178083</c:v>
                </c:pt>
                <c:pt idx="6584">
                  <c:v>#N/A</c:v>
                </c:pt>
                <c:pt idx="6585">
                  <c:v>2.3917808219178083</c:v>
                </c:pt>
                <c:pt idx="6586">
                  <c:v>2.3917808219178083</c:v>
                </c:pt>
                <c:pt idx="6587">
                  <c:v>#N/A</c:v>
                </c:pt>
                <c:pt idx="6588">
                  <c:v>#N/A</c:v>
                </c:pt>
                <c:pt idx="6589">
                  <c:v>#N/A</c:v>
                </c:pt>
                <c:pt idx="6590">
                  <c:v>#N/A</c:v>
                </c:pt>
                <c:pt idx="6591">
                  <c:v>2.3945205479452056</c:v>
                </c:pt>
                <c:pt idx="6592">
                  <c:v>#N/A</c:v>
                </c:pt>
                <c:pt idx="6593">
                  <c:v>2.3972602739726026</c:v>
                </c:pt>
                <c:pt idx="6594">
                  <c:v>#N/A</c:v>
                </c:pt>
                <c:pt idx="6595">
                  <c:v>2.4</c:v>
                </c:pt>
                <c:pt idx="6596">
                  <c:v>2.4</c:v>
                </c:pt>
                <c:pt idx="6597">
                  <c:v>2.4</c:v>
                </c:pt>
                <c:pt idx="6598">
                  <c:v>2.4</c:v>
                </c:pt>
                <c:pt idx="6599">
                  <c:v>2.4</c:v>
                </c:pt>
                <c:pt idx="6600">
                  <c:v>#N/A</c:v>
                </c:pt>
                <c:pt idx="6601">
                  <c:v>#N/A</c:v>
                </c:pt>
                <c:pt idx="6602">
                  <c:v>2.4</c:v>
                </c:pt>
                <c:pt idx="6603">
                  <c:v>#N/A</c:v>
                </c:pt>
                <c:pt idx="6604">
                  <c:v>2.4</c:v>
                </c:pt>
                <c:pt idx="6605">
                  <c:v>#N/A</c:v>
                </c:pt>
                <c:pt idx="6606">
                  <c:v>2.4</c:v>
                </c:pt>
                <c:pt idx="6607">
                  <c:v>2.4</c:v>
                </c:pt>
                <c:pt idx="6608">
                  <c:v>2.4</c:v>
                </c:pt>
                <c:pt idx="6609">
                  <c:v>2.4</c:v>
                </c:pt>
                <c:pt idx="6610">
                  <c:v>#N/A</c:v>
                </c:pt>
                <c:pt idx="6611">
                  <c:v>2.4027397260273973</c:v>
                </c:pt>
                <c:pt idx="6612">
                  <c:v>#N/A</c:v>
                </c:pt>
                <c:pt idx="6613">
                  <c:v>#N/A</c:v>
                </c:pt>
                <c:pt idx="6614">
                  <c:v>#N/A</c:v>
                </c:pt>
                <c:pt idx="6615">
                  <c:v>#N/A</c:v>
                </c:pt>
                <c:pt idx="6616">
                  <c:v>2.4109589041095889</c:v>
                </c:pt>
                <c:pt idx="6617">
                  <c:v>2.4109589041095889</c:v>
                </c:pt>
                <c:pt idx="6618">
                  <c:v>2.4109589041095889</c:v>
                </c:pt>
                <c:pt idx="6619">
                  <c:v>2.4109589041095889</c:v>
                </c:pt>
                <c:pt idx="6620">
                  <c:v>#N/A</c:v>
                </c:pt>
                <c:pt idx="6621">
                  <c:v>2.4109589041095889</c:v>
                </c:pt>
                <c:pt idx="6622">
                  <c:v>#N/A</c:v>
                </c:pt>
                <c:pt idx="6623">
                  <c:v>#N/A</c:v>
                </c:pt>
                <c:pt idx="6624">
                  <c:v>2.4136986301369863</c:v>
                </c:pt>
                <c:pt idx="6625">
                  <c:v>2.4136986301369863</c:v>
                </c:pt>
                <c:pt idx="6626">
                  <c:v>#N/A</c:v>
                </c:pt>
                <c:pt idx="6627">
                  <c:v>#N/A</c:v>
                </c:pt>
                <c:pt idx="6628">
                  <c:v>#N/A</c:v>
                </c:pt>
                <c:pt idx="6629">
                  <c:v>2.4164383561643836</c:v>
                </c:pt>
                <c:pt idx="6630">
                  <c:v>2.419178082191781</c:v>
                </c:pt>
                <c:pt idx="6631">
                  <c:v>#N/A</c:v>
                </c:pt>
                <c:pt idx="6632">
                  <c:v>#N/A</c:v>
                </c:pt>
                <c:pt idx="6633">
                  <c:v>#N/A</c:v>
                </c:pt>
                <c:pt idx="6634">
                  <c:v>2.419178082191781</c:v>
                </c:pt>
                <c:pt idx="6635">
                  <c:v>#N/A</c:v>
                </c:pt>
                <c:pt idx="6636">
                  <c:v>#N/A</c:v>
                </c:pt>
                <c:pt idx="6637">
                  <c:v>#N/A</c:v>
                </c:pt>
                <c:pt idx="6638">
                  <c:v>#N/A</c:v>
                </c:pt>
                <c:pt idx="6639">
                  <c:v>2.4219178082191779</c:v>
                </c:pt>
                <c:pt idx="6640">
                  <c:v>2.4219178082191779</c:v>
                </c:pt>
                <c:pt idx="6641">
                  <c:v>#N/A</c:v>
                </c:pt>
                <c:pt idx="6642">
                  <c:v>#N/A</c:v>
                </c:pt>
                <c:pt idx="6643">
                  <c:v>#N/A</c:v>
                </c:pt>
                <c:pt idx="6644">
                  <c:v>#N/A</c:v>
                </c:pt>
                <c:pt idx="6645">
                  <c:v>#N/A</c:v>
                </c:pt>
                <c:pt idx="6646">
                  <c:v>#N/A</c:v>
                </c:pt>
                <c:pt idx="6647">
                  <c:v>2.4328767123287673</c:v>
                </c:pt>
                <c:pt idx="6648">
                  <c:v>2.4328767123287673</c:v>
                </c:pt>
                <c:pt idx="6649">
                  <c:v>#N/A</c:v>
                </c:pt>
                <c:pt idx="6650">
                  <c:v>2.4328767123287673</c:v>
                </c:pt>
                <c:pt idx="6651">
                  <c:v>#N/A</c:v>
                </c:pt>
                <c:pt idx="6652">
                  <c:v>#N/A</c:v>
                </c:pt>
                <c:pt idx="6653">
                  <c:v>2.4356164383561643</c:v>
                </c:pt>
                <c:pt idx="6654">
                  <c:v>2.4356164383561643</c:v>
                </c:pt>
                <c:pt idx="6655">
                  <c:v>#N/A</c:v>
                </c:pt>
                <c:pt idx="6656">
                  <c:v>2.4356164383561643</c:v>
                </c:pt>
                <c:pt idx="6657">
                  <c:v>2.4356164383561643</c:v>
                </c:pt>
                <c:pt idx="6658">
                  <c:v>#N/A</c:v>
                </c:pt>
                <c:pt idx="6659">
                  <c:v>#N/A</c:v>
                </c:pt>
                <c:pt idx="6660">
                  <c:v>#N/A</c:v>
                </c:pt>
                <c:pt idx="6661">
                  <c:v>#N/A</c:v>
                </c:pt>
                <c:pt idx="6662">
                  <c:v>#N/A</c:v>
                </c:pt>
                <c:pt idx="6663">
                  <c:v>#N/A</c:v>
                </c:pt>
                <c:pt idx="6664">
                  <c:v>2.4383561643835616</c:v>
                </c:pt>
                <c:pt idx="6665">
                  <c:v>2.4493150684931506</c:v>
                </c:pt>
                <c:pt idx="6666">
                  <c:v>#N/A</c:v>
                </c:pt>
                <c:pt idx="6667">
                  <c:v>#N/A</c:v>
                </c:pt>
                <c:pt idx="6668">
                  <c:v>#N/A</c:v>
                </c:pt>
                <c:pt idx="6669">
                  <c:v>#N/A</c:v>
                </c:pt>
                <c:pt idx="6670">
                  <c:v>#N/A</c:v>
                </c:pt>
                <c:pt idx="6671">
                  <c:v>#N/A</c:v>
                </c:pt>
                <c:pt idx="6672">
                  <c:v>#N/A</c:v>
                </c:pt>
                <c:pt idx="6673">
                  <c:v>2.452054794520548</c:v>
                </c:pt>
                <c:pt idx="6674">
                  <c:v>#N/A</c:v>
                </c:pt>
                <c:pt idx="6675">
                  <c:v>#N/A</c:v>
                </c:pt>
                <c:pt idx="6676">
                  <c:v>#N/A</c:v>
                </c:pt>
                <c:pt idx="6677">
                  <c:v>2.452054794520548</c:v>
                </c:pt>
                <c:pt idx="6678">
                  <c:v>#N/A</c:v>
                </c:pt>
                <c:pt idx="6679">
                  <c:v>#N/A</c:v>
                </c:pt>
                <c:pt idx="6680">
                  <c:v>2.4547945205479453</c:v>
                </c:pt>
                <c:pt idx="6681">
                  <c:v>#N/A</c:v>
                </c:pt>
                <c:pt idx="6682">
                  <c:v>2.4547945205479453</c:v>
                </c:pt>
                <c:pt idx="6683">
                  <c:v>2.4547945205479453</c:v>
                </c:pt>
                <c:pt idx="6684">
                  <c:v>2.4547945205479453</c:v>
                </c:pt>
                <c:pt idx="6685">
                  <c:v>#N/A</c:v>
                </c:pt>
                <c:pt idx="6686">
                  <c:v>#N/A</c:v>
                </c:pt>
                <c:pt idx="6687">
                  <c:v>2.4575342465753423</c:v>
                </c:pt>
                <c:pt idx="6688">
                  <c:v>#N/A</c:v>
                </c:pt>
                <c:pt idx="6689">
                  <c:v>2.4575342465753423</c:v>
                </c:pt>
                <c:pt idx="6690">
                  <c:v>2.4575342465753423</c:v>
                </c:pt>
                <c:pt idx="6691">
                  <c:v>2.4575342465753423</c:v>
                </c:pt>
                <c:pt idx="6692">
                  <c:v>#N/A</c:v>
                </c:pt>
                <c:pt idx="6693">
                  <c:v>#N/A</c:v>
                </c:pt>
                <c:pt idx="6694">
                  <c:v>#N/A</c:v>
                </c:pt>
                <c:pt idx="6695">
                  <c:v>#N/A</c:v>
                </c:pt>
                <c:pt idx="6696">
                  <c:v>2.4602739726027396</c:v>
                </c:pt>
                <c:pt idx="6697">
                  <c:v>2.4602739726027396</c:v>
                </c:pt>
                <c:pt idx="6698">
                  <c:v>2.4602739726027396</c:v>
                </c:pt>
                <c:pt idx="6699">
                  <c:v>2.4602739726027396</c:v>
                </c:pt>
                <c:pt idx="6700">
                  <c:v>#N/A</c:v>
                </c:pt>
                <c:pt idx="6701">
                  <c:v>2.4602739726027396</c:v>
                </c:pt>
                <c:pt idx="6702">
                  <c:v>2.4602739726027396</c:v>
                </c:pt>
                <c:pt idx="6703">
                  <c:v>2.4602739726027396</c:v>
                </c:pt>
                <c:pt idx="6704">
                  <c:v>2.4602739726027396</c:v>
                </c:pt>
                <c:pt idx="6705">
                  <c:v>#N/A</c:v>
                </c:pt>
                <c:pt idx="6706">
                  <c:v>2.4602739726027396</c:v>
                </c:pt>
                <c:pt idx="6707">
                  <c:v>2.4602739726027396</c:v>
                </c:pt>
                <c:pt idx="6708">
                  <c:v>2.4712328767123286</c:v>
                </c:pt>
                <c:pt idx="6709">
                  <c:v>2.4712328767123286</c:v>
                </c:pt>
                <c:pt idx="6710">
                  <c:v>#N/A</c:v>
                </c:pt>
                <c:pt idx="6711">
                  <c:v>#N/A</c:v>
                </c:pt>
                <c:pt idx="6712">
                  <c:v>2.473972602739726</c:v>
                </c:pt>
                <c:pt idx="6713">
                  <c:v>2.4767123287671233</c:v>
                </c:pt>
                <c:pt idx="6714">
                  <c:v>2.4767123287671233</c:v>
                </c:pt>
                <c:pt idx="6715">
                  <c:v>2.4767123287671233</c:v>
                </c:pt>
                <c:pt idx="6716">
                  <c:v>2.4767123287671233</c:v>
                </c:pt>
                <c:pt idx="6717">
                  <c:v>#N/A</c:v>
                </c:pt>
                <c:pt idx="6718">
                  <c:v>#N/A</c:v>
                </c:pt>
                <c:pt idx="6719">
                  <c:v>#N/A</c:v>
                </c:pt>
                <c:pt idx="6720">
                  <c:v>#N/A</c:v>
                </c:pt>
                <c:pt idx="6721">
                  <c:v>#N/A</c:v>
                </c:pt>
                <c:pt idx="6722">
                  <c:v>2.4904109589041097</c:v>
                </c:pt>
                <c:pt idx="6723">
                  <c:v>#N/A</c:v>
                </c:pt>
                <c:pt idx="6724">
                  <c:v>#N/A</c:v>
                </c:pt>
                <c:pt idx="6725">
                  <c:v>#N/A</c:v>
                </c:pt>
                <c:pt idx="6726">
                  <c:v>#N/A</c:v>
                </c:pt>
                <c:pt idx="6727">
                  <c:v>#N/A</c:v>
                </c:pt>
                <c:pt idx="6728">
                  <c:v>#N/A</c:v>
                </c:pt>
                <c:pt idx="6729">
                  <c:v>#N/A</c:v>
                </c:pt>
                <c:pt idx="6730">
                  <c:v>#N/A</c:v>
                </c:pt>
                <c:pt idx="6731">
                  <c:v>#N/A</c:v>
                </c:pt>
                <c:pt idx="6732">
                  <c:v>#N/A</c:v>
                </c:pt>
                <c:pt idx="6733">
                  <c:v>#N/A</c:v>
                </c:pt>
                <c:pt idx="6734">
                  <c:v>#N/A</c:v>
                </c:pt>
                <c:pt idx="6735">
                  <c:v>2.493150684931507</c:v>
                </c:pt>
                <c:pt idx="6736">
                  <c:v>#N/A</c:v>
                </c:pt>
                <c:pt idx="6737">
                  <c:v>#N/A</c:v>
                </c:pt>
                <c:pt idx="6738">
                  <c:v>#N/A</c:v>
                </c:pt>
                <c:pt idx="6739">
                  <c:v>#N/A</c:v>
                </c:pt>
                <c:pt idx="6740">
                  <c:v>#N/A</c:v>
                </c:pt>
                <c:pt idx="6741">
                  <c:v>#N/A</c:v>
                </c:pt>
                <c:pt idx="6742">
                  <c:v>#N/A</c:v>
                </c:pt>
                <c:pt idx="6743">
                  <c:v>#N/A</c:v>
                </c:pt>
                <c:pt idx="6744">
                  <c:v>#N/A</c:v>
                </c:pt>
                <c:pt idx="6745">
                  <c:v>2.493150684931507</c:v>
                </c:pt>
                <c:pt idx="6746">
                  <c:v>#N/A</c:v>
                </c:pt>
                <c:pt idx="6747">
                  <c:v>#N/A</c:v>
                </c:pt>
                <c:pt idx="6748">
                  <c:v>#N/A</c:v>
                </c:pt>
                <c:pt idx="6749">
                  <c:v>2.495890410958904</c:v>
                </c:pt>
                <c:pt idx="6750">
                  <c:v>2.495890410958904</c:v>
                </c:pt>
                <c:pt idx="6751">
                  <c:v>#N/A</c:v>
                </c:pt>
                <c:pt idx="6752">
                  <c:v>#N/A</c:v>
                </c:pt>
                <c:pt idx="6753">
                  <c:v>#N/A</c:v>
                </c:pt>
                <c:pt idx="6754">
                  <c:v>#N/A</c:v>
                </c:pt>
                <c:pt idx="6755">
                  <c:v>#N/A</c:v>
                </c:pt>
                <c:pt idx="6756">
                  <c:v>#N/A</c:v>
                </c:pt>
                <c:pt idx="6757">
                  <c:v>2.504109589041096</c:v>
                </c:pt>
                <c:pt idx="6758">
                  <c:v>#N/A</c:v>
                </c:pt>
                <c:pt idx="6759">
                  <c:v>#N/A</c:v>
                </c:pt>
                <c:pt idx="6760">
                  <c:v>#N/A</c:v>
                </c:pt>
                <c:pt idx="6761">
                  <c:v>#N/A</c:v>
                </c:pt>
                <c:pt idx="6762">
                  <c:v>2.506849315068493</c:v>
                </c:pt>
                <c:pt idx="6763">
                  <c:v>2.506849315068493</c:v>
                </c:pt>
                <c:pt idx="6764">
                  <c:v>#N/A</c:v>
                </c:pt>
                <c:pt idx="6765">
                  <c:v>#N/A</c:v>
                </c:pt>
                <c:pt idx="6766">
                  <c:v>2.506849315068493</c:v>
                </c:pt>
                <c:pt idx="6767">
                  <c:v>#N/A</c:v>
                </c:pt>
                <c:pt idx="6768">
                  <c:v>#N/A</c:v>
                </c:pt>
                <c:pt idx="6769">
                  <c:v>2.506849315068493</c:v>
                </c:pt>
                <c:pt idx="6770">
                  <c:v>2.506849315068493</c:v>
                </c:pt>
                <c:pt idx="6771">
                  <c:v>2.506849315068493</c:v>
                </c:pt>
                <c:pt idx="6772">
                  <c:v>2.506849315068493</c:v>
                </c:pt>
                <c:pt idx="6773">
                  <c:v>2.506849315068493</c:v>
                </c:pt>
                <c:pt idx="6774">
                  <c:v>2.506849315068493</c:v>
                </c:pt>
                <c:pt idx="6775">
                  <c:v>#N/A</c:v>
                </c:pt>
                <c:pt idx="6776">
                  <c:v>2.506849315068493</c:v>
                </c:pt>
                <c:pt idx="6777">
                  <c:v>2.506849315068493</c:v>
                </c:pt>
                <c:pt idx="6778">
                  <c:v>#N/A</c:v>
                </c:pt>
                <c:pt idx="6779">
                  <c:v>#N/A</c:v>
                </c:pt>
                <c:pt idx="6780">
                  <c:v>2.506849315068493</c:v>
                </c:pt>
                <c:pt idx="6781">
                  <c:v>2.506849315068493</c:v>
                </c:pt>
                <c:pt idx="6782">
                  <c:v>#N/A</c:v>
                </c:pt>
                <c:pt idx="6783">
                  <c:v>2.506849315068493</c:v>
                </c:pt>
                <c:pt idx="6784">
                  <c:v>2.506849315068493</c:v>
                </c:pt>
                <c:pt idx="6785">
                  <c:v>2.506849315068493</c:v>
                </c:pt>
                <c:pt idx="6786">
                  <c:v>2.506849315068493</c:v>
                </c:pt>
                <c:pt idx="6787">
                  <c:v>#N/A</c:v>
                </c:pt>
                <c:pt idx="6788">
                  <c:v>2.506849315068493</c:v>
                </c:pt>
                <c:pt idx="6789">
                  <c:v>2.506849315068493</c:v>
                </c:pt>
                <c:pt idx="6790">
                  <c:v>2.506849315068493</c:v>
                </c:pt>
                <c:pt idx="6791">
                  <c:v>#N/A</c:v>
                </c:pt>
                <c:pt idx="6792">
                  <c:v>#N/A</c:v>
                </c:pt>
                <c:pt idx="6793">
                  <c:v>#N/A</c:v>
                </c:pt>
                <c:pt idx="6794">
                  <c:v>2.506849315068493</c:v>
                </c:pt>
                <c:pt idx="6795">
                  <c:v>#N/A</c:v>
                </c:pt>
                <c:pt idx="6796">
                  <c:v>2.506849315068493</c:v>
                </c:pt>
                <c:pt idx="6797">
                  <c:v>#N/A</c:v>
                </c:pt>
                <c:pt idx="6798">
                  <c:v>#N/A</c:v>
                </c:pt>
                <c:pt idx="6799">
                  <c:v>#N/A</c:v>
                </c:pt>
                <c:pt idx="6800">
                  <c:v>#N/A</c:v>
                </c:pt>
                <c:pt idx="6801">
                  <c:v>2.5095890410958903</c:v>
                </c:pt>
                <c:pt idx="6802">
                  <c:v>2.5095890410958903</c:v>
                </c:pt>
                <c:pt idx="6803">
                  <c:v>#N/A</c:v>
                </c:pt>
                <c:pt idx="6804">
                  <c:v>2.5095890410958903</c:v>
                </c:pt>
                <c:pt idx="6805">
                  <c:v>2.5095890410958903</c:v>
                </c:pt>
                <c:pt idx="6806">
                  <c:v>#N/A</c:v>
                </c:pt>
                <c:pt idx="6807">
                  <c:v>#N/A</c:v>
                </c:pt>
                <c:pt idx="6808">
                  <c:v>#N/A</c:v>
                </c:pt>
                <c:pt idx="6809">
                  <c:v>#N/A</c:v>
                </c:pt>
                <c:pt idx="6810">
                  <c:v>#N/A</c:v>
                </c:pt>
                <c:pt idx="6811">
                  <c:v>2.5095890410958903</c:v>
                </c:pt>
                <c:pt idx="6812">
                  <c:v>2.5095890410958903</c:v>
                </c:pt>
                <c:pt idx="6813">
                  <c:v>2.5095890410958903</c:v>
                </c:pt>
                <c:pt idx="6814">
                  <c:v>#N/A</c:v>
                </c:pt>
                <c:pt idx="6815">
                  <c:v>#N/A</c:v>
                </c:pt>
                <c:pt idx="6816">
                  <c:v>2.5123287671232877</c:v>
                </c:pt>
                <c:pt idx="6817">
                  <c:v>2.5123287671232877</c:v>
                </c:pt>
                <c:pt idx="6818">
                  <c:v>2.5123287671232877</c:v>
                </c:pt>
                <c:pt idx="6819">
                  <c:v>2.5123287671232877</c:v>
                </c:pt>
                <c:pt idx="6820">
                  <c:v>#N/A</c:v>
                </c:pt>
                <c:pt idx="6821">
                  <c:v>2.5123287671232877</c:v>
                </c:pt>
                <c:pt idx="6822">
                  <c:v>2.5123287671232877</c:v>
                </c:pt>
                <c:pt idx="6823">
                  <c:v>2.5123287671232877</c:v>
                </c:pt>
                <c:pt idx="6824">
                  <c:v>#N/A</c:v>
                </c:pt>
                <c:pt idx="6825">
                  <c:v>#N/A</c:v>
                </c:pt>
                <c:pt idx="6826">
                  <c:v>2.5123287671232877</c:v>
                </c:pt>
                <c:pt idx="6827">
                  <c:v>2.515068493150685</c:v>
                </c:pt>
                <c:pt idx="6828">
                  <c:v>#N/A</c:v>
                </c:pt>
                <c:pt idx="6829">
                  <c:v>#N/A</c:v>
                </c:pt>
                <c:pt idx="6830">
                  <c:v>2.515068493150685</c:v>
                </c:pt>
                <c:pt idx="6831">
                  <c:v>#N/A</c:v>
                </c:pt>
                <c:pt idx="6832">
                  <c:v>#N/A</c:v>
                </c:pt>
                <c:pt idx="6833">
                  <c:v>2.515068493150685</c:v>
                </c:pt>
                <c:pt idx="6834">
                  <c:v>2.5178082191780824</c:v>
                </c:pt>
                <c:pt idx="6835">
                  <c:v>#N/A</c:v>
                </c:pt>
                <c:pt idx="6836">
                  <c:v>#N/A</c:v>
                </c:pt>
                <c:pt idx="6837">
                  <c:v>#N/A</c:v>
                </c:pt>
                <c:pt idx="6838">
                  <c:v>2.5178082191780824</c:v>
                </c:pt>
                <c:pt idx="6839">
                  <c:v>2.5178082191780824</c:v>
                </c:pt>
                <c:pt idx="6840">
                  <c:v>2.5178082191780824</c:v>
                </c:pt>
                <c:pt idx="6841">
                  <c:v>2.5178082191780824</c:v>
                </c:pt>
                <c:pt idx="6842">
                  <c:v>#N/A</c:v>
                </c:pt>
                <c:pt idx="6843">
                  <c:v>2.5178082191780824</c:v>
                </c:pt>
                <c:pt idx="6844">
                  <c:v>2.5178082191780824</c:v>
                </c:pt>
                <c:pt idx="6845">
                  <c:v>#N/A</c:v>
                </c:pt>
                <c:pt idx="6846">
                  <c:v>#N/A</c:v>
                </c:pt>
                <c:pt idx="6847">
                  <c:v>2.5178082191780824</c:v>
                </c:pt>
                <c:pt idx="6848">
                  <c:v>2.5178082191780824</c:v>
                </c:pt>
                <c:pt idx="6849">
                  <c:v>2.5178082191780824</c:v>
                </c:pt>
                <c:pt idx="6850">
                  <c:v>#N/A</c:v>
                </c:pt>
                <c:pt idx="6851">
                  <c:v>#N/A</c:v>
                </c:pt>
                <c:pt idx="6852">
                  <c:v>#N/A</c:v>
                </c:pt>
                <c:pt idx="6853">
                  <c:v>#N/A</c:v>
                </c:pt>
                <c:pt idx="6854">
                  <c:v>2.5178082191780824</c:v>
                </c:pt>
                <c:pt idx="6855">
                  <c:v>2.5178082191780824</c:v>
                </c:pt>
                <c:pt idx="6856">
                  <c:v>#N/A</c:v>
                </c:pt>
                <c:pt idx="6857">
                  <c:v>#N/A</c:v>
                </c:pt>
                <c:pt idx="6858">
                  <c:v>#N/A</c:v>
                </c:pt>
                <c:pt idx="6859">
                  <c:v>#N/A</c:v>
                </c:pt>
                <c:pt idx="6860">
                  <c:v>#N/A</c:v>
                </c:pt>
                <c:pt idx="6861">
                  <c:v>2.5178082191780824</c:v>
                </c:pt>
                <c:pt idx="6862">
                  <c:v>2.5178082191780824</c:v>
                </c:pt>
                <c:pt idx="6863">
                  <c:v>#N/A</c:v>
                </c:pt>
                <c:pt idx="6864">
                  <c:v>#N/A</c:v>
                </c:pt>
                <c:pt idx="6865">
                  <c:v>#N/A</c:v>
                </c:pt>
                <c:pt idx="6866">
                  <c:v>2.526027397260274</c:v>
                </c:pt>
                <c:pt idx="6867">
                  <c:v>2.526027397260274</c:v>
                </c:pt>
                <c:pt idx="6868">
                  <c:v>#N/A</c:v>
                </c:pt>
                <c:pt idx="6869">
                  <c:v>#N/A</c:v>
                </c:pt>
                <c:pt idx="6870">
                  <c:v>2.526027397260274</c:v>
                </c:pt>
                <c:pt idx="6871">
                  <c:v>2.526027397260274</c:v>
                </c:pt>
                <c:pt idx="6872">
                  <c:v>2.526027397260274</c:v>
                </c:pt>
                <c:pt idx="6873">
                  <c:v>2.526027397260274</c:v>
                </c:pt>
                <c:pt idx="6874">
                  <c:v>#N/A</c:v>
                </c:pt>
                <c:pt idx="6875">
                  <c:v>#N/A</c:v>
                </c:pt>
                <c:pt idx="6876">
                  <c:v>#N/A</c:v>
                </c:pt>
                <c:pt idx="6877">
                  <c:v>#N/A</c:v>
                </c:pt>
                <c:pt idx="6878">
                  <c:v>2.526027397260274</c:v>
                </c:pt>
                <c:pt idx="6879">
                  <c:v>2.526027397260274</c:v>
                </c:pt>
                <c:pt idx="6880">
                  <c:v>2.526027397260274</c:v>
                </c:pt>
                <c:pt idx="6881">
                  <c:v>#N/A</c:v>
                </c:pt>
                <c:pt idx="6882">
                  <c:v>#N/A</c:v>
                </c:pt>
                <c:pt idx="6883">
                  <c:v>#N/A</c:v>
                </c:pt>
                <c:pt idx="6884">
                  <c:v>2.526027397260274</c:v>
                </c:pt>
                <c:pt idx="6885">
                  <c:v>#N/A</c:v>
                </c:pt>
                <c:pt idx="6886">
                  <c:v>2.5287671232876714</c:v>
                </c:pt>
                <c:pt idx="6887">
                  <c:v>#N/A</c:v>
                </c:pt>
                <c:pt idx="6888">
                  <c:v>2.5287671232876714</c:v>
                </c:pt>
                <c:pt idx="6889">
                  <c:v>#N/A</c:v>
                </c:pt>
                <c:pt idx="6890">
                  <c:v>#N/A</c:v>
                </c:pt>
                <c:pt idx="6891">
                  <c:v>#N/A</c:v>
                </c:pt>
                <c:pt idx="6892">
                  <c:v>#N/A</c:v>
                </c:pt>
                <c:pt idx="6893">
                  <c:v>#N/A</c:v>
                </c:pt>
                <c:pt idx="6894">
                  <c:v>2.5287671232876714</c:v>
                </c:pt>
                <c:pt idx="6895">
                  <c:v>2.5287671232876714</c:v>
                </c:pt>
                <c:pt idx="6896">
                  <c:v>#N/A</c:v>
                </c:pt>
                <c:pt idx="6897">
                  <c:v>2.5287671232876714</c:v>
                </c:pt>
                <c:pt idx="6898">
                  <c:v>#N/A</c:v>
                </c:pt>
                <c:pt idx="6899">
                  <c:v>2.5315068493150683</c:v>
                </c:pt>
                <c:pt idx="6900">
                  <c:v>#N/A</c:v>
                </c:pt>
                <c:pt idx="6901">
                  <c:v>2.5315068493150683</c:v>
                </c:pt>
                <c:pt idx="6902">
                  <c:v>#N/A</c:v>
                </c:pt>
                <c:pt idx="6903">
                  <c:v>2.5315068493150683</c:v>
                </c:pt>
                <c:pt idx="6904">
                  <c:v>#N/A</c:v>
                </c:pt>
                <c:pt idx="6905">
                  <c:v>#N/A</c:v>
                </c:pt>
                <c:pt idx="6906">
                  <c:v>#N/A</c:v>
                </c:pt>
                <c:pt idx="6907">
                  <c:v>2.5315068493150683</c:v>
                </c:pt>
                <c:pt idx="6908">
                  <c:v>2.5315068493150683</c:v>
                </c:pt>
                <c:pt idx="6909">
                  <c:v>2.5315068493150683</c:v>
                </c:pt>
                <c:pt idx="6910">
                  <c:v>#N/A</c:v>
                </c:pt>
                <c:pt idx="6911">
                  <c:v>2.5315068493150683</c:v>
                </c:pt>
                <c:pt idx="6912">
                  <c:v>2.5315068493150683</c:v>
                </c:pt>
                <c:pt idx="6913">
                  <c:v>#N/A</c:v>
                </c:pt>
                <c:pt idx="6914">
                  <c:v>#N/A</c:v>
                </c:pt>
                <c:pt idx="6915">
                  <c:v>2.5315068493150683</c:v>
                </c:pt>
                <c:pt idx="6916">
                  <c:v>2.5315068493150683</c:v>
                </c:pt>
                <c:pt idx="6917">
                  <c:v>2.5315068493150683</c:v>
                </c:pt>
                <c:pt idx="6918">
                  <c:v>2.5315068493150683</c:v>
                </c:pt>
                <c:pt idx="6919">
                  <c:v>2.5315068493150683</c:v>
                </c:pt>
                <c:pt idx="6920">
                  <c:v>#N/A</c:v>
                </c:pt>
                <c:pt idx="6921">
                  <c:v>2.5315068493150683</c:v>
                </c:pt>
                <c:pt idx="6922">
                  <c:v>2.5315068493150683</c:v>
                </c:pt>
                <c:pt idx="6923">
                  <c:v>#N/A</c:v>
                </c:pt>
                <c:pt idx="6924">
                  <c:v>2.5315068493150683</c:v>
                </c:pt>
                <c:pt idx="6925">
                  <c:v>#N/A</c:v>
                </c:pt>
                <c:pt idx="6926">
                  <c:v>2.5342465753424657</c:v>
                </c:pt>
                <c:pt idx="6927">
                  <c:v>#N/A</c:v>
                </c:pt>
                <c:pt idx="6928">
                  <c:v>#N/A</c:v>
                </c:pt>
                <c:pt idx="6929">
                  <c:v>2.5342465753424657</c:v>
                </c:pt>
                <c:pt idx="6930">
                  <c:v>#N/A</c:v>
                </c:pt>
                <c:pt idx="6931">
                  <c:v>#N/A</c:v>
                </c:pt>
                <c:pt idx="6932">
                  <c:v>2.536986301369863</c:v>
                </c:pt>
                <c:pt idx="6933">
                  <c:v>2.536986301369863</c:v>
                </c:pt>
                <c:pt idx="6934">
                  <c:v>2.536986301369863</c:v>
                </c:pt>
                <c:pt idx="6935">
                  <c:v>2.536986301369863</c:v>
                </c:pt>
                <c:pt idx="6936">
                  <c:v>#N/A</c:v>
                </c:pt>
                <c:pt idx="6937">
                  <c:v>#N/A</c:v>
                </c:pt>
                <c:pt idx="6938">
                  <c:v>2.536986301369863</c:v>
                </c:pt>
                <c:pt idx="6939">
                  <c:v>#N/A</c:v>
                </c:pt>
                <c:pt idx="6940">
                  <c:v>2.536986301369863</c:v>
                </c:pt>
                <c:pt idx="6941">
                  <c:v>#N/A</c:v>
                </c:pt>
                <c:pt idx="6942">
                  <c:v>2.5452054794520547</c:v>
                </c:pt>
                <c:pt idx="6943">
                  <c:v>#N/A</c:v>
                </c:pt>
                <c:pt idx="6944">
                  <c:v>#N/A</c:v>
                </c:pt>
                <c:pt idx="6945">
                  <c:v>2.5506849315068494</c:v>
                </c:pt>
                <c:pt idx="6946">
                  <c:v>#N/A</c:v>
                </c:pt>
                <c:pt idx="6947">
                  <c:v>2.5506849315068494</c:v>
                </c:pt>
                <c:pt idx="6948">
                  <c:v>#N/A</c:v>
                </c:pt>
                <c:pt idx="6949">
                  <c:v>2.5506849315068494</c:v>
                </c:pt>
                <c:pt idx="6950">
                  <c:v>#N/A</c:v>
                </c:pt>
                <c:pt idx="6951">
                  <c:v>2.5534246575342467</c:v>
                </c:pt>
                <c:pt idx="6952">
                  <c:v>2.5534246575342467</c:v>
                </c:pt>
                <c:pt idx="6953">
                  <c:v>2.5561643835616437</c:v>
                </c:pt>
                <c:pt idx="6954">
                  <c:v>2.5561643835616437</c:v>
                </c:pt>
                <c:pt idx="6955">
                  <c:v>#N/A</c:v>
                </c:pt>
                <c:pt idx="6956">
                  <c:v>2.5561643835616437</c:v>
                </c:pt>
                <c:pt idx="6957">
                  <c:v>#N/A</c:v>
                </c:pt>
                <c:pt idx="6958">
                  <c:v>2.5561643835616437</c:v>
                </c:pt>
                <c:pt idx="6959">
                  <c:v>2.5616438356164384</c:v>
                </c:pt>
                <c:pt idx="6960">
                  <c:v>#N/A</c:v>
                </c:pt>
                <c:pt idx="6961">
                  <c:v>#N/A</c:v>
                </c:pt>
                <c:pt idx="6962">
                  <c:v>2.5643835616438357</c:v>
                </c:pt>
                <c:pt idx="6963">
                  <c:v>#N/A</c:v>
                </c:pt>
                <c:pt idx="6964">
                  <c:v>#N/A</c:v>
                </c:pt>
                <c:pt idx="6965">
                  <c:v>#N/A</c:v>
                </c:pt>
                <c:pt idx="6966">
                  <c:v>#N/A</c:v>
                </c:pt>
                <c:pt idx="6967">
                  <c:v>2.5643835616438357</c:v>
                </c:pt>
                <c:pt idx="6968">
                  <c:v>2.5643835616438357</c:v>
                </c:pt>
                <c:pt idx="6969">
                  <c:v>2.5643835616438357</c:v>
                </c:pt>
                <c:pt idx="6970">
                  <c:v>2.5643835616438357</c:v>
                </c:pt>
                <c:pt idx="6971">
                  <c:v>#N/A</c:v>
                </c:pt>
                <c:pt idx="6972">
                  <c:v>2.5643835616438357</c:v>
                </c:pt>
                <c:pt idx="6973">
                  <c:v>2.5643835616438357</c:v>
                </c:pt>
                <c:pt idx="6974">
                  <c:v>2.5643835616438357</c:v>
                </c:pt>
                <c:pt idx="6975">
                  <c:v>#N/A</c:v>
                </c:pt>
                <c:pt idx="6976">
                  <c:v>2.5643835616438357</c:v>
                </c:pt>
                <c:pt idx="6977">
                  <c:v>2.5671232876712327</c:v>
                </c:pt>
                <c:pt idx="6978">
                  <c:v>#N/A</c:v>
                </c:pt>
                <c:pt idx="6979">
                  <c:v>2.5671232876712327</c:v>
                </c:pt>
                <c:pt idx="6980">
                  <c:v>2.5671232876712327</c:v>
                </c:pt>
                <c:pt idx="6981">
                  <c:v>#N/A</c:v>
                </c:pt>
                <c:pt idx="6982">
                  <c:v>2.5671232876712327</c:v>
                </c:pt>
                <c:pt idx="6983">
                  <c:v>2.5671232876712327</c:v>
                </c:pt>
                <c:pt idx="6984">
                  <c:v>#N/A</c:v>
                </c:pt>
                <c:pt idx="6985">
                  <c:v>2.5671232876712327</c:v>
                </c:pt>
                <c:pt idx="6986">
                  <c:v>#N/A</c:v>
                </c:pt>
                <c:pt idx="6987">
                  <c:v>#N/A</c:v>
                </c:pt>
                <c:pt idx="6988">
                  <c:v>2.5671232876712327</c:v>
                </c:pt>
                <c:pt idx="6989">
                  <c:v>2.5671232876712327</c:v>
                </c:pt>
                <c:pt idx="6990">
                  <c:v>2.5671232876712327</c:v>
                </c:pt>
                <c:pt idx="6991">
                  <c:v>2.5671232876712327</c:v>
                </c:pt>
                <c:pt idx="6992">
                  <c:v>#N/A</c:v>
                </c:pt>
                <c:pt idx="6993">
                  <c:v>2.5671232876712327</c:v>
                </c:pt>
                <c:pt idx="6994">
                  <c:v>#N/A</c:v>
                </c:pt>
                <c:pt idx="6995">
                  <c:v>#N/A</c:v>
                </c:pt>
                <c:pt idx="6996">
                  <c:v>#N/A</c:v>
                </c:pt>
                <c:pt idx="6997">
                  <c:v>#N/A</c:v>
                </c:pt>
                <c:pt idx="6998">
                  <c:v>2.5671232876712327</c:v>
                </c:pt>
                <c:pt idx="6999">
                  <c:v>#N/A</c:v>
                </c:pt>
                <c:pt idx="7000">
                  <c:v>2.5671232876712327</c:v>
                </c:pt>
                <c:pt idx="7001">
                  <c:v>2.5671232876712327</c:v>
                </c:pt>
                <c:pt idx="7002">
                  <c:v>#N/A</c:v>
                </c:pt>
                <c:pt idx="7003">
                  <c:v>#N/A</c:v>
                </c:pt>
                <c:pt idx="7004">
                  <c:v>#N/A</c:v>
                </c:pt>
                <c:pt idx="7005">
                  <c:v>#N/A</c:v>
                </c:pt>
                <c:pt idx="7006">
                  <c:v>#N/A</c:v>
                </c:pt>
                <c:pt idx="7007">
                  <c:v>#N/A</c:v>
                </c:pt>
                <c:pt idx="7008">
                  <c:v>#N/A</c:v>
                </c:pt>
                <c:pt idx="7009">
                  <c:v>2.5671232876712327</c:v>
                </c:pt>
                <c:pt idx="7010">
                  <c:v>2.5671232876712327</c:v>
                </c:pt>
                <c:pt idx="7011">
                  <c:v>2.5671232876712327</c:v>
                </c:pt>
                <c:pt idx="7012">
                  <c:v>2.5671232876712327</c:v>
                </c:pt>
                <c:pt idx="7013">
                  <c:v>#N/A</c:v>
                </c:pt>
                <c:pt idx="7014">
                  <c:v>#N/A</c:v>
                </c:pt>
                <c:pt idx="7015">
                  <c:v>#N/A</c:v>
                </c:pt>
                <c:pt idx="7016">
                  <c:v>#N/A</c:v>
                </c:pt>
                <c:pt idx="7017">
                  <c:v>2.5671232876712327</c:v>
                </c:pt>
                <c:pt idx="7018">
                  <c:v>2.5671232876712327</c:v>
                </c:pt>
                <c:pt idx="7019">
                  <c:v>2.5671232876712327</c:v>
                </c:pt>
                <c:pt idx="7020">
                  <c:v>2.5671232876712327</c:v>
                </c:pt>
                <c:pt idx="7021">
                  <c:v>#N/A</c:v>
                </c:pt>
                <c:pt idx="7022">
                  <c:v>#N/A</c:v>
                </c:pt>
                <c:pt idx="7023">
                  <c:v>2.5671232876712327</c:v>
                </c:pt>
                <c:pt idx="7024">
                  <c:v>2.5671232876712327</c:v>
                </c:pt>
                <c:pt idx="7025">
                  <c:v>#N/A</c:v>
                </c:pt>
                <c:pt idx="7026">
                  <c:v>2.5671232876712327</c:v>
                </c:pt>
                <c:pt idx="7027">
                  <c:v>#N/A</c:v>
                </c:pt>
                <c:pt idx="7028">
                  <c:v>2.5671232876712327</c:v>
                </c:pt>
                <c:pt idx="7029">
                  <c:v>2.5671232876712327</c:v>
                </c:pt>
                <c:pt idx="7030">
                  <c:v>2.5671232876712327</c:v>
                </c:pt>
                <c:pt idx="7031">
                  <c:v>2.5671232876712327</c:v>
                </c:pt>
                <c:pt idx="7032">
                  <c:v>#N/A</c:v>
                </c:pt>
                <c:pt idx="7033">
                  <c:v>#N/A</c:v>
                </c:pt>
                <c:pt idx="7034">
                  <c:v>2.5671232876712327</c:v>
                </c:pt>
                <c:pt idx="7035">
                  <c:v>#N/A</c:v>
                </c:pt>
                <c:pt idx="7036">
                  <c:v>#N/A</c:v>
                </c:pt>
                <c:pt idx="7037">
                  <c:v>2.5671232876712327</c:v>
                </c:pt>
                <c:pt idx="7038">
                  <c:v>#N/A</c:v>
                </c:pt>
                <c:pt idx="7039">
                  <c:v>#N/A</c:v>
                </c:pt>
                <c:pt idx="7040">
                  <c:v>2.5671232876712327</c:v>
                </c:pt>
                <c:pt idx="7041">
                  <c:v>#N/A</c:v>
                </c:pt>
                <c:pt idx="7042">
                  <c:v>#N/A</c:v>
                </c:pt>
                <c:pt idx="7043">
                  <c:v>2.5671232876712327</c:v>
                </c:pt>
                <c:pt idx="7044">
                  <c:v>2.5671232876712327</c:v>
                </c:pt>
                <c:pt idx="7045">
                  <c:v>2.5671232876712327</c:v>
                </c:pt>
                <c:pt idx="7046">
                  <c:v>2.5671232876712327</c:v>
                </c:pt>
                <c:pt idx="7047">
                  <c:v>2.5671232876712327</c:v>
                </c:pt>
                <c:pt idx="7048">
                  <c:v>#N/A</c:v>
                </c:pt>
                <c:pt idx="7049">
                  <c:v>#N/A</c:v>
                </c:pt>
                <c:pt idx="7050">
                  <c:v>2.5671232876712327</c:v>
                </c:pt>
                <c:pt idx="7051">
                  <c:v>#N/A</c:v>
                </c:pt>
                <c:pt idx="7052">
                  <c:v>2.5671232876712327</c:v>
                </c:pt>
                <c:pt idx="7053">
                  <c:v>#N/A</c:v>
                </c:pt>
                <c:pt idx="7054">
                  <c:v>#N/A</c:v>
                </c:pt>
                <c:pt idx="7055">
                  <c:v>2.5671232876712327</c:v>
                </c:pt>
                <c:pt idx="7056">
                  <c:v>#N/A</c:v>
                </c:pt>
                <c:pt idx="7057">
                  <c:v>2.5671232876712327</c:v>
                </c:pt>
                <c:pt idx="7058">
                  <c:v>2.5671232876712327</c:v>
                </c:pt>
                <c:pt idx="7059">
                  <c:v>2.5671232876712327</c:v>
                </c:pt>
                <c:pt idx="7060">
                  <c:v>#N/A</c:v>
                </c:pt>
                <c:pt idx="7061">
                  <c:v>#N/A</c:v>
                </c:pt>
                <c:pt idx="7062">
                  <c:v>#N/A</c:v>
                </c:pt>
                <c:pt idx="7063">
                  <c:v>#N/A</c:v>
                </c:pt>
                <c:pt idx="7064">
                  <c:v>#N/A</c:v>
                </c:pt>
                <c:pt idx="7065">
                  <c:v>2.5671232876712327</c:v>
                </c:pt>
                <c:pt idx="7066">
                  <c:v>2.5671232876712327</c:v>
                </c:pt>
                <c:pt idx="7067">
                  <c:v>#N/A</c:v>
                </c:pt>
                <c:pt idx="7068">
                  <c:v>2.5671232876712327</c:v>
                </c:pt>
                <c:pt idx="7069">
                  <c:v>2.5671232876712327</c:v>
                </c:pt>
                <c:pt idx="7070">
                  <c:v>#N/A</c:v>
                </c:pt>
                <c:pt idx="7071">
                  <c:v>2.5671232876712327</c:v>
                </c:pt>
                <c:pt idx="7072">
                  <c:v>2.5671232876712327</c:v>
                </c:pt>
                <c:pt idx="7073">
                  <c:v>2.5671232876712327</c:v>
                </c:pt>
                <c:pt idx="7074">
                  <c:v>#N/A</c:v>
                </c:pt>
                <c:pt idx="7075">
                  <c:v>2.5671232876712327</c:v>
                </c:pt>
                <c:pt idx="7076">
                  <c:v>#N/A</c:v>
                </c:pt>
                <c:pt idx="7077">
                  <c:v>#N/A</c:v>
                </c:pt>
                <c:pt idx="7078">
                  <c:v>2.5671232876712327</c:v>
                </c:pt>
                <c:pt idx="7079">
                  <c:v>2.5671232876712327</c:v>
                </c:pt>
                <c:pt idx="7080">
                  <c:v>#N/A</c:v>
                </c:pt>
                <c:pt idx="7081">
                  <c:v>2.5671232876712327</c:v>
                </c:pt>
                <c:pt idx="7082">
                  <c:v>#N/A</c:v>
                </c:pt>
                <c:pt idx="7083">
                  <c:v>2.5671232876712327</c:v>
                </c:pt>
                <c:pt idx="7084">
                  <c:v>2.5671232876712327</c:v>
                </c:pt>
                <c:pt idx="7085">
                  <c:v>2.5671232876712327</c:v>
                </c:pt>
                <c:pt idx="7086">
                  <c:v>#N/A</c:v>
                </c:pt>
                <c:pt idx="7087">
                  <c:v>#N/A</c:v>
                </c:pt>
                <c:pt idx="7088">
                  <c:v>#N/A</c:v>
                </c:pt>
                <c:pt idx="7089">
                  <c:v>2.56986301369863</c:v>
                </c:pt>
                <c:pt idx="7090">
                  <c:v>2.56986301369863</c:v>
                </c:pt>
                <c:pt idx="7091">
                  <c:v>#N/A</c:v>
                </c:pt>
                <c:pt idx="7092">
                  <c:v>2.56986301369863</c:v>
                </c:pt>
                <c:pt idx="7093">
                  <c:v>2.56986301369863</c:v>
                </c:pt>
                <c:pt idx="7094">
                  <c:v>#N/A</c:v>
                </c:pt>
                <c:pt idx="7095">
                  <c:v>#N/A</c:v>
                </c:pt>
                <c:pt idx="7096">
                  <c:v>2.56986301369863</c:v>
                </c:pt>
                <c:pt idx="7097">
                  <c:v>#N/A</c:v>
                </c:pt>
                <c:pt idx="7098">
                  <c:v>#N/A</c:v>
                </c:pt>
                <c:pt idx="7099">
                  <c:v>#N/A</c:v>
                </c:pt>
                <c:pt idx="7100">
                  <c:v>2.56986301369863</c:v>
                </c:pt>
                <c:pt idx="7101">
                  <c:v>#N/A</c:v>
                </c:pt>
                <c:pt idx="7102">
                  <c:v>2.56986301369863</c:v>
                </c:pt>
                <c:pt idx="7103">
                  <c:v>2.56986301369863</c:v>
                </c:pt>
                <c:pt idx="7104">
                  <c:v>#N/A</c:v>
                </c:pt>
                <c:pt idx="7105">
                  <c:v>2.56986301369863</c:v>
                </c:pt>
                <c:pt idx="7106">
                  <c:v>#N/A</c:v>
                </c:pt>
                <c:pt idx="7107">
                  <c:v>#N/A</c:v>
                </c:pt>
                <c:pt idx="7108">
                  <c:v>2.56986301369863</c:v>
                </c:pt>
                <c:pt idx="7109">
                  <c:v>#N/A</c:v>
                </c:pt>
                <c:pt idx="7110">
                  <c:v>2.56986301369863</c:v>
                </c:pt>
                <c:pt idx="7111">
                  <c:v>#N/A</c:v>
                </c:pt>
                <c:pt idx="7112">
                  <c:v>#N/A</c:v>
                </c:pt>
                <c:pt idx="7113">
                  <c:v>2.56986301369863</c:v>
                </c:pt>
                <c:pt idx="7114">
                  <c:v>#N/A</c:v>
                </c:pt>
                <c:pt idx="7115">
                  <c:v>2.56986301369863</c:v>
                </c:pt>
                <c:pt idx="7116">
                  <c:v>2.56986301369863</c:v>
                </c:pt>
                <c:pt idx="7117">
                  <c:v>2.56986301369863</c:v>
                </c:pt>
                <c:pt idx="7118">
                  <c:v>#N/A</c:v>
                </c:pt>
                <c:pt idx="7119">
                  <c:v>#N/A</c:v>
                </c:pt>
                <c:pt idx="7120">
                  <c:v>2.56986301369863</c:v>
                </c:pt>
                <c:pt idx="7121">
                  <c:v>#N/A</c:v>
                </c:pt>
                <c:pt idx="7122">
                  <c:v>2.56986301369863</c:v>
                </c:pt>
                <c:pt idx="7123">
                  <c:v>#N/A</c:v>
                </c:pt>
                <c:pt idx="7124">
                  <c:v>2.56986301369863</c:v>
                </c:pt>
                <c:pt idx="7125">
                  <c:v>2.56986301369863</c:v>
                </c:pt>
                <c:pt idx="7126">
                  <c:v>2.56986301369863</c:v>
                </c:pt>
                <c:pt idx="7127">
                  <c:v>2.56986301369863</c:v>
                </c:pt>
                <c:pt idx="7128">
                  <c:v>2.56986301369863</c:v>
                </c:pt>
                <c:pt idx="7129">
                  <c:v>2.56986301369863</c:v>
                </c:pt>
                <c:pt idx="7130">
                  <c:v>2.56986301369863</c:v>
                </c:pt>
                <c:pt idx="7131">
                  <c:v>#N/A</c:v>
                </c:pt>
                <c:pt idx="7132">
                  <c:v>2.56986301369863</c:v>
                </c:pt>
                <c:pt idx="7133">
                  <c:v>2.56986301369863</c:v>
                </c:pt>
                <c:pt idx="7134">
                  <c:v>2.56986301369863</c:v>
                </c:pt>
                <c:pt idx="7135">
                  <c:v>#N/A</c:v>
                </c:pt>
                <c:pt idx="7136">
                  <c:v>#N/A</c:v>
                </c:pt>
                <c:pt idx="7137">
                  <c:v>2.5726027397260274</c:v>
                </c:pt>
                <c:pt idx="7138">
                  <c:v>#N/A</c:v>
                </c:pt>
                <c:pt idx="7139">
                  <c:v>#N/A</c:v>
                </c:pt>
                <c:pt idx="7140">
                  <c:v>#N/A</c:v>
                </c:pt>
                <c:pt idx="7141">
                  <c:v>#N/A</c:v>
                </c:pt>
                <c:pt idx="7142">
                  <c:v>2.5726027397260274</c:v>
                </c:pt>
                <c:pt idx="7143">
                  <c:v>2.5726027397260274</c:v>
                </c:pt>
                <c:pt idx="7144">
                  <c:v>#N/A</c:v>
                </c:pt>
                <c:pt idx="7145">
                  <c:v>#N/A</c:v>
                </c:pt>
                <c:pt idx="7146">
                  <c:v>#N/A</c:v>
                </c:pt>
                <c:pt idx="7147">
                  <c:v>2.5753424657534247</c:v>
                </c:pt>
                <c:pt idx="7148">
                  <c:v>2.5753424657534247</c:v>
                </c:pt>
                <c:pt idx="7149">
                  <c:v>#N/A</c:v>
                </c:pt>
                <c:pt idx="7150">
                  <c:v>#N/A</c:v>
                </c:pt>
                <c:pt idx="7151">
                  <c:v>2.5753424657534247</c:v>
                </c:pt>
                <c:pt idx="7152">
                  <c:v>#N/A</c:v>
                </c:pt>
                <c:pt idx="7153">
                  <c:v>#N/A</c:v>
                </c:pt>
                <c:pt idx="7154">
                  <c:v>#N/A</c:v>
                </c:pt>
                <c:pt idx="7155">
                  <c:v>#N/A</c:v>
                </c:pt>
                <c:pt idx="7156">
                  <c:v>#N/A</c:v>
                </c:pt>
                <c:pt idx="7157">
                  <c:v>2.5753424657534247</c:v>
                </c:pt>
                <c:pt idx="7158">
                  <c:v>#N/A</c:v>
                </c:pt>
                <c:pt idx="7159">
                  <c:v>#N/A</c:v>
                </c:pt>
                <c:pt idx="7160">
                  <c:v>#N/A</c:v>
                </c:pt>
                <c:pt idx="7161">
                  <c:v>2.5753424657534247</c:v>
                </c:pt>
                <c:pt idx="7162">
                  <c:v>#N/A</c:v>
                </c:pt>
                <c:pt idx="7163">
                  <c:v>#N/A</c:v>
                </c:pt>
                <c:pt idx="7164">
                  <c:v>2.5753424657534247</c:v>
                </c:pt>
                <c:pt idx="7165">
                  <c:v>2.5753424657534247</c:v>
                </c:pt>
                <c:pt idx="7166">
                  <c:v>2.5753424657534247</c:v>
                </c:pt>
                <c:pt idx="7167">
                  <c:v>2.5753424657534247</c:v>
                </c:pt>
                <c:pt idx="7168">
                  <c:v>2.5753424657534247</c:v>
                </c:pt>
                <c:pt idx="7169">
                  <c:v>#N/A</c:v>
                </c:pt>
                <c:pt idx="7170">
                  <c:v>2.5835616438356164</c:v>
                </c:pt>
                <c:pt idx="7171">
                  <c:v>2.5835616438356164</c:v>
                </c:pt>
                <c:pt idx="7172">
                  <c:v>#N/A</c:v>
                </c:pt>
                <c:pt idx="7173">
                  <c:v>#N/A</c:v>
                </c:pt>
                <c:pt idx="7174">
                  <c:v>#N/A</c:v>
                </c:pt>
                <c:pt idx="7175">
                  <c:v>#N/A</c:v>
                </c:pt>
                <c:pt idx="7176">
                  <c:v>#N/A</c:v>
                </c:pt>
                <c:pt idx="7177">
                  <c:v>#N/A</c:v>
                </c:pt>
                <c:pt idx="7178">
                  <c:v>#N/A</c:v>
                </c:pt>
                <c:pt idx="7179">
                  <c:v>#N/A</c:v>
                </c:pt>
                <c:pt idx="7180">
                  <c:v>#N/A</c:v>
                </c:pt>
                <c:pt idx="7181">
                  <c:v>#N/A</c:v>
                </c:pt>
                <c:pt idx="7182">
                  <c:v>#N/A</c:v>
                </c:pt>
                <c:pt idx="7183">
                  <c:v>#N/A</c:v>
                </c:pt>
                <c:pt idx="7184">
                  <c:v>#N/A</c:v>
                </c:pt>
                <c:pt idx="7185">
                  <c:v>#N/A</c:v>
                </c:pt>
                <c:pt idx="7186">
                  <c:v>#N/A</c:v>
                </c:pt>
                <c:pt idx="7187">
                  <c:v>#N/A</c:v>
                </c:pt>
                <c:pt idx="7188">
                  <c:v>#N/A</c:v>
                </c:pt>
                <c:pt idx="7189">
                  <c:v>#N/A</c:v>
                </c:pt>
                <c:pt idx="7190">
                  <c:v>#N/A</c:v>
                </c:pt>
                <c:pt idx="7191">
                  <c:v>#N/A</c:v>
                </c:pt>
                <c:pt idx="7192">
                  <c:v>#N/A</c:v>
                </c:pt>
                <c:pt idx="7193">
                  <c:v>#N/A</c:v>
                </c:pt>
                <c:pt idx="7194">
                  <c:v>#N/A</c:v>
                </c:pt>
                <c:pt idx="7195">
                  <c:v>2.591780821917808</c:v>
                </c:pt>
                <c:pt idx="7196">
                  <c:v>2.591780821917808</c:v>
                </c:pt>
                <c:pt idx="7197">
                  <c:v>#N/A</c:v>
                </c:pt>
                <c:pt idx="7198">
                  <c:v>#N/A</c:v>
                </c:pt>
                <c:pt idx="7199">
                  <c:v>2.5945205479452054</c:v>
                </c:pt>
                <c:pt idx="7200">
                  <c:v>#N/A</c:v>
                </c:pt>
                <c:pt idx="7201">
                  <c:v>2.5945205479452054</c:v>
                </c:pt>
                <c:pt idx="7202">
                  <c:v>2.5945205479452054</c:v>
                </c:pt>
                <c:pt idx="7203">
                  <c:v>2.5945205479452054</c:v>
                </c:pt>
                <c:pt idx="7204">
                  <c:v>2.5945205479452054</c:v>
                </c:pt>
                <c:pt idx="7205">
                  <c:v>#N/A</c:v>
                </c:pt>
                <c:pt idx="7206">
                  <c:v>2.5945205479452054</c:v>
                </c:pt>
                <c:pt idx="7207">
                  <c:v>2.5945205479452054</c:v>
                </c:pt>
                <c:pt idx="7208">
                  <c:v>#N/A</c:v>
                </c:pt>
                <c:pt idx="7209">
                  <c:v>2.5945205479452054</c:v>
                </c:pt>
                <c:pt idx="7210">
                  <c:v>2.5945205479452054</c:v>
                </c:pt>
                <c:pt idx="7211">
                  <c:v>#N/A</c:v>
                </c:pt>
                <c:pt idx="7212">
                  <c:v>#N/A</c:v>
                </c:pt>
                <c:pt idx="7213">
                  <c:v>2.5945205479452054</c:v>
                </c:pt>
                <c:pt idx="7214">
                  <c:v>2.5945205479452054</c:v>
                </c:pt>
                <c:pt idx="7215">
                  <c:v>#N/A</c:v>
                </c:pt>
                <c:pt idx="7216">
                  <c:v>2.5945205479452054</c:v>
                </c:pt>
                <c:pt idx="7217">
                  <c:v>#N/A</c:v>
                </c:pt>
                <c:pt idx="7218">
                  <c:v>#N/A</c:v>
                </c:pt>
                <c:pt idx="7219">
                  <c:v>2.5945205479452054</c:v>
                </c:pt>
                <c:pt idx="7220">
                  <c:v>#N/A</c:v>
                </c:pt>
                <c:pt idx="7221">
                  <c:v>2.5945205479452054</c:v>
                </c:pt>
                <c:pt idx="7222">
                  <c:v>2.5945205479452054</c:v>
                </c:pt>
                <c:pt idx="7223">
                  <c:v>2.5945205479452054</c:v>
                </c:pt>
                <c:pt idx="7224">
                  <c:v>2.5945205479452054</c:v>
                </c:pt>
                <c:pt idx="7225">
                  <c:v>#N/A</c:v>
                </c:pt>
                <c:pt idx="7226">
                  <c:v>#N/A</c:v>
                </c:pt>
                <c:pt idx="7227">
                  <c:v>2.5945205479452054</c:v>
                </c:pt>
                <c:pt idx="7228">
                  <c:v>2.5945205479452054</c:v>
                </c:pt>
                <c:pt idx="7229">
                  <c:v>#N/A</c:v>
                </c:pt>
                <c:pt idx="7230">
                  <c:v>#N/A</c:v>
                </c:pt>
                <c:pt idx="7231">
                  <c:v>2.5945205479452054</c:v>
                </c:pt>
                <c:pt idx="7232">
                  <c:v>#N/A</c:v>
                </c:pt>
                <c:pt idx="7233">
                  <c:v>2.6</c:v>
                </c:pt>
                <c:pt idx="7234">
                  <c:v>2.6</c:v>
                </c:pt>
                <c:pt idx="7235">
                  <c:v>2.6</c:v>
                </c:pt>
                <c:pt idx="7236">
                  <c:v>2.6</c:v>
                </c:pt>
                <c:pt idx="7237">
                  <c:v>2.6</c:v>
                </c:pt>
                <c:pt idx="7238">
                  <c:v>#N/A</c:v>
                </c:pt>
                <c:pt idx="7239">
                  <c:v>#N/A</c:v>
                </c:pt>
                <c:pt idx="7240">
                  <c:v>2.6027397260273974</c:v>
                </c:pt>
                <c:pt idx="7241">
                  <c:v>2.6027397260273974</c:v>
                </c:pt>
                <c:pt idx="7242">
                  <c:v>#N/A</c:v>
                </c:pt>
                <c:pt idx="7243">
                  <c:v>2.6082191780821917</c:v>
                </c:pt>
                <c:pt idx="7244">
                  <c:v>#N/A</c:v>
                </c:pt>
                <c:pt idx="7245">
                  <c:v>#N/A</c:v>
                </c:pt>
                <c:pt idx="7246">
                  <c:v>2.6109589041095891</c:v>
                </c:pt>
                <c:pt idx="7247">
                  <c:v>#N/A</c:v>
                </c:pt>
                <c:pt idx="7248">
                  <c:v>2.6109589041095891</c:v>
                </c:pt>
                <c:pt idx="7249">
                  <c:v>#N/A</c:v>
                </c:pt>
                <c:pt idx="7250">
                  <c:v>#N/A</c:v>
                </c:pt>
                <c:pt idx="7251">
                  <c:v>2.6109589041095891</c:v>
                </c:pt>
                <c:pt idx="7252">
                  <c:v>2.6109589041095891</c:v>
                </c:pt>
                <c:pt idx="7253">
                  <c:v>#N/A</c:v>
                </c:pt>
                <c:pt idx="7254">
                  <c:v>#N/A</c:v>
                </c:pt>
                <c:pt idx="7255">
                  <c:v>2.6136986301369864</c:v>
                </c:pt>
                <c:pt idx="7256">
                  <c:v>2.6136986301369864</c:v>
                </c:pt>
                <c:pt idx="7257">
                  <c:v>2.6136986301369864</c:v>
                </c:pt>
                <c:pt idx="7258">
                  <c:v>2.6136986301369864</c:v>
                </c:pt>
                <c:pt idx="7259">
                  <c:v>2.6136986301369864</c:v>
                </c:pt>
                <c:pt idx="7260">
                  <c:v>2.6136986301369864</c:v>
                </c:pt>
                <c:pt idx="7261">
                  <c:v>#N/A</c:v>
                </c:pt>
                <c:pt idx="7262">
                  <c:v>#N/A</c:v>
                </c:pt>
                <c:pt idx="7263">
                  <c:v>#N/A</c:v>
                </c:pt>
                <c:pt idx="7264">
                  <c:v>#N/A</c:v>
                </c:pt>
                <c:pt idx="7265">
                  <c:v>2.6246575342465754</c:v>
                </c:pt>
                <c:pt idx="7266">
                  <c:v>#N/A</c:v>
                </c:pt>
                <c:pt idx="7267">
                  <c:v>2.6246575342465754</c:v>
                </c:pt>
                <c:pt idx="7268">
                  <c:v>#N/A</c:v>
                </c:pt>
                <c:pt idx="7269">
                  <c:v>#N/A</c:v>
                </c:pt>
                <c:pt idx="7270">
                  <c:v>#N/A</c:v>
                </c:pt>
                <c:pt idx="7271">
                  <c:v>#N/A</c:v>
                </c:pt>
                <c:pt idx="7272">
                  <c:v>2.6383561643835618</c:v>
                </c:pt>
                <c:pt idx="7273">
                  <c:v>2.6410958904109587</c:v>
                </c:pt>
                <c:pt idx="7274">
                  <c:v>#N/A</c:v>
                </c:pt>
                <c:pt idx="7275">
                  <c:v>2.6410958904109587</c:v>
                </c:pt>
                <c:pt idx="7276">
                  <c:v>#N/A</c:v>
                </c:pt>
                <c:pt idx="7277">
                  <c:v>#N/A</c:v>
                </c:pt>
                <c:pt idx="7278">
                  <c:v>#N/A</c:v>
                </c:pt>
                <c:pt idx="7279">
                  <c:v>#N/A</c:v>
                </c:pt>
                <c:pt idx="7280">
                  <c:v>2.6520547945205482</c:v>
                </c:pt>
                <c:pt idx="7281">
                  <c:v>#N/A</c:v>
                </c:pt>
                <c:pt idx="7282">
                  <c:v>2.6520547945205482</c:v>
                </c:pt>
                <c:pt idx="7283">
                  <c:v>#N/A</c:v>
                </c:pt>
                <c:pt idx="7284">
                  <c:v>2.6520547945205482</c:v>
                </c:pt>
                <c:pt idx="7285">
                  <c:v>#N/A</c:v>
                </c:pt>
                <c:pt idx="7286">
                  <c:v>#N/A</c:v>
                </c:pt>
                <c:pt idx="7287">
                  <c:v>#N/A</c:v>
                </c:pt>
                <c:pt idx="7288">
                  <c:v>2.6520547945205482</c:v>
                </c:pt>
                <c:pt idx="7289">
                  <c:v>#N/A</c:v>
                </c:pt>
                <c:pt idx="7290">
                  <c:v>2.6520547945205482</c:v>
                </c:pt>
                <c:pt idx="7291">
                  <c:v>2.6520547945205482</c:v>
                </c:pt>
                <c:pt idx="7292">
                  <c:v>#N/A</c:v>
                </c:pt>
                <c:pt idx="7293">
                  <c:v>2.6602739726027398</c:v>
                </c:pt>
                <c:pt idx="7294">
                  <c:v>#N/A</c:v>
                </c:pt>
                <c:pt idx="7295">
                  <c:v>#N/A</c:v>
                </c:pt>
                <c:pt idx="7296">
                  <c:v>2.6602739726027398</c:v>
                </c:pt>
                <c:pt idx="7297">
                  <c:v>2.6602739726027398</c:v>
                </c:pt>
                <c:pt idx="7298">
                  <c:v>#N/A</c:v>
                </c:pt>
                <c:pt idx="7299">
                  <c:v>#N/A</c:v>
                </c:pt>
                <c:pt idx="7300">
                  <c:v>#N/A</c:v>
                </c:pt>
                <c:pt idx="7301">
                  <c:v>#N/A</c:v>
                </c:pt>
                <c:pt idx="7302">
                  <c:v>2.6684931506849314</c:v>
                </c:pt>
                <c:pt idx="7303">
                  <c:v>2.6684931506849314</c:v>
                </c:pt>
                <c:pt idx="7304">
                  <c:v>2.6684931506849314</c:v>
                </c:pt>
                <c:pt idx="7305">
                  <c:v>#N/A</c:v>
                </c:pt>
                <c:pt idx="7306">
                  <c:v>#N/A</c:v>
                </c:pt>
                <c:pt idx="7307">
                  <c:v>2.6712328767123288</c:v>
                </c:pt>
                <c:pt idx="7308">
                  <c:v>#N/A</c:v>
                </c:pt>
                <c:pt idx="7309">
                  <c:v>2.6712328767123288</c:v>
                </c:pt>
                <c:pt idx="7310">
                  <c:v>2.6712328767123288</c:v>
                </c:pt>
                <c:pt idx="7311">
                  <c:v>2.6712328767123288</c:v>
                </c:pt>
                <c:pt idx="7312">
                  <c:v>#N/A</c:v>
                </c:pt>
                <c:pt idx="7313">
                  <c:v>2.6712328767123288</c:v>
                </c:pt>
                <c:pt idx="7314">
                  <c:v>#N/A</c:v>
                </c:pt>
                <c:pt idx="7315">
                  <c:v>2.6712328767123288</c:v>
                </c:pt>
                <c:pt idx="7316">
                  <c:v>2.6794520547945204</c:v>
                </c:pt>
                <c:pt idx="7317">
                  <c:v>2.6794520547945204</c:v>
                </c:pt>
                <c:pt idx="7318">
                  <c:v>2.6794520547945204</c:v>
                </c:pt>
                <c:pt idx="7319">
                  <c:v>#N/A</c:v>
                </c:pt>
                <c:pt idx="7320">
                  <c:v>2.6794520547945204</c:v>
                </c:pt>
                <c:pt idx="7321">
                  <c:v>#N/A</c:v>
                </c:pt>
                <c:pt idx="7322">
                  <c:v>2.6794520547945204</c:v>
                </c:pt>
                <c:pt idx="7323">
                  <c:v>#N/A</c:v>
                </c:pt>
                <c:pt idx="7324">
                  <c:v>#N/A</c:v>
                </c:pt>
                <c:pt idx="7325">
                  <c:v>2.6794520547945204</c:v>
                </c:pt>
                <c:pt idx="7326">
                  <c:v>2.6794520547945204</c:v>
                </c:pt>
                <c:pt idx="7327">
                  <c:v>#N/A</c:v>
                </c:pt>
                <c:pt idx="7328">
                  <c:v>#N/A</c:v>
                </c:pt>
                <c:pt idx="7329">
                  <c:v>2.6821917808219178</c:v>
                </c:pt>
                <c:pt idx="7330">
                  <c:v>#N/A</c:v>
                </c:pt>
                <c:pt idx="7331">
                  <c:v>#N/A</c:v>
                </c:pt>
                <c:pt idx="7332">
                  <c:v>#N/A</c:v>
                </c:pt>
                <c:pt idx="7333">
                  <c:v>2.6821917808219178</c:v>
                </c:pt>
                <c:pt idx="7334">
                  <c:v>2.6849315068493151</c:v>
                </c:pt>
                <c:pt idx="7335">
                  <c:v>2.6849315068493151</c:v>
                </c:pt>
                <c:pt idx="7336">
                  <c:v>#N/A</c:v>
                </c:pt>
                <c:pt idx="7337">
                  <c:v>2.6849315068493151</c:v>
                </c:pt>
                <c:pt idx="7338">
                  <c:v>2.6849315068493151</c:v>
                </c:pt>
                <c:pt idx="7339">
                  <c:v>2.6876712328767125</c:v>
                </c:pt>
                <c:pt idx="7340">
                  <c:v>#N/A</c:v>
                </c:pt>
                <c:pt idx="7341">
                  <c:v>#N/A</c:v>
                </c:pt>
                <c:pt idx="7342">
                  <c:v>#N/A</c:v>
                </c:pt>
                <c:pt idx="7343">
                  <c:v>#N/A</c:v>
                </c:pt>
                <c:pt idx="7344">
                  <c:v>#N/A</c:v>
                </c:pt>
                <c:pt idx="7345">
                  <c:v>2.6986301369863015</c:v>
                </c:pt>
                <c:pt idx="7346">
                  <c:v>#N/A</c:v>
                </c:pt>
                <c:pt idx="7347">
                  <c:v>2.6986301369863015</c:v>
                </c:pt>
                <c:pt idx="7348">
                  <c:v>2.6986301369863015</c:v>
                </c:pt>
                <c:pt idx="7349">
                  <c:v>2.6986301369863015</c:v>
                </c:pt>
                <c:pt idx="7350">
                  <c:v>2.6986301369863015</c:v>
                </c:pt>
                <c:pt idx="7351">
                  <c:v>#N/A</c:v>
                </c:pt>
                <c:pt idx="7352">
                  <c:v>#N/A</c:v>
                </c:pt>
                <c:pt idx="7353">
                  <c:v>#N/A</c:v>
                </c:pt>
                <c:pt idx="7354">
                  <c:v>#N/A</c:v>
                </c:pt>
                <c:pt idx="7355">
                  <c:v>2.7068493150684931</c:v>
                </c:pt>
                <c:pt idx="7356">
                  <c:v>#N/A</c:v>
                </c:pt>
                <c:pt idx="7357">
                  <c:v>2.7178082191780821</c:v>
                </c:pt>
                <c:pt idx="7358">
                  <c:v>#N/A</c:v>
                </c:pt>
                <c:pt idx="7359">
                  <c:v>2.7178082191780821</c:v>
                </c:pt>
                <c:pt idx="7360">
                  <c:v>#N/A</c:v>
                </c:pt>
                <c:pt idx="7361">
                  <c:v>2.7178082191780821</c:v>
                </c:pt>
                <c:pt idx="7362">
                  <c:v>2.7178082191780821</c:v>
                </c:pt>
                <c:pt idx="7363">
                  <c:v>#N/A</c:v>
                </c:pt>
                <c:pt idx="7364">
                  <c:v>2.7178082191780821</c:v>
                </c:pt>
                <c:pt idx="7365">
                  <c:v>2.7178082191780821</c:v>
                </c:pt>
                <c:pt idx="7366">
                  <c:v>#N/A</c:v>
                </c:pt>
                <c:pt idx="7367">
                  <c:v>#N/A</c:v>
                </c:pt>
                <c:pt idx="7368">
                  <c:v>2.7178082191780821</c:v>
                </c:pt>
                <c:pt idx="7369">
                  <c:v>#N/A</c:v>
                </c:pt>
                <c:pt idx="7370">
                  <c:v>#N/A</c:v>
                </c:pt>
                <c:pt idx="7371">
                  <c:v>2.7178082191780821</c:v>
                </c:pt>
                <c:pt idx="7372">
                  <c:v>2.7178082191780821</c:v>
                </c:pt>
                <c:pt idx="7373">
                  <c:v>2.7178082191780821</c:v>
                </c:pt>
                <c:pt idx="7374">
                  <c:v>2.7178082191780821</c:v>
                </c:pt>
                <c:pt idx="7375">
                  <c:v>#N/A</c:v>
                </c:pt>
                <c:pt idx="7376">
                  <c:v>#N/A</c:v>
                </c:pt>
                <c:pt idx="7377">
                  <c:v>#N/A</c:v>
                </c:pt>
                <c:pt idx="7378">
                  <c:v>2.7205479452054795</c:v>
                </c:pt>
                <c:pt idx="7379">
                  <c:v>#N/A</c:v>
                </c:pt>
                <c:pt idx="7380">
                  <c:v>2.7205479452054795</c:v>
                </c:pt>
                <c:pt idx="7381">
                  <c:v>#N/A</c:v>
                </c:pt>
                <c:pt idx="7382">
                  <c:v>#N/A</c:v>
                </c:pt>
                <c:pt idx="7383">
                  <c:v>#N/A</c:v>
                </c:pt>
                <c:pt idx="7384">
                  <c:v>#N/A</c:v>
                </c:pt>
                <c:pt idx="7385">
                  <c:v>2.7232876712328768</c:v>
                </c:pt>
                <c:pt idx="7386">
                  <c:v>2.7260273972602738</c:v>
                </c:pt>
                <c:pt idx="7387">
                  <c:v>#N/A</c:v>
                </c:pt>
                <c:pt idx="7388">
                  <c:v>#N/A</c:v>
                </c:pt>
                <c:pt idx="7389">
                  <c:v>#N/A</c:v>
                </c:pt>
                <c:pt idx="7390">
                  <c:v>#N/A</c:v>
                </c:pt>
                <c:pt idx="7391">
                  <c:v>#N/A</c:v>
                </c:pt>
                <c:pt idx="7392">
                  <c:v>#N/A</c:v>
                </c:pt>
                <c:pt idx="7393">
                  <c:v>2.7397260273972601</c:v>
                </c:pt>
                <c:pt idx="7394">
                  <c:v>#N/A</c:v>
                </c:pt>
                <c:pt idx="7395">
                  <c:v>2.7397260273972601</c:v>
                </c:pt>
                <c:pt idx="7396">
                  <c:v>#N/A</c:v>
                </c:pt>
                <c:pt idx="7397">
                  <c:v>#N/A</c:v>
                </c:pt>
                <c:pt idx="7398">
                  <c:v>#N/A</c:v>
                </c:pt>
                <c:pt idx="7399">
                  <c:v>#N/A</c:v>
                </c:pt>
                <c:pt idx="7400">
                  <c:v>#N/A</c:v>
                </c:pt>
                <c:pt idx="7401">
                  <c:v>2.7589041095890412</c:v>
                </c:pt>
                <c:pt idx="7402">
                  <c:v>#N/A</c:v>
                </c:pt>
                <c:pt idx="7403">
                  <c:v>#N/A</c:v>
                </c:pt>
                <c:pt idx="7404">
                  <c:v>#N/A</c:v>
                </c:pt>
                <c:pt idx="7405">
                  <c:v>2.7589041095890412</c:v>
                </c:pt>
                <c:pt idx="7406">
                  <c:v>2.7589041095890412</c:v>
                </c:pt>
                <c:pt idx="7407">
                  <c:v>2.7616438356164386</c:v>
                </c:pt>
                <c:pt idx="7408">
                  <c:v>#N/A</c:v>
                </c:pt>
                <c:pt idx="7409">
                  <c:v>2.7616438356164386</c:v>
                </c:pt>
                <c:pt idx="7410">
                  <c:v>2.7616438356164386</c:v>
                </c:pt>
                <c:pt idx="7411">
                  <c:v>2.7616438356164386</c:v>
                </c:pt>
                <c:pt idx="7412">
                  <c:v>#N/A</c:v>
                </c:pt>
                <c:pt idx="7413">
                  <c:v>#N/A</c:v>
                </c:pt>
                <c:pt idx="7414">
                  <c:v>#N/A</c:v>
                </c:pt>
                <c:pt idx="7415">
                  <c:v>2.7753424657534245</c:v>
                </c:pt>
                <c:pt idx="7416">
                  <c:v>2.7753424657534245</c:v>
                </c:pt>
                <c:pt idx="7417">
                  <c:v>2.7753424657534245</c:v>
                </c:pt>
                <c:pt idx="7418">
                  <c:v>2.7753424657534245</c:v>
                </c:pt>
                <c:pt idx="7419">
                  <c:v>2.7753424657534245</c:v>
                </c:pt>
                <c:pt idx="7420">
                  <c:v>#N/A</c:v>
                </c:pt>
                <c:pt idx="7421">
                  <c:v>2.7780821917808218</c:v>
                </c:pt>
                <c:pt idx="7422">
                  <c:v>#N/A</c:v>
                </c:pt>
                <c:pt idx="7423">
                  <c:v>2.7780821917808218</c:v>
                </c:pt>
                <c:pt idx="7424">
                  <c:v>2.7808219178082192</c:v>
                </c:pt>
                <c:pt idx="7425">
                  <c:v>#N/A</c:v>
                </c:pt>
                <c:pt idx="7426">
                  <c:v>#N/A</c:v>
                </c:pt>
                <c:pt idx="7427">
                  <c:v>#N/A</c:v>
                </c:pt>
                <c:pt idx="7428">
                  <c:v>#N/A</c:v>
                </c:pt>
                <c:pt idx="7429">
                  <c:v>#N/A</c:v>
                </c:pt>
                <c:pt idx="7430">
                  <c:v>#N/A</c:v>
                </c:pt>
                <c:pt idx="7431">
                  <c:v>#N/A</c:v>
                </c:pt>
                <c:pt idx="7432">
                  <c:v>2.7835616438356166</c:v>
                </c:pt>
                <c:pt idx="7433">
                  <c:v>2.7835616438356166</c:v>
                </c:pt>
                <c:pt idx="7434">
                  <c:v>#N/A</c:v>
                </c:pt>
                <c:pt idx="7435">
                  <c:v>2.7835616438356166</c:v>
                </c:pt>
                <c:pt idx="7436">
                  <c:v>#N/A</c:v>
                </c:pt>
                <c:pt idx="7437">
                  <c:v>#N/A</c:v>
                </c:pt>
                <c:pt idx="7438">
                  <c:v>#N/A</c:v>
                </c:pt>
                <c:pt idx="7439">
                  <c:v>#N/A</c:v>
                </c:pt>
                <c:pt idx="7440">
                  <c:v>2.7835616438356166</c:v>
                </c:pt>
                <c:pt idx="7441">
                  <c:v>2.7835616438356166</c:v>
                </c:pt>
                <c:pt idx="7442">
                  <c:v>2.7835616438356166</c:v>
                </c:pt>
                <c:pt idx="7443">
                  <c:v>#N/A</c:v>
                </c:pt>
                <c:pt idx="7444">
                  <c:v>#N/A</c:v>
                </c:pt>
                <c:pt idx="7445">
                  <c:v>2.7835616438356166</c:v>
                </c:pt>
                <c:pt idx="7446">
                  <c:v>#N/A</c:v>
                </c:pt>
                <c:pt idx="7447">
                  <c:v>#N/A</c:v>
                </c:pt>
                <c:pt idx="7448">
                  <c:v>2.7863013698630139</c:v>
                </c:pt>
                <c:pt idx="7449">
                  <c:v>2.7863013698630139</c:v>
                </c:pt>
                <c:pt idx="7450">
                  <c:v>2.7863013698630139</c:v>
                </c:pt>
                <c:pt idx="7451">
                  <c:v>2.7863013698630139</c:v>
                </c:pt>
                <c:pt idx="7452">
                  <c:v>#N/A</c:v>
                </c:pt>
                <c:pt idx="7453">
                  <c:v>2.7863013698630139</c:v>
                </c:pt>
                <c:pt idx="7454">
                  <c:v>#N/A</c:v>
                </c:pt>
                <c:pt idx="7455">
                  <c:v>#N/A</c:v>
                </c:pt>
                <c:pt idx="7456">
                  <c:v>2.7863013698630139</c:v>
                </c:pt>
                <c:pt idx="7457">
                  <c:v>2.7863013698630139</c:v>
                </c:pt>
                <c:pt idx="7458">
                  <c:v>2.7863013698630139</c:v>
                </c:pt>
                <c:pt idx="7459">
                  <c:v>2.7863013698630139</c:v>
                </c:pt>
                <c:pt idx="7460">
                  <c:v>2.7863013698630139</c:v>
                </c:pt>
                <c:pt idx="7461">
                  <c:v>2.7863013698630139</c:v>
                </c:pt>
                <c:pt idx="7462">
                  <c:v>2.7890410958904108</c:v>
                </c:pt>
                <c:pt idx="7463">
                  <c:v>#N/A</c:v>
                </c:pt>
                <c:pt idx="7464">
                  <c:v>2.7945205479452055</c:v>
                </c:pt>
                <c:pt idx="7465">
                  <c:v>#N/A</c:v>
                </c:pt>
                <c:pt idx="7466">
                  <c:v>#N/A</c:v>
                </c:pt>
                <c:pt idx="7467">
                  <c:v>#N/A</c:v>
                </c:pt>
                <c:pt idx="7468">
                  <c:v>2.7972602739726029</c:v>
                </c:pt>
                <c:pt idx="7469">
                  <c:v>2.7972602739726029</c:v>
                </c:pt>
                <c:pt idx="7470">
                  <c:v>#N/A</c:v>
                </c:pt>
                <c:pt idx="7471">
                  <c:v>#N/A</c:v>
                </c:pt>
                <c:pt idx="7472">
                  <c:v>#N/A</c:v>
                </c:pt>
                <c:pt idx="7473">
                  <c:v>2.8</c:v>
                </c:pt>
                <c:pt idx="7474">
                  <c:v>2.8</c:v>
                </c:pt>
                <c:pt idx="7475">
                  <c:v>#N/A</c:v>
                </c:pt>
                <c:pt idx="7476">
                  <c:v>#N/A</c:v>
                </c:pt>
                <c:pt idx="7477">
                  <c:v>#N/A</c:v>
                </c:pt>
                <c:pt idx="7478">
                  <c:v>2.8</c:v>
                </c:pt>
                <c:pt idx="7479">
                  <c:v>#N/A</c:v>
                </c:pt>
                <c:pt idx="7480">
                  <c:v>2.8027397260273972</c:v>
                </c:pt>
                <c:pt idx="7481">
                  <c:v>#N/A</c:v>
                </c:pt>
                <c:pt idx="7482">
                  <c:v>#N/A</c:v>
                </c:pt>
                <c:pt idx="7483">
                  <c:v>#N/A</c:v>
                </c:pt>
                <c:pt idx="7484">
                  <c:v>#N/A</c:v>
                </c:pt>
                <c:pt idx="7485">
                  <c:v>2.8054794520547945</c:v>
                </c:pt>
                <c:pt idx="7486">
                  <c:v>2.8054794520547945</c:v>
                </c:pt>
                <c:pt idx="7487">
                  <c:v>2.8082191780821919</c:v>
                </c:pt>
                <c:pt idx="7488">
                  <c:v>2.8136986301369862</c:v>
                </c:pt>
                <c:pt idx="7489">
                  <c:v>#N/A</c:v>
                </c:pt>
                <c:pt idx="7490">
                  <c:v>#N/A</c:v>
                </c:pt>
                <c:pt idx="7491">
                  <c:v>#N/A</c:v>
                </c:pt>
                <c:pt idx="7492">
                  <c:v>#N/A</c:v>
                </c:pt>
                <c:pt idx="7493">
                  <c:v>#N/A</c:v>
                </c:pt>
                <c:pt idx="7494">
                  <c:v>2.8191780821917809</c:v>
                </c:pt>
                <c:pt idx="7495">
                  <c:v>2.8191780821917809</c:v>
                </c:pt>
                <c:pt idx="7496">
                  <c:v>#N/A</c:v>
                </c:pt>
                <c:pt idx="7497">
                  <c:v>2.8219178082191783</c:v>
                </c:pt>
                <c:pt idx="7498">
                  <c:v>2.8219178082191783</c:v>
                </c:pt>
                <c:pt idx="7499">
                  <c:v>#N/A</c:v>
                </c:pt>
                <c:pt idx="7500">
                  <c:v>#N/A</c:v>
                </c:pt>
                <c:pt idx="7501">
                  <c:v>#N/A</c:v>
                </c:pt>
                <c:pt idx="7502">
                  <c:v>2.8328767123287673</c:v>
                </c:pt>
                <c:pt idx="7503">
                  <c:v>2.8328767123287673</c:v>
                </c:pt>
                <c:pt idx="7504">
                  <c:v>#N/A</c:v>
                </c:pt>
                <c:pt idx="7505">
                  <c:v>#N/A</c:v>
                </c:pt>
                <c:pt idx="7506">
                  <c:v>#N/A</c:v>
                </c:pt>
                <c:pt idx="7507">
                  <c:v>#N/A</c:v>
                </c:pt>
                <c:pt idx="7508">
                  <c:v>#N/A</c:v>
                </c:pt>
                <c:pt idx="7509">
                  <c:v>#N/A</c:v>
                </c:pt>
                <c:pt idx="7510">
                  <c:v>2.8328767123287673</c:v>
                </c:pt>
                <c:pt idx="7511">
                  <c:v>2.8328767123287673</c:v>
                </c:pt>
                <c:pt idx="7512">
                  <c:v>#N/A</c:v>
                </c:pt>
                <c:pt idx="7513">
                  <c:v>#N/A</c:v>
                </c:pt>
                <c:pt idx="7514">
                  <c:v>2.8328767123287673</c:v>
                </c:pt>
                <c:pt idx="7515">
                  <c:v>#N/A</c:v>
                </c:pt>
                <c:pt idx="7516">
                  <c:v>#N/A</c:v>
                </c:pt>
                <c:pt idx="7517">
                  <c:v>#N/A</c:v>
                </c:pt>
                <c:pt idx="7518">
                  <c:v>2.8356164383561642</c:v>
                </c:pt>
                <c:pt idx="7519">
                  <c:v>#N/A</c:v>
                </c:pt>
                <c:pt idx="7520">
                  <c:v>2.8356164383561642</c:v>
                </c:pt>
                <c:pt idx="7521">
                  <c:v>2.8356164383561642</c:v>
                </c:pt>
                <c:pt idx="7522">
                  <c:v>#N/A</c:v>
                </c:pt>
                <c:pt idx="7523">
                  <c:v>2.8356164383561642</c:v>
                </c:pt>
                <c:pt idx="7524">
                  <c:v>#N/A</c:v>
                </c:pt>
                <c:pt idx="7525">
                  <c:v>#N/A</c:v>
                </c:pt>
                <c:pt idx="7526">
                  <c:v>#N/A</c:v>
                </c:pt>
                <c:pt idx="7527">
                  <c:v>#N/A</c:v>
                </c:pt>
                <c:pt idx="7528">
                  <c:v>2.8383561643835615</c:v>
                </c:pt>
                <c:pt idx="7529">
                  <c:v>#N/A</c:v>
                </c:pt>
                <c:pt idx="7530">
                  <c:v>#N/A</c:v>
                </c:pt>
                <c:pt idx="7531">
                  <c:v>#N/A</c:v>
                </c:pt>
                <c:pt idx="7532">
                  <c:v>#N/A</c:v>
                </c:pt>
                <c:pt idx="7533">
                  <c:v>#N/A</c:v>
                </c:pt>
                <c:pt idx="7534">
                  <c:v>2.8410958904109589</c:v>
                </c:pt>
                <c:pt idx="7535">
                  <c:v>#N/A</c:v>
                </c:pt>
                <c:pt idx="7536">
                  <c:v>#N/A</c:v>
                </c:pt>
                <c:pt idx="7537">
                  <c:v>#N/A</c:v>
                </c:pt>
                <c:pt idx="7538">
                  <c:v>#N/A</c:v>
                </c:pt>
                <c:pt idx="7539">
                  <c:v>#N/A</c:v>
                </c:pt>
                <c:pt idx="7540">
                  <c:v>2.8410958904109589</c:v>
                </c:pt>
                <c:pt idx="7541">
                  <c:v>#N/A</c:v>
                </c:pt>
                <c:pt idx="7542">
                  <c:v>#N/A</c:v>
                </c:pt>
                <c:pt idx="7543">
                  <c:v>2.8410958904109589</c:v>
                </c:pt>
                <c:pt idx="7544">
                  <c:v>2.8410958904109589</c:v>
                </c:pt>
                <c:pt idx="7545">
                  <c:v>#N/A</c:v>
                </c:pt>
                <c:pt idx="7546">
                  <c:v>#N/A</c:v>
                </c:pt>
                <c:pt idx="7547">
                  <c:v>#N/A</c:v>
                </c:pt>
                <c:pt idx="7548">
                  <c:v>#N/A</c:v>
                </c:pt>
                <c:pt idx="7549">
                  <c:v>2.8410958904109589</c:v>
                </c:pt>
                <c:pt idx="7550">
                  <c:v>#N/A</c:v>
                </c:pt>
                <c:pt idx="7551">
                  <c:v>#N/A</c:v>
                </c:pt>
                <c:pt idx="7552">
                  <c:v>2.8438356164383563</c:v>
                </c:pt>
                <c:pt idx="7553">
                  <c:v>#N/A</c:v>
                </c:pt>
                <c:pt idx="7554">
                  <c:v>#N/A</c:v>
                </c:pt>
                <c:pt idx="7555">
                  <c:v>#N/A</c:v>
                </c:pt>
                <c:pt idx="7556">
                  <c:v>2.8438356164383563</c:v>
                </c:pt>
                <c:pt idx="7557">
                  <c:v>#N/A</c:v>
                </c:pt>
                <c:pt idx="7558">
                  <c:v>#N/A</c:v>
                </c:pt>
                <c:pt idx="7559">
                  <c:v>#N/A</c:v>
                </c:pt>
                <c:pt idx="7560">
                  <c:v>2.8438356164383563</c:v>
                </c:pt>
                <c:pt idx="7561">
                  <c:v>#N/A</c:v>
                </c:pt>
                <c:pt idx="7562">
                  <c:v>#N/A</c:v>
                </c:pt>
                <c:pt idx="7563">
                  <c:v>#N/A</c:v>
                </c:pt>
                <c:pt idx="7564">
                  <c:v>#N/A</c:v>
                </c:pt>
                <c:pt idx="7565">
                  <c:v>#N/A</c:v>
                </c:pt>
                <c:pt idx="7566">
                  <c:v>#N/A</c:v>
                </c:pt>
                <c:pt idx="7567">
                  <c:v>#N/A</c:v>
                </c:pt>
                <c:pt idx="7568">
                  <c:v>#N/A</c:v>
                </c:pt>
                <c:pt idx="7569">
                  <c:v>2.8630136986301369</c:v>
                </c:pt>
                <c:pt idx="7570">
                  <c:v>#N/A</c:v>
                </c:pt>
                <c:pt idx="7571">
                  <c:v>#N/A</c:v>
                </c:pt>
                <c:pt idx="7572">
                  <c:v>#N/A</c:v>
                </c:pt>
                <c:pt idx="7573">
                  <c:v>#N/A</c:v>
                </c:pt>
                <c:pt idx="7574">
                  <c:v>2.871232876712329</c:v>
                </c:pt>
                <c:pt idx="7575">
                  <c:v>#N/A</c:v>
                </c:pt>
                <c:pt idx="7576">
                  <c:v>#N/A</c:v>
                </c:pt>
                <c:pt idx="7577">
                  <c:v>#N/A</c:v>
                </c:pt>
                <c:pt idx="7578">
                  <c:v>#N/A</c:v>
                </c:pt>
                <c:pt idx="7579">
                  <c:v>#N/A</c:v>
                </c:pt>
                <c:pt idx="7580">
                  <c:v>2.8739726027397259</c:v>
                </c:pt>
                <c:pt idx="7581">
                  <c:v>#N/A</c:v>
                </c:pt>
                <c:pt idx="7582">
                  <c:v>#N/A</c:v>
                </c:pt>
                <c:pt idx="7583">
                  <c:v>2.8767123287671232</c:v>
                </c:pt>
                <c:pt idx="7584">
                  <c:v>2.8767123287671232</c:v>
                </c:pt>
                <c:pt idx="7585">
                  <c:v>2.8767123287671232</c:v>
                </c:pt>
                <c:pt idx="7586">
                  <c:v>2.8767123287671232</c:v>
                </c:pt>
                <c:pt idx="7587">
                  <c:v>#N/A</c:v>
                </c:pt>
                <c:pt idx="7588">
                  <c:v>#N/A</c:v>
                </c:pt>
                <c:pt idx="7589">
                  <c:v>#N/A</c:v>
                </c:pt>
                <c:pt idx="7590">
                  <c:v>#N/A</c:v>
                </c:pt>
                <c:pt idx="7591">
                  <c:v>#N/A</c:v>
                </c:pt>
                <c:pt idx="7592">
                  <c:v>#N/A</c:v>
                </c:pt>
                <c:pt idx="7593">
                  <c:v>2.8794520547945206</c:v>
                </c:pt>
                <c:pt idx="7594">
                  <c:v>#N/A</c:v>
                </c:pt>
                <c:pt idx="7595">
                  <c:v>#N/A</c:v>
                </c:pt>
                <c:pt idx="7596">
                  <c:v>#N/A</c:v>
                </c:pt>
                <c:pt idx="7597">
                  <c:v>2.8794520547945206</c:v>
                </c:pt>
                <c:pt idx="7598">
                  <c:v>2.8794520547945206</c:v>
                </c:pt>
                <c:pt idx="7599">
                  <c:v>2.882191780821918</c:v>
                </c:pt>
                <c:pt idx="7600">
                  <c:v>2.882191780821918</c:v>
                </c:pt>
                <c:pt idx="7601">
                  <c:v>#N/A</c:v>
                </c:pt>
                <c:pt idx="7602">
                  <c:v>#N/A</c:v>
                </c:pt>
                <c:pt idx="7603">
                  <c:v>#N/A</c:v>
                </c:pt>
                <c:pt idx="7604">
                  <c:v>#N/A</c:v>
                </c:pt>
                <c:pt idx="7605">
                  <c:v>2.882191780821918</c:v>
                </c:pt>
                <c:pt idx="7606">
                  <c:v>#N/A</c:v>
                </c:pt>
                <c:pt idx="7607">
                  <c:v>2.882191780821918</c:v>
                </c:pt>
                <c:pt idx="7608">
                  <c:v>#N/A</c:v>
                </c:pt>
                <c:pt idx="7609">
                  <c:v>2.882191780821918</c:v>
                </c:pt>
                <c:pt idx="7610">
                  <c:v>#N/A</c:v>
                </c:pt>
                <c:pt idx="7611">
                  <c:v>#N/A</c:v>
                </c:pt>
                <c:pt idx="7612">
                  <c:v>2.882191780821918</c:v>
                </c:pt>
                <c:pt idx="7613">
                  <c:v>2.882191780821918</c:v>
                </c:pt>
                <c:pt idx="7614">
                  <c:v>#N/A</c:v>
                </c:pt>
                <c:pt idx="7615">
                  <c:v>2.882191780821918</c:v>
                </c:pt>
                <c:pt idx="7616">
                  <c:v>2.882191780821918</c:v>
                </c:pt>
                <c:pt idx="7617">
                  <c:v>2.882191780821918</c:v>
                </c:pt>
                <c:pt idx="7618">
                  <c:v>#N/A</c:v>
                </c:pt>
                <c:pt idx="7619">
                  <c:v>#N/A</c:v>
                </c:pt>
                <c:pt idx="7620">
                  <c:v>#N/A</c:v>
                </c:pt>
                <c:pt idx="7621">
                  <c:v>#N/A</c:v>
                </c:pt>
                <c:pt idx="7622">
                  <c:v>#N/A</c:v>
                </c:pt>
                <c:pt idx="7623">
                  <c:v>#N/A</c:v>
                </c:pt>
                <c:pt idx="7624">
                  <c:v>#N/A</c:v>
                </c:pt>
                <c:pt idx="7625">
                  <c:v>2.8904109589041096</c:v>
                </c:pt>
                <c:pt idx="7626">
                  <c:v>2.8904109589041096</c:v>
                </c:pt>
                <c:pt idx="7627">
                  <c:v>#N/A</c:v>
                </c:pt>
                <c:pt idx="7628">
                  <c:v>2.8904109589041096</c:v>
                </c:pt>
                <c:pt idx="7629">
                  <c:v>#N/A</c:v>
                </c:pt>
                <c:pt idx="7630">
                  <c:v>#N/A</c:v>
                </c:pt>
                <c:pt idx="7631">
                  <c:v>2.8958904109589043</c:v>
                </c:pt>
                <c:pt idx="7632">
                  <c:v>#N/A</c:v>
                </c:pt>
                <c:pt idx="7633">
                  <c:v>#N/A</c:v>
                </c:pt>
                <c:pt idx="7634">
                  <c:v>#N/A</c:v>
                </c:pt>
                <c:pt idx="7635">
                  <c:v>2.8958904109589043</c:v>
                </c:pt>
                <c:pt idx="7636">
                  <c:v>2.8986301369863012</c:v>
                </c:pt>
                <c:pt idx="7637">
                  <c:v>2.8986301369863012</c:v>
                </c:pt>
                <c:pt idx="7638">
                  <c:v>#N/A</c:v>
                </c:pt>
                <c:pt idx="7639">
                  <c:v>2.8986301369863012</c:v>
                </c:pt>
                <c:pt idx="7640">
                  <c:v>2.8986301369863012</c:v>
                </c:pt>
                <c:pt idx="7641">
                  <c:v>2.8986301369863012</c:v>
                </c:pt>
                <c:pt idx="7642">
                  <c:v>2.9013698630136986</c:v>
                </c:pt>
                <c:pt idx="7643">
                  <c:v>#N/A</c:v>
                </c:pt>
                <c:pt idx="7644">
                  <c:v>#N/A</c:v>
                </c:pt>
                <c:pt idx="7645">
                  <c:v>2.9123287671232876</c:v>
                </c:pt>
                <c:pt idx="7646">
                  <c:v>2.9123287671232876</c:v>
                </c:pt>
                <c:pt idx="7647">
                  <c:v>#N/A</c:v>
                </c:pt>
                <c:pt idx="7648">
                  <c:v>#N/A</c:v>
                </c:pt>
                <c:pt idx="7649">
                  <c:v>#N/A</c:v>
                </c:pt>
                <c:pt idx="7650">
                  <c:v>2.9150684931506849</c:v>
                </c:pt>
                <c:pt idx="7651">
                  <c:v>#N/A</c:v>
                </c:pt>
                <c:pt idx="7652">
                  <c:v>#N/A</c:v>
                </c:pt>
                <c:pt idx="7653">
                  <c:v>2.9150684931506849</c:v>
                </c:pt>
                <c:pt idx="7654">
                  <c:v>2.9150684931506849</c:v>
                </c:pt>
                <c:pt idx="7655">
                  <c:v>#N/A</c:v>
                </c:pt>
                <c:pt idx="7656">
                  <c:v>#N/A</c:v>
                </c:pt>
                <c:pt idx="7657">
                  <c:v>2.9150684931506849</c:v>
                </c:pt>
                <c:pt idx="7658">
                  <c:v>#N/A</c:v>
                </c:pt>
                <c:pt idx="7659">
                  <c:v>#N/A</c:v>
                </c:pt>
                <c:pt idx="7660">
                  <c:v>2.9178082191780823</c:v>
                </c:pt>
                <c:pt idx="7661">
                  <c:v>2.9178082191780823</c:v>
                </c:pt>
                <c:pt idx="7662">
                  <c:v>#N/A</c:v>
                </c:pt>
                <c:pt idx="7663">
                  <c:v>#N/A</c:v>
                </c:pt>
                <c:pt idx="7664">
                  <c:v>#N/A</c:v>
                </c:pt>
                <c:pt idx="7665">
                  <c:v>#N/A</c:v>
                </c:pt>
                <c:pt idx="7666">
                  <c:v>2.9260273972602739</c:v>
                </c:pt>
                <c:pt idx="7667">
                  <c:v>#N/A</c:v>
                </c:pt>
                <c:pt idx="7668">
                  <c:v>2.9260273972602739</c:v>
                </c:pt>
                <c:pt idx="7669">
                  <c:v>2.9287671232876713</c:v>
                </c:pt>
                <c:pt idx="7670">
                  <c:v>#N/A</c:v>
                </c:pt>
                <c:pt idx="7671">
                  <c:v>2.9287671232876713</c:v>
                </c:pt>
                <c:pt idx="7672">
                  <c:v>#N/A</c:v>
                </c:pt>
                <c:pt idx="7673">
                  <c:v>2.9287671232876713</c:v>
                </c:pt>
                <c:pt idx="7674">
                  <c:v>2.9287671232876713</c:v>
                </c:pt>
                <c:pt idx="7675">
                  <c:v>#N/A</c:v>
                </c:pt>
                <c:pt idx="7676">
                  <c:v>#N/A</c:v>
                </c:pt>
                <c:pt idx="7677">
                  <c:v>2.9342465753424656</c:v>
                </c:pt>
                <c:pt idx="7678">
                  <c:v>#N/A</c:v>
                </c:pt>
                <c:pt idx="7679">
                  <c:v>#N/A</c:v>
                </c:pt>
                <c:pt idx="7680">
                  <c:v>2.9342465753424656</c:v>
                </c:pt>
                <c:pt idx="7681">
                  <c:v>2.9342465753424656</c:v>
                </c:pt>
                <c:pt idx="7682">
                  <c:v>2.9342465753424656</c:v>
                </c:pt>
                <c:pt idx="7683">
                  <c:v>2.9342465753424656</c:v>
                </c:pt>
                <c:pt idx="7684">
                  <c:v>#N/A</c:v>
                </c:pt>
                <c:pt idx="7685">
                  <c:v>2.9342465753424656</c:v>
                </c:pt>
                <c:pt idx="7686">
                  <c:v>2.9342465753424656</c:v>
                </c:pt>
                <c:pt idx="7687">
                  <c:v>#N/A</c:v>
                </c:pt>
                <c:pt idx="7688">
                  <c:v>#N/A</c:v>
                </c:pt>
                <c:pt idx="7689">
                  <c:v>2.9342465753424656</c:v>
                </c:pt>
                <c:pt idx="7690">
                  <c:v>#N/A</c:v>
                </c:pt>
                <c:pt idx="7691">
                  <c:v>#N/A</c:v>
                </c:pt>
                <c:pt idx="7692">
                  <c:v>2.9342465753424656</c:v>
                </c:pt>
                <c:pt idx="7693">
                  <c:v>2.9342465753424656</c:v>
                </c:pt>
                <c:pt idx="7694">
                  <c:v>#N/A</c:v>
                </c:pt>
                <c:pt idx="7695">
                  <c:v>2.9342465753424656</c:v>
                </c:pt>
                <c:pt idx="7696">
                  <c:v>2.9342465753424656</c:v>
                </c:pt>
                <c:pt idx="7697">
                  <c:v>#N/A</c:v>
                </c:pt>
                <c:pt idx="7698">
                  <c:v>2.9342465753424656</c:v>
                </c:pt>
                <c:pt idx="7699">
                  <c:v>2.9342465753424656</c:v>
                </c:pt>
                <c:pt idx="7700">
                  <c:v>2.9342465753424656</c:v>
                </c:pt>
                <c:pt idx="7701">
                  <c:v>#N/A</c:v>
                </c:pt>
                <c:pt idx="7702">
                  <c:v>2.9342465753424656</c:v>
                </c:pt>
                <c:pt idx="7703">
                  <c:v>2.9342465753424656</c:v>
                </c:pt>
                <c:pt idx="7704">
                  <c:v>#N/A</c:v>
                </c:pt>
                <c:pt idx="7705">
                  <c:v>#N/A</c:v>
                </c:pt>
                <c:pt idx="7706">
                  <c:v>#N/A</c:v>
                </c:pt>
                <c:pt idx="7707">
                  <c:v>2.9369863013698629</c:v>
                </c:pt>
                <c:pt idx="7708">
                  <c:v>#N/A</c:v>
                </c:pt>
                <c:pt idx="7709">
                  <c:v>2.9369863013698629</c:v>
                </c:pt>
                <c:pt idx="7710">
                  <c:v>2.9369863013698629</c:v>
                </c:pt>
                <c:pt idx="7711">
                  <c:v>#N/A</c:v>
                </c:pt>
                <c:pt idx="7712">
                  <c:v>#N/A</c:v>
                </c:pt>
                <c:pt idx="7713">
                  <c:v>2.9369863013698629</c:v>
                </c:pt>
                <c:pt idx="7714">
                  <c:v>#N/A</c:v>
                </c:pt>
                <c:pt idx="7715">
                  <c:v>#N/A</c:v>
                </c:pt>
                <c:pt idx="7716">
                  <c:v>#N/A</c:v>
                </c:pt>
                <c:pt idx="7717">
                  <c:v>#N/A</c:v>
                </c:pt>
                <c:pt idx="7718">
                  <c:v>2.9397260273972603</c:v>
                </c:pt>
                <c:pt idx="7719">
                  <c:v>#N/A</c:v>
                </c:pt>
                <c:pt idx="7720">
                  <c:v>#N/A</c:v>
                </c:pt>
                <c:pt idx="7721">
                  <c:v>#N/A</c:v>
                </c:pt>
                <c:pt idx="7722">
                  <c:v>#N/A</c:v>
                </c:pt>
                <c:pt idx="7723">
                  <c:v>#N/A</c:v>
                </c:pt>
                <c:pt idx="7724">
                  <c:v>2.9479452054794519</c:v>
                </c:pt>
                <c:pt idx="7725">
                  <c:v>#N/A</c:v>
                </c:pt>
                <c:pt idx="7726">
                  <c:v>#N/A</c:v>
                </c:pt>
                <c:pt idx="7727">
                  <c:v>#N/A</c:v>
                </c:pt>
                <c:pt idx="7728">
                  <c:v>2.9534246575342467</c:v>
                </c:pt>
                <c:pt idx="7729">
                  <c:v>#N/A</c:v>
                </c:pt>
                <c:pt idx="7730">
                  <c:v>#N/A</c:v>
                </c:pt>
                <c:pt idx="7731">
                  <c:v>#N/A</c:v>
                </c:pt>
                <c:pt idx="7732">
                  <c:v>#N/A</c:v>
                </c:pt>
                <c:pt idx="7733">
                  <c:v>#N/A</c:v>
                </c:pt>
                <c:pt idx="7734">
                  <c:v>#N/A</c:v>
                </c:pt>
                <c:pt idx="7735">
                  <c:v>2.9589041095890409</c:v>
                </c:pt>
                <c:pt idx="7736">
                  <c:v>2.9589041095890409</c:v>
                </c:pt>
                <c:pt idx="7737">
                  <c:v>2.9589041095890409</c:v>
                </c:pt>
                <c:pt idx="7738">
                  <c:v>2.9589041095890409</c:v>
                </c:pt>
                <c:pt idx="7739">
                  <c:v>#N/A</c:v>
                </c:pt>
                <c:pt idx="7740">
                  <c:v>#N/A</c:v>
                </c:pt>
                <c:pt idx="7741">
                  <c:v>#N/A</c:v>
                </c:pt>
                <c:pt idx="7742">
                  <c:v>2.9589041095890409</c:v>
                </c:pt>
                <c:pt idx="7743">
                  <c:v>#N/A</c:v>
                </c:pt>
                <c:pt idx="7744">
                  <c:v>2.9589041095890409</c:v>
                </c:pt>
                <c:pt idx="7745">
                  <c:v>2.967123287671233</c:v>
                </c:pt>
                <c:pt idx="7746">
                  <c:v>2.967123287671233</c:v>
                </c:pt>
                <c:pt idx="7747">
                  <c:v>#N/A</c:v>
                </c:pt>
                <c:pt idx="7748">
                  <c:v>#N/A</c:v>
                </c:pt>
                <c:pt idx="7749">
                  <c:v>#N/A</c:v>
                </c:pt>
                <c:pt idx="7750">
                  <c:v>2.9753424657534246</c:v>
                </c:pt>
                <c:pt idx="7751">
                  <c:v>#N/A</c:v>
                </c:pt>
                <c:pt idx="7752">
                  <c:v>#N/A</c:v>
                </c:pt>
                <c:pt idx="7753">
                  <c:v>#N/A</c:v>
                </c:pt>
                <c:pt idx="7754">
                  <c:v>#N/A</c:v>
                </c:pt>
                <c:pt idx="7755">
                  <c:v>#N/A</c:v>
                </c:pt>
                <c:pt idx="7756">
                  <c:v>#N/A</c:v>
                </c:pt>
                <c:pt idx="7757">
                  <c:v>2.9863013698630136</c:v>
                </c:pt>
                <c:pt idx="7758">
                  <c:v>#N/A</c:v>
                </c:pt>
                <c:pt idx="7759">
                  <c:v>2.989041095890411</c:v>
                </c:pt>
                <c:pt idx="7760">
                  <c:v>#N/A</c:v>
                </c:pt>
                <c:pt idx="7761">
                  <c:v>#N/A</c:v>
                </c:pt>
                <c:pt idx="7762">
                  <c:v>#N/A</c:v>
                </c:pt>
                <c:pt idx="7763">
                  <c:v>#N/A</c:v>
                </c:pt>
                <c:pt idx="7764">
                  <c:v>#N/A</c:v>
                </c:pt>
                <c:pt idx="7765">
                  <c:v>2.9945205479452053</c:v>
                </c:pt>
                <c:pt idx="7766">
                  <c:v>#N/A</c:v>
                </c:pt>
                <c:pt idx="7767">
                  <c:v>#N/A</c:v>
                </c:pt>
                <c:pt idx="7768">
                  <c:v>2.9945205479452053</c:v>
                </c:pt>
                <c:pt idx="7769">
                  <c:v>2.9945205479452053</c:v>
                </c:pt>
                <c:pt idx="7770">
                  <c:v>2.9945205479452053</c:v>
                </c:pt>
                <c:pt idx="7771">
                  <c:v>2.9945205479452053</c:v>
                </c:pt>
                <c:pt idx="7772">
                  <c:v>2.9945205479452053</c:v>
                </c:pt>
                <c:pt idx="7773">
                  <c:v>#N/A</c:v>
                </c:pt>
                <c:pt idx="7774">
                  <c:v>2.9972602739726026</c:v>
                </c:pt>
                <c:pt idx="7775">
                  <c:v>2.9972602739726026</c:v>
                </c:pt>
                <c:pt idx="7776">
                  <c:v>#N/A</c:v>
                </c:pt>
                <c:pt idx="7777">
                  <c:v>3.0054794520547947</c:v>
                </c:pt>
                <c:pt idx="7778">
                  <c:v>3.0082191780821916</c:v>
                </c:pt>
                <c:pt idx="7779">
                  <c:v>3.0082191780821916</c:v>
                </c:pt>
                <c:pt idx="7780">
                  <c:v>3.0082191780821916</c:v>
                </c:pt>
                <c:pt idx="7781">
                  <c:v>3.0082191780821916</c:v>
                </c:pt>
                <c:pt idx="7782">
                  <c:v>#N/A</c:v>
                </c:pt>
                <c:pt idx="7783">
                  <c:v>#N/A</c:v>
                </c:pt>
                <c:pt idx="7784">
                  <c:v>#N/A</c:v>
                </c:pt>
                <c:pt idx="7785">
                  <c:v>#N/A</c:v>
                </c:pt>
                <c:pt idx="7786">
                  <c:v>#N/A</c:v>
                </c:pt>
                <c:pt idx="7787">
                  <c:v>3.0082191780821916</c:v>
                </c:pt>
                <c:pt idx="7788">
                  <c:v>3.0082191780821916</c:v>
                </c:pt>
                <c:pt idx="7789">
                  <c:v>#N/A</c:v>
                </c:pt>
                <c:pt idx="7790">
                  <c:v>3.0082191780821916</c:v>
                </c:pt>
                <c:pt idx="7791">
                  <c:v>3.0082191780821916</c:v>
                </c:pt>
                <c:pt idx="7792">
                  <c:v>3.0082191780821916</c:v>
                </c:pt>
                <c:pt idx="7793">
                  <c:v>3.0082191780821916</c:v>
                </c:pt>
                <c:pt idx="7794">
                  <c:v>#N/A</c:v>
                </c:pt>
                <c:pt idx="7795">
                  <c:v>#N/A</c:v>
                </c:pt>
                <c:pt idx="7796">
                  <c:v>3.010958904109589</c:v>
                </c:pt>
                <c:pt idx="7797">
                  <c:v>3.010958904109589</c:v>
                </c:pt>
                <c:pt idx="7798">
                  <c:v>#N/A</c:v>
                </c:pt>
                <c:pt idx="7799">
                  <c:v>3.010958904109589</c:v>
                </c:pt>
                <c:pt idx="7800">
                  <c:v>#N/A</c:v>
                </c:pt>
                <c:pt idx="7801">
                  <c:v>3.010958904109589</c:v>
                </c:pt>
                <c:pt idx="7802">
                  <c:v>3.010958904109589</c:v>
                </c:pt>
                <c:pt idx="7803">
                  <c:v>3.010958904109589</c:v>
                </c:pt>
                <c:pt idx="7804">
                  <c:v>3.010958904109589</c:v>
                </c:pt>
                <c:pt idx="7805">
                  <c:v>3.010958904109589</c:v>
                </c:pt>
                <c:pt idx="7806">
                  <c:v>#N/A</c:v>
                </c:pt>
                <c:pt idx="7807">
                  <c:v>3.010958904109589</c:v>
                </c:pt>
                <c:pt idx="7808">
                  <c:v>#N/A</c:v>
                </c:pt>
                <c:pt idx="7809">
                  <c:v>3.010958904109589</c:v>
                </c:pt>
                <c:pt idx="7810">
                  <c:v>#N/A</c:v>
                </c:pt>
                <c:pt idx="7811">
                  <c:v>#N/A</c:v>
                </c:pt>
                <c:pt idx="7812">
                  <c:v>3.0136986301369864</c:v>
                </c:pt>
                <c:pt idx="7813">
                  <c:v>#N/A</c:v>
                </c:pt>
                <c:pt idx="7814">
                  <c:v>#N/A</c:v>
                </c:pt>
                <c:pt idx="7815">
                  <c:v>3.0136986301369864</c:v>
                </c:pt>
                <c:pt idx="7816">
                  <c:v>#N/A</c:v>
                </c:pt>
                <c:pt idx="7817">
                  <c:v>3.0136986301369864</c:v>
                </c:pt>
                <c:pt idx="7818">
                  <c:v>#N/A</c:v>
                </c:pt>
                <c:pt idx="7819">
                  <c:v>#N/A</c:v>
                </c:pt>
                <c:pt idx="7820">
                  <c:v>3.0136986301369864</c:v>
                </c:pt>
                <c:pt idx="7821">
                  <c:v>3.0136986301369864</c:v>
                </c:pt>
                <c:pt idx="7822">
                  <c:v>#N/A</c:v>
                </c:pt>
                <c:pt idx="7823">
                  <c:v>#N/A</c:v>
                </c:pt>
                <c:pt idx="7824">
                  <c:v>3.0136986301369864</c:v>
                </c:pt>
                <c:pt idx="7825">
                  <c:v>3.0136986301369864</c:v>
                </c:pt>
                <c:pt idx="7826">
                  <c:v>#N/A</c:v>
                </c:pt>
                <c:pt idx="7827">
                  <c:v>#N/A</c:v>
                </c:pt>
                <c:pt idx="7828">
                  <c:v>3.0164383561643837</c:v>
                </c:pt>
                <c:pt idx="7829">
                  <c:v>3.0246575342465754</c:v>
                </c:pt>
                <c:pt idx="7830">
                  <c:v>#N/A</c:v>
                </c:pt>
                <c:pt idx="7831">
                  <c:v>3.0246575342465754</c:v>
                </c:pt>
                <c:pt idx="7832">
                  <c:v>#N/A</c:v>
                </c:pt>
                <c:pt idx="7833">
                  <c:v>3.0246575342465754</c:v>
                </c:pt>
                <c:pt idx="7834">
                  <c:v>#N/A</c:v>
                </c:pt>
                <c:pt idx="7835">
                  <c:v>#N/A</c:v>
                </c:pt>
                <c:pt idx="7836">
                  <c:v>#N/A</c:v>
                </c:pt>
                <c:pt idx="7837">
                  <c:v>#N/A</c:v>
                </c:pt>
                <c:pt idx="7838">
                  <c:v>#N/A</c:v>
                </c:pt>
                <c:pt idx="7839">
                  <c:v>#N/A</c:v>
                </c:pt>
                <c:pt idx="7840">
                  <c:v>#N/A</c:v>
                </c:pt>
                <c:pt idx="7841">
                  <c:v>#N/A</c:v>
                </c:pt>
                <c:pt idx="7842">
                  <c:v>#N/A</c:v>
                </c:pt>
                <c:pt idx="7843">
                  <c:v>#N/A</c:v>
                </c:pt>
                <c:pt idx="7844">
                  <c:v>3.0301369863013701</c:v>
                </c:pt>
                <c:pt idx="7845">
                  <c:v>3.0301369863013701</c:v>
                </c:pt>
                <c:pt idx="7846">
                  <c:v>#N/A</c:v>
                </c:pt>
                <c:pt idx="7847">
                  <c:v>3.0301369863013701</c:v>
                </c:pt>
                <c:pt idx="7848">
                  <c:v>#N/A</c:v>
                </c:pt>
                <c:pt idx="7849">
                  <c:v>3.0301369863013701</c:v>
                </c:pt>
                <c:pt idx="7850">
                  <c:v>#N/A</c:v>
                </c:pt>
                <c:pt idx="7851">
                  <c:v>3.0301369863013701</c:v>
                </c:pt>
                <c:pt idx="7852">
                  <c:v>#N/A</c:v>
                </c:pt>
                <c:pt idx="7853">
                  <c:v>#N/A</c:v>
                </c:pt>
                <c:pt idx="7854">
                  <c:v>3.0301369863013701</c:v>
                </c:pt>
                <c:pt idx="7855">
                  <c:v>#N/A</c:v>
                </c:pt>
                <c:pt idx="7856">
                  <c:v>#N/A</c:v>
                </c:pt>
                <c:pt idx="7857">
                  <c:v>3.0301369863013701</c:v>
                </c:pt>
                <c:pt idx="7858">
                  <c:v>3.0301369863013701</c:v>
                </c:pt>
                <c:pt idx="7859">
                  <c:v>#N/A</c:v>
                </c:pt>
                <c:pt idx="7860">
                  <c:v>3.0301369863013701</c:v>
                </c:pt>
                <c:pt idx="7861">
                  <c:v>3.0301369863013701</c:v>
                </c:pt>
                <c:pt idx="7862">
                  <c:v>3.0301369863013701</c:v>
                </c:pt>
                <c:pt idx="7863">
                  <c:v>3.0301369863013701</c:v>
                </c:pt>
                <c:pt idx="7864">
                  <c:v>#N/A</c:v>
                </c:pt>
                <c:pt idx="7865">
                  <c:v>3.0301369863013701</c:v>
                </c:pt>
                <c:pt idx="7866">
                  <c:v>3.0301369863013701</c:v>
                </c:pt>
                <c:pt idx="7867">
                  <c:v>3.0301369863013701</c:v>
                </c:pt>
                <c:pt idx="7868">
                  <c:v>#N/A</c:v>
                </c:pt>
                <c:pt idx="7869">
                  <c:v>3.0301369863013701</c:v>
                </c:pt>
                <c:pt idx="7870">
                  <c:v>3.032876712328767</c:v>
                </c:pt>
                <c:pt idx="7871">
                  <c:v>#N/A</c:v>
                </c:pt>
                <c:pt idx="7872">
                  <c:v>#N/A</c:v>
                </c:pt>
                <c:pt idx="7873">
                  <c:v>#N/A</c:v>
                </c:pt>
                <c:pt idx="7874">
                  <c:v>#N/A</c:v>
                </c:pt>
                <c:pt idx="7875">
                  <c:v>#N/A</c:v>
                </c:pt>
                <c:pt idx="7876">
                  <c:v>3.043835616438356</c:v>
                </c:pt>
                <c:pt idx="7877">
                  <c:v>#N/A</c:v>
                </c:pt>
                <c:pt idx="7878">
                  <c:v>#N/A</c:v>
                </c:pt>
                <c:pt idx="7879">
                  <c:v>3.0493150684931507</c:v>
                </c:pt>
                <c:pt idx="7880">
                  <c:v>#N/A</c:v>
                </c:pt>
                <c:pt idx="7881">
                  <c:v>3.0493150684931507</c:v>
                </c:pt>
                <c:pt idx="7882">
                  <c:v>#N/A</c:v>
                </c:pt>
                <c:pt idx="7883">
                  <c:v>#N/A</c:v>
                </c:pt>
                <c:pt idx="7884">
                  <c:v>3.0520547945205481</c:v>
                </c:pt>
                <c:pt idx="7885">
                  <c:v>#N/A</c:v>
                </c:pt>
                <c:pt idx="7886">
                  <c:v>3.0520547945205481</c:v>
                </c:pt>
                <c:pt idx="7887">
                  <c:v>#N/A</c:v>
                </c:pt>
                <c:pt idx="7888">
                  <c:v>#N/A</c:v>
                </c:pt>
                <c:pt idx="7889">
                  <c:v>#N/A</c:v>
                </c:pt>
                <c:pt idx="7890">
                  <c:v>3.0547945205479454</c:v>
                </c:pt>
                <c:pt idx="7891">
                  <c:v>3.0547945205479454</c:v>
                </c:pt>
                <c:pt idx="7892">
                  <c:v>#N/A</c:v>
                </c:pt>
                <c:pt idx="7893">
                  <c:v>#N/A</c:v>
                </c:pt>
                <c:pt idx="7894">
                  <c:v>#N/A</c:v>
                </c:pt>
                <c:pt idx="7895">
                  <c:v>#N/A</c:v>
                </c:pt>
                <c:pt idx="7896">
                  <c:v>3.0547945205479454</c:v>
                </c:pt>
                <c:pt idx="7897">
                  <c:v>#N/A</c:v>
                </c:pt>
                <c:pt idx="7898">
                  <c:v>3.0602739726027397</c:v>
                </c:pt>
                <c:pt idx="7899">
                  <c:v>#N/A</c:v>
                </c:pt>
                <c:pt idx="7900">
                  <c:v>#N/A</c:v>
                </c:pt>
                <c:pt idx="7901">
                  <c:v>#N/A</c:v>
                </c:pt>
                <c:pt idx="7902">
                  <c:v>3.0602739726027397</c:v>
                </c:pt>
                <c:pt idx="7903">
                  <c:v>#N/A</c:v>
                </c:pt>
                <c:pt idx="7904">
                  <c:v>3.0602739726027397</c:v>
                </c:pt>
                <c:pt idx="7905">
                  <c:v>#N/A</c:v>
                </c:pt>
                <c:pt idx="7906">
                  <c:v>#N/A</c:v>
                </c:pt>
                <c:pt idx="7907">
                  <c:v>#N/A</c:v>
                </c:pt>
                <c:pt idx="7908">
                  <c:v>#N/A</c:v>
                </c:pt>
                <c:pt idx="7909">
                  <c:v>3.0602739726027397</c:v>
                </c:pt>
                <c:pt idx="7910">
                  <c:v>3.0602739726027397</c:v>
                </c:pt>
                <c:pt idx="7911">
                  <c:v>3.0602739726027397</c:v>
                </c:pt>
                <c:pt idx="7912">
                  <c:v>3.0602739726027397</c:v>
                </c:pt>
                <c:pt idx="7913">
                  <c:v>#N/A</c:v>
                </c:pt>
                <c:pt idx="7914">
                  <c:v>#N/A</c:v>
                </c:pt>
                <c:pt idx="7915">
                  <c:v>#N/A</c:v>
                </c:pt>
                <c:pt idx="7916">
                  <c:v>3.0602739726027397</c:v>
                </c:pt>
                <c:pt idx="7917">
                  <c:v>3.0602739726027397</c:v>
                </c:pt>
                <c:pt idx="7918">
                  <c:v>#N/A</c:v>
                </c:pt>
                <c:pt idx="7919">
                  <c:v>#N/A</c:v>
                </c:pt>
                <c:pt idx="7920">
                  <c:v>#N/A</c:v>
                </c:pt>
                <c:pt idx="7921">
                  <c:v>#N/A</c:v>
                </c:pt>
                <c:pt idx="7922">
                  <c:v>#N/A</c:v>
                </c:pt>
                <c:pt idx="7923">
                  <c:v>3.0602739726027397</c:v>
                </c:pt>
                <c:pt idx="7924">
                  <c:v>#N/A</c:v>
                </c:pt>
                <c:pt idx="7925">
                  <c:v>3.0602739726027397</c:v>
                </c:pt>
                <c:pt idx="7926">
                  <c:v>#N/A</c:v>
                </c:pt>
                <c:pt idx="7927">
                  <c:v>#N/A</c:v>
                </c:pt>
                <c:pt idx="7928">
                  <c:v>#N/A</c:v>
                </c:pt>
                <c:pt idx="7929">
                  <c:v>#N/A</c:v>
                </c:pt>
                <c:pt idx="7930">
                  <c:v>3.0602739726027397</c:v>
                </c:pt>
                <c:pt idx="7931">
                  <c:v>3.0602739726027397</c:v>
                </c:pt>
                <c:pt idx="7932">
                  <c:v>#N/A</c:v>
                </c:pt>
                <c:pt idx="7933">
                  <c:v>3.0630136986301371</c:v>
                </c:pt>
                <c:pt idx="7934">
                  <c:v>#N/A</c:v>
                </c:pt>
                <c:pt idx="7935">
                  <c:v>#N/A</c:v>
                </c:pt>
                <c:pt idx="7936">
                  <c:v>3.0630136986301371</c:v>
                </c:pt>
                <c:pt idx="7937">
                  <c:v>#N/A</c:v>
                </c:pt>
                <c:pt idx="7938">
                  <c:v>3.0630136986301371</c:v>
                </c:pt>
                <c:pt idx="7939">
                  <c:v>#N/A</c:v>
                </c:pt>
                <c:pt idx="7940">
                  <c:v>#N/A</c:v>
                </c:pt>
                <c:pt idx="7941">
                  <c:v>#N/A</c:v>
                </c:pt>
                <c:pt idx="7942">
                  <c:v>#N/A</c:v>
                </c:pt>
                <c:pt idx="7943">
                  <c:v>#N/A</c:v>
                </c:pt>
                <c:pt idx="7944">
                  <c:v>3.0630136986301371</c:v>
                </c:pt>
                <c:pt idx="7945">
                  <c:v>#N/A</c:v>
                </c:pt>
                <c:pt idx="7946">
                  <c:v>3.0630136986301371</c:v>
                </c:pt>
                <c:pt idx="7947">
                  <c:v>#N/A</c:v>
                </c:pt>
                <c:pt idx="7948">
                  <c:v>#N/A</c:v>
                </c:pt>
                <c:pt idx="7949">
                  <c:v>3.0630136986301371</c:v>
                </c:pt>
                <c:pt idx="7950">
                  <c:v>3.0630136986301371</c:v>
                </c:pt>
                <c:pt idx="7951">
                  <c:v>#N/A</c:v>
                </c:pt>
                <c:pt idx="7952">
                  <c:v>3.0630136986301371</c:v>
                </c:pt>
                <c:pt idx="7953">
                  <c:v>3.0630136986301371</c:v>
                </c:pt>
                <c:pt idx="7954">
                  <c:v>#N/A</c:v>
                </c:pt>
                <c:pt idx="7955">
                  <c:v>#N/A</c:v>
                </c:pt>
                <c:pt idx="7956">
                  <c:v>#N/A</c:v>
                </c:pt>
                <c:pt idx="7957">
                  <c:v>#N/A</c:v>
                </c:pt>
                <c:pt idx="7958">
                  <c:v>#N/A</c:v>
                </c:pt>
                <c:pt idx="7959">
                  <c:v>#N/A</c:v>
                </c:pt>
                <c:pt idx="7960">
                  <c:v>#N/A</c:v>
                </c:pt>
                <c:pt idx="7961">
                  <c:v>#N/A</c:v>
                </c:pt>
                <c:pt idx="7962">
                  <c:v>3.0630136986301371</c:v>
                </c:pt>
                <c:pt idx="7963">
                  <c:v>#N/A</c:v>
                </c:pt>
                <c:pt idx="7964">
                  <c:v>3.0630136986301371</c:v>
                </c:pt>
                <c:pt idx="7965">
                  <c:v>#N/A</c:v>
                </c:pt>
                <c:pt idx="7966">
                  <c:v>#N/A</c:v>
                </c:pt>
                <c:pt idx="7967">
                  <c:v>#N/A</c:v>
                </c:pt>
                <c:pt idx="7968">
                  <c:v>#N/A</c:v>
                </c:pt>
                <c:pt idx="7969">
                  <c:v>3.0630136986301371</c:v>
                </c:pt>
                <c:pt idx="7970">
                  <c:v>3.0630136986301371</c:v>
                </c:pt>
                <c:pt idx="7971">
                  <c:v>3.0630136986301371</c:v>
                </c:pt>
                <c:pt idx="7972">
                  <c:v>3.0630136986301371</c:v>
                </c:pt>
                <c:pt idx="7973">
                  <c:v>3.0630136986301371</c:v>
                </c:pt>
                <c:pt idx="7974">
                  <c:v>#N/A</c:v>
                </c:pt>
                <c:pt idx="7975">
                  <c:v>#N/A</c:v>
                </c:pt>
                <c:pt idx="7976">
                  <c:v>3.0630136986301371</c:v>
                </c:pt>
                <c:pt idx="7977">
                  <c:v>#N/A</c:v>
                </c:pt>
                <c:pt idx="7978">
                  <c:v>#N/A</c:v>
                </c:pt>
                <c:pt idx="7979">
                  <c:v>3.0630136986301371</c:v>
                </c:pt>
                <c:pt idx="7980">
                  <c:v>3.0630136986301371</c:v>
                </c:pt>
                <c:pt idx="7981">
                  <c:v>3.0630136986301371</c:v>
                </c:pt>
                <c:pt idx="7982">
                  <c:v>3.0630136986301371</c:v>
                </c:pt>
                <c:pt idx="7983">
                  <c:v>3.0630136986301371</c:v>
                </c:pt>
                <c:pt idx="7984">
                  <c:v>#N/A</c:v>
                </c:pt>
                <c:pt idx="7985">
                  <c:v>#N/A</c:v>
                </c:pt>
                <c:pt idx="7986">
                  <c:v>#N/A</c:v>
                </c:pt>
                <c:pt idx="7987">
                  <c:v>#N/A</c:v>
                </c:pt>
                <c:pt idx="7988">
                  <c:v>3.0630136986301371</c:v>
                </c:pt>
                <c:pt idx="7989">
                  <c:v>#N/A</c:v>
                </c:pt>
                <c:pt idx="7990">
                  <c:v>#N/A</c:v>
                </c:pt>
                <c:pt idx="7991">
                  <c:v>3.0630136986301371</c:v>
                </c:pt>
                <c:pt idx="7992">
                  <c:v>3.0630136986301371</c:v>
                </c:pt>
                <c:pt idx="7993">
                  <c:v>#N/A</c:v>
                </c:pt>
                <c:pt idx="7994">
                  <c:v>#N/A</c:v>
                </c:pt>
                <c:pt idx="7995">
                  <c:v>3.0630136986301371</c:v>
                </c:pt>
                <c:pt idx="7996">
                  <c:v>3.0630136986301371</c:v>
                </c:pt>
                <c:pt idx="7997">
                  <c:v>3.0630136986301371</c:v>
                </c:pt>
                <c:pt idx="7998">
                  <c:v>3.0630136986301371</c:v>
                </c:pt>
                <c:pt idx="7999">
                  <c:v>3.0630136986301371</c:v>
                </c:pt>
                <c:pt idx="8000">
                  <c:v>#N/A</c:v>
                </c:pt>
                <c:pt idx="8001">
                  <c:v>#N/A</c:v>
                </c:pt>
                <c:pt idx="8002">
                  <c:v>#N/A</c:v>
                </c:pt>
                <c:pt idx="8003">
                  <c:v>#N/A</c:v>
                </c:pt>
                <c:pt idx="8004">
                  <c:v>#N/A</c:v>
                </c:pt>
                <c:pt idx="8005">
                  <c:v>#N/A</c:v>
                </c:pt>
                <c:pt idx="8006">
                  <c:v>3.0630136986301371</c:v>
                </c:pt>
                <c:pt idx="8007">
                  <c:v>3.0630136986301371</c:v>
                </c:pt>
                <c:pt idx="8008">
                  <c:v>3.0630136986301371</c:v>
                </c:pt>
                <c:pt idx="8009">
                  <c:v>#N/A</c:v>
                </c:pt>
                <c:pt idx="8010">
                  <c:v>#N/A</c:v>
                </c:pt>
                <c:pt idx="8011">
                  <c:v>#N/A</c:v>
                </c:pt>
                <c:pt idx="8012">
                  <c:v>#N/A</c:v>
                </c:pt>
                <c:pt idx="8013">
                  <c:v>#N/A</c:v>
                </c:pt>
                <c:pt idx="8014">
                  <c:v>3.0630136986301371</c:v>
                </c:pt>
                <c:pt idx="8015">
                  <c:v>3.0630136986301371</c:v>
                </c:pt>
                <c:pt idx="8016">
                  <c:v>#N/A</c:v>
                </c:pt>
                <c:pt idx="8017">
                  <c:v>#N/A</c:v>
                </c:pt>
                <c:pt idx="8018">
                  <c:v>#N/A</c:v>
                </c:pt>
                <c:pt idx="8019">
                  <c:v>3.0630136986301371</c:v>
                </c:pt>
                <c:pt idx="8020">
                  <c:v>#N/A</c:v>
                </c:pt>
                <c:pt idx="8021">
                  <c:v>3.0630136986301371</c:v>
                </c:pt>
                <c:pt idx="8022">
                  <c:v>3.0630136986301371</c:v>
                </c:pt>
                <c:pt idx="8023">
                  <c:v>#N/A</c:v>
                </c:pt>
                <c:pt idx="8024">
                  <c:v>#N/A</c:v>
                </c:pt>
                <c:pt idx="8025">
                  <c:v>3.0630136986301371</c:v>
                </c:pt>
                <c:pt idx="8026">
                  <c:v>3.0630136986301371</c:v>
                </c:pt>
                <c:pt idx="8027">
                  <c:v>3.0630136986301371</c:v>
                </c:pt>
                <c:pt idx="8028">
                  <c:v>#N/A</c:v>
                </c:pt>
                <c:pt idx="8029">
                  <c:v>#N/A</c:v>
                </c:pt>
                <c:pt idx="8030">
                  <c:v>#N/A</c:v>
                </c:pt>
                <c:pt idx="8031">
                  <c:v>3.0630136986301371</c:v>
                </c:pt>
                <c:pt idx="8032">
                  <c:v>#N/A</c:v>
                </c:pt>
                <c:pt idx="8033">
                  <c:v>#N/A</c:v>
                </c:pt>
                <c:pt idx="8034">
                  <c:v>3.0630136986301371</c:v>
                </c:pt>
                <c:pt idx="8035">
                  <c:v>#N/A</c:v>
                </c:pt>
                <c:pt idx="8036">
                  <c:v>#N/A</c:v>
                </c:pt>
                <c:pt idx="8037">
                  <c:v>3.0630136986301371</c:v>
                </c:pt>
                <c:pt idx="8038">
                  <c:v>#N/A</c:v>
                </c:pt>
                <c:pt idx="8039">
                  <c:v>#N/A</c:v>
                </c:pt>
                <c:pt idx="8040">
                  <c:v>3.0630136986301371</c:v>
                </c:pt>
                <c:pt idx="8041">
                  <c:v>#N/A</c:v>
                </c:pt>
                <c:pt idx="8042">
                  <c:v>3.0630136986301371</c:v>
                </c:pt>
                <c:pt idx="8043">
                  <c:v>#N/A</c:v>
                </c:pt>
                <c:pt idx="8044">
                  <c:v>#N/A</c:v>
                </c:pt>
                <c:pt idx="8045">
                  <c:v>3.0630136986301371</c:v>
                </c:pt>
                <c:pt idx="8046">
                  <c:v>#N/A</c:v>
                </c:pt>
                <c:pt idx="8047">
                  <c:v>#N/A</c:v>
                </c:pt>
                <c:pt idx="8048">
                  <c:v>#N/A</c:v>
                </c:pt>
                <c:pt idx="8049">
                  <c:v>3.0630136986301371</c:v>
                </c:pt>
                <c:pt idx="8050">
                  <c:v>3.0630136986301371</c:v>
                </c:pt>
                <c:pt idx="8051">
                  <c:v>3.0630136986301371</c:v>
                </c:pt>
                <c:pt idx="8052">
                  <c:v>#N/A</c:v>
                </c:pt>
                <c:pt idx="8053">
                  <c:v>3.0630136986301371</c:v>
                </c:pt>
                <c:pt idx="8054">
                  <c:v>3.0630136986301371</c:v>
                </c:pt>
                <c:pt idx="8055">
                  <c:v>3.0630136986301371</c:v>
                </c:pt>
                <c:pt idx="8056">
                  <c:v>3.0630136986301371</c:v>
                </c:pt>
                <c:pt idx="8057">
                  <c:v>#N/A</c:v>
                </c:pt>
                <c:pt idx="8058">
                  <c:v>#N/A</c:v>
                </c:pt>
                <c:pt idx="8059">
                  <c:v>#N/A</c:v>
                </c:pt>
                <c:pt idx="8060">
                  <c:v>#N/A</c:v>
                </c:pt>
                <c:pt idx="8061">
                  <c:v>3.0630136986301371</c:v>
                </c:pt>
                <c:pt idx="8062">
                  <c:v>3.0630136986301371</c:v>
                </c:pt>
                <c:pt idx="8063">
                  <c:v>#N/A</c:v>
                </c:pt>
                <c:pt idx="8064">
                  <c:v>3.0630136986301371</c:v>
                </c:pt>
                <c:pt idx="8065">
                  <c:v>3.0630136986301371</c:v>
                </c:pt>
                <c:pt idx="8066">
                  <c:v>3.0630136986301371</c:v>
                </c:pt>
                <c:pt idx="8067">
                  <c:v>#N/A</c:v>
                </c:pt>
                <c:pt idx="8068">
                  <c:v>3.0630136986301371</c:v>
                </c:pt>
                <c:pt idx="8069">
                  <c:v>#N/A</c:v>
                </c:pt>
                <c:pt idx="8070">
                  <c:v>3.0630136986301371</c:v>
                </c:pt>
                <c:pt idx="8071">
                  <c:v>3.0630136986301371</c:v>
                </c:pt>
                <c:pt idx="8072">
                  <c:v>#N/A</c:v>
                </c:pt>
                <c:pt idx="8073">
                  <c:v>3.0630136986301371</c:v>
                </c:pt>
                <c:pt idx="8074">
                  <c:v>3.0630136986301371</c:v>
                </c:pt>
                <c:pt idx="8075">
                  <c:v>3.0630136986301371</c:v>
                </c:pt>
                <c:pt idx="8076">
                  <c:v>3.0630136986301371</c:v>
                </c:pt>
                <c:pt idx="8077">
                  <c:v>#N/A</c:v>
                </c:pt>
                <c:pt idx="8078">
                  <c:v>3.0630136986301371</c:v>
                </c:pt>
                <c:pt idx="8079">
                  <c:v>#N/A</c:v>
                </c:pt>
                <c:pt idx="8080">
                  <c:v>#N/A</c:v>
                </c:pt>
                <c:pt idx="8081">
                  <c:v>#N/A</c:v>
                </c:pt>
                <c:pt idx="8082">
                  <c:v>#N/A</c:v>
                </c:pt>
                <c:pt idx="8083">
                  <c:v>#N/A</c:v>
                </c:pt>
                <c:pt idx="8084">
                  <c:v>#N/A</c:v>
                </c:pt>
                <c:pt idx="8085">
                  <c:v>#N/A</c:v>
                </c:pt>
                <c:pt idx="8086">
                  <c:v>#N/A</c:v>
                </c:pt>
                <c:pt idx="8087">
                  <c:v>#N/A</c:v>
                </c:pt>
                <c:pt idx="8088">
                  <c:v>3.0630136986301371</c:v>
                </c:pt>
                <c:pt idx="8089">
                  <c:v>3.0630136986301371</c:v>
                </c:pt>
                <c:pt idx="8090">
                  <c:v>#N/A</c:v>
                </c:pt>
                <c:pt idx="8091">
                  <c:v>#N/A</c:v>
                </c:pt>
                <c:pt idx="8092">
                  <c:v>#N/A</c:v>
                </c:pt>
                <c:pt idx="8093">
                  <c:v>#N/A</c:v>
                </c:pt>
                <c:pt idx="8094">
                  <c:v>3.0630136986301371</c:v>
                </c:pt>
                <c:pt idx="8095">
                  <c:v>#N/A</c:v>
                </c:pt>
                <c:pt idx="8096">
                  <c:v>3.0630136986301371</c:v>
                </c:pt>
                <c:pt idx="8097">
                  <c:v>#N/A</c:v>
                </c:pt>
                <c:pt idx="8098">
                  <c:v>#N/A</c:v>
                </c:pt>
                <c:pt idx="8099">
                  <c:v>3.0630136986301371</c:v>
                </c:pt>
                <c:pt idx="8100">
                  <c:v>3.0630136986301371</c:v>
                </c:pt>
                <c:pt idx="8101">
                  <c:v>#N/A</c:v>
                </c:pt>
                <c:pt idx="8102">
                  <c:v>3.0630136986301371</c:v>
                </c:pt>
                <c:pt idx="8103">
                  <c:v>#N/A</c:v>
                </c:pt>
                <c:pt idx="8104">
                  <c:v>3.0630136986301371</c:v>
                </c:pt>
                <c:pt idx="8105">
                  <c:v>#N/A</c:v>
                </c:pt>
                <c:pt idx="8106">
                  <c:v>3.0630136986301371</c:v>
                </c:pt>
                <c:pt idx="8107">
                  <c:v>#N/A</c:v>
                </c:pt>
                <c:pt idx="8108">
                  <c:v>#N/A</c:v>
                </c:pt>
                <c:pt idx="8109">
                  <c:v>3.0630136986301371</c:v>
                </c:pt>
                <c:pt idx="8110">
                  <c:v>#N/A</c:v>
                </c:pt>
                <c:pt idx="8111">
                  <c:v>#N/A</c:v>
                </c:pt>
                <c:pt idx="8112">
                  <c:v>#N/A</c:v>
                </c:pt>
                <c:pt idx="8113">
                  <c:v>3.0630136986301371</c:v>
                </c:pt>
                <c:pt idx="8114">
                  <c:v>#N/A</c:v>
                </c:pt>
                <c:pt idx="8115">
                  <c:v>#N/A</c:v>
                </c:pt>
                <c:pt idx="8116">
                  <c:v>#N/A</c:v>
                </c:pt>
                <c:pt idx="8117">
                  <c:v>#N/A</c:v>
                </c:pt>
                <c:pt idx="8118">
                  <c:v>#N/A</c:v>
                </c:pt>
                <c:pt idx="8119">
                  <c:v>3.0630136986301371</c:v>
                </c:pt>
                <c:pt idx="8120">
                  <c:v>#N/A</c:v>
                </c:pt>
                <c:pt idx="8121">
                  <c:v>#N/A</c:v>
                </c:pt>
                <c:pt idx="8122">
                  <c:v>#N/A</c:v>
                </c:pt>
                <c:pt idx="8123">
                  <c:v>#N/A</c:v>
                </c:pt>
                <c:pt idx="8124">
                  <c:v>3.0630136986301371</c:v>
                </c:pt>
                <c:pt idx="8125">
                  <c:v>#N/A</c:v>
                </c:pt>
                <c:pt idx="8126">
                  <c:v>3.0630136986301371</c:v>
                </c:pt>
                <c:pt idx="8127">
                  <c:v>#N/A</c:v>
                </c:pt>
                <c:pt idx="8128">
                  <c:v>#N/A</c:v>
                </c:pt>
                <c:pt idx="8129">
                  <c:v>#N/A</c:v>
                </c:pt>
                <c:pt idx="8130">
                  <c:v>#N/A</c:v>
                </c:pt>
                <c:pt idx="8131">
                  <c:v>#N/A</c:v>
                </c:pt>
                <c:pt idx="8132">
                  <c:v>#N/A</c:v>
                </c:pt>
                <c:pt idx="8133">
                  <c:v>#N/A</c:v>
                </c:pt>
                <c:pt idx="8134">
                  <c:v>#N/A</c:v>
                </c:pt>
                <c:pt idx="8135">
                  <c:v>#N/A</c:v>
                </c:pt>
                <c:pt idx="8136">
                  <c:v>#N/A</c:v>
                </c:pt>
                <c:pt idx="8137">
                  <c:v>3.0630136986301371</c:v>
                </c:pt>
                <c:pt idx="8138">
                  <c:v>#N/A</c:v>
                </c:pt>
                <c:pt idx="8139">
                  <c:v>3.0630136986301371</c:v>
                </c:pt>
                <c:pt idx="8140">
                  <c:v>3.0630136986301371</c:v>
                </c:pt>
                <c:pt idx="8141">
                  <c:v>#N/A</c:v>
                </c:pt>
                <c:pt idx="8142">
                  <c:v>#N/A</c:v>
                </c:pt>
                <c:pt idx="8143">
                  <c:v>#N/A</c:v>
                </c:pt>
                <c:pt idx="8144">
                  <c:v>#N/A</c:v>
                </c:pt>
                <c:pt idx="8145">
                  <c:v>#N/A</c:v>
                </c:pt>
                <c:pt idx="8146">
                  <c:v>#N/A</c:v>
                </c:pt>
                <c:pt idx="8147">
                  <c:v>#N/A</c:v>
                </c:pt>
                <c:pt idx="8148">
                  <c:v>3.0630136986301371</c:v>
                </c:pt>
                <c:pt idx="8149">
                  <c:v>#N/A</c:v>
                </c:pt>
                <c:pt idx="8150">
                  <c:v>3.0630136986301371</c:v>
                </c:pt>
                <c:pt idx="8151">
                  <c:v>3.0630136986301371</c:v>
                </c:pt>
                <c:pt idx="8152">
                  <c:v>#N/A</c:v>
                </c:pt>
                <c:pt idx="8153">
                  <c:v>#N/A</c:v>
                </c:pt>
                <c:pt idx="8154">
                  <c:v>#N/A</c:v>
                </c:pt>
                <c:pt idx="8155">
                  <c:v>#N/A</c:v>
                </c:pt>
                <c:pt idx="8156">
                  <c:v>#N/A</c:v>
                </c:pt>
                <c:pt idx="8157">
                  <c:v>#N/A</c:v>
                </c:pt>
                <c:pt idx="8158">
                  <c:v>#N/A</c:v>
                </c:pt>
                <c:pt idx="8159">
                  <c:v>3.0630136986301371</c:v>
                </c:pt>
                <c:pt idx="8160">
                  <c:v>#N/A</c:v>
                </c:pt>
                <c:pt idx="8161">
                  <c:v>#N/A</c:v>
                </c:pt>
                <c:pt idx="8162">
                  <c:v>#N/A</c:v>
                </c:pt>
                <c:pt idx="8163">
                  <c:v>#N/A</c:v>
                </c:pt>
                <c:pt idx="8164">
                  <c:v>#N/A</c:v>
                </c:pt>
                <c:pt idx="8165">
                  <c:v>3.0630136986301371</c:v>
                </c:pt>
                <c:pt idx="8166">
                  <c:v>3.0630136986301371</c:v>
                </c:pt>
                <c:pt idx="8167">
                  <c:v>#N/A</c:v>
                </c:pt>
                <c:pt idx="8168">
                  <c:v>#N/A</c:v>
                </c:pt>
                <c:pt idx="8169">
                  <c:v>3.0630136986301371</c:v>
                </c:pt>
                <c:pt idx="8170">
                  <c:v>#N/A</c:v>
                </c:pt>
                <c:pt idx="8171">
                  <c:v>#N/A</c:v>
                </c:pt>
                <c:pt idx="8172">
                  <c:v>3.0630136986301371</c:v>
                </c:pt>
                <c:pt idx="8173">
                  <c:v>#N/A</c:v>
                </c:pt>
                <c:pt idx="8174">
                  <c:v>#N/A</c:v>
                </c:pt>
                <c:pt idx="8175">
                  <c:v>3.0630136986301371</c:v>
                </c:pt>
                <c:pt idx="8176">
                  <c:v>#N/A</c:v>
                </c:pt>
                <c:pt idx="8177">
                  <c:v>#N/A</c:v>
                </c:pt>
                <c:pt idx="8178">
                  <c:v>3.0630136986301371</c:v>
                </c:pt>
                <c:pt idx="8179">
                  <c:v>#N/A</c:v>
                </c:pt>
                <c:pt idx="8180">
                  <c:v>3.0630136986301371</c:v>
                </c:pt>
                <c:pt idx="8181">
                  <c:v>3.0630136986301371</c:v>
                </c:pt>
                <c:pt idx="8182">
                  <c:v>#N/A</c:v>
                </c:pt>
                <c:pt idx="8183">
                  <c:v>3.0630136986301371</c:v>
                </c:pt>
                <c:pt idx="8184">
                  <c:v>3.0630136986301371</c:v>
                </c:pt>
                <c:pt idx="8185">
                  <c:v>3.0630136986301371</c:v>
                </c:pt>
                <c:pt idx="8186">
                  <c:v>3.0657534246575344</c:v>
                </c:pt>
                <c:pt idx="8187">
                  <c:v>#N/A</c:v>
                </c:pt>
                <c:pt idx="8188">
                  <c:v>#N/A</c:v>
                </c:pt>
                <c:pt idx="8189">
                  <c:v>3.0657534246575344</c:v>
                </c:pt>
                <c:pt idx="8190">
                  <c:v>3.0657534246575344</c:v>
                </c:pt>
                <c:pt idx="8191">
                  <c:v>#N/A</c:v>
                </c:pt>
                <c:pt idx="8192">
                  <c:v>3.0657534246575344</c:v>
                </c:pt>
                <c:pt idx="8193">
                  <c:v>#N/A</c:v>
                </c:pt>
                <c:pt idx="8194">
                  <c:v>#N/A</c:v>
                </c:pt>
                <c:pt idx="8195">
                  <c:v>3.0657534246575344</c:v>
                </c:pt>
                <c:pt idx="8196">
                  <c:v>#N/A</c:v>
                </c:pt>
                <c:pt idx="8197">
                  <c:v>3.0657534246575344</c:v>
                </c:pt>
                <c:pt idx="8198">
                  <c:v>#N/A</c:v>
                </c:pt>
                <c:pt idx="8199">
                  <c:v>#N/A</c:v>
                </c:pt>
                <c:pt idx="8200">
                  <c:v>3.0657534246575344</c:v>
                </c:pt>
                <c:pt idx="8201">
                  <c:v>3.0657534246575344</c:v>
                </c:pt>
                <c:pt idx="8202">
                  <c:v>3.0657534246575344</c:v>
                </c:pt>
                <c:pt idx="8203">
                  <c:v>3.0657534246575344</c:v>
                </c:pt>
                <c:pt idx="8204">
                  <c:v>#N/A</c:v>
                </c:pt>
                <c:pt idx="8205">
                  <c:v>#N/A</c:v>
                </c:pt>
                <c:pt idx="8206">
                  <c:v>3.0657534246575344</c:v>
                </c:pt>
                <c:pt idx="8207">
                  <c:v>#N/A</c:v>
                </c:pt>
                <c:pt idx="8208">
                  <c:v>#N/A</c:v>
                </c:pt>
                <c:pt idx="8209">
                  <c:v>#N/A</c:v>
                </c:pt>
                <c:pt idx="8210">
                  <c:v>#N/A</c:v>
                </c:pt>
                <c:pt idx="8211">
                  <c:v>3.0657534246575344</c:v>
                </c:pt>
                <c:pt idx="8212">
                  <c:v>#N/A</c:v>
                </c:pt>
                <c:pt idx="8213">
                  <c:v>#N/A</c:v>
                </c:pt>
                <c:pt idx="8214">
                  <c:v>3.0657534246575344</c:v>
                </c:pt>
                <c:pt idx="8215">
                  <c:v>3.0657534246575344</c:v>
                </c:pt>
                <c:pt idx="8216">
                  <c:v>3.0657534246575344</c:v>
                </c:pt>
                <c:pt idx="8217">
                  <c:v>#N/A</c:v>
                </c:pt>
                <c:pt idx="8218">
                  <c:v>3.0657534246575344</c:v>
                </c:pt>
                <c:pt idx="8219">
                  <c:v>#N/A</c:v>
                </c:pt>
                <c:pt idx="8220">
                  <c:v>#N/A</c:v>
                </c:pt>
                <c:pt idx="8221">
                  <c:v>3.0657534246575344</c:v>
                </c:pt>
                <c:pt idx="8222">
                  <c:v>#N/A</c:v>
                </c:pt>
                <c:pt idx="8223">
                  <c:v>#N/A</c:v>
                </c:pt>
                <c:pt idx="8224">
                  <c:v>#N/A</c:v>
                </c:pt>
                <c:pt idx="8225">
                  <c:v>#N/A</c:v>
                </c:pt>
                <c:pt idx="8226">
                  <c:v>#N/A</c:v>
                </c:pt>
                <c:pt idx="8227">
                  <c:v>#N/A</c:v>
                </c:pt>
                <c:pt idx="8228">
                  <c:v>3.0657534246575344</c:v>
                </c:pt>
                <c:pt idx="8229">
                  <c:v>#N/A</c:v>
                </c:pt>
                <c:pt idx="8230">
                  <c:v>3.0657534246575344</c:v>
                </c:pt>
                <c:pt idx="8231">
                  <c:v>#N/A</c:v>
                </c:pt>
                <c:pt idx="8232">
                  <c:v>#N/A</c:v>
                </c:pt>
                <c:pt idx="8233">
                  <c:v>#N/A</c:v>
                </c:pt>
                <c:pt idx="8234">
                  <c:v>3.0657534246575344</c:v>
                </c:pt>
                <c:pt idx="8235">
                  <c:v>3.0657534246575344</c:v>
                </c:pt>
                <c:pt idx="8236">
                  <c:v>#N/A</c:v>
                </c:pt>
                <c:pt idx="8237">
                  <c:v>3.0657534246575344</c:v>
                </c:pt>
                <c:pt idx="8238">
                  <c:v>#N/A</c:v>
                </c:pt>
                <c:pt idx="8239">
                  <c:v>#N/A</c:v>
                </c:pt>
                <c:pt idx="8240">
                  <c:v>#N/A</c:v>
                </c:pt>
                <c:pt idx="8241">
                  <c:v>#N/A</c:v>
                </c:pt>
                <c:pt idx="8242">
                  <c:v>3.0684931506849313</c:v>
                </c:pt>
                <c:pt idx="8243">
                  <c:v>3.0684931506849313</c:v>
                </c:pt>
                <c:pt idx="8244">
                  <c:v>#N/A</c:v>
                </c:pt>
                <c:pt idx="8245">
                  <c:v>#N/A</c:v>
                </c:pt>
                <c:pt idx="8246">
                  <c:v>#N/A</c:v>
                </c:pt>
                <c:pt idx="8247">
                  <c:v>#N/A</c:v>
                </c:pt>
                <c:pt idx="8248">
                  <c:v>#N/A</c:v>
                </c:pt>
                <c:pt idx="8249">
                  <c:v>3.0684931506849313</c:v>
                </c:pt>
                <c:pt idx="8250">
                  <c:v>#N/A</c:v>
                </c:pt>
                <c:pt idx="8251">
                  <c:v>3.0684931506849313</c:v>
                </c:pt>
                <c:pt idx="8252">
                  <c:v>3.0684931506849313</c:v>
                </c:pt>
                <c:pt idx="8253">
                  <c:v>#N/A</c:v>
                </c:pt>
                <c:pt idx="8254">
                  <c:v>#N/A</c:v>
                </c:pt>
                <c:pt idx="8255">
                  <c:v>3.0684931506849313</c:v>
                </c:pt>
                <c:pt idx="8256">
                  <c:v>3.0684931506849313</c:v>
                </c:pt>
                <c:pt idx="8257">
                  <c:v>#N/A</c:v>
                </c:pt>
                <c:pt idx="8258">
                  <c:v>#N/A</c:v>
                </c:pt>
                <c:pt idx="8259">
                  <c:v>3.0712328767123287</c:v>
                </c:pt>
                <c:pt idx="8260">
                  <c:v>#N/A</c:v>
                </c:pt>
                <c:pt idx="8261">
                  <c:v>#N/A</c:v>
                </c:pt>
                <c:pt idx="8262">
                  <c:v>#N/A</c:v>
                </c:pt>
                <c:pt idx="8263">
                  <c:v>#N/A</c:v>
                </c:pt>
                <c:pt idx="8264">
                  <c:v>#N/A</c:v>
                </c:pt>
                <c:pt idx="8265">
                  <c:v>#N/A</c:v>
                </c:pt>
                <c:pt idx="8266">
                  <c:v>#N/A</c:v>
                </c:pt>
                <c:pt idx="8267">
                  <c:v>3.0821917808219177</c:v>
                </c:pt>
                <c:pt idx="8268">
                  <c:v>#N/A</c:v>
                </c:pt>
                <c:pt idx="8269">
                  <c:v>#N/A</c:v>
                </c:pt>
                <c:pt idx="8270">
                  <c:v>#N/A</c:v>
                </c:pt>
                <c:pt idx="8271">
                  <c:v>3.0849315068493151</c:v>
                </c:pt>
                <c:pt idx="8272">
                  <c:v>3.0849315068493151</c:v>
                </c:pt>
                <c:pt idx="8273">
                  <c:v>#N/A</c:v>
                </c:pt>
                <c:pt idx="8274">
                  <c:v>3.0849315068493151</c:v>
                </c:pt>
                <c:pt idx="8275">
                  <c:v>#N/A</c:v>
                </c:pt>
                <c:pt idx="8276">
                  <c:v>#N/A</c:v>
                </c:pt>
                <c:pt idx="8277">
                  <c:v>3.0876712328767124</c:v>
                </c:pt>
                <c:pt idx="8278">
                  <c:v>3.0876712328767124</c:v>
                </c:pt>
                <c:pt idx="8279">
                  <c:v>3.0876712328767124</c:v>
                </c:pt>
                <c:pt idx="8280">
                  <c:v>3.0876712328767124</c:v>
                </c:pt>
                <c:pt idx="8281">
                  <c:v>#N/A</c:v>
                </c:pt>
                <c:pt idx="8282">
                  <c:v>3.0876712328767124</c:v>
                </c:pt>
                <c:pt idx="8283">
                  <c:v>3.0876712328767124</c:v>
                </c:pt>
                <c:pt idx="8284">
                  <c:v>#N/A</c:v>
                </c:pt>
                <c:pt idx="8285">
                  <c:v>3.0876712328767124</c:v>
                </c:pt>
                <c:pt idx="8286">
                  <c:v>3.0876712328767124</c:v>
                </c:pt>
                <c:pt idx="8287">
                  <c:v>3.0876712328767124</c:v>
                </c:pt>
                <c:pt idx="8288">
                  <c:v>3.0876712328767124</c:v>
                </c:pt>
                <c:pt idx="8289">
                  <c:v>#N/A</c:v>
                </c:pt>
                <c:pt idx="8290">
                  <c:v>3.0904109589041098</c:v>
                </c:pt>
                <c:pt idx="8291">
                  <c:v>#N/A</c:v>
                </c:pt>
                <c:pt idx="8292">
                  <c:v>#N/A</c:v>
                </c:pt>
                <c:pt idx="8293">
                  <c:v>3.0904109589041098</c:v>
                </c:pt>
                <c:pt idx="8294">
                  <c:v>#N/A</c:v>
                </c:pt>
                <c:pt idx="8295">
                  <c:v>#N/A</c:v>
                </c:pt>
                <c:pt idx="8296">
                  <c:v>#N/A</c:v>
                </c:pt>
                <c:pt idx="8297">
                  <c:v>3.0904109589041098</c:v>
                </c:pt>
                <c:pt idx="8298">
                  <c:v>#N/A</c:v>
                </c:pt>
                <c:pt idx="8299">
                  <c:v>#N/A</c:v>
                </c:pt>
                <c:pt idx="8300">
                  <c:v>#N/A</c:v>
                </c:pt>
                <c:pt idx="8301">
                  <c:v>3.0904109589041098</c:v>
                </c:pt>
                <c:pt idx="8302">
                  <c:v>#N/A</c:v>
                </c:pt>
                <c:pt idx="8303">
                  <c:v>3.0904109589041098</c:v>
                </c:pt>
                <c:pt idx="8304">
                  <c:v>#N/A</c:v>
                </c:pt>
                <c:pt idx="8305">
                  <c:v>#N/A</c:v>
                </c:pt>
                <c:pt idx="8306">
                  <c:v>#N/A</c:v>
                </c:pt>
                <c:pt idx="8307">
                  <c:v>#N/A</c:v>
                </c:pt>
                <c:pt idx="8308">
                  <c:v>#N/A</c:v>
                </c:pt>
                <c:pt idx="8309">
                  <c:v>3.0904109589041098</c:v>
                </c:pt>
                <c:pt idx="8310">
                  <c:v>#N/A</c:v>
                </c:pt>
                <c:pt idx="8311">
                  <c:v>#N/A</c:v>
                </c:pt>
                <c:pt idx="8312">
                  <c:v>#N/A</c:v>
                </c:pt>
                <c:pt idx="8313">
                  <c:v>#N/A</c:v>
                </c:pt>
                <c:pt idx="8314">
                  <c:v>#N/A</c:v>
                </c:pt>
                <c:pt idx="8315">
                  <c:v>#N/A</c:v>
                </c:pt>
                <c:pt idx="8316">
                  <c:v>#N/A</c:v>
                </c:pt>
                <c:pt idx="8317">
                  <c:v>#N/A</c:v>
                </c:pt>
                <c:pt idx="8318">
                  <c:v>#N/A</c:v>
                </c:pt>
                <c:pt idx="8319">
                  <c:v>#N/A</c:v>
                </c:pt>
                <c:pt idx="8320">
                  <c:v>3.1013698630136988</c:v>
                </c:pt>
                <c:pt idx="8321">
                  <c:v>#N/A</c:v>
                </c:pt>
                <c:pt idx="8322">
                  <c:v>#N/A</c:v>
                </c:pt>
                <c:pt idx="8323">
                  <c:v>#N/A</c:v>
                </c:pt>
                <c:pt idx="8324">
                  <c:v>3.1013698630136988</c:v>
                </c:pt>
                <c:pt idx="8325">
                  <c:v>#N/A</c:v>
                </c:pt>
                <c:pt idx="8326">
                  <c:v>3.1013698630136988</c:v>
                </c:pt>
                <c:pt idx="8327">
                  <c:v>3.1013698630136988</c:v>
                </c:pt>
                <c:pt idx="8328">
                  <c:v>#N/A</c:v>
                </c:pt>
                <c:pt idx="8329">
                  <c:v>#N/A</c:v>
                </c:pt>
                <c:pt idx="8330">
                  <c:v>#N/A</c:v>
                </c:pt>
                <c:pt idx="8331">
                  <c:v>#N/A</c:v>
                </c:pt>
                <c:pt idx="8332">
                  <c:v>3.1041095890410957</c:v>
                </c:pt>
                <c:pt idx="8333">
                  <c:v>#N/A</c:v>
                </c:pt>
                <c:pt idx="8334">
                  <c:v>3.1041095890410957</c:v>
                </c:pt>
                <c:pt idx="8335">
                  <c:v>#N/A</c:v>
                </c:pt>
                <c:pt idx="8336">
                  <c:v>#N/A</c:v>
                </c:pt>
                <c:pt idx="8337">
                  <c:v>#N/A</c:v>
                </c:pt>
                <c:pt idx="8338">
                  <c:v>#N/A</c:v>
                </c:pt>
                <c:pt idx="8339">
                  <c:v>#N/A</c:v>
                </c:pt>
                <c:pt idx="8340">
                  <c:v>3.1041095890410957</c:v>
                </c:pt>
                <c:pt idx="8341">
                  <c:v>3.1041095890410957</c:v>
                </c:pt>
                <c:pt idx="8342">
                  <c:v>3.1041095890410957</c:v>
                </c:pt>
                <c:pt idx="8343">
                  <c:v>#N/A</c:v>
                </c:pt>
                <c:pt idx="8344">
                  <c:v>#N/A</c:v>
                </c:pt>
                <c:pt idx="8345">
                  <c:v>#N/A</c:v>
                </c:pt>
                <c:pt idx="8346">
                  <c:v>3.1041095890410957</c:v>
                </c:pt>
                <c:pt idx="8347">
                  <c:v>3.1041095890410957</c:v>
                </c:pt>
                <c:pt idx="8348">
                  <c:v>3.1041095890410957</c:v>
                </c:pt>
                <c:pt idx="8349">
                  <c:v>#N/A</c:v>
                </c:pt>
                <c:pt idx="8350">
                  <c:v>#N/A</c:v>
                </c:pt>
                <c:pt idx="8351">
                  <c:v>3.106849315068493</c:v>
                </c:pt>
                <c:pt idx="8352">
                  <c:v>#N/A</c:v>
                </c:pt>
                <c:pt idx="8353">
                  <c:v>#N/A</c:v>
                </c:pt>
                <c:pt idx="8354">
                  <c:v>#N/A</c:v>
                </c:pt>
                <c:pt idx="8355">
                  <c:v>#N/A</c:v>
                </c:pt>
                <c:pt idx="8356">
                  <c:v>3.106849315068493</c:v>
                </c:pt>
                <c:pt idx="8357">
                  <c:v>#N/A</c:v>
                </c:pt>
                <c:pt idx="8358">
                  <c:v>#N/A</c:v>
                </c:pt>
                <c:pt idx="8359">
                  <c:v>#N/A</c:v>
                </c:pt>
                <c:pt idx="8360">
                  <c:v>#N/A</c:v>
                </c:pt>
                <c:pt idx="8361">
                  <c:v>3.106849315068493</c:v>
                </c:pt>
                <c:pt idx="8362">
                  <c:v>#N/A</c:v>
                </c:pt>
                <c:pt idx="8363">
                  <c:v>#N/A</c:v>
                </c:pt>
                <c:pt idx="8364">
                  <c:v>#N/A</c:v>
                </c:pt>
                <c:pt idx="8365">
                  <c:v>#N/A</c:v>
                </c:pt>
                <c:pt idx="8366">
                  <c:v>#N/A</c:v>
                </c:pt>
                <c:pt idx="8367">
                  <c:v>3.1095890410958904</c:v>
                </c:pt>
                <c:pt idx="8368">
                  <c:v>3.1095890410958904</c:v>
                </c:pt>
                <c:pt idx="8369">
                  <c:v>3.1095890410958904</c:v>
                </c:pt>
                <c:pt idx="8370">
                  <c:v>#N/A</c:v>
                </c:pt>
                <c:pt idx="8371">
                  <c:v>#N/A</c:v>
                </c:pt>
                <c:pt idx="8372">
                  <c:v>3.1095890410958904</c:v>
                </c:pt>
                <c:pt idx="8373">
                  <c:v>3.1095890410958904</c:v>
                </c:pt>
                <c:pt idx="8374">
                  <c:v>3.1095890410958904</c:v>
                </c:pt>
                <c:pt idx="8375">
                  <c:v>#N/A</c:v>
                </c:pt>
                <c:pt idx="8376">
                  <c:v>3.1095890410958904</c:v>
                </c:pt>
                <c:pt idx="8377">
                  <c:v>#N/A</c:v>
                </c:pt>
                <c:pt idx="8378">
                  <c:v>3.1095890410958904</c:v>
                </c:pt>
                <c:pt idx="8379">
                  <c:v>3.1095890410958904</c:v>
                </c:pt>
                <c:pt idx="8380">
                  <c:v>#N/A</c:v>
                </c:pt>
                <c:pt idx="8381">
                  <c:v>3.1095890410958904</c:v>
                </c:pt>
                <c:pt idx="8382">
                  <c:v>#N/A</c:v>
                </c:pt>
                <c:pt idx="8383">
                  <c:v>#N/A</c:v>
                </c:pt>
                <c:pt idx="8384">
                  <c:v>3.1095890410958904</c:v>
                </c:pt>
                <c:pt idx="8385">
                  <c:v>3.1095890410958904</c:v>
                </c:pt>
                <c:pt idx="8386">
                  <c:v>3.1095890410958904</c:v>
                </c:pt>
                <c:pt idx="8387">
                  <c:v>#N/A</c:v>
                </c:pt>
                <c:pt idx="8388">
                  <c:v>#N/A</c:v>
                </c:pt>
                <c:pt idx="8389">
                  <c:v>3.1095890410958904</c:v>
                </c:pt>
                <c:pt idx="8390">
                  <c:v>#N/A</c:v>
                </c:pt>
                <c:pt idx="8391">
                  <c:v>3.1123287671232878</c:v>
                </c:pt>
                <c:pt idx="8392">
                  <c:v>#N/A</c:v>
                </c:pt>
                <c:pt idx="8393">
                  <c:v>#N/A</c:v>
                </c:pt>
                <c:pt idx="8394">
                  <c:v>#N/A</c:v>
                </c:pt>
                <c:pt idx="8395">
                  <c:v>3.1123287671232878</c:v>
                </c:pt>
                <c:pt idx="8396">
                  <c:v>#N/A</c:v>
                </c:pt>
                <c:pt idx="8397">
                  <c:v>#N/A</c:v>
                </c:pt>
                <c:pt idx="8398">
                  <c:v>3.1123287671232878</c:v>
                </c:pt>
                <c:pt idx="8399">
                  <c:v>#N/A</c:v>
                </c:pt>
                <c:pt idx="8400">
                  <c:v>3.1123287671232878</c:v>
                </c:pt>
                <c:pt idx="8401">
                  <c:v>3.1123287671232878</c:v>
                </c:pt>
                <c:pt idx="8402">
                  <c:v>3.1123287671232878</c:v>
                </c:pt>
                <c:pt idx="8403">
                  <c:v>3.1123287671232878</c:v>
                </c:pt>
                <c:pt idx="8404">
                  <c:v>3.1123287671232878</c:v>
                </c:pt>
                <c:pt idx="8405">
                  <c:v>3.1123287671232878</c:v>
                </c:pt>
                <c:pt idx="8406">
                  <c:v>#N/A</c:v>
                </c:pt>
                <c:pt idx="8407">
                  <c:v>#N/A</c:v>
                </c:pt>
                <c:pt idx="8408">
                  <c:v>3.1123287671232878</c:v>
                </c:pt>
                <c:pt idx="8409">
                  <c:v>#N/A</c:v>
                </c:pt>
                <c:pt idx="8410">
                  <c:v>#N/A</c:v>
                </c:pt>
                <c:pt idx="8411">
                  <c:v>3.1123287671232878</c:v>
                </c:pt>
                <c:pt idx="8412">
                  <c:v>3.1123287671232878</c:v>
                </c:pt>
                <c:pt idx="8413">
                  <c:v>#N/A</c:v>
                </c:pt>
                <c:pt idx="8414">
                  <c:v>3.1123287671232878</c:v>
                </c:pt>
                <c:pt idx="8415">
                  <c:v>#N/A</c:v>
                </c:pt>
                <c:pt idx="8416">
                  <c:v>#N/A</c:v>
                </c:pt>
                <c:pt idx="8417">
                  <c:v>3.1205479452054794</c:v>
                </c:pt>
                <c:pt idx="8418">
                  <c:v>#N/A</c:v>
                </c:pt>
                <c:pt idx="8419">
                  <c:v>#N/A</c:v>
                </c:pt>
                <c:pt idx="8420">
                  <c:v>3.1205479452054794</c:v>
                </c:pt>
                <c:pt idx="8421">
                  <c:v>#N/A</c:v>
                </c:pt>
                <c:pt idx="8422">
                  <c:v>#N/A</c:v>
                </c:pt>
                <c:pt idx="8423">
                  <c:v>#N/A</c:v>
                </c:pt>
                <c:pt idx="8424">
                  <c:v>3.1232876712328768</c:v>
                </c:pt>
                <c:pt idx="8425">
                  <c:v>#N/A</c:v>
                </c:pt>
                <c:pt idx="8426">
                  <c:v>#N/A</c:v>
                </c:pt>
                <c:pt idx="8427">
                  <c:v>3.1232876712328768</c:v>
                </c:pt>
                <c:pt idx="8428">
                  <c:v>#N/A</c:v>
                </c:pt>
                <c:pt idx="8429">
                  <c:v>3.1232876712328768</c:v>
                </c:pt>
                <c:pt idx="8430">
                  <c:v>3.1232876712328768</c:v>
                </c:pt>
                <c:pt idx="8431">
                  <c:v>#N/A</c:v>
                </c:pt>
                <c:pt idx="8432">
                  <c:v>#N/A</c:v>
                </c:pt>
                <c:pt idx="8433">
                  <c:v>#N/A</c:v>
                </c:pt>
                <c:pt idx="8434">
                  <c:v>#N/A</c:v>
                </c:pt>
                <c:pt idx="8435">
                  <c:v>3.1260273972602741</c:v>
                </c:pt>
                <c:pt idx="8436">
                  <c:v>3.1260273972602741</c:v>
                </c:pt>
                <c:pt idx="8437">
                  <c:v>3.1260273972602741</c:v>
                </c:pt>
                <c:pt idx="8438">
                  <c:v>3.1260273972602741</c:v>
                </c:pt>
                <c:pt idx="8439">
                  <c:v>#N/A</c:v>
                </c:pt>
                <c:pt idx="8440">
                  <c:v>#N/A</c:v>
                </c:pt>
                <c:pt idx="8441">
                  <c:v>3.128767123287671</c:v>
                </c:pt>
                <c:pt idx="8442">
                  <c:v>3.128767123287671</c:v>
                </c:pt>
                <c:pt idx="8443">
                  <c:v>#N/A</c:v>
                </c:pt>
                <c:pt idx="8444">
                  <c:v>#N/A</c:v>
                </c:pt>
                <c:pt idx="8445">
                  <c:v>#N/A</c:v>
                </c:pt>
                <c:pt idx="8446">
                  <c:v>3.128767123287671</c:v>
                </c:pt>
                <c:pt idx="8447">
                  <c:v>3.128767123287671</c:v>
                </c:pt>
                <c:pt idx="8448">
                  <c:v>3.128767123287671</c:v>
                </c:pt>
                <c:pt idx="8449">
                  <c:v>#N/A</c:v>
                </c:pt>
                <c:pt idx="8450">
                  <c:v>3.128767123287671</c:v>
                </c:pt>
                <c:pt idx="8451">
                  <c:v>3.128767123287671</c:v>
                </c:pt>
                <c:pt idx="8452">
                  <c:v>#N/A</c:v>
                </c:pt>
                <c:pt idx="8453">
                  <c:v>#N/A</c:v>
                </c:pt>
                <c:pt idx="8454">
                  <c:v>3.128767123287671</c:v>
                </c:pt>
                <c:pt idx="8455">
                  <c:v>#N/A</c:v>
                </c:pt>
                <c:pt idx="8456">
                  <c:v>#N/A</c:v>
                </c:pt>
                <c:pt idx="8457">
                  <c:v>3.1315068493150684</c:v>
                </c:pt>
                <c:pt idx="8458">
                  <c:v>3.1315068493150684</c:v>
                </c:pt>
                <c:pt idx="8459">
                  <c:v>#N/A</c:v>
                </c:pt>
                <c:pt idx="8460">
                  <c:v>3.1315068493150684</c:v>
                </c:pt>
                <c:pt idx="8461">
                  <c:v>#N/A</c:v>
                </c:pt>
                <c:pt idx="8462">
                  <c:v>#N/A</c:v>
                </c:pt>
                <c:pt idx="8463">
                  <c:v>3.1315068493150684</c:v>
                </c:pt>
                <c:pt idx="8464">
                  <c:v>#N/A</c:v>
                </c:pt>
                <c:pt idx="8465">
                  <c:v>#N/A</c:v>
                </c:pt>
                <c:pt idx="8466">
                  <c:v>#N/A</c:v>
                </c:pt>
                <c:pt idx="8467">
                  <c:v>#N/A</c:v>
                </c:pt>
                <c:pt idx="8468">
                  <c:v>3.1315068493150684</c:v>
                </c:pt>
                <c:pt idx="8469">
                  <c:v>#N/A</c:v>
                </c:pt>
                <c:pt idx="8470">
                  <c:v>3.1315068493150684</c:v>
                </c:pt>
                <c:pt idx="8471">
                  <c:v>#N/A</c:v>
                </c:pt>
                <c:pt idx="8472">
                  <c:v>3.1315068493150684</c:v>
                </c:pt>
                <c:pt idx="8473">
                  <c:v>3.1315068493150684</c:v>
                </c:pt>
                <c:pt idx="8474">
                  <c:v>#N/A</c:v>
                </c:pt>
                <c:pt idx="8475">
                  <c:v>3.1397260273972605</c:v>
                </c:pt>
                <c:pt idx="8476">
                  <c:v>3.1397260273972605</c:v>
                </c:pt>
                <c:pt idx="8477">
                  <c:v>3.1397260273972605</c:v>
                </c:pt>
                <c:pt idx="8478">
                  <c:v>#N/A</c:v>
                </c:pt>
                <c:pt idx="8479">
                  <c:v>#N/A</c:v>
                </c:pt>
                <c:pt idx="8480">
                  <c:v>#N/A</c:v>
                </c:pt>
                <c:pt idx="8481">
                  <c:v>#N/A</c:v>
                </c:pt>
                <c:pt idx="8482">
                  <c:v>#N/A</c:v>
                </c:pt>
                <c:pt idx="8483">
                  <c:v>3.1397260273972605</c:v>
                </c:pt>
                <c:pt idx="8484">
                  <c:v>3.1397260273972605</c:v>
                </c:pt>
                <c:pt idx="8485">
                  <c:v>3.1397260273972605</c:v>
                </c:pt>
                <c:pt idx="8486">
                  <c:v>3.1397260273972605</c:v>
                </c:pt>
                <c:pt idx="8487">
                  <c:v>#N/A</c:v>
                </c:pt>
                <c:pt idx="8488">
                  <c:v>3.1397260273972605</c:v>
                </c:pt>
                <c:pt idx="8489">
                  <c:v>#N/A</c:v>
                </c:pt>
                <c:pt idx="8490">
                  <c:v>#N/A</c:v>
                </c:pt>
                <c:pt idx="8491">
                  <c:v>#N/A</c:v>
                </c:pt>
                <c:pt idx="8492">
                  <c:v>3.1397260273972605</c:v>
                </c:pt>
                <c:pt idx="8493">
                  <c:v>#N/A</c:v>
                </c:pt>
                <c:pt idx="8494">
                  <c:v>#N/A</c:v>
                </c:pt>
                <c:pt idx="8495">
                  <c:v>#N/A</c:v>
                </c:pt>
                <c:pt idx="8496">
                  <c:v>3.1424657534246574</c:v>
                </c:pt>
                <c:pt idx="8497">
                  <c:v>3.1424657534246574</c:v>
                </c:pt>
                <c:pt idx="8498">
                  <c:v>#N/A</c:v>
                </c:pt>
                <c:pt idx="8499">
                  <c:v>#N/A</c:v>
                </c:pt>
                <c:pt idx="8500">
                  <c:v>#N/A</c:v>
                </c:pt>
                <c:pt idx="8501">
                  <c:v>3.1424657534246574</c:v>
                </c:pt>
                <c:pt idx="8502">
                  <c:v>#N/A</c:v>
                </c:pt>
                <c:pt idx="8503">
                  <c:v>#N/A</c:v>
                </c:pt>
                <c:pt idx="8504">
                  <c:v>#N/A</c:v>
                </c:pt>
                <c:pt idx="8505">
                  <c:v>3.1424657534246574</c:v>
                </c:pt>
                <c:pt idx="8506">
                  <c:v>#N/A</c:v>
                </c:pt>
                <c:pt idx="8507">
                  <c:v>#N/A</c:v>
                </c:pt>
                <c:pt idx="8508">
                  <c:v>#N/A</c:v>
                </c:pt>
                <c:pt idx="8509">
                  <c:v>3.1424657534246574</c:v>
                </c:pt>
                <c:pt idx="8510">
                  <c:v>#N/A</c:v>
                </c:pt>
                <c:pt idx="8511">
                  <c:v>3.1424657534246574</c:v>
                </c:pt>
                <c:pt idx="8512">
                  <c:v>3.1424657534246574</c:v>
                </c:pt>
                <c:pt idx="8513">
                  <c:v>3.1424657534246574</c:v>
                </c:pt>
                <c:pt idx="8514">
                  <c:v>#N/A</c:v>
                </c:pt>
                <c:pt idx="8515">
                  <c:v>#N/A</c:v>
                </c:pt>
                <c:pt idx="8516">
                  <c:v>3.1424657534246574</c:v>
                </c:pt>
                <c:pt idx="8517">
                  <c:v>#N/A</c:v>
                </c:pt>
                <c:pt idx="8518">
                  <c:v>3.1424657534246574</c:v>
                </c:pt>
                <c:pt idx="8519">
                  <c:v>#N/A</c:v>
                </c:pt>
                <c:pt idx="8520">
                  <c:v>#N/A</c:v>
                </c:pt>
                <c:pt idx="8521">
                  <c:v>3.1424657534246574</c:v>
                </c:pt>
                <c:pt idx="8522">
                  <c:v>#N/A</c:v>
                </c:pt>
                <c:pt idx="8523">
                  <c:v>#N/A</c:v>
                </c:pt>
                <c:pt idx="8524">
                  <c:v>3.1424657534246574</c:v>
                </c:pt>
                <c:pt idx="8525">
                  <c:v>#N/A</c:v>
                </c:pt>
                <c:pt idx="8526">
                  <c:v>#N/A</c:v>
                </c:pt>
                <c:pt idx="8527">
                  <c:v>3.1452054794520548</c:v>
                </c:pt>
                <c:pt idx="8528">
                  <c:v>#N/A</c:v>
                </c:pt>
                <c:pt idx="8529">
                  <c:v>#N/A</c:v>
                </c:pt>
                <c:pt idx="8530">
                  <c:v>3.1452054794520548</c:v>
                </c:pt>
                <c:pt idx="8531">
                  <c:v>#N/A</c:v>
                </c:pt>
                <c:pt idx="8532">
                  <c:v>#N/A</c:v>
                </c:pt>
                <c:pt idx="8533">
                  <c:v>#N/A</c:v>
                </c:pt>
                <c:pt idx="8534">
                  <c:v>#N/A</c:v>
                </c:pt>
                <c:pt idx="8535">
                  <c:v>3.1506849315068495</c:v>
                </c:pt>
                <c:pt idx="8536">
                  <c:v>#N/A</c:v>
                </c:pt>
                <c:pt idx="8537">
                  <c:v>#N/A</c:v>
                </c:pt>
                <c:pt idx="8538">
                  <c:v>#N/A</c:v>
                </c:pt>
                <c:pt idx="8539">
                  <c:v>#N/A</c:v>
                </c:pt>
                <c:pt idx="8540">
                  <c:v>#N/A</c:v>
                </c:pt>
                <c:pt idx="8541">
                  <c:v>3.1506849315068495</c:v>
                </c:pt>
                <c:pt idx="8542">
                  <c:v>3.1589041095890411</c:v>
                </c:pt>
                <c:pt idx="8543">
                  <c:v>3.1589041095890411</c:v>
                </c:pt>
                <c:pt idx="8544">
                  <c:v>3.1589041095890411</c:v>
                </c:pt>
                <c:pt idx="8545">
                  <c:v>3.1589041095890411</c:v>
                </c:pt>
                <c:pt idx="8546">
                  <c:v>3.1589041095890411</c:v>
                </c:pt>
                <c:pt idx="8547">
                  <c:v>#N/A</c:v>
                </c:pt>
                <c:pt idx="8548">
                  <c:v>3.1589041095890411</c:v>
                </c:pt>
                <c:pt idx="8549">
                  <c:v>#N/A</c:v>
                </c:pt>
                <c:pt idx="8550">
                  <c:v>3.1589041095890411</c:v>
                </c:pt>
                <c:pt idx="8551">
                  <c:v>#N/A</c:v>
                </c:pt>
                <c:pt idx="8552">
                  <c:v>3.1616438356164385</c:v>
                </c:pt>
                <c:pt idx="8553">
                  <c:v>#N/A</c:v>
                </c:pt>
                <c:pt idx="8554">
                  <c:v>#N/A</c:v>
                </c:pt>
                <c:pt idx="8555">
                  <c:v>#N/A</c:v>
                </c:pt>
                <c:pt idx="8556">
                  <c:v>#N/A</c:v>
                </c:pt>
                <c:pt idx="8557">
                  <c:v>3.1643835616438358</c:v>
                </c:pt>
                <c:pt idx="8558">
                  <c:v>#N/A</c:v>
                </c:pt>
                <c:pt idx="8559">
                  <c:v>#N/A</c:v>
                </c:pt>
                <c:pt idx="8560">
                  <c:v>#N/A</c:v>
                </c:pt>
                <c:pt idx="8561">
                  <c:v>#N/A</c:v>
                </c:pt>
                <c:pt idx="8562">
                  <c:v>#N/A</c:v>
                </c:pt>
                <c:pt idx="8563">
                  <c:v>#N/A</c:v>
                </c:pt>
                <c:pt idx="8564">
                  <c:v>#N/A</c:v>
                </c:pt>
                <c:pt idx="8565">
                  <c:v>#N/A</c:v>
                </c:pt>
                <c:pt idx="8566">
                  <c:v>3.1643835616438358</c:v>
                </c:pt>
                <c:pt idx="8567">
                  <c:v>#N/A</c:v>
                </c:pt>
                <c:pt idx="8568">
                  <c:v>#N/A</c:v>
                </c:pt>
                <c:pt idx="8569">
                  <c:v>3.1671232876712327</c:v>
                </c:pt>
                <c:pt idx="8570">
                  <c:v>#N/A</c:v>
                </c:pt>
                <c:pt idx="8571">
                  <c:v>#N/A</c:v>
                </c:pt>
                <c:pt idx="8572">
                  <c:v>#N/A</c:v>
                </c:pt>
                <c:pt idx="8573">
                  <c:v>#N/A</c:v>
                </c:pt>
                <c:pt idx="8574">
                  <c:v>#N/A</c:v>
                </c:pt>
                <c:pt idx="8575">
                  <c:v>3.1698630136986301</c:v>
                </c:pt>
                <c:pt idx="8576">
                  <c:v>#N/A</c:v>
                </c:pt>
                <c:pt idx="8577">
                  <c:v>3.1780821917808217</c:v>
                </c:pt>
                <c:pt idx="8578">
                  <c:v>#N/A</c:v>
                </c:pt>
                <c:pt idx="8579">
                  <c:v>#N/A</c:v>
                </c:pt>
                <c:pt idx="8580">
                  <c:v>#N/A</c:v>
                </c:pt>
                <c:pt idx="8581">
                  <c:v>3.1780821917808217</c:v>
                </c:pt>
                <c:pt idx="8582">
                  <c:v>3.1780821917808217</c:v>
                </c:pt>
                <c:pt idx="8583">
                  <c:v>#N/A</c:v>
                </c:pt>
                <c:pt idx="8584">
                  <c:v>3.1780821917808217</c:v>
                </c:pt>
                <c:pt idx="8585">
                  <c:v>3.1780821917808217</c:v>
                </c:pt>
                <c:pt idx="8586">
                  <c:v>#N/A</c:v>
                </c:pt>
                <c:pt idx="8587">
                  <c:v>3.1780821917808217</c:v>
                </c:pt>
                <c:pt idx="8588">
                  <c:v>#N/A</c:v>
                </c:pt>
                <c:pt idx="8589">
                  <c:v>3.1780821917808217</c:v>
                </c:pt>
                <c:pt idx="8590">
                  <c:v>3.1780821917808217</c:v>
                </c:pt>
                <c:pt idx="8591">
                  <c:v>3.1780821917808217</c:v>
                </c:pt>
                <c:pt idx="8592">
                  <c:v>#N/A</c:v>
                </c:pt>
                <c:pt idx="8593">
                  <c:v>#N/A</c:v>
                </c:pt>
                <c:pt idx="8594">
                  <c:v>#N/A</c:v>
                </c:pt>
                <c:pt idx="8595">
                  <c:v>#N/A</c:v>
                </c:pt>
                <c:pt idx="8596">
                  <c:v>#N/A</c:v>
                </c:pt>
                <c:pt idx="8597">
                  <c:v>#N/A</c:v>
                </c:pt>
                <c:pt idx="8598">
                  <c:v>3.1780821917808217</c:v>
                </c:pt>
                <c:pt idx="8599">
                  <c:v>3.1780821917808217</c:v>
                </c:pt>
                <c:pt idx="8600">
                  <c:v>3.1780821917808217</c:v>
                </c:pt>
                <c:pt idx="8601">
                  <c:v>#N/A</c:v>
                </c:pt>
                <c:pt idx="8602">
                  <c:v>3.1780821917808217</c:v>
                </c:pt>
                <c:pt idx="8603">
                  <c:v>3.1780821917808217</c:v>
                </c:pt>
                <c:pt idx="8604">
                  <c:v>3.1780821917808217</c:v>
                </c:pt>
                <c:pt idx="8605">
                  <c:v>#N/A</c:v>
                </c:pt>
                <c:pt idx="8606">
                  <c:v>#N/A</c:v>
                </c:pt>
                <c:pt idx="8607">
                  <c:v>#N/A</c:v>
                </c:pt>
                <c:pt idx="8608">
                  <c:v>#N/A</c:v>
                </c:pt>
                <c:pt idx="8609">
                  <c:v>3.1808219178082191</c:v>
                </c:pt>
                <c:pt idx="8610">
                  <c:v>3.1808219178082191</c:v>
                </c:pt>
                <c:pt idx="8611">
                  <c:v>#N/A</c:v>
                </c:pt>
                <c:pt idx="8612">
                  <c:v>#N/A</c:v>
                </c:pt>
                <c:pt idx="8613">
                  <c:v>#N/A</c:v>
                </c:pt>
                <c:pt idx="8614">
                  <c:v>#N/A</c:v>
                </c:pt>
                <c:pt idx="8615">
                  <c:v>3.1808219178082191</c:v>
                </c:pt>
                <c:pt idx="8616">
                  <c:v>#N/A</c:v>
                </c:pt>
                <c:pt idx="8617">
                  <c:v>#N/A</c:v>
                </c:pt>
                <c:pt idx="8618">
                  <c:v>#N/A</c:v>
                </c:pt>
                <c:pt idx="8619">
                  <c:v>#N/A</c:v>
                </c:pt>
                <c:pt idx="8620">
                  <c:v>#N/A</c:v>
                </c:pt>
                <c:pt idx="8621">
                  <c:v>#N/A</c:v>
                </c:pt>
                <c:pt idx="8622">
                  <c:v>#N/A</c:v>
                </c:pt>
                <c:pt idx="8623">
                  <c:v>3.1863013698630138</c:v>
                </c:pt>
                <c:pt idx="8624">
                  <c:v>#N/A</c:v>
                </c:pt>
                <c:pt idx="8625">
                  <c:v>#N/A</c:v>
                </c:pt>
                <c:pt idx="8626">
                  <c:v>#N/A</c:v>
                </c:pt>
                <c:pt idx="8627">
                  <c:v>#N/A</c:v>
                </c:pt>
                <c:pt idx="8628">
                  <c:v>3.1863013698630138</c:v>
                </c:pt>
                <c:pt idx="8629">
                  <c:v>3.1863013698630138</c:v>
                </c:pt>
                <c:pt idx="8630">
                  <c:v>#N/A</c:v>
                </c:pt>
                <c:pt idx="8631">
                  <c:v>3.1890410958904107</c:v>
                </c:pt>
                <c:pt idx="8632">
                  <c:v>3.1890410958904107</c:v>
                </c:pt>
                <c:pt idx="8633">
                  <c:v>3.1890410958904107</c:v>
                </c:pt>
                <c:pt idx="8634">
                  <c:v>#N/A</c:v>
                </c:pt>
                <c:pt idx="8635">
                  <c:v>3.1972602739726028</c:v>
                </c:pt>
                <c:pt idx="8636">
                  <c:v>#N/A</c:v>
                </c:pt>
                <c:pt idx="8637">
                  <c:v>#N/A</c:v>
                </c:pt>
                <c:pt idx="8638">
                  <c:v>3.2</c:v>
                </c:pt>
                <c:pt idx="8639">
                  <c:v>3.2</c:v>
                </c:pt>
                <c:pt idx="8640">
                  <c:v>3.2</c:v>
                </c:pt>
                <c:pt idx="8641">
                  <c:v>#N/A</c:v>
                </c:pt>
                <c:pt idx="8642">
                  <c:v>#N/A</c:v>
                </c:pt>
                <c:pt idx="8643">
                  <c:v>#N/A</c:v>
                </c:pt>
                <c:pt idx="8644">
                  <c:v>#N/A</c:v>
                </c:pt>
                <c:pt idx="8645">
                  <c:v>#N/A</c:v>
                </c:pt>
                <c:pt idx="8646">
                  <c:v>#N/A</c:v>
                </c:pt>
                <c:pt idx="8647">
                  <c:v>3.2027397260273971</c:v>
                </c:pt>
                <c:pt idx="8648">
                  <c:v>#N/A</c:v>
                </c:pt>
                <c:pt idx="8649">
                  <c:v>#N/A</c:v>
                </c:pt>
                <c:pt idx="8650">
                  <c:v>3.2027397260273971</c:v>
                </c:pt>
                <c:pt idx="8651">
                  <c:v>#N/A</c:v>
                </c:pt>
                <c:pt idx="8652">
                  <c:v>#N/A</c:v>
                </c:pt>
                <c:pt idx="8653">
                  <c:v>#N/A</c:v>
                </c:pt>
                <c:pt idx="8654">
                  <c:v>3.2027397260273971</c:v>
                </c:pt>
                <c:pt idx="8655">
                  <c:v>3.2027397260273971</c:v>
                </c:pt>
                <c:pt idx="8656">
                  <c:v>3.2027397260273971</c:v>
                </c:pt>
                <c:pt idx="8657">
                  <c:v>#N/A</c:v>
                </c:pt>
                <c:pt idx="8658">
                  <c:v>#N/A</c:v>
                </c:pt>
                <c:pt idx="8659">
                  <c:v>3.2027397260273971</c:v>
                </c:pt>
                <c:pt idx="8660">
                  <c:v>#N/A</c:v>
                </c:pt>
                <c:pt idx="8661">
                  <c:v>#N/A</c:v>
                </c:pt>
                <c:pt idx="8662">
                  <c:v>#N/A</c:v>
                </c:pt>
                <c:pt idx="8663">
                  <c:v>#N/A</c:v>
                </c:pt>
                <c:pt idx="8664">
                  <c:v>3.2082191780821918</c:v>
                </c:pt>
                <c:pt idx="8665">
                  <c:v>#N/A</c:v>
                </c:pt>
                <c:pt idx="8666">
                  <c:v>#N/A</c:v>
                </c:pt>
                <c:pt idx="8667">
                  <c:v>#N/A</c:v>
                </c:pt>
                <c:pt idx="8668">
                  <c:v>#N/A</c:v>
                </c:pt>
                <c:pt idx="8669">
                  <c:v>#N/A</c:v>
                </c:pt>
                <c:pt idx="8670">
                  <c:v>#N/A</c:v>
                </c:pt>
                <c:pt idx="8671">
                  <c:v>#N/A</c:v>
                </c:pt>
                <c:pt idx="8672">
                  <c:v>3.2191780821917808</c:v>
                </c:pt>
                <c:pt idx="8673">
                  <c:v>#N/A</c:v>
                </c:pt>
                <c:pt idx="8674">
                  <c:v>3.2191780821917808</c:v>
                </c:pt>
                <c:pt idx="8675">
                  <c:v>#N/A</c:v>
                </c:pt>
                <c:pt idx="8676">
                  <c:v>#N/A</c:v>
                </c:pt>
                <c:pt idx="8677">
                  <c:v>#N/A</c:v>
                </c:pt>
                <c:pt idx="8678">
                  <c:v>#N/A</c:v>
                </c:pt>
                <c:pt idx="8679">
                  <c:v>3.2219178082191782</c:v>
                </c:pt>
                <c:pt idx="8680">
                  <c:v>3.2246575342465755</c:v>
                </c:pt>
                <c:pt idx="8681">
                  <c:v>#N/A</c:v>
                </c:pt>
                <c:pt idx="8682">
                  <c:v>#N/A</c:v>
                </c:pt>
                <c:pt idx="8683">
                  <c:v>#N/A</c:v>
                </c:pt>
                <c:pt idx="8684">
                  <c:v>#N/A</c:v>
                </c:pt>
                <c:pt idx="8685">
                  <c:v>#N/A</c:v>
                </c:pt>
                <c:pt idx="8686">
                  <c:v>3.2383561643835614</c:v>
                </c:pt>
                <c:pt idx="8687">
                  <c:v>3.2383561643835614</c:v>
                </c:pt>
                <c:pt idx="8688">
                  <c:v>3.2383561643835614</c:v>
                </c:pt>
                <c:pt idx="8689">
                  <c:v>#N/A</c:v>
                </c:pt>
                <c:pt idx="8690">
                  <c:v>#N/A</c:v>
                </c:pt>
                <c:pt idx="8691">
                  <c:v>#N/A</c:v>
                </c:pt>
                <c:pt idx="8692">
                  <c:v>3.2410958904109588</c:v>
                </c:pt>
                <c:pt idx="8693">
                  <c:v>#N/A</c:v>
                </c:pt>
                <c:pt idx="8694">
                  <c:v>#N/A</c:v>
                </c:pt>
                <c:pt idx="8695">
                  <c:v>#N/A</c:v>
                </c:pt>
                <c:pt idx="8696">
                  <c:v>#N/A</c:v>
                </c:pt>
                <c:pt idx="8697">
                  <c:v>3.2410958904109588</c:v>
                </c:pt>
                <c:pt idx="8698">
                  <c:v>#N/A</c:v>
                </c:pt>
                <c:pt idx="8699">
                  <c:v>3.2410958904109588</c:v>
                </c:pt>
                <c:pt idx="8700">
                  <c:v>#N/A</c:v>
                </c:pt>
                <c:pt idx="8701">
                  <c:v>3.2438356164383562</c:v>
                </c:pt>
                <c:pt idx="8702">
                  <c:v>#N/A</c:v>
                </c:pt>
                <c:pt idx="8703">
                  <c:v>#N/A</c:v>
                </c:pt>
                <c:pt idx="8704">
                  <c:v>3.2547945205479452</c:v>
                </c:pt>
                <c:pt idx="8705">
                  <c:v>3.2547945205479452</c:v>
                </c:pt>
                <c:pt idx="8706">
                  <c:v>#N/A</c:v>
                </c:pt>
                <c:pt idx="8707">
                  <c:v>3.2575342465753425</c:v>
                </c:pt>
                <c:pt idx="8708">
                  <c:v>#N/A</c:v>
                </c:pt>
                <c:pt idx="8709">
                  <c:v>#N/A</c:v>
                </c:pt>
                <c:pt idx="8710">
                  <c:v>#N/A</c:v>
                </c:pt>
                <c:pt idx="8711">
                  <c:v>#N/A</c:v>
                </c:pt>
                <c:pt idx="8712">
                  <c:v>#N/A</c:v>
                </c:pt>
                <c:pt idx="8713">
                  <c:v>#N/A</c:v>
                </c:pt>
                <c:pt idx="8714">
                  <c:v>3.2657534246575342</c:v>
                </c:pt>
                <c:pt idx="8715">
                  <c:v>3.2657534246575342</c:v>
                </c:pt>
                <c:pt idx="8716">
                  <c:v>3.2739726027397262</c:v>
                </c:pt>
                <c:pt idx="8717">
                  <c:v>3.2739726027397262</c:v>
                </c:pt>
                <c:pt idx="8718">
                  <c:v>3.2739726027397262</c:v>
                </c:pt>
                <c:pt idx="8719">
                  <c:v>#N/A</c:v>
                </c:pt>
                <c:pt idx="8720">
                  <c:v>3.2739726027397262</c:v>
                </c:pt>
                <c:pt idx="8721">
                  <c:v>#N/A</c:v>
                </c:pt>
                <c:pt idx="8722">
                  <c:v>#N/A</c:v>
                </c:pt>
                <c:pt idx="8723">
                  <c:v>3.2767123287671232</c:v>
                </c:pt>
                <c:pt idx="8724">
                  <c:v>3.2767123287671232</c:v>
                </c:pt>
                <c:pt idx="8725">
                  <c:v>#N/A</c:v>
                </c:pt>
                <c:pt idx="8726">
                  <c:v>#N/A</c:v>
                </c:pt>
                <c:pt idx="8727">
                  <c:v>#N/A</c:v>
                </c:pt>
                <c:pt idx="8728">
                  <c:v>#N/A</c:v>
                </c:pt>
                <c:pt idx="8729">
                  <c:v>3.2794520547945205</c:v>
                </c:pt>
                <c:pt idx="8730">
                  <c:v>3.2794520547945205</c:v>
                </c:pt>
                <c:pt idx="8731">
                  <c:v>3.2849315068493152</c:v>
                </c:pt>
                <c:pt idx="8732">
                  <c:v>3.2849315068493152</c:v>
                </c:pt>
                <c:pt idx="8733">
                  <c:v>3.2849315068493152</c:v>
                </c:pt>
                <c:pt idx="8734">
                  <c:v>#N/A</c:v>
                </c:pt>
                <c:pt idx="8735">
                  <c:v>#N/A</c:v>
                </c:pt>
                <c:pt idx="8736">
                  <c:v>3.2931506849315069</c:v>
                </c:pt>
                <c:pt idx="8737">
                  <c:v>#N/A</c:v>
                </c:pt>
                <c:pt idx="8738">
                  <c:v>3.2958904109589042</c:v>
                </c:pt>
                <c:pt idx="8739">
                  <c:v>3.2958904109589042</c:v>
                </c:pt>
                <c:pt idx="8740">
                  <c:v>3.2958904109589042</c:v>
                </c:pt>
                <c:pt idx="8741">
                  <c:v>#N/A</c:v>
                </c:pt>
                <c:pt idx="8742">
                  <c:v>#N/A</c:v>
                </c:pt>
                <c:pt idx="8743">
                  <c:v>#N/A</c:v>
                </c:pt>
                <c:pt idx="8744">
                  <c:v>#N/A</c:v>
                </c:pt>
                <c:pt idx="8745">
                  <c:v>3.2986301369863016</c:v>
                </c:pt>
                <c:pt idx="8746">
                  <c:v>#N/A</c:v>
                </c:pt>
                <c:pt idx="8747">
                  <c:v>#N/A</c:v>
                </c:pt>
                <c:pt idx="8748">
                  <c:v>3.3013698630136985</c:v>
                </c:pt>
                <c:pt idx="8749">
                  <c:v>#N/A</c:v>
                </c:pt>
                <c:pt idx="8750">
                  <c:v>#N/A</c:v>
                </c:pt>
                <c:pt idx="8751">
                  <c:v>#N/A</c:v>
                </c:pt>
                <c:pt idx="8752">
                  <c:v>#N/A</c:v>
                </c:pt>
                <c:pt idx="8753">
                  <c:v>#N/A</c:v>
                </c:pt>
                <c:pt idx="8754">
                  <c:v>3.3123287671232875</c:v>
                </c:pt>
                <c:pt idx="8755">
                  <c:v>3.3123287671232875</c:v>
                </c:pt>
                <c:pt idx="8756">
                  <c:v>#N/A</c:v>
                </c:pt>
                <c:pt idx="8757">
                  <c:v>#N/A</c:v>
                </c:pt>
                <c:pt idx="8758">
                  <c:v>3.3178082191780822</c:v>
                </c:pt>
                <c:pt idx="8759">
                  <c:v>#N/A</c:v>
                </c:pt>
                <c:pt idx="8760">
                  <c:v>#N/A</c:v>
                </c:pt>
                <c:pt idx="8761">
                  <c:v>#N/A</c:v>
                </c:pt>
                <c:pt idx="8762">
                  <c:v>3.3205479452054796</c:v>
                </c:pt>
                <c:pt idx="8763">
                  <c:v>#N/A</c:v>
                </c:pt>
                <c:pt idx="8764">
                  <c:v>3.3232876712328765</c:v>
                </c:pt>
                <c:pt idx="8765">
                  <c:v>3.3232876712328765</c:v>
                </c:pt>
                <c:pt idx="8766">
                  <c:v>#N/A</c:v>
                </c:pt>
                <c:pt idx="8767">
                  <c:v>#N/A</c:v>
                </c:pt>
                <c:pt idx="8768">
                  <c:v>3.3342465753424659</c:v>
                </c:pt>
                <c:pt idx="8769">
                  <c:v>3.3342465753424659</c:v>
                </c:pt>
                <c:pt idx="8770">
                  <c:v>#N/A</c:v>
                </c:pt>
                <c:pt idx="8771">
                  <c:v>#N/A</c:v>
                </c:pt>
                <c:pt idx="8772">
                  <c:v>#N/A</c:v>
                </c:pt>
                <c:pt idx="8773">
                  <c:v>#N/A</c:v>
                </c:pt>
                <c:pt idx="8774">
                  <c:v>#N/A</c:v>
                </c:pt>
                <c:pt idx="8775">
                  <c:v>3.3397260273972602</c:v>
                </c:pt>
                <c:pt idx="8776">
                  <c:v>#N/A</c:v>
                </c:pt>
                <c:pt idx="8777">
                  <c:v>3.3397260273972602</c:v>
                </c:pt>
                <c:pt idx="8778">
                  <c:v>#N/A</c:v>
                </c:pt>
                <c:pt idx="8779">
                  <c:v>3.3424657534246576</c:v>
                </c:pt>
                <c:pt idx="8780">
                  <c:v>3.3424657534246576</c:v>
                </c:pt>
                <c:pt idx="8781">
                  <c:v>3.3424657534246576</c:v>
                </c:pt>
                <c:pt idx="8782">
                  <c:v>3.3424657534246576</c:v>
                </c:pt>
                <c:pt idx="8783">
                  <c:v>3.3424657534246576</c:v>
                </c:pt>
                <c:pt idx="8784">
                  <c:v>3.3424657534246576</c:v>
                </c:pt>
                <c:pt idx="8785">
                  <c:v>#N/A</c:v>
                </c:pt>
                <c:pt idx="8786">
                  <c:v>#N/A</c:v>
                </c:pt>
                <c:pt idx="8787">
                  <c:v>#N/A</c:v>
                </c:pt>
                <c:pt idx="8788">
                  <c:v>3.3534246575342466</c:v>
                </c:pt>
                <c:pt idx="8789">
                  <c:v>#N/A</c:v>
                </c:pt>
                <c:pt idx="8790">
                  <c:v>3.3534246575342466</c:v>
                </c:pt>
                <c:pt idx="8791">
                  <c:v>3.3561643835616439</c:v>
                </c:pt>
                <c:pt idx="8792">
                  <c:v>3.3561643835616439</c:v>
                </c:pt>
                <c:pt idx="8793">
                  <c:v>#N/A</c:v>
                </c:pt>
                <c:pt idx="8794">
                  <c:v>3.3589041095890413</c:v>
                </c:pt>
                <c:pt idx="8795">
                  <c:v>3.3589041095890413</c:v>
                </c:pt>
                <c:pt idx="8796">
                  <c:v>#N/A</c:v>
                </c:pt>
                <c:pt idx="8797">
                  <c:v>#N/A</c:v>
                </c:pt>
                <c:pt idx="8798">
                  <c:v>#N/A</c:v>
                </c:pt>
                <c:pt idx="8799">
                  <c:v>3.3616438356164382</c:v>
                </c:pt>
                <c:pt idx="8800">
                  <c:v>#N/A</c:v>
                </c:pt>
                <c:pt idx="8801">
                  <c:v>3.3698630136986303</c:v>
                </c:pt>
                <c:pt idx="8802">
                  <c:v>3.3698630136986303</c:v>
                </c:pt>
                <c:pt idx="8803">
                  <c:v>#N/A</c:v>
                </c:pt>
                <c:pt idx="8804">
                  <c:v>3.3698630136986303</c:v>
                </c:pt>
                <c:pt idx="8805">
                  <c:v>3.3698630136986303</c:v>
                </c:pt>
                <c:pt idx="8806">
                  <c:v>#N/A</c:v>
                </c:pt>
                <c:pt idx="8807">
                  <c:v>3.3726027397260272</c:v>
                </c:pt>
                <c:pt idx="8808">
                  <c:v>#N/A</c:v>
                </c:pt>
                <c:pt idx="8809">
                  <c:v>#N/A</c:v>
                </c:pt>
                <c:pt idx="8810">
                  <c:v>#N/A</c:v>
                </c:pt>
                <c:pt idx="8811">
                  <c:v>#N/A</c:v>
                </c:pt>
                <c:pt idx="8812">
                  <c:v>3.3726027397260272</c:v>
                </c:pt>
                <c:pt idx="8813">
                  <c:v>#N/A</c:v>
                </c:pt>
                <c:pt idx="8814">
                  <c:v>#N/A</c:v>
                </c:pt>
                <c:pt idx="8815">
                  <c:v>#N/A</c:v>
                </c:pt>
                <c:pt idx="8816">
                  <c:v>#N/A</c:v>
                </c:pt>
                <c:pt idx="8817">
                  <c:v>#N/A</c:v>
                </c:pt>
                <c:pt idx="8818">
                  <c:v>#N/A</c:v>
                </c:pt>
                <c:pt idx="8819">
                  <c:v>3.3753424657534246</c:v>
                </c:pt>
                <c:pt idx="8820">
                  <c:v>#N/A</c:v>
                </c:pt>
                <c:pt idx="8821">
                  <c:v>#N/A</c:v>
                </c:pt>
                <c:pt idx="8822">
                  <c:v>#N/A</c:v>
                </c:pt>
                <c:pt idx="8823">
                  <c:v>#N/A</c:v>
                </c:pt>
                <c:pt idx="8824">
                  <c:v>3.3890410958904109</c:v>
                </c:pt>
                <c:pt idx="8825">
                  <c:v>3.3890410958904109</c:v>
                </c:pt>
                <c:pt idx="8826">
                  <c:v>3.3890410958904109</c:v>
                </c:pt>
                <c:pt idx="8827">
                  <c:v>#N/A</c:v>
                </c:pt>
                <c:pt idx="8828">
                  <c:v>#N/A</c:v>
                </c:pt>
                <c:pt idx="8829">
                  <c:v>#N/A</c:v>
                </c:pt>
                <c:pt idx="8830">
                  <c:v>#N/A</c:v>
                </c:pt>
                <c:pt idx="8831">
                  <c:v>#N/A</c:v>
                </c:pt>
                <c:pt idx="8832">
                  <c:v>#N/A</c:v>
                </c:pt>
                <c:pt idx="8833">
                  <c:v>#N/A</c:v>
                </c:pt>
                <c:pt idx="8834">
                  <c:v>3.3890410958904109</c:v>
                </c:pt>
                <c:pt idx="8835">
                  <c:v>#N/A</c:v>
                </c:pt>
                <c:pt idx="8836">
                  <c:v>#N/A</c:v>
                </c:pt>
                <c:pt idx="8837">
                  <c:v>#N/A</c:v>
                </c:pt>
                <c:pt idx="8838">
                  <c:v>#N/A</c:v>
                </c:pt>
                <c:pt idx="8839">
                  <c:v>#N/A</c:v>
                </c:pt>
                <c:pt idx="8840">
                  <c:v>#N/A</c:v>
                </c:pt>
                <c:pt idx="8841">
                  <c:v>#N/A</c:v>
                </c:pt>
                <c:pt idx="8842">
                  <c:v>#N/A</c:v>
                </c:pt>
                <c:pt idx="8843">
                  <c:v>3.3890410958904109</c:v>
                </c:pt>
                <c:pt idx="8844">
                  <c:v>#N/A</c:v>
                </c:pt>
                <c:pt idx="8845">
                  <c:v>#N/A</c:v>
                </c:pt>
                <c:pt idx="8846">
                  <c:v>#N/A</c:v>
                </c:pt>
                <c:pt idx="8847">
                  <c:v>#N/A</c:v>
                </c:pt>
                <c:pt idx="8848">
                  <c:v>#N/A</c:v>
                </c:pt>
                <c:pt idx="8849">
                  <c:v>#N/A</c:v>
                </c:pt>
                <c:pt idx="8850">
                  <c:v>#N/A</c:v>
                </c:pt>
                <c:pt idx="8851">
                  <c:v>#N/A</c:v>
                </c:pt>
                <c:pt idx="8852">
                  <c:v>#N/A</c:v>
                </c:pt>
                <c:pt idx="8853">
                  <c:v>3.3945205479452056</c:v>
                </c:pt>
                <c:pt idx="8854">
                  <c:v>#N/A</c:v>
                </c:pt>
                <c:pt idx="8855">
                  <c:v>#N/A</c:v>
                </c:pt>
                <c:pt idx="8856">
                  <c:v>3.3972602739726026</c:v>
                </c:pt>
                <c:pt idx="8857">
                  <c:v>#N/A</c:v>
                </c:pt>
                <c:pt idx="8858">
                  <c:v>3.3972602739726026</c:v>
                </c:pt>
                <c:pt idx="8859">
                  <c:v>#N/A</c:v>
                </c:pt>
                <c:pt idx="8860">
                  <c:v>3.4</c:v>
                </c:pt>
                <c:pt idx="8861">
                  <c:v>#N/A</c:v>
                </c:pt>
                <c:pt idx="8862">
                  <c:v>#N/A</c:v>
                </c:pt>
                <c:pt idx="8863">
                  <c:v>#N/A</c:v>
                </c:pt>
                <c:pt idx="8864">
                  <c:v>#N/A</c:v>
                </c:pt>
                <c:pt idx="8865">
                  <c:v>#N/A</c:v>
                </c:pt>
                <c:pt idx="8866">
                  <c:v>#N/A</c:v>
                </c:pt>
                <c:pt idx="8867">
                  <c:v>3.4</c:v>
                </c:pt>
                <c:pt idx="8868">
                  <c:v>#N/A</c:v>
                </c:pt>
                <c:pt idx="8869">
                  <c:v>#N/A</c:v>
                </c:pt>
                <c:pt idx="8870">
                  <c:v>3.408219178082192</c:v>
                </c:pt>
                <c:pt idx="8871">
                  <c:v>#N/A</c:v>
                </c:pt>
                <c:pt idx="8872">
                  <c:v>#N/A</c:v>
                </c:pt>
                <c:pt idx="8873">
                  <c:v>3.408219178082192</c:v>
                </c:pt>
                <c:pt idx="8874">
                  <c:v>3.408219178082192</c:v>
                </c:pt>
                <c:pt idx="8875">
                  <c:v>3.408219178082192</c:v>
                </c:pt>
                <c:pt idx="8876">
                  <c:v>#N/A</c:v>
                </c:pt>
                <c:pt idx="8877">
                  <c:v>#N/A</c:v>
                </c:pt>
                <c:pt idx="8878">
                  <c:v>3.4136986301369863</c:v>
                </c:pt>
                <c:pt idx="8879">
                  <c:v>#N/A</c:v>
                </c:pt>
                <c:pt idx="8880">
                  <c:v>3.4136986301369863</c:v>
                </c:pt>
                <c:pt idx="8881">
                  <c:v>3.4164383561643836</c:v>
                </c:pt>
                <c:pt idx="8882">
                  <c:v>#N/A</c:v>
                </c:pt>
                <c:pt idx="8883">
                  <c:v>#N/A</c:v>
                </c:pt>
                <c:pt idx="8884">
                  <c:v>3.4164383561643836</c:v>
                </c:pt>
                <c:pt idx="8885">
                  <c:v>#N/A</c:v>
                </c:pt>
                <c:pt idx="8886">
                  <c:v>3.4164383561643836</c:v>
                </c:pt>
                <c:pt idx="8887">
                  <c:v>#N/A</c:v>
                </c:pt>
                <c:pt idx="8888">
                  <c:v>3.419178082191781</c:v>
                </c:pt>
                <c:pt idx="8889">
                  <c:v>3.4246575342465753</c:v>
                </c:pt>
                <c:pt idx="8890">
                  <c:v>#N/A</c:v>
                </c:pt>
                <c:pt idx="8891">
                  <c:v>#N/A</c:v>
                </c:pt>
                <c:pt idx="8892">
                  <c:v>3.4273972602739726</c:v>
                </c:pt>
                <c:pt idx="8893">
                  <c:v>3.4273972602739726</c:v>
                </c:pt>
                <c:pt idx="8894">
                  <c:v>#N/A</c:v>
                </c:pt>
                <c:pt idx="8895">
                  <c:v>#N/A</c:v>
                </c:pt>
                <c:pt idx="8896">
                  <c:v>#N/A</c:v>
                </c:pt>
                <c:pt idx="8897">
                  <c:v>3.4273972602739726</c:v>
                </c:pt>
                <c:pt idx="8898">
                  <c:v>3.4273972602739726</c:v>
                </c:pt>
                <c:pt idx="8899">
                  <c:v>3.4273972602739726</c:v>
                </c:pt>
                <c:pt idx="8900">
                  <c:v>3.4273972602739726</c:v>
                </c:pt>
                <c:pt idx="8901">
                  <c:v>#N/A</c:v>
                </c:pt>
                <c:pt idx="8902">
                  <c:v>#N/A</c:v>
                </c:pt>
                <c:pt idx="8903">
                  <c:v>3.4273972602739726</c:v>
                </c:pt>
                <c:pt idx="8904">
                  <c:v>#N/A</c:v>
                </c:pt>
                <c:pt idx="8905">
                  <c:v>3.4273972602739726</c:v>
                </c:pt>
                <c:pt idx="8906">
                  <c:v>3.4273972602739726</c:v>
                </c:pt>
                <c:pt idx="8907">
                  <c:v>3.4273972602739726</c:v>
                </c:pt>
                <c:pt idx="8908">
                  <c:v>3.4273972602739726</c:v>
                </c:pt>
                <c:pt idx="8909">
                  <c:v>3.4273972602739726</c:v>
                </c:pt>
                <c:pt idx="8910">
                  <c:v>#N/A</c:v>
                </c:pt>
                <c:pt idx="8911">
                  <c:v>#N/A</c:v>
                </c:pt>
                <c:pt idx="8912">
                  <c:v>3.4273972602739726</c:v>
                </c:pt>
                <c:pt idx="8913">
                  <c:v>3.4273972602739726</c:v>
                </c:pt>
                <c:pt idx="8914">
                  <c:v>#N/A</c:v>
                </c:pt>
                <c:pt idx="8915">
                  <c:v>#N/A</c:v>
                </c:pt>
                <c:pt idx="8916">
                  <c:v>#N/A</c:v>
                </c:pt>
                <c:pt idx="8917">
                  <c:v>3.43013698630137</c:v>
                </c:pt>
                <c:pt idx="8918">
                  <c:v>#N/A</c:v>
                </c:pt>
                <c:pt idx="8919">
                  <c:v>#N/A</c:v>
                </c:pt>
                <c:pt idx="8920">
                  <c:v>#N/A</c:v>
                </c:pt>
                <c:pt idx="8921">
                  <c:v>#N/A</c:v>
                </c:pt>
                <c:pt idx="8922">
                  <c:v>#N/A</c:v>
                </c:pt>
                <c:pt idx="8923">
                  <c:v>#N/A</c:v>
                </c:pt>
                <c:pt idx="8924">
                  <c:v>#N/A</c:v>
                </c:pt>
                <c:pt idx="8925">
                  <c:v>3.43013698630137</c:v>
                </c:pt>
                <c:pt idx="8926">
                  <c:v>3.43013698630137</c:v>
                </c:pt>
                <c:pt idx="8927">
                  <c:v>3.43013698630137</c:v>
                </c:pt>
                <c:pt idx="8928">
                  <c:v>3.43013698630137</c:v>
                </c:pt>
                <c:pt idx="8929">
                  <c:v>#N/A</c:v>
                </c:pt>
                <c:pt idx="8930">
                  <c:v>3.4328767123287673</c:v>
                </c:pt>
                <c:pt idx="8931">
                  <c:v>3.4328767123287673</c:v>
                </c:pt>
                <c:pt idx="8932">
                  <c:v>#N/A</c:v>
                </c:pt>
                <c:pt idx="8933">
                  <c:v>3.4328767123287673</c:v>
                </c:pt>
                <c:pt idx="8934">
                  <c:v>#N/A</c:v>
                </c:pt>
                <c:pt idx="8935">
                  <c:v>#N/A</c:v>
                </c:pt>
                <c:pt idx="8936">
                  <c:v>3.4356164383561643</c:v>
                </c:pt>
                <c:pt idx="8937">
                  <c:v>#N/A</c:v>
                </c:pt>
                <c:pt idx="8938">
                  <c:v>#N/A</c:v>
                </c:pt>
                <c:pt idx="8939">
                  <c:v>#N/A</c:v>
                </c:pt>
                <c:pt idx="8940">
                  <c:v>3.4383561643835616</c:v>
                </c:pt>
                <c:pt idx="8941">
                  <c:v>#N/A</c:v>
                </c:pt>
                <c:pt idx="8942">
                  <c:v>#N/A</c:v>
                </c:pt>
                <c:pt idx="8943">
                  <c:v>3.4383561643835616</c:v>
                </c:pt>
                <c:pt idx="8944">
                  <c:v>#N/A</c:v>
                </c:pt>
                <c:pt idx="8945">
                  <c:v>3.4493150684931506</c:v>
                </c:pt>
                <c:pt idx="8946">
                  <c:v>#N/A</c:v>
                </c:pt>
                <c:pt idx="8947">
                  <c:v>#N/A</c:v>
                </c:pt>
                <c:pt idx="8948">
                  <c:v>#N/A</c:v>
                </c:pt>
                <c:pt idx="8949">
                  <c:v>3.452054794520548</c:v>
                </c:pt>
                <c:pt idx="8950">
                  <c:v>3.452054794520548</c:v>
                </c:pt>
                <c:pt idx="8951">
                  <c:v>3.452054794520548</c:v>
                </c:pt>
                <c:pt idx="8952">
                  <c:v>#N/A</c:v>
                </c:pt>
                <c:pt idx="8953">
                  <c:v>#N/A</c:v>
                </c:pt>
                <c:pt idx="8954">
                  <c:v>3.4547945205479453</c:v>
                </c:pt>
                <c:pt idx="8955">
                  <c:v>3.4547945205479453</c:v>
                </c:pt>
                <c:pt idx="8956">
                  <c:v>#N/A</c:v>
                </c:pt>
                <c:pt idx="8957">
                  <c:v>3.4575342465753423</c:v>
                </c:pt>
                <c:pt idx="8958">
                  <c:v>#N/A</c:v>
                </c:pt>
                <c:pt idx="8959">
                  <c:v>#N/A</c:v>
                </c:pt>
                <c:pt idx="8960">
                  <c:v>#N/A</c:v>
                </c:pt>
                <c:pt idx="8961">
                  <c:v>3.4575342465753423</c:v>
                </c:pt>
                <c:pt idx="8962">
                  <c:v>#N/A</c:v>
                </c:pt>
                <c:pt idx="8963">
                  <c:v>#N/A</c:v>
                </c:pt>
                <c:pt idx="8964">
                  <c:v>#N/A</c:v>
                </c:pt>
                <c:pt idx="8965">
                  <c:v>#N/A</c:v>
                </c:pt>
                <c:pt idx="8966">
                  <c:v>#N/A</c:v>
                </c:pt>
                <c:pt idx="8967">
                  <c:v>#N/A</c:v>
                </c:pt>
                <c:pt idx="8968">
                  <c:v>3.4684931506849317</c:v>
                </c:pt>
                <c:pt idx="8969">
                  <c:v>3.4684931506849317</c:v>
                </c:pt>
                <c:pt idx="8970">
                  <c:v>3.4684931506849317</c:v>
                </c:pt>
                <c:pt idx="8971">
                  <c:v>#N/A</c:v>
                </c:pt>
                <c:pt idx="8972">
                  <c:v>3.4684931506849317</c:v>
                </c:pt>
                <c:pt idx="8973">
                  <c:v>3.4684931506849317</c:v>
                </c:pt>
                <c:pt idx="8974">
                  <c:v>#N/A</c:v>
                </c:pt>
                <c:pt idx="8975">
                  <c:v>3.4684931506849317</c:v>
                </c:pt>
                <c:pt idx="8976">
                  <c:v>3.4684931506849317</c:v>
                </c:pt>
                <c:pt idx="8977">
                  <c:v>3.4684931506849317</c:v>
                </c:pt>
                <c:pt idx="8978">
                  <c:v>3.4684931506849317</c:v>
                </c:pt>
                <c:pt idx="8979">
                  <c:v>3.4684931506849317</c:v>
                </c:pt>
                <c:pt idx="8980">
                  <c:v>3.4684931506849317</c:v>
                </c:pt>
                <c:pt idx="8981">
                  <c:v>#N/A</c:v>
                </c:pt>
                <c:pt idx="8982">
                  <c:v>3.4684931506849317</c:v>
                </c:pt>
                <c:pt idx="8983">
                  <c:v>3.4684931506849317</c:v>
                </c:pt>
                <c:pt idx="8984">
                  <c:v>3.4684931506849317</c:v>
                </c:pt>
                <c:pt idx="8985">
                  <c:v>#N/A</c:v>
                </c:pt>
                <c:pt idx="8986">
                  <c:v>3.4684931506849317</c:v>
                </c:pt>
                <c:pt idx="8987">
                  <c:v>#N/A</c:v>
                </c:pt>
                <c:pt idx="8988">
                  <c:v>#N/A</c:v>
                </c:pt>
                <c:pt idx="8989">
                  <c:v>3.4684931506849317</c:v>
                </c:pt>
                <c:pt idx="8990">
                  <c:v>3.4684931506849317</c:v>
                </c:pt>
                <c:pt idx="8991">
                  <c:v>3.4684931506849317</c:v>
                </c:pt>
                <c:pt idx="8992">
                  <c:v>3.4684931506849317</c:v>
                </c:pt>
                <c:pt idx="8993">
                  <c:v>3.4684931506849317</c:v>
                </c:pt>
                <c:pt idx="8994">
                  <c:v>3.4684931506849317</c:v>
                </c:pt>
                <c:pt idx="8995">
                  <c:v>3.4684931506849317</c:v>
                </c:pt>
                <c:pt idx="8996">
                  <c:v>#N/A</c:v>
                </c:pt>
                <c:pt idx="8997">
                  <c:v>3.4684931506849317</c:v>
                </c:pt>
                <c:pt idx="8998">
                  <c:v>3.4684931506849317</c:v>
                </c:pt>
                <c:pt idx="8999">
                  <c:v>3.4684931506849317</c:v>
                </c:pt>
                <c:pt idx="9000">
                  <c:v>3.4684931506849317</c:v>
                </c:pt>
                <c:pt idx="9001">
                  <c:v>#N/A</c:v>
                </c:pt>
                <c:pt idx="9002">
                  <c:v>3.4684931506849317</c:v>
                </c:pt>
                <c:pt idx="9003">
                  <c:v>#N/A</c:v>
                </c:pt>
                <c:pt idx="9004">
                  <c:v>3.4684931506849317</c:v>
                </c:pt>
                <c:pt idx="9005">
                  <c:v>3.4684931506849317</c:v>
                </c:pt>
                <c:pt idx="9006">
                  <c:v>3.4684931506849317</c:v>
                </c:pt>
                <c:pt idx="9007">
                  <c:v>3.4684931506849317</c:v>
                </c:pt>
                <c:pt idx="9008">
                  <c:v>3.4684931506849317</c:v>
                </c:pt>
                <c:pt idx="9009">
                  <c:v>3.4684931506849317</c:v>
                </c:pt>
                <c:pt idx="9010">
                  <c:v>#N/A</c:v>
                </c:pt>
                <c:pt idx="9011">
                  <c:v>3.4684931506849317</c:v>
                </c:pt>
                <c:pt idx="9012">
                  <c:v>#N/A</c:v>
                </c:pt>
                <c:pt idx="9013">
                  <c:v>3.4684931506849317</c:v>
                </c:pt>
                <c:pt idx="9014">
                  <c:v>#N/A</c:v>
                </c:pt>
                <c:pt idx="9015">
                  <c:v>3.4684931506849317</c:v>
                </c:pt>
                <c:pt idx="9016">
                  <c:v>3.4684931506849317</c:v>
                </c:pt>
                <c:pt idx="9017">
                  <c:v>3.4684931506849317</c:v>
                </c:pt>
                <c:pt idx="9018">
                  <c:v>3.4684931506849317</c:v>
                </c:pt>
                <c:pt idx="9019">
                  <c:v>3.4684931506849317</c:v>
                </c:pt>
                <c:pt idx="9020">
                  <c:v>3.4684931506849317</c:v>
                </c:pt>
                <c:pt idx="9021">
                  <c:v>3.4684931506849317</c:v>
                </c:pt>
                <c:pt idx="9022">
                  <c:v>3.4684931506849317</c:v>
                </c:pt>
                <c:pt idx="9023">
                  <c:v>3.4684931506849317</c:v>
                </c:pt>
                <c:pt idx="9024">
                  <c:v>3.4684931506849317</c:v>
                </c:pt>
                <c:pt idx="9025">
                  <c:v>3.4684931506849317</c:v>
                </c:pt>
                <c:pt idx="9026">
                  <c:v>#N/A</c:v>
                </c:pt>
                <c:pt idx="9027">
                  <c:v>3.4684931506849317</c:v>
                </c:pt>
                <c:pt idx="9028">
                  <c:v>3.4684931506849317</c:v>
                </c:pt>
                <c:pt idx="9029">
                  <c:v>3.4684931506849317</c:v>
                </c:pt>
                <c:pt idx="9030">
                  <c:v>3.4684931506849317</c:v>
                </c:pt>
                <c:pt idx="9031">
                  <c:v>3.4684931506849317</c:v>
                </c:pt>
                <c:pt idx="9032">
                  <c:v>#N/A</c:v>
                </c:pt>
                <c:pt idx="9033">
                  <c:v>3.4684931506849317</c:v>
                </c:pt>
                <c:pt idx="9034">
                  <c:v>3.4684931506849317</c:v>
                </c:pt>
                <c:pt idx="9035">
                  <c:v>#N/A</c:v>
                </c:pt>
                <c:pt idx="9036">
                  <c:v>#N/A</c:v>
                </c:pt>
                <c:pt idx="9037">
                  <c:v>#N/A</c:v>
                </c:pt>
                <c:pt idx="9038">
                  <c:v>3.4684931506849317</c:v>
                </c:pt>
                <c:pt idx="9039">
                  <c:v>3.4684931506849317</c:v>
                </c:pt>
                <c:pt idx="9040">
                  <c:v>#N/A</c:v>
                </c:pt>
                <c:pt idx="9041">
                  <c:v>#N/A</c:v>
                </c:pt>
                <c:pt idx="9042">
                  <c:v>3.4684931506849317</c:v>
                </c:pt>
                <c:pt idx="9043">
                  <c:v>3.4684931506849317</c:v>
                </c:pt>
                <c:pt idx="9044">
                  <c:v>3.4684931506849317</c:v>
                </c:pt>
                <c:pt idx="9045">
                  <c:v>3.4684931506849317</c:v>
                </c:pt>
                <c:pt idx="9046">
                  <c:v>3.4684931506849317</c:v>
                </c:pt>
                <c:pt idx="9047">
                  <c:v>3.4684931506849317</c:v>
                </c:pt>
                <c:pt idx="9048">
                  <c:v>3.4684931506849317</c:v>
                </c:pt>
                <c:pt idx="9049">
                  <c:v>3.4684931506849317</c:v>
                </c:pt>
                <c:pt idx="9050">
                  <c:v>3.4684931506849317</c:v>
                </c:pt>
                <c:pt idx="9051">
                  <c:v>3.4684931506849317</c:v>
                </c:pt>
                <c:pt idx="9052">
                  <c:v>3.4684931506849317</c:v>
                </c:pt>
                <c:pt idx="9053">
                  <c:v>#N/A</c:v>
                </c:pt>
                <c:pt idx="9054">
                  <c:v>#N/A</c:v>
                </c:pt>
                <c:pt idx="9055">
                  <c:v>3.4684931506849317</c:v>
                </c:pt>
                <c:pt idx="9056">
                  <c:v>#N/A</c:v>
                </c:pt>
                <c:pt idx="9057">
                  <c:v>#N/A</c:v>
                </c:pt>
                <c:pt idx="9058">
                  <c:v>3.4684931506849317</c:v>
                </c:pt>
                <c:pt idx="9059">
                  <c:v>#N/A</c:v>
                </c:pt>
                <c:pt idx="9060">
                  <c:v>3.4684931506849317</c:v>
                </c:pt>
                <c:pt idx="9061">
                  <c:v>3.4684931506849317</c:v>
                </c:pt>
                <c:pt idx="9062">
                  <c:v>3.4684931506849317</c:v>
                </c:pt>
                <c:pt idx="9063">
                  <c:v>#N/A</c:v>
                </c:pt>
                <c:pt idx="9064">
                  <c:v>3.4684931506849317</c:v>
                </c:pt>
                <c:pt idx="9065">
                  <c:v>#N/A</c:v>
                </c:pt>
                <c:pt idx="9066">
                  <c:v>3.4684931506849317</c:v>
                </c:pt>
                <c:pt idx="9067">
                  <c:v>3.4684931506849317</c:v>
                </c:pt>
                <c:pt idx="9068">
                  <c:v>3.4684931506849317</c:v>
                </c:pt>
                <c:pt idx="9069">
                  <c:v>#N/A</c:v>
                </c:pt>
                <c:pt idx="9070">
                  <c:v>3.4684931506849317</c:v>
                </c:pt>
                <c:pt idx="9071">
                  <c:v>3.4684931506849317</c:v>
                </c:pt>
                <c:pt idx="9072">
                  <c:v>3.4684931506849317</c:v>
                </c:pt>
                <c:pt idx="9073">
                  <c:v>3.4684931506849317</c:v>
                </c:pt>
                <c:pt idx="9074">
                  <c:v>#N/A</c:v>
                </c:pt>
                <c:pt idx="9075">
                  <c:v>3.4684931506849317</c:v>
                </c:pt>
                <c:pt idx="9076">
                  <c:v>3.4684931506849317</c:v>
                </c:pt>
                <c:pt idx="9077">
                  <c:v>3.4684931506849317</c:v>
                </c:pt>
                <c:pt idx="9078">
                  <c:v>3.4684931506849317</c:v>
                </c:pt>
                <c:pt idx="9079">
                  <c:v>#N/A</c:v>
                </c:pt>
                <c:pt idx="9080">
                  <c:v>#N/A</c:v>
                </c:pt>
                <c:pt idx="9081">
                  <c:v>3.4684931506849317</c:v>
                </c:pt>
                <c:pt idx="9082">
                  <c:v>3.4684931506849317</c:v>
                </c:pt>
                <c:pt idx="9083">
                  <c:v>3.4684931506849317</c:v>
                </c:pt>
                <c:pt idx="9084">
                  <c:v>#N/A</c:v>
                </c:pt>
                <c:pt idx="9085">
                  <c:v>3.4684931506849317</c:v>
                </c:pt>
                <c:pt idx="9086">
                  <c:v>#N/A</c:v>
                </c:pt>
                <c:pt idx="9087">
                  <c:v>3.4684931506849317</c:v>
                </c:pt>
                <c:pt idx="9088">
                  <c:v>3.4684931506849317</c:v>
                </c:pt>
                <c:pt idx="9089">
                  <c:v>3.4684931506849317</c:v>
                </c:pt>
                <c:pt idx="9090">
                  <c:v>3.4684931506849317</c:v>
                </c:pt>
                <c:pt idx="9091">
                  <c:v>3.4684931506849317</c:v>
                </c:pt>
                <c:pt idx="9092">
                  <c:v>#N/A</c:v>
                </c:pt>
                <c:pt idx="9093">
                  <c:v>3.4684931506849317</c:v>
                </c:pt>
                <c:pt idx="9094">
                  <c:v>3.4684931506849317</c:v>
                </c:pt>
                <c:pt idx="9095">
                  <c:v>3.4684931506849317</c:v>
                </c:pt>
                <c:pt idx="9096">
                  <c:v>3.4684931506849317</c:v>
                </c:pt>
                <c:pt idx="9097">
                  <c:v>#N/A</c:v>
                </c:pt>
                <c:pt idx="9098">
                  <c:v>3.4684931506849317</c:v>
                </c:pt>
                <c:pt idx="9099">
                  <c:v>3.4684931506849317</c:v>
                </c:pt>
                <c:pt idx="9100">
                  <c:v>3.4684931506849317</c:v>
                </c:pt>
                <c:pt idx="9101">
                  <c:v>3.4684931506849317</c:v>
                </c:pt>
                <c:pt idx="9102">
                  <c:v>3.4684931506849317</c:v>
                </c:pt>
                <c:pt idx="9103">
                  <c:v>#N/A</c:v>
                </c:pt>
                <c:pt idx="9104">
                  <c:v>3.4684931506849317</c:v>
                </c:pt>
                <c:pt idx="9105">
                  <c:v>3.4684931506849317</c:v>
                </c:pt>
                <c:pt idx="9106">
                  <c:v>3.4684931506849317</c:v>
                </c:pt>
                <c:pt idx="9107">
                  <c:v>3.4684931506849317</c:v>
                </c:pt>
                <c:pt idx="9108">
                  <c:v>#N/A</c:v>
                </c:pt>
                <c:pt idx="9109">
                  <c:v>#N/A</c:v>
                </c:pt>
                <c:pt idx="9110">
                  <c:v>3.4684931506849317</c:v>
                </c:pt>
                <c:pt idx="9111">
                  <c:v>3.4684931506849317</c:v>
                </c:pt>
                <c:pt idx="9112">
                  <c:v>3.4684931506849317</c:v>
                </c:pt>
                <c:pt idx="9113">
                  <c:v>3.4684931506849317</c:v>
                </c:pt>
                <c:pt idx="9114">
                  <c:v>3.4684931506849317</c:v>
                </c:pt>
                <c:pt idx="9115">
                  <c:v>3.4684931506849317</c:v>
                </c:pt>
                <c:pt idx="9116">
                  <c:v>#N/A</c:v>
                </c:pt>
                <c:pt idx="9117">
                  <c:v>3.4684931506849317</c:v>
                </c:pt>
                <c:pt idx="9118">
                  <c:v>3.4684931506849317</c:v>
                </c:pt>
                <c:pt idx="9119">
                  <c:v>3.4684931506849317</c:v>
                </c:pt>
                <c:pt idx="9120">
                  <c:v>#N/A</c:v>
                </c:pt>
                <c:pt idx="9121">
                  <c:v>#N/A</c:v>
                </c:pt>
                <c:pt idx="9122">
                  <c:v>3.4684931506849317</c:v>
                </c:pt>
                <c:pt idx="9123">
                  <c:v>3.4684931506849317</c:v>
                </c:pt>
                <c:pt idx="9124">
                  <c:v>#N/A</c:v>
                </c:pt>
                <c:pt idx="9125">
                  <c:v>#N/A</c:v>
                </c:pt>
                <c:pt idx="9126">
                  <c:v>#N/A</c:v>
                </c:pt>
                <c:pt idx="9127">
                  <c:v>3.4684931506849317</c:v>
                </c:pt>
                <c:pt idx="9128">
                  <c:v>#N/A</c:v>
                </c:pt>
                <c:pt idx="9129">
                  <c:v>3.4684931506849317</c:v>
                </c:pt>
                <c:pt idx="9130">
                  <c:v>3.4684931506849317</c:v>
                </c:pt>
                <c:pt idx="9131">
                  <c:v>3.4684931506849317</c:v>
                </c:pt>
                <c:pt idx="9132">
                  <c:v>3.4684931506849317</c:v>
                </c:pt>
                <c:pt idx="9133">
                  <c:v>3.4684931506849317</c:v>
                </c:pt>
                <c:pt idx="9134">
                  <c:v>3.4684931506849317</c:v>
                </c:pt>
                <c:pt idx="9135">
                  <c:v>3.4684931506849317</c:v>
                </c:pt>
                <c:pt idx="9136">
                  <c:v>3.4684931506849317</c:v>
                </c:pt>
                <c:pt idx="9137">
                  <c:v>3.4684931506849317</c:v>
                </c:pt>
                <c:pt idx="9138">
                  <c:v>3.4684931506849317</c:v>
                </c:pt>
                <c:pt idx="9139">
                  <c:v>3.4684931506849317</c:v>
                </c:pt>
                <c:pt idx="9140">
                  <c:v>#N/A</c:v>
                </c:pt>
                <c:pt idx="9141">
                  <c:v>3.4684931506849317</c:v>
                </c:pt>
                <c:pt idx="9142">
                  <c:v>3.4684931506849317</c:v>
                </c:pt>
                <c:pt idx="9143">
                  <c:v>3.4684931506849317</c:v>
                </c:pt>
                <c:pt idx="9144">
                  <c:v>3.4684931506849317</c:v>
                </c:pt>
                <c:pt idx="9145">
                  <c:v>3.4684931506849317</c:v>
                </c:pt>
                <c:pt idx="9146">
                  <c:v>3.4684931506849317</c:v>
                </c:pt>
                <c:pt idx="9147">
                  <c:v>3.4684931506849317</c:v>
                </c:pt>
                <c:pt idx="9148">
                  <c:v>#N/A</c:v>
                </c:pt>
                <c:pt idx="9149">
                  <c:v>#N/A</c:v>
                </c:pt>
                <c:pt idx="9150">
                  <c:v>3.4684931506849317</c:v>
                </c:pt>
                <c:pt idx="9151">
                  <c:v>3.4684931506849317</c:v>
                </c:pt>
                <c:pt idx="9152">
                  <c:v>3.4684931506849317</c:v>
                </c:pt>
                <c:pt idx="9153">
                  <c:v>#N/A</c:v>
                </c:pt>
                <c:pt idx="9154">
                  <c:v>3.4684931506849317</c:v>
                </c:pt>
                <c:pt idx="9155">
                  <c:v>#N/A</c:v>
                </c:pt>
                <c:pt idx="9156">
                  <c:v>3.4684931506849317</c:v>
                </c:pt>
                <c:pt idx="9157">
                  <c:v>3.4684931506849317</c:v>
                </c:pt>
                <c:pt idx="9158">
                  <c:v>3.4684931506849317</c:v>
                </c:pt>
                <c:pt idx="9159">
                  <c:v>#N/A</c:v>
                </c:pt>
                <c:pt idx="9160">
                  <c:v>3.4684931506849317</c:v>
                </c:pt>
                <c:pt idx="9161">
                  <c:v>#N/A</c:v>
                </c:pt>
                <c:pt idx="9162">
                  <c:v>3.4684931506849317</c:v>
                </c:pt>
                <c:pt idx="9163">
                  <c:v>#N/A</c:v>
                </c:pt>
                <c:pt idx="9164">
                  <c:v>3.4684931506849317</c:v>
                </c:pt>
                <c:pt idx="9165">
                  <c:v>#N/A</c:v>
                </c:pt>
                <c:pt idx="9166">
                  <c:v>3.4684931506849317</c:v>
                </c:pt>
                <c:pt idx="9167">
                  <c:v>3.4684931506849317</c:v>
                </c:pt>
                <c:pt idx="9168">
                  <c:v>3.4684931506849317</c:v>
                </c:pt>
                <c:pt idx="9169">
                  <c:v>#N/A</c:v>
                </c:pt>
                <c:pt idx="9170">
                  <c:v>3.4684931506849317</c:v>
                </c:pt>
                <c:pt idx="9171">
                  <c:v>#N/A</c:v>
                </c:pt>
                <c:pt idx="9172">
                  <c:v>#N/A</c:v>
                </c:pt>
                <c:pt idx="9173">
                  <c:v>3.4684931506849317</c:v>
                </c:pt>
                <c:pt idx="9174">
                  <c:v>3.4684931506849317</c:v>
                </c:pt>
                <c:pt idx="9175">
                  <c:v>3.4684931506849317</c:v>
                </c:pt>
                <c:pt idx="9176">
                  <c:v>#N/A</c:v>
                </c:pt>
                <c:pt idx="9177">
                  <c:v>3.4684931506849317</c:v>
                </c:pt>
                <c:pt idx="9178">
                  <c:v>3.4684931506849317</c:v>
                </c:pt>
                <c:pt idx="9179">
                  <c:v>#N/A</c:v>
                </c:pt>
                <c:pt idx="9180">
                  <c:v>3.4684931506849317</c:v>
                </c:pt>
                <c:pt idx="9181">
                  <c:v>3.4684931506849317</c:v>
                </c:pt>
                <c:pt idx="9182">
                  <c:v>3.4684931506849317</c:v>
                </c:pt>
                <c:pt idx="9183">
                  <c:v>3.4684931506849317</c:v>
                </c:pt>
                <c:pt idx="9184">
                  <c:v>3.4684931506849317</c:v>
                </c:pt>
                <c:pt idx="9185">
                  <c:v>3.4684931506849317</c:v>
                </c:pt>
                <c:pt idx="9186">
                  <c:v>3.4684931506849317</c:v>
                </c:pt>
                <c:pt idx="9187">
                  <c:v>3.4684931506849317</c:v>
                </c:pt>
                <c:pt idx="9188">
                  <c:v>#N/A</c:v>
                </c:pt>
                <c:pt idx="9189">
                  <c:v>3.4684931506849317</c:v>
                </c:pt>
                <c:pt idx="9190">
                  <c:v>3.4684931506849317</c:v>
                </c:pt>
                <c:pt idx="9191">
                  <c:v>#N/A</c:v>
                </c:pt>
                <c:pt idx="9192">
                  <c:v>3.4684931506849317</c:v>
                </c:pt>
                <c:pt idx="9193">
                  <c:v>3.4684931506849317</c:v>
                </c:pt>
                <c:pt idx="9194">
                  <c:v>3.4684931506849317</c:v>
                </c:pt>
                <c:pt idx="9195">
                  <c:v>3.4684931506849317</c:v>
                </c:pt>
                <c:pt idx="9196">
                  <c:v>3.4684931506849317</c:v>
                </c:pt>
                <c:pt idx="9197">
                  <c:v>3.4684931506849317</c:v>
                </c:pt>
                <c:pt idx="9198">
                  <c:v>#N/A</c:v>
                </c:pt>
                <c:pt idx="9199">
                  <c:v>3.4684931506849317</c:v>
                </c:pt>
                <c:pt idx="9200">
                  <c:v>#N/A</c:v>
                </c:pt>
                <c:pt idx="9201">
                  <c:v>3.4684931506849317</c:v>
                </c:pt>
                <c:pt idx="9202">
                  <c:v>#N/A</c:v>
                </c:pt>
                <c:pt idx="9203">
                  <c:v>3.4684931506849317</c:v>
                </c:pt>
                <c:pt idx="9204">
                  <c:v>3.4684931506849317</c:v>
                </c:pt>
                <c:pt idx="9205">
                  <c:v>3.4684931506849317</c:v>
                </c:pt>
                <c:pt idx="9206">
                  <c:v>3.4684931506849317</c:v>
                </c:pt>
                <c:pt idx="9207">
                  <c:v>3.4684931506849317</c:v>
                </c:pt>
                <c:pt idx="9208">
                  <c:v>#N/A</c:v>
                </c:pt>
                <c:pt idx="9209">
                  <c:v>#N/A</c:v>
                </c:pt>
                <c:pt idx="9210">
                  <c:v>3.4684931506849317</c:v>
                </c:pt>
                <c:pt idx="9211">
                  <c:v>3.4684931506849317</c:v>
                </c:pt>
                <c:pt idx="9212">
                  <c:v>3.4684931506849317</c:v>
                </c:pt>
                <c:pt idx="9213">
                  <c:v>3.4684931506849317</c:v>
                </c:pt>
                <c:pt idx="9214">
                  <c:v>3.4684931506849317</c:v>
                </c:pt>
                <c:pt idx="9215">
                  <c:v>#N/A</c:v>
                </c:pt>
                <c:pt idx="9216">
                  <c:v>3.4712328767123286</c:v>
                </c:pt>
                <c:pt idx="9217">
                  <c:v>#N/A</c:v>
                </c:pt>
                <c:pt idx="9218">
                  <c:v>3.473972602739726</c:v>
                </c:pt>
                <c:pt idx="9219">
                  <c:v>3.473972602739726</c:v>
                </c:pt>
                <c:pt idx="9220">
                  <c:v>#N/A</c:v>
                </c:pt>
                <c:pt idx="9221">
                  <c:v>#N/A</c:v>
                </c:pt>
                <c:pt idx="9222">
                  <c:v>#N/A</c:v>
                </c:pt>
                <c:pt idx="9223">
                  <c:v>3.4876712328767123</c:v>
                </c:pt>
                <c:pt idx="9224">
                  <c:v>#N/A</c:v>
                </c:pt>
                <c:pt idx="9225">
                  <c:v>#N/A</c:v>
                </c:pt>
                <c:pt idx="9226">
                  <c:v>#N/A</c:v>
                </c:pt>
                <c:pt idx="9227">
                  <c:v>#N/A</c:v>
                </c:pt>
                <c:pt idx="9228">
                  <c:v>#N/A</c:v>
                </c:pt>
                <c:pt idx="9229">
                  <c:v>3.4904109589041097</c:v>
                </c:pt>
                <c:pt idx="9230">
                  <c:v>#N/A</c:v>
                </c:pt>
                <c:pt idx="9231">
                  <c:v>#N/A</c:v>
                </c:pt>
                <c:pt idx="9232">
                  <c:v>#N/A</c:v>
                </c:pt>
                <c:pt idx="9233">
                  <c:v>3.495890410958904</c:v>
                </c:pt>
                <c:pt idx="9234">
                  <c:v>3.495890410958904</c:v>
                </c:pt>
                <c:pt idx="9235">
                  <c:v>3.495890410958904</c:v>
                </c:pt>
                <c:pt idx="9236">
                  <c:v>3.504109589041096</c:v>
                </c:pt>
                <c:pt idx="9237">
                  <c:v>#N/A</c:v>
                </c:pt>
                <c:pt idx="9238">
                  <c:v>3.504109589041096</c:v>
                </c:pt>
                <c:pt idx="9239">
                  <c:v>#N/A</c:v>
                </c:pt>
                <c:pt idx="9240">
                  <c:v>#N/A</c:v>
                </c:pt>
                <c:pt idx="9241">
                  <c:v>#N/A</c:v>
                </c:pt>
                <c:pt idx="9242">
                  <c:v>3.506849315068493</c:v>
                </c:pt>
                <c:pt idx="9243">
                  <c:v>#N/A</c:v>
                </c:pt>
                <c:pt idx="9244">
                  <c:v>#N/A</c:v>
                </c:pt>
                <c:pt idx="9245">
                  <c:v>#N/A</c:v>
                </c:pt>
                <c:pt idx="9246">
                  <c:v>#N/A</c:v>
                </c:pt>
                <c:pt idx="9247">
                  <c:v>#N/A</c:v>
                </c:pt>
                <c:pt idx="9248">
                  <c:v>3.5095890410958903</c:v>
                </c:pt>
                <c:pt idx="9249">
                  <c:v>3.5095890410958903</c:v>
                </c:pt>
                <c:pt idx="9250">
                  <c:v>#N/A</c:v>
                </c:pt>
                <c:pt idx="9251">
                  <c:v>3.5095890410958903</c:v>
                </c:pt>
                <c:pt idx="9252">
                  <c:v>#N/A</c:v>
                </c:pt>
                <c:pt idx="9253">
                  <c:v>3.5095890410958903</c:v>
                </c:pt>
                <c:pt idx="9254">
                  <c:v>#N/A</c:v>
                </c:pt>
                <c:pt idx="9255">
                  <c:v>#N/A</c:v>
                </c:pt>
                <c:pt idx="9256">
                  <c:v>3.5095890410958903</c:v>
                </c:pt>
                <c:pt idx="9257">
                  <c:v>#N/A</c:v>
                </c:pt>
                <c:pt idx="9258">
                  <c:v>3.5095890410958903</c:v>
                </c:pt>
                <c:pt idx="9259">
                  <c:v>#N/A</c:v>
                </c:pt>
                <c:pt idx="9260">
                  <c:v>#N/A</c:v>
                </c:pt>
                <c:pt idx="9261">
                  <c:v>3.5095890410958903</c:v>
                </c:pt>
                <c:pt idx="9262">
                  <c:v>#N/A</c:v>
                </c:pt>
                <c:pt idx="9263">
                  <c:v>3.5095890410958903</c:v>
                </c:pt>
                <c:pt idx="9264">
                  <c:v>3.5095890410958903</c:v>
                </c:pt>
                <c:pt idx="9265">
                  <c:v>#N/A</c:v>
                </c:pt>
                <c:pt idx="9266">
                  <c:v>3.5095890410958903</c:v>
                </c:pt>
                <c:pt idx="9267">
                  <c:v>3.5095890410958903</c:v>
                </c:pt>
                <c:pt idx="9268">
                  <c:v>3.5095890410958903</c:v>
                </c:pt>
                <c:pt idx="9269">
                  <c:v>#N/A</c:v>
                </c:pt>
                <c:pt idx="9270">
                  <c:v>#N/A</c:v>
                </c:pt>
                <c:pt idx="9271">
                  <c:v>#N/A</c:v>
                </c:pt>
                <c:pt idx="9272">
                  <c:v>#N/A</c:v>
                </c:pt>
                <c:pt idx="9273">
                  <c:v>#N/A</c:v>
                </c:pt>
                <c:pt idx="9274">
                  <c:v>#N/A</c:v>
                </c:pt>
                <c:pt idx="9275">
                  <c:v>#N/A</c:v>
                </c:pt>
                <c:pt idx="9276">
                  <c:v>3.5095890410958903</c:v>
                </c:pt>
                <c:pt idx="9277">
                  <c:v>#N/A</c:v>
                </c:pt>
                <c:pt idx="9278">
                  <c:v>#N/A</c:v>
                </c:pt>
                <c:pt idx="9279">
                  <c:v>#N/A</c:v>
                </c:pt>
                <c:pt idx="9280">
                  <c:v>#N/A</c:v>
                </c:pt>
                <c:pt idx="9281">
                  <c:v>#N/A</c:v>
                </c:pt>
                <c:pt idx="9282">
                  <c:v>#N/A</c:v>
                </c:pt>
                <c:pt idx="9283">
                  <c:v>#N/A</c:v>
                </c:pt>
                <c:pt idx="9284">
                  <c:v>3.5095890410958903</c:v>
                </c:pt>
                <c:pt idx="9285">
                  <c:v>#N/A</c:v>
                </c:pt>
                <c:pt idx="9286">
                  <c:v>#N/A</c:v>
                </c:pt>
                <c:pt idx="9287">
                  <c:v>3.5095890410958903</c:v>
                </c:pt>
                <c:pt idx="9288">
                  <c:v>3.5095890410958903</c:v>
                </c:pt>
                <c:pt idx="9289">
                  <c:v>3.5095890410958903</c:v>
                </c:pt>
                <c:pt idx="9290">
                  <c:v>#N/A</c:v>
                </c:pt>
                <c:pt idx="9291">
                  <c:v>3.5095890410958903</c:v>
                </c:pt>
                <c:pt idx="9292">
                  <c:v>#N/A</c:v>
                </c:pt>
                <c:pt idx="9293">
                  <c:v>#N/A</c:v>
                </c:pt>
                <c:pt idx="9294">
                  <c:v>3.5095890410958903</c:v>
                </c:pt>
                <c:pt idx="9295">
                  <c:v>3.5095890410958903</c:v>
                </c:pt>
                <c:pt idx="9296">
                  <c:v>3.5095890410958903</c:v>
                </c:pt>
                <c:pt idx="9297">
                  <c:v>#N/A</c:v>
                </c:pt>
                <c:pt idx="9298">
                  <c:v>3.5095890410958903</c:v>
                </c:pt>
                <c:pt idx="9299">
                  <c:v>#N/A</c:v>
                </c:pt>
                <c:pt idx="9300">
                  <c:v>3.5095890410958903</c:v>
                </c:pt>
                <c:pt idx="9301">
                  <c:v>#N/A</c:v>
                </c:pt>
                <c:pt idx="9302">
                  <c:v>#N/A</c:v>
                </c:pt>
                <c:pt idx="9303">
                  <c:v>#N/A</c:v>
                </c:pt>
                <c:pt idx="9304">
                  <c:v>#N/A</c:v>
                </c:pt>
                <c:pt idx="9305">
                  <c:v>3.5095890410958903</c:v>
                </c:pt>
                <c:pt idx="9306">
                  <c:v>3.5095890410958903</c:v>
                </c:pt>
                <c:pt idx="9307">
                  <c:v>#N/A</c:v>
                </c:pt>
                <c:pt idx="9308">
                  <c:v>3.5095890410958903</c:v>
                </c:pt>
                <c:pt idx="9309">
                  <c:v>#N/A</c:v>
                </c:pt>
                <c:pt idx="9310">
                  <c:v>#N/A</c:v>
                </c:pt>
                <c:pt idx="9311">
                  <c:v>3.5095890410958903</c:v>
                </c:pt>
                <c:pt idx="9312">
                  <c:v>3.5095890410958903</c:v>
                </c:pt>
                <c:pt idx="9313">
                  <c:v>#N/A</c:v>
                </c:pt>
                <c:pt idx="9314">
                  <c:v>#N/A</c:v>
                </c:pt>
                <c:pt idx="9315">
                  <c:v>#N/A</c:v>
                </c:pt>
                <c:pt idx="9316">
                  <c:v>#N/A</c:v>
                </c:pt>
                <c:pt idx="9317">
                  <c:v>3.5095890410958903</c:v>
                </c:pt>
                <c:pt idx="9318">
                  <c:v>#N/A</c:v>
                </c:pt>
                <c:pt idx="9319">
                  <c:v>#N/A</c:v>
                </c:pt>
                <c:pt idx="9320">
                  <c:v>#N/A</c:v>
                </c:pt>
                <c:pt idx="9321">
                  <c:v>3.5095890410958903</c:v>
                </c:pt>
                <c:pt idx="9322">
                  <c:v>#N/A</c:v>
                </c:pt>
                <c:pt idx="9323">
                  <c:v>3.5095890410958903</c:v>
                </c:pt>
                <c:pt idx="9324">
                  <c:v>#N/A</c:v>
                </c:pt>
                <c:pt idx="9325">
                  <c:v>#N/A</c:v>
                </c:pt>
                <c:pt idx="9326">
                  <c:v>#N/A</c:v>
                </c:pt>
                <c:pt idx="9327">
                  <c:v>#N/A</c:v>
                </c:pt>
                <c:pt idx="9328">
                  <c:v>3.5095890410958903</c:v>
                </c:pt>
                <c:pt idx="9329">
                  <c:v>#N/A</c:v>
                </c:pt>
                <c:pt idx="9330">
                  <c:v>3.5095890410958903</c:v>
                </c:pt>
                <c:pt idx="9331">
                  <c:v>#N/A</c:v>
                </c:pt>
                <c:pt idx="9332">
                  <c:v>3.5095890410958903</c:v>
                </c:pt>
                <c:pt idx="9333">
                  <c:v>3.5095890410958903</c:v>
                </c:pt>
                <c:pt idx="9334">
                  <c:v>3.5095890410958903</c:v>
                </c:pt>
                <c:pt idx="9335">
                  <c:v>#N/A</c:v>
                </c:pt>
                <c:pt idx="9336">
                  <c:v>#N/A</c:v>
                </c:pt>
                <c:pt idx="9337">
                  <c:v>3.5095890410958903</c:v>
                </c:pt>
                <c:pt idx="9338">
                  <c:v>#N/A</c:v>
                </c:pt>
                <c:pt idx="9339">
                  <c:v>3.5095890410958903</c:v>
                </c:pt>
                <c:pt idx="9340">
                  <c:v>3.5095890410958903</c:v>
                </c:pt>
                <c:pt idx="9341">
                  <c:v>3.5095890410958903</c:v>
                </c:pt>
                <c:pt idx="9342">
                  <c:v>#N/A</c:v>
                </c:pt>
                <c:pt idx="9343">
                  <c:v>#N/A</c:v>
                </c:pt>
                <c:pt idx="9344">
                  <c:v>3.5095890410958903</c:v>
                </c:pt>
                <c:pt idx="9345">
                  <c:v>3.5095890410958903</c:v>
                </c:pt>
                <c:pt idx="9346">
                  <c:v>#N/A</c:v>
                </c:pt>
                <c:pt idx="9347">
                  <c:v>#N/A</c:v>
                </c:pt>
                <c:pt idx="9348">
                  <c:v>#N/A</c:v>
                </c:pt>
                <c:pt idx="9349">
                  <c:v>#N/A</c:v>
                </c:pt>
                <c:pt idx="9350">
                  <c:v>3.5095890410958903</c:v>
                </c:pt>
                <c:pt idx="9351">
                  <c:v>3.5095890410958903</c:v>
                </c:pt>
                <c:pt idx="9352">
                  <c:v>3.5095890410958903</c:v>
                </c:pt>
                <c:pt idx="9353">
                  <c:v>3.5095890410958903</c:v>
                </c:pt>
                <c:pt idx="9354">
                  <c:v>#N/A</c:v>
                </c:pt>
                <c:pt idx="9355">
                  <c:v>3.5095890410958903</c:v>
                </c:pt>
                <c:pt idx="9356">
                  <c:v>#N/A</c:v>
                </c:pt>
                <c:pt idx="9357">
                  <c:v>3.5095890410958903</c:v>
                </c:pt>
                <c:pt idx="9358">
                  <c:v>#N/A</c:v>
                </c:pt>
                <c:pt idx="9359">
                  <c:v>#N/A</c:v>
                </c:pt>
                <c:pt idx="9360">
                  <c:v>3.5095890410958903</c:v>
                </c:pt>
                <c:pt idx="9361">
                  <c:v>3.5095890410958903</c:v>
                </c:pt>
                <c:pt idx="9362">
                  <c:v>3.5095890410958903</c:v>
                </c:pt>
                <c:pt idx="9363">
                  <c:v>#N/A</c:v>
                </c:pt>
                <c:pt idx="9364">
                  <c:v>3.5095890410958903</c:v>
                </c:pt>
                <c:pt idx="9365">
                  <c:v>#N/A</c:v>
                </c:pt>
                <c:pt idx="9366">
                  <c:v>#N/A</c:v>
                </c:pt>
                <c:pt idx="9367">
                  <c:v>#N/A</c:v>
                </c:pt>
                <c:pt idx="9368">
                  <c:v>3.5095890410958903</c:v>
                </c:pt>
                <c:pt idx="9369">
                  <c:v>#N/A</c:v>
                </c:pt>
                <c:pt idx="9370">
                  <c:v>#N/A</c:v>
                </c:pt>
                <c:pt idx="9371">
                  <c:v>#N/A</c:v>
                </c:pt>
                <c:pt idx="9372">
                  <c:v>#N/A</c:v>
                </c:pt>
                <c:pt idx="9373">
                  <c:v>3.5095890410958903</c:v>
                </c:pt>
                <c:pt idx="9374">
                  <c:v>#N/A</c:v>
                </c:pt>
                <c:pt idx="9375">
                  <c:v>#N/A</c:v>
                </c:pt>
                <c:pt idx="9376">
                  <c:v>#N/A</c:v>
                </c:pt>
                <c:pt idx="9377">
                  <c:v>#N/A</c:v>
                </c:pt>
                <c:pt idx="9378">
                  <c:v>3.5095890410958903</c:v>
                </c:pt>
                <c:pt idx="9379">
                  <c:v>#N/A</c:v>
                </c:pt>
                <c:pt idx="9380">
                  <c:v>3.5095890410958903</c:v>
                </c:pt>
                <c:pt idx="9381">
                  <c:v>#N/A</c:v>
                </c:pt>
                <c:pt idx="9382">
                  <c:v>#N/A</c:v>
                </c:pt>
                <c:pt idx="9383">
                  <c:v>#N/A</c:v>
                </c:pt>
                <c:pt idx="9384">
                  <c:v>#N/A</c:v>
                </c:pt>
                <c:pt idx="9385">
                  <c:v>3.5095890410958903</c:v>
                </c:pt>
                <c:pt idx="9386">
                  <c:v>#N/A</c:v>
                </c:pt>
                <c:pt idx="9387">
                  <c:v>#N/A</c:v>
                </c:pt>
                <c:pt idx="9388">
                  <c:v>#N/A</c:v>
                </c:pt>
                <c:pt idx="9389">
                  <c:v>#N/A</c:v>
                </c:pt>
                <c:pt idx="9390">
                  <c:v>#N/A</c:v>
                </c:pt>
                <c:pt idx="9391">
                  <c:v>#N/A</c:v>
                </c:pt>
                <c:pt idx="9392">
                  <c:v>#N/A</c:v>
                </c:pt>
                <c:pt idx="9393">
                  <c:v>3.5095890410958903</c:v>
                </c:pt>
                <c:pt idx="9394">
                  <c:v>#N/A</c:v>
                </c:pt>
                <c:pt idx="9395">
                  <c:v>3.5095890410958903</c:v>
                </c:pt>
                <c:pt idx="9396">
                  <c:v>#N/A</c:v>
                </c:pt>
                <c:pt idx="9397">
                  <c:v>#N/A</c:v>
                </c:pt>
                <c:pt idx="9398">
                  <c:v>3.5095890410958903</c:v>
                </c:pt>
                <c:pt idx="9399">
                  <c:v>#N/A</c:v>
                </c:pt>
                <c:pt idx="9400">
                  <c:v>#N/A</c:v>
                </c:pt>
                <c:pt idx="9401">
                  <c:v>3.5095890410958903</c:v>
                </c:pt>
                <c:pt idx="9402">
                  <c:v>3.5095890410958903</c:v>
                </c:pt>
                <c:pt idx="9403">
                  <c:v>3.5095890410958903</c:v>
                </c:pt>
                <c:pt idx="9404">
                  <c:v>#N/A</c:v>
                </c:pt>
                <c:pt idx="9405">
                  <c:v>3.5095890410958903</c:v>
                </c:pt>
                <c:pt idx="9406">
                  <c:v>#N/A</c:v>
                </c:pt>
                <c:pt idx="9407">
                  <c:v>#N/A</c:v>
                </c:pt>
                <c:pt idx="9408">
                  <c:v>#N/A</c:v>
                </c:pt>
                <c:pt idx="9409">
                  <c:v>#N/A</c:v>
                </c:pt>
                <c:pt idx="9410">
                  <c:v>#N/A</c:v>
                </c:pt>
                <c:pt idx="9411">
                  <c:v>#N/A</c:v>
                </c:pt>
                <c:pt idx="9412">
                  <c:v>#N/A</c:v>
                </c:pt>
                <c:pt idx="9413">
                  <c:v>#N/A</c:v>
                </c:pt>
                <c:pt idx="9414">
                  <c:v>#N/A</c:v>
                </c:pt>
                <c:pt idx="9415">
                  <c:v>#N/A</c:v>
                </c:pt>
                <c:pt idx="9416">
                  <c:v>#N/A</c:v>
                </c:pt>
                <c:pt idx="9417">
                  <c:v>3.5095890410958903</c:v>
                </c:pt>
                <c:pt idx="9418">
                  <c:v>#N/A</c:v>
                </c:pt>
                <c:pt idx="9419">
                  <c:v>3.5095890410958903</c:v>
                </c:pt>
                <c:pt idx="9420">
                  <c:v>#N/A</c:v>
                </c:pt>
                <c:pt idx="9421">
                  <c:v>#N/A</c:v>
                </c:pt>
                <c:pt idx="9422">
                  <c:v>#N/A</c:v>
                </c:pt>
                <c:pt idx="9423">
                  <c:v>#N/A</c:v>
                </c:pt>
                <c:pt idx="9424">
                  <c:v>#N/A</c:v>
                </c:pt>
                <c:pt idx="9425">
                  <c:v>#N/A</c:v>
                </c:pt>
                <c:pt idx="9426">
                  <c:v>#N/A</c:v>
                </c:pt>
                <c:pt idx="9427">
                  <c:v>#N/A</c:v>
                </c:pt>
                <c:pt idx="9428">
                  <c:v>#N/A</c:v>
                </c:pt>
                <c:pt idx="9429">
                  <c:v>#N/A</c:v>
                </c:pt>
                <c:pt idx="9430">
                  <c:v>#N/A</c:v>
                </c:pt>
                <c:pt idx="9431">
                  <c:v>#N/A</c:v>
                </c:pt>
                <c:pt idx="9432">
                  <c:v>3.5095890410958903</c:v>
                </c:pt>
                <c:pt idx="9433">
                  <c:v>#N/A</c:v>
                </c:pt>
                <c:pt idx="9434">
                  <c:v>3.5095890410958903</c:v>
                </c:pt>
                <c:pt idx="9435">
                  <c:v>#N/A</c:v>
                </c:pt>
                <c:pt idx="9436">
                  <c:v>#N/A</c:v>
                </c:pt>
                <c:pt idx="9437">
                  <c:v>#N/A</c:v>
                </c:pt>
                <c:pt idx="9438">
                  <c:v>#N/A</c:v>
                </c:pt>
                <c:pt idx="9439">
                  <c:v>3.5095890410958903</c:v>
                </c:pt>
                <c:pt idx="9440">
                  <c:v>3.5095890410958903</c:v>
                </c:pt>
                <c:pt idx="9441">
                  <c:v>3.5095890410958903</c:v>
                </c:pt>
                <c:pt idx="9442">
                  <c:v>#N/A</c:v>
                </c:pt>
                <c:pt idx="9443">
                  <c:v>3.5095890410958903</c:v>
                </c:pt>
                <c:pt idx="9444">
                  <c:v>3.5095890410958903</c:v>
                </c:pt>
                <c:pt idx="9445">
                  <c:v>#N/A</c:v>
                </c:pt>
                <c:pt idx="9446">
                  <c:v>3.5095890410958903</c:v>
                </c:pt>
                <c:pt idx="9447">
                  <c:v>3.5095890410958903</c:v>
                </c:pt>
                <c:pt idx="9448">
                  <c:v>#N/A</c:v>
                </c:pt>
                <c:pt idx="9449">
                  <c:v>3.5095890410958903</c:v>
                </c:pt>
                <c:pt idx="9450">
                  <c:v>3.5095890410958903</c:v>
                </c:pt>
                <c:pt idx="9451">
                  <c:v>#N/A</c:v>
                </c:pt>
                <c:pt idx="9452">
                  <c:v>3.5095890410958903</c:v>
                </c:pt>
                <c:pt idx="9453">
                  <c:v>3.5095890410958903</c:v>
                </c:pt>
                <c:pt idx="9454">
                  <c:v>3.5095890410958903</c:v>
                </c:pt>
                <c:pt idx="9455">
                  <c:v>#N/A</c:v>
                </c:pt>
                <c:pt idx="9456">
                  <c:v>3.5095890410958903</c:v>
                </c:pt>
                <c:pt idx="9457">
                  <c:v>#N/A</c:v>
                </c:pt>
                <c:pt idx="9458">
                  <c:v>3.5095890410958903</c:v>
                </c:pt>
                <c:pt idx="9459">
                  <c:v>#N/A</c:v>
                </c:pt>
                <c:pt idx="9460">
                  <c:v>#N/A</c:v>
                </c:pt>
                <c:pt idx="9461">
                  <c:v>#N/A</c:v>
                </c:pt>
                <c:pt idx="9462">
                  <c:v>3.5095890410958903</c:v>
                </c:pt>
                <c:pt idx="9463">
                  <c:v>#N/A</c:v>
                </c:pt>
                <c:pt idx="9464">
                  <c:v>#N/A</c:v>
                </c:pt>
                <c:pt idx="9465">
                  <c:v>#N/A</c:v>
                </c:pt>
                <c:pt idx="9466">
                  <c:v>#N/A</c:v>
                </c:pt>
                <c:pt idx="9467">
                  <c:v>#N/A</c:v>
                </c:pt>
                <c:pt idx="9468">
                  <c:v>3.5095890410958903</c:v>
                </c:pt>
                <c:pt idx="9469">
                  <c:v>3.5095890410958903</c:v>
                </c:pt>
                <c:pt idx="9470">
                  <c:v>#N/A</c:v>
                </c:pt>
                <c:pt idx="9471">
                  <c:v>#N/A</c:v>
                </c:pt>
                <c:pt idx="9472">
                  <c:v>#N/A</c:v>
                </c:pt>
                <c:pt idx="9473">
                  <c:v>#N/A</c:v>
                </c:pt>
                <c:pt idx="9474">
                  <c:v>#N/A</c:v>
                </c:pt>
                <c:pt idx="9475">
                  <c:v>3.5123287671232877</c:v>
                </c:pt>
                <c:pt idx="9476">
                  <c:v>#N/A</c:v>
                </c:pt>
                <c:pt idx="9477">
                  <c:v>#N/A</c:v>
                </c:pt>
                <c:pt idx="9478">
                  <c:v>3.5123287671232877</c:v>
                </c:pt>
                <c:pt idx="9479">
                  <c:v>#N/A</c:v>
                </c:pt>
                <c:pt idx="9480">
                  <c:v>#N/A</c:v>
                </c:pt>
                <c:pt idx="9481">
                  <c:v>#N/A</c:v>
                </c:pt>
                <c:pt idx="9482">
                  <c:v>#N/A</c:v>
                </c:pt>
                <c:pt idx="9483">
                  <c:v>#N/A</c:v>
                </c:pt>
                <c:pt idx="9484">
                  <c:v>#N/A</c:v>
                </c:pt>
                <c:pt idx="9485">
                  <c:v>#N/A</c:v>
                </c:pt>
                <c:pt idx="9486">
                  <c:v>3.5123287671232877</c:v>
                </c:pt>
                <c:pt idx="9487">
                  <c:v>#N/A</c:v>
                </c:pt>
                <c:pt idx="9488">
                  <c:v>#N/A</c:v>
                </c:pt>
                <c:pt idx="9489">
                  <c:v>#N/A</c:v>
                </c:pt>
                <c:pt idx="9490">
                  <c:v>3.5123287671232877</c:v>
                </c:pt>
                <c:pt idx="9491">
                  <c:v>#N/A</c:v>
                </c:pt>
                <c:pt idx="9492">
                  <c:v>3.5123287671232877</c:v>
                </c:pt>
                <c:pt idx="9493">
                  <c:v>3.5123287671232877</c:v>
                </c:pt>
                <c:pt idx="9494">
                  <c:v>3.5123287671232877</c:v>
                </c:pt>
                <c:pt idx="9495">
                  <c:v>3.5123287671232877</c:v>
                </c:pt>
                <c:pt idx="9496">
                  <c:v>3.5123287671232877</c:v>
                </c:pt>
                <c:pt idx="9497">
                  <c:v>#N/A</c:v>
                </c:pt>
                <c:pt idx="9498">
                  <c:v>3.5123287671232877</c:v>
                </c:pt>
                <c:pt idx="9499">
                  <c:v>#N/A</c:v>
                </c:pt>
                <c:pt idx="9500">
                  <c:v>#N/A</c:v>
                </c:pt>
                <c:pt idx="9501">
                  <c:v>3.5123287671232877</c:v>
                </c:pt>
                <c:pt idx="9502">
                  <c:v>3.5123287671232877</c:v>
                </c:pt>
                <c:pt idx="9503">
                  <c:v>3.5123287671232877</c:v>
                </c:pt>
                <c:pt idx="9504">
                  <c:v>#N/A</c:v>
                </c:pt>
                <c:pt idx="9505">
                  <c:v>#N/A</c:v>
                </c:pt>
                <c:pt idx="9506">
                  <c:v>3.5123287671232877</c:v>
                </c:pt>
                <c:pt idx="9507">
                  <c:v>#N/A</c:v>
                </c:pt>
                <c:pt idx="9508">
                  <c:v>#N/A</c:v>
                </c:pt>
                <c:pt idx="9509">
                  <c:v>#N/A</c:v>
                </c:pt>
                <c:pt idx="9510">
                  <c:v>#N/A</c:v>
                </c:pt>
                <c:pt idx="9511">
                  <c:v>#N/A</c:v>
                </c:pt>
                <c:pt idx="9512">
                  <c:v>#N/A</c:v>
                </c:pt>
                <c:pt idx="9513">
                  <c:v>#N/A</c:v>
                </c:pt>
                <c:pt idx="9514">
                  <c:v>3.5123287671232877</c:v>
                </c:pt>
                <c:pt idx="9515">
                  <c:v>#N/A</c:v>
                </c:pt>
                <c:pt idx="9516">
                  <c:v>3.5123287671232877</c:v>
                </c:pt>
                <c:pt idx="9517">
                  <c:v>#N/A</c:v>
                </c:pt>
                <c:pt idx="9518">
                  <c:v>#N/A</c:v>
                </c:pt>
                <c:pt idx="9519">
                  <c:v>3.5123287671232877</c:v>
                </c:pt>
                <c:pt idx="9520">
                  <c:v>3.5123287671232877</c:v>
                </c:pt>
                <c:pt idx="9521">
                  <c:v>#N/A</c:v>
                </c:pt>
                <c:pt idx="9522">
                  <c:v>3.5123287671232877</c:v>
                </c:pt>
                <c:pt idx="9523">
                  <c:v>#N/A</c:v>
                </c:pt>
                <c:pt idx="9524">
                  <c:v>#N/A</c:v>
                </c:pt>
                <c:pt idx="9525">
                  <c:v>3.5123287671232877</c:v>
                </c:pt>
                <c:pt idx="9526">
                  <c:v>#N/A</c:v>
                </c:pt>
                <c:pt idx="9527">
                  <c:v>#N/A</c:v>
                </c:pt>
                <c:pt idx="9528">
                  <c:v>#N/A</c:v>
                </c:pt>
                <c:pt idx="9529">
                  <c:v>3.5123287671232877</c:v>
                </c:pt>
                <c:pt idx="9530">
                  <c:v>#N/A</c:v>
                </c:pt>
                <c:pt idx="9531">
                  <c:v>3.5123287671232877</c:v>
                </c:pt>
                <c:pt idx="9532">
                  <c:v>#N/A</c:v>
                </c:pt>
                <c:pt idx="9533">
                  <c:v>3.5123287671232877</c:v>
                </c:pt>
                <c:pt idx="9534">
                  <c:v>#N/A</c:v>
                </c:pt>
                <c:pt idx="9535">
                  <c:v>#N/A</c:v>
                </c:pt>
                <c:pt idx="9536">
                  <c:v>#N/A</c:v>
                </c:pt>
                <c:pt idx="9537">
                  <c:v>3.5123287671232877</c:v>
                </c:pt>
                <c:pt idx="9538">
                  <c:v>#N/A</c:v>
                </c:pt>
                <c:pt idx="9539">
                  <c:v>#N/A</c:v>
                </c:pt>
                <c:pt idx="9540">
                  <c:v>#N/A</c:v>
                </c:pt>
                <c:pt idx="9541">
                  <c:v>#N/A</c:v>
                </c:pt>
                <c:pt idx="9542">
                  <c:v>#N/A</c:v>
                </c:pt>
                <c:pt idx="9543">
                  <c:v>#N/A</c:v>
                </c:pt>
                <c:pt idx="9544">
                  <c:v>3.515068493150685</c:v>
                </c:pt>
                <c:pt idx="9545">
                  <c:v>3.515068493150685</c:v>
                </c:pt>
                <c:pt idx="9546">
                  <c:v>#N/A</c:v>
                </c:pt>
                <c:pt idx="9547">
                  <c:v>3.515068493150685</c:v>
                </c:pt>
                <c:pt idx="9548">
                  <c:v>3.515068493150685</c:v>
                </c:pt>
                <c:pt idx="9549">
                  <c:v>3.515068493150685</c:v>
                </c:pt>
                <c:pt idx="9550">
                  <c:v>3.515068493150685</c:v>
                </c:pt>
                <c:pt idx="9551">
                  <c:v>#N/A</c:v>
                </c:pt>
                <c:pt idx="9552">
                  <c:v>#N/A</c:v>
                </c:pt>
                <c:pt idx="9553">
                  <c:v>#N/A</c:v>
                </c:pt>
                <c:pt idx="9554">
                  <c:v>3.515068493150685</c:v>
                </c:pt>
                <c:pt idx="9555">
                  <c:v>#N/A</c:v>
                </c:pt>
                <c:pt idx="9556">
                  <c:v>#N/A</c:v>
                </c:pt>
                <c:pt idx="9557">
                  <c:v>3.515068493150685</c:v>
                </c:pt>
                <c:pt idx="9558">
                  <c:v>#N/A</c:v>
                </c:pt>
                <c:pt idx="9559">
                  <c:v>#N/A</c:v>
                </c:pt>
                <c:pt idx="9560">
                  <c:v>#N/A</c:v>
                </c:pt>
                <c:pt idx="9561">
                  <c:v>#N/A</c:v>
                </c:pt>
                <c:pt idx="9562">
                  <c:v>3.5232876712328767</c:v>
                </c:pt>
                <c:pt idx="9563">
                  <c:v>3.5232876712328767</c:v>
                </c:pt>
                <c:pt idx="9564">
                  <c:v>3.5232876712328767</c:v>
                </c:pt>
                <c:pt idx="9565">
                  <c:v>3.5232876712328767</c:v>
                </c:pt>
                <c:pt idx="9566">
                  <c:v>3.5232876712328767</c:v>
                </c:pt>
                <c:pt idx="9567">
                  <c:v>#N/A</c:v>
                </c:pt>
                <c:pt idx="9568">
                  <c:v>#N/A</c:v>
                </c:pt>
                <c:pt idx="9569">
                  <c:v>3.5232876712328767</c:v>
                </c:pt>
                <c:pt idx="9570">
                  <c:v>#N/A</c:v>
                </c:pt>
                <c:pt idx="9571">
                  <c:v>3.5232876712328767</c:v>
                </c:pt>
                <c:pt idx="9572">
                  <c:v>#N/A</c:v>
                </c:pt>
                <c:pt idx="9573">
                  <c:v>3.5232876712328767</c:v>
                </c:pt>
                <c:pt idx="9574">
                  <c:v>#N/A</c:v>
                </c:pt>
                <c:pt idx="9575">
                  <c:v>3.5232876712328767</c:v>
                </c:pt>
                <c:pt idx="9576">
                  <c:v>3.5232876712328767</c:v>
                </c:pt>
                <c:pt idx="9577">
                  <c:v>3.5232876712328767</c:v>
                </c:pt>
                <c:pt idx="9578">
                  <c:v>#N/A</c:v>
                </c:pt>
                <c:pt idx="9579">
                  <c:v>3.5232876712328767</c:v>
                </c:pt>
                <c:pt idx="9580">
                  <c:v>#N/A</c:v>
                </c:pt>
                <c:pt idx="9581">
                  <c:v>#N/A</c:v>
                </c:pt>
                <c:pt idx="9582">
                  <c:v>#N/A</c:v>
                </c:pt>
                <c:pt idx="9583">
                  <c:v>#N/A</c:v>
                </c:pt>
                <c:pt idx="9584">
                  <c:v>3.526027397260274</c:v>
                </c:pt>
                <c:pt idx="9585">
                  <c:v>#N/A</c:v>
                </c:pt>
                <c:pt idx="9586">
                  <c:v>3.526027397260274</c:v>
                </c:pt>
                <c:pt idx="9587">
                  <c:v>3.526027397260274</c:v>
                </c:pt>
                <c:pt idx="9588">
                  <c:v>#N/A</c:v>
                </c:pt>
                <c:pt idx="9589">
                  <c:v>3.526027397260274</c:v>
                </c:pt>
                <c:pt idx="9590">
                  <c:v>3.526027397260274</c:v>
                </c:pt>
                <c:pt idx="9591">
                  <c:v>3.526027397260274</c:v>
                </c:pt>
                <c:pt idx="9592">
                  <c:v>3.526027397260274</c:v>
                </c:pt>
                <c:pt idx="9593">
                  <c:v>3.526027397260274</c:v>
                </c:pt>
                <c:pt idx="9594">
                  <c:v>#N/A</c:v>
                </c:pt>
                <c:pt idx="9595">
                  <c:v>3.526027397260274</c:v>
                </c:pt>
                <c:pt idx="9596">
                  <c:v>3.526027397260274</c:v>
                </c:pt>
                <c:pt idx="9597">
                  <c:v>#N/A</c:v>
                </c:pt>
                <c:pt idx="9598">
                  <c:v>#N/A</c:v>
                </c:pt>
                <c:pt idx="9599">
                  <c:v>#N/A</c:v>
                </c:pt>
                <c:pt idx="9600">
                  <c:v>3.5287671232876714</c:v>
                </c:pt>
                <c:pt idx="9601">
                  <c:v>#N/A</c:v>
                </c:pt>
                <c:pt idx="9602">
                  <c:v>3.5287671232876714</c:v>
                </c:pt>
                <c:pt idx="9603">
                  <c:v>3.5287671232876714</c:v>
                </c:pt>
                <c:pt idx="9604">
                  <c:v>3.5287671232876714</c:v>
                </c:pt>
                <c:pt idx="9605">
                  <c:v>3.5287671232876714</c:v>
                </c:pt>
                <c:pt idx="9606">
                  <c:v>3.5287671232876714</c:v>
                </c:pt>
                <c:pt idx="9607">
                  <c:v>3.5287671232876714</c:v>
                </c:pt>
                <c:pt idx="9608">
                  <c:v>3.5287671232876714</c:v>
                </c:pt>
                <c:pt idx="9609">
                  <c:v>3.5287671232876714</c:v>
                </c:pt>
                <c:pt idx="9610">
                  <c:v>3.5287671232876714</c:v>
                </c:pt>
                <c:pt idx="9611">
                  <c:v>3.5287671232876714</c:v>
                </c:pt>
                <c:pt idx="9612">
                  <c:v>3.5287671232876714</c:v>
                </c:pt>
                <c:pt idx="9613">
                  <c:v>#N/A</c:v>
                </c:pt>
                <c:pt idx="9614">
                  <c:v>#N/A</c:v>
                </c:pt>
                <c:pt idx="9615">
                  <c:v>3.5287671232876714</c:v>
                </c:pt>
                <c:pt idx="9616">
                  <c:v>3.5315068493150683</c:v>
                </c:pt>
                <c:pt idx="9617">
                  <c:v>3.5315068493150683</c:v>
                </c:pt>
                <c:pt idx="9618">
                  <c:v>#N/A</c:v>
                </c:pt>
                <c:pt idx="9619">
                  <c:v>3.5315068493150683</c:v>
                </c:pt>
                <c:pt idx="9620">
                  <c:v>3.5315068493150683</c:v>
                </c:pt>
                <c:pt idx="9621">
                  <c:v>3.5315068493150683</c:v>
                </c:pt>
                <c:pt idx="9622">
                  <c:v>3.5315068493150683</c:v>
                </c:pt>
                <c:pt idx="9623">
                  <c:v>3.5315068493150683</c:v>
                </c:pt>
                <c:pt idx="9624">
                  <c:v>#N/A</c:v>
                </c:pt>
                <c:pt idx="9625">
                  <c:v>3.5315068493150683</c:v>
                </c:pt>
                <c:pt idx="9626">
                  <c:v>3.5315068493150683</c:v>
                </c:pt>
                <c:pt idx="9627">
                  <c:v>#N/A</c:v>
                </c:pt>
                <c:pt idx="9628">
                  <c:v>#N/A</c:v>
                </c:pt>
                <c:pt idx="9629">
                  <c:v>3.5315068493150683</c:v>
                </c:pt>
                <c:pt idx="9630">
                  <c:v>3.5315068493150683</c:v>
                </c:pt>
                <c:pt idx="9631">
                  <c:v>3.5315068493150683</c:v>
                </c:pt>
                <c:pt idx="9632">
                  <c:v>#N/A</c:v>
                </c:pt>
                <c:pt idx="9633">
                  <c:v>3.5315068493150683</c:v>
                </c:pt>
                <c:pt idx="9634">
                  <c:v>3.5315068493150683</c:v>
                </c:pt>
                <c:pt idx="9635">
                  <c:v>#N/A</c:v>
                </c:pt>
                <c:pt idx="9636">
                  <c:v>3.5315068493150683</c:v>
                </c:pt>
                <c:pt idx="9637">
                  <c:v>#N/A</c:v>
                </c:pt>
                <c:pt idx="9638">
                  <c:v>#N/A</c:v>
                </c:pt>
                <c:pt idx="9639">
                  <c:v>#N/A</c:v>
                </c:pt>
                <c:pt idx="9640">
                  <c:v>3.5342465753424657</c:v>
                </c:pt>
                <c:pt idx="9641">
                  <c:v>3.5342465753424657</c:v>
                </c:pt>
                <c:pt idx="9642">
                  <c:v>3.5342465753424657</c:v>
                </c:pt>
                <c:pt idx="9643">
                  <c:v>#N/A</c:v>
                </c:pt>
                <c:pt idx="9644">
                  <c:v>#N/A</c:v>
                </c:pt>
                <c:pt idx="9645">
                  <c:v>3.5342465753424657</c:v>
                </c:pt>
                <c:pt idx="9646">
                  <c:v>#N/A</c:v>
                </c:pt>
                <c:pt idx="9647">
                  <c:v>3.5342465753424657</c:v>
                </c:pt>
                <c:pt idx="9648">
                  <c:v>3.5342465753424657</c:v>
                </c:pt>
                <c:pt idx="9649">
                  <c:v>3.5342465753424657</c:v>
                </c:pt>
                <c:pt idx="9650">
                  <c:v>3.5342465753424657</c:v>
                </c:pt>
                <c:pt idx="9651">
                  <c:v>3.5342465753424657</c:v>
                </c:pt>
                <c:pt idx="9652">
                  <c:v>#N/A</c:v>
                </c:pt>
                <c:pt idx="9653">
                  <c:v>#N/A</c:v>
                </c:pt>
                <c:pt idx="9654">
                  <c:v>3.5342465753424657</c:v>
                </c:pt>
                <c:pt idx="9655">
                  <c:v>#N/A</c:v>
                </c:pt>
                <c:pt idx="9656">
                  <c:v>3.5342465753424657</c:v>
                </c:pt>
                <c:pt idx="9657">
                  <c:v>#N/A</c:v>
                </c:pt>
                <c:pt idx="9658">
                  <c:v>#N/A</c:v>
                </c:pt>
                <c:pt idx="9659">
                  <c:v>3.5424657534246577</c:v>
                </c:pt>
                <c:pt idx="9660">
                  <c:v>#N/A</c:v>
                </c:pt>
                <c:pt idx="9661">
                  <c:v>#N/A</c:v>
                </c:pt>
                <c:pt idx="9662">
                  <c:v>3.5424657534246577</c:v>
                </c:pt>
                <c:pt idx="9663">
                  <c:v>#N/A</c:v>
                </c:pt>
                <c:pt idx="9664">
                  <c:v>#N/A</c:v>
                </c:pt>
                <c:pt idx="9665">
                  <c:v>3.5424657534246577</c:v>
                </c:pt>
                <c:pt idx="9666">
                  <c:v>3.5424657534246577</c:v>
                </c:pt>
                <c:pt idx="9667">
                  <c:v>3.5424657534246577</c:v>
                </c:pt>
                <c:pt idx="9668">
                  <c:v>#N/A</c:v>
                </c:pt>
                <c:pt idx="9669">
                  <c:v>3.5424657534246577</c:v>
                </c:pt>
                <c:pt idx="9670">
                  <c:v>3.5424657534246577</c:v>
                </c:pt>
                <c:pt idx="9671">
                  <c:v>#N/A</c:v>
                </c:pt>
                <c:pt idx="9672">
                  <c:v>3.5452054794520547</c:v>
                </c:pt>
                <c:pt idx="9673">
                  <c:v>#N/A</c:v>
                </c:pt>
                <c:pt idx="9674">
                  <c:v>#N/A</c:v>
                </c:pt>
                <c:pt idx="9675">
                  <c:v>#N/A</c:v>
                </c:pt>
                <c:pt idx="9676">
                  <c:v>#N/A</c:v>
                </c:pt>
                <c:pt idx="9677">
                  <c:v>#N/A</c:v>
                </c:pt>
                <c:pt idx="9678">
                  <c:v>#N/A</c:v>
                </c:pt>
                <c:pt idx="9679">
                  <c:v>#N/A</c:v>
                </c:pt>
                <c:pt idx="9680">
                  <c:v>3.5452054794520547</c:v>
                </c:pt>
                <c:pt idx="9681">
                  <c:v>#N/A</c:v>
                </c:pt>
                <c:pt idx="9682">
                  <c:v>#N/A</c:v>
                </c:pt>
                <c:pt idx="9683">
                  <c:v>#N/A</c:v>
                </c:pt>
                <c:pt idx="9684">
                  <c:v>#N/A</c:v>
                </c:pt>
                <c:pt idx="9685">
                  <c:v>#N/A</c:v>
                </c:pt>
                <c:pt idx="9686">
                  <c:v>#N/A</c:v>
                </c:pt>
                <c:pt idx="9687">
                  <c:v>#N/A</c:v>
                </c:pt>
                <c:pt idx="9688">
                  <c:v>#N/A</c:v>
                </c:pt>
                <c:pt idx="9689">
                  <c:v>#N/A</c:v>
                </c:pt>
                <c:pt idx="9690">
                  <c:v>#N/A</c:v>
                </c:pt>
                <c:pt idx="9691">
                  <c:v>#N/A</c:v>
                </c:pt>
                <c:pt idx="9692">
                  <c:v>#N/A</c:v>
                </c:pt>
                <c:pt idx="9693">
                  <c:v>3.5506849315068494</c:v>
                </c:pt>
                <c:pt idx="9694">
                  <c:v>3.5506849315068494</c:v>
                </c:pt>
                <c:pt idx="9695">
                  <c:v>3.5506849315068494</c:v>
                </c:pt>
                <c:pt idx="9696">
                  <c:v>3.5506849315068494</c:v>
                </c:pt>
                <c:pt idx="9697">
                  <c:v>3.5506849315068494</c:v>
                </c:pt>
                <c:pt idx="9698">
                  <c:v>3.5506849315068494</c:v>
                </c:pt>
                <c:pt idx="9699">
                  <c:v>#N/A</c:v>
                </c:pt>
                <c:pt idx="9700">
                  <c:v>3.5506849315068494</c:v>
                </c:pt>
                <c:pt idx="9701">
                  <c:v>#N/A</c:v>
                </c:pt>
                <c:pt idx="9702">
                  <c:v>#N/A</c:v>
                </c:pt>
                <c:pt idx="9703">
                  <c:v>#N/A</c:v>
                </c:pt>
                <c:pt idx="9704">
                  <c:v>#N/A</c:v>
                </c:pt>
                <c:pt idx="9705">
                  <c:v>#N/A</c:v>
                </c:pt>
                <c:pt idx="9706">
                  <c:v>#N/A</c:v>
                </c:pt>
                <c:pt idx="9707">
                  <c:v>3.5506849315068494</c:v>
                </c:pt>
                <c:pt idx="9708">
                  <c:v>#N/A</c:v>
                </c:pt>
                <c:pt idx="9709">
                  <c:v>3.5506849315068494</c:v>
                </c:pt>
                <c:pt idx="9710">
                  <c:v>#N/A</c:v>
                </c:pt>
                <c:pt idx="9711">
                  <c:v>3.5534246575342467</c:v>
                </c:pt>
                <c:pt idx="9712">
                  <c:v>#N/A</c:v>
                </c:pt>
                <c:pt idx="9713">
                  <c:v>#N/A</c:v>
                </c:pt>
                <c:pt idx="9714">
                  <c:v>#N/A</c:v>
                </c:pt>
                <c:pt idx="9715">
                  <c:v>#N/A</c:v>
                </c:pt>
                <c:pt idx="9716">
                  <c:v>#N/A</c:v>
                </c:pt>
                <c:pt idx="9717">
                  <c:v>#N/A</c:v>
                </c:pt>
                <c:pt idx="9718">
                  <c:v>#N/A</c:v>
                </c:pt>
                <c:pt idx="9719">
                  <c:v>#N/A</c:v>
                </c:pt>
                <c:pt idx="9720">
                  <c:v>3.5534246575342467</c:v>
                </c:pt>
                <c:pt idx="9721">
                  <c:v>#N/A</c:v>
                </c:pt>
                <c:pt idx="9722">
                  <c:v>3.5616438356164384</c:v>
                </c:pt>
                <c:pt idx="9723">
                  <c:v>#N/A</c:v>
                </c:pt>
                <c:pt idx="9724">
                  <c:v>#N/A</c:v>
                </c:pt>
                <c:pt idx="9725">
                  <c:v>#N/A</c:v>
                </c:pt>
                <c:pt idx="9726">
                  <c:v>3.5643835616438357</c:v>
                </c:pt>
                <c:pt idx="9727">
                  <c:v>3.5671232876712327</c:v>
                </c:pt>
                <c:pt idx="9728">
                  <c:v>#N/A</c:v>
                </c:pt>
                <c:pt idx="9729">
                  <c:v>#N/A</c:v>
                </c:pt>
                <c:pt idx="9730">
                  <c:v>#N/A</c:v>
                </c:pt>
                <c:pt idx="9731">
                  <c:v>#N/A</c:v>
                </c:pt>
                <c:pt idx="9732">
                  <c:v>#N/A</c:v>
                </c:pt>
                <c:pt idx="9733">
                  <c:v>3.5671232876712327</c:v>
                </c:pt>
                <c:pt idx="9734">
                  <c:v>3.5671232876712327</c:v>
                </c:pt>
                <c:pt idx="9735">
                  <c:v>#N/A</c:v>
                </c:pt>
                <c:pt idx="9736">
                  <c:v>3.56986301369863</c:v>
                </c:pt>
                <c:pt idx="9737">
                  <c:v>#N/A</c:v>
                </c:pt>
                <c:pt idx="9738">
                  <c:v>#N/A</c:v>
                </c:pt>
                <c:pt idx="9739">
                  <c:v>#N/A</c:v>
                </c:pt>
                <c:pt idx="9740">
                  <c:v>#N/A</c:v>
                </c:pt>
                <c:pt idx="9741">
                  <c:v>#N/A</c:v>
                </c:pt>
                <c:pt idx="9742">
                  <c:v>#N/A</c:v>
                </c:pt>
                <c:pt idx="9743">
                  <c:v>#N/A</c:v>
                </c:pt>
                <c:pt idx="9744">
                  <c:v>#N/A</c:v>
                </c:pt>
                <c:pt idx="9745">
                  <c:v>#N/A</c:v>
                </c:pt>
                <c:pt idx="9746">
                  <c:v>#N/A</c:v>
                </c:pt>
                <c:pt idx="9747">
                  <c:v>#N/A</c:v>
                </c:pt>
                <c:pt idx="9748">
                  <c:v>3.580821917808219</c:v>
                </c:pt>
                <c:pt idx="9749">
                  <c:v>3.5835616438356164</c:v>
                </c:pt>
                <c:pt idx="9750">
                  <c:v>3.5835616438356164</c:v>
                </c:pt>
                <c:pt idx="9751">
                  <c:v>#N/A</c:v>
                </c:pt>
                <c:pt idx="9752">
                  <c:v>3.5835616438356164</c:v>
                </c:pt>
                <c:pt idx="9753">
                  <c:v>3.5835616438356164</c:v>
                </c:pt>
                <c:pt idx="9754">
                  <c:v>#N/A</c:v>
                </c:pt>
                <c:pt idx="9755">
                  <c:v>#N/A</c:v>
                </c:pt>
                <c:pt idx="9756">
                  <c:v>#N/A</c:v>
                </c:pt>
                <c:pt idx="9757">
                  <c:v>3.591780821917808</c:v>
                </c:pt>
                <c:pt idx="9758">
                  <c:v>3.591780821917808</c:v>
                </c:pt>
                <c:pt idx="9759">
                  <c:v>3.591780821917808</c:v>
                </c:pt>
                <c:pt idx="9760">
                  <c:v>3.591780821917808</c:v>
                </c:pt>
                <c:pt idx="9761">
                  <c:v>#N/A</c:v>
                </c:pt>
                <c:pt idx="9762">
                  <c:v>#N/A</c:v>
                </c:pt>
                <c:pt idx="9763">
                  <c:v>3.591780821917808</c:v>
                </c:pt>
                <c:pt idx="9764">
                  <c:v>#N/A</c:v>
                </c:pt>
                <c:pt idx="9765">
                  <c:v>#N/A</c:v>
                </c:pt>
                <c:pt idx="9766">
                  <c:v>#N/A</c:v>
                </c:pt>
                <c:pt idx="9767">
                  <c:v>#N/A</c:v>
                </c:pt>
                <c:pt idx="9768">
                  <c:v>3.5972602739726027</c:v>
                </c:pt>
                <c:pt idx="9769">
                  <c:v>#N/A</c:v>
                </c:pt>
                <c:pt idx="9770">
                  <c:v>#N/A</c:v>
                </c:pt>
                <c:pt idx="9771">
                  <c:v>#N/A</c:v>
                </c:pt>
                <c:pt idx="9772">
                  <c:v>#N/A</c:v>
                </c:pt>
                <c:pt idx="9773">
                  <c:v>#N/A</c:v>
                </c:pt>
                <c:pt idx="9774">
                  <c:v>#N/A</c:v>
                </c:pt>
                <c:pt idx="9775">
                  <c:v>#N/A</c:v>
                </c:pt>
                <c:pt idx="9776">
                  <c:v>#N/A</c:v>
                </c:pt>
                <c:pt idx="9777">
                  <c:v>#N/A</c:v>
                </c:pt>
                <c:pt idx="9778">
                  <c:v>3.6</c:v>
                </c:pt>
                <c:pt idx="9779">
                  <c:v>#N/A</c:v>
                </c:pt>
                <c:pt idx="9780">
                  <c:v>#N/A</c:v>
                </c:pt>
                <c:pt idx="9781">
                  <c:v>#N/A</c:v>
                </c:pt>
                <c:pt idx="9782">
                  <c:v>#N/A</c:v>
                </c:pt>
                <c:pt idx="9783">
                  <c:v>3.6</c:v>
                </c:pt>
                <c:pt idx="9784">
                  <c:v>3.6</c:v>
                </c:pt>
                <c:pt idx="9785">
                  <c:v>#N/A</c:v>
                </c:pt>
                <c:pt idx="9786">
                  <c:v>#N/A</c:v>
                </c:pt>
                <c:pt idx="9787">
                  <c:v>#N/A</c:v>
                </c:pt>
                <c:pt idx="9788">
                  <c:v>#N/A</c:v>
                </c:pt>
                <c:pt idx="9789">
                  <c:v>#N/A</c:v>
                </c:pt>
                <c:pt idx="9790">
                  <c:v>3.6</c:v>
                </c:pt>
                <c:pt idx="9791">
                  <c:v>#N/A</c:v>
                </c:pt>
                <c:pt idx="9792">
                  <c:v>#N/A</c:v>
                </c:pt>
                <c:pt idx="9793">
                  <c:v>#N/A</c:v>
                </c:pt>
                <c:pt idx="9794">
                  <c:v>#N/A</c:v>
                </c:pt>
                <c:pt idx="9795">
                  <c:v>#N/A</c:v>
                </c:pt>
                <c:pt idx="9796">
                  <c:v>#N/A</c:v>
                </c:pt>
                <c:pt idx="9797">
                  <c:v>#N/A</c:v>
                </c:pt>
                <c:pt idx="9798">
                  <c:v>#N/A</c:v>
                </c:pt>
                <c:pt idx="9799">
                  <c:v>#N/A</c:v>
                </c:pt>
                <c:pt idx="9800">
                  <c:v>#N/A</c:v>
                </c:pt>
                <c:pt idx="9801">
                  <c:v>3.6027397260273974</c:v>
                </c:pt>
                <c:pt idx="9802">
                  <c:v>#N/A</c:v>
                </c:pt>
                <c:pt idx="9803">
                  <c:v>#N/A</c:v>
                </c:pt>
                <c:pt idx="9804">
                  <c:v>#N/A</c:v>
                </c:pt>
                <c:pt idx="9805">
                  <c:v>#N/A</c:v>
                </c:pt>
                <c:pt idx="9806">
                  <c:v>#N/A</c:v>
                </c:pt>
                <c:pt idx="9807">
                  <c:v>#N/A</c:v>
                </c:pt>
                <c:pt idx="9808">
                  <c:v>3.6027397260273974</c:v>
                </c:pt>
                <c:pt idx="9809">
                  <c:v>#N/A</c:v>
                </c:pt>
                <c:pt idx="9810">
                  <c:v>3.6027397260273974</c:v>
                </c:pt>
                <c:pt idx="9811">
                  <c:v>#N/A</c:v>
                </c:pt>
                <c:pt idx="9812">
                  <c:v>#N/A</c:v>
                </c:pt>
                <c:pt idx="9813">
                  <c:v>#N/A</c:v>
                </c:pt>
                <c:pt idx="9814">
                  <c:v>#N/A</c:v>
                </c:pt>
                <c:pt idx="9815">
                  <c:v>3.6109589041095891</c:v>
                </c:pt>
                <c:pt idx="9816">
                  <c:v>#N/A</c:v>
                </c:pt>
                <c:pt idx="9817">
                  <c:v>#N/A</c:v>
                </c:pt>
                <c:pt idx="9818">
                  <c:v>#N/A</c:v>
                </c:pt>
                <c:pt idx="9819">
                  <c:v>3.6109589041095891</c:v>
                </c:pt>
                <c:pt idx="9820">
                  <c:v>#N/A</c:v>
                </c:pt>
                <c:pt idx="9821">
                  <c:v>#N/A</c:v>
                </c:pt>
                <c:pt idx="9822">
                  <c:v>3.6219178082191781</c:v>
                </c:pt>
                <c:pt idx="9823">
                  <c:v>#N/A</c:v>
                </c:pt>
                <c:pt idx="9824">
                  <c:v>#N/A</c:v>
                </c:pt>
                <c:pt idx="9825">
                  <c:v>#N/A</c:v>
                </c:pt>
                <c:pt idx="9826">
                  <c:v>#N/A</c:v>
                </c:pt>
                <c:pt idx="9827">
                  <c:v>3.6301369863013697</c:v>
                </c:pt>
                <c:pt idx="9828">
                  <c:v>3.6438356164383561</c:v>
                </c:pt>
                <c:pt idx="9829">
                  <c:v>#N/A</c:v>
                </c:pt>
                <c:pt idx="9830">
                  <c:v>3.6465753424657534</c:v>
                </c:pt>
                <c:pt idx="9831">
                  <c:v>#N/A</c:v>
                </c:pt>
                <c:pt idx="9832">
                  <c:v>3.6465753424657534</c:v>
                </c:pt>
                <c:pt idx="9833">
                  <c:v>3.6465753424657534</c:v>
                </c:pt>
                <c:pt idx="9834">
                  <c:v>3.6465753424657534</c:v>
                </c:pt>
                <c:pt idx="9835">
                  <c:v>#N/A</c:v>
                </c:pt>
                <c:pt idx="9836">
                  <c:v>3.6465753424657534</c:v>
                </c:pt>
                <c:pt idx="9837">
                  <c:v>#N/A</c:v>
                </c:pt>
                <c:pt idx="9838">
                  <c:v>3.6465753424657534</c:v>
                </c:pt>
                <c:pt idx="9839">
                  <c:v>#N/A</c:v>
                </c:pt>
                <c:pt idx="9840">
                  <c:v>3.6602739726027398</c:v>
                </c:pt>
                <c:pt idx="9841">
                  <c:v>3.6602739726027398</c:v>
                </c:pt>
                <c:pt idx="9842">
                  <c:v>#N/A</c:v>
                </c:pt>
                <c:pt idx="9843">
                  <c:v>3.6602739726027398</c:v>
                </c:pt>
                <c:pt idx="9844">
                  <c:v>#N/A</c:v>
                </c:pt>
                <c:pt idx="9845">
                  <c:v>#N/A</c:v>
                </c:pt>
                <c:pt idx="9846">
                  <c:v>#N/A</c:v>
                </c:pt>
                <c:pt idx="9847">
                  <c:v>#N/A</c:v>
                </c:pt>
                <c:pt idx="9848">
                  <c:v>3.6602739726027398</c:v>
                </c:pt>
                <c:pt idx="9849">
                  <c:v>3.6602739726027398</c:v>
                </c:pt>
                <c:pt idx="9850">
                  <c:v>#N/A</c:v>
                </c:pt>
                <c:pt idx="9851">
                  <c:v>#N/A</c:v>
                </c:pt>
                <c:pt idx="9852">
                  <c:v>#N/A</c:v>
                </c:pt>
                <c:pt idx="9853">
                  <c:v>#N/A</c:v>
                </c:pt>
                <c:pt idx="9854">
                  <c:v>#N/A</c:v>
                </c:pt>
                <c:pt idx="9855">
                  <c:v>#N/A</c:v>
                </c:pt>
                <c:pt idx="9856">
                  <c:v>#N/A</c:v>
                </c:pt>
                <c:pt idx="9857">
                  <c:v>#N/A</c:v>
                </c:pt>
                <c:pt idx="9858">
                  <c:v>#N/A</c:v>
                </c:pt>
                <c:pt idx="9859">
                  <c:v>#N/A</c:v>
                </c:pt>
                <c:pt idx="9860">
                  <c:v>3.6739726027397261</c:v>
                </c:pt>
                <c:pt idx="9861">
                  <c:v>3.6739726027397261</c:v>
                </c:pt>
                <c:pt idx="9862">
                  <c:v>#N/A</c:v>
                </c:pt>
                <c:pt idx="9863">
                  <c:v>#N/A</c:v>
                </c:pt>
                <c:pt idx="9864">
                  <c:v>#N/A</c:v>
                </c:pt>
                <c:pt idx="9865">
                  <c:v>3.6767123287671235</c:v>
                </c:pt>
                <c:pt idx="9866">
                  <c:v>#N/A</c:v>
                </c:pt>
                <c:pt idx="9867">
                  <c:v>3.6767123287671235</c:v>
                </c:pt>
                <c:pt idx="9868">
                  <c:v>#N/A</c:v>
                </c:pt>
                <c:pt idx="9869">
                  <c:v>3.6767123287671235</c:v>
                </c:pt>
                <c:pt idx="9870">
                  <c:v>3.6767123287671235</c:v>
                </c:pt>
                <c:pt idx="9871">
                  <c:v>3.6767123287671235</c:v>
                </c:pt>
                <c:pt idx="9872">
                  <c:v>3.6767123287671235</c:v>
                </c:pt>
                <c:pt idx="9873">
                  <c:v>#N/A</c:v>
                </c:pt>
                <c:pt idx="9874">
                  <c:v>#N/A</c:v>
                </c:pt>
                <c:pt idx="9875">
                  <c:v>#N/A</c:v>
                </c:pt>
                <c:pt idx="9876">
                  <c:v>#N/A</c:v>
                </c:pt>
                <c:pt idx="9877">
                  <c:v>#N/A</c:v>
                </c:pt>
                <c:pt idx="9878">
                  <c:v>#N/A</c:v>
                </c:pt>
                <c:pt idx="9879">
                  <c:v>3.6767123287671235</c:v>
                </c:pt>
                <c:pt idx="9880">
                  <c:v>3.6767123287671235</c:v>
                </c:pt>
                <c:pt idx="9881">
                  <c:v>#N/A</c:v>
                </c:pt>
                <c:pt idx="9882">
                  <c:v>#N/A</c:v>
                </c:pt>
                <c:pt idx="9883">
                  <c:v>#N/A</c:v>
                </c:pt>
                <c:pt idx="9884">
                  <c:v>#N/A</c:v>
                </c:pt>
                <c:pt idx="9885">
                  <c:v>3.6767123287671235</c:v>
                </c:pt>
                <c:pt idx="9886">
                  <c:v>3.6767123287671235</c:v>
                </c:pt>
                <c:pt idx="9887">
                  <c:v>3.6767123287671235</c:v>
                </c:pt>
                <c:pt idx="9888">
                  <c:v>#N/A</c:v>
                </c:pt>
                <c:pt idx="9889">
                  <c:v>3.6794520547945204</c:v>
                </c:pt>
                <c:pt idx="9890">
                  <c:v>#N/A</c:v>
                </c:pt>
                <c:pt idx="9891">
                  <c:v>#N/A</c:v>
                </c:pt>
                <c:pt idx="9892">
                  <c:v>3.6794520547945204</c:v>
                </c:pt>
                <c:pt idx="9893">
                  <c:v>3.6794520547945204</c:v>
                </c:pt>
                <c:pt idx="9894">
                  <c:v>3.6794520547945204</c:v>
                </c:pt>
                <c:pt idx="9895">
                  <c:v>3.6794520547945204</c:v>
                </c:pt>
                <c:pt idx="9896">
                  <c:v>#N/A</c:v>
                </c:pt>
                <c:pt idx="9897">
                  <c:v>3.6794520547945204</c:v>
                </c:pt>
                <c:pt idx="9898">
                  <c:v>#N/A</c:v>
                </c:pt>
                <c:pt idx="9899">
                  <c:v>#N/A</c:v>
                </c:pt>
                <c:pt idx="9900">
                  <c:v>#N/A</c:v>
                </c:pt>
                <c:pt idx="9901">
                  <c:v>#N/A</c:v>
                </c:pt>
                <c:pt idx="9902">
                  <c:v>3.6821917808219178</c:v>
                </c:pt>
                <c:pt idx="9903">
                  <c:v>#N/A</c:v>
                </c:pt>
                <c:pt idx="9904">
                  <c:v>#N/A</c:v>
                </c:pt>
                <c:pt idx="9905">
                  <c:v>3.6849315068493151</c:v>
                </c:pt>
                <c:pt idx="9906">
                  <c:v>#N/A</c:v>
                </c:pt>
                <c:pt idx="9907">
                  <c:v>#N/A</c:v>
                </c:pt>
                <c:pt idx="9908">
                  <c:v>#N/A</c:v>
                </c:pt>
                <c:pt idx="9909">
                  <c:v>#N/A</c:v>
                </c:pt>
                <c:pt idx="9910">
                  <c:v>#N/A</c:v>
                </c:pt>
                <c:pt idx="9911">
                  <c:v>3.6849315068493151</c:v>
                </c:pt>
                <c:pt idx="9912">
                  <c:v>#N/A</c:v>
                </c:pt>
                <c:pt idx="9913">
                  <c:v>3.6849315068493151</c:v>
                </c:pt>
                <c:pt idx="9914">
                  <c:v>3.6876712328767125</c:v>
                </c:pt>
                <c:pt idx="9915">
                  <c:v>#N/A</c:v>
                </c:pt>
                <c:pt idx="9916">
                  <c:v>#N/A</c:v>
                </c:pt>
                <c:pt idx="9917">
                  <c:v>3.6876712328767125</c:v>
                </c:pt>
                <c:pt idx="9918">
                  <c:v>#N/A</c:v>
                </c:pt>
                <c:pt idx="9919">
                  <c:v>3.6876712328767125</c:v>
                </c:pt>
                <c:pt idx="9920">
                  <c:v>3.6876712328767125</c:v>
                </c:pt>
                <c:pt idx="9921">
                  <c:v>3.6876712328767125</c:v>
                </c:pt>
                <c:pt idx="9922">
                  <c:v>3.6876712328767125</c:v>
                </c:pt>
                <c:pt idx="9923">
                  <c:v>3.6876712328767125</c:v>
                </c:pt>
                <c:pt idx="9924">
                  <c:v>#N/A</c:v>
                </c:pt>
                <c:pt idx="9925">
                  <c:v>#N/A</c:v>
                </c:pt>
                <c:pt idx="9926">
                  <c:v>3.6876712328767125</c:v>
                </c:pt>
                <c:pt idx="9927">
                  <c:v>#N/A</c:v>
                </c:pt>
                <c:pt idx="9928">
                  <c:v>#N/A</c:v>
                </c:pt>
                <c:pt idx="9929">
                  <c:v>#N/A</c:v>
                </c:pt>
                <c:pt idx="9930">
                  <c:v>#N/A</c:v>
                </c:pt>
                <c:pt idx="9931">
                  <c:v>#N/A</c:v>
                </c:pt>
                <c:pt idx="9932">
                  <c:v>#N/A</c:v>
                </c:pt>
                <c:pt idx="9933">
                  <c:v>#N/A</c:v>
                </c:pt>
                <c:pt idx="9934">
                  <c:v>3.6958904109589041</c:v>
                </c:pt>
                <c:pt idx="9935">
                  <c:v>#N/A</c:v>
                </c:pt>
                <c:pt idx="9936">
                  <c:v>#N/A</c:v>
                </c:pt>
                <c:pt idx="9937">
                  <c:v>3.6986301369863015</c:v>
                </c:pt>
                <c:pt idx="9938">
                  <c:v>#N/A</c:v>
                </c:pt>
                <c:pt idx="9939">
                  <c:v>#N/A</c:v>
                </c:pt>
                <c:pt idx="9940">
                  <c:v>#N/A</c:v>
                </c:pt>
                <c:pt idx="9941">
                  <c:v>#N/A</c:v>
                </c:pt>
                <c:pt idx="9942">
                  <c:v>#N/A</c:v>
                </c:pt>
                <c:pt idx="9943">
                  <c:v>#N/A</c:v>
                </c:pt>
                <c:pt idx="9944">
                  <c:v>#N/A</c:v>
                </c:pt>
                <c:pt idx="9945">
                  <c:v>#N/A</c:v>
                </c:pt>
                <c:pt idx="9946">
                  <c:v>#N/A</c:v>
                </c:pt>
                <c:pt idx="9947">
                  <c:v>#N/A</c:v>
                </c:pt>
                <c:pt idx="9948">
                  <c:v>#N/A</c:v>
                </c:pt>
                <c:pt idx="9949">
                  <c:v>#N/A</c:v>
                </c:pt>
                <c:pt idx="9950">
                  <c:v>#N/A</c:v>
                </c:pt>
                <c:pt idx="9951">
                  <c:v>#N/A</c:v>
                </c:pt>
                <c:pt idx="9952">
                  <c:v>#N/A</c:v>
                </c:pt>
                <c:pt idx="9953">
                  <c:v>#N/A</c:v>
                </c:pt>
                <c:pt idx="9954">
                  <c:v>#N/A</c:v>
                </c:pt>
                <c:pt idx="9955">
                  <c:v>#N/A</c:v>
                </c:pt>
                <c:pt idx="9956">
                  <c:v>3.7178082191780821</c:v>
                </c:pt>
                <c:pt idx="9957">
                  <c:v>#N/A</c:v>
                </c:pt>
                <c:pt idx="9958">
                  <c:v>#N/A</c:v>
                </c:pt>
                <c:pt idx="9959">
                  <c:v>3.7342465753424658</c:v>
                </c:pt>
                <c:pt idx="9960">
                  <c:v>3.7369863013698632</c:v>
                </c:pt>
                <c:pt idx="9961">
                  <c:v>#N/A</c:v>
                </c:pt>
                <c:pt idx="9962">
                  <c:v>#N/A</c:v>
                </c:pt>
                <c:pt idx="9963">
                  <c:v>#N/A</c:v>
                </c:pt>
                <c:pt idx="9964">
                  <c:v>#N/A</c:v>
                </c:pt>
                <c:pt idx="9965">
                  <c:v>#N/A</c:v>
                </c:pt>
                <c:pt idx="9966">
                  <c:v>3.7561643835616438</c:v>
                </c:pt>
                <c:pt idx="9967">
                  <c:v>3.7561643835616438</c:v>
                </c:pt>
                <c:pt idx="9968">
                  <c:v>#N/A</c:v>
                </c:pt>
                <c:pt idx="9969">
                  <c:v>#N/A</c:v>
                </c:pt>
                <c:pt idx="9970">
                  <c:v>#N/A</c:v>
                </c:pt>
                <c:pt idx="9971">
                  <c:v>3.7589041095890412</c:v>
                </c:pt>
                <c:pt idx="9972">
                  <c:v>#N/A</c:v>
                </c:pt>
                <c:pt idx="9973">
                  <c:v>3.7616438356164386</c:v>
                </c:pt>
                <c:pt idx="9974">
                  <c:v>3.7616438356164386</c:v>
                </c:pt>
                <c:pt idx="9975">
                  <c:v>#N/A</c:v>
                </c:pt>
                <c:pt idx="9976">
                  <c:v>#N/A</c:v>
                </c:pt>
                <c:pt idx="9977">
                  <c:v>#N/A</c:v>
                </c:pt>
                <c:pt idx="9978">
                  <c:v>#N/A</c:v>
                </c:pt>
                <c:pt idx="9979">
                  <c:v>3.7808219178082192</c:v>
                </c:pt>
                <c:pt idx="9980">
                  <c:v>3.7808219178082192</c:v>
                </c:pt>
                <c:pt idx="9981">
                  <c:v>#N/A</c:v>
                </c:pt>
                <c:pt idx="9982">
                  <c:v>#N/A</c:v>
                </c:pt>
                <c:pt idx="9983">
                  <c:v>3.7808219178082192</c:v>
                </c:pt>
                <c:pt idx="9984">
                  <c:v>#N/A</c:v>
                </c:pt>
                <c:pt idx="9985">
                  <c:v>3.7835616438356166</c:v>
                </c:pt>
                <c:pt idx="9986">
                  <c:v>#N/A</c:v>
                </c:pt>
                <c:pt idx="9987">
                  <c:v>3.7835616438356166</c:v>
                </c:pt>
                <c:pt idx="9988">
                  <c:v>3.7835616438356166</c:v>
                </c:pt>
                <c:pt idx="9989">
                  <c:v>#N/A</c:v>
                </c:pt>
                <c:pt idx="9990">
                  <c:v>#N/A</c:v>
                </c:pt>
                <c:pt idx="9991">
                  <c:v>#N/A</c:v>
                </c:pt>
                <c:pt idx="9992">
                  <c:v>#N/A</c:v>
                </c:pt>
                <c:pt idx="9993">
                  <c:v>#N/A</c:v>
                </c:pt>
                <c:pt idx="9994">
                  <c:v>#N/A</c:v>
                </c:pt>
                <c:pt idx="9995">
                  <c:v>#N/A</c:v>
                </c:pt>
                <c:pt idx="9996">
                  <c:v>#N/A</c:v>
                </c:pt>
                <c:pt idx="9997">
                  <c:v>3.7972602739726029</c:v>
                </c:pt>
                <c:pt idx="9998">
                  <c:v>#N/A</c:v>
                </c:pt>
                <c:pt idx="9999">
                  <c:v>#N/A</c:v>
                </c:pt>
                <c:pt idx="10000">
                  <c:v>3.7972602739726029</c:v>
                </c:pt>
                <c:pt idx="10001">
                  <c:v>#N/A</c:v>
                </c:pt>
                <c:pt idx="10002">
                  <c:v>3.8027397260273972</c:v>
                </c:pt>
                <c:pt idx="10003">
                  <c:v>3.8109589041095893</c:v>
                </c:pt>
                <c:pt idx="10004">
                  <c:v>3.8109589041095893</c:v>
                </c:pt>
                <c:pt idx="10005">
                  <c:v>#N/A</c:v>
                </c:pt>
                <c:pt idx="10006">
                  <c:v>#N/A</c:v>
                </c:pt>
                <c:pt idx="10007">
                  <c:v>#N/A</c:v>
                </c:pt>
                <c:pt idx="10008">
                  <c:v>#N/A</c:v>
                </c:pt>
                <c:pt idx="10009">
                  <c:v>#N/A</c:v>
                </c:pt>
                <c:pt idx="10010">
                  <c:v>#N/A</c:v>
                </c:pt>
                <c:pt idx="10011">
                  <c:v>#N/A</c:v>
                </c:pt>
                <c:pt idx="10012">
                  <c:v>#N/A</c:v>
                </c:pt>
                <c:pt idx="10013">
                  <c:v>#N/A</c:v>
                </c:pt>
                <c:pt idx="10014">
                  <c:v>#N/A</c:v>
                </c:pt>
                <c:pt idx="10015">
                  <c:v>#N/A</c:v>
                </c:pt>
                <c:pt idx="10016">
                  <c:v>#N/A</c:v>
                </c:pt>
                <c:pt idx="10017">
                  <c:v>3.8328767123287673</c:v>
                </c:pt>
                <c:pt idx="10018">
                  <c:v>#N/A</c:v>
                </c:pt>
                <c:pt idx="10019">
                  <c:v>3.8328767123287673</c:v>
                </c:pt>
                <c:pt idx="10020">
                  <c:v>#N/A</c:v>
                </c:pt>
                <c:pt idx="10021">
                  <c:v>3.8328767123287673</c:v>
                </c:pt>
                <c:pt idx="10022">
                  <c:v>#N/A</c:v>
                </c:pt>
                <c:pt idx="10023">
                  <c:v>#N/A</c:v>
                </c:pt>
                <c:pt idx="10024">
                  <c:v>3.8328767123287673</c:v>
                </c:pt>
                <c:pt idx="10025">
                  <c:v>#N/A</c:v>
                </c:pt>
                <c:pt idx="10026">
                  <c:v>3.8328767123287673</c:v>
                </c:pt>
                <c:pt idx="10027">
                  <c:v>3.8328767123287673</c:v>
                </c:pt>
                <c:pt idx="10028">
                  <c:v>3.8328767123287673</c:v>
                </c:pt>
                <c:pt idx="10029">
                  <c:v>3.8328767123287673</c:v>
                </c:pt>
                <c:pt idx="10030">
                  <c:v>3.8328767123287673</c:v>
                </c:pt>
                <c:pt idx="10031">
                  <c:v>3.8328767123287673</c:v>
                </c:pt>
                <c:pt idx="10032">
                  <c:v>#N/A</c:v>
                </c:pt>
                <c:pt idx="10033">
                  <c:v>#N/A</c:v>
                </c:pt>
                <c:pt idx="10034">
                  <c:v>3.8356164383561642</c:v>
                </c:pt>
                <c:pt idx="10035">
                  <c:v>#N/A</c:v>
                </c:pt>
                <c:pt idx="10036">
                  <c:v>#N/A</c:v>
                </c:pt>
                <c:pt idx="10037">
                  <c:v>3.8547945205479452</c:v>
                </c:pt>
                <c:pt idx="10038">
                  <c:v>#N/A</c:v>
                </c:pt>
                <c:pt idx="10039">
                  <c:v>#N/A</c:v>
                </c:pt>
                <c:pt idx="10040">
                  <c:v>3.8739726027397259</c:v>
                </c:pt>
                <c:pt idx="10041">
                  <c:v>#N/A</c:v>
                </c:pt>
                <c:pt idx="10042">
                  <c:v>3.8739726027397259</c:v>
                </c:pt>
                <c:pt idx="10043">
                  <c:v>3.8739726027397259</c:v>
                </c:pt>
                <c:pt idx="10044">
                  <c:v>3.8794520547945206</c:v>
                </c:pt>
                <c:pt idx="10045">
                  <c:v>#N/A</c:v>
                </c:pt>
                <c:pt idx="10046">
                  <c:v>#N/A</c:v>
                </c:pt>
                <c:pt idx="10047">
                  <c:v>#N/A</c:v>
                </c:pt>
                <c:pt idx="10048">
                  <c:v>#N/A</c:v>
                </c:pt>
                <c:pt idx="10049">
                  <c:v>#N/A</c:v>
                </c:pt>
                <c:pt idx="10050">
                  <c:v>#N/A</c:v>
                </c:pt>
                <c:pt idx="10051">
                  <c:v>#N/A</c:v>
                </c:pt>
                <c:pt idx="10052">
                  <c:v>#N/A</c:v>
                </c:pt>
                <c:pt idx="10053">
                  <c:v>#N/A</c:v>
                </c:pt>
                <c:pt idx="10054">
                  <c:v>#N/A</c:v>
                </c:pt>
                <c:pt idx="10055">
                  <c:v>#N/A</c:v>
                </c:pt>
                <c:pt idx="10056">
                  <c:v>#N/A</c:v>
                </c:pt>
                <c:pt idx="10057">
                  <c:v>#N/A</c:v>
                </c:pt>
                <c:pt idx="10058">
                  <c:v>#N/A</c:v>
                </c:pt>
                <c:pt idx="10059">
                  <c:v>3.8986301369863012</c:v>
                </c:pt>
                <c:pt idx="10060">
                  <c:v>#N/A</c:v>
                </c:pt>
                <c:pt idx="10061">
                  <c:v>3.9095890410958902</c:v>
                </c:pt>
                <c:pt idx="10062">
                  <c:v>3.9095890410958902</c:v>
                </c:pt>
                <c:pt idx="10063">
                  <c:v>#N/A</c:v>
                </c:pt>
                <c:pt idx="10064">
                  <c:v>3.9095890410958902</c:v>
                </c:pt>
                <c:pt idx="10065">
                  <c:v>3.9095890410958902</c:v>
                </c:pt>
                <c:pt idx="10066">
                  <c:v>#N/A</c:v>
                </c:pt>
                <c:pt idx="10067">
                  <c:v>3.9123287671232876</c:v>
                </c:pt>
                <c:pt idx="10068">
                  <c:v>#N/A</c:v>
                </c:pt>
                <c:pt idx="10069">
                  <c:v>3.9123287671232876</c:v>
                </c:pt>
                <c:pt idx="10070">
                  <c:v>3.9123287671232876</c:v>
                </c:pt>
                <c:pt idx="10071">
                  <c:v>#N/A</c:v>
                </c:pt>
                <c:pt idx="10072">
                  <c:v>#N/A</c:v>
                </c:pt>
                <c:pt idx="10073">
                  <c:v>3.9150684931506849</c:v>
                </c:pt>
                <c:pt idx="10074">
                  <c:v>3.9260273972602739</c:v>
                </c:pt>
                <c:pt idx="10075">
                  <c:v>#N/A</c:v>
                </c:pt>
                <c:pt idx="10076">
                  <c:v>#N/A</c:v>
                </c:pt>
                <c:pt idx="10077">
                  <c:v>#N/A</c:v>
                </c:pt>
                <c:pt idx="10078">
                  <c:v>3.9342465753424656</c:v>
                </c:pt>
                <c:pt idx="10079">
                  <c:v>#N/A</c:v>
                </c:pt>
                <c:pt idx="10080">
                  <c:v>#N/A</c:v>
                </c:pt>
                <c:pt idx="10081">
                  <c:v>#N/A</c:v>
                </c:pt>
                <c:pt idx="10082">
                  <c:v>3.9452054794520546</c:v>
                </c:pt>
                <c:pt idx="10083">
                  <c:v>3.9452054794520546</c:v>
                </c:pt>
                <c:pt idx="10084">
                  <c:v>#N/A</c:v>
                </c:pt>
                <c:pt idx="10085">
                  <c:v>#N/A</c:v>
                </c:pt>
                <c:pt idx="10086">
                  <c:v>#N/A</c:v>
                </c:pt>
                <c:pt idx="10087">
                  <c:v>3.9452054794520546</c:v>
                </c:pt>
                <c:pt idx="10088">
                  <c:v>#N/A</c:v>
                </c:pt>
                <c:pt idx="10089">
                  <c:v>#N/A</c:v>
                </c:pt>
                <c:pt idx="10090">
                  <c:v>3.9452054794520546</c:v>
                </c:pt>
                <c:pt idx="10091">
                  <c:v>#N/A</c:v>
                </c:pt>
                <c:pt idx="10092">
                  <c:v>#N/A</c:v>
                </c:pt>
                <c:pt idx="10093">
                  <c:v>#N/A</c:v>
                </c:pt>
                <c:pt idx="10094">
                  <c:v>#N/A</c:v>
                </c:pt>
                <c:pt idx="10095">
                  <c:v>#N/A</c:v>
                </c:pt>
                <c:pt idx="10096">
                  <c:v>#N/A</c:v>
                </c:pt>
                <c:pt idx="10097">
                  <c:v>#N/A</c:v>
                </c:pt>
                <c:pt idx="10098">
                  <c:v>3.956164383561644</c:v>
                </c:pt>
                <c:pt idx="10099">
                  <c:v>3.956164383561644</c:v>
                </c:pt>
                <c:pt idx="10100">
                  <c:v>#N/A</c:v>
                </c:pt>
                <c:pt idx="10101">
                  <c:v>3.956164383561644</c:v>
                </c:pt>
                <c:pt idx="10102">
                  <c:v>#N/A</c:v>
                </c:pt>
                <c:pt idx="10103">
                  <c:v>#N/A</c:v>
                </c:pt>
                <c:pt idx="10104">
                  <c:v>3.967123287671233</c:v>
                </c:pt>
                <c:pt idx="10105">
                  <c:v>#N/A</c:v>
                </c:pt>
                <c:pt idx="10106">
                  <c:v>3.9698630136986299</c:v>
                </c:pt>
                <c:pt idx="10107">
                  <c:v>#N/A</c:v>
                </c:pt>
                <c:pt idx="10108">
                  <c:v>3.9698630136986299</c:v>
                </c:pt>
                <c:pt idx="10109">
                  <c:v>3.9698630136986299</c:v>
                </c:pt>
                <c:pt idx="10110">
                  <c:v>#N/A</c:v>
                </c:pt>
                <c:pt idx="10111">
                  <c:v>3.9726027397260273</c:v>
                </c:pt>
                <c:pt idx="10112">
                  <c:v>3.9726027397260273</c:v>
                </c:pt>
                <c:pt idx="10113">
                  <c:v>#N/A</c:v>
                </c:pt>
                <c:pt idx="10114">
                  <c:v>3.9835616438356163</c:v>
                </c:pt>
                <c:pt idx="10115">
                  <c:v>#N/A</c:v>
                </c:pt>
                <c:pt idx="10116">
                  <c:v>#N/A</c:v>
                </c:pt>
                <c:pt idx="10117">
                  <c:v>#N/A</c:v>
                </c:pt>
                <c:pt idx="10118">
                  <c:v>3.989041095890411</c:v>
                </c:pt>
                <c:pt idx="10119">
                  <c:v>3.989041095890411</c:v>
                </c:pt>
                <c:pt idx="10120">
                  <c:v>3.989041095890411</c:v>
                </c:pt>
                <c:pt idx="10121">
                  <c:v>#N/A</c:v>
                </c:pt>
                <c:pt idx="10122">
                  <c:v>#N/A</c:v>
                </c:pt>
                <c:pt idx="10123">
                  <c:v>#N/A</c:v>
                </c:pt>
                <c:pt idx="10124">
                  <c:v>3.989041095890411</c:v>
                </c:pt>
                <c:pt idx="10125">
                  <c:v>#N/A</c:v>
                </c:pt>
                <c:pt idx="10126">
                  <c:v>3.989041095890411</c:v>
                </c:pt>
                <c:pt idx="10127">
                  <c:v>#N/A</c:v>
                </c:pt>
                <c:pt idx="10128">
                  <c:v>#N/A</c:v>
                </c:pt>
                <c:pt idx="10129">
                  <c:v>#N/A</c:v>
                </c:pt>
                <c:pt idx="10130">
                  <c:v>4.0027397260273974</c:v>
                </c:pt>
                <c:pt idx="10131">
                  <c:v>#N/A</c:v>
                </c:pt>
                <c:pt idx="10132">
                  <c:v>#N/A</c:v>
                </c:pt>
                <c:pt idx="10133">
                  <c:v>#N/A</c:v>
                </c:pt>
                <c:pt idx="10134">
                  <c:v>#N/A</c:v>
                </c:pt>
                <c:pt idx="10135">
                  <c:v>4.0027397260273974</c:v>
                </c:pt>
                <c:pt idx="10136">
                  <c:v>#N/A</c:v>
                </c:pt>
                <c:pt idx="10137">
                  <c:v>#N/A</c:v>
                </c:pt>
                <c:pt idx="10138">
                  <c:v>#N/A</c:v>
                </c:pt>
                <c:pt idx="10139">
                  <c:v>#N/A</c:v>
                </c:pt>
                <c:pt idx="10140">
                  <c:v>#N/A</c:v>
                </c:pt>
                <c:pt idx="10141">
                  <c:v>4.0027397260273974</c:v>
                </c:pt>
                <c:pt idx="10142">
                  <c:v>#N/A</c:v>
                </c:pt>
                <c:pt idx="10143">
                  <c:v>#N/A</c:v>
                </c:pt>
                <c:pt idx="10144">
                  <c:v>#N/A</c:v>
                </c:pt>
                <c:pt idx="10145">
                  <c:v>#N/A</c:v>
                </c:pt>
                <c:pt idx="10146">
                  <c:v>#N/A</c:v>
                </c:pt>
                <c:pt idx="10147">
                  <c:v>#N/A</c:v>
                </c:pt>
                <c:pt idx="10148">
                  <c:v>#N/A</c:v>
                </c:pt>
                <c:pt idx="10149">
                  <c:v>4.0054794520547947</c:v>
                </c:pt>
                <c:pt idx="10150">
                  <c:v>#N/A</c:v>
                </c:pt>
                <c:pt idx="10151">
                  <c:v>#N/A</c:v>
                </c:pt>
                <c:pt idx="10152">
                  <c:v>#N/A</c:v>
                </c:pt>
                <c:pt idx="10153">
                  <c:v>#N/A</c:v>
                </c:pt>
                <c:pt idx="10154">
                  <c:v>#N/A</c:v>
                </c:pt>
                <c:pt idx="10155">
                  <c:v>4.0082191780821921</c:v>
                </c:pt>
                <c:pt idx="10156">
                  <c:v>#N/A</c:v>
                </c:pt>
                <c:pt idx="10157">
                  <c:v>4.0082191780821921</c:v>
                </c:pt>
                <c:pt idx="10158">
                  <c:v>4.0082191780821921</c:v>
                </c:pt>
                <c:pt idx="10159">
                  <c:v>4.0082191780821921</c:v>
                </c:pt>
                <c:pt idx="10160">
                  <c:v>#N/A</c:v>
                </c:pt>
                <c:pt idx="10161">
                  <c:v>#N/A</c:v>
                </c:pt>
                <c:pt idx="10162">
                  <c:v>#N/A</c:v>
                </c:pt>
                <c:pt idx="10163">
                  <c:v>4.0082191780821921</c:v>
                </c:pt>
                <c:pt idx="10164">
                  <c:v>4.0082191780821921</c:v>
                </c:pt>
                <c:pt idx="10165">
                  <c:v>4.0082191780821921</c:v>
                </c:pt>
                <c:pt idx="10166">
                  <c:v>#N/A</c:v>
                </c:pt>
                <c:pt idx="10167">
                  <c:v>#N/A</c:v>
                </c:pt>
                <c:pt idx="10168">
                  <c:v>#N/A</c:v>
                </c:pt>
                <c:pt idx="10169">
                  <c:v>4.0082191780821921</c:v>
                </c:pt>
                <c:pt idx="10170">
                  <c:v>#N/A</c:v>
                </c:pt>
                <c:pt idx="10171">
                  <c:v>4.0082191780821921</c:v>
                </c:pt>
                <c:pt idx="10172">
                  <c:v>#N/A</c:v>
                </c:pt>
                <c:pt idx="10173">
                  <c:v>4.0082191780821921</c:v>
                </c:pt>
                <c:pt idx="10174">
                  <c:v>#N/A</c:v>
                </c:pt>
                <c:pt idx="10175">
                  <c:v>#N/A</c:v>
                </c:pt>
                <c:pt idx="10176">
                  <c:v>#N/A</c:v>
                </c:pt>
                <c:pt idx="10177">
                  <c:v>4.0082191780821921</c:v>
                </c:pt>
                <c:pt idx="10178">
                  <c:v>#N/A</c:v>
                </c:pt>
                <c:pt idx="10179">
                  <c:v>4.0082191780821921</c:v>
                </c:pt>
                <c:pt idx="10180">
                  <c:v>#N/A</c:v>
                </c:pt>
                <c:pt idx="10181">
                  <c:v>#N/A</c:v>
                </c:pt>
                <c:pt idx="10182">
                  <c:v>#N/A</c:v>
                </c:pt>
                <c:pt idx="10183">
                  <c:v>4.0082191780821921</c:v>
                </c:pt>
                <c:pt idx="10184">
                  <c:v>4.0082191780821921</c:v>
                </c:pt>
                <c:pt idx="10185">
                  <c:v>#N/A</c:v>
                </c:pt>
                <c:pt idx="10186">
                  <c:v>#N/A</c:v>
                </c:pt>
                <c:pt idx="10187">
                  <c:v>#N/A</c:v>
                </c:pt>
                <c:pt idx="10188">
                  <c:v>4.0082191780821921</c:v>
                </c:pt>
                <c:pt idx="10189">
                  <c:v>4.0082191780821921</c:v>
                </c:pt>
                <c:pt idx="10190">
                  <c:v>#N/A</c:v>
                </c:pt>
                <c:pt idx="10191">
                  <c:v>4.0082191780821921</c:v>
                </c:pt>
                <c:pt idx="10192">
                  <c:v>#N/A</c:v>
                </c:pt>
                <c:pt idx="10193">
                  <c:v>#N/A</c:v>
                </c:pt>
                <c:pt idx="10194">
                  <c:v>#N/A</c:v>
                </c:pt>
                <c:pt idx="10195">
                  <c:v>#N/A</c:v>
                </c:pt>
                <c:pt idx="10196">
                  <c:v>4.0082191780821921</c:v>
                </c:pt>
                <c:pt idx="10197">
                  <c:v>4.0082191780821921</c:v>
                </c:pt>
                <c:pt idx="10198">
                  <c:v>#N/A</c:v>
                </c:pt>
                <c:pt idx="10199">
                  <c:v>4.0082191780821921</c:v>
                </c:pt>
                <c:pt idx="10200">
                  <c:v>#N/A</c:v>
                </c:pt>
                <c:pt idx="10201">
                  <c:v>4.0082191780821921</c:v>
                </c:pt>
                <c:pt idx="10202">
                  <c:v>#N/A</c:v>
                </c:pt>
                <c:pt idx="10203">
                  <c:v>#N/A</c:v>
                </c:pt>
                <c:pt idx="10204">
                  <c:v>4.0082191780821921</c:v>
                </c:pt>
                <c:pt idx="10205">
                  <c:v>#N/A</c:v>
                </c:pt>
                <c:pt idx="10206">
                  <c:v>#N/A</c:v>
                </c:pt>
                <c:pt idx="10207">
                  <c:v>#N/A</c:v>
                </c:pt>
                <c:pt idx="10208">
                  <c:v>#N/A</c:v>
                </c:pt>
                <c:pt idx="10209">
                  <c:v>#N/A</c:v>
                </c:pt>
                <c:pt idx="10210">
                  <c:v>#N/A</c:v>
                </c:pt>
                <c:pt idx="10211">
                  <c:v>#N/A</c:v>
                </c:pt>
                <c:pt idx="10212">
                  <c:v>#N/A</c:v>
                </c:pt>
                <c:pt idx="10213">
                  <c:v>#N/A</c:v>
                </c:pt>
                <c:pt idx="10214">
                  <c:v>#N/A</c:v>
                </c:pt>
                <c:pt idx="10215">
                  <c:v>#N/A</c:v>
                </c:pt>
                <c:pt idx="10216">
                  <c:v>#N/A</c:v>
                </c:pt>
                <c:pt idx="10217">
                  <c:v>#N/A</c:v>
                </c:pt>
                <c:pt idx="10218">
                  <c:v>#N/A</c:v>
                </c:pt>
                <c:pt idx="10219">
                  <c:v>#N/A</c:v>
                </c:pt>
                <c:pt idx="10220">
                  <c:v>#N/A</c:v>
                </c:pt>
                <c:pt idx="10221">
                  <c:v>4.0082191780821921</c:v>
                </c:pt>
                <c:pt idx="10222">
                  <c:v>#N/A</c:v>
                </c:pt>
                <c:pt idx="10223">
                  <c:v>#N/A</c:v>
                </c:pt>
                <c:pt idx="10224">
                  <c:v>4.0082191780821921</c:v>
                </c:pt>
                <c:pt idx="10225">
                  <c:v>#N/A</c:v>
                </c:pt>
                <c:pt idx="10226">
                  <c:v>4.0082191780821921</c:v>
                </c:pt>
                <c:pt idx="10227">
                  <c:v>#N/A</c:v>
                </c:pt>
                <c:pt idx="10228">
                  <c:v>4.0082191780821921</c:v>
                </c:pt>
                <c:pt idx="10229">
                  <c:v>#N/A</c:v>
                </c:pt>
                <c:pt idx="10230">
                  <c:v>#N/A</c:v>
                </c:pt>
                <c:pt idx="10231">
                  <c:v>4.0082191780821921</c:v>
                </c:pt>
                <c:pt idx="10232">
                  <c:v>#N/A</c:v>
                </c:pt>
                <c:pt idx="10233">
                  <c:v>#N/A</c:v>
                </c:pt>
                <c:pt idx="10234">
                  <c:v>#N/A</c:v>
                </c:pt>
                <c:pt idx="10235">
                  <c:v>#N/A</c:v>
                </c:pt>
                <c:pt idx="10236">
                  <c:v>4.0082191780821921</c:v>
                </c:pt>
                <c:pt idx="10237">
                  <c:v>#N/A</c:v>
                </c:pt>
                <c:pt idx="10238">
                  <c:v>#N/A</c:v>
                </c:pt>
                <c:pt idx="10239">
                  <c:v>#N/A</c:v>
                </c:pt>
                <c:pt idx="10240">
                  <c:v>#N/A</c:v>
                </c:pt>
                <c:pt idx="10241">
                  <c:v>#N/A</c:v>
                </c:pt>
                <c:pt idx="10242">
                  <c:v>4.0082191780821921</c:v>
                </c:pt>
                <c:pt idx="10243">
                  <c:v>4.0082191780821921</c:v>
                </c:pt>
                <c:pt idx="10244">
                  <c:v>4.0082191780821921</c:v>
                </c:pt>
                <c:pt idx="10245">
                  <c:v>4.0082191780821921</c:v>
                </c:pt>
                <c:pt idx="10246">
                  <c:v>4.0082191780821921</c:v>
                </c:pt>
                <c:pt idx="10247">
                  <c:v>#N/A</c:v>
                </c:pt>
                <c:pt idx="10248">
                  <c:v>#N/A</c:v>
                </c:pt>
                <c:pt idx="10249">
                  <c:v>4.0082191780821921</c:v>
                </c:pt>
                <c:pt idx="10250">
                  <c:v>4.0082191780821921</c:v>
                </c:pt>
                <c:pt idx="10251">
                  <c:v>4.0082191780821921</c:v>
                </c:pt>
                <c:pt idx="10252">
                  <c:v>4.0082191780821921</c:v>
                </c:pt>
                <c:pt idx="10253">
                  <c:v>#N/A</c:v>
                </c:pt>
                <c:pt idx="10254">
                  <c:v>#N/A</c:v>
                </c:pt>
                <c:pt idx="10255">
                  <c:v>4.0082191780821921</c:v>
                </c:pt>
                <c:pt idx="10256">
                  <c:v>#N/A</c:v>
                </c:pt>
                <c:pt idx="10257">
                  <c:v>#N/A</c:v>
                </c:pt>
                <c:pt idx="10258">
                  <c:v>4.0082191780821921</c:v>
                </c:pt>
                <c:pt idx="10259">
                  <c:v>4.0082191780821921</c:v>
                </c:pt>
                <c:pt idx="10260">
                  <c:v>4.0082191780821921</c:v>
                </c:pt>
                <c:pt idx="10261">
                  <c:v>#N/A</c:v>
                </c:pt>
                <c:pt idx="10262">
                  <c:v>#N/A</c:v>
                </c:pt>
                <c:pt idx="10263">
                  <c:v>#N/A</c:v>
                </c:pt>
                <c:pt idx="10264">
                  <c:v>#N/A</c:v>
                </c:pt>
                <c:pt idx="10265">
                  <c:v>4.0082191780821921</c:v>
                </c:pt>
                <c:pt idx="10266">
                  <c:v>4.0082191780821921</c:v>
                </c:pt>
                <c:pt idx="10267">
                  <c:v>4.0082191780821921</c:v>
                </c:pt>
                <c:pt idx="10268">
                  <c:v>4.0082191780821921</c:v>
                </c:pt>
                <c:pt idx="10269">
                  <c:v>#N/A</c:v>
                </c:pt>
                <c:pt idx="10270">
                  <c:v>#N/A</c:v>
                </c:pt>
                <c:pt idx="10271">
                  <c:v>#N/A</c:v>
                </c:pt>
                <c:pt idx="10272">
                  <c:v>#N/A</c:v>
                </c:pt>
                <c:pt idx="10273">
                  <c:v>4.0082191780821921</c:v>
                </c:pt>
                <c:pt idx="10274">
                  <c:v>#N/A</c:v>
                </c:pt>
                <c:pt idx="10275">
                  <c:v>#N/A</c:v>
                </c:pt>
                <c:pt idx="10276">
                  <c:v>4.0082191780821921</c:v>
                </c:pt>
                <c:pt idx="10277">
                  <c:v>#N/A</c:v>
                </c:pt>
                <c:pt idx="10278">
                  <c:v>#N/A</c:v>
                </c:pt>
                <c:pt idx="10279">
                  <c:v>4.0082191780821921</c:v>
                </c:pt>
                <c:pt idx="10280">
                  <c:v>#N/A</c:v>
                </c:pt>
                <c:pt idx="10281">
                  <c:v>4.0082191780821921</c:v>
                </c:pt>
                <c:pt idx="10282">
                  <c:v>#N/A</c:v>
                </c:pt>
                <c:pt idx="10283">
                  <c:v>#N/A</c:v>
                </c:pt>
                <c:pt idx="10284">
                  <c:v>#N/A</c:v>
                </c:pt>
                <c:pt idx="10285">
                  <c:v>4.0082191780821921</c:v>
                </c:pt>
                <c:pt idx="10286">
                  <c:v>4.0082191780821921</c:v>
                </c:pt>
                <c:pt idx="10287">
                  <c:v>#N/A</c:v>
                </c:pt>
                <c:pt idx="10288">
                  <c:v>#N/A</c:v>
                </c:pt>
                <c:pt idx="10289">
                  <c:v>#N/A</c:v>
                </c:pt>
                <c:pt idx="10290">
                  <c:v>#N/A</c:v>
                </c:pt>
                <c:pt idx="10291">
                  <c:v>#N/A</c:v>
                </c:pt>
                <c:pt idx="10292">
                  <c:v>#N/A</c:v>
                </c:pt>
                <c:pt idx="10293">
                  <c:v>#N/A</c:v>
                </c:pt>
                <c:pt idx="10294">
                  <c:v>4.0082191780821921</c:v>
                </c:pt>
                <c:pt idx="10295">
                  <c:v>#N/A</c:v>
                </c:pt>
                <c:pt idx="10296">
                  <c:v>#N/A</c:v>
                </c:pt>
                <c:pt idx="10297">
                  <c:v>#N/A</c:v>
                </c:pt>
                <c:pt idx="10298">
                  <c:v>#N/A</c:v>
                </c:pt>
                <c:pt idx="10299">
                  <c:v>#N/A</c:v>
                </c:pt>
                <c:pt idx="10300">
                  <c:v>#N/A</c:v>
                </c:pt>
                <c:pt idx="10301">
                  <c:v>4.0109589041095894</c:v>
                </c:pt>
                <c:pt idx="10302">
                  <c:v>#N/A</c:v>
                </c:pt>
                <c:pt idx="10303">
                  <c:v>#N/A</c:v>
                </c:pt>
                <c:pt idx="10304">
                  <c:v>4.0109589041095894</c:v>
                </c:pt>
                <c:pt idx="10305">
                  <c:v>4.0109589041095894</c:v>
                </c:pt>
                <c:pt idx="10306">
                  <c:v>4.0109589041095894</c:v>
                </c:pt>
                <c:pt idx="10307">
                  <c:v>#N/A</c:v>
                </c:pt>
                <c:pt idx="10308">
                  <c:v>4.0109589041095894</c:v>
                </c:pt>
                <c:pt idx="10309">
                  <c:v>#N/A</c:v>
                </c:pt>
                <c:pt idx="10310">
                  <c:v>#N/A</c:v>
                </c:pt>
                <c:pt idx="10311">
                  <c:v>4.0109589041095894</c:v>
                </c:pt>
                <c:pt idx="10312">
                  <c:v>#N/A</c:v>
                </c:pt>
                <c:pt idx="10313">
                  <c:v>#N/A</c:v>
                </c:pt>
                <c:pt idx="10314">
                  <c:v>#N/A</c:v>
                </c:pt>
                <c:pt idx="10315">
                  <c:v>#N/A</c:v>
                </c:pt>
                <c:pt idx="10316">
                  <c:v>#N/A</c:v>
                </c:pt>
                <c:pt idx="10317">
                  <c:v>#N/A</c:v>
                </c:pt>
                <c:pt idx="10318">
                  <c:v>#N/A</c:v>
                </c:pt>
                <c:pt idx="10319">
                  <c:v>4.0136986301369859</c:v>
                </c:pt>
                <c:pt idx="10320">
                  <c:v>#N/A</c:v>
                </c:pt>
                <c:pt idx="10321">
                  <c:v>#N/A</c:v>
                </c:pt>
                <c:pt idx="10322">
                  <c:v>4.0136986301369859</c:v>
                </c:pt>
                <c:pt idx="10323">
                  <c:v>#N/A</c:v>
                </c:pt>
                <c:pt idx="10324">
                  <c:v>#N/A</c:v>
                </c:pt>
                <c:pt idx="10325">
                  <c:v>4.0136986301369859</c:v>
                </c:pt>
                <c:pt idx="10326">
                  <c:v>4.0136986301369859</c:v>
                </c:pt>
                <c:pt idx="10327">
                  <c:v>#N/A</c:v>
                </c:pt>
                <c:pt idx="10328">
                  <c:v>4.0136986301369859</c:v>
                </c:pt>
                <c:pt idx="10329">
                  <c:v>#N/A</c:v>
                </c:pt>
                <c:pt idx="10330">
                  <c:v>4.0136986301369859</c:v>
                </c:pt>
                <c:pt idx="10331">
                  <c:v>#N/A</c:v>
                </c:pt>
                <c:pt idx="10332">
                  <c:v>4.0136986301369859</c:v>
                </c:pt>
                <c:pt idx="10333">
                  <c:v>#N/A</c:v>
                </c:pt>
                <c:pt idx="10334">
                  <c:v>#N/A</c:v>
                </c:pt>
                <c:pt idx="10335">
                  <c:v>#N/A</c:v>
                </c:pt>
                <c:pt idx="10336">
                  <c:v>4.0136986301369859</c:v>
                </c:pt>
                <c:pt idx="10337">
                  <c:v>#N/A</c:v>
                </c:pt>
                <c:pt idx="10338">
                  <c:v>#N/A</c:v>
                </c:pt>
                <c:pt idx="10339">
                  <c:v>#N/A</c:v>
                </c:pt>
                <c:pt idx="10340">
                  <c:v>4.021917808219178</c:v>
                </c:pt>
                <c:pt idx="10341">
                  <c:v>#N/A</c:v>
                </c:pt>
                <c:pt idx="10342">
                  <c:v>#N/A</c:v>
                </c:pt>
                <c:pt idx="10343">
                  <c:v>4.021917808219178</c:v>
                </c:pt>
                <c:pt idx="10344">
                  <c:v>#N/A</c:v>
                </c:pt>
                <c:pt idx="10345">
                  <c:v>#N/A</c:v>
                </c:pt>
                <c:pt idx="10346">
                  <c:v>4.021917808219178</c:v>
                </c:pt>
                <c:pt idx="10347">
                  <c:v>#N/A</c:v>
                </c:pt>
                <c:pt idx="10348">
                  <c:v>#N/A</c:v>
                </c:pt>
                <c:pt idx="10349">
                  <c:v>#N/A</c:v>
                </c:pt>
                <c:pt idx="10350">
                  <c:v>4.021917808219178</c:v>
                </c:pt>
                <c:pt idx="10351">
                  <c:v>#N/A</c:v>
                </c:pt>
                <c:pt idx="10352">
                  <c:v>#N/A</c:v>
                </c:pt>
                <c:pt idx="10353">
                  <c:v>#N/A</c:v>
                </c:pt>
                <c:pt idx="10354">
                  <c:v>4.0273972602739727</c:v>
                </c:pt>
                <c:pt idx="10355">
                  <c:v>4.0273972602739727</c:v>
                </c:pt>
                <c:pt idx="10356">
                  <c:v>4.0273972602739727</c:v>
                </c:pt>
                <c:pt idx="10357">
                  <c:v>4.0273972602739727</c:v>
                </c:pt>
                <c:pt idx="10358">
                  <c:v>4.0273972602739727</c:v>
                </c:pt>
                <c:pt idx="10359">
                  <c:v>#N/A</c:v>
                </c:pt>
                <c:pt idx="10360">
                  <c:v>#N/A</c:v>
                </c:pt>
                <c:pt idx="10361">
                  <c:v>4.0301369863013701</c:v>
                </c:pt>
                <c:pt idx="10362">
                  <c:v>#N/A</c:v>
                </c:pt>
                <c:pt idx="10363">
                  <c:v>4.0301369863013701</c:v>
                </c:pt>
                <c:pt idx="10364">
                  <c:v>4.0301369863013701</c:v>
                </c:pt>
                <c:pt idx="10365">
                  <c:v>#N/A</c:v>
                </c:pt>
                <c:pt idx="10366">
                  <c:v>#N/A</c:v>
                </c:pt>
                <c:pt idx="10367">
                  <c:v>4.0301369863013701</c:v>
                </c:pt>
                <c:pt idx="10368">
                  <c:v>#N/A</c:v>
                </c:pt>
                <c:pt idx="10369">
                  <c:v>#N/A</c:v>
                </c:pt>
                <c:pt idx="10370">
                  <c:v>#N/A</c:v>
                </c:pt>
                <c:pt idx="10371">
                  <c:v>#N/A</c:v>
                </c:pt>
                <c:pt idx="10372">
                  <c:v>#N/A</c:v>
                </c:pt>
                <c:pt idx="10373">
                  <c:v>#N/A</c:v>
                </c:pt>
                <c:pt idx="10374">
                  <c:v>#N/A</c:v>
                </c:pt>
                <c:pt idx="10375">
                  <c:v>#N/A</c:v>
                </c:pt>
                <c:pt idx="10376">
                  <c:v>#N/A</c:v>
                </c:pt>
                <c:pt idx="10377">
                  <c:v>#N/A</c:v>
                </c:pt>
                <c:pt idx="10378">
                  <c:v>#N/A</c:v>
                </c:pt>
                <c:pt idx="10379">
                  <c:v>4.043835616438356</c:v>
                </c:pt>
                <c:pt idx="10380">
                  <c:v>#N/A</c:v>
                </c:pt>
                <c:pt idx="10381">
                  <c:v>#N/A</c:v>
                </c:pt>
                <c:pt idx="10382">
                  <c:v>#N/A</c:v>
                </c:pt>
                <c:pt idx="10383">
                  <c:v>#N/A</c:v>
                </c:pt>
                <c:pt idx="10384">
                  <c:v>#N/A</c:v>
                </c:pt>
                <c:pt idx="10385">
                  <c:v>#N/A</c:v>
                </c:pt>
                <c:pt idx="10386">
                  <c:v>#N/A</c:v>
                </c:pt>
                <c:pt idx="10387">
                  <c:v>#N/A</c:v>
                </c:pt>
                <c:pt idx="10388">
                  <c:v>#N/A</c:v>
                </c:pt>
                <c:pt idx="10389">
                  <c:v>#N/A</c:v>
                </c:pt>
                <c:pt idx="10390">
                  <c:v>#N/A</c:v>
                </c:pt>
                <c:pt idx="10391">
                  <c:v>4.0465753424657533</c:v>
                </c:pt>
                <c:pt idx="10392">
                  <c:v>#N/A</c:v>
                </c:pt>
                <c:pt idx="10393">
                  <c:v>#N/A</c:v>
                </c:pt>
                <c:pt idx="10394">
                  <c:v>#N/A</c:v>
                </c:pt>
                <c:pt idx="10395">
                  <c:v>#N/A</c:v>
                </c:pt>
                <c:pt idx="10396">
                  <c:v>4.0465753424657533</c:v>
                </c:pt>
                <c:pt idx="10397">
                  <c:v>#N/A</c:v>
                </c:pt>
                <c:pt idx="10398">
                  <c:v>4.0520547945205481</c:v>
                </c:pt>
                <c:pt idx="10399">
                  <c:v>#N/A</c:v>
                </c:pt>
                <c:pt idx="10400">
                  <c:v>#N/A</c:v>
                </c:pt>
                <c:pt idx="10401">
                  <c:v>4.0602739726027401</c:v>
                </c:pt>
                <c:pt idx="10402">
                  <c:v>#N/A</c:v>
                </c:pt>
                <c:pt idx="10403">
                  <c:v>#N/A</c:v>
                </c:pt>
                <c:pt idx="10404">
                  <c:v>#N/A</c:v>
                </c:pt>
                <c:pt idx="10405">
                  <c:v>#N/A</c:v>
                </c:pt>
                <c:pt idx="10406">
                  <c:v>4.0602739726027401</c:v>
                </c:pt>
                <c:pt idx="10407">
                  <c:v>#N/A</c:v>
                </c:pt>
                <c:pt idx="10408">
                  <c:v>#N/A</c:v>
                </c:pt>
                <c:pt idx="10409">
                  <c:v>4.0630136986301366</c:v>
                </c:pt>
                <c:pt idx="10410">
                  <c:v>4.0630136986301366</c:v>
                </c:pt>
                <c:pt idx="10411">
                  <c:v>#N/A</c:v>
                </c:pt>
                <c:pt idx="10412">
                  <c:v>4.0630136986301366</c:v>
                </c:pt>
                <c:pt idx="10413">
                  <c:v>4.0630136986301366</c:v>
                </c:pt>
                <c:pt idx="10414">
                  <c:v>#N/A</c:v>
                </c:pt>
                <c:pt idx="10415">
                  <c:v>#N/A</c:v>
                </c:pt>
                <c:pt idx="10416">
                  <c:v>#N/A</c:v>
                </c:pt>
                <c:pt idx="10417">
                  <c:v>#N/A</c:v>
                </c:pt>
                <c:pt idx="10418">
                  <c:v>#N/A</c:v>
                </c:pt>
                <c:pt idx="10419">
                  <c:v>#N/A</c:v>
                </c:pt>
                <c:pt idx="10420">
                  <c:v>#N/A</c:v>
                </c:pt>
                <c:pt idx="10421">
                  <c:v>4.0821917808219181</c:v>
                </c:pt>
                <c:pt idx="10422">
                  <c:v>4.0849315068493155</c:v>
                </c:pt>
                <c:pt idx="10423">
                  <c:v>#N/A</c:v>
                </c:pt>
                <c:pt idx="10424">
                  <c:v>#N/A</c:v>
                </c:pt>
                <c:pt idx="10425">
                  <c:v>4.087671232876712</c:v>
                </c:pt>
                <c:pt idx="10426">
                  <c:v>#N/A</c:v>
                </c:pt>
                <c:pt idx="10427">
                  <c:v>#N/A</c:v>
                </c:pt>
                <c:pt idx="10428">
                  <c:v>#N/A</c:v>
                </c:pt>
                <c:pt idx="10429">
                  <c:v>#N/A</c:v>
                </c:pt>
                <c:pt idx="10430">
                  <c:v>#N/A</c:v>
                </c:pt>
                <c:pt idx="10431">
                  <c:v>#N/A</c:v>
                </c:pt>
                <c:pt idx="10432">
                  <c:v>#N/A</c:v>
                </c:pt>
                <c:pt idx="10433">
                  <c:v>4.0904109589041093</c:v>
                </c:pt>
                <c:pt idx="10434">
                  <c:v>#N/A</c:v>
                </c:pt>
                <c:pt idx="10435">
                  <c:v>#N/A</c:v>
                </c:pt>
                <c:pt idx="10436">
                  <c:v>#N/A</c:v>
                </c:pt>
                <c:pt idx="10437">
                  <c:v>#N/A</c:v>
                </c:pt>
                <c:pt idx="10438">
                  <c:v>4.1013698630136988</c:v>
                </c:pt>
                <c:pt idx="10439">
                  <c:v>#N/A</c:v>
                </c:pt>
                <c:pt idx="10440">
                  <c:v>#N/A</c:v>
                </c:pt>
                <c:pt idx="10441">
                  <c:v>#N/A</c:v>
                </c:pt>
                <c:pt idx="10442">
                  <c:v>4.1068493150684935</c:v>
                </c:pt>
                <c:pt idx="10443">
                  <c:v>#N/A</c:v>
                </c:pt>
                <c:pt idx="10444">
                  <c:v>4.1095890410958908</c:v>
                </c:pt>
                <c:pt idx="10445">
                  <c:v>4.117808219178082</c:v>
                </c:pt>
                <c:pt idx="10446">
                  <c:v>4.117808219178082</c:v>
                </c:pt>
                <c:pt idx="10447">
                  <c:v>#N/A</c:v>
                </c:pt>
                <c:pt idx="10448">
                  <c:v>4.117808219178082</c:v>
                </c:pt>
                <c:pt idx="10449">
                  <c:v>4.117808219178082</c:v>
                </c:pt>
                <c:pt idx="10450">
                  <c:v>#N/A</c:v>
                </c:pt>
                <c:pt idx="10451">
                  <c:v>#N/A</c:v>
                </c:pt>
                <c:pt idx="10452">
                  <c:v>#N/A</c:v>
                </c:pt>
                <c:pt idx="10453">
                  <c:v>#N/A</c:v>
                </c:pt>
                <c:pt idx="10454">
                  <c:v>#N/A</c:v>
                </c:pt>
                <c:pt idx="10455">
                  <c:v>#N/A</c:v>
                </c:pt>
                <c:pt idx="10456">
                  <c:v>#N/A</c:v>
                </c:pt>
                <c:pt idx="10457">
                  <c:v>#N/A</c:v>
                </c:pt>
                <c:pt idx="10458">
                  <c:v>#N/A</c:v>
                </c:pt>
                <c:pt idx="10459">
                  <c:v>#N/A</c:v>
                </c:pt>
                <c:pt idx="10460">
                  <c:v>#N/A</c:v>
                </c:pt>
                <c:pt idx="10461">
                  <c:v>#N/A</c:v>
                </c:pt>
                <c:pt idx="10462">
                  <c:v>#N/A</c:v>
                </c:pt>
                <c:pt idx="10463">
                  <c:v>#N/A</c:v>
                </c:pt>
                <c:pt idx="10464">
                  <c:v>#N/A</c:v>
                </c:pt>
                <c:pt idx="10465">
                  <c:v>4.13972602739726</c:v>
                </c:pt>
                <c:pt idx="10466">
                  <c:v>#N/A</c:v>
                </c:pt>
                <c:pt idx="10467">
                  <c:v>#N/A</c:v>
                </c:pt>
                <c:pt idx="10468">
                  <c:v>4.13972602739726</c:v>
                </c:pt>
                <c:pt idx="10469">
                  <c:v>#N/A</c:v>
                </c:pt>
                <c:pt idx="10470">
                  <c:v>#N/A</c:v>
                </c:pt>
                <c:pt idx="10471">
                  <c:v>#N/A</c:v>
                </c:pt>
                <c:pt idx="10472">
                  <c:v>#N/A</c:v>
                </c:pt>
                <c:pt idx="10473">
                  <c:v>4.1589041095890407</c:v>
                </c:pt>
                <c:pt idx="10474">
                  <c:v>4.161643835616438</c:v>
                </c:pt>
                <c:pt idx="10475">
                  <c:v>4.1643835616438354</c:v>
                </c:pt>
                <c:pt idx="10476">
                  <c:v>#N/A</c:v>
                </c:pt>
                <c:pt idx="10477">
                  <c:v>4.1643835616438354</c:v>
                </c:pt>
                <c:pt idx="10478">
                  <c:v>4.1643835616438354</c:v>
                </c:pt>
                <c:pt idx="10479">
                  <c:v>#N/A</c:v>
                </c:pt>
                <c:pt idx="10480">
                  <c:v>#N/A</c:v>
                </c:pt>
                <c:pt idx="10481">
                  <c:v>#N/A</c:v>
                </c:pt>
                <c:pt idx="10482">
                  <c:v>#N/A</c:v>
                </c:pt>
                <c:pt idx="10483">
                  <c:v>4.1643835616438354</c:v>
                </c:pt>
                <c:pt idx="10484">
                  <c:v>#N/A</c:v>
                </c:pt>
                <c:pt idx="10485">
                  <c:v>4.1643835616438354</c:v>
                </c:pt>
                <c:pt idx="10486">
                  <c:v>4.1643835616438354</c:v>
                </c:pt>
                <c:pt idx="10487">
                  <c:v>4.1643835616438354</c:v>
                </c:pt>
                <c:pt idx="10488">
                  <c:v>4.1643835616438354</c:v>
                </c:pt>
                <c:pt idx="10489">
                  <c:v>4.1643835616438354</c:v>
                </c:pt>
                <c:pt idx="10490">
                  <c:v>4.1726027397260275</c:v>
                </c:pt>
                <c:pt idx="10491">
                  <c:v>4.1726027397260275</c:v>
                </c:pt>
                <c:pt idx="10492">
                  <c:v>#N/A</c:v>
                </c:pt>
                <c:pt idx="10493">
                  <c:v>4.1753424657534248</c:v>
                </c:pt>
                <c:pt idx="10494">
                  <c:v>#N/A</c:v>
                </c:pt>
                <c:pt idx="10495">
                  <c:v>#N/A</c:v>
                </c:pt>
                <c:pt idx="10496">
                  <c:v>#N/A</c:v>
                </c:pt>
                <c:pt idx="10497">
                  <c:v>#N/A</c:v>
                </c:pt>
                <c:pt idx="10498">
                  <c:v>#N/A</c:v>
                </c:pt>
                <c:pt idx="10499">
                  <c:v>4.1753424657534248</c:v>
                </c:pt>
                <c:pt idx="10500">
                  <c:v>#N/A</c:v>
                </c:pt>
                <c:pt idx="10501">
                  <c:v>4.1753424657534248</c:v>
                </c:pt>
                <c:pt idx="10502">
                  <c:v>#N/A</c:v>
                </c:pt>
                <c:pt idx="10503">
                  <c:v>4.1780821917808222</c:v>
                </c:pt>
                <c:pt idx="10504">
                  <c:v>#N/A</c:v>
                </c:pt>
                <c:pt idx="10505">
                  <c:v>4.1780821917808222</c:v>
                </c:pt>
                <c:pt idx="10506">
                  <c:v>#N/A</c:v>
                </c:pt>
                <c:pt idx="10507">
                  <c:v>#N/A</c:v>
                </c:pt>
                <c:pt idx="10508">
                  <c:v>#N/A</c:v>
                </c:pt>
                <c:pt idx="10509">
                  <c:v>4.1945205479452055</c:v>
                </c:pt>
                <c:pt idx="10510">
                  <c:v>4.1945205479452055</c:v>
                </c:pt>
                <c:pt idx="10511">
                  <c:v>#N/A</c:v>
                </c:pt>
                <c:pt idx="10512">
                  <c:v>4.1945205479452055</c:v>
                </c:pt>
                <c:pt idx="10513">
                  <c:v>#N/A</c:v>
                </c:pt>
                <c:pt idx="10514">
                  <c:v>4.1945205479452055</c:v>
                </c:pt>
                <c:pt idx="10515">
                  <c:v>4.1945205479452055</c:v>
                </c:pt>
                <c:pt idx="10516">
                  <c:v>4.1945205479452055</c:v>
                </c:pt>
                <c:pt idx="10517">
                  <c:v>#N/A</c:v>
                </c:pt>
                <c:pt idx="10518">
                  <c:v>#N/A</c:v>
                </c:pt>
                <c:pt idx="10519">
                  <c:v>#N/A</c:v>
                </c:pt>
                <c:pt idx="10520">
                  <c:v>4.1945205479452055</c:v>
                </c:pt>
                <c:pt idx="10521">
                  <c:v>#N/A</c:v>
                </c:pt>
                <c:pt idx="10522">
                  <c:v>#N/A</c:v>
                </c:pt>
                <c:pt idx="10523">
                  <c:v>#N/A</c:v>
                </c:pt>
                <c:pt idx="10524">
                  <c:v>4.1945205479452055</c:v>
                </c:pt>
                <c:pt idx="10525">
                  <c:v>#N/A</c:v>
                </c:pt>
                <c:pt idx="10526">
                  <c:v>#N/A</c:v>
                </c:pt>
                <c:pt idx="10527">
                  <c:v>#N/A</c:v>
                </c:pt>
                <c:pt idx="10528">
                  <c:v>#N/A</c:v>
                </c:pt>
                <c:pt idx="10529">
                  <c:v>#N/A</c:v>
                </c:pt>
                <c:pt idx="10530">
                  <c:v>#N/A</c:v>
                </c:pt>
                <c:pt idx="10531">
                  <c:v>#N/A</c:v>
                </c:pt>
                <c:pt idx="10532">
                  <c:v>#N/A</c:v>
                </c:pt>
                <c:pt idx="10533">
                  <c:v>#N/A</c:v>
                </c:pt>
                <c:pt idx="10534">
                  <c:v>#N/A</c:v>
                </c:pt>
                <c:pt idx="10535">
                  <c:v>#N/A</c:v>
                </c:pt>
                <c:pt idx="10536">
                  <c:v>#N/A</c:v>
                </c:pt>
                <c:pt idx="10537">
                  <c:v>#N/A</c:v>
                </c:pt>
                <c:pt idx="10538">
                  <c:v>#N/A</c:v>
                </c:pt>
                <c:pt idx="10539">
                  <c:v>#N/A</c:v>
                </c:pt>
                <c:pt idx="10540">
                  <c:v>4.2136986301369861</c:v>
                </c:pt>
                <c:pt idx="10541">
                  <c:v>#N/A</c:v>
                </c:pt>
                <c:pt idx="10542">
                  <c:v>#N/A</c:v>
                </c:pt>
                <c:pt idx="10543">
                  <c:v>4.2136986301369861</c:v>
                </c:pt>
                <c:pt idx="10544">
                  <c:v>4.2136986301369861</c:v>
                </c:pt>
                <c:pt idx="10545">
                  <c:v>#N/A</c:v>
                </c:pt>
                <c:pt idx="10546">
                  <c:v>4.2136986301369861</c:v>
                </c:pt>
                <c:pt idx="10547">
                  <c:v>4.2136986301369861</c:v>
                </c:pt>
                <c:pt idx="10548">
                  <c:v>#N/A</c:v>
                </c:pt>
                <c:pt idx="10549">
                  <c:v>4.2219178082191782</c:v>
                </c:pt>
                <c:pt idx="10550">
                  <c:v>#N/A</c:v>
                </c:pt>
                <c:pt idx="10551">
                  <c:v>4.2273972602739729</c:v>
                </c:pt>
                <c:pt idx="10552">
                  <c:v>4.2273972602739729</c:v>
                </c:pt>
                <c:pt idx="10553">
                  <c:v>#N/A</c:v>
                </c:pt>
                <c:pt idx="10554">
                  <c:v>#N/A</c:v>
                </c:pt>
                <c:pt idx="10555">
                  <c:v>4.2328767123287667</c:v>
                </c:pt>
                <c:pt idx="10556">
                  <c:v>#N/A</c:v>
                </c:pt>
                <c:pt idx="10557">
                  <c:v>#N/A</c:v>
                </c:pt>
                <c:pt idx="10558">
                  <c:v>#N/A</c:v>
                </c:pt>
                <c:pt idx="10559">
                  <c:v>#N/A</c:v>
                </c:pt>
                <c:pt idx="10560">
                  <c:v>4.2547945205479456</c:v>
                </c:pt>
                <c:pt idx="10561">
                  <c:v>#N/A</c:v>
                </c:pt>
                <c:pt idx="10562">
                  <c:v>#N/A</c:v>
                </c:pt>
                <c:pt idx="10563">
                  <c:v>4.2602739726027394</c:v>
                </c:pt>
                <c:pt idx="10564">
                  <c:v>4.2712328767123289</c:v>
                </c:pt>
                <c:pt idx="10565">
                  <c:v>#N/A</c:v>
                </c:pt>
                <c:pt idx="10566">
                  <c:v>#N/A</c:v>
                </c:pt>
                <c:pt idx="10567">
                  <c:v>4.2712328767123289</c:v>
                </c:pt>
                <c:pt idx="10568">
                  <c:v>4.2712328767123289</c:v>
                </c:pt>
                <c:pt idx="10569">
                  <c:v>4.2739726027397262</c:v>
                </c:pt>
                <c:pt idx="10570">
                  <c:v>#N/A</c:v>
                </c:pt>
                <c:pt idx="10571">
                  <c:v>#N/A</c:v>
                </c:pt>
                <c:pt idx="10572">
                  <c:v>#N/A</c:v>
                </c:pt>
                <c:pt idx="10573">
                  <c:v>#N/A</c:v>
                </c:pt>
                <c:pt idx="10574">
                  <c:v>#N/A</c:v>
                </c:pt>
                <c:pt idx="10575">
                  <c:v>#N/A</c:v>
                </c:pt>
                <c:pt idx="10576">
                  <c:v>#N/A</c:v>
                </c:pt>
                <c:pt idx="10577">
                  <c:v>4.2739726027397262</c:v>
                </c:pt>
                <c:pt idx="10578">
                  <c:v>#N/A</c:v>
                </c:pt>
                <c:pt idx="10579">
                  <c:v>#N/A</c:v>
                </c:pt>
                <c:pt idx="10580">
                  <c:v>#N/A</c:v>
                </c:pt>
                <c:pt idx="10581">
                  <c:v>#N/A</c:v>
                </c:pt>
                <c:pt idx="10582">
                  <c:v>#N/A</c:v>
                </c:pt>
                <c:pt idx="10583">
                  <c:v>#N/A</c:v>
                </c:pt>
                <c:pt idx="10584">
                  <c:v>#N/A</c:v>
                </c:pt>
                <c:pt idx="10585">
                  <c:v>#N/A</c:v>
                </c:pt>
                <c:pt idx="10586">
                  <c:v>#N/A</c:v>
                </c:pt>
                <c:pt idx="10587">
                  <c:v>#N/A</c:v>
                </c:pt>
                <c:pt idx="10588">
                  <c:v>#N/A</c:v>
                </c:pt>
                <c:pt idx="10589">
                  <c:v>#N/A</c:v>
                </c:pt>
                <c:pt idx="10590">
                  <c:v>4.2767123287671236</c:v>
                </c:pt>
                <c:pt idx="10591">
                  <c:v>#N/A</c:v>
                </c:pt>
                <c:pt idx="10592">
                  <c:v>#N/A</c:v>
                </c:pt>
                <c:pt idx="10593">
                  <c:v>#N/A</c:v>
                </c:pt>
                <c:pt idx="10594">
                  <c:v>#N/A</c:v>
                </c:pt>
                <c:pt idx="10595">
                  <c:v>#N/A</c:v>
                </c:pt>
                <c:pt idx="10596">
                  <c:v>#N/A</c:v>
                </c:pt>
                <c:pt idx="10597">
                  <c:v>#N/A</c:v>
                </c:pt>
                <c:pt idx="10598">
                  <c:v>#N/A</c:v>
                </c:pt>
                <c:pt idx="10599">
                  <c:v>#N/A</c:v>
                </c:pt>
                <c:pt idx="10600">
                  <c:v>#N/A</c:v>
                </c:pt>
                <c:pt idx="10601">
                  <c:v>#N/A</c:v>
                </c:pt>
                <c:pt idx="10602">
                  <c:v>#N/A</c:v>
                </c:pt>
                <c:pt idx="10603">
                  <c:v>#N/A</c:v>
                </c:pt>
                <c:pt idx="10604">
                  <c:v>#N/A</c:v>
                </c:pt>
                <c:pt idx="10605">
                  <c:v>#N/A</c:v>
                </c:pt>
                <c:pt idx="10606">
                  <c:v>#N/A</c:v>
                </c:pt>
                <c:pt idx="10607">
                  <c:v>4.279452054794521</c:v>
                </c:pt>
                <c:pt idx="10608">
                  <c:v>#N/A</c:v>
                </c:pt>
                <c:pt idx="10609">
                  <c:v>#N/A</c:v>
                </c:pt>
                <c:pt idx="10610">
                  <c:v>#N/A</c:v>
                </c:pt>
                <c:pt idx="10611">
                  <c:v>#N/A</c:v>
                </c:pt>
                <c:pt idx="10612">
                  <c:v>#N/A</c:v>
                </c:pt>
                <c:pt idx="10613">
                  <c:v>#N/A</c:v>
                </c:pt>
                <c:pt idx="10614">
                  <c:v>#N/A</c:v>
                </c:pt>
                <c:pt idx="10615">
                  <c:v>#N/A</c:v>
                </c:pt>
                <c:pt idx="10616">
                  <c:v>#N/A</c:v>
                </c:pt>
                <c:pt idx="10617">
                  <c:v>4.279452054794521</c:v>
                </c:pt>
                <c:pt idx="10618">
                  <c:v>#N/A</c:v>
                </c:pt>
                <c:pt idx="10619">
                  <c:v>#N/A</c:v>
                </c:pt>
                <c:pt idx="10620">
                  <c:v>#N/A</c:v>
                </c:pt>
                <c:pt idx="10621">
                  <c:v>#N/A</c:v>
                </c:pt>
                <c:pt idx="10622">
                  <c:v>#N/A</c:v>
                </c:pt>
                <c:pt idx="10623">
                  <c:v>4.279452054794521</c:v>
                </c:pt>
                <c:pt idx="10624">
                  <c:v>#N/A</c:v>
                </c:pt>
                <c:pt idx="10625">
                  <c:v>#N/A</c:v>
                </c:pt>
                <c:pt idx="10626">
                  <c:v>#N/A</c:v>
                </c:pt>
                <c:pt idx="10627">
                  <c:v>#N/A</c:v>
                </c:pt>
                <c:pt idx="10628">
                  <c:v>#N/A</c:v>
                </c:pt>
                <c:pt idx="10629">
                  <c:v>#N/A</c:v>
                </c:pt>
                <c:pt idx="10630">
                  <c:v>#N/A</c:v>
                </c:pt>
                <c:pt idx="10631">
                  <c:v>#N/A</c:v>
                </c:pt>
                <c:pt idx="10632">
                  <c:v>#N/A</c:v>
                </c:pt>
                <c:pt idx="10633">
                  <c:v>#N/A</c:v>
                </c:pt>
                <c:pt idx="10634">
                  <c:v>4.279452054794521</c:v>
                </c:pt>
                <c:pt idx="10635">
                  <c:v>#N/A</c:v>
                </c:pt>
                <c:pt idx="10636">
                  <c:v>#N/A</c:v>
                </c:pt>
                <c:pt idx="10637">
                  <c:v>#N/A</c:v>
                </c:pt>
                <c:pt idx="10638">
                  <c:v>#N/A</c:v>
                </c:pt>
                <c:pt idx="10639">
                  <c:v>#N/A</c:v>
                </c:pt>
                <c:pt idx="10640">
                  <c:v>#N/A</c:v>
                </c:pt>
                <c:pt idx="10641">
                  <c:v>#N/A</c:v>
                </c:pt>
                <c:pt idx="10642">
                  <c:v>#N/A</c:v>
                </c:pt>
                <c:pt idx="10643">
                  <c:v>#N/A</c:v>
                </c:pt>
                <c:pt idx="10644">
                  <c:v>#N/A</c:v>
                </c:pt>
                <c:pt idx="10645">
                  <c:v>#N/A</c:v>
                </c:pt>
                <c:pt idx="10646">
                  <c:v>#N/A</c:v>
                </c:pt>
                <c:pt idx="10647">
                  <c:v>#N/A</c:v>
                </c:pt>
                <c:pt idx="10648">
                  <c:v>#N/A</c:v>
                </c:pt>
                <c:pt idx="10649">
                  <c:v>#N/A</c:v>
                </c:pt>
                <c:pt idx="10650">
                  <c:v>4.2821917808219174</c:v>
                </c:pt>
                <c:pt idx="10651">
                  <c:v>#N/A</c:v>
                </c:pt>
                <c:pt idx="10652">
                  <c:v>#N/A</c:v>
                </c:pt>
                <c:pt idx="10653">
                  <c:v>#N/A</c:v>
                </c:pt>
                <c:pt idx="10654">
                  <c:v>#N/A</c:v>
                </c:pt>
                <c:pt idx="10655">
                  <c:v>#N/A</c:v>
                </c:pt>
                <c:pt idx="10656">
                  <c:v>#N/A</c:v>
                </c:pt>
                <c:pt idx="10657">
                  <c:v>#N/A</c:v>
                </c:pt>
                <c:pt idx="10658">
                  <c:v>4.2821917808219174</c:v>
                </c:pt>
                <c:pt idx="10659">
                  <c:v>#N/A</c:v>
                </c:pt>
                <c:pt idx="10660">
                  <c:v>#N/A</c:v>
                </c:pt>
                <c:pt idx="10661">
                  <c:v>#N/A</c:v>
                </c:pt>
                <c:pt idx="10662">
                  <c:v>4.2876712328767121</c:v>
                </c:pt>
                <c:pt idx="10663">
                  <c:v>#N/A</c:v>
                </c:pt>
                <c:pt idx="10664">
                  <c:v>#N/A</c:v>
                </c:pt>
                <c:pt idx="10665">
                  <c:v>#N/A</c:v>
                </c:pt>
                <c:pt idx="10666">
                  <c:v>#N/A</c:v>
                </c:pt>
                <c:pt idx="10667">
                  <c:v>#N/A</c:v>
                </c:pt>
                <c:pt idx="10668">
                  <c:v>#N/A</c:v>
                </c:pt>
                <c:pt idx="10669">
                  <c:v>#N/A</c:v>
                </c:pt>
                <c:pt idx="10670">
                  <c:v>#N/A</c:v>
                </c:pt>
                <c:pt idx="10671">
                  <c:v>#N/A</c:v>
                </c:pt>
                <c:pt idx="10672">
                  <c:v>#N/A</c:v>
                </c:pt>
                <c:pt idx="10673">
                  <c:v>#N/A</c:v>
                </c:pt>
                <c:pt idx="10674">
                  <c:v>#N/A</c:v>
                </c:pt>
                <c:pt idx="10675">
                  <c:v>#N/A</c:v>
                </c:pt>
                <c:pt idx="10676">
                  <c:v>4.2931506849315069</c:v>
                </c:pt>
                <c:pt idx="10677">
                  <c:v>#N/A</c:v>
                </c:pt>
                <c:pt idx="10678">
                  <c:v>#N/A</c:v>
                </c:pt>
                <c:pt idx="10679">
                  <c:v>#N/A</c:v>
                </c:pt>
                <c:pt idx="10680">
                  <c:v>#N/A</c:v>
                </c:pt>
                <c:pt idx="10681">
                  <c:v>#N/A</c:v>
                </c:pt>
                <c:pt idx="10682">
                  <c:v>#N/A</c:v>
                </c:pt>
                <c:pt idx="10683">
                  <c:v>#N/A</c:v>
                </c:pt>
                <c:pt idx="10684">
                  <c:v>4.2986301369863016</c:v>
                </c:pt>
                <c:pt idx="10685">
                  <c:v>#N/A</c:v>
                </c:pt>
                <c:pt idx="10686">
                  <c:v>#N/A</c:v>
                </c:pt>
                <c:pt idx="10687">
                  <c:v>#N/A</c:v>
                </c:pt>
                <c:pt idx="10688">
                  <c:v>#N/A</c:v>
                </c:pt>
                <c:pt idx="10689">
                  <c:v>#N/A</c:v>
                </c:pt>
                <c:pt idx="10690">
                  <c:v>#N/A</c:v>
                </c:pt>
                <c:pt idx="10691">
                  <c:v>#N/A</c:v>
                </c:pt>
                <c:pt idx="10692">
                  <c:v>#N/A</c:v>
                </c:pt>
                <c:pt idx="10693">
                  <c:v>#N/A</c:v>
                </c:pt>
                <c:pt idx="10694">
                  <c:v>#N/A</c:v>
                </c:pt>
                <c:pt idx="10695">
                  <c:v>#N/A</c:v>
                </c:pt>
                <c:pt idx="10696">
                  <c:v>#N/A</c:v>
                </c:pt>
                <c:pt idx="10697">
                  <c:v>#N/A</c:v>
                </c:pt>
                <c:pt idx="10698">
                  <c:v>#N/A</c:v>
                </c:pt>
                <c:pt idx="10699">
                  <c:v>#N/A</c:v>
                </c:pt>
                <c:pt idx="10700">
                  <c:v>4.3178082191780822</c:v>
                </c:pt>
                <c:pt idx="10701">
                  <c:v>#N/A</c:v>
                </c:pt>
                <c:pt idx="10702">
                  <c:v>#N/A</c:v>
                </c:pt>
                <c:pt idx="10703">
                  <c:v>#N/A</c:v>
                </c:pt>
                <c:pt idx="10704">
                  <c:v>#N/A</c:v>
                </c:pt>
                <c:pt idx="10705">
                  <c:v>4.3315068493150681</c:v>
                </c:pt>
                <c:pt idx="10706">
                  <c:v>#N/A</c:v>
                </c:pt>
                <c:pt idx="10707">
                  <c:v>4.3342465753424655</c:v>
                </c:pt>
                <c:pt idx="10708">
                  <c:v>4.3342465753424655</c:v>
                </c:pt>
                <c:pt idx="10709">
                  <c:v>#N/A</c:v>
                </c:pt>
                <c:pt idx="10710">
                  <c:v>#N/A</c:v>
                </c:pt>
                <c:pt idx="10711">
                  <c:v>#N/A</c:v>
                </c:pt>
                <c:pt idx="10712">
                  <c:v>#N/A</c:v>
                </c:pt>
                <c:pt idx="10713">
                  <c:v>4.3342465753424655</c:v>
                </c:pt>
                <c:pt idx="10714">
                  <c:v>4.3342465753424655</c:v>
                </c:pt>
                <c:pt idx="10715">
                  <c:v>4.3342465753424655</c:v>
                </c:pt>
                <c:pt idx="10716">
                  <c:v>#N/A</c:v>
                </c:pt>
                <c:pt idx="10717">
                  <c:v>#N/A</c:v>
                </c:pt>
                <c:pt idx="10718">
                  <c:v>#N/A</c:v>
                </c:pt>
                <c:pt idx="10719">
                  <c:v>4.3479452054794523</c:v>
                </c:pt>
                <c:pt idx="10720">
                  <c:v>#N/A</c:v>
                </c:pt>
                <c:pt idx="10721">
                  <c:v>#N/A</c:v>
                </c:pt>
                <c:pt idx="10722">
                  <c:v>#N/A</c:v>
                </c:pt>
                <c:pt idx="10723">
                  <c:v>#N/A</c:v>
                </c:pt>
                <c:pt idx="10724">
                  <c:v>4.3726027397260276</c:v>
                </c:pt>
                <c:pt idx="10725">
                  <c:v>4.3726027397260276</c:v>
                </c:pt>
                <c:pt idx="10726">
                  <c:v>4.3726027397260276</c:v>
                </c:pt>
                <c:pt idx="10727">
                  <c:v>4.3726027397260276</c:v>
                </c:pt>
                <c:pt idx="10728">
                  <c:v>#N/A</c:v>
                </c:pt>
                <c:pt idx="10729">
                  <c:v>#N/A</c:v>
                </c:pt>
                <c:pt idx="10730">
                  <c:v>4.3863013698630136</c:v>
                </c:pt>
                <c:pt idx="10731">
                  <c:v>4.3945205479452056</c:v>
                </c:pt>
                <c:pt idx="10732">
                  <c:v>#N/A</c:v>
                </c:pt>
                <c:pt idx="10733">
                  <c:v>#N/A</c:v>
                </c:pt>
                <c:pt idx="10734">
                  <c:v>4.4054794520547942</c:v>
                </c:pt>
                <c:pt idx="10735">
                  <c:v>#N/A</c:v>
                </c:pt>
                <c:pt idx="10736">
                  <c:v>4.4109589041095889</c:v>
                </c:pt>
                <c:pt idx="10737">
                  <c:v>#N/A</c:v>
                </c:pt>
                <c:pt idx="10738">
                  <c:v>#N/A</c:v>
                </c:pt>
                <c:pt idx="10739">
                  <c:v>4.4164383561643836</c:v>
                </c:pt>
                <c:pt idx="10740">
                  <c:v>#N/A</c:v>
                </c:pt>
                <c:pt idx="10741">
                  <c:v>#N/A</c:v>
                </c:pt>
                <c:pt idx="10742">
                  <c:v>#N/A</c:v>
                </c:pt>
                <c:pt idx="10743">
                  <c:v>#N/A</c:v>
                </c:pt>
                <c:pt idx="10744">
                  <c:v>#N/A</c:v>
                </c:pt>
                <c:pt idx="10745">
                  <c:v>#N/A</c:v>
                </c:pt>
                <c:pt idx="10746">
                  <c:v>#N/A</c:v>
                </c:pt>
                <c:pt idx="10747">
                  <c:v>4.4246575342465757</c:v>
                </c:pt>
                <c:pt idx="10748">
                  <c:v>4.4246575342465757</c:v>
                </c:pt>
                <c:pt idx="10749">
                  <c:v>#N/A</c:v>
                </c:pt>
                <c:pt idx="10750">
                  <c:v>#N/A</c:v>
                </c:pt>
                <c:pt idx="10751">
                  <c:v>#N/A</c:v>
                </c:pt>
                <c:pt idx="10752">
                  <c:v>4.4273972602739722</c:v>
                </c:pt>
                <c:pt idx="10753">
                  <c:v>#N/A</c:v>
                </c:pt>
                <c:pt idx="10754">
                  <c:v>#N/A</c:v>
                </c:pt>
                <c:pt idx="10755">
                  <c:v>#N/A</c:v>
                </c:pt>
                <c:pt idx="10756">
                  <c:v>#N/A</c:v>
                </c:pt>
                <c:pt idx="10757">
                  <c:v>4.4273972602739722</c:v>
                </c:pt>
                <c:pt idx="10758">
                  <c:v>#N/A</c:v>
                </c:pt>
                <c:pt idx="10759">
                  <c:v>4.4273972602739722</c:v>
                </c:pt>
                <c:pt idx="10760">
                  <c:v>4.4273972602739722</c:v>
                </c:pt>
                <c:pt idx="10761">
                  <c:v>#N/A</c:v>
                </c:pt>
                <c:pt idx="10762">
                  <c:v>#N/A</c:v>
                </c:pt>
                <c:pt idx="10763">
                  <c:v>#N/A</c:v>
                </c:pt>
                <c:pt idx="10764">
                  <c:v>#N/A</c:v>
                </c:pt>
                <c:pt idx="10765">
                  <c:v>#N/A</c:v>
                </c:pt>
                <c:pt idx="10766">
                  <c:v>4.4273972602739722</c:v>
                </c:pt>
                <c:pt idx="10767">
                  <c:v>4.4273972602739722</c:v>
                </c:pt>
                <c:pt idx="10768">
                  <c:v>#N/A</c:v>
                </c:pt>
                <c:pt idx="10769">
                  <c:v>4.4273972602739722</c:v>
                </c:pt>
                <c:pt idx="10770">
                  <c:v>#N/A</c:v>
                </c:pt>
                <c:pt idx="10771">
                  <c:v>#N/A</c:v>
                </c:pt>
                <c:pt idx="10772">
                  <c:v>#N/A</c:v>
                </c:pt>
                <c:pt idx="10773">
                  <c:v>4.4301369863013695</c:v>
                </c:pt>
                <c:pt idx="10774">
                  <c:v>#N/A</c:v>
                </c:pt>
                <c:pt idx="10775">
                  <c:v>#N/A</c:v>
                </c:pt>
                <c:pt idx="10776">
                  <c:v>#N/A</c:v>
                </c:pt>
                <c:pt idx="10777">
                  <c:v>#N/A</c:v>
                </c:pt>
                <c:pt idx="10778">
                  <c:v>#N/A</c:v>
                </c:pt>
                <c:pt idx="10779">
                  <c:v>4.4301369863013695</c:v>
                </c:pt>
                <c:pt idx="10780">
                  <c:v>4.4328767123287669</c:v>
                </c:pt>
                <c:pt idx="10781">
                  <c:v>#N/A</c:v>
                </c:pt>
                <c:pt idx="10782">
                  <c:v>4.4328767123287669</c:v>
                </c:pt>
                <c:pt idx="10783">
                  <c:v>4.4328767123287669</c:v>
                </c:pt>
                <c:pt idx="10784">
                  <c:v>#N/A</c:v>
                </c:pt>
                <c:pt idx="10785">
                  <c:v>#N/A</c:v>
                </c:pt>
                <c:pt idx="10786">
                  <c:v>4.4356164383561643</c:v>
                </c:pt>
                <c:pt idx="10787">
                  <c:v>4.4356164383561643</c:v>
                </c:pt>
                <c:pt idx="10788">
                  <c:v>#N/A</c:v>
                </c:pt>
                <c:pt idx="10789">
                  <c:v>4.4438356164383563</c:v>
                </c:pt>
                <c:pt idx="10790">
                  <c:v>#N/A</c:v>
                </c:pt>
                <c:pt idx="10791">
                  <c:v>#N/A</c:v>
                </c:pt>
                <c:pt idx="10792">
                  <c:v>4.4438356164383563</c:v>
                </c:pt>
                <c:pt idx="10793">
                  <c:v>#N/A</c:v>
                </c:pt>
                <c:pt idx="10794">
                  <c:v>#N/A</c:v>
                </c:pt>
                <c:pt idx="10795">
                  <c:v>#N/A</c:v>
                </c:pt>
                <c:pt idx="10796">
                  <c:v>#N/A</c:v>
                </c:pt>
                <c:pt idx="10797">
                  <c:v>#N/A</c:v>
                </c:pt>
                <c:pt idx="10798">
                  <c:v>4.4493150684931511</c:v>
                </c:pt>
                <c:pt idx="10799">
                  <c:v>#N/A</c:v>
                </c:pt>
                <c:pt idx="10800">
                  <c:v>#N/A</c:v>
                </c:pt>
                <c:pt idx="10801">
                  <c:v>4.4493150684931511</c:v>
                </c:pt>
                <c:pt idx="10802">
                  <c:v>4.4493150684931511</c:v>
                </c:pt>
                <c:pt idx="10803">
                  <c:v>4.4493150684931511</c:v>
                </c:pt>
                <c:pt idx="10804">
                  <c:v>#N/A</c:v>
                </c:pt>
                <c:pt idx="10805">
                  <c:v>#N/A</c:v>
                </c:pt>
                <c:pt idx="10806">
                  <c:v>4.4493150684931511</c:v>
                </c:pt>
                <c:pt idx="10807">
                  <c:v>#N/A</c:v>
                </c:pt>
                <c:pt idx="10808">
                  <c:v>#N/A</c:v>
                </c:pt>
                <c:pt idx="10809">
                  <c:v>4.4520547945205475</c:v>
                </c:pt>
                <c:pt idx="10810">
                  <c:v>4.4547945205479449</c:v>
                </c:pt>
                <c:pt idx="10811">
                  <c:v>#N/A</c:v>
                </c:pt>
                <c:pt idx="10812">
                  <c:v>#N/A</c:v>
                </c:pt>
                <c:pt idx="10813">
                  <c:v>4.4547945205479449</c:v>
                </c:pt>
                <c:pt idx="10814">
                  <c:v>#N/A</c:v>
                </c:pt>
                <c:pt idx="10815">
                  <c:v>#N/A</c:v>
                </c:pt>
                <c:pt idx="10816">
                  <c:v>#N/A</c:v>
                </c:pt>
                <c:pt idx="10817">
                  <c:v>4.4684931506849317</c:v>
                </c:pt>
                <c:pt idx="10818">
                  <c:v>#N/A</c:v>
                </c:pt>
                <c:pt idx="10819">
                  <c:v>4.4684931506849317</c:v>
                </c:pt>
                <c:pt idx="10820">
                  <c:v>#N/A</c:v>
                </c:pt>
                <c:pt idx="10821">
                  <c:v>4.4684931506849317</c:v>
                </c:pt>
                <c:pt idx="10822">
                  <c:v>#N/A</c:v>
                </c:pt>
                <c:pt idx="10823">
                  <c:v>#N/A</c:v>
                </c:pt>
                <c:pt idx="10824">
                  <c:v>4.4684931506849317</c:v>
                </c:pt>
                <c:pt idx="10825">
                  <c:v>4.4684931506849317</c:v>
                </c:pt>
                <c:pt idx="10826">
                  <c:v>#N/A</c:v>
                </c:pt>
                <c:pt idx="10827">
                  <c:v>#N/A</c:v>
                </c:pt>
                <c:pt idx="10828">
                  <c:v>4.4684931506849317</c:v>
                </c:pt>
                <c:pt idx="10829">
                  <c:v>4.4684931506849317</c:v>
                </c:pt>
                <c:pt idx="10830">
                  <c:v>4.4684931506849317</c:v>
                </c:pt>
                <c:pt idx="10831">
                  <c:v>4.4684931506849317</c:v>
                </c:pt>
                <c:pt idx="10832">
                  <c:v>#N/A</c:v>
                </c:pt>
                <c:pt idx="10833">
                  <c:v>4.4684931506849317</c:v>
                </c:pt>
                <c:pt idx="10834">
                  <c:v>#N/A</c:v>
                </c:pt>
                <c:pt idx="10835">
                  <c:v>4.4684931506849317</c:v>
                </c:pt>
                <c:pt idx="10836">
                  <c:v>#N/A</c:v>
                </c:pt>
                <c:pt idx="10837">
                  <c:v>4.4684931506849317</c:v>
                </c:pt>
                <c:pt idx="10838">
                  <c:v>#N/A</c:v>
                </c:pt>
                <c:pt idx="10839">
                  <c:v>#N/A</c:v>
                </c:pt>
                <c:pt idx="10840">
                  <c:v>#N/A</c:v>
                </c:pt>
                <c:pt idx="10841">
                  <c:v>#N/A</c:v>
                </c:pt>
                <c:pt idx="10842">
                  <c:v>#N/A</c:v>
                </c:pt>
                <c:pt idx="10843">
                  <c:v>#N/A</c:v>
                </c:pt>
                <c:pt idx="10844">
                  <c:v>4.4684931506849317</c:v>
                </c:pt>
                <c:pt idx="10845">
                  <c:v>4.4684931506849317</c:v>
                </c:pt>
                <c:pt idx="10846">
                  <c:v>4.4684931506849317</c:v>
                </c:pt>
                <c:pt idx="10847">
                  <c:v>4.4684931506849317</c:v>
                </c:pt>
                <c:pt idx="10848">
                  <c:v>4.4684931506849317</c:v>
                </c:pt>
                <c:pt idx="10849">
                  <c:v>4.4684931506849317</c:v>
                </c:pt>
                <c:pt idx="10850">
                  <c:v>4.4684931506849317</c:v>
                </c:pt>
                <c:pt idx="10851">
                  <c:v>4.4684931506849317</c:v>
                </c:pt>
                <c:pt idx="10852">
                  <c:v>4.4684931506849317</c:v>
                </c:pt>
                <c:pt idx="10853">
                  <c:v>4.4684931506849317</c:v>
                </c:pt>
                <c:pt idx="10854">
                  <c:v>#N/A</c:v>
                </c:pt>
                <c:pt idx="10855">
                  <c:v>4.4684931506849317</c:v>
                </c:pt>
                <c:pt idx="10856">
                  <c:v>4.4684931506849317</c:v>
                </c:pt>
                <c:pt idx="10857">
                  <c:v>#N/A</c:v>
                </c:pt>
                <c:pt idx="10858">
                  <c:v>#N/A</c:v>
                </c:pt>
                <c:pt idx="10859">
                  <c:v>4.4684931506849317</c:v>
                </c:pt>
                <c:pt idx="10860">
                  <c:v>4.4684931506849317</c:v>
                </c:pt>
                <c:pt idx="10861">
                  <c:v>4.4684931506849317</c:v>
                </c:pt>
                <c:pt idx="10862">
                  <c:v>#N/A</c:v>
                </c:pt>
                <c:pt idx="10863">
                  <c:v>4.4684931506849317</c:v>
                </c:pt>
                <c:pt idx="10864">
                  <c:v>#N/A</c:v>
                </c:pt>
                <c:pt idx="10865">
                  <c:v>4.4684931506849317</c:v>
                </c:pt>
                <c:pt idx="10866">
                  <c:v>#N/A</c:v>
                </c:pt>
                <c:pt idx="10867">
                  <c:v>4.4684931506849317</c:v>
                </c:pt>
                <c:pt idx="10868">
                  <c:v>#N/A</c:v>
                </c:pt>
                <c:pt idx="10869">
                  <c:v>4.4684931506849317</c:v>
                </c:pt>
                <c:pt idx="10870">
                  <c:v>#N/A</c:v>
                </c:pt>
                <c:pt idx="10871">
                  <c:v>4.4684931506849317</c:v>
                </c:pt>
                <c:pt idx="10872">
                  <c:v>4.4684931506849317</c:v>
                </c:pt>
                <c:pt idx="10873">
                  <c:v>4.4684931506849317</c:v>
                </c:pt>
                <c:pt idx="10874">
                  <c:v>#N/A</c:v>
                </c:pt>
                <c:pt idx="10875">
                  <c:v>4.4684931506849317</c:v>
                </c:pt>
                <c:pt idx="10876">
                  <c:v>4.4684931506849317</c:v>
                </c:pt>
                <c:pt idx="10877">
                  <c:v>4.4684931506849317</c:v>
                </c:pt>
                <c:pt idx="10878">
                  <c:v>#N/A</c:v>
                </c:pt>
                <c:pt idx="10879">
                  <c:v>4.4684931506849317</c:v>
                </c:pt>
                <c:pt idx="10880">
                  <c:v>4.4684931506849317</c:v>
                </c:pt>
                <c:pt idx="10881">
                  <c:v>#N/A</c:v>
                </c:pt>
                <c:pt idx="10882">
                  <c:v>#N/A</c:v>
                </c:pt>
                <c:pt idx="10883">
                  <c:v>#N/A</c:v>
                </c:pt>
                <c:pt idx="10884">
                  <c:v>4.4684931506849317</c:v>
                </c:pt>
                <c:pt idx="10885">
                  <c:v>#N/A</c:v>
                </c:pt>
                <c:pt idx="10886">
                  <c:v>#N/A</c:v>
                </c:pt>
                <c:pt idx="10887">
                  <c:v>4.4684931506849317</c:v>
                </c:pt>
                <c:pt idx="10888">
                  <c:v>#N/A</c:v>
                </c:pt>
                <c:pt idx="10889">
                  <c:v>4.4684931506849317</c:v>
                </c:pt>
                <c:pt idx="10890">
                  <c:v>4.4684931506849317</c:v>
                </c:pt>
                <c:pt idx="10891">
                  <c:v>4.4684931506849317</c:v>
                </c:pt>
                <c:pt idx="10892">
                  <c:v>#N/A</c:v>
                </c:pt>
                <c:pt idx="10893">
                  <c:v>#N/A</c:v>
                </c:pt>
                <c:pt idx="10894">
                  <c:v>4.4684931506849317</c:v>
                </c:pt>
                <c:pt idx="10895">
                  <c:v>#N/A</c:v>
                </c:pt>
                <c:pt idx="10896">
                  <c:v>#N/A</c:v>
                </c:pt>
                <c:pt idx="10897">
                  <c:v>4.4739726027397264</c:v>
                </c:pt>
                <c:pt idx="10898">
                  <c:v>#N/A</c:v>
                </c:pt>
                <c:pt idx="10899">
                  <c:v>4.4821917808219176</c:v>
                </c:pt>
                <c:pt idx="10900">
                  <c:v>#N/A</c:v>
                </c:pt>
                <c:pt idx="10901">
                  <c:v>4.4821917808219176</c:v>
                </c:pt>
                <c:pt idx="10902">
                  <c:v>#N/A</c:v>
                </c:pt>
                <c:pt idx="10903">
                  <c:v>4.484931506849315</c:v>
                </c:pt>
                <c:pt idx="10904">
                  <c:v>#N/A</c:v>
                </c:pt>
                <c:pt idx="10905">
                  <c:v>#N/A</c:v>
                </c:pt>
                <c:pt idx="10906">
                  <c:v>#N/A</c:v>
                </c:pt>
                <c:pt idx="10907">
                  <c:v>#N/A</c:v>
                </c:pt>
                <c:pt idx="10908">
                  <c:v>#N/A</c:v>
                </c:pt>
                <c:pt idx="10909">
                  <c:v>4.484931506849315</c:v>
                </c:pt>
                <c:pt idx="10910">
                  <c:v>4.484931506849315</c:v>
                </c:pt>
                <c:pt idx="10911">
                  <c:v>4.484931506849315</c:v>
                </c:pt>
                <c:pt idx="10912">
                  <c:v>#N/A</c:v>
                </c:pt>
                <c:pt idx="10913">
                  <c:v>#N/A</c:v>
                </c:pt>
                <c:pt idx="10914">
                  <c:v>#N/A</c:v>
                </c:pt>
                <c:pt idx="10915">
                  <c:v>#N/A</c:v>
                </c:pt>
                <c:pt idx="10916">
                  <c:v>4.484931506849315</c:v>
                </c:pt>
                <c:pt idx="10917">
                  <c:v>4.484931506849315</c:v>
                </c:pt>
                <c:pt idx="10918">
                  <c:v>#N/A</c:v>
                </c:pt>
                <c:pt idx="10919">
                  <c:v>4.484931506849315</c:v>
                </c:pt>
                <c:pt idx="10920">
                  <c:v>4.484931506849315</c:v>
                </c:pt>
                <c:pt idx="10921">
                  <c:v>#N/A</c:v>
                </c:pt>
                <c:pt idx="10922">
                  <c:v>#N/A</c:v>
                </c:pt>
                <c:pt idx="10923">
                  <c:v>#N/A</c:v>
                </c:pt>
                <c:pt idx="10924">
                  <c:v>#N/A</c:v>
                </c:pt>
                <c:pt idx="10925">
                  <c:v>4.484931506849315</c:v>
                </c:pt>
                <c:pt idx="10926">
                  <c:v>4.484931506849315</c:v>
                </c:pt>
                <c:pt idx="10927">
                  <c:v>4.484931506849315</c:v>
                </c:pt>
                <c:pt idx="10928">
                  <c:v>#N/A</c:v>
                </c:pt>
                <c:pt idx="10929">
                  <c:v>#N/A</c:v>
                </c:pt>
                <c:pt idx="10930">
                  <c:v>#N/A</c:v>
                </c:pt>
                <c:pt idx="10931">
                  <c:v>4.484931506849315</c:v>
                </c:pt>
                <c:pt idx="10932">
                  <c:v>#N/A</c:v>
                </c:pt>
                <c:pt idx="10933">
                  <c:v>4.484931506849315</c:v>
                </c:pt>
                <c:pt idx="10934">
                  <c:v>4.484931506849315</c:v>
                </c:pt>
                <c:pt idx="10935">
                  <c:v>4.484931506849315</c:v>
                </c:pt>
                <c:pt idx="10936">
                  <c:v>4.484931506849315</c:v>
                </c:pt>
                <c:pt idx="10937">
                  <c:v>#N/A</c:v>
                </c:pt>
                <c:pt idx="10938">
                  <c:v>#N/A</c:v>
                </c:pt>
                <c:pt idx="10939">
                  <c:v>4.4876712328767123</c:v>
                </c:pt>
                <c:pt idx="10940">
                  <c:v>4.4876712328767123</c:v>
                </c:pt>
                <c:pt idx="10941">
                  <c:v>#N/A</c:v>
                </c:pt>
                <c:pt idx="10942">
                  <c:v>4.4876712328767123</c:v>
                </c:pt>
                <c:pt idx="10943">
                  <c:v>#N/A</c:v>
                </c:pt>
                <c:pt idx="10944">
                  <c:v>#N/A</c:v>
                </c:pt>
                <c:pt idx="10945">
                  <c:v>4.4904109589041097</c:v>
                </c:pt>
                <c:pt idx="10946">
                  <c:v>#N/A</c:v>
                </c:pt>
                <c:pt idx="10947">
                  <c:v>4.4904109589041097</c:v>
                </c:pt>
                <c:pt idx="10948">
                  <c:v>#N/A</c:v>
                </c:pt>
                <c:pt idx="10949">
                  <c:v>#N/A</c:v>
                </c:pt>
                <c:pt idx="10950">
                  <c:v>#N/A</c:v>
                </c:pt>
                <c:pt idx="10951">
                  <c:v>#N/A</c:v>
                </c:pt>
                <c:pt idx="10952">
                  <c:v>#N/A</c:v>
                </c:pt>
                <c:pt idx="10953">
                  <c:v>#N/A</c:v>
                </c:pt>
                <c:pt idx="10954">
                  <c:v>#N/A</c:v>
                </c:pt>
                <c:pt idx="10955">
                  <c:v>4.506849315068493</c:v>
                </c:pt>
                <c:pt idx="10956">
                  <c:v>#N/A</c:v>
                </c:pt>
                <c:pt idx="10957">
                  <c:v>#N/A</c:v>
                </c:pt>
                <c:pt idx="10958">
                  <c:v>#N/A</c:v>
                </c:pt>
                <c:pt idx="10959">
                  <c:v>4.5095890410958903</c:v>
                </c:pt>
                <c:pt idx="10960">
                  <c:v>#N/A</c:v>
                </c:pt>
                <c:pt idx="10961">
                  <c:v>#N/A</c:v>
                </c:pt>
                <c:pt idx="10962">
                  <c:v>4.5095890410958903</c:v>
                </c:pt>
                <c:pt idx="10963">
                  <c:v>#N/A</c:v>
                </c:pt>
                <c:pt idx="10964">
                  <c:v>#N/A</c:v>
                </c:pt>
                <c:pt idx="10965">
                  <c:v>#N/A</c:v>
                </c:pt>
                <c:pt idx="10966">
                  <c:v>#N/A</c:v>
                </c:pt>
                <c:pt idx="10967">
                  <c:v>#N/A</c:v>
                </c:pt>
                <c:pt idx="10968">
                  <c:v>#N/A</c:v>
                </c:pt>
                <c:pt idx="10969">
                  <c:v>#N/A</c:v>
                </c:pt>
                <c:pt idx="10970">
                  <c:v>4.5095890410958903</c:v>
                </c:pt>
                <c:pt idx="10971">
                  <c:v>4.5095890410958903</c:v>
                </c:pt>
                <c:pt idx="10972">
                  <c:v>4.5095890410958903</c:v>
                </c:pt>
                <c:pt idx="10973">
                  <c:v>4.5095890410958903</c:v>
                </c:pt>
                <c:pt idx="10974">
                  <c:v>4.5095890410958903</c:v>
                </c:pt>
                <c:pt idx="10975">
                  <c:v>4.5095890410958903</c:v>
                </c:pt>
                <c:pt idx="10976">
                  <c:v>4.5095890410958903</c:v>
                </c:pt>
                <c:pt idx="10977">
                  <c:v>#N/A</c:v>
                </c:pt>
                <c:pt idx="10978">
                  <c:v>#N/A</c:v>
                </c:pt>
                <c:pt idx="10979">
                  <c:v>#N/A</c:v>
                </c:pt>
                <c:pt idx="10980">
                  <c:v>#N/A</c:v>
                </c:pt>
                <c:pt idx="10981">
                  <c:v>#N/A</c:v>
                </c:pt>
                <c:pt idx="10982">
                  <c:v>#N/A</c:v>
                </c:pt>
                <c:pt idx="10983">
                  <c:v>4.5095890410958903</c:v>
                </c:pt>
                <c:pt idx="10984">
                  <c:v>#N/A</c:v>
                </c:pt>
                <c:pt idx="10985">
                  <c:v>4.5095890410958903</c:v>
                </c:pt>
                <c:pt idx="10986">
                  <c:v>#N/A</c:v>
                </c:pt>
                <c:pt idx="10987">
                  <c:v>#N/A</c:v>
                </c:pt>
                <c:pt idx="10988">
                  <c:v>#N/A</c:v>
                </c:pt>
                <c:pt idx="10989">
                  <c:v>#N/A</c:v>
                </c:pt>
                <c:pt idx="10990">
                  <c:v>#N/A</c:v>
                </c:pt>
                <c:pt idx="10991">
                  <c:v>#N/A</c:v>
                </c:pt>
                <c:pt idx="10992">
                  <c:v>#N/A</c:v>
                </c:pt>
                <c:pt idx="10993">
                  <c:v>4.5095890410958903</c:v>
                </c:pt>
                <c:pt idx="10994">
                  <c:v>4.5095890410958903</c:v>
                </c:pt>
                <c:pt idx="10995">
                  <c:v>#N/A</c:v>
                </c:pt>
                <c:pt idx="10996">
                  <c:v>#N/A</c:v>
                </c:pt>
                <c:pt idx="10997">
                  <c:v>#N/A</c:v>
                </c:pt>
                <c:pt idx="10998">
                  <c:v>#N/A</c:v>
                </c:pt>
                <c:pt idx="10999">
                  <c:v>#N/A</c:v>
                </c:pt>
                <c:pt idx="11000">
                  <c:v>#N/A</c:v>
                </c:pt>
                <c:pt idx="11001">
                  <c:v>4.5095890410958903</c:v>
                </c:pt>
                <c:pt idx="11002">
                  <c:v>#N/A</c:v>
                </c:pt>
                <c:pt idx="11003">
                  <c:v>#N/A</c:v>
                </c:pt>
                <c:pt idx="11004">
                  <c:v>4.5095890410958903</c:v>
                </c:pt>
                <c:pt idx="11005">
                  <c:v>#N/A</c:v>
                </c:pt>
                <c:pt idx="11006">
                  <c:v>4.5095890410958903</c:v>
                </c:pt>
                <c:pt idx="11007">
                  <c:v>#N/A</c:v>
                </c:pt>
                <c:pt idx="11008">
                  <c:v>#N/A</c:v>
                </c:pt>
                <c:pt idx="11009">
                  <c:v>#N/A</c:v>
                </c:pt>
                <c:pt idx="11010">
                  <c:v>4.5095890410958903</c:v>
                </c:pt>
                <c:pt idx="11011">
                  <c:v>4.5095890410958903</c:v>
                </c:pt>
                <c:pt idx="11012">
                  <c:v>4.5095890410958903</c:v>
                </c:pt>
                <c:pt idx="11013">
                  <c:v>#N/A</c:v>
                </c:pt>
                <c:pt idx="11014">
                  <c:v>4.5095890410958903</c:v>
                </c:pt>
                <c:pt idx="11015">
                  <c:v>#N/A</c:v>
                </c:pt>
                <c:pt idx="11016">
                  <c:v>4.5123287671232877</c:v>
                </c:pt>
                <c:pt idx="11017">
                  <c:v>#N/A</c:v>
                </c:pt>
                <c:pt idx="11018">
                  <c:v>#N/A</c:v>
                </c:pt>
                <c:pt idx="11019">
                  <c:v>#N/A</c:v>
                </c:pt>
                <c:pt idx="11020">
                  <c:v>4.5123287671232877</c:v>
                </c:pt>
                <c:pt idx="11021">
                  <c:v>4.5123287671232877</c:v>
                </c:pt>
                <c:pt idx="11022">
                  <c:v>#N/A</c:v>
                </c:pt>
                <c:pt idx="11023">
                  <c:v>#N/A</c:v>
                </c:pt>
                <c:pt idx="11024">
                  <c:v>4.5123287671232877</c:v>
                </c:pt>
                <c:pt idx="11025">
                  <c:v>#N/A</c:v>
                </c:pt>
                <c:pt idx="11026">
                  <c:v>#N/A</c:v>
                </c:pt>
                <c:pt idx="11027">
                  <c:v>4.5123287671232877</c:v>
                </c:pt>
                <c:pt idx="11028">
                  <c:v>#N/A</c:v>
                </c:pt>
                <c:pt idx="11029">
                  <c:v>#N/A</c:v>
                </c:pt>
                <c:pt idx="11030">
                  <c:v>4.5123287671232877</c:v>
                </c:pt>
                <c:pt idx="11031">
                  <c:v>#N/A</c:v>
                </c:pt>
                <c:pt idx="11032">
                  <c:v>#N/A</c:v>
                </c:pt>
                <c:pt idx="11033">
                  <c:v>#N/A</c:v>
                </c:pt>
                <c:pt idx="11034">
                  <c:v>#N/A</c:v>
                </c:pt>
                <c:pt idx="11035">
                  <c:v>4.5123287671232877</c:v>
                </c:pt>
                <c:pt idx="11036">
                  <c:v>#N/A</c:v>
                </c:pt>
                <c:pt idx="11037">
                  <c:v>#N/A</c:v>
                </c:pt>
                <c:pt idx="11038">
                  <c:v>#N/A</c:v>
                </c:pt>
                <c:pt idx="11039">
                  <c:v>#N/A</c:v>
                </c:pt>
                <c:pt idx="11040">
                  <c:v>#N/A</c:v>
                </c:pt>
                <c:pt idx="11041">
                  <c:v>#N/A</c:v>
                </c:pt>
                <c:pt idx="11042">
                  <c:v>#N/A</c:v>
                </c:pt>
                <c:pt idx="11043">
                  <c:v>#N/A</c:v>
                </c:pt>
                <c:pt idx="11044">
                  <c:v>#N/A</c:v>
                </c:pt>
                <c:pt idx="11045">
                  <c:v>#N/A</c:v>
                </c:pt>
                <c:pt idx="11046">
                  <c:v>#N/A</c:v>
                </c:pt>
                <c:pt idx="11047">
                  <c:v>#N/A</c:v>
                </c:pt>
                <c:pt idx="11048">
                  <c:v>4.5205479452054798</c:v>
                </c:pt>
                <c:pt idx="11049">
                  <c:v>4.5205479452054798</c:v>
                </c:pt>
                <c:pt idx="11050">
                  <c:v>#N/A</c:v>
                </c:pt>
                <c:pt idx="11051">
                  <c:v>#N/A</c:v>
                </c:pt>
                <c:pt idx="11052">
                  <c:v>#N/A</c:v>
                </c:pt>
                <c:pt idx="11053">
                  <c:v>#N/A</c:v>
                </c:pt>
                <c:pt idx="11054">
                  <c:v>#N/A</c:v>
                </c:pt>
                <c:pt idx="11055">
                  <c:v>#N/A</c:v>
                </c:pt>
                <c:pt idx="11056">
                  <c:v>4.5232876712328771</c:v>
                </c:pt>
                <c:pt idx="11057">
                  <c:v>#N/A</c:v>
                </c:pt>
                <c:pt idx="11058">
                  <c:v>#N/A</c:v>
                </c:pt>
                <c:pt idx="11059">
                  <c:v>#N/A</c:v>
                </c:pt>
                <c:pt idx="11060">
                  <c:v>4.5232876712328771</c:v>
                </c:pt>
                <c:pt idx="11061">
                  <c:v>#N/A</c:v>
                </c:pt>
                <c:pt idx="11062">
                  <c:v>4.5232876712328771</c:v>
                </c:pt>
                <c:pt idx="11063">
                  <c:v>#N/A</c:v>
                </c:pt>
                <c:pt idx="11064">
                  <c:v>4.5232876712328771</c:v>
                </c:pt>
                <c:pt idx="11065">
                  <c:v>#N/A</c:v>
                </c:pt>
                <c:pt idx="11066">
                  <c:v>4.5232876712328771</c:v>
                </c:pt>
                <c:pt idx="11067">
                  <c:v>#N/A</c:v>
                </c:pt>
                <c:pt idx="11068">
                  <c:v>#N/A</c:v>
                </c:pt>
                <c:pt idx="11069">
                  <c:v>4.5260273972602736</c:v>
                </c:pt>
                <c:pt idx="11070">
                  <c:v>#N/A</c:v>
                </c:pt>
                <c:pt idx="11071">
                  <c:v>4.5260273972602736</c:v>
                </c:pt>
                <c:pt idx="11072">
                  <c:v>#N/A</c:v>
                </c:pt>
                <c:pt idx="11073">
                  <c:v>#N/A</c:v>
                </c:pt>
                <c:pt idx="11074">
                  <c:v>4.5260273972602736</c:v>
                </c:pt>
                <c:pt idx="11075">
                  <c:v>#N/A</c:v>
                </c:pt>
                <c:pt idx="11076">
                  <c:v>#N/A</c:v>
                </c:pt>
                <c:pt idx="11077">
                  <c:v>#N/A</c:v>
                </c:pt>
                <c:pt idx="11078">
                  <c:v>4.5260273972602736</c:v>
                </c:pt>
                <c:pt idx="11079">
                  <c:v>#N/A</c:v>
                </c:pt>
                <c:pt idx="11080">
                  <c:v>#N/A</c:v>
                </c:pt>
                <c:pt idx="11081">
                  <c:v>4.5260273972602736</c:v>
                </c:pt>
                <c:pt idx="11082">
                  <c:v>#N/A</c:v>
                </c:pt>
                <c:pt idx="11083">
                  <c:v>4.5287671232876709</c:v>
                </c:pt>
                <c:pt idx="11084">
                  <c:v>#N/A</c:v>
                </c:pt>
                <c:pt idx="11085">
                  <c:v>#N/A</c:v>
                </c:pt>
                <c:pt idx="11086">
                  <c:v>4.5287671232876709</c:v>
                </c:pt>
                <c:pt idx="11087">
                  <c:v>#N/A</c:v>
                </c:pt>
                <c:pt idx="11088">
                  <c:v>#N/A</c:v>
                </c:pt>
                <c:pt idx="11089">
                  <c:v>#N/A</c:v>
                </c:pt>
                <c:pt idx="11090">
                  <c:v>#N/A</c:v>
                </c:pt>
                <c:pt idx="11091">
                  <c:v>#N/A</c:v>
                </c:pt>
                <c:pt idx="11092">
                  <c:v>#N/A</c:v>
                </c:pt>
                <c:pt idx="11093">
                  <c:v>#N/A</c:v>
                </c:pt>
                <c:pt idx="11094">
                  <c:v>#N/A</c:v>
                </c:pt>
                <c:pt idx="11095">
                  <c:v>#N/A</c:v>
                </c:pt>
                <c:pt idx="11096">
                  <c:v>#N/A</c:v>
                </c:pt>
                <c:pt idx="11097">
                  <c:v>#N/A</c:v>
                </c:pt>
                <c:pt idx="11098">
                  <c:v>#N/A</c:v>
                </c:pt>
                <c:pt idx="11099">
                  <c:v>#N/A</c:v>
                </c:pt>
                <c:pt idx="11100">
                  <c:v>#N/A</c:v>
                </c:pt>
                <c:pt idx="11101">
                  <c:v>#N/A</c:v>
                </c:pt>
                <c:pt idx="11102">
                  <c:v>#N/A</c:v>
                </c:pt>
                <c:pt idx="11103">
                  <c:v>#N/A</c:v>
                </c:pt>
                <c:pt idx="11104">
                  <c:v>#N/A</c:v>
                </c:pt>
                <c:pt idx="11105">
                  <c:v>#N/A</c:v>
                </c:pt>
                <c:pt idx="11106">
                  <c:v>#N/A</c:v>
                </c:pt>
                <c:pt idx="11107">
                  <c:v>#N/A</c:v>
                </c:pt>
                <c:pt idx="11108">
                  <c:v>#N/A</c:v>
                </c:pt>
                <c:pt idx="11109">
                  <c:v>#N/A</c:v>
                </c:pt>
                <c:pt idx="11110">
                  <c:v>#N/A</c:v>
                </c:pt>
                <c:pt idx="11111">
                  <c:v>#N/A</c:v>
                </c:pt>
                <c:pt idx="11112">
                  <c:v>#N/A</c:v>
                </c:pt>
                <c:pt idx="11113">
                  <c:v>#N/A</c:v>
                </c:pt>
                <c:pt idx="11114">
                  <c:v>#N/A</c:v>
                </c:pt>
                <c:pt idx="11115">
                  <c:v>#N/A</c:v>
                </c:pt>
                <c:pt idx="11116">
                  <c:v>#N/A</c:v>
                </c:pt>
                <c:pt idx="11117">
                  <c:v>#N/A</c:v>
                </c:pt>
                <c:pt idx="11118">
                  <c:v>#N/A</c:v>
                </c:pt>
                <c:pt idx="11119">
                  <c:v>4.5643835616438357</c:v>
                </c:pt>
                <c:pt idx="11120">
                  <c:v>#N/A</c:v>
                </c:pt>
                <c:pt idx="11121">
                  <c:v>#N/A</c:v>
                </c:pt>
                <c:pt idx="11122">
                  <c:v>4.5671232876712331</c:v>
                </c:pt>
                <c:pt idx="11123">
                  <c:v>#N/A</c:v>
                </c:pt>
                <c:pt idx="11124">
                  <c:v>#N/A</c:v>
                </c:pt>
                <c:pt idx="11125">
                  <c:v>#N/A</c:v>
                </c:pt>
                <c:pt idx="11126">
                  <c:v>#N/A</c:v>
                </c:pt>
                <c:pt idx="11127">
                  <c:v>#N/A</c:v>
                </c:pt>
                <c:pt idx="11128">
                  <c:v>4.5780821917808217</c:v>
                </c:pt>
                <c:pt idx="11129">
                  <c:v>#N/A</c:v>
                </c:pt>
                <c:pt idx="11130">
                  <c:v>#N/A</c:v>
                </c:pt>
                <c:pt idx="11131">
                  <c:v>#N/A</c:v>
                </c:pt>
                <c:pt idx="11132">
                  <c:v>#N/A</c:v>
                </c:pt>
                <c:pt idx="11133">
                  <c:v>#N/A</c:v>
                </c:pt>
                <c:pt idx="11134">
                  <c:v>#N/A</c:v>
                </c:pt>
                <c:pt idx="11135">
                  <c:v>#N/A</c:v>
                </c:pt>
                <c:pt idx="11136">
                  <c:v>#N/A</c:v>
                </c:pt>
                <c:pt idx="11137">
                  <c:v>#N/A</c:v>
                </c:pt>
                <c:pt idx="11138">
                  <c:v>#N/A</c:v>
                </c:pt>
                <c:pt idx="11139">
                  <c:v>#N/A</c:v>
                </c:pt>
                <c:pt idx="11140">
                  <c:v>#N/A</c:v>
                </c:pt>
                <c:pt idx="11141">
                  <c:v>#N/A</c:v>
                </c:pt>
                <c:pt idx="11142">
                  <c:v>#N/A</c:v>
                </c:pt>
                <c:pt idx="11143">
                  <c:v>#N/A</c:v>
                </c:pt>
                <c:pt idx="11144">
                  <c:v>#N/A</c:v>
                </c:pt>
                <c:pt idx="11145">
                  <c:v>#N/A</c:v>
                </c:pt>
                <c:pt idx="11146">
                  <c:v>#N/A</c:v>
                </c:pt>
                <c:pt idx="11147">
                  <c:v>#N/A</c:v>
                </c:pt>
                <c:pt idx="11148">
                  <c:v>#N/A</c:v>
                </c:pt>
                <c:pt idx="11149">
                  <c:v>#N/A</c:v>
                </c:pt>
                <c:pt idx="11150">
                  <c:v>#N/A</c:v>
                </c:pt>
                <c:pt idx="11151">
                  <c:v>#N/A</c:v>
                </c:pt>
                <c:pt idx="11152">
                  <c:v>#N/A</c:v>
                </c:pt>
                <c:pt idx="11153">
                  <c:v>4.5999999999999996</c:v>
                </c:pt>
                <c:pt idx="11154">
                  <c:v>#N/A</c:v>
                </c:pt>
                <c:pt idx="11155">
                  <c:v>#N/A</c:v>
                </c:pt>
                <c:pt idx="11156">
                  <c:v>#N/A</c:v>
                </c:pt>
                <c:pt idx="11157">
                  <c:v>#N/A</c:v>
                </c:pt>
                <c:pt idx="11158">
                  <c:v>#N/A</c:v>
                </c:pt>
                <c:pt idx="11159">
                  <c:v>#N/A</c:v>
                </c:pt>
                <c:pt idx="11160">
                  <c:v>4.6082191780821917</c:v>
                </c:pt>
                <c:pt idx="11161">
                  <c:v>4.6082191780821917</c:v>
                </c:pt>
                <c:pt idx="11162">
                  <c:v>#N/A</c:v>
                </c:pt>
                <c:pt idx="11163">
                  <c:v>4.6164383561643838</c:v>
                </c:pt>
                <c:pt idx="11164">
                  <c:v>#N/A</c:v>
                </c:pt>
                <c:pt idx="11165">
                  <c:v>#N/A</c:v>
                </c:pt>
                <c:pt idx="11166">
                  <c:v>4.6191780821917812</c:v>
                </c:pt>
                <c:pt idx="11167">
                  <c:v>#N/A</c:v>
                </c:pt>
                <c:pt idx="11168">
                  <c:v>#N/A</c:v>
                </c:pt>
                <c:pt idx="11169">
                  <c:v>#N/A</c:v>
                </c:pt>
                <c:pt idx="11170">
                  <c:v>#N/A</c:v>
                </c:pt>
                <c:pt idx="11171">
                  <c:v>#N/A</c:v>
                </c:pt>
                <c:pt idx="11172">
                  <c:v>#N/A</c:v>
                </c:pt>
                <c:pt idx="11173">
                  <c:v>#N/A</c:v>
                </c:pt>
                <c:pt idx="11174">
                  <c:v>#N/A</c:v>
                </c:pt>
                <c:pt idx="11175">
                  <c:v>#N/A</c:v>
                </c:pt>
                <c:pt idx="11176">
                  <c:v>#N/A</c:v>
                </c:pt>
                <c:pt idx="11177">
                  <c:v>#N/A</c:v>
                </c:pt>
                <c:pt idx="11178">
                  <c:v>4.6547945205479451</c:v>
                </c:pt>
                <c:pt idx="11179">
                  <c:v>#N/A</c:v>
                </c:pt>
                <c:pt idx="11180">
                  <c:v>#N/A</c:v>
                </c:pt>
                <c:pt idx="11181">
                  <c:v>#N/A</c:v>
                </c:pt>
                <c:pt idx="11182">
                  <c:v>#N/A</c:v>
                </c:pt>
                <c:pt idx="11183">
                  <c:v>#N/A</c:v>
                </c:pt>
                <c:pt idx="11184">
                  <c:v>#N/A</c:v>
                </c:pt>
                <c:pt idx="11185">
                  <c:v>#N/A</c:v>
                </c:pt>
                <c:pt idx="11186">
                  <c:v>#N/A</c:v>
                </c:pt>
                <c:pt idx="11187">
                  <c:v>#N/A</c:v>
                </c:pt>
                <c:pt idx="11188">
                  <c:v>#N/A</c:v>
                </c:pt>
                <c:pt idx="11189">
                  <c:v>#N/A</c:v>
                </c:pt>
                <c:pt idx="11190">
                  <c:v>#N/A</c:v>
                </c:pt>
                <c:pt idx="11191">
                  <c:v>#N/A</c:v>
                </c:pt>
                <c:pt idx="11192">
                  <c:v>4.6712328767123283</c:v>
                </c:pt>
                <c:pt idx="11193">
                  <c:v>#N/A</c:v>
                </c:pt>
                <c:pt idx="11194">
                  <c:v>#N/A</c:v>
                </c:pt>
                <c:pt idx="11195">
                  <c:v>#N/A</c:v>
                </c:pt>
                <c:pt idx="11196">
                  <c:v>#N/A</c:v>
                </c:pt>
                <c:pt idx="11197">
                  <c:v>#N/A</c:v>
                </c:pt>
                <c:pt idx="11198">
                  <c:v>#N/A</c:v>
                </c:pt>
                <c:pt idx="11199">
                  <c:v>#N/A</c:v>
                </c:pt>
                <c:pt idx="11200">
                  <c:v>#N/A</c:v>
                </c:pt>
                <c:pt idx="11201">
                  <c:v>#N/A</c:v>
                </c:pt>
                <c:pt idx="11202">
                  <c:v>#N/A</c:v>
                </c:pt>
                <c:pt idx="11203">
                  <c:v>#N/A</c:v>
                </c:pt>
                <c:pt idx="11204">
                  <c:v>#N/A</c:v>
                </c:pt>
                <c:pt idx="11205">
                  <c:v>#N/A</c:v>
                </c:pt>
                <c:pt idx="11206">
                  <c:v>#N/A</c:v>
                </c:pt>
                <c:pt idx="11207">
                  <c:v>#N/A</c:v>
                </c:pt>
                <c:pt idx="11208">
                  <c:v>#N/A</c:v>
                </c:pt>
                <c:pt idx="11209">
                  <c:v>4.6821917808219178</c:v>
                </c:pt>
                <c:pt idx="11210">
                  <c:v>4.6821917808219178</c:v>
                </c:pt>
                <c:pt idx="11211">
                  <c:v>4.6904109589041099</c:v>
                </c:pt>
                <c:pt idx="11212">
                  <c:v>4.6931506849315072</c:v>
                </c:pt>
                <c:pt idx="11213">
                  <c:v>#N/A</c:v>
                </c:pt>
                <c:pt idx="11214">
                  <c:v>#N/A</c:v>
                </c:pt>
                <c:pt idx="11215">
                  <c:v>#N/A</c:v>
                </c:pt>
                <c:pt idx="11216">
                  <c:v>#N/A</c:v>
                </c:pt>
                <c:pt idx="11217">
                  <c:v>#N/A</c:v>
                </c:pt>
                <c:pt idx="11218">
                  <c:v>#N/A</c:v>
                </c:pt>
                <c:pt idx="11219">
                  <c:v>#N/A</c:v>
                </c:pt>
                <c:pt idx="11220">
                  <c:v>#N/A</c:v>
                </c:pt>
                <c:pt idx="11221">
                  <c:v>#N/A</c:v>
                </c:pt>
                <c:pt idx="11222">
                  <c:v>#N/A</c:v>
                </c:pt>
                <c:pt idx="11223">
                  <c:v>4.6931506849315072</c:v>
                </c:pt>
                <c:pt idx="11224">
                  <c:v>#N/A</c:v>
                </c:pt>
                <c:pt idx="11225">
                  <c:v>#N/A</c:v>
                </c:pt>
                <c:pt idx="11226">
                  <c:v>#N/A</c:v>
                </c:pt>
                <c:pt idx="11227">
                  <c:v>#N/A</c:v>
                </c:pt>
                <c:pt idx="11228">
                  <c:v>#N/A</c:v>
                </c:pt>
                <c:pt idx="11229">
                  <c:v>#N/A</c:v>
                </c:pt>
                <c:pt idx="11230">
                  <c:v>#N/A</c:v>
                </c:pt>
                <c:pt idx="11231">
                  <c:v>#N/A</c:v>
                </c:pt>
                <c:pt idx="11232">
                  <c:v>#N/A</c:v>
                </c:pt>
                <c:pt idx="11233">
                  <c:v>#N/A</c:v>
                </c:pt>
                <c:pt idx="11234">
                  <c:v>#N/A</c:v>
                </c:pt>
                <c:pt idx="11235">
                  <c:v>#N/A</c:v>
                </c:pt>
                <c:pt idx="11236">
                  <c:v>#N/A</c:v>
                </c:pt>
                <c:pt idx="11237">
                  <c:v>4.720547945205479</c:v>
                </c:pt>
                <c:pt idx="11238">
                  <c:v>4.7232876712328764</c:v>
                </c:pt>
                <c:pt idx="11239">
                  <c:v>#N/A</c:v>
                </c:pt>
                <c:pt idx="11240">
                  <c:v>#N/A</c:v>
                </c:pt>
                <c:pt idx="11241">
                  <c:v>#N/A</c:v>
                </c:pt>
                <c:pt idx="11242">
                  <c:v>4.7315068493150685</c:v>
                </c:pt>
                <c:pt idx="11243">
                  <c:v>4.7342465753424658</c:v>
                </c:pt>
                <c:pt idx="11244">
                  <c:v>#N/A</c:v>
                </c:pt>
                <c:pt idx="11245">
                  <c:v>#N/A</c:v>
                </c:pt>
                <c:pt idx="11246">
                  <c:v>#N/A</c:v>
                </c:pt>
                <c:pt idx="11247">
                  <c:v>#N/A</c:v>
                </c:pt>
                <c:pt idx="11248">
                  <c:v>#N/A</c:v>
                </c:pt>
                <c:pt idx="11249">
                  <c:v>4.7397260273972606</c:v>
                </c:pt>
                <c:pt idx="11250">
                  <c:v>4.7534246575342465</c:v>
                </c:pt>
                <c:pt idx="11251">
                  <c:v>#N/A</c:v>
                </c:pt>
                <c:pt idx="11252">
                  <c:v>4.7698630136986298</c:v>
                </c:pt>
                <c:pt idx="11253">
                  <c:v>#N/A</c:v>
                </c:pt>
                <c:pt idx="11254">
                  <c:v>4.7863013698630139</c:v>
                </c:pt>
                <c:pt idx="11255">
                  <c:v>#N/A</c:v>
                </c:pt>
                <c:pt idx="11256">
                  <c:v>#N/A</c:v>
                </c:pt>
                <c:pt idx="11257">
                  <c:v>#N/A</c:v>
                </c:pt>
                <c:pt idx="11258">
                  <c:v>4.7890410958904113</c:v>
                </c:pt>
                <c:pt idx="11259">
                  <c:v>#N/A</c:v>
                </c:pt>
                <c:pt idx="11260">
                  <c:v>#N/A</c:v>
                </c:pt>
                <c:pt idx="11261">
                  <c:v>#N/A</c:v>
                </c:pt>
                <c:pt idx="11262">
                  <c:v>4.7917808219178086</c:v>
                </c:pt>
                <c:pt idx="11263">
                  <c:v>#N/A</c:v>
                </c:pt>
                <c:pt idx="11264">
                  <c:v>#N/A</c:v>
                </c:pt>
                <c:pt idx="11265">
                  <c:v>4.7945205479452051</c:v>
                </c:pt>
                <c:pt idx="11266">
                  <c:v>#N/A</c:v>
                </c:pt>
                <c:pt idx="11267">
                  <c:v>4.7945205479452051</c:v>
                </c:pt>
                <c:pt idx="11268">
                  <c:v>#N/A</c:v>
                </c:pt>
                <c:pt idx="11269">
                  <c:v>#N/A</c:v>
                </c:pt>
                <c:pt idx="11270">
                  <c:v>#N/A</c:v>
                </c:pt>
                <c:pt idx="11271">
                  <c:v>#N/A</c:v>
                </c:pt>
                <c:pt idx="11272">
                  <c:v>#N/A</c:v>
                </c:pt>
                <c:pt idx="11273">
                  <c:v>4.8136986301369866</c:v>
                </c:pt>
                <c:pt idx="11274">
                  <c:v>4.8136986301369866</c:v>
                </c:pt>
                <c:pt idx="11275">
                  <c:v>4.8136986301369866</c:v>
                </c:pt>
                <c:pt idx="11276">
                  <c:v>4.816438356164384</c:v>
                </c:pt>
                <c:pt idx="11277">
                  <c:v>#N/A</c:v>
                </c:pt>
                <c:pt idx="11278">
                  <c:v>4.816438356164384</c:v>
                </c:pt>
                <c:pt idx="11279">
                  <c:v>#N/A</c:v>
                </c:pt>
                <c:pt idx="11280">
                  <c:v>#N/A</c:v>
                </c:pt>
                <c:pt idx="11281">
                  <c:v>#N/A</c:v>
                </c:pt>
                <c:pt idx="11282">
                  <c:v>#N/A</c:v>
                </c:pt>
                <c:pt idx="11283">
                  <c:v>#N/A</c:v>
                </c:pt>
                <c:pt idx="11284">
                  <c:v>#N/A</c:v>
                </c:pt>
                <c:pt idx="11285">
                  <c:v>#N/A</c:v>
                </c:pt>
                <c:pt idx="11286">
                  <c:v>4.8328767123287673</c:v>
                </c:pt>
                <c:pt idx="11287">
                  <c:v>4.8328767123287673</c:v>
                </c:pt>
                <c:pt idx="11288">
                  <c:v>4.8356164383561646</c:v>
                </c:pt>
                <c:pt idx="11289">
                  <c:v>#N/A</c:v>
                </c:pt>
                <c:pt idx="11290">
                  <c:v>4.8356164383561646</c:v>
                </c:pt>
                <c:pt idx="11291">
                  <c:v>#N/A</c:v>
                </c:pt>
                <c:pt idx="11292">
                  <c:v>#N/A</c:v>
                </c:pt>
                <c:pt idx="11293">
                  <c:v>#N/A</c:v>
                </c:pt>
                <c:pt idx="11294">
                  <c:v>4.8547945205479452</c:v>
                </c:pt>
                <c:pt idx="11295">
                  <c:v>#N/A</c:v>
                </c:pt>
                <c:pt idx="11296">
                  <c:v>#N/A</c:v>
                </c:pt>
                <c:pt idx="11297">
                  <c:v>#N/A</c:v>
                </c:pt>
                <c:pt idx="11298">
                  <c:v>#N/A</c:v>
                </c:pt>
                <c:pt idx="11299">
                  <c:v>#N/A</c:v>
                </c:pt>
                <c:pt idx="11300">
                  <c:v>#N/A</c:v>
                </c:pt>
                <c:pt idx="11301">
                  <c:v>#N/A</c:v>
                </c:pt>
                <c:pt idx="11302">
                  <c:v>#N/A</c:v>
                </c:pt>
                <c:pt idx="11303">
                  <c:v>#N/A</c:v>
                </c:pt>
                <c:pt idx="11304">
                  <c:v>4.8849315068493153</c:v>
                </c:pt>
                <c:pt idx="11305">
                  <c:v>4.8849315068493153</c:v>
                </c:pt>
                <c:pt idx="11306">
                  <c:v>#N/A</c:v>
                </c:pt>
                <c:pt idx="11307">
                  <c:v>4.8849315068493153</c:v>
                </c:pt>
                <c:pt idx="11308">
                  <c:v>4.8849315068493153</c:v>
                </c:pt>
                <c:pt idx="11309">
                  <c:v>4.8849315068493153</c:v>
                </c:pt>
                <c:pt idx="11310">
                  <c:v>4.8904109589041092</c:v>
                </c:pt>
                <c:pt idx="11311">
                  <c:v>#N/A</c:v>
                </c:pt>
                <c:pt idx="11312">
                  <c:v>#N/A</c:v>
                </c:pt>
                <c:pt idx="11313">
                  <c:v>#N/A</c:v>
                </c:pt>
                <c:pt idx="11314">
                  <c:v>4.9205479452054792</c:v>
                </c:pt>
                <c:pt idx="11315">
                  <c:v>4.9232876712328766</c:v>
                </c:pt>
                <c:pt idx="11316">
                  <c:v>#N/A</c:v>
                </c:pt>
                <c:pt idx="11317">
                  <c:v>#N/A</c:v>
                </c:pt>
                <c:pt idx="11318">
                  <c:v>#N/A</c:v>
                </c:pt>
                <c:pt idx="11319">
                  <c:v>4.9260273972602739</c:v>
                </c:pt>
                <c:pt idx="11320">
                  <c:v>4.9260273972602739</c:v>
                </c:pt>
                <c:pt idx="11321">
                  <c:v>4.9260273972602739</c:v>
                </c:pt>
                <c:pt idx="11322">
                  <c:v>4.9260273972602739</c:v>
                </c:pt>
                <c:pt idx="11323">
                  <c:v>#N/A</c:v>
                </c:pt>
                <c:pt idx="11324">
                  <c:v>#N/A</c:v>
                </c:pt>
                <c:pt idx="11325">
                  <c:v>#N/A</c:v>
                </c:pt>
                <c:pt idx="11326">
                  <c:v>4.934246575342466</c:v>
                </c:pt>
                <c:pt idx="11327">
                  <c:v>4.934246575342466</c:v>
                </c:pt>
                <c:pt idx="11328">
                  <c:v>4.934246575342466</c:v>
                </c:pt>
                <c:pt idx="11329">
                  <c:v>#N/A</c:v>
                </c:pt>
                <c:pt idx="11330">
                  <c:v>#N/A</c:v>
                </c:pt>
                <c:pt idx="11331">
                  <c:v>#N/A</c:v>
                </c:pt>
                <c:pt idx="11332">
                  <c:v>4.934246575342466</c:v>
                </c:pt>
                <c:pt idx="11333">
                  <c:v>4.934246575342466</c:v>
                </c:pt>
                <c:pt idx="11334">
                  <c:v>#N/A</c:v>
                </c:pt>
                <c:pt idx="11335">
                  <c:v>4.9424657534246572</c:v>
                </c:pt>
                <c:pt idx="11336">
                  <c:v>#N/A</c:v>
                </c:pt>
                <c:pt idx="11337">
                  <c:v>#N/A</c:v>
                </c:pt>
                <c:pt idx="11338">
                  <c:v>4.9506849315068493</c:v>
                </c:pt>
                <c:pt idx="11339">
                  <c:v>#N/A</c:v>
                </c:pt>
                <c:pt idx="11340">
                  <c:v>4.9506849315068493</c:v>
                </c:pt>
                <c:pt idx="11341">
                  <c:v>#N/A</c:v>
                </c:pt>
                <c:pt idx="11342">
                  <c:v>#N/A</c:v>
                </c:pt>
                <c:pt idx="11343">
                  <c:v>4.9698630136986299</c:v>
                </c:pt>
                <c:pt idx="11344">
                  <c:v>4.9808219178082194</c:v>
                </c:pt>
                <c:pt idx="11345">
                  <c:v>#N/A</c:v>
                </c:pt>
                <c:pt idx="11346">
                  <c:v>#N/A</c:v>
                </c:pt>
                <c:pt idx="11347">
                  <c:v>#N/A</c:v>
                </c:pt>
                <c:pt idx="11348">
                  <c:v>4.9890410958904106</c:v>
                </c:pt>
                <c:pt idx="11349">
                  <c:v>4.9890410958904106</c:v>
                </c:pt>
                <c:pt idx="11350">
                  <c:v>#N/A</c:v>
                </c:pt>
                <c:pt idx="11351">
                  <c:v>#N/A</c:v>
                </c:pt>
                <c:pt idx="11352">
                  <c:v>#N/A</c:v>
                </c:pt>
                <c:pt idx="11353">
                  <c:v>#N/A</c:v>
                </c:pt>
                <c:pt idx="11354">
                  <c:v>#N/A</c:v>
                </c:pt>
                <c:pt idx="11355">
                  <c:v>5.0054794520547947</c:v>
                </c:pt>
                <c:pt idx="11356">
                  <c:v>#N/A</c:v>
                </c:pt>
                <c:pt idx="11357">
                  <c:v>5.0082191780821921</c:v>
                </c:pt>
                <c:pt idx="11358">
                  <c:v>#N/A</c:v>
                </c:pt>
                <c:pt idx="11359">
                  <c:v>#N/A</c:v>
                </c:pt>
                <c:pt idx="11360">
                  <c:v>#N/A</c:v>
                </c:pt>
                <c:pt idx="11361">
                  <c:v>#N/A</c:v>
                </c:pt>
                <c:pt idx="11362">
                  <c:v>#N/A</c:v>
                </c:pt>
                <c:pt idx="11363">
                  <c:v>5.0109589041095894</c:v>
                </c:pt>
                <c:pt idx="11364">
                  <c:v>#N/A</c:v>
                </c:pt>
                <c:pt idx="11365">
                  <c:v>#N/A</c:v>
                </c:pt>
                <c:pt idx="11366">
                  <c:v>#N/A</c:v>
                </c:pt>
                <c:pt idx="11367">
                  <c:v>5.0109589041095894</c:v>
                </c:pt>
                <c:pt idx="11368">
                  <c:v>#N/A</c:v>
                </c:pt>
                <c:pt idx="11369">
                  <c:v>#N/A</c:v>
                </c:pt>
                <c:pt idx="11370">
                  <c:v>#N/A</c:v>
                </c:pt>
                <c:pt idx="11371">
                  <c:v>#N/A</c:v>
                </c:pt>
                <c:pt idx="11372">
                  <c:v>5.0109589041095894</c:v>
                </c:pt>
                <c:pt idx="11373">
                  <c:v>5.0109589041095894</c:v>
                </c:pt>
                <c:pt idx="11374">
                  <c:v>#N/A</c:v>
                </c:pt>
                <c:pt idx="11375">
                  <c:v>#N/A</c:v>
                </c:pt>
                <c:pt idx="11376">
                  <c:v>#N/A</c:v>
                </c:pt>
                <c:pt idx="11377">
                  <c:v>#N/A</c:v>
                </c:pt>
                <c:pt idx="11378">
                  <c:v>#N/A</c:v>
                </c:pt>
                <c:pt idx="11379">
                  <c:v>#N/A</c:v>
                </c:pt>
                <c:pt idx="11380">
                  <c:v>5.0109589041095894</c:v>
                </c:pt>
                <c:pt idx="11381">
                  <c:v>#N/A</c:v>
                </c:pt>
                <c:pt idx="11382">
                  <c:v>#N/A</c:v>
                </c:pt>
                <c:pt idx="11383">
                  <c:v>#N/A</c:v>
                </c:pt>
                <c:pt idx="11384">
                  <c:v>#N/A</c:v>
                </c:pt>
                <c:pt idx="11385">
                  <c:v>#N/A</c:v>
                </c:pt>
                <c:pt idx="11386">
                  <c:v>#N/A</c:v>
                </c:pt>
                <c:pt idx="11387">
                  <c:v>#N/A</c:v>
                </c:pt>
                <c:pt idx="11388">
                  <c:v>#N/A</c:v>
                </c:pt>
                <c:pt idx="11389">
                  <c:v>#N/A</c:v>
                </c:pt>
                <c:pt idx="11390">
                  <c:v>#N/A</c:v>
                </c:pt>
                <c:pt idx="11391">
                  <c:v>#N/A</c:v>
                </c:pt>
                <c:pt idx="11392">
                  <c:v>5.0164383561643833</c:v>
                </c:pt>
                <c:pt idx="11393">
                  <c:v>#N/A</c:v>
                </c:pt>
                <c:pt idx="11394">
                  <c:v>#N/A</c:v>
                </c:pt>
                <c:pt idx="11395">
                  <c:v>#N/A</c:v>
                </c:pt>
                <c:pt idx="11396">
                  <c:v>5.0164383561643833</c:v>
                </c:pt>
                <c:pt idx="11397">
                  <c:v>5.0164383561643833</c:v>
                </c:pt>
                <c:pt idx="11398">
                  <c:v>#N/A</c:v>
                </c:pt>
                <c:pt idx="11399">
                  <c:v>#N/A</c:v>
                </c:pt>
                <c:pt idx="11400">
                  <c:v>#N/A</c:v>
                </c:pt>
                <c:pt idx="11401">
                  <c:v>#N/A</c:v>
                </c:pt>
                <c:pt idx="11402">
                  <c:v>5.0191780821917806</c:v>
                </c:pt>
                <c:pt idx="11403">
                  <c:v>#N/A</c:v>
                </c:pt>
                <c:pt idx="11404">
                  <c:v>#N/A</c:v>
                </c:pt>
                <c:pt idx="11405">
                  <c:v>#N/A</c:v>
                </c:pt>
                <c:pt idx="11406">
                  <c:v>5.0191780821917806</c:v>
                </c:pt>
                <c:pt idx="11407">
                  <c:v>5.0191780821917806</c:v>
                </c:pt>
                <c:pt idx="11408">
                  <c:v>#N/A</c:v>
                </c:pt>
                <c:pt idx="11409">
                  <c:v>#N/A</c:v>
                </c:pt>
                <c:pt idx="11410">
                  <c:v>#N/A</c:v>
                </c:pt>
                <c:pt idx="11411">
                  <c:v>#N/A</c:v>
                </c:pt>
                <c:pt idx="11412">
                  <c:v>5.0191780821917806</c:v>
                </c:pt>
                <c:pt idx="11413">
                  <c:v>#N/A</c:v>
                </c:pt>
                <c:pt idx="11414">
                  <c:v>5.021917808219178</c:v>
                </c:pt>
                <c:pt idx="11415">
                  <c:v>#N/A</c:v>
                </c:pt>
                <c:pt idx="11416">
                  <c:v>#N/A</c:v>
                </c:pt>
                <c:pt idx="11417">
                  <c:v>5.021917808219178</c:v>
                </c:pt>
                <c:pt idx="11418">
                  <c:v>#N/A</c:v>
                </c:pt>
                <c:pt idx="11419">
                  <c:v>#N/A</c:v>
                </c:pt>
                <c:pt idx="11420">
                  <c:v>#N/A</c:v>
                </c:pt>
                <c:pt idx="11421">
                  <c:v>#N/A</c:v>
                </c:pt>
                <c:pt idx="11422">
                  <c:v>#N/A</c:v>
                </c:pt>
                <c:pt idx="11423">
                  <c:v>5.021917808219178</c:v>
                </c:pt>
                <c:pt idx="11424">
                  <c:v>#N/A</c:v>
                </c:pt>
                <c:pt idx="11425">
                  <c:v>#N/A</c:v>
                </c:pt>
                <c:pt idx="11426">
                  <c:v>#N/A</c:v>
                </c:pt>
                <c:pt idx="11427">
                  <c:v>5.0246575342465754</c:v>
                </c:pt>
                <c:pt idx="11428">
                  <c:v>#N/A</c:v>
                </c:pt>
                <c:pt idx="11429">
                  <c:v>#N/A</c:v>
                </c:pt>
                <c:pt idx="11430">
                  <c:v>#N/A</c:v>
                </c:pt>
                <c:pt idx="11431">
                  <c:v>5.0273972602739727</c:v>
                </c:pt>
                <c:pt idx="11432">
                  <c:v>#N/A</c:v>
                </c:pt>
                <c:pt idx="11433">
                  <c:v>#N/A</c:v>
                </c:pt>
                <c:pt idx="11434">
                  <c:v>#N/A</c:v>
                </c:pt>
                <c:pt idx="11435">
                  <c:v>#N/A</c:v>
                </c:pt>
                <c:pt idx="11436">
                  <c:v>#N/A</c:v>
                </c:pt>
                <c:pt idx="11437">
                  <c:v>5.0301369863013701</c:v>
                </c:pt>
                <c:pt idx="11438">
                  <c:v>#N/A</c:v>
                </c:pt>
                <c:pt idx="11439">
                  <c:v>#N/A</c:v>
                </c:pt>
                <c:pt idx="11440">
                  <c:v>#N/A</c:v>
                </c:pt>
                <c:pt idx="11441">
                  <c:v>#N/A</c:v>
                </c:pt>
                <c:pt idx="11442">
                  <c:v>#N/A</c:v>
                </c:pt>
                <c:pt idx="11443">
                  <c:v>#N/A</c:v>
                </c:pt>
                <c:pt idx="11444">
                  <c:v>5.0383561643835613</c:v>
                </c:pt>
                <c:pt idx="11445">
                  <c:v>#N/A</c:v>
                </c:pt>
                <c:pt idx="11446">
                  <c:v>#N/A</c:v>
                </c:pt>
                <c:pt idx="11447">
                  <c:v>5.0383561643835613</c:v>
                </c:pt>
                <c:pt idx="11448">
                  <c:v>#N/A</c:v>
                </c:pt>
                <c:pt idx="11449">
                  <c:v>#N/A</c:v>
                </c:pt>
                <c:pt idx="11450">
                  <c:v>#N/A</c:v>
                </c:pt>
                <c:pt idx="11451">
                  <c:v>#N/A</c:v>
                </c:pt>
                <c:pt idx="11452">
                  <c:v>5.0410958904109586</c:v>
                </c:pt>
                <c:pt idx="11453">
                  <c:v>#N/A</c:v>
                </c:pt>
                <c:pt idx="11454">
                  <c:v>5.0410958904109586</c:v>
                </c:pt>
                <c:pt idx="11455">
                  <c:v>5.0410958904109586</c:v>
                </c:pt>
                <c:pt idx="11456">
                  <c:v>5.0410958904109586</c:v>
                </c:pt>
                <c:pt idx="11457">
                  <c:v>#N/A</c:v>
                </c:pt>
                <c:pt idx="11458">
                  <c:v>#N/A</c:v>
                </c:pt>
                <c:pt idx="11459">
                  <c:v>#N/A</c:v>
                </c:pt>
                <c:pt idx="11460">
                  <c:v>#N/A</c:v>
                </c:pt>
                <c:pt idx="11461">
                  <c:v>#N/A</c:v>
                </c:pt>
                <c:pt idx="11462">
                  <c:v>#N/A</c:v>
                </c:pt>
                <c:pt idx="11463">
                  <c:v>#N/A</c:v>
                </c:pt>
                <c:pt idx="11464">
                  <c:v>#N/A</c:v>
                </c:pt>
                <c:pt idx="11465">
                  <c:v>#N/A</c:v>
                </c:pt>
                <c:pt idx="11466">
                  <c:v>#N/A</c:v>
                </c:pt>
                <c:pt idx="11467">
                  <c:v>#N/A</c:v>
                </c:pt>
                <c:pt idx="11468">
                  <c:v>5.0575342465753428</c:v>
                </c:pt>
                <c:pt idx="11469">
                  <c:v>5.0575342465753428</c:v>
                </c:pt>
                <c:pt idx="11470">
                  <c:v>#N/A</c:v>
                </c:pt>
                <c:pt idx="11471">
                  <c:v>#N/A</c:v>
                </c:pt>
                <c:pt idx="11472">
                  <c:v>5.0575342465753428</c:v>
                </c:pt>
                <c:pt idx="11473">
                  <c:v>#N/A</c:v>
                </c:pt>
                <c:pt idx="11474">
                  <c:v>#N/A</c:v>
                </c:pt>
                <c:pt idx="11475">
                  <c:v>#N/A</c:v>
                </c:pt>
                <c:pt idx="11476">
                  <c:v>5.065753424657534</c:v>
                </c:pt>
                <c:pt idx="11477">
                  <c:v>#N/A</c:v>
                </c:pt>
                <c:pt idx="11478">
                  <c:v>#N/A</c:v>
                </c:pt>
                <c:pt idx="11479">
                  <c:v>5.065753424657534</c:v>
                </c:pt>
                <c:pt idx="11480">
                  <c:v>#N/A</c:v>
                </c:pt>
                <c:pt idx="11481">
                  <c:v>5.0684931506849313</c:v>
                </c:pt>
                <c:pt idx="11482">
                  <c:v>#N/A</c:v>
                </c:pt>
                <c:pt idx="11483">
                  <c:v>5.0767123287671234</c:v>
                </c:pt>
                <c:pt idx="11484">
                  <c:v>5.0821917808219181</c:v>
                </c:pt>
                <c:pt idx="11485">
                  <c:v>#N/A</c:v>
                </c:pt>
                <c:pt idx="11486">
                  <c:v>#N/A</c:v>
                </c:pt>
                <c:pt idx="11487">
                  <c:v>5.0821917808219181</c:v>
                </c:pt>
                <c:pt idx="11488">
                  <c:v>5.0821917808219181</c:v>
                </c:pt>
                <c:pt idx="11489">
                  <c:v>#N/A</c:v>
                </c:pt>
                <c:pt idx="11490">
                  <c:v>#N/A</c:v>
                </c:pt>
                <c:pt idx="11491">
                  <c:v>#N/A</c:v>
                </c:pt>
                <c:pt idx="11492">
                  <c:v>#N/A</c:v>
                </c:pt>
                <c:pt idx="11493">
                  <c:v>#N/A</c:v>
                </c:pt>
                <c:pt idx="11494">
                  <c:v>#N/A</c:v>
                </c:pt>
                <c:pt idx="11495">
                  <c:v>#N/A</c:v>
                </c:pt>
                <c:pt idx="11496">
                  <c:v>#N/A</c:v>
                </c:pt>
                <c:pt idx="11497">
                  <c:v>#N/A</c:v>
                </c:pt>
                <c:pt idx="11498">
                  <c:v>5.095890410958904</c:v>
                </c:pt>
                <c:pt idx="11499">
                  <c:v>#N/A</c:v>
                </c:pt>
                <c:pt idx="11500">
                  <c:v>#N/A</c:v>
                </c:pt>
                <c:pt idx="11501">
                  <c:v>#N/A</c:v>
                </c:pt>
                <c:pt idx="11502">
                  <c:v>#N/A</c:v>
                </c:pt>
                <c:pt idx="11503">
                  <c:v>#N/A</c:v>
                </c:pt>
                <c:pt idx="11504">
                  <c:v>5.1013698630136988</c:v>
                </c:pt>
                <c:pt idx="11505">
                  <c:v>#N/A</c:v>
                </c:pt>
                <c:pt idx="11506">
                  <c:v>5.1013698630136988</c:v>
                </c:pt>
                <c:pt idx="11507">
                  <c:v>#N/A</c:v>
                </c:pt>
                <c:pt idx="11508">
                  <c:v>#N/A</c:v>
                </c:pt>
                <c:pt idx="11509">
                  <c:v>#N/A</c:v>
                </c:pt>
                <c:pt idx="11510">
                  <c:v>#N/A</c:v>
                </c:pt>
                <c:pt idx="11511">
                  <c:v>#N/A</c:v>
                </c:pt>
                <c:pt idx="11512">
                  <c:v>#N/A</c:v>
                </c:pt>
                <c:pt idx="11513">
                  <c:v>5.1424657534246574</c:v>
                </c:pt>
                <c:pt idx="11514">
                  <c:v>#N/A</c:v>
                </c:pt>
                <c:pt idx="11515">
                  <c:v>5.1534246575342468</c:v>
                </c:pt>
                <c:pt idx="11516">
                  <c:v>#N/A</c:v>
                </c:pt>
                <c:pt idx="11517">
                  <c:v>5.1561643835616442</c:v>
                </c:pt>
                <c:pt idx="11518">
                  <c:v>#N/A</c:v>
                </c:pt>
                <c:pt idx="11519">
                  <c:v>#N/A</c:v>
                </c:pt>
                <c:pt idx="11520">
                  <c:v>#N/A</c:v>
                </c:pt>
                <c:pt idx="11521">
                  <c:v>5.1753424657534248</c:v>
                </c:pt>
                <c:pt idx="11522">
                  <c:v>5.1753424657534248</c:v>
                </c:pt>
                <c:pt idx="11523">
                  <c:v>#N/A</c:v>
                </c:pt>
                <c:pt idx="11524">
                  <c:v>#N/A</c:v>
                </c:pt>
                <c:pt idx="11525">
                  <c:v>#N/A</c:v>
                </c:pt>
                <c:pt idx="11526">
                  <c:v>#N/A</c:v>
                </c:pt>
                <c:pt idx="11527">
                  <c:v>5.1780821917808222</c:v>
                </c:pt>
                <c:pt idx="11528">
                  <c:v>5.1780821917808222</c:v>
                </c:pt>
                <c:pt idx="11529">
                  <c:v>#N/A</c:v>
                </c:pt>
                <c:pt idx="11530">
                  <c:v>5.1780821917808222</c:v>
                </c:pt>
                <c:pt idx="11531">
                  <c:v>#N/A</c:v>
                </c:pt>
                <c:pt idx="11532">
                  <c:v>#N/A</c:v>
                </c:pt>
                <c:pt idx="11533">
                  <c:v>#N/A</c:v>
                </c:pt>
                <c:pt idx="11534">
                  <c:v>#N/A</c:v>
                </c:pt>
                <c:pt idx="11535">
                  <c:v>#N/A</c:v>
                </c:pt>
                <c:pt idx="11536">
                  <c:v>#N/A</c:v>
                </c:pt>
                <c:pt idx="11537">
                  <c:v>#N/A</c:v>
                </c:pt>
                <c:pt idx="11538">
                  <c:v>#N/A</c:v>
                </c:pt>
                <c:pt idx="11539">
                  <c:v>#N/A</c:v>
                </c:pt>
                <c:pt idx="11540">
                  <c:v>#N/A</c:v>
                </c:pt>
                <c:pt idx="11541">
                  <c:v>#N/A</c:v>
                </c:pt>
                <c:pt idx="11542">
                  <c:v>#N/A</c:v>
                </c:pt>
                <c:pt idx="11543">
                  <c:v>#N/A</c:v>
                </c:pt>
                <c:pt idx="11544">
                  <c:v>#N/A</c:v>
                </c:pt>
                <c:pt idx="11545">
                  <c:v>5.2684931506849315</c:v>
                </c:pt>
                <c:pt idx="11546">
                  <c:v>5.2712328767123289</c:v>
                </c:pt>
                <c:pt idx="11547">
                  <c:v>#N/A</c:v>
                </c:pt>
                <c:pt idx="11548">
                  <c:v>#N/A</c:v>
                </c:pt>
                <c:pt idx="11549">
                  <c:v>#N/A</c:v>
                </c:pt>
                <c:pt idx="11550">
                  <c:v>#N/A</c:v>
                </c:pt>
                <c:pt idx="11551">
                  <c:v>#N/A</c:v>
                </c:pt>
                <c:pt idx="11552">
                  <c:v>#N/A</c:v>
                </c:pt>
                <c:pt idx="11553">
                  <c:v>#N/A</c:v>
                </c:pt>
                <c:pt idx="11554">
                  <c:v>5.2904109589041095</c:v>
                </c:pt>
                <c:pt idx="11555">
                  <c:v>#N/A</c:v>
                </c:pt>
                <c:pt idx="11556">
                  <c:v>5.2904109589041095</c:v>
                </c:pt>
                <c:pt idx="11557">
                  <c:v>#N/A</c:v>
                </c:pt>
                <c:pt idx="11558">
                  <c:v>#N/A</c:v>
                </c:pt>
                <c:pt idx="11559">
                  <c:v>#N/A</c:v>
                </c:pt>
                <c:pt idx="11560">
                  <c:v>#N/A</c:v>
                </c:pt>
                <c:pt idx="11561">
                  <c:v>#N/A</c:v>
                </c:pt>
                <c:pt idx="11562">
                  <c:v>#N/A</c:v>
                </c:pt>
                <c:pt idx="11563">
                  <c:v>5.3150684931506849</c:v>
                </c:pt>
                <c:pt idx="11564">
                  <c:v>#N/A</c:v>
                </c:pt>
                <c:pt idx="11565">
                  <c:v>5.3178082191780822</c:v>
                </c:pt>
                <c:pt idx="11566">
                  <c:v>#N/A</c:v>
                </c:pt>
                <c:pt idx="11567">
                  <c:v>#N/A</c:v>
                </c:pt>
                <c:pt idx="11568">
                  <c:v>5.3178082191780822</c:v>
                </c:pt>
                <c:pt idx="11569">
                  <c:v>5.3178082191780822</c:v>
                </c:pt>
                <c:pt idx="11570">
                  <c:v>#N/A</c:v>
                </c:pt>
                <c:pt idx="11571">
                  <c:v>#N/A</c:v>
                </c:pt>
                <c:pt idx="11572">
                  <c:v>#N/A</c:v>
                </c:pt>
                <c:pt idx="11573">
                  <c:v>#N/A</c:v>
                </c:pt>
                <c:pt idx="11574">
                  <c:v>#N/A</c:v>
                </c:pt>
                <c:pt idx="11575">
                  <c:v>#N/A</c:v>
                </c:pt>
                <c:pt idx="11576">
                  <c:v>#N/A</c:v>
                </c:pt>
                <c:pt idx="11577">
                  <c:v>#N/A</c:v>
                </c:pt>
                <c:pt idx="11578">
                  <c:v>#N/A</c:v>
                </c:pt>
                <c:pt idx="11579">
                  <c:v>#N/A</c:v>
                </c:pt>
                <c:pt idx="11580">
                  <c:v>#N/A</c:v>
                </c:pt>
                <c:pt idx="11581">
                  <c:v>#N/A</c:v>
                </c:pt>
                <c:pt idx="11582">
                  <c:v>#N/A</c:v>
                </c:pt>
                <c:pt idx="11583">
                  <c:v>#N/A</c:v>
                </c:pt>
                <c:pt idx="11584">
                  <c:v>5.3479452054794523</c:v>
                </c:pt>
                <c:pt idx="11585">
                  <c:v>#N/A</c:v>
                </c:pt>
                <c:pt idx="11586">
                  <c:v>#N/A</c:v>
                </c:pt>
                <c:pt idx="11587">
                  <c:v>#N/A</c:v>
                </c:pt>
                <c:pt idx="11588">
                  <c:v>#N/A</c:v>
                </c:pt>
                <c:pt idx="11589">
                  <c:v>#N/A</c:v>
                </c:pt>
                <c:pt idx="11590">
                  <c:v>#N/A</c:v>
                </c:pt>
                <c:pt idx="11591">
                  <c:v>#N/A</c:v>
                </c:pt>
                <c:pt idx="11592">
                  <c:v>#N/A</c:v>
                </c:pt>
                <c:pt idx="11593">
                  <c:v>#N/A</c:v>
                </c:pt>
                <c:pt idx="11594">
                  <c:v>#N/A</c:v>
                </c:pt>
                <c:pt idx="11595">
                  <c:v>5.3643835616438356</c:v>
                </c:pt>
                <c:pt idx="11596">
                  <c:v>#N/A</c:v>
                </c:pt>
                <c:pt idx="11597">
                  <c:v>#N/A</c:v>
                </c:pt>
                <c:pt idx="11598">
                  <c:v>5.3643835616438356</c:v>
                </c:pt>
                <c:pt idx="11599">
                  <c:v>5.3643835616438356</c:v>
                </c:pt>
                <c:pt idx="11600">
                  <c:v>#N/A</c:v>
                </c:pt>
                <c:pt idx="11601">
                  <c:v>#N/A</c:v>
                </c:pt>
                <c:pt idx="11602">
                  <c:v>#N/A</c:v>
                </c:pt>
                <c:pt idx="11603">
                  <c:v>5.3643835616438356</c:v>
                </c:pt>
                <c:pt idx="11604">
                  <c:v>#N/A</c:v>
                </c:pt>
                <c:pt idx="11605">
                  <c:v>5.3643835616438356</c:v>
                </c:pt>
                <c:pt idx="11606">
                  <c:v>5.3671232876712329</c:v>
                </c:pt>
                <c:pt idx="11607">
                  <c:v>#N/A</c:v>
                </c:pt>
                <c:pt idx="11608">
                  <c:v>5.3671232876712329</c:v>
                </c:pt>
                <c:pt idx="11609">
                  <c:v>#N/A</c:v>
                </c:pt>
                <c:pt idx="11610">
                  <c:v>5.3698630136986303</c:v>
                </c:pt>
                <c:pt idx="11611">
                  <c:v>5.3698630136986303</c:v>
                </c:pt>
                <c:pt idx="11612">
                  <c:v>#N/A</c:v>
                </c:pt>
                <c:pt idx="11613">
                  <c:v>#N/A</c:v>
                </c:pt>
                <c:pt idx="11614">
                  <c:v>#N/A</c:v>
                </c:pt>
                <c:pt idx="11615">
                  <c:v>#N/A</c:v>
                </c:pt>
                <c:pt idx="11616">
                  <c:v>#N/A</c:v>
                </c:pt>
                <c:pt idx="11617">
                  <c:v>#N/A</c:v>
                </c:pt>
                <c:pt idx="11618">
                  <c:v>5.3863013698630136</c:v>
                </c:pt>
                <c:pt idx="11619">
                  <c:v>#N/A</c:v>
                </c:pt>
                <c:pt idx="11620">
                  <c:v>#N/A</c:v>
                </c:pt>
                <c:pt idx="11621">
                  <c:v>5.3945205479452056</c:v>
                </c:pt>
                <c:pt idx="11622">
                  <c:v>#N/A</c:v>
                </c:pt>
                <c:pt idx="11623">
                  <c:v>5.4027397260273968</c:v>
                </c:pt>
                <c:pt idx="11624">
                  <c:v>5.4054794520547942</c:v>
                </c:pt>
                <c:pt idx="11625">
                  <c:v>5.4082191780821915</c:v>
                </c:pt>
                <c:pt idx="11626">
                  <c:v>#N/A</c:v>
                </c:pt>
                <c:pt idx="11627">
                  <c:v>#N/A</c:v>
                </c:pt>
                <c:pt idx="11628">
                  <c:v>5.4082191780821915</c:v>
                </c:pt>
                <c:pt idx="11629">
                  <c:v>#N/A</c:v>
                </c:pt>
                <c:pt idx="11630">
                  <c:v>#N/A</c:v>
                </c:pt>
                <c:pt idx="11631">
                  <c:v>#N/A</c:v>
                </c:pt>
                <c:pt idx="11632">
                  <c:v>5.4109589041095889</c:v>
                </c:pt>
                <c:pt idx="11633">
                  <c:v>5.4109589041095889</c:v>
                </c:pt>
                <c:pt idx="11634">
                  <c:v>#N/A</c:v>
                </c:pt>
                <c:pt idx="11635">
                  <c:v>#N/A</c:v>
                </c:pt>
                <c:pt idx="11636">
                  <c:v>#N/A</c:v>
                </c:pt>
                <c:pt idx="11637">
                  <c:v>#N/A</c:v>
                </c:pt>
                <c:pt idx="11638">
                  <c:v>5.4219178082191783</c:v>
                </c:pt>
                <c:pt idx="11639">
                  <c:v>#N/A</c:v>
                </c:pt>
                <c:pt idx="11640">
                  <c:v>#N/A</c:v>
                </c:pt>
                <c:pt idx="11641">
                  <c:v>#N/A</c:v>
                </c:pt>
                <c:pt idx="11642">
                  <c:v>5.4246575342465757</c:v>
                </c:pt>
                <c:pt idx="11643">
                  <c:v>5.4246575342465757</c:v>
                </c:pt>
                <c:pt idx="11644">
                  <c:v>#N/A</c:v>
                </c:pt>
                <c:pt idx="11645">
                  <c:v>#N/A</c:v>
                </c:pt>
                <c:pt idx="11646">
                  <c:v>#N/A</c:v>
                </c:pt>
                <c:pt idx="11647">
                  <c:v>#N/A</c:v>
                </c:pt>
                <c:pt idx="11648">
                  <c:v>#N/A</c:v>
                </c:pt>
                <c:pt idx="11649">
                  <c:v>#N/A</c:v>
                </c:pt>
                <c:pt idx="11650">
                  <c:v>#N/A</c:v>
                </c:pt>
                <c:pt idx="11651">
                  <c:v>5.4328767123287669</c:v>
                </c:pt>
                <c:pt idx="11652">
                  <c:v>#N/A</c:v>
                </c:pt>
                <c:pt idx="11653">
                  <c:v>#N/A</c:v>
                </c:pt>
                <c:pt idx="11654">
                  <c:v>5.4328767123287669</c:v>
                </c:pt>
                <c:pt idx="11655">
                  <c:v>5.4328767123287669</c:v>
                </c:pt>
                <c:pt idx="11656">
                  <c:v>#N/A</c:v>
                </c:pt>
                <c:pt idx="11657">
                  <c:v>#N/A</c:v>
                </c:pt>
                <c:pt idx="11658">
                  <c:v>#N/A</c:v>
                </c:pt>
                <c:pt idx="11659">
                  <c:v>#N/A</c:v>
                </c:pt>
                <c:pt idx="11660">
                  <c:v>5.4328767123287669</c:v>
                </c:pt>
                <c:pt idx="11661">
                  <c:v>#N/A</c:v>
                </c:pt>
                <c:pt idx="11662">
                  <c:v>5.4328767123287669</c:v>
                </c:pt>
                <c:pt idx="11663">
                  <c:v>5.4328767123287669</c:v>
                </c:pt>
                <c:pt idx="11664">
                  <c:v>5.4328767123287669</c:v>
                </c:pt>
                <c:pt idx="11665">
                  <c:v>5.4328767123287669</c:v>
                </c:pt>
                <c:pt idx="11666">
                  <c:v>#N/A</c:v>
                </c:pt>
                <c:pt idx="11667">
                  <c:v>#N/A</c:v>
                </c:pt>
                <c:pt idx="11668">
                  <c:v>#N/A</c:v>
                </c:pt>
                <c:pt idx="11669">
                  <c:v>5.4328767123287669</c:v>
                </c:pt>
                <c:pt idx="11670">
                  <c:v>#N/A</c:v>
                </c:pt>
                <c:pt idx="11671">
                  <c:v>#N/A</c:v>
                </c:pt>
                <c:pt idx="11672">
                  <c:v>5.4328767123287669</c:v>
                </c:pt>
                <c:pt idx="11673">
                  <c:v>#N/A</c:v>
                </c:pt>
                <c:pt idx="11674">
                  <c:v>5.4328767123287669</c:v>
                </c:pt>
                <c:pt idx="11675">
                  <c:v>#N/A</c:v>
                </c:pt>
                <c:pt idx="11676">
                  <c:v>#N/A</c:v>
                </c:pt>
                <c:pt idx="11677">
                  <c:v>#N/A</c:v>
                </c:pt>
                <c:pt idx="11678">
                  <c:v>#N/A</c:v>
                </c:pt>
                <c:pt idx="11679">
                  <c:v>#N/A</c:v>
                </c:pt>
                <c:pt idx="11680">
                  <c:v>#N/A</c:v>
                </c:pt>
                <c:pt idx="11681">
                  <c:v>#N/A</c:v>
                </c:pt>
                <c:pt idx="11682">
                  <c:v>#N/A</c:v>
                </c:pt>
                <c:pt idx="11683">
                  <c:v>#N/A</c:v>
                </c:pt>
                <c:pt idx="11684">
                  <c:v>#N/A</c:v>
                </c:pt>
                <c:pt idx="11685">
                  <c:v>5.4328767123287669</c:v>
                </c:pt>
                <c:pt idx="11686">
                  <c:v>#N/A</c:v>
                </c:pt>
                <c:pt idx="11687">
                  <c:v>#N/A</c:v>
                </c:pt>
                <c:pt idx="11688">
                  <c:v>#N/A</c:v>
                </c:pt>
                <c:pt idx="11689">
                  <c:v>#N/A</c:v>
                </c:pt>
                <c:pt idx="11690">
                  <c:v>#N/A</c:v>
                </c:pt>
                <c:pt idx="11691">
                  <c:v>#N/A</c:v>
                </c:pt>
                <c:pt idx="11692">
                  <c:v>#N/A</c:v>
                </c:pt>
                <c:pt idx="11693">
                  <c:v>#N/A</c:v>
                </c:pt>
                <c:pt idx="11694">
                  <c:v>#N/A</c:v>
                </c:pt>
                <c:pt idx="11695">
                  <c:v>#N/A</c:v>
                </c:pt>
                <c:pt idx="11696">
                  <c:v>#N/A</c:v>
                </c:pt>
                <c:pt idx="11697">
                  <c:v>5.4328767123287669</c:v>
                </c:pt>
                <c:pt idx="11698">
                  <c:v>#N/A</c:v>
                </c:pt>
                <c:pt idx="11699">
                  <c:v>#N/A</c:v>
                </c:pt>
                <c:pt idx="11700">
                  <c:v>#N/A</c:v>
                </c:pt>
                <c:pt idx="11701">
                  <c:v>#N/A</c:v>
                </c:pt>
                <c:pt idx="11702">
                  <c:v>#N/A</c:v>
                </c:pt>
                <c:pt idx="11703">
                  <c:v>#N/A</c:v>
                </c:pt>
                <c:pt idx="11704">
                  <c:v>5.4328767123287669</c:v>
                </c:pt>
                <c:pt idx="11705">
                  <c:v>#N/A</c:v>
                </c:pt>
                <c:pt idx="11706">
                  <c:v>5.4328767123287669</c:v>
                </c:pt>
                <c:pt idx="11707">
                  <c:v>#N/A</c:v>
                </c:pt>
                <c:pt idx="11708">
                  <c:v>#N/A</c:v>
                </c:pt>
                <c:pt idx="11709">
                  <c:v>#N/A</c:v>
                </c:pt>
                <c:pt idx="11710">
                  <c:v>#N/A</c:v>
                </c:pt>
                <c:pt idx="11711">
                  <c:v>#N/A</c:v>
                </c:pt>
                <c:pt idx="11712">
                  <c:v>5.4328767123287669</c:v>
                </c:pt>
                <c:pt idx="11713">
                  <c:v>#N/A</c:v>
                </c:pt>
                <c:pt idx="11714">
                  <c:v>#N/A</c:v>
                </c:pt>
                <c:pt idx="11715">
                  <c:v>5.4328767123287669</c:v>
                </c:pt>
                <c:pt idx="11716">
                  <c:v>#N/A</c:v>
                </c:pt>
                <c:pt idx="11717">
                  <c:v>#N/A</c:v>
                </c:pt>
                <c:pt idx="11718">
                  <c:v>#N/A</c:v>
                </c:pt>
                <c:pt idx="11719">
                  <c:v>#N/A</c:v>
                </c:pt>
                <c:pt idx="11720">
                  <c:v>#N/A</c:v>
                </c:pt>
                <c:pt idx="11721">
                  <c:v>#N/A</c:v>
                </c:pt>
                <c:pt idx="11722">
                  <c:v>#N/A</c:v>
                </c:pt>
                <c:pt idx="11723">
                  <c:v>#N/A</c:v>
                </c:pt>
                <c:pt idx="11724">
                  <c:v>#N/A</c:v>
                </c:pt>
                <c:pt idx="11725">
                  <c:v>#N/A</c:v>
                </c:pt>
                <c:pt idx="11726">
                  <c:v>#N/A</c:v>
                </c:pt>
                <c:pt idx="11727">
                  <c:v>#N/A</c:v>
                </c:pt>
                <c:pt idx="11728">
                  <c:v>#N/A</c:v>
                </c:pt>
                <c:pt idx="11729">
                  <c:v>#N/A</c:v>
                </c:pt>
                <c:pt idx="11730">
                  <c:v>5.4328767123287669</c:v>
                </c:pt>
                <c:pt idx="11731">
                  <c:v>#N/A</c:v>
                </c:pt>
                <c:pt idx="11732">
                  <c:v>#N/A</c:v>
                </c:pt>
                <c:pt idx="11733">
                  <c:v>#N/A</c:v>
                </c:pt>
                <c:pt idx="11734">
                  <c:v>#N/A</c:v>
                </c:pt>
                <c:pt idx="11735">
                  <c:v>#N/A</c:v>
                </c:pt>
                <c:pt idx="11736">
                  <c:v>#N/A</c:v>
                </c:pt>
                <c:pt idx="11737">
                  <c:v>#N/A</c:v>
                </c:pt>
                <c:pt idx="11738">
                  <c:v>#N/A</c:v>
                </c:pt>
                <c:pt idx="11739">
                  <c:v>5.4328767123287669</c:v>
                </c:pt>
                <c:pt idx="11740">
                  <c:v>5.4328767123287669</c:v>
                </c:pt>
                <c:pt idx="11741">
                  <c:v>5.4328767123287669</c:v>
                </c:pt>
                <c:pt idx="11742">
                  <c:v>#N/A</c:v>
                </c:pt>
                <c:pt idx="11743">
                  <c:v>#N/A</c:v>
                </c:pt>
                <c:pt idx="11744">
                  <c:v>5.4328767123287669</c:v>
                </c:pt>
                <c:pt idx="11745">
                  <c:v>#N/A</c:v>
                </c:pt>
                <c:pt idx="11746">
                  <c:v>#N/A</c:v>
                </c:pt>
                <c:pt idx="11747">
                  <c:v>#N/A</c:v>
                </c:pt>
                <c:pt idx="11748">
                  <c:v>#N/A</c:v>
                </c:pt>
                <c:pt idx="11749">
                  <c:v>#N/A</c:v>
                </c:pt>
                <c:pt idx="11750">
                  <c:v>#N/A</c:v>
                </c:pt>
                <c:pt idx="11751">
                  <c:v>#N/A</c:v>
                </c:pt>
                <c:pt idx="11752">
                  <c:v>#N/A</c:v>
                </c:pt>
                <c:pt idx="11753">
                  <c:v>5.4328767123287669</c:v>
                </c:pt>
                <c:pt idx="11754">
                  <c:v>#N/A</c:v>
                </c:pt>
                <c:pt idx="11755">
                  <c:v>#N/A</c:v>
                </c:pt>
                <c:pt idx="11756">
                  <c:v>#N/A</c:v>
                </c:pt>
                <c:pt idx="11757">
                  <c:v>#N/A</c:v>
                </c:pt>
                <c:pt idx="11758">
                  <c:v>#N/A</c:v>
                </c:pt>
                <c:pt idx="11759">
                  <c:v>#N/A</c:v>
                </c:pt>
                <c:pt idx="11760">
                  <c:v>#N/A</c:v>
                </c:pt>
                <c:pt idx="11761">
                  <c:v>#N/A</c:v>
                </c:pt>
                <c:pt idx="11762">
                  <c:v>#N/A</c:v>
                </c:pt>
                <c:pt idx="11763">
                  <c:v>#N/A</c:v>
                </c:pt>
                <c:pt idx="11764">
                  <c:v>#N/A</c:v>
                </c:pt>
                <c:pt idx="11765">
                  <c:v>#N/A</c:v>
                </c:pt>
                <c:pt idx="11766">
                  <c:v>#N/A</c:v>
                </c:pt>
                <c:pt idx="11767">
                  <c:v>#N/A</c:v>
                </c:pt>
                <c:pt idx="11768">
                  <c:v>#N/A</c:v>
                </c:pt>
                <c:pt idx="11769">
                  <c:v>#N/A</c:v>
                </c:pt>
                <c:pt idx="11770">
                  <c:v>#N/A</c:v>
                </c:pt>
                <c:pt idx="11771">
                  <c:v>#N/A</c:v>
                </c:pt>
                <c:pt idx="11772">
                  <c:v>#N/A</c:v>
                </c:pt>
                <c:pt idx="11773">
                  <c:v>#N/A</c:v>
                </c:pt>
                <c:pt idx="11774">
                  <c:v>#N/A</c:v>
                </c:pt>
                <c:pt idx="11775">
                  <c:v>#N/A</c:v>
                </c:pt>
                <c:pt idx="11776">
                  <c:v>#N/A</c:v>
                </c:pt>
                <c:pt idx="11777">
                  <c:v>#N/A</c:v>
                </c:pt>
                <c:pt idx="11778">
                  <c:v>#N/A</c:v>
                </c:pt>
                <c:pt idx="11779">
                  <c:v>#N/A</c:v>
                </c:pt>
                <c:pt idx="11780">
                  <c:v>#N/A</c:v>
                </c:pt>
                <c:pt idx="11781">
                  <c:v>#N/A</c:v>
                </c:pt>
                <c:pt idx="11782">
                  <c:v>5.4438356164383563</c:v>
                </c:pt>
                <c:pt idx="11783">
                  <c:v>#N/A</c:v>
                </c:pt>
                <c:pt idx="11784">
                  <c:v>5.4438356164383563</c:v>
                </c:pt>
                <c:pt idx="11785">
                  <c:v>#N/A</c:v>
                </c:pt>
                <c:pt idx="11786">
                  <c:v>#N/A</c:v>
                </c:pt>
                <c:pt idx="11787">
                  <c:v>#N/A</c:v>
                </c:pt>
                <c:pt idx="11788">
                  <c:v>5.4438356164383563</c:v>
                </c:pt>
                <c:pt idx="11789">
                  <c:v>5.4438356164383563</c:v>
                </c:pt>
                <c:pt idx="11790">
                  <c:v>5.4438356164383563</c:v>
                </c:pt>
                <c:pt idx="11791">
                  <c:v>#N/A</c:v>
                </c:pt>
                <c:pt idx="11792">
                  <c:v>#N/A</c:v>
                </c:pt>
                <c:pt idx="11793">
                  <c:v>#N/A</c:v>
                </c:pt>
                <c:pt idx="11794">
                  <c:v>#N/A</c:v>
                </c:pt>
                <c:pt idx="11795">
                  <c:v>#N/A</c:v>
                </c:pt>
                <c:pt idx="11796">
                  <c:v>#N/A</c:v>
                </c:pt>
                <c:pt idx="11797">
                  <c:v>#N/A</c:v>
                </c:pt>
                <c:pt idx="11798">
                  <c:v>5.4465753424657537</c:v>
                </c:pt>
                <c:pt idx="11799">
                  <c:v>5.4465753424657537</c:v>
                </c:pt>
                <c:pt idx="11800">
                  <c:v>#N/A</c:v>
                </c:pt>
                <c:pt idx="11801">
                  <c:v>#N/A</c:v>
                </c:pt>
                <c:pt idx="11802">
                  <c:v>#N/A</c:v>
                </c:pt>
                <c:pt idx="11803">
                  <c:v>5.4465753424657537</c:v>
                </c:pt>
                <c:pt idx="11804">
                  <c:v>#N/A</c:v>
                </c:pt>
                <c:pt idx="11805">
                  <c:v>#N/A</c:v>
                </c:pt>
                <c:pt idx="11806">
                  <c:v>#N/A</c:v>
                </c:pt>
                <c:pt idx="11807">
                  <c:v>5.4520547945205475</c:v>
                </c:pt>
                <c:pt idx="11808">
                  <c:v>5.4520547945205475</c:v>
                </c:pt>
                <c:pt idx="11809">
                  <c:v>#N/A</c:v>
                </c:pt>
                <c:pt idx="11810">
                  <c:v>#N/A</c:v>
                </c:pt>
                <c:pt idx="11811">
                  <c:v>5.4657534246575343</c:v>
                </c:pt>
                <c:pt idx="11812">
                  <c:v>#N/A</c:v>
                </c:pt>
                <c:pt idx="11813">
                  <c:v>#N/A</c:v>
                </c:pt>
                <c:pt idx="11814">
                  <c:v>#N/A</c:v>
                </c:pt>
                <c:pt idx="11815">
                  <c:v>#N/A</c:v>
                </c:pt>
                <c:pt idx="11816">
                  <c:v>#N/A</c:v>
                </c:pt>
                <c:pt idx="11817">
                  <c:v>#N/A</c:v>
                </c:pt>
                <c:pt idx="11818">
                  <c:v>5.4712328767123291</c:v>
                </c:pt>
                <c:pt idx="11819">
                  <c:v>5.4712328767123291</c:v>
                </c:pt>
                <c:pt idx="11820">
                  <c:v>#N/A</c:v>
                </c:pt>
                <c:pt idx="11821">
                  <c:v>5.4712328767123291</c:v>
                </c:pt>
                <c:pt idx="11822">
                  <c:v>5.4712328767123291</c:v>
                </c:pt>
                <c:pt idx="11823">
                  <c:v>5.4712328767123291</c:v>
                </c:pt>
                <c:pt idx="11824">
                  <c:v>#N/A</c:v>
                </c:pt>
                <c:pt idx="11825">
                  <c:v>5.4712328767123291</c:v>
                </c:pt>
                <c:pt idx="11826">
                  <c:v>#N/A</c:v>
                </c:pt>
                <c:pt idx="11827">
                  <c:v>#N/A</c:v>
                </c:pt>
                <c:pt idx="11828">
                  <c:v>#N/A</c:v>
                </c:pt>
                <c:pt idx="11829">
                  <c:v>5.4712328767123291</c:v>
                </c:pt>
                <c:pt idx="11830">
                  <c:v>5.4712328767123291</c:v>
                </c:pt>
                <c:pt idx="11831">
                  <c:v>5.4712328767123291</c:v>
                </c:pt>
                <c:pt idx="11832">
                  <c:v>#N/A</c:v>
                </c:pt>
                <c:pt idx="11833">
                  <c:v>5.4712328767123291</c:v>
                </c:pt>
                <c:pt idx="11834">
                  <c:v>5.4712328767123291</c:v>
                </c:pt>
                <c:pt idx="11835">
                  <c:v>5.4712328767123291</c:v>
                </c:pt>
                <c:pt idx="11836">
                  <c:v>#N/A</c:v>
                </c:pt>
                <c:pt idx="11837">
                  <c:v>5.4712328767123291</c:v>
                </c:pt>
                <c:pt idx="11838">
                  <c:v>#N/A</c:v>
                </c:pt>
                <c:pt idx="11839">
                  <c:v>5.4712328767123291</c:v>
                </c:pt>
                <c:pt idx="11840">
                  <c:v>5.4712328767123291</c:v>
                </c:pt>
                <c:pt idx="11841">
                  <c:v>#N/A</c:v>
                </c:pt>
                <c:pt idx="11842">
                  <c:v>5.4712328767123291</c:v>
                </c:pt>
                <c:pt idx="11843">
                  <c:v>5.4712328767123291</c:v>
                </c:pt>
                <c:pt idx="11844">
                  <c:v>5.4712328767123291</c:v>
                </c:pt>
                <c:pt idx="11845">
                  <c:v>5.4712328767123291</c:v>
                </c:pt>
                <c:pt idx="11846">
                  <c:v>#N/A</c:v>
                </c:pt>
                <c:pt idx="11847">
                  <c:v>#N/A</c:v>
                </c:pt>
                <c:pt idx="11848">
                  <c:v>5.4712328767123291</c:v>
                </c:pt>
                <c:pt idx="11849">
                  <c:v>5.4712328767123291</c:v>
                </c:pt>
                <c:pt idx="11850">
                  <c:v>5.4712328767123291</c:v>
                </c:pt>
                <c:pt idx="11851">
                  <c:v>5.4712328767123291</c:v>
                </c:pt>
                <c:pt idx="11852">
                  <c:v>5.4712328767123291</c:v>
                </c:pt>
                <c:pt idx="11853">
                  <c:v>5.4712328767123291</c:v>
                </c:pt>
                <c:pt idx="11854">
                  <c:v>5.4712328767123291</c:v>
                </c:pt>
                <c:pt idx="11855">
                  <c:v>5.4712328767123291</c:v>
                </c:pt>
                <c:pt idx="11856">
                  <c:v>5.4712328767123291</c:v>
                </c:pt>
                <c:pt idx="11857">
                  <c:v>5.4712328767123291</c:v>
                </c:pt>
                <c:pt idx="11858">
                  <c:v>5.4712328767123291</c:v>
                </c:pt>
                <c:pt idx="11859">
                  <c:v>#N/A</c:v>
                </c:pt>
                <c:pt idx="11860">
                  <c:v>5.4712328767123291</c:v>
                </c:pt>
                <c:pt idx="11861">
                  <c:v>5.4712328767123291</c:v>
                </c:pt>
                <c:pt idx="11862">
                  <c:v>5.4712328767123291</c:v>
                </c:pt>
                <c:pt idx="11863">
                  <c:v>5.4712328767123291</c:v>
                </c:pt>
                <c:pt idx="11864">
                  <c:v>#N/A</c:v>
                </c:pt>
                <c:pt idx="11865">
                  <c:v>#N/A</c:v>
                </c:pt>
                <c:pt idx="11866">
                  <c:v>5.4712328767123291</c:v>
                </c:pt>
                <c:pt idx="11867">
                  <c:v>5.4712328767123291</c:v>
                </c:pt>
                <c:pt idx="11868">
                  <c:v>#N/A</c:v>
                </c:pt>
                <c:pt idx="11869">
                  <c:v>5.4712328767123291</c:v>
                </c:pt>
                <c:pt idx="11870">
                  <c:v>#N/A</c:v>
                </c:pt>
                <c:pt idx="11871">
                  <c:v>5.4821917808219176</c:v>
                </c:pt>
                <c:pt idx="11872">
                  <c:v>#N/A</c:v>
                </c:pt>
                <c:pt idx="11873">
                  <c:v>#N/A</c:v>
                </c:pt>
                <c:pt idx="11874">
                  <c:v>#N/A</c:v>
                </c:pt>
                <c:pt idx="11875">
                  <c:v>5.4904109589041097</c:v>
                </c:pt>
                <c:pt idx="11876">
                  <c:v>5.4904109589041097</c:v>
                </c:pt>
                <c:pt idx="11877">
                  <c:v>5.4904109589041097</c:v>
                </c:pt>
                <c:pt idx="11878">
                  <c:v>5.4958904109589044</c:v>
                </c:pt>
                <c:pt idx="11879">
                  <c:v>5.4986301369863018</c:v>
                </c:pt>
                <c:pt idx="11880">
                  <c:v>#N/A</c:v>
                </c:pt>
                <c:pt idx="11881">
                  <c:v>#N/A</c:v>
                </c:pt>
                <c:pt idx="11882">
                  <c:v>#N/A</c:v>
                </c:pt>
                <c:pt idx="11883">
                  <c:v>5.5041095890410956</c:v>
                </c:pt>
                <c:pt idx="11884">
                  <c:v>5.5041095890410956</c:v>
                </c:pt>
                <c:pt idx="11885">
                  <c:v>#N/A</c:v>
                </c:pt>
                <c:pt idx="11886">
                  <c:v>5.5041095890410956</c:v>
                </c:pt>
                <c:pt idx="11887">
                  <c:v>#N/A</c:v>
                </c:pt>
                <c:pt idx="11888">
                  <c:v>#N/A</c:v>
                </c:pt>
                <c:pt idx="11889">
                  <c:v>#N/A</c:v>
                </c:pt>
                <c:pt idx="11890">
                  <c:v>5.5095890410958903</c:v>
                </c:pt>
                <c:pt idx="11891">
                  <c:v>#N/A</c:v>
                </c:pt>
                <c:pt idx="11892">
                  <c:v>#N/A</c:v>
                </c:pt>
                <c:pt idx="11893">
                  <c:v>#N/A</c:v>
                </c:pt>
                <c:pt idx="11894">
                  <c:v>5.5095890410958903</c:v>
                </c:pt>
                <c:pt idx="11895">
                  <c:v>#N/A</c:v>
                </c:pt>
                <c:pt idx="11896">
                  <c:v>#N/A</c:v>
                </c:pt>
                <c:pt idx="11897">
                  <c:v>#N/A</c:v>
                </c:pt>
                <c:pt idx="11898">
                  <c:v>#N/A</c:v>
                </c:pt>
                <c:pt idx="11899">
                  <c:v>#N/A</c:v>
                </c:pt>
                <c:pt idx="11900">
                  <c:v>5.515068493150685</c:v>
                </c:pt>
                <c:pt idx="11901">
                  <c:v>5.515068493150685</c:v>
                </c:pt>
                <c:pt idx="11902">
                  <c:v>#N/A</c:v>
                </c:pt>
                <c:pt idx="11903">
                  <c:v>5.5178082191780824</c:v>
                </c:pt>
                <c:pt idx="11904">
                  <c:v>#N/A</c:v>
                </c:pt>
                <c:pt idx="11905">
                  <c:v>#N/A</c:v>
                </c:pt>
                <c:pt idx="11906">
                  <c:v>#N/A</c:v>
                </c:pt>
                <c:pt idx="11907">
                  <c:v>5.5178082191780824</c:v>
                </c:pt>
                <c:pt idx="11908">
                  <c:v>5.5178082191780824</c:v>
                </c:pt>
                <c:pt idx="11909">
                  <c:v>#N/A</c:v>
                </c:pt>
                <c:pt idx="11910">
                  <c:v>#N/A</c:v>
                </c:pt>
                <c:pt idx="11911">
                  <c:v>#N/A</c:v>
                </c:pt>
                <c:pt idx="11912">
                  <c:v>#N/A</c:v>
                </c:pt>
                <c:pt idx="11913">
                  <c:v>#N/A</c:v>
                </c:pt>
                <c:pt idx="11914">
                  <c:v>#N/A</c:v>
                </c:pt>
                <c:pt idx="11915">
                  <c:v>#N/A</c:v>
                </c:pt>
                <c:pt idx="11916">
                  <c:v>#N/A</c:v>
                </c:pt>
                <c:pt idx="11917">
                  <c:v>#N/A</c:v>
                </c:pt>
                <c:pt idx="11918">
                  <c:v>#N/A</c:v>
                </c:pt>
                <c:pt idx="11919">
                  <c:v>5.5205479452054798</c:v>
                </c:pt>
                <c:pt idx="11920">
                  <c:v>#N/A</c:v>
                </c:pt>
                <c:pt idx="11921">
                  <c:v>#N/A</c:v>
                </c:pt>
                <c:pt idx="11922">
                  <c:v>5.5232876712328771</c:v>
                </c:pt>
                <c:pt idx="11923">
                  <c:v>#N/A</c:v>
                </c:pt>
                <c:pt idx="11924">
                  <c:v>5.5232876712328771</c:v>
                </c:pt>
                <c:pt idx="11925">
                  <c:v>#N/A</c:v>
                </c:pt>
                <c:pt idx="11926">
                  <c:v>#N/A</c:v>
                </c:pt>
                <c:pt idx="11927">
                  <c:v>#N/A</c:v>
                </c:pt>
                <c:pt idx="11928">
                  <c:v>#N/A</c:v>
                </c:pt>
                <c:pt idx="11929">
                  <c:v>#N/A</c:v>
                </c:pt>
                <c:pt idx="11930">
                  <c:v>#N/A</c:v>
                </c:pt>
                <c:pt idx="11931">
                  <c:v>#N/A</c:v>
                </c:pt>
                <c:pt idx="11932">
                  <c:v>5.5260273972602736</c:v>
                </c:pt>
                <c:pt idx="11933">
                  <c:v>#N/A</c:v>
                </c:pt>
                <c:pt idx="11934">
                  <c:v>#N/A</c:v>
                </c:pt>
                <c:pt idx="11935">
                  <c:v>#N/A</c:v>
                </c:pt>
                <c:pt idx="11936">
                  <c:v>#N/A</c:v>
                </c:pt>
                <c:pt idx="11937">
                  <c:v>5.5287671232876709</c:v>
                </c:pt>
                <c:pt idx="11938">
                  <c:v>#N/A</c:v>
                </c:pt>
                <c:pt idx="11939">
                  <c:v>#N/A</c:v>
                </c:pt>
                <c:pt idx="11940">
                  <c:v>#N/A</c:v>
                </c:pt>
                <c:pt idx="11941">
                  <c:v>5.536986301369863</c:v>
                </c:pt>
                <c:pt idx="11942">
                  <c:v>5.536986301369863</c:v>
                </c:pt>
                <c:pt idx="11943">
                  <c:v>#N/A</c:v>
                </c:pt>
                <c:pt idx="11944">
                  <c:v>#N/A</c:v>
                </c:pt>
                <c:pt idx="11945">
                  <c:v>#N/A</c:v>
                </c:pt>
                <c:pt idx="11946">
                  <c:v>#N/A</c:v>
                </c:pt>
                <c:pt idx="11947">
                  <c:v>#N/A</c:v>
                </c:pt>
                <c:pt idx="11948">
                  <c:v>5.536986301369863</c:v>
                </c:pt>
                <c:pt idx="11949">
                  <c:v>#N/A</c:v>
                </c:pt>
                <c:pt idx="11950">
                  <c:v>#N/A</c:v>
                </c:pt>
                <c:pt idx="11951">
                  <c:v>#N/A</c:v>
                </c:pt>
                <c:pt idx="11952">
                  <c:v>#N/A</c:v>
                </c:pt>
                <c:pt idx="11953">
                  <c:v>#N/A</c:v>
                </c:pt>
                <c:pt idx="11954">
                  <c:v>#N/A</c:v>
                </c:pt>
                <c:pt idx="11955">
                  <c:v>5.5397260273972604</c:v>
                </c:pt>
                <c:pt idx="11956">
                  <c:v>#N/A</c:v>
                </c:pt>
                <c:pt idx="11957">
                  <c:v>#N/A</c:v>
                </c:pt>
                <c:pt idx="11958">
                  <c:v>#N/A</c:v>
                </c:pt>
                <c:pt idx="11959">
                  <c:v>#N/A</c:v>
                </c:pt>
                <c:pt idx="11960">
                  <c:v>#N/A</c:v>
                </c:pt>
                <c:pt idx="11961">
                  <c:v>#N/A</c:v>
                </c:pt>
                <c:pt idx="11962">
                  <c:v>#N/A</c:v>
                </c:pt>
                <c:pt idx="11963">
                  <c:v>#N/A</c:v>
                </c:pt>
                <c:pt idx="11964">
                  <c:v>#N/A</c:v>
                </c:pt>
                <c:pt idx="11965">
                  <c:v>#N/A</c:v>
                </c:pt>
                <c:pt idx="11966">
                  <c:v>#N/A</c:v>
                </c:pt>
                <c:pt idx="11967">
                  <c:v>#N/A</c:v>
                </c:pt>
                <c:pt idx="11968">
                  <c:v>#N/A</c:v>
                </c:pt>
                <c:pt idx="11969">
                  <c:v>#N/A</c:v>
                </c:pt>
                <c:pt idx="11970">
                  <c:v>#N/A</c:v>
                </c:pt>
                <c:pt idx="11971">
                  <c:v>#N/A</c:v>
                </c:pt>
                <c:pt idx="11972">
                  <c:v>#N/A</c:v>
                </c:pt>
                <c:pt idx="11973">
                  <c:v>5.5479452054794525</c:v>
                </c:pt>
                <c:pt idx="11974">
                  <c:v>#N/A</c:v>
                </c:pt>
                <c:pt idx="11975">
                  <c:v>#N/A</c:v>
                </c:pt>
                <c:pt idx="11976">
                  <c:v>5.5561643835616437</c:v>
                </c:pt>
                <c:pt idx="11977">
                  <c:v>#N/A</c:v>
                </c:pt>
                <c:pt idx="11978">
                  <c:v>#N/A</c:v>
                </c:pt>
                <c:pt idx="11979">
                  <c:v>5.5616438356164384</c:v>
                </c:pt>
                <c:pt idx="11980">
                  <c:v>#N/A</c:v>
                </c:pt>
                <c:pt idx="11981">
                  <c:v>#N/A</c:v>
                </c:pt>
                <c:pt idx="11982">
                  <c:v>#N/A</c:v>
                </c:pt>
                <c:pt idx="11983">
                  <c:v>5.5753424657534243</c:v>
                </c:pt>
                <c:pt idx="11984">
                  <c:v>#N/A</c:v>
                </c:pt>
                <c:pt idx="11985">
                  <c:v>#N/A</c:v>
                </c:pt>
                <c:pt idx="11986">
                  <c:v>5.580821917808219</c:v>
                </c:pt>
                <c:pt idx="11987">
                  <c:v>#N/A</c:v>
                </c:pt>
                <c:pt idx="11988">
                  <c:v>5.5835616438356164</c:v>
                </c:pt>
                <c:pt idx="11989">
                  <c:v>#N/A</c:v>
                </c:pt>
                <c:pt idx="11990">
                  <c:v>#N/A</c:v>
                </c:pt>
                <c:pt idx="11991">
                  <c:v>#N/A</c:v>
                </c:pt>
                <c:pt idx="11992">
                  <c:v>#N/A</c:v>
                </c:pt>
                <c:pt idx="11993">
                  <c:v>#N/A</c:v>
                </c:pt>
                <c:pt idx="11994">
                  <c:v>#N/A</c:v>
                </c:pt>
                <c:pt idx="11995">
                  <c:v>#N/A</c:v>
                </c:pt>
                <c:pt idx="11996">
                  <c:v>#N/A</c:v>
                </c:pt>
                <c:pt idx="11997">
                  <c:v>#N/A</c:v>
                </c:pt>
                <c:pt idx="11998">
                  <c:v>#N/A</c:v>
                </c:pt>
                <c:pt idx="11999">
                  <c:v>5.602739726027397</c:v>
                </c:pt>
                <c:pt idx="12000">
                  <c:v>#N/A</c:v>
                </c:pt>
                <c:pt idx="12001">
                  <c:v>#N/A</c:v>
                </c:pt>
                <c:pt idx="12002">
                  <c:v>#N/A</c:v>
                </c:pt>
                <c:pt idx="12003">
                  <c:v>#N/A</c:v>
                </c:pt>
                <c:pt idx="12004">
                  <c:v>#N/A</c:v>
                </c:pt>
                <c:pt idx="12005">
                  <c:v>#N/A</c:v>
                </c:pt>
                <c:pt idx="12006">
                  <c:v>5.6164383561643838</c:v>
                </c:pt>
                <c:pt idx="12007">
                  <c:v>#N/A</c:v>
                </c:pt>
                <c:pt idx="12008">
                  <c:v>#N/A</c:v>
                </c:pt>
                <c:pt idx="12009">
                  <c:v>#N/A</c:v>
                </c:pt>
                <c:pt idx="12010">
                  <c:v>#N/A</c:v>
                </c:pt>
                <c:pt idx="12011">
                  <c:v>#N/A</c:v>
                </c:pt>
                <c:pt idx="12012">
                  <c:v>#N/A</c:v>
                </c:pt>
                <c:pt idx="12013">
                  <c:v>#N/A</c:v>
                </c:pt>
                <c:pt idx="12014">
                  <c:v>#N/A</c:v>
                </c:pt>
                <c:pt idx="12015">
                  <c:v>#N/A</c:v>
                </c:pt>
                <c:pt idx="12016">
                  <c:v>#N/A</c:v>
                </c:pt>
                <c:pt idx="12017">
                  <c:v>#N/A</c:v>
                </c:pt>
                <c:pt idx="12018">
                  <c:v>#N/A</c:v>
                </c:pt>
                <c:pt idx="12019">
                  <c:v>#N/A</c:v>
                </c:pt>
                <c:pt idx="12020">
                  <c:v>5.6356164383561644</c:v>
                </c:pt>
                <c:pt idx="12021">
                  <c:v>5.6410958904109592</c:v>
                </c:pt>
                <c:pt idx="12022">
                  <c:v>#N/A</c:v>
                </c:pt>
                <c:pt idx="12023">
                  <c:v>#N/A</c:v>
                </c:pt>
                <c:pt idx="12024">
                  <c:v>#N/A</c:v>
                </c:pt>
                <c:pt idx="12025">
                  <c:v>#N/A</c:v>
                </c:pt>
                <c:pt idx="12026">
                  <c:v>#N/A</c:v>
                </c:pt>
                <c:pt idx="12027">
                  <c:v>#N/A</c:v>
                </c:pt>
                <c:pt idx="12028">
                  <c:v>5.6602739726027398</c:v>
                </c:pt>
                <c:pt idx="12029">
                  <c:v>#N/A</c:v>
                </c:pt>
                <c:pt idx="12030">
                  <c:v>5.6630136986301371</c:v>
                </c:pt>
                <c:pt idx="12031">
                  <c:v>#N/A</c:v>
                </c:pt>
                <c:pt idx="12032">
                  <c:v>#N/A</c:v>
                </c:pt>
                <c:pt idx="12033">
                  <c:v>#N/A</c:v>
                </c:pt>
                <c:pt idx="12034">
                  <c:v>#N/A</c:v>
                </c:pt>
                <c:pt idx="12035">
                  <c:v>#N/A</c:v>
                </c:pt>
                <c:pt idx="12036">
                  <c:v>#N/A</c:v>
                </c:pt>
                <c:pt idx="12037">
                  <c:v>#N/A</c:v>
                </c:pt>
                <c:pt idx="12038">
                  <c:v>#N/A</c:v>
                </c:pt>
                <c:pt idx="12039">
                  <c:v>#N/A</c:v>
                </c:pt>
                <c:pt idx="12040">
                  <c:v>#N/A</c:v>
                </c:pt>
                <c:pt idx="12041">
                  <c:v>#N/A</c:v>
                </c:pt>
                <c:pt idx="12042">
                  <c:v>#N/A</c:v>
                </c:pt>
                <c:pt idx="12043">
                  <c:v>5.6931506849315072</c:v>
                </c:pt>
                <c:pt idx="12044">
                  <c:v>#N/A</c:v>
                </c:pt>
                <c:pt idx="12045">
                  <c:v>#N/A</c:v>
                </c:pt>
                <c:pt idx="12046">
                  <c:v>#N/A</c:v>
                </c:pt>
                <c:pt idx="12047">
                  <c:v>#N/A</c:v>
                </c:pt>
                <c:pt idx="12048">
                  <c:v>#N/A</c:v>
                </c:pt>
                <c:pt idx="12049">
                  <c:v>5.7178082191780826</c:v>
                </c:pt>
                <c:pt idx="12050">
                  <c:v>5.7178082191780826</c:v>
                </c:pt>
                <c:pt idx="12051">
                  <c:v>5.7178082191780826</c:v>
                </c:pt>
                <c:pt idx="12052">
                  <c:v>#N/A</c:v>
                </c:pt>
                <c:pt idx="12053">
                  <c:v>5.720547945205479</c:v>
                </c:pt>
                <c:pt idx="12054">
                  <c:v>#N/A</c:v>
                </c:pt>
                <c:pt idx="12055">
                  <c:v>5.7232876712328764</c:v>
                </c:pt>
                <c:pt idx="12056">
                  <c:v>#N/A</c:v>
                </c:pt>
                <c:pt idx="12057">
                  <c:v>#N/A</c:v>
                </c:pt>
                <c:pt idx="12058">
                  <c:v>#N/A</c:v>
                </c:pt>
                <c:pt idx="12059">
                  <c:v>5.7643835616438359</c:v>
                </c:pt>
                <c:pt idx="12060">
                  <c:v>#N/A</c:v>
                </c:pt>
                <c:pt idx="12061">
                  <c:v>5.7863013698630139</c:v>
                </c:pt>
                <c:pt idx="12062">
                  <c:v>#N/A</c:v>
                </c:pt>
                <c:pt idx="12063">
                  <c:v>5.7863013698630139</c:v>
                </c:pt>
                <c:pt idx="12064">
                  <c:v>5.7890410958904113</c:v>
                </c:pt>
                <c:pt idx="12065">
                  <c:v>#N/A</c:v>
                </c:pt>
                <c:pt idx="12066">
                  <c:v>5.7972602739726025</c:v>
                </c:pt>
                <c:pt idx="12067">
                  <c:v>#N/A</c:v>
                </c:pt>
                <c:pt idx="12068">
                  <c:v>#N/A</c:v>
                </c:pt>
                <c:pt idx="12069">
                  <c:v>#N/A</c:v>
                </c:pt>
                <c:pt idx="12070">
                  <c:v>#N/A</c:v>
                </c:pt>
                <c:pt idx="12071">
                  <c:v>#N/A</c:v>
                </c:pt>
                <c:pt idx="12072">
                  <c:v>#N/A</c:v>
                </c:pt>
                <c:pt idx="12073">
                  <c:v>#N/A</c:v>
                </c:pt>
                <c:pt idx="12074">
                  <c:v>#N/A</c:v>
                </c:pt>
                <c:pt idx="12075">
                  <c:v>#N/A</c:v>
                </c:pt>
                <c:pt idx="12076">
                  <c:v>#N/A</c:v>
                </c:pt>
                <c:pt idx="12077">
                  <c:v>#N/A</c:v>
                </c:pt>
                <c:pt idx="12078">
                  <c:v>#N/A</c:v>
                </c:pt>
                <c:pt idx="12079">
                  <c:v>#N/A</c:v>
                </c:pt>
                <c:pt idx="12080">
                  <c:v>#N/A</c:v>
                </c:pt>
                <c:pt idx="12081">
                  <c:v>#N/A</c:v>
                </c:pt>
                <c:pt idx="12082">
                  <c:v>#N/A</c:v>
                </c:pt>
                <c:pt idx="12083">
                  <c:v>#N/A</c:v>
                </c:pt>
                <c:pt idx="12084">
                  <c:v>5.8109589041095893</c:v>
                </c:pt>
                <c:pt idx="12085">
                  <c:v>5.8109589041095893</c:v>
                </c:pt>
                <c:pt idx="12086">
                  <c:v>#N/A</c:v>
                </c:pt>
                <c:pt idx="12087">
                  <c:v>#N/A</c:v>
                </c:pt>
                <c:pt idx="12088">
                  <c:v>#N/A</c:v>
                </c:pt>
                <c:pt idx="12089">
                  <c:v>#N/A</c:v>
                </c:pt>
                <c:pt idx="12090">
                  <c:v>#N/A</c:v>
                </c:pt>
                <c:pt idx="12091">
                  <c:v>5.8246575342465752</c:v>
                </c:pt>
                <c:pt idx="12092">
                  <c:v>#N/A</c:v>
                </c:pt>
                <c:pt idx="12093">
                  <c:v>#N/A</c:v>
                </c:pt>
                <c:pt idx="12094">
                  <c:v>#N/A</c:v>
                </c:pt>
                <c:pt idx="12095">
                  <c:v>#N/A</c:v>
                </c:pt>
                <c:pt idx="12096">
                  <c:v>#N/A</c:v>
                </c:pt>
                <c:pt idx="12097">
                  <c:v>#N/A</c:v>
                </c:pt>
                <c:pt idx="12098">
                  <c:v>#N/A</c:v>
                </c:pt>
                <c:pt idx="12099">
                  <c:v>5.8438356164383558</c:v>
                </c:pt>
                <c:pt idx="12100">
                  <c:v>#N/A</c:v>
                </c:pt>
                <c:pt idx="12101">
                  <c:v>#N/A</c:v>
                </c:pt>
                <c:pt idx="12102">
                  <c:v>5.8547945205479452</c:v>
                </c:pt>
                <c:pt idx="12103">
                  <c:v>#N/A</c:v>
                </c:pt>
                <c:pt idx="12104">
                  <c:v>#N/A</c:v>
                </c:pt>
                <c:pt idx="12105">
                  <c:v>#N/A</c:v>
                </c:pt>
                <c:pt idx="12106">
                  <c:v>5.8684931506849312</c:v>
                </c:pt>
                <c:pt idx="12107">
                  <c:v>#N/A</c:v>
                </c:pt>
                <c:pt idx="12108">
                  <c:v>#N/A</c:v>
                </c:pt>
                <c:pt idx="12109">
                  <c:v>#N/A</c:v>
                </c:pt>
                <c:pt idx="12110">
                  <c:v>5.8684931506849312</c:v>
                </c:pt>
                <c:pt idx="12111">
                  <c:v>#N/A</c:v>
                </c:pt>
                <c:pt idx="12112">
                  <c:v>#N/A</c:v>
                </c:pt>
                <c:pt idx="12113">
                  <c:v>#N/A</c:v>
                </c:pt>
                <c:pt idx="12114">
                  <c:v>#N/A</c:v>
                </c:pt>
                <c:pt idx="12115">
                  <c:v>#N/A</c:v>
                </c:pt>
                <c:pt idx="12116">
                  <c:v>#N/A</c:v>
                </c:pt>
                <c:pt idx="12117">
                  <c:v>#N/A</c:v>
                </c:pt>
                <c:pt idx="12118">
                  <c:v>#N/A</c:v>
                </c:pt>
                <c:pt idx="12119">
                  <c:v>#N/A</c:v>
                </c:pt>
                <c:pt idx="12120">
                  <c:v>#N/A</c:v>
                </c:pt>
                <c:pt idx="12121">
                  <c:v>#N/A</c:v>
                </c:pt>
                <c:pt idx="12122">
                  <c:v>#N/A</c:v>
                </c:pt>
                <c:pt idx="12123">
                  <c:v>#N/A</c:v>
                </c:pt>
                <c:pt idx="12124">
                  <c:v>#N/A</c:v>
                </c:pt>
                <c:pt idx="12125">
                  <c:v>#N/A</c:v>
                </c:pt>
                <c:pt idx="12126">
                  <c:v>#N/A</c:v>
                </c:pt>
                <c:pt idx="12127">
                  <c:v>#N/A</c:v>
                </c:pt>
                <c:pt idx="12128">
                  <c:v>#N/A</c:v>
                </c:pt>
                <c:pt idx="12129">
                  <c:v>#N/A</c:v>
                </c:pt>
                <c:pt idx="12130">
                  <c:v>#N/A</c:v>
                </c:pt>
                <c:pt idx="12131">
                  <c:v>#N/A</c:v>
                </c:pt>
                <c:pt idx="12132">
                  <c:v>#N/A</c:v>
                </c:pt>
                <c:pt idx="12133">
                  <c:v>5.9397260273972599</c:v>
                </c:pt>
                <c:pt idx="12134">
                  <c:v>5.9424657534246572</c:v>
                </c:pt>
                <c:pt idx="12135">
                  <c:v>#N/A</c:v>
                </c:pt>
                <c:pt idx="12136">
                  <c:v>#N/A</c:v>
                </c:pt>
                <c:pt idx="12137">
                  <c:v>#N/A</c:v>
                </c:pt>
                <c:pt idx="12138">
                  <c:v>#N/A</c:v>
                </c:pt>
                <c:pt idx="12139">
                  <c:v>#N/A</c:v>
                </c:pt>
                <c:pt idx="12140">
                  <c:v>#N/A</c:v>
                </c:pt>
                <c:pt idx="12141">
                  <c:v>#N/A</c:v>
                </c:pt>
                <c:pt idx="12142">
                  <c:v>#N/A</c:v>
                </c:pt>
                <c:pt idx="12143">
                  <c:v>5.9863013698630141</c:v>
                </c:pt>
                <c:pt idx="12144">
                  <c:v>#N/A</c:v>
                </c:pt>
                <c:pt idx="12145">
                  <c:v>#N/A</c:v>
                </c:pt>
                <c:pt idx="12146">
                  <c:v>#N/A</c:v>
                </c:pt>
                <c:pt idx="12147">
                  <c:v>5.9972602739726026</c:v>
                </c:pt>
                <c:pt idx="12148">
                  <c:v>#N/A</c:v>
                </c:pt>
                <c:pt idx="12149">
                  <c:v>#N/A</c:v>
                </c:pt>
                <c:pt idx="12150">
                  <c:v>6.0136986301369859</c:v>
                </c:pt>
                <c:pt idx="12151">
                  <c:v>#N/A</c:v>
                </c:pt>
                <c:pt idx="12152">
                  <c:v>6.0136986301369859</c:v>
                </c:pt>
                <c:pt idx="12153">
                  <c:v>6.0136986301369859</c:v>
                </c:pt>
                <c:pt idx="12154">
                  <c:v>6.0136986301369859</c:v>
                </c:pt>
                <c:pt idx="12155">
                  <c:v>#N/A</c:v>
                </c:pt>
                <c:pt idx="12156">
                  <c:v>6.0164383561643833</c:v>
                </c:pt>
                <c:pt idx="12157">
                  <c:v>#N/A</c:v>
                </c:pt>
                <c:pt idx="12158">
                  <c:v>#N/A</c:v>
                </c:pt>
                <c:pt idx="12159">
                  <c:v>#N/A</c:v>
                </c:pt>
                <c:pt idx="12160">
                  <c:v>6.0191780821917806</c:v>
                </c:pt>
                <c:pt idx="12161">
                  <c:v>#N/A</c:v>
                </c:pt>
                <c:pt idx="12162">
                  <c:v>6.0191780821917806</c:v>
                </c:pt>
                <c:pt idx="12163">
                  <c:v>#N/A</c:v>
                </c:pt>
                <c:pt idx="12164">
                  <c:v>#N/A</c:v>
                </c:pt>
                <c:pt idx="12165">
                  <c:v>#N/A</c:v>
                </c:pt>
                <c:pt idx="12166">
                  <c:v>#N/A</c:v>
                </c:pt>
                <c:pt idx="12167">
                  <c:v>6.0191780821917806</c:v>
                </c:pt>
                <c:pt idx="12168">
                  <c:v>6.0191780821917806</c:v>
                </c:pt>
                <c:pt idx="12169">
                  <c:v>#N/A</c:v>
                </c:pt>
                <c:pt idx="12170">
                  <c:v>6.021917808219178</c:v>
                </c:pt>
                <c:pt idx="12171">
                  <c:v>#N/A</c:v>
                </c:pt>
                <c:pt idx="12172">
                  <c:v>#N/A</c:v>
                </c:pt>
                <c:pt idx="12173">
                  <c:v>#N/A</c:v>
                </c:pt>
                <c:pt idx="12174">
                  <c:v>#N/A</c:v>
                </c:pt>
                <c:pt idx="12175">
                  <c:v>#N/A</c:v>
                </c:pt>
                <c:pt idx="12176">
                  <c:v>#N/A</c:v>
                </c:pt>
                <c:pt idx="12177">
                  <c:v>#N/A</c:v>
                </c:pt>
                <c:pt idx="12178">
                  <c:v>#N/A</c:v>
                </c:pt>
                <c:pt idx="12179">
                  <c:v>#N/A</c:v>
                </c:pt>
                <c:pt idx="12180">
                  <c:v>#N/A</c:v>
                </c:pt>
                <c:pt idx="12181">
                  <c:v>#N/A</c:v>
                </c:pt>
                <c:pt idx="12182">
                  <c:v>#N/A</c:v>
                </c:pt>
                <c:pt idx="12183">
                  <c:v>#N/A</c:v>
                </c:pt>
                <c:pt idx="12184">
                  <c:v>6.0273972602739727</c:v>
                </c:pt>
                <c:pt idx="12185">
                  <c:v>#N/A</c:v>
                </c:pt>
                <c:pt idx="12186">
                  <c:v>#N/A</c:v>
                </c:pt>
                <c:pt idx="12187">
                  <c:v>#N/A</c:v>
                </c:pt>
                <c:pt idx="12188">
                  <c:v>#N/A</c:v>
                </c:pt>
                <c:pt idx="12189">
                  <c:v>6.0383561643835613</c:v>
                </c:pt>
                <c:pt idx="12190">
                  <c:v>#N/A</c:v>
                </c:pt>
                <c:pt idx="12191">
                  <c:v>#N/A</c:v>
                </c:pt>
                <c:pt idx="12192">
                  <c:v>#N/A</c:v>
                </c:pt>
                <c:pt idx="12193">
                  <c:v>#N/A</c:v>
                </c:pt>
                <c:pt idx="12194">
                  <c:v>6.0465753424657533</c:v>
                </c:pt>
                <c:pt idx="12195">
                  <c:v>#N/A</c:v>
                </c:pt>
                <c:pt idx="12196">
                  <c:v>#N/A</c:v>
                </c:pt>
                <c:pt idx="12197">
                  <c:v>#N/A</c:v>
                </c:pt>
                <c:pt idx="12198">
                  <c:v>#N/A</c:v>
                </c:pt>
                <c:pt idx="12199">
                  <c:v>6.0465753424657533</c:v>
                </c:pt>
                <c:pt idx="12200">
                  <c:v>#N/A</c:v>
                </c:pt>
                <c:pt idx="12201">
                  <c:v>#N/A</c:v>
                </c:pt>
                <c:pt idx="12202">
                  <c:v>#N/A</c:v>
                </c:pt>
                <c:pt idx="12203">
                  <c:v>#N/A</c:v>
                </c:pt>
                <c:pt idx="12204">
                  <c:v>#N/A</c:v>
                </c:pt>
                <c:pt idx="12205">
                  <c:v>#N/A</c:v>
                </c:pt>
                <c:pt idx="12206">
                  <c:v>#N/A</c:v>
                </c:pt>
                <c:pt idx="12207">
                  <c:v>#N/A</c:v>
                </c:pt>
                <c:pt idx="12208">
                  <c:v>6.0602739726027401</c:v>
                </c:pt>
                <c:pt idx="12209">
                  <c:v>#N/A</c:v>
                </c:pt>
                <c:pt idx="12210">
                  <c:v>#N/A</c:v>
                </c:pt>
                <c:pt idx="12211">
                  <c:v>#N/A</c:v>
                </c:pt>
                <c:pt idx="12212">
                  <c:v>#N/A</c:v>
                </c:pt>
                <c:pt idx="12213">
                  <c:v>6.065753424657534</c:v>
                </c:pt>
                <c:pt idx="12214">
                  <c:v>#N/A</c:v>
                </c:pt>
                <c:pt idx="12215">
                  <c:v>#N/A</c:v>
                </c:pt>
                <c:pt idx="12216">
                  <c:v>#N/A</c:v>
                </c:pt>
                <c:pt idx="12217">
                  <c:v>6.0931506849315067</c:v>
                </c:pt>
                <c:pt idx="12218">
                  <c:v>#N/A</c:v>
                </c:pt>
                <c:pt idx="12219">
                  <c:v>#N/A</c:v>
                </c:pt>
                <c:pt idx="12220">
                  <c:v>#N/A</c:v>
                </c:pt>
                <c:pt idx="12221">
                  <c:v>#N/A</c:v>
                </c:pt>
                <c:pt idx="12222">
                  <c:v>#N/A</c:v>
                </c:pt>
                <c:pt idx="12223">
                  <c:v>#N/A</c:v>
                </c:pt>
                <c:pt idx="12224">
                  <c:v>#N/A</c:v>
                </c:pt>
                <c:pt idx="12225">
                  <c:v>#N/A</c:v>
                </c:pt>
                <c:pt idx="12226">
                  <c:v>#N/A</c:v>
                </c:pt>
                <c:pt idx="12227">
                  <c:v>6.1369863013698627</c:v>
                </c:pt>
                <c:pt idx="12228">
                  <c:v>#N/A</c:v>
                </c:pt>
                <c:pt idx="12229">
                  <c:v>6.1479452054794521</c:v>
                </c:pt>
                <c:pt idx="12230">
                  <c:v>#N/A</c:v>
                </c:pt>
                <c:pt idx="12231">
                  <c:v>#N/A</c:v>
                </c:pt>
                <c:pt idx="12232">
                  <c:v>#N/A</c:v>
                </c:pt>
                <c:pt idx="12233">
                  <c:v>#N/A</c:v>
                </c:pt>
                <c:pt idx="12234">
                  <c:v>#N/A</c:v>
                </c:pt>
                <c:pt idx="12235">
                  <c:v>6.1753424657534248</c:v>
                </c:pt>
                <c:pt idx="12236">
                  <c:v>#N/A</c:v>
                </c:pt>
                <c:pt idx="12237">
                  <c:v>#N/A</c:v>
                </c:pt>
                <c:pt idx="12238">
                  <c:v>#N/A</c:v>
                </c:pt>
                <c:pt idx="12239">
                  <c:v>6.1780821917808222</c:v>
                </c:pt>
                <c:pt idx="12240">
                  <c:v>#N/A</c:v>
                </c:pt>
                <c:pt idx="12241">
                  <c:v>6.1808219178082195</c:v>
                </c:pt>
                <c:pt idx="12242">
                  <c:v>#N/A</c:v>
                </c:pt>
                <c:pt idx="12243">
                  <c:v>#N/A</c:v>
                </c:pt>
                <c:pt idx="12244">
                  <c:v>#N/A</c:v>
                </c:pt>
                <c:pt idx="12245">
                  <c:v>#N/A</c:v>
                </c:pt>
                <c:pt idx="12246">
                  <c:v>6.2136986301369861</c:v>
                </c:pt>
                <c:pt idx="12247">
                  <c:v>#N/A</c:v>
                </c:pt>
                <c:pt idx="12248">
                  <c:v>#N/A</c:v>
                </c:pt>
                <c:pt idx="12249">
                  <c:v>#N/A</c:v>
                </c:pt>
                <c:pt idx="12250">
                  <c:v>#N/A</c:v>
                </c:pt>
                <c:pt idx="12251">
                  <c:v>#N/A</c:v>
                </c:pt>
                <c:pt idx="12252">
                  <c:v>#N/A</c:v>
                </c:pt>
                <c:pt idx="12253">
                  <c:v>#N/A</c:v>
                </c:pt>
                <c:pt idx="12254">
                  <c:v>#N/A</c:v>
                </c:pt>
                <c:pt idx="12255">
                  <c:v>#N/A</c:v>
                </c:pt>
                <c:pt idx="12256">
                  <c:v>#N/A</c:v>
                </c:pt>
                <c:pt idx="12257">
                  <c:v>6.2849315068493148</c:v>
                </c:pt>
                <c:pt idx="12258">
                  <c:v>#N/A</c:v>
                </c:pt>
                <c:pt idx="12259">
                  <c:v>#N/A</c:v>
                </c:pt>
                <c:pt idx="12260">
                  <c:v>#N/A</c:v>
                </c:pt>
                <c:pt idx="12261">
                  <c:v>#N/A</c:v>
                </c:pt>
                <c:pt idx="12262">
                  <c:v>#N/A</c:v>
                </c:pt>
                <c:pt idx="12263">
                  <c:v>#N/A</c:v>
                </c:pt>
                <c:pt idx="12264">
                  <c:v>#N/A</c:v>
                </c:pt>
                <c:pt idx="12265">
                  <c:v>6.3287671232876717</c:v>
                </c:pt>
                <c:pt idx="12266">
                  <c:v>#N/A</c:v>
                </c:pt>
                <c:pt idx="12267">
                  <c:v>#N/A</c:v>
                </c:pt>
                <c:pt idx="12268">
                  <c:v>6.3506849315068497</c:v>
                </c:pt>
                <c:pt idx="12269">
                  <c:v>6.3506849315068497</c:v>
                </c:pt>
                <c:pt idx="12270">
                  <c:v>#N/A</c:v>
                </c:pt>
                <c:pt idx="12271">
                  <c:v>6.3506849315068497</c:v>
                </c:pt>
                <c:pt idx="12272">
                  <c:v>#N/A</c:v>
                </c:pt>
                <c:pt idx="12273">
                  <c:v>6.3506849315068497</c:v>
                </c:pt>
                <c:pt idx="12274">
                  <c:v>#N/A</c:v>
                </c:pt>
                <c:pt idx="12275">
                  <c:v>6.3506849315068497</c:v>
                </c:pt>
                <c:pt idx="12276">
                  <c:v>6.3506849315068497</c:v>
                </c:pt>
                <c:pt idx="12277">
                  <c:v>#N/A</c:v>
                </c:pt>
                <c:pt idx="12278">
                  <c:v>6.3506849315068497</c:v>
                </c:pt>
                <c:pt idx="12279">
                  <c:v>#N/A</c:v>
                </c:pt>
                <c:pt idx="12280">
                  <c:v>#N/A</c:v>
                </c:pt>
                <c:pt idx="12281">
                  <c:v>6.3506849315068497</c:v>
                </c:pt>
                <c:pt idx="12282">
                  <c:v>#N/A</c:v>
                </c:pt>
                <c:pt idx="12283">
                  <c:v>6.3506849315068497</c:v>
                </c:pt>
                <c:pt idx="12284">
                  <c:v>#N/A</c:v>
                </c:pt>
                <c:pt idx="12285">
                  <c:v>6.353424657534247</c:v>
                </c:pt>
                <c:pt idx="12286">
                  <c:v>#N/A</c:v>
                </c:pt>
                <c:pt idx="12287">
                  <c:v>#N/A</c:v>
                </c:pt>
                <c:pt idx="12288">
                  <c:v>#N/A</c:v>
                </c:pt>
                <c:pt idx="12289">
                  <c:v>6.3671232876712329</c:v>
                </c:pt>
                <c:pt idx="12290">
                  <c:v>#N/A</c:v>
                </c:pt>
                <c:pt idx="12291">
                  <c:v>#N/A</c:v>
                </c:pt>
                <c:pt idx="12292">
                  <c:v>#N/A</c:v>
                </c:pt>
                <c:pt idx="12293">
                  <c:v>#N/A</c:v>
                </c:pt>
                <c:pt idx="12294">
                  <c:v>#N/A</c:v>
                </c:pt>
                <c:pt idx="12295">
                  <c:v>#N/A</c:v>
                </c:pt>
                <c:pt idx="12296">
                  <c:v>#N/A</c:v>
                </c:pt>
                <c:pt idx="12297">
                  <c:v>6.4219178082191783</c:v>
                </c:pt>
                <c:pt idx="12298">
                  <c:v>#N/A</c:v>
                </c:pt>
                <c:pt idx="12299">
                  <c:v>#N/A</c:v>
                </c:pt>
                <c:pt idx="12300">
                  <c:v>#N/A</c:v>
                </c:pt>
                <c:pt idx="12301">
                  <c:v>6.4246575342465757</c:v>
                </c:pt>
                <c:pt idx="12302">
                  <c:v>#N/A</c:v>
                </c:pt>
                <c:pt idx="12303">
                  <c:v>#N/A</c:v>
                </c:pt>
                <c:pt idx="12304">
                  <c:v>#N/A</c:v>
                </c:pt>
                <c:pt idx="12305">
                  <c:v>6.4383561643835616</c:v>
                </c:pt>
                <c:pt idx="12306">
                  <c:v>6.4383561643835616</c:v>
                </c:pt>
                <c:pt idx="12307">
                  <c:v>#N/A</c:v>
                </c:pt>
                <c:pt idx="12308">
                  <c:v>#N/A</c:v>
                </c:pt>
                <c:pt idx="12309">
                  <c:v>#N/A</c:v>
                </c:pt>
                <c:pt idx="12310">
                  <c:v>#N/A</c:v>
                </c:pt>
                <c:pt idx="12311">
                  <c:v>#N/A</c:v>
                </c:pt>
                <c:pt idx="12312">
                  <c:v>#N/A</c:v>
                </c:pt>
                <c:pt idx="12313">
                  <c:v>6.4684931506849317</c:v>
                </c:pt>
                <c:pt idx="12314">
                  <c:v>#N/A</c:v>
                </c:pt>
                <c:pt idx="12315">
                  <c:v>#N/A</c:v>
                </c:pt>
                <c:pt idx="12316">
                  <c:v>6.4684931506849317</c:v>
                </c:pt>
                <c:pt idx="12317">
                  <c:v>#N/A</c:v>
                </c:pt>
                <c:pt idx="12318">
                  <c:v>6.4684931506849317</c:v>
                </c:pt>
                <c:pt idx="12319">
                  <c:v>#N/A</c:v>
                </c:pt>
                <c:pt idx="12320">
                  <c:v>6.4684931506849317</c:v>
                </c:pt>
                <c:pt idx="12321">
                  <c:v>6.4684931506849317</c:v>
                </c:pt>
                <c:pt idx="12322">
                  <c:v>6.4684931506849317</c:v>
                </c:pt>
                <c:pt idx="12323">
                  <c:v>#N/A</c:v>
                </c:pt>
                <c:pt idx="12324">
                  <c:v>6.4684931506849317</c:v>
                </c:pt>
                <c:pt idx="12325">
                  <c:v>6.4684931506849317</c:v>
                </c:pt>
                <c:pt idx="12326">
                  <c:v>6.4684931506849317</c:v>
                </c:pt>
                <c:pt idx="12327">
                  <c:v>6.4684931506849317</c:v>
                </c:pt>
                <c:pt idx="12328">
                  <c:v>#N/A</c:v>
                </c:pt>
                <c:pt idx="12329">
                  <c:v>6.4684931506849317</c:v>
                </c:pt>
                <c:pt idx="12330">
                  <c:v>#N/A</c:v>
                </c:pt>
                <c:pt idx="12331">
                  <c:v>6.4684931506849317</c:v>
                </c:pt>
                <c:pt idx="12332">
                  <c:v>6.4684931506849317</c:v>
                </c:pt>
                <c:pt idx="12333">
                  <c:v>6.4684931506849317</c:v>
                </c:pt>
                <c:pt idx="12334">
                  <c:v>#N/A</c:v>
                </c:pt>
                <c:pt idx="12335">
                  <c:v>6.4684931506849317</c:v>
                </c:pt>
                <c:pt idx="12336">
                  <c:v>6.4684931506849317</c:v>
                </c:pt>
                <c:pt idx="12337">
                  <c:v>6.4684931506849317</c:v>
                </c:pt>
                <c:pt idx="12338">
                  <c:v>6.4684931506849317</c:v>
                </c:pt>
                <c:pt idx="12339">
                  <c:v>#N/A</c:v>
                </c:pt>
                <c:pt idx="12340">
                  <c:v>6.4684931506849317</c:v>
                </c:pt>
                <c:pt idx="12341">
                  <c:v>#N/A</c:v>
                </c:pt>
                <c:pt idx="12342">
                  <c:v>6.4684931506849317</c:v>
                </c:pt>
                <c:pt idx="12343">
                  <c:v>#N/A</c:v>
                </c:pt>
                <c:pt idx="12344">
                  <c:v>6.4684931506849317</c:v>
                </c:pt>
                <c:pt idx="12345">
                  <c:v>#N/A</c:v>
                </c:pt>
                <c:pt idx="12346">
                  <c:v>#N/A</c:v>
                </c:pt>
                <c:pt idx="12347">
                  <c:v>6.4684931506849317</c:v>
                </c:pt>
                <c:pt idx="12348">
                  <c:v>#N/A</c:v>
                </c:pt>
                <c:pt idx="12349">
                  <c:v>#N/A</c:v>
                </c:pt>
                <c:pt idx="12350">
                  <c:v>#N/A</c:v>
                </c:pt>
                <c:pt idx="12351">
                  <c:v>6.4684931506849317</c:v>
                </c:pt>
                <c:pt idx="12352">
                  <c:v>#N/A</c:v>
                </c:pt>
                <c:pt idx="12353">
                  <c:v>#N/A</c:v>
                </c:pt>
                <c:pt idx="12354">
                  <c:v>#N/A</c:v>
                </c:pt>
                <c:pt idx="12355">
                  <c:v>#N/A</c:v>
                </c:pt>
                <c:pt idx="12356">
                  <c:v>#N/A</c:v>
                </c:pt>
                <c:pt idx="12357">
                  <c:v>#N/A</c:v>
                </c:pt>
                <c:pt idx="12358">
                  <c:v>#N/A</c:v>
                </c:pt>
                <c:pt idx="12359">
                  <c:v>6.515068493150685</c:v>
                </c:pt>
                <c:pt idx="12360">
                  <c:v>6.5178082191780824</c:v>
                </c:pt>
                <c:pt idx="12361">
                  <c:v>6.5178082191780824</c:v>
                </c:pt>
                <c:pt idx="12362">
                  <c:v>6.5178082191780824</c:v>
                </c:pt>
                <c:pt idx="12363">
                  <c:v>6.5178082191780824</c:v>
                </c:pt>
                <c:pt idx="12364">
                  <c:v>#N/A</c:v>
                </c:pt>
                <c:pt idx="12365">
                  <c:v>6.5178082191780824</c:v>
                </c:pt>
                <c:pt idx="12366">
                  <c:v>#N/A</c:v>
                </c:pt>
                <c:pt idx="12367">
                  <c:v>#N/A</c:v>
                </c:pt>
                <c:pt idx="12368">
                  <c:v>#N/A</c:v>
                </c:pt>
                <c:pt idx="12369">
                  <c:v>#N/A</c:v>
                </c:pt>
                <c:pt idx="12370">
                  <c:v>#N/A</c:v>
                </c:pt>
                <c:pt idx="12371">
                  <c:v>#N/A</c:v>
                </c:pt>
                <c:pt idx="12372">
                  <c:v>6.5397260273972604</c:v>
                </c:pt>
                <c:pt idx="12373">
                  <c:v>#N/A</c:v>
                </c:pt>
                <c:pt idx="12374">
                  <c:v>#N/A</c:v>
                </c:pt>
                <c:pt idx="12375">
                  <c:v>6.5397260273972604</c:v>
                </c:pt>
                <c:pt idx="12376">
                  <c:v>#N/A</c:v>
                </c:pt>
                <c:pt idx="12377">
                  <c:v>6.5424657534246577</c:v>
                </c:pt>
                <c:pt idx="12378">
                  <c:v>#N/A</c:v>
                </c:pt>
                <c:pt idx="12379">
                  <c:v>#N/A</c:v>
                </c:pt>
                <c:pt idx="12380">
                  <c:v>#N/A</c:v>
                </c:pt>
                <c:pt idx="12381">
                  <c:v>6.5616438356164384</c:v>
                </c:pt>
                <c:pt idx="12382">
                  <c:v>#N/A</c:v>
                </c:pt>
                <c:pt idx="12383">
                  <c:v>#N/A</c:v>
                </c:pt>
                <c:pt idx="12384">
                  <c:v>#N/A</c:v>
                </c:pt>
                <c:pt idx="12385">
                  <c:v>#N/A</c:v>
                </c:pt>
                <c:pt idx="12386">
                  <c:v>#N/A</c:v>
                </c:pt>
                <c:pt idx="12387">
                  <c:v>#N/A</c:v>
                </c:pt>
                <c:pt idx="12388">
                  <c:v>#N/A</c:v>
                </c:pt>
                <c:pt idx="12389">
                  <c:v>#N/A</c:v>
                </c:pt>
                <c:pt idx="12390">
                  <c:v>#N/A</c:v>
                </c:pt>
                <c:pt idx="12391">
                  <c:v>#N/A</c:v>
                </c:pt>
                <c:pt idx="12392">
                  <c:v>6.5643835616438357</c:v>
                </c:pt>
                <c:pt idx="12393">
                  <c:v>#N/A</c:v>
                </c:pt>
                <c:pt idx="12394">
                  <c:v>#N/A</c:v>
                </c:pt>
                <c:pt idx="12395">
                  <c:v>#N/A</c:v>
                </c:pt>
                <c:pt idx="12396">
                  <c:v>#N/A</c:v>
                </c:pt>
                <c:pt idx="12397">
                  <c:v>#N/A</c:v>
                </c:pt>
                <c:pt idx="12398">
                  <c:v>#N/A</c:v>
                </c:pt>
                <c:pt idx="12399">
                  <c:v>6.5643835616438357</c:v>
                </c:pt>
                <c:pt idx="12400">
                  <c:v>#N/A</c:v>
                </c:pt>
                <c:pt idx="12401">
                  <c:v>#N/A</c:v>
                </c:pt>
                <c:pt idx="12402">
                  <c:v>#N/A</c:v>
                </c:pt>
                <c:pt idx="12403">
                  <c:v>#N/A</c:v>
                </c:pt>
                <c:pt idx="12404">
                  <c:v>#N/A</c:v>
                </c:pt>
                <c:pt idx="12405">
                  <c:v>#N/A</c:v>
                </c:pt>
                <c:pt idx="12406">
                  <c:v>#N/A</c:v>
                </c:pt>
                <c:pt idx="12407">
                  <c:v>#N/A</c:v>
                </c:pt>
                <c:pt idx="12408">
                  <c:v>#N/A</c:v>
                </c:pt>
                <c:pt idx="12409">
                  <c:v>6.5643835616438357</c:v>
                </c:pt>
                <c:pt idx="12410">
                  <c:v>#N/A</c:v>
                </c:pt>
                <c:pt idx="12411">
                  <c:v>#N/A</c:v>
                </c:pt>
                <c:pt idx="12412">
                  <c:v>#N/A</c:v>
                </c:pt>
                <c:pt idx="12413">
                  <c:v>#N/A</c:v>
                </c:pt>
                <c:pt idx="12414">
                  <c:v>#N/A</c:v>
                </c:pt>
                <c:pt idx="12415">
                  <c:v>#N/A</c:v>
                </c:pt>
                <c:pt idx="12416">
                  <c:v>#N/A</c:v>
                </c:pt>
                <c:pt idx="12417">
                  <c:v>#N/A</c:v>
                </c:pt>
                <c:pt idx="12418">
                  <c:v>#N/A</c:v>
                </c:pt>
                <c:pt idx="12419">
                  <c:v>#N/A</c:v>
                </c:pt>
                <c:pt idx="12420">
                  <c:v>#N/A</c:v>
                </c:pt>
                <c:pt idx="12421">
                  <c:v>#N/A</c:v>
                </c:pt>
                <c:pt idx="12422">
                  <c:v>#N/A</c:v>
                </c:pt>
                <c:pt idx="12423">
                  <c:v>#N/A</c:v>
                </c:pt>
                <c:pt idx="12424">
                  <c:v>#N/A</c:v>
                </c:pt>
                <c:pt idx="12425">
                  <c:v>#N/A</c:v>
                </c:pt>
                <c:pt idx="12426">
                  <c:v>#N/A</c:v>
                </c:pt>
                <c:pt idx="12427">
                  <c:v>#N/A</c:v>
                </c:pt>
                <c:pt idx="12428">
                  <c:v>#N/A</c:v>
                </c:pt>
                <c:pt idx="12429">
                  <c:v>#N/A</c:v>
                </c:pt>
                <c:pt idx="12430">
                  <c:v>#N/A</c:v>
                </c:pt>
                <c:pt idx="12431">
                  <c:v>#N/A</c:v>
                </c:pt>
                <c:pt idx="12432">
                  <c:v>#N/A</c:v>
                </c:pt>
                <c:pt idx="12433">
                  <c:v>#N/A</c:v>
                </c:pt>
                <c:pt idx="12434">
                  <c:v>6.5753424657534243</c:v>
                </c:pt>
                <c:pt idx="12435">
                  <c:v>#N/A</c:v>
                </c:pt>
                <c:pt idx="12436">
                  <c:v>#N/A</c:v>
                </c:pt>
                <c:pt idx="12437">
                  <c:v>#N/A</c:v>
                </c:pt>
                <c:pt idx="12438">
                  <c:v>#N/A</c:v>
                </c:pt>
                <c:pt idx="12439">
                  <c:v>#N/A</c:v>
                </c:pt>
                <c:pt idx="12440">
                  <c:v>6.5835616438356164</c:v>
                </c:pt>
                <c:pt idx="12441">
                  <c:v>#N/A</c:v>
                </c:pt>
                <c:pt idx="12442">
                  <c:v>#N/A</c:v>
                </c:pt>
                <c:pt idx="12443">
                  <c:v>#N/A</c:v>
                </c:pt>
                <c:pt idx="12444">
                  <c:v>#N/A</c:v>
                </c:pt>
                <c:pt idx="12445">
                  <c:v>#N/A</c:v>
                </c:pt>
                <c:pt idx="12446">
                  <c:v>#N/A</c:v>
                </c:pt>
                <c:pt idx="12447">
                  <c:v>#N/A</c:v>
                </c:pt>
                <c:pt idx="12448">
                  <c:v>6.6767123287671231</c:v>
                </c:pt>
                <c:pt idx="12449">
                  <c:v>#N/A</c:v>
                </c:pt>
                <c:pt idx="12450">
                  <c:v>#N/A</c:v>
                </c:pt>
                <c:pt idx="12451">
                  <c:v>#N/A</c:v>
                </c:pt>
                <c:pt idx="12452">
                  <c:v>6.7095890410958905</c:v>
                </c:pt>
                <c:pt idx="12453">
                  <c:v>#N/A</c:v>
                </c:pt>
                <c:pt idx="12454">
                  <c:v>#N/A</c:v>
                </c:pt>
                <c:pt idx="12455">
                  <c:v>#N/A</c:v>
                </c:pt>
                <c:pt idx="12456">
                  <c:v>#N/A</c:v>
                </c:pt>
                <c:pt idx="12457">
                  <c:v>#N/A</c:v>
                </c:pt>
                <c:pt idx="12458">
                  <c:v>#N/A</c:v>
                </c:pt>
                <c:pt idx="12459">
                  <c:v>#N/A</c:v>
                </c:pt>
                <c:pt idx="12460">
                  <c:v>#N/A</c:v>
                </c:pt>
                <c:pt idx="12461">
                  <c:v>#N/A</c:v>
                </c:pt>
                <c:pt idx="12462">
                  <c:v>6.8438356164383558</c:v>
                </c:pt>
                <c:pt idx="12463">
                  <c:v>#N/A</c:v>
                </c:pt>
                <c:pt idx="12464">
                  <c:v>#N/A</c:v>
                </c:pt>
                <c:pt idx="12465">
                  <c:v>#N/A</c:v>
                </c:pt>
                <c:pt idx="12466">
                  <c:v>#N/A</c:v>
                </c:pt>
                <c:pt idx="12467">
                  <c:v>#N/A</c:v>
                </c:pt>
                <c:pt idx="12468">
                  <c:v>6.8438356164383558</c:v>
                </c:pt>
                <c:pt idx="12469">
                  <c:v>#N/A</c:v>
                </c:pt>
                <c:pt idx="12470">
                  <c:v>6.8438356164383558</c:v>
                </c:pt>
                <c:pt idx="12471">
                  <c:v>6.8438356164383558</c:v>
                </c:pt>
                <c:pt idx="12472">
                  <c:v>#N/A</c:v>
                </c:pt>
                <c:pt idx="12473">
                  <c:v>#N/A</c:v>
                </c:pt>
                <c:pt idx="12474">
                  <c:v>#N/A</c:v>
                </c:pt>
                <c:pt idx="12475">
                  <c:v>#N/A</c:v>
                </c:pt>
                <c:pt idx="12476">
                  <c:v>#N/A</c:v>
                </c:pt>
                <c:pt idx="12477">
                  <c:v>6.8438356164383558</c:v>
                </c:pt>
                <c:pt idx="12478">
                  <c:v>#N/A</c:v>
                </c:pt>
                <c:pt idx="12479">
                  <c:v>#N/A</c:v>
                </c:pt>
                <c:pt idx="12480">
                  <c:v>#N/A</c:v>
                </c:pt>
                <c:pt idx="12481">
                  <c:v>#N/A</c:v>
                </c:pt>
                <c:pt idx="12482">
                  <c:v>#N/A</c:v>
                </c:pt>
                <c:pt idx="12483">
                  <c:v>#N/A</c:v>
                </c:pt>
                <c:pt idx="12484">
                  <c:v>6.8465753424657532</c:v>
                </c:pt>
                <c:pt idx="12485">
                  <c:v>#N/A</c:v>
                </c:pt>
                <c:pt idx="12486">
                  <c:v>#N/A</c:v>
                </c:pt>
                <c:pt idx="12487">
                  <c:v>#N/A</c:v>
                </c:pt>
                <c:pt idx="12488">
                  <c:v>6.8465753424657532</c:v>
                </c:pt>
                <c:pt idx="12489">
                  <c:v>6.8465753424657532</c:v>
                </c:pt>
                <c:pt idx="12490">
                  <c:v>#N/A</c:v>
                </c:pt>
                <c:pt idx="12491">
                  <c:v>#N/A</c:v>
                </c:pt>
                <c:pt idx="12492">
                  <c:v>#N/A</c:v>
                </c:pt>
                <c:pt idx="12493">
                  <c:v>#N/A</c:v>
                </c:pt>
                <c:pt idx="12494">
                  <c:v>#N/A</c:v>
                </c:pt>
                <c:pt idx="12495">
                  <c:v>#N/A</c:v>
                </c:pt>
                <c:pt idx="12496">
                  <c:v>#N/A</c:v>
                </c:pt>
                <c:pt idx="12497">
                  <c:v>#N/A</c:v>
                </c:pt>
                <c:pt idx="12498">
                  <c:v>#N/A</c:v>
                </c:pt>
                <c:pt idx="12499">
                  <c:v>#N/A</c:v>
                </c:pt>
                <c:pt idx="12500">
                  <c:v>#N/A</c:v>
                </c:pt>
                <c:pt idx="12501">
                  <c:v>#N/A</c:v>
                </c:pt>
                <c:pt idx="12502">
                  <c:v>#N/A</c:v>
                </c:pt>
                <c:pt idx="12503">
                  <c:v>#N/A</c:v>
                </c:pt>
                <c:pt idx="12504">
                  <c:v>#N/A</c:v>
                </c:pt>
                <c:pt idx="12505">
                  <c:v>#N/A</c:v>
                </c:pt>
                <c:pt idx="12506">
                  <c:v>#N/A</c:v>
                </c:pt>
                <c:pt idx="12507">
                  <c:v>#N/A</c:v>
                </c:pt>
                <c:pt idx="12508">
                  <c:v>#N/A</c:v>
                </c:pt>
                <c:pt idx="12509">
                  <c:v>#N/A</c:v>
                </c:pt>
                <c:pt idx="12510">
                  <c:v>#N/A</c:v>
                </c:pt>
                <c:pt idx="12511">
                  <c:v>#N/A</c:v>
                </c:pt>
                <c:pt idx="12512">
                  <c:v>#N/A</c:v>
                </c:pt>
                <c:pt idx="12513">
                  <c:v>#N/A</c:v>
                </c:pt>
                <c:pt idx="12514">
                  <c:v>#N/A</c:v>
                </c:pt>
                <c:pt idx="12515">
                  <c:v>#N/A</c:v>
                </c:pt>
                <c:pt idx="12516">
                  <c:v>#N/A</c:v>
                </c:pt>
                <c:pt idx="12517">
                  <c:v>#N/A</c:v>
                </c:pt>
                <c:pt idx="12518">
                  <c:v>6.9205479452054792</c:v>
                </c:pt>
                <c:pt idx="12519">
                  <c:v>#N/A</c:v>
                </c:pt>
                <c:pt idx="12520">
                  <c:v>#N/A</c:v>
                </c:pt>
                <c:pt idx="12521">
                  <c:v>#N/A</c:v>
                </c:pt>
                <c:pt idx="12522">
                  <c:v>6.9616438356164387</c:v>
                </c:pt>
                <c:pt idx="12523">
                  <c:v>#N/A</c:v>
                </c:pt>
                <c:pt idx="12524">
                  <c:v>#N/A</c:v>
                </c:pt>
                <c:pt idx="12525">
                  <c:v>#N/A</c:v>
                </c:pt>
                <c:pt idx="12526">
                  <c:v>7.0027397260273974</c:v>
                </c:pt>
                <c:pt idx="12527">
                  <c:v>#N/A</c:v>
                </c:pt>
                <c:pt idx="12528">
                  <c:v>#N/A</c:v>
                </c:pt>
                <c:pt idx="12529">
                  <c:v>7.0136986301369859</c:v>
                </c:pt>
                <c:pt idx="12530">
                  <c:v>#N/A</c:v>
                </c:pt>
                <c:pt idx="12531">
                  <c:v>7.0164383561643833</c:v>
                </c:pt>
                <c:pt idx="12532">
                  <c:v>7.0164383561643833</c:v>
                </c:pt>
                <c:pt idx="12533">
                  <c:v>#N/A</c:v>
                </c:pt>
                <c:pt idx="12534">
                  <c:v>#N/A</c:v>
                </c:pt>
                <c:pt idx="12535">
                  <c:v>#N/A</c:v>
                </c:pt>
                <c:pt idx="12536">
                  <c:v>#N/A</c:v>
                </c:pt>
                <c:pt idx="12537">
                  <c:v>#N/A</c:v>
                </c:pt>
                <c:pt idx="12538">
                  <c:v>#N/A</c:v>
                </c:pt>
                <c:pt idx="12539">
                  <c:v>#N/A</c:v>
                </c:pt>
                <c:pt idx="12540">
                  <c:v>#N/A</c:v>
                </c:pt>
                <c:pt idx="12541">
                  <c:v>#N/A</c:v>
                </c:pt>
                <c:pt idx="12542">
                  <c:v>#N/A</c:v>
                </c:pt>
                <c:pt idx="12543">
                  <c:v>#N/A</c:v>
                </c:pt>
                <c:pt idx="12544">
                  <c:v>#N/A</c:v>
                </c:pt>
                <c:pt idx="12545">
                  <c:v>#N/A</c:v>
                </c:pt>
                <c:pt idx="12546">
                  <c:v>7.0767123287671234</c:v>
                </c:pt>
                <c:pt idx="12547">
                  <c:v>#N/A</c:v>
                </c:pt>
                <c:pt idx="12548">
                  <c:v>#N/A</c:v>
                </c:pt>
                <c:pt idx="12549">
                  <c:v>#N/A</c:v>
                </c:pt>
                <c:pt idx="12550">
                  <c:v>#N/A</c:v>
                </c:pt>
                <c:pt idx="12551">
                  <c:v>#N/A</c:v>
                </c:pt>
                <c:pt idx="12552">
                  <c:v>#N/A</c:v>
                </c:pt>
                <c:pt idx="12553">
                  <c:v>#N/A</c:v>
                </c:pt>
                <c:pt idx="12554">
                  <c:v>#N/A</c:v>
                </c:pt>
                <c:pt idx="12555">
                  <c:v>#N/A</c:v>
                </c:pt>
                <c:pt idx="12556">
                  <c:v>#N/A</c:v>
                </c:pt>
                <c:pt idx="12557">
                  <c:v>7.13972602739726</c:v>
                </c:pt>
                <c:pt idx="12558">
                  <c:v>#N/A</c:v>
                </c:pt>
                <c:pt idx="12559">
                  <c:v>#N/A</c:v>
                </c:pt>
                <c:pt idx="12560">
                  <c:v>#N/A</c:v>
                </c:pt>
                <c:pt idx="12561">
                  <c:v>#N/A</c:v>
                </c:pt>
                <c:pt idx="12562">
                  <c:v>#N/A</c:v>
                </c:pt>
                <c:pt idx="12563">
                  <c:v>#N/A</c:v>
                </c:pt>
                <c:pt idx="12564">
                  <c:v>#N/A</c:v>
                </c:pt>
                <c:pt idx="12565">
                  <c:v>#N/A</c:v>
                </c:pt>
                <c:pt idx="12566">
                  <c:v>#N/A</c:v>
                </c:pt>
                <c:pt idx="12567">
                  <c:v>#N/A</c:v>
                </c:pt>
                <c:pt idx="12568">
                  <c:v>#N/A</c:v>
                </c:pt>
                <c:pt idx="12569">
                  <c:v>#N/A</c:v>
                </c:pt>
                <c:pt idx="12570">
                  <c:v>7.2301369863013702</c:v>
                </c:pt>
                <c:pt idx="12571">
                  <c:v>#N/A</c:v>
                </c:pt>
                <c:pt idx="12572">
                  <c:v>7.2301369863013702</c:v>
                </c:pt>
                <c:pt idx="12573">
                  <c:v>#N/A</c:v>
                </c:pt>
                <c:pt idx="12574">
                  <c:v>7.2301369863013702</c:v>
                </c:pt>
                <c:pt idx="12575">
                  <c:v>#N/A</c:v>
                </c:pt>
                <c:pt idx="12576">
                  <c:v>#N/A</c:v>
                </c:pt>
                <c:pt idx="12577">
                  <c:v>#N/A</c:v>
                </c:pt>
                <c:pt idx="12578">
                  <c:v>#N/A</c:v>
                </c:pt>
                <c:pt idx="12579">
                  <c:v>#N/A</c:v>
                </c:pt>
                <c:pt idx="12580">
                  <c:v>#N/A</c:v>
                </c:pt>
                <c:pt idx="12581">
                  <c:v>#N/A</c:v>
                </c:pt>
                <c:pt idx="12582">
                  <c:v>#N/A</c:v>
                </c:pt>
                <c:pt idx="12583">
                  <c:v>#N/A</c:v>
                </c:pt>
                <c:pt idx="12584">
                  <c:v>#N/A</c:v>
                </c:pt>
                <c:pt idx="12585">
                  <c:v>#N/A</c:v>
                </c:pt>
                <c:pt idx="12586">
                  <c:v>#N/A</c:v>
                </c:pt>
                <c:pt idx="12587">
                  <c:v>#N/A</c:v>
                </c:pt>
                <c:pt idx="12588">
                  <c:v>#N/A</c:v>
                </c:pt>
                <c:pt idx="12589">
                  <c:v>#N/A</c:v>
                </c:pt>
                <c:pt idx="12590">
                  <c:v>#N/A</c:v>
                </c:pt>
                <c:pt idx="12591">
                  <c:v>#N/A</c:v>
                </c:pt>
                <c:pt idx="12592">
                  <c:v>#N/A</c:v>
                </c:pt>
                <c:pt idx="12593">
                  <c:v>#N/A</c:v>
                </c:pt>
                <c:pt idx="12594">
                  <c:v>#N/A</c:v>
                </c:pt>
                <c:pt idx="12595">
                  <c:v>#N/A</c:v>
                </c:pt>
                <c:pt idx="12596">
                  <c:v>#N/A</c:v>
                </c:pt>
                <c:pt idx="12597">
                  <c:v>#N/A</c:v>
                </c:pt>
                <c:pt idx="12598">
                  <c:v>#N/A</c:v>
                </c:pt>
                <c:pt idx="12599">
                  <c:v>#N/A</c:v>
                </c:pt>
                <c:pt idx="12600">
                  <c:v>#N/A</c:v>
                </c:pt>
                <c:pt idx="12601">
                  <c:v>#N/A</c:v>
                </c:pt>
                <c:pt idx="12602">
                  <c:v>#N/A</c:v>
                </c:pt>
                <c:pt idx="12603">
                  <c:v>#N/A</c:v>
                </c:pt>
                <c:pt idx="12604">
                  <c:v>#N/A</c:v>
                </c:pt>
                <c:pt idx="12605">
                  <c:v>#N/A</c:v>
                </c:pt>
                <c:pt idx="12606">
                  <c:v>#N/A</c:v>
                </c:pt>
                <c:pt idx="12607">
                  <c:v>#N/A</c:v>
                </c:pt>
                <c:pt idx="12608">
                  <c:v>#N/A</c:v>
                </c:pt>
                <c:pt idx="12609">
                  <c:v>#N/A</c:v>
                </c:pt>
                <c:pt idx="12610">
                  <c:v>#N/A</c:v>
                </c:pt>
                <c:pt idx="12611">
                  <c:v>#N/A</c:v>
                </c:pt>
                <c:pt idx="12612">
                  <c:v>#N/A</c:v>
                </c:pt>
                <c:pt idx="12613">
                  <c:v>#N/A</c:v>
                </c:pt>
                <c:pt idx="12614">
                  <c:v>#N/A</c:v>
                </c:pt>
                <c:pt idx="12615">
                  <c:v>#N/A</c:v>
                </c:pt>
                <c:pt idx="12616">
                  <c:v>#N/A</c:v>
                </c:pt>
                <c:pt idx="12617">
                  <c:v>#N/A</c:v>
                </c:pt>
                <c:pt idx="12618">
                  <c:v>#N/A</c:v>
                </c:pt>
                <c:pt idx="12619">
                  <c:v>#N/A</c:v>
                </c:pt>
                <c:pt idx="12620">
                  <c:v>#N/A</c:v>
                </c:pt>
                <c:pt idx="12621">
                  <c:v>#N/A</c:v>
                </c:pt>
                <c:pt idx="12622">
                  <c:v>#N/A</c:v>
                </c:pt>
                <c:pt idx="12623">
                  <c:v>#N/A</c:v>
                </c:pt>
                <c:pt idx="12624">
                  <c:v>#N/A</c:v>
                </c:pt>
                <c:pt idx="12625">
                  <c:v>#N/A</c:v>
                </c:pt>
                <c:pt idx="12626">
                  <c:v>#N/A</c:v>
                </c:pt>
                <c:pt idx="12627">
                  <c:v>#N/A</c:v>
                </c:pt>
                <c:pt idx="12628">
                  <c:v>#N/A</c:v>
                </c:pt>
                <c:pt idx="12629">
                  <c:v>#N/A</c:v>
                </c:pt>
                <c:pt idx="12630">
                  <c:v>#N/A</c:v>
                </c:pt>
                <c:pt idx="12631">
                  <c:v>#N/A</c:v>
                </c:pt>
                <c:pt idx="12632">
                  <c:v>#N/A</c:v>
                </c:pt>
                <c:pt idx="12633">
                  <c:v>#N/A</c:v>
                </c:pt>
                <c:pt idx="12634">
                  <c:v>#N/A</c:v>
                </c:pt>
                <c:pt idx="12635">
                  <c:v>#N/A</c:v>
                </c:pt>
                <c:pt idx="12636">
                  <c:v>#N/A</c:v>
                </c:pt>
                <c:pt idx="12637">
                  <c:v>#N/A</c:v>
                </c:pt>
                <c:pt idx="12638">
                  <c:v>#N/A</c:v>
                </c:pt>
                <c:pt idx="12639">
                  <c:v>#N/A</c:v>
                </c:pt>
                <c:pt idx="12640">
                  <c:v>#N/A</c:v>
                </c:pt>
                <c:pt idx="12641">
                  <c:v>#N/A</c:v>
                </c:pt>
                <c:pt idx="12642">
                  <c:v>#N/A</c:v>
                </c:pt>
                <c:pt idx="12643">
                  <c:v>#N/A</c:v>
                </c:pt>
                <c:pt idx="12644">
                  <c:v>7.3643835616438356</c:v>
                </c:pt>
                <c:pt idx="12645">
                  <c:v>#N/A</c:v>
                </c:pt>
                <c:pt idx="12646">
                  <c:v>#N/A</c:v>
                </c:pt>
                <c:pt idx="12647">
                  <c:v>#N/A</c:v>
                </c:pt>
                <c:pt idx="12648">
                  <c:v>#N/A</c:v>
                </c:pt>
                <c:pt idx="12649">
                  <c:v>#N/A</c:v>
                </c:pt>
                <c:pt idx="12650">
                  <c:v>#N/A</c:v>
                </c:pt>
                <c:pt idx="12651">
                  <c:v>7.3863013698630136</c:v>
                </c:pt>
                <c:pt idx="12652">
                  <c:v>#N/A</c:v>
                </c:pt>
                <c:pt idx="12653">
                  <c:v>#N/A</c:v>
                </c:pt>
                <c:pt idx="12654">
                  <c:v>#N/A</c:v>
                </c:pt>
                <c:pt idx="12655">
                  <c:v>#N/A</c:v>
                </c:pt>
                <c:pt idx="12656">
                  <c:v>7.4273972602739722</c:v>
                </c:pt>
                <c:pt idx="12657">
                  <c:v>#N/A</c:v>
                </c:pt>
                <c:pt idx="12658">
                  <c:v>#N/A</c:v>
                </c:pt>
                <c:pt idx="12659">
                  <c:v>7.4273972602739722</c:v>
                </c:pt>
                <c:pt idx="12660">
                  <c:v>7.4273972602739722</c:v>
                </c:pt>
                <c:pt idx="12661">
                  <c:v>#N/A</c:v>
                </c:pt>
                <c:pt idx="12662">
                  <c:v>7.4273972602739722</c:v>
                </c:pt>
                <c:pt idx="12663">
                  <c:v>#N/A</c:v>
                </c:pt>
                <c:pt idx="12664">
                  <c:v>#N/A</c:v>
                </c:pt>
                <c:pt idx="12665">
                  <c:v>7.4273972602739722</c:v>
                </c:pt>
                <c:pt idx="12666">
                  <c:v>#N/A</c:v>
                </c:pt>
                <c:pt idx="12667">
                  <c:v>#N/A</c:v>
                </c:pt>
                <c:pt idx="12668">
                  <c:v>#N/A</c:v>
                </c:pt>
                <c:pt idx="12669">
                  <c:v>#N/A</c:v>
                </c:pt>
                <c:pt idx="12670">
                  <c:v>7.4273972602739722</c:v>
                </c:pt>
                <c:pt idx="12671">
                  <c:v>7.4273972602739722</c:v>
                </c:pt>
                <c:pt idx="12672">
                  <c:v>#N/A</c:v>
                </c:pt>
                <c:pt idx="12673">
                  <c:v>#N/A</c:v>
                </c:pt>
                <c:pt idx="12674">
                  <c:v>7.4273972602739722</c:v>
                </c:pt>
                <c:pt idx="12675">
                  <c:v>#N/A</c:v>
                </c:pt>
                <c:pt idx="12676">
                  <c:v>#N/A</c:v>
                </c:pt>
                <c:pt idx="12677">
                  <c:v>#N/A</c:v>
                </c:pt>
                <c:pt idx="12678">
                  <c:v>#N/A</c:v>
                </c:pt>
                <c:pt idx="12679">
                  <c:v>#N/A</c:v>
                </c:pt>
                <c:pt idx="12680">
                  <c:v>#N/A</c:v>
                </c:pt>
                <c:pt idx="12681">
                  <c:v>#N/A</c:v>
                </c:pt>
                <c:pt idx="12682">
                  <c:v>#N/A</c:v>
                </c:pt>
                <c:pt idx="12683">
                  <c:v>#N/A</c:v>
                </c:pt>
                <c:pt idx="12684">
                  <c:v>#N/A</c:v>
                </c:pt>
                <c:pt idx="12685">
                  <c:v>#N/A</c:v>
                </c:pt>
                <c:pt idx="12686">
                  <c:v>#N/A</c:v>
                </c:pt>
                <c:pt idx="12687">
                  <c:v>#N/A</c:v>
                </c:pt>
                <c:pt idx="12688">
                  <c:v>#N/A</c:v>
                </c:pt>
                <c:pt idx="12689">
                  <c:v>#N/A</c:v>
                </c:pt>
                <c:pt idx="12690">
                  <c:v>#N/A</c:v>
                </c:pt>
                <c:pt idx="12691">
                  <c:v>7.5178082191780824</c:v>
                </c:pt>
                <c:pt idx="12692">
                  <c:v>#N/A</c:v>
                </c:pt>
                <c:pt idx="12693">
                  <c:v>#N/A</c:v>
                </c:pt>
                <c:pt idx="12694">
                  <c:v>#N/A</c:v>
                </c:pt>
                <c:pt idx="12695">
                  <c:v>#N/A</c:v>
                </c:pt>
                <c:pt idx="12696">
                  <c:v>#N/A</c:v>
                </c:pt>
                <c:pt idx="12697">
                  <c:v>#N/A</c:v>
                </c:pt>
                <c:pt idx="12698">
                  <c:v>#N/A</c:v>
                </c:pt>
                <c:pt idx="12699">
                  <c:v>#N/A</c:v>
                </c:pt>
                <c:pt idx="12700">
                  <c:v>7.580821917808219</c:v>
                </c:pt>
                <c:pt idx="12701">
                  <c:v>#N/A</c:v>
                </c:pt>
                <c:pt idx="12702">
                  <c:v>#N/A</c:v>
                </c:pt>
                <c:pt idx="12703">
                  <c:v>#N/A</c:v>
                </c:pt>
                <c:pt idx="12704">
                  <c:v>#N/A</c:v>
                </c:pt>
                <c:pt idx="12705">
                  <c:v>7.6</c:v>
                </c:pt>
                <c:pt idx="12706">
                  <c:v>#N/A</c:v>
                </c:pt>
                <c:pt idx="12707">
                  <c:v>#N/A</c:v>
                </c:pt>
                <c:pt idx="12708">
                  <c:v>#N/A</c:v>
                </c:pt>
                <c:pt idx="12709">
                  <c:v>#N/A</c:v>
                </c:pt>
                <c:pt idx="12710">
                  <c:v>#N/A</c:v>
                </c:pt>
                <c:pt idx="12711">
                  <c:v>#N/A</c:v>
                </c:pt>
                <c:pt idx="12712">
                  <c:v>#N/A</c:v>
                </c:pt>
                <c:pt idx="12713">
                  <c:v>#N/A</c:v>
                </c:pt>
                <c:pt idx="12714">
                  <c:v>#N/A</c:v>
                </c:pt>
                <c:pt idx="12715">
                  <c:v>7.6876712328767125</c:v>
                </c:pt>
                <c:pt idx="12716">
                  <c:v>#N/A</c:v>
                </c:pt>
                <c:pt idx="12717">
                  <c:v>#N/A</c:v>
                </c:pt>
                <c:pt idx="12718">
                  <c:v>#N/A</c:v>
                </c:pt>
                <c:pt idx="12719">
                  <c:v>7.7068493150684931</c:v>
                </c:pt>
                <c:pt idx="12720">
                  <c:v>#N/A</c:v>
                </c:pt>
                <c:pt idx="12721">
                  <c:v>#N/A</c:v>
                </c:pt>
                <c:pt idx="12722">
                  <c:v>#N/A</c:v>
                </c:pt>
                <c:pt idx="12723">
                  <c:v>#N/A</c:v>
                </c:pt>
                <c:pt idx="12724">
                  <c:v>#N/A</c:v>
                </c:pt>
                <c:pt idx="12725">
                  <c:v>#N/A</c:v>
                </c:pt>
                <c:pt idx="12726">
                  <c:v>#N/A</c:v>
                </c:pt>
                <c:pt idx="12727">
                  <c:v>#N/A</c:v>
                </c:pt>
                <c:pt idx="12728">
                  <c:v>#N/A</c:v>
                </c:pt>
                <c:pt idx="12729">
                  <c:v>7.8191780821917805</c:v>
                </c:pt>
                <c:pt idx="12730">
                  <c:v>#N/A</c:v>
                </c:pt>
                <c:pt idx="12731">
                  <c:v>7.8219178082191778</c:v>
                </c:pt>
                <c:pt idx="12732">
                  <c:v>#N/A</c:v>
                </c:pt>
                <c:pt idx="12733">
                  <c:v>#N/A</c:v>
                </c:pt>
                <c:pt idx="12734">
                  <c:v>#N/A</c:v>
                </c:pt>
                <c:pt idx="12735">
                  <c:v>#N/A</c:v>
                </c:pt>
                <c:pt idx="12736">
                  <c:v>#N/A</c:v>
                </c:pt>
                <c:pt idx="12737">
                  <c:v>#N/A</c:v>
                </c:pt>
                <c:pt idx="12738">
                  <c:v>#N/A</c:v>
                </c:pt>
                <c:pt idx="12739">
                  <c:v>7.8410958904109593</c:v>
                </c:pt>
                <c:pt idx="12740">
                  <c:v>#N/A</c:v>
                </c:pt>
                <c:pt idx="12741">
                  <c:v>7.8410958904109593</c:v>
                </c:pt>
                <c:pt idx="12742">
                  <c:v>7.8438356164383558</c:v>
                </c:pt>
                <c:pt idx="12743">
                  <c:v>#N/A</c:v>
                </c:pt>
                <c:pt idx="12744">
                  <c:v>#N/A</c:v>
                </c:pt>
                <c:pt idx="12745">
                  <c:v>#N/A</c:v>
                </c:pt>
                <c:pt idx="12746">
                  <c:v>#N/A</c:v>
                </c:pt>
                <c:pt idx="12747">
                  <c:v>#N/A</c:v>
                </c:pt>
                <c:pt idx="12748">
                  <c:v>#N/A</c:v>
                </c:pt>
                <c:pt idx="12749">
                  <c:v>#N/A</c:v>
                </c:pt>
                <c:pt idx="12750">
                  <c:v>#N/A</c:v>
                </c:pt>
                <c:pt idx="12751">
                  <c:v>#N/A</c:v>
                </c:pt>
                <c:pt idx="12752">
                  <c:v>#N/A</c:v>
                </c:pt>
                <c:pt idx="12753">
                  <c:v>#N/A</c:v>
                </c:pt>
                <c:pt idx="12754">
                  <c:v>#N/A</c:v>
                </c:pt>
                <c:pt idx="12755">
                  <c:v>#N/A</c:v>
                </c:pt>
                <c:pt idx="12756">
                  <c:v>#N/A</c:v>
                </c:pt>
                <c:pt idx="12757">
                  <c:v>#N/A</c:v>
                </c:pt>
                <c:pt idx="12758">
                  <c:v>#N/A</c:v>
                </c:pt>
                <c:pt idx="12759">
                  <c:v>#N/A</c:v>
                </c:pt>
                <c:pt idx="12760">
                  <c:v>#N/A</c:v>
                </c:pt>
                <c:pt idx="12761">
                  <c:v>#N/A</c:v>
                </c:pt>
                <c:pt idx="12762">
                  <c:v>#N/A</c:v>
                </c:pt>
                <c:pt idx="12763">
                  <c:v>#N/A</c:v>
                </c:pt>
                <c:pt idx="12764">
                  <c:v>#N/A</c:v>
                </c:pt>
                <c:pt idx="12765">
                  <c:v>#N/A</c:v>
                </c:pt>
                <c:pt idx="12766">
                  <c:v>#N/A</c:v>
                </c:pt>
                <c:pt idx="12767">
                  <c:v>#N/A</c:v>
                </c:pt>
                <c:pt idx="12768">
                  <c:v>#N/A</c:v>
                </c:pt>
                <c:pt idx="12769">
                  <c:v>#N/A</c:v>
                </c:pt>
                <c:pt idx="12770">
                  <c:v>#N/A</c:v>
                </c:pt>
                <c:pt idx="12771">
                  <c:v>#N/A</c:v>
                </c:pt>
                <c:pt idx="12772">
                  <c:v>#N/A</c:v>
                </c:pt>
                <c:pt idx="12773">
                  <c:v>#N/A</c:v>
                </c:pt>
                <c:pt idx="12774">
                  <c:v>#N/A</c:v>
                </c:pt>
                <c:pt idx="12775">
                  <c:v>#N/A</c:v>
                </c:pt>
                <c:pt idx="12776">
                  <c:v>#N/A</c:v>
                </c:pt>
                <c:pt idx="12777">
                  <c:v>#N/A</c:v>
                </c:pt>
                <c:pt idx="12778">
                  <c:v>#N/A</c:v>
                </c:pt>
                <c:pt idx="12779">
                  <c:v>#N/A</c:v>
                </c:pt>
                <c:pt idx="12780">
                  <c:v>#N/A</c:v>
                </c:pt>
                <c:pt idx="12781">
                  <c:v>#N/A</c:v>
                </c:pt>
                <c:pt idx="12782">
                  <c:v>#N/A</c:v>
                </c:pt>
                <c:pt idx="12783">
                  <c:v>#N/A</c:v>
                </c:pt>
                <c:pt idx="12784">
                  <c:v>#N/A</c:v>
                </c:pt>
                <c:pt idx="12785">
                  <c:v>7.978082191780822</c:v>
                </c:pt>
                <c:pt idx="12786">
                  <c:v>#N/A</c:v>
                </c:pt>
                <c:pt idx="12787">
                  <c:v>#N/A</c:v>
                </c:pt>
                <c:pt idx="12788">
                  <c:v>#N/A</c:v>
                </c:pt>
                <c:pt idx="12789">
                  <c:v>#N/A</c:v>
                </c:pt>
                <c:pt idx="12790">
                  <c:v>8.0109589041095894</c:v>
                </c:pt>
                <c:pt idx="12791">
                  <c:v>#N/A</c:v>
                </c:pt>
                <c:pt idx="12792">
                  <c:v>#N/A</c:v>
                </c:pt>
                <c:pt idx="12793">
                  <c:v>#N/A</c:v>
                </c:pt>
                <c:pt idx="12794">
                  <c:v>#N/A</c:v>
                </c:pt>
                <c:pt idx="12795">
                  <c:v>#N/A</c:v>
                </c:pt>
                <c:pt idx="12796">
                  <c:v>#N/A</c:v>
                </c:pt>
                <c:pt idx="12797">
                  <c:v>#N/A</c:v>
                </c:pt>
                <c:pt idx="12798">
                  <c:v>8.0383561643835613</c:v>
                </c:pt>
                <c:pt idx="12799">
                  <c:v>#N/A</c:v>
                </c:pt>
                <c:pt idx="12800">
                  <c:v>#N/A</c:v>
                </c:pt>
                <c:pt idx="12801">
                  <c:v>#N/A</c:v>
                </c:pt>
                <c:pt idx="12802">
                  <c:v>8.0383561643835613</c:v>
                </c:pt>
                <c:pt idx="12803">
                  <c:v>8.0383561643835613</c:v>
                </c:pt>
                <c:pt idx="12804">
                  <c:v>#N/A</c:v>
                </c:pt>
                <c:pt idx="12805">
                  <c:v>#N/A</c:v>
                </c:pt>
                <c:pt idx="12806">
                  <c:v>#N/A</c:v>
                </c:pt>
                <c:pt idx="12807">
                  <c:v>#N/A</c:v>
                </c:pt>
                <c:pt idx="12808">
                  <c:v>#N/A</c:v>
                </c:pt>
                <c:pt idx="12809">
                  <c:v>#N/A</c:v>
                </c:pt>
                <c:pt idx="12810">
                  <c:v>8.0904109589041102</c:v>
                </c:pt>
                <c:pt idx="12811">
                  <c:v>#N/A</c:v>
                </c:pt>
                <c:pt idx="12812">
                  <c:v>#N/A</c:v>
                </c:pt>
                <c:pt idx="12813">
                  <c:v>#N/A</c:v>
                </c:pt>
                <c:pt idx="12814">
                  <c:v>#N/A</c:v>
                </c:pt>
                <c:pt idx="12815">
                  <c:v>#N/A</c:v>
                </c:pt>
                <c:pt idx="12816">
                  <c:v>#N/A</c:v>
                </c:pt>
                <c:pt idx="12817">
                  <c:v>#N/A</c:v>
                </c:pt>
                <c:pt idx="12818">
                  <c:v>8.1561643835616433</c:v>
                </c:pt>
                <c:pt idx="12819">
                  <c:v>8.1561643835616433</c:v>
                </c:pt>
                <c:pt idx="12820">
                  <c:v>#N/A</c:v>
                </c:pt>
                <c:pt idx="12821">
                  <c:v>#N/A</c:v>
                </c:pt>
                <c:pt idx="12822">
                  <c:v>8.1671232876712327</c:v>
                </c:pt>
                <c:pt idx="12823">
                  <c:v>#N/A</c:v>
                </c:pt>
                <c:pt idx="12824">
                  <c:v>#N/A</c:v>
                </c:pt>
                <c:pt idx="12825">
                  <c:v>8.169863013698631</c:v>
                </c:pt>
                <c:pt idx="12826">
                  <c:v>#N/A</c:v>
                </c:pt>
                <c:pt idx="12827">
                  <c:v>#N/A</c:v>
                </c:pt>
                <c:pt idx="12828">
                  <c:v>#N/A</c:v>
                </c:pt>
                <c:pt idx="12829">
                  <c:v>#N/A</c:v>
                </c:pt>
                <c:pt idx="12830">
                  <c:v>8.2273972602739729</c:v>
                </c:pt>
                <c:pt idx="12831">
                  <c:v>8.2273972602739729</c:v>
                </c:pt>
                <c:pt idx="12832">
                  <c:v>#N/A</c:v>
                </c:pt>
                <c:pt idx="12833">
                  <c:v>#N/A</c:v>
                </c:pt>
                <c:pt idx="12834">
                  <c:v>8.2328767123287676</c:v>
                </c:pt>
                <c:pt idx="12835">
                  <c:v>#N/A</c:v>
                </c:pt>
                <c:pt idx="12836">
                  <c:v>#N/A</c:v>
                </c:pt>
                <c:pt idx="12837">
                  <c:v>8.2328767123287676</c:v>
                </c:pt>
                <c:pt idx="12838">
                  <c:v>#N/A</c:v>
                </c:pt>
                <c:pt idx="12839">
                  <c:v>#N/A</c:v>
                </c:pt>
                <c:pt idx="12840">
                  <c:v>8.2328767123287676</c:v>
                </c:pt>
                <c:pt idx="12841">
                  <c:v>#N/A</c:v>
                </c:pt>
                <c:pt idx="12842">
                  <c:v>#N/A</c:v>
                </c:pt>
                <c:pt idx="12843">
                  <c:v>#N/A</c:v>
                </c:pt>
                <c:pt idx="12844">
                  <c:v>8.3068493150684937</c:v>
                </c:pt>
                <c:pt idx="12845">
                  <c:v>#N/A</c:v>
                </c:pt>
                <c:pt idx="12846">
                  <c:v>8.3616438356164391</c:v>
                </c:pt>
                <c:pt idx="12847">
                  <c:v>#N/A</c:v>
                </c:pt>
                <c:pt idx="12848">
                  <c:v>#N/A</c:v>
                </c:pt>
                <c:pt idx="12849">
                  <c:v>#N/A</c:v>
                </c:pt>
                <c:pt idx="12850">
                  <c:v>#N/A</c:v>
                </c:pt>
                <c:pt idx="12851">
                  <c:v>#N/A</c:v>
                </c:pt>
                <c:pt idx="12852">
                  <c:v>#N/A</c:v>
                </c:pt>
                <c:pt idx="12853">
                  <c:v>#N/A</c:v>
                </c:pt>
                <c:pt idx="12854">
                  <c:v>#N/A</c:v>
                </c:pt>
                <c:pt idx="12855">
                  <c:v>#N/A</c:v>
                </c:pt>
                <c:pt idx="12856">
                  <c:v>#N/A</c:v>
                </c:pt>
                <c:pt idx="12857">
                  <c:v>#N/A</c:v>
                </c:pt>
                <c:pt idx="12858">
                  <c:v>8.4246575342465757</c:v>
                </c:pt>
                <c:pt idx="12859">
                  <c:v>#N/A</c:v>
                </c:pt>
                <c:pt idx="12860">
                  <c:v>8.4246575342465757</c:v>
                </c:pt>
                <c:pt idx="12861">
                  <c:v>#N/A</c:v>
                </c:pt>
                <c:pt idx="12862">
                  <c:v>8.4246575342465757</c:v>
                </c:pt>
                <c:pt idx="12863">
                  <c:v>8.4246575342465757</c:v>
                </c:pt>
                <c:pt idx="12864">
                  <c:v>8.4246575342465757</c:v>
                </c:pt>
                <c:pt idx="12865">
                  <c:v>8.4246575342465757</c:v>
                </c:pt>
                <c:pt idx="12866">
                  <c:v>8.4246575342465757</c:v>
                </c:pt>
                <c:pt idx="12867">
                  <c:v>#N/A</c:v>
                </c:pt>
                <c:pt idx="12868">
                  <c:v>#N/A</c:v>
                </c:pt>
                <c:pt idx="12869">
                  <c:v>8.4246575342465757</c:v>
                </c:pt>
                <c:pt idx="12870">
                  <c:v>#N/A</c:v>
                </c:pt>
                <c:pt idx="12871">
                  <c:v>#N/A</c:v>
                </c:pt>
                <c:pt idx="12872">
                  <c:v>#N/A</c:v>
                </c:pt>
                <c:pt idx="12873">
                  <c:v>8.4246575342465757</c:v>
                </c:pt>
                <c:pt idx="12874">
                  <c:v>8.4246575342465757</c:v>
                </c:pt>
                <c:pt idx="12875">
                  <c:v>8.4246575342465757</c:v>
                </c:pt>
                <c:pt idx="12876">
                  <c:v>#N/A</c:v>
                </c:pt>
                <c:pt idx="12877">
                  <c:v>8.4246575342465757</c:v>
                </c:pt>
                <c:pt idx="12878">
                  <c:v>#N/A</c:v>
                </c:pt>
                <c:pt idx="12879">
                  <c:v>#N/A</c:v>
                </c:pt>
                <c:pt idx="12880">
                  <c:v>#N/A</c:v>
                </c:pt>
                <c:pt idx="12881">
                  <c:v>#N/A</c:v>
                </c:pt>
                <c:pt idx="12882">
                  <c:v>#N/A</c:v>
                </c:pt>
                <c:pt idx="12883">
                  <c:v>#N/A</c:v>
                </c:pt>
                <c:pt idx="12884">
                  <c:v>#N/A</c:v>
                </c:pt>
                <c:pt idx="12885">
                  <c:v>#N/A</c:v>
                </c:pt>
                <c:pt idx="12886">
                  <c:v>#N/A</c:v>
                </c:pt>
                <c:pt idx="12887">
                  <c:v>#N/A</c:v>
                </c:pt>
                <c:pt idx="12888">
                  <c:v>#N/A</c:v>
                </c:pt>
                <c:pt idx="12889">
                  <c:v>8.5150684931506841</c:v>
                </c:pt>
                <c:pt idx="12890">
                  <c:v>#N/A</c:v>
                </c:pt>
                <c:pt idx="12891">
                  <c:v>#N/A</c:v>
                </c:pt>
                <c:pt idx="12892">
                  <c:v>8.5150684931506841</c:v>
                </c:pt>
                <c:pt idx="12893">
                  <c:v>#N/A</c:v>
                </c:pt>
                <c:pt idx="12894">
                  <c:v>8.5150684931506841</c:v>
                </c:pt>
                <c:pt idx="12895">
                  <c:v>#N/A</c:v>
                </c:pt>
                <c:pt idx="12896">
                  <c:v>#N/A</c:v>
                </c:pt>
                <c:pt idx="12897">
                  <c:v>#N/A</c:v>
                </c:pt>
                <c:pt idx="12898">
                  <c:v>#N/A</c:v>
                </c:pt>
                <c:pt idx="12899">
                  <c:v>#N/A</c:v>
                </c:pt>
                <c:pt idx="12900">
                  <c:v>#N/A</c:v>
                </c:pt>
                <c:pt idx="12901">
                  <c:v>#N/A</c:v>
                </c:pt>
                <c:pt idx="12902">
                  <c:v>#N/A</c:v>
                </c:pt>
                <c:pt idx="12903">
                  <c:v>#N/A</c:v>
                </c:pt>
                <c:pt idx="12904">
                  <c:v>8.5863013698630137</c:v>
                </c:pt>
                <c:pt idx="12905">
                  <c:v>#N/A</c:v>
                </c:pt>
                <c:pt idx="12906">
                  <c:v>#N/A</c:v>
                </c:pt>
                <c:pt idx="12907">
                  <c:v>#N/A</c:v>
                </c:pt>
                <c:pt idx="12908">
                  <c:v>#N/A</c:v>
                </c:pt>
                <c:pt idx="12909">
                  <c:v>#N/A</c:v>
                </c:pt>
                <c:pt idx="12910">
                  <c:v>#N/A</c:v>
                </c:pt>
                <c:pt idx="12911">
                  <c:v>#N/A</c:v>
                </c:pt>
                <c:pt idx="12912">
                  <c:v>#N/A</c:v>
                </c:pt>
                <c:pt idx="12913">
                  <c:v>#N/A</c:v>
                </c:pt>
                <c:pt idx="12914">
                  <c:v>8.8027397260273972</c:v>
                </c:pt>
                <c:pt idx="12915">
                  <c:v>#N/A</c:v>
                </c:pt>
                <c:pt idx="12916">
                  <c:v>#N/A</c:v>
                </c:pt>
                <c:pt idx="12917">
                  <c:v>#N/A</c:v>
                </c:pt>
                <c:pt idx="12918">
                  <c:v>#N/A</c:v>
                </c:pt>
                <c:pt idx="12919">
                  <c:v>#N/A</c:v>
                </c:pt>
                <c:pt idx="12920">
                  <c:v>#N/A</c:v>
                </c:pt>
                <c:pt idx="12921">
                  <c:v>#N/A</c:v>
                </c:pt>
                <c:pt idx="12922">
                  <c:v>#N/A</c:v>
                </c:pt>
                <c:pt idx="12923">
                  <c:v>#N/A</c:v>
                </c:pt>
                <c:pt idx="12924">
                  <c:v>#N/A</c:v>
                </c:pt>
                <c:pt idx="12925">
                  <c:v>#N/A</c:v>
                </c:pt>
                <c:pt idx="12926">
                  <c:v>#N/A</c:v>
                </c:pt>
                <c:pt idx="12927">
                  <c:v>#N/A</c:v>
                </c:pt>
                <c:pt idx="12928">
                  <c:v>#N/A</c:v>
                </c:pt>
                <c:pt idx="12929">
                  <c:v>#N/A</c:v>
                </c:pt>
                <c:pt idx="12930">
                  <c:v>#N/A</c:v>
                </c:pt>
                <c:pt idx="12931">
                  <c:v>#N/A</c:v>
                </c:pt>
                <c:pt idx="12932">
                  <c:v>#N/A</c:v>
                </c:pt>
                <c:pt idx="12933">
                  <c:v>#N/A</c:v>
                </c:pt>
                <c:pt idx="12934">
                  <c:v>#N/A</c:v>
                </c:pt>
                <c:pt idx="12935">
                  <c:v>#N/A</c:v>
                </c:pt>
                <c:pt idx="12936">
                  <c:v>#N/A</c:v>
                </c:pt>
                <c:pt idx="12937">
                  <c:v>#N/A</c:v>
                </c:pt>
                <c:pt idx="12938">
                  <c:v>#N/A</c:v>
                </c:pt>
                <c:pt idx="12939">
                  <c:v>#N/A</c:v>
                </c:pt>
                <c:pt idx="12940">
                  <c:v>#N/A</c:v>
                </c:pt>
                <c:pt idx="12941">
                  <c:v>#N/A</c:v>
                </c:pt>
                <c:pt idx="12942">
                  <c:v>#N/A</c:v>
                </c:pt>
                <c:pt idx="12943">
                  <c:v>9.0931506849315067</c:v>
                </c:pt>
                <c:pt idx="12944">
                  <c:v>#N/A</c:v>
                </c:pt>
                <c:pt idx="12945">
                  <c:v>#N/A</c:v>
                </c:pt>
                <c:pt idx="12946">
                  <c:v>#N/A</c:v>
                </c:pt>
                <c:pt idx="12947">
                  <c:v>#N/A</c:v>
                </c:pt>
                <c:pt idx="12948">
                  <c:v>9.2684931506849306</c:v>
                </c:pt>
                <c:pt idx="12949">
                  <c:v>#N/A</c:v>
                </c:pt>
                <c:pt idx="12950">
                  <c:v>9.3835616438356162</c:v>
                </c:pt>
                <c:pt idx="12951">
                  <c:v>#N/A</c:v>
                </c:pt>
                <c:pt idx="12952">
                  <c:v>9.4027397260273968</c:v>
                </c:pt>
                <c:pt idx="12953">
                  <c:v>#N/A</c:v>
                </c:pt>
                <c:pt idx="12954">
                  <c:v>#N/A</c:v>
                </c:pt>
                <c:pt idx="12955">
                  <c:v>9.4328767123287669</c:v>
                </c:pt>
                <c:pt idx="12956">
                  <c:v>9.4328767123287669</c:v>
                </c:pt>
                <c:pt idx="12957">
                  <c:v>#N/A</c:v>
                </c:pt>
                <c:pt idx="12958">
                  <c:v>#N/A</c:v>
                </c:pt>
                <c:pt idx="12959">
                  <c:v>9.4328767123287669</c:v>
                </c:pt>
                <c:pt idx="12960">
                  <c:v>#N/A</c:v>
                </c:pt>
                <c:pt idx="12961">
                  <c:v>9.4328767123287669</c:v>
                </c:pt>
                <c:pt idx="12962">
                  <c:v>#N/A</c:v>
                </c:pt>
                <c:pt idx="12963">
                  <c:v>#N/A</c:v>
                </c:pt>
                <c:pt idx="12964">
                  <c:v>9.4328767123287669</c:v>
                </c:pt>
                <c:pt idx="12965">
                  <c:v>#N/A</c:v>
                </c:pt>
                <c:pt idx="12966">
                  <c:v>9.4328767123287669</c:v>
                </c:pt>
                <c:pt idx="12967">
                  <c:v>9.4328767123287669</c:v>
                </c:pt>
                <c:pt idx="12968">
                  <c:v>9.4328767123287669</c:v>
                </c:pt>
                <c:pt idx="12969">
                  <c:v>#N/A</c:v>
                </c:pt>
                <c:pt idx="12970">
                  <c:v>9.4328767123287669</c:v>
                </c:pt>
                <c:pt idx="12971">
                  <c:v>#N/A</c:v>
                </c:pt>
                <c:pt idx="12972">
                  <c:v>#N/A</c:v>
                </c:pt>
                <c:pt idx="12973">
                  <c:v>#N/A</c:v>
                </c:pt>
                <c:pt idx="12974">
                  <c:v>9.6520547945205486</c:v>
                </c:pt>
                <c:pt idx="12975">
                  <c:v>#N/A</c:v>
                </c:pt>
                <c:pt idx="12976">
                  <c:v>#N/A</c:v>
                </c:pt>
                <c:pt idx="12977">
                  <c:v>#N/A</c:v>
                </c:pt>
                <c:pt idx="12978">
                  <c:v>#N/A</c:v>
                </c:pt>
                <c:pt idx="12979">
                  <c:v>#N/A</c:v>
                </c:pt>
                <c:pt idx="12980">
                  <c:v>10.027397260273972</c:v>
                </c:pt>
                <c:pt idx="12981">
                  <c:v>#N/A</c:v>
                </c:pt>
                <c:pt idx="12982">
                  <c:v>#N/A</c:v>
                </c:pt>
                <c:pt idx="12983">
                  <c:v>#N/A</c:v>
                </c:pt>
                <c:pt idx="12984">
                  <c:v>#N/A</c:v>
                </c:pt>
                <c:pt idx="12985">
                  <c:v>#N/A</c:v>
                </c:pt>
                <c:pt idx="12986">
                  <c:v>10.432876712328767</c:v>
                </c:pt>
                <c:pt idx="12987">
                  <c:v>10.432876712328767</c:v>
                </c:pt>
                <c:pt idx="12988">
                  <c:v>10.432876712328767</c:v>
                </c:pt>
                <c:pt idx="12989">
                  <c:v>10.432876712328767</c:v>
                </c:pt>
                <c:pt idx="12990">
                  <c:v>10.432876712328767</c:v>
                </c:pt>
                <c:pt idx="12991">
                  <c:v>#N/A</c:v>
                </c:pt>
                <c:pt idx="12992">
                  <c:v>10.432876712328767</c:v>
                </c:pt>
                <c:pt idx="12993">
                  <c:v>#N/A</c:v>
                </c:pt>
                <c:pt idx="12994">
                  <c:v>10.835616438356164</c:v>
                </c:pt>
                <c:pt idx="12995">
                  <c:v>#N/A</c:v>
                </c:pt>
                <c:pt idx="12996">
                  <c:v>#N/A</c:v>
                </c:pt>
                <c:pt idx="12997">
                  <c:v>#N/A</c:v>
                </c:pt>
                <c:pt idx="12998">
                  <c:v>#N/A</c:v>
                </c:pt>
                <c:pt idx="12999">
                  <c:v>#N/A</c:v>
                </c:pt>
                <c:pt idx="13000">
                  <c:v>#N/A</c:v>
                </c:pt>
                <c:pt idx="13001">
                  <c:v>#N/A</c:v>
                </c:pt>
                <c:pt idx="13002">
                  <c:v>#N/A</c:v>
                </c:pt>
                <c:pt idx="13003">
                  <c:v>#N/A</c:v>
                </c:pt>
                <c:pt idx="13004">
                  <c:v>#N/A</c:v>
                </c:pt>
                <c:pt idx="13005">
                  <c:v>11.432876712328767</c:v>
                </c:pt>
                <c:pt idx="13006">
                  <c:v>#N/A</c:v>
                </c:pt>
                <c:pt idx="13007">
                  <c:v>#N/A</c:v>
                </c:pt>
                <c:pt idx="13008">
                  <c:v>#N/A</c:v>
                </c:pt>
                <c:pt idx="13009">
                  <c:v>#N/A</c:v>
                </c:pt>
                <c:pt idx="13010">
                  <c:v>#N/A</c:v>
                </c:pt>
                <c:pt idx="13011">
                  <c:v>#N/A</c:v>
                </c:pt>
                <c:pt idx="13012">
                  <c:v>11.852054794520548</c:v>
                </c:pt>
                <c:pt idx="13013">
                  <c:v>#N/A</c:v>
                </c:pt>
                <c:pt idx="13014">
                  <c:v>#N/A</c:v>
                </c:pt>
                <c:pt idx="13015">
                  <c:v>11.96986301369863</c:v>
                </c:pt>
                <c:pt idx="13016">
                  <c:v>#N/A</c:v>
                </c:pt>
                <c:pt idx="13017">
                  <c:v>12.079452054794521</c:v>
                </c:pt>
                <c:pt idx="13018">
                  <c:v>#N/A</c:v>
                </c:pt>
                <c:pt idx="13019">
                  <c:v>#N/A</c:v>
                </c:pt>
                <c:pt idx="13020">
                  <c:v>#N/A</c:v>
                </c:pt>
                <c:pt idx="13021">
                  <c:v>#N/A</c:v>
                </c:pt>
                <c:pt idx="13022">
                  <c:v>#N/A</c:v>
                </c:pt>
                <c:pt idx="13023">
                  <c:v>#N/A</c:v>
                </c:pt>
                <c:pt idx="13024">
                  <c:v>#N/A</c:v>
                </c:pt>
                <c:pt idx="13025">
                  <c:v>#N/A</c:v>
                </c:pt>
                <c:pt idx="13026">
                  <c:v>13.517808219178082</c:v>
                </c:pt>
                <c:pt idx="13027">
                  <c:v>13.517808219178082</c:v>
                </c:pt>
                <c:pt idx="13028">
                  <c:v>#N/A</c:v>
                </c:pt>
                <c:pt idx="13029">
                  <c:v>#N/A</c:v>
                </c:pt>
                <c:pt idx="13030">
                  <c:v>13.517808219178082</c:v>
                </c:pt>
                <c:pt idx="13031">
                  <c:v>#N/A</c:v>
                </c:pt>
                <c:pt idx="13032">
                  <c:v>#N/A</c:v>
                </c:pt>
                <c:pt idx="13033">
                  <c:v>13.980821917808219</c:v>
                </c:pt>
                <c:pt idx="13034">
                  <c:v>#N/A</c:v>
                </c:pt>
                <c:pt idx="13035">
                  <c:v>#N/A</c:v>
                </c:pt>
                <c:pt idx="13036">
                  <c:v>14.397260273972602</c:v>
                </c:pt>
                <c:pt idx="13037">
                  <c:v>#N/A</c:v>
                </c:pt>
                <c:pt idx="13038">
                  <c:v>14.8</c:v>
                </c:pt>
                <c:pt idx="13039">
                  <c:v>#N/A</c:v>
                </c:pt>
                <c:pt idx="13040">
                  <c:v>#N/A</c:v>
                </c:pt>
                <c:pt idx="13041">
                  <c:v>#N/A</c:v>
                </c:pt>
                <c:pt idx="13042">
                  <c:v>#N/A</c:v>
                </c:pt>
                <c:pt idx="13043">
                  <c:v>#N/A</c:v>
                </c:pt>
                <c:pt idx="13044">
                  <c:v>#N/A</c:v>
                </c:pt>
                <c:pt idx="13045">
                  <c:v>#N/A</c:v>
                </c:pt>
                <c:pt idx="13046">
                  <c:v>#N/A</c:v>
                </c:pt>
                <c:pt idx="13047">
                  <c:v>#N/A</c:v>
                </c:pt>
                <c:pt idx="13048">
                  <c:v>#N/A</c:v>
                </c:pt>
                <c:pt idx="13049">
                  <c:v>#N/A</c:v>
                </c:pt>
                <c:pt idx="13050">
                  <c:v>#N/A</c:v>
                </c:pt>
                <c:pt idx="13051">
                  <c:v>#N/A</c:v>
                </c:pt>
                <c:pt idx="13052">
                  <c:v>#N/A</c:v>
                </c:pt>
                <c:pt idx="13053">
                  <c:v>#N/A</c:v>
                </c:pt>
                <c:pt idx="13054">
                  <c:v>#N/A</c:v>
                </c:pt>
                <c:pt idx="13055">
                  <c:v>#N/A</c:v>
                </c:pt>
                <c:pt idx="13056">
                  <c:v>#N/A</c:v>
                </c:pt>
                <c:pt idx="13057">
                  <c:v>#N/A</c:v>
                </c:pt>
                <c:pt idx="13058">
                  <c:v>#N/A</c:v>
                </c:pt>
                <c:pt idx="13059">
                  <c:v>#N/A</c:v>
                </c:pt>
                <c:pt idx="13060">
                  <c:v>#N/A</c:v>
                </c:pt>
                <c:pt idx="13061">
                  <c:v>#N/A</c:v>
                </c:pt>
                <c:pt idx="13062">
                  <c:v>#N/A</c:v>
                </c:pt>
                <c:pt idx="13063">
                  <c:v>#N/A</c:v>
                </c:pt>
                <c:pt idx="13064">
                  <c:v>#N/A</c:v>
                </c:pt>
                <c:pt idx="13065">
                  <c:v>#N/A</c:v>
                </c:pt>
                <c:pt idx="13066">
                  <c:v>#N/A</c:v>
                </c:pt>
                <c:pt idx="13067">
                  <c:v>#N/A</c:v>
                </c:pt>
                <c:pt idx="13068">
                  <c:v>#N/A</c:v>
                </c:pt>
                <c:pt idx="13069">
                  <c:v>#N/A</c:v>
                </c:pt>
                <c:pt idx="13070">
                  <c:v>#N/A</c:v>
                </c:pt>
                <c:pt idx="13071">
                  <c:v>#N/A</c:v>
                </c:pt>
                <c:pt idx="13072">
                  <c:v>#N/A</c:v>
                </c:pt>
                <c:pt idx="13073">
                  <c:v>#N/A</c:v>
                </c:pt>
                <c:pt idx="13074">
                  <c:v>#N/A</c:v>
                </c:pt>
                <c:pt idx="13075">
                  <c:v>#N/A</c:v>
                </c:pt>
                <c:pt idx="13076">
                  <c:v>#N/A</c:v>
                </c:pt>
                <c:pt idx="13077">
                  <c:v>#N/A</c:v>
                </c:pt>
                <c:pt idx="13078">
                  <c:v>#N/A</c:v>
                </c:pt>
                <c:pt idx="13079">
                  <c:v>#N/A</c:v>
                </c:pt>
                <c:pt idx="13080">
                  <c:v>#N/A</c:v>
                </c:pt>
              </c:numCache>
            </c:numRef>
          </c:xVal>
          <c:yVal>
            <c:numRef>
              <c:f>'power_generator-2024-09-23T (2)'!$U$2:$U$13082</c:f>
              <c:numCache>
                <c:formatCode>General</c:formatCode>
                <c:ptCount val="13081"/>
                <c:pt idx="0">
                  <c:v>5.0423620058489318</c:v>
                </c:pt>
                <c:pt idx="1">
                  <c:v>5.9984969734300204</c:v>
                </c:pt>
                <c:pt idx="2">
                  <c:v>6.028243266869449</c:v>
                </c:pt>
                <c:pt idx="3">
                  <c:v>6.027615680892267</c:v>
                </c:pt>
                <c:pt idx="4">
                  <c:v>6.0968802963641044</c:v>
                </c:pt>
                <c:pt idx="5">
                  <c:v>5.0833740576969442</c:v>
                </c:pt>
                <c:pt idx="6">
                  <c:v>4.8649706859237121</c:v>
                </c:pt>
                <c:pt idx="7">
                  <c:v>4.9838127763822371</c:v>
                </c:pt>
                <c:pt idx="8">
                  <c:v>3.9330733837753398</c:v>
                </c:pt>
                <c:pt idx="9">
                  <c:v>5.0274272656549748</c:v>
                </c:pt>
                <c:pt idx="10">
                  <c:v>4.2713519971552012</c:v>
                </c:pt>
                <c:pt idx="11">
                  <c:v>4.0230424193938301</c:v>
                </c:pt>
                <c:pt idx="12">
                  <c:v>5.1093266698785786</c:v>
                </c:pt>
                <c:pt idx="13">
                  <c:v>3.7789549155485394</c:v>
                </c:pt>
                <c:pt idx="14">
                  <c:v>5.1135823180669</c:v>
                </c:pt>
                <c:pt idx="15">
                  <c:v>5.1470967119613782</c:v>
                </c:pt>
                <c:pt idx="16">
                  <c:v>5.0933798732621636</c:v>
                </c:pt>
                <c:pt idx="17">
                  <c:v>6.1148849603222679</c:v>
                </c:pt>
                <c:pt idx="18">
                  <c:v>5.1840351127786324</c:v>
                </c:pt>
                <c:pt idx="19">
                  <c:v>4.9326101929562061</c:v>
                </c:pt>
                <c:pt idx="20">
                  <c:v>4.891495675253843</c:v>
                </c:pt>
                <c:pt idx="21">
                  <c:v>5.0342251415695536</c:v>
                </c:pt>
                <c:pt idx="22">
                  <c:v>5.0857390895175936</c:v>
                </c:pt>
                <c:pt idx="23">
                  <c:v>6.0305374433227987</c:v>
                </c:pt>
                <c:pt idx="24">
                  <c:v>5.867703502113379</c:v>
                </c:pt>
                <c:pt idx="25">
                  <c:v>5.2281367546392428</c:v>
                </c:pt>
                <c:pt idx="26">
                  <c:v>6.0403565569171107</c:v>
                </c:pt>
                <c:pt idx="27">
                  <c:v>4.9230729141968723</c:v>
                </c:pt>
                <c:pt idx="28">
                  <c:v>5.0047761039437617</c:v>
                </c:pt>
                <c:pt idx="29">
                  <c:v>4.1601352771088891</c:v>
                </c:pt>
                <c:pt idx="30">
                  <c:v>4.8531316785957088</c:v>
                </c:pt>
                <c:pt idx="31">
                  <c:v>5.1731757707995758</c:v>
                </c:pt>
                <c:pt idx="32">
                  <c:v>3.8841641575482173</c:v>
                </c:pt>
                <c:pt idx="33">
                  <c:v>4.9633263593285042</c:v>
                </c:pt>
                <c:pt idx="34">
                  <c:v>5.7934833686737042</c:v>
                </c:pt>
                <c:pt idx="35">
                  <c:v>5.776250892404355</c:v>
                </c:pt>
                <c:pt idx="36">
                  <c:v>4.9795114960604261</c:v>
                </c:pt>
                <c:pt idx="37">
                  <c:v>7.0567515492551678</c:v>
                </c:pt>
                <c:pt idx="38">
                  <c:v>5.9107818677330508</c:v>
                </c:pt>
                <c:pt idx="39">
                  <c:v>3.9863828012207243</c:v>
                </c:pt>
                <c:pt idx="40">
                  <c:v>5.0730218962980711</c:v>
                </c:pt>
                <c:pt idx="41">
                  <c:v>4.912029944991863</c:v>
                </c:pt>
                <c:pt idx="42">
                  <c:v>5.0048101777829253</c:v>
                </c:pt>
                <c:pt idx="43">
                  <c:v>5.8595127855509057</c:v>
                </c:pt>
                <c:pt idx="44">
                  <c:v>4.1076766125286248</c:v>
                </c:pt>
                <c:pt idx="45">
                  <c:v>6.9813927063759165</c:v>
                </c:pt>
                <c:pt idx="46">
                  <c:v>6.1455680024709345</c:v>
                </c:pt>
                <c:pt idx="47">
                  <c:v>5.002322790238539</c:v>
                </c:pt>
                <c:pt idx="48">
                  <c:v>3.9556188004152095</c:v>
                </c:pt>
                <c:pt idx="49">
                  <c:v>5.9668690691198574</c:v>
                </c:pt>
                <c:pt idx="50">
                  <c:v>6.1061528519625874</c:v>
                </c:pt>
                <c:pt idx="51">
                  <c:v>4.9568554683781558</c:v>
                </c:pt>
                <c:pt idx="52">
                  <c:v>5.9705560961442199</c:v>
                </c:pt>
                <c:pt idx="53">
                  <c:v>3.8649575757968564</c:v>
                </c:pt>
                <c:pt idx="54">
                  <c:v>5.0505858619730901</c:v>
                </c:pt>
                <c:pt idx="55">
                  <c:v>5.094145874629155</c:v>
                </c:pt>
                <c:pt idx="56">
                  <c:v>5.8074269643065435</c:v>
                </c:pt>
                <c:pt idx="57">
                  <c:v>5.953659090889821</c:v>
                </c:pt>
                <c:pt idx="58">
                  <c:v>4.8031963268992515</c:v>
                </c:pt>
                <c:pt idx="59">
                  <c:v>4.0680530396243464</c:v>
                </c:pt>
                <c:pt idx="60">
                  <c:v>5.1313087767133325</c:v>
                </c:pt>
                <c:pt idx="61">
                  <c:v>3.8579803787173397</c:v>
                </c:pt>
                <c:pt idx="62">
                  <c:v>5.8664847588884204</c:v>
                </c:pt>
                <c:pt idx="63">
                  <c:v>9.0794018642177576</c:v>
                </c:pt>
                <c:pt idx="64">
                  <c:v>5.0592714449641276</c:v>
                </c:pt>
                <c:pt idx="65">
                  <c:v>6.1206365581012303</c:v>
                </c:pt>
                <c:pt idx="66">
                  <c:v>4.8865991374950877</c:v>
                </c:pt>
                <c:pt idx="67">
                  <c:v>4.9021862801652549</c:v>
                </c:pt>
                <c:pt idx="68">
                  <c:v>5.1710506636393925</c:v>
                </c:pt>
                <c:pt idx="69">
                  <c:v>6.1361049125818008</c:v>
                </c:pt>
                <c:pt idx="70">
                  <c:v>5.9186018762335406</c:v>
                </c:pt>
                <c:pt idx="71">
                  <c:v>6.0127675753564214</c:v>
                </c:pt>
                <c:pt idx="72">
                  <c:v>5.9751240711200326</c:v>
                </c:pt>
                <c:pt idx="73">
                  <c:v>5.9048754423423997</c:v>
                </c:pt>
                <c:pt idx="74">
                  <c:v>6.0030827812151504</c:v>
                </c:pt>
                <c:pt idx="75">
                  <c:v>5.9356058018936881</c:v>
                </c:pt>
                <c:pt idx="76">
                  <c:v>4.9025467418290649</c:v>
                </c:pt>
                <c:pt idx="77">
                  <c:v>5.8577519470087003</c:v>
                </c:pt>
                <c:pt idx="78">
                  <c:v>4.917646632103513</c:v>
                </c:pt>
                <c:pt idx="79">
                  <c:v>4.9490580642890647</c:v>
                </c:pt>
                <c:pt idx="80">
                  <c:v>5.0974975255379489</c:v>
                </c:pt>
                <c:pt idx="81">
                  <c:v>5.9318785407512555</c:v>
                </c:pt>
                <c:pt idx="82">
                  <c:v>4.9220516310285447</c:v>
                </c:pt>
                <c:pt idx="83">
                  <c:v>5.078016067201184</c:v>
                </c:pt>
                <c:pt idx="84">
                  <c:v>5.1051260061440606</c:v>
                </c:pt>
                <c:pt idx="85">
                  <c:v>4.9754304970155259</c:v>
                </c:pt>
                <c:pt idx="86">
                  <c:v>5.9431455999129463</c:v>
                </c:pt>
                <c:pt idx="87">
                  <c:v>6.0190873451923839</c:v>
                </c:pt>
                <c:pt idx="88">
                  <c:v>5.1276009043277524</c:v>
                </c:pt>
                <c:pt idx="89">
                  <c:v>6.0970598419303919</c:v>
                </c:pt>
                <c:pt idx="90">
                  <c:v>5.0061002985165173</c:v>
                </c:pt>
                <c:pt idx="91">
                  <c:v>6.0247791384179923</c:v>
                </c:pt>
                <c:pt idx="92">
                  <c:v>5.9782425106237085</c:v>
                </c:pt>
                <c:pt idx="93">
                  <c:v>4.9007286570651205</c:v>
                </c:pt>
                <c:pt idx="94">
                  <c:v>5.962445986496177</c:v>
                </c:pt>
                <c:pt idx="95">
                  <c:v>6.1226960261946486</c:v>
                </c:pt>
                <c:pt idx="96">
                  <c:v>5.0999749424204692</c:v>
                </c:pt>
                <c:pt idx="97">
                  <c:v>5.0223016162710925</c:v>
                </c:pt>
                <c:pt idx="98">
                  <c:v>5.925556808952706</c:v>
                </c:pt>
                <c:pt idx="99">
                  <c:v>5.9122627195450885</c:v>
                </c:pt>
                <c:pt idx="100">
                  <c:v>5.9604077256928312</c:v>
                </c:pt>
                <c:pt idx="101">
                  <c:v>6.0114538526580734</c:v>
                </c:pt>
                <c:pt idx="102">
                  <c:v>6.2095468873314248</c:v>
                </c:pt>
                <c:pt idx="103">
                  <c:v>4.9598970253977299</c:v>
                </c:pt>
                <c:pt idx="104">
                  <c:v>6.1295661774850361</c:v>
                </c:pt>
                <c:pt idx="105">
                  <c:v>6.0973062095551605</c:v>
                </c:pt>
                <c:pt idx="106">
                  <c:v>4.973498553324597</c:v>
                </c:pt>
                <c:pt idx="107">
                  <c:v>4.9186300478743785</c:v>
                </c:pt>
                <c:pt idx="108">
                  <c:v>5.0099753647069001</c:v>
                </c:pt>
                <c:pt idx="109">
                  <c:v>4.9343798874746421</c:v>
                </c:pt>
                <c:pt idx="110">
                  <c:v>4.8266720303695108</c:v>
                </c:pt>
                <c:pt idx="111">
                  <c:v>4.9887374921046366</c:v>
                </c:pt>
                <c:pt idx="112">
                  <c:v>5.9214695848801044</c:v>
                </c:pt>
                <c:pt idx="113">
                  <c:v>5.2496843542288083</c:v>
                </c:pt>
                <c:pt idx="114">
                  <c:v>6.9017115400496101</c:v>
                </c:pt>
                <c:pt idx="115">
                  <c:v>4.8642807759450353</c:v>
                </c:pt>
                <c:pt idx="116">
                  <c:v>4.0107633082364842</c:v>
                </c:pt>
                <c:pt idx="117">
                  <c:v>5.716100812085207</c:v>
                </c:pt>
                <c:pt idx="118">
                  <c:v>3.9643128178614315</c:v>
                </c:pt>
                <c:pt idx="119">
                  <c:v>4.9274400474862983</c:v>
                </c:pt>
                <c:pt idx="120">
                  <c:v>5.9118105434917032</c:v>
                </c:pt>
                <c:pt idx="121">
                  <c:v>4.9687323800346315</c:v>
                </c:pt>
                <c:pt idx="122">
                  <c:v>5.0709090838859856</c:v>
                </c:pt>
                <c:pt idx="123">
                  <c:v>6.1895441805595812</c:v>
                </c:pt>
                <c:pt idx="124">
                  <c:v>5.0240952862107973</c:v>
                </c:pt>
                <c:pt idx="125">
                  <c:v>5.0158145501548654</c:v>
                </c:pt>
                <c:pt idx="126">
                  <c:v>4.9110702561664219</c:v>
                </c:pt>
                <c:pt idx="127">
                  <c:v>4.9505232340569609</c:v>
                </c:pt>
                <c:pt idx="128">
                  <c:v>4.9914528394628972</c:v>
                </c:pt>
                <c:pt idx="129">
                  <c:v>5.0485988376627606</c:v>
                </c:pt>
                <c:pt idx="130">
                  <c:v>5.9040392126915098</c:v>
                </c:pt>
                <c:pt idx="131">
                  <c:v>5.1263152877492377</c:v>
                </c:pt>
                <c:pt idx="132">
                  <c:v>3.8780653190770926</c:v>
                </c:pt>
                <c:pt idx="133">
                  <c:v>7.0810924603937728</c:v>
                </c:pt>
                <c:pt idx="134">
                  <c:v>4.1695790557500478</c:v>
                </c:pt>
                <c:pt idx="135">
                  <c:v>4.8333544444253231</c:v>
                </c:pt>
                <c:pt idx="136">
                  <c:v>5.047786140001068</c:v>
                </c:pt>
                <c:pt idx="137">
                  <c:v>4.9850374742404373</c:v>
                </c:pt>
                <c:pt idx="138">
                  <c:v>5.9966655440644159</c:v>
                </c:pt>
                <c:pt idx="139">
                  <c:v>5.9464070761871151</c:v>
                </c:pt>
                <c:pt idx="140">
                  <c:v>5.0261577459183897</c:v>
                </c:pt>
                <c:pt idx="141">
                  <c:v>6.0492630038458195</c:v>
                </c:pt>
                <c:pt idx="142">
                  <c:v>5.9904079223632039</c:v>
                </c:pt>
                <c:pt idx="143">
                  <c:v>5.1123386361373644</c:v>
                </c:pt>
                <c:pt idx="144">
                  <c:v>5.9627487621356012</c:v>
                </c:pt>
                <c:pt idx="145">
                  <c:v>5.0191285834595094</c:v>
                </c:pt>
                <c:pt idx="146">
                  <c:v>4.8464054626331707</c:v>
                </c:pt>
                <c:pt idx="147">
                  <c:v>6.1887514766896352</c:v>
                </c:pt>
                <c:pt idx="148">
                  <c:v>5.0198268604449474</c:v>
                </c:pt>
                <c:pt idx="149">
                  <c:v>4.9449494860754672</c:v>
                </c:pt>
                <c:pt idx="150">
                  <c:v>6.0367281491066711</c:v>
                </c:pt>
                <c:pt idx="151">
                  <c:v>5.0934908623560897</c:v>
                </c:pt>
                <c:pt idx="152">
                  <c:v>3.9807678242223608</c:v>
                </c:pt>
                <c:pt idx="153">
                  <c:v>6.0355725917546055</c:v>
                </c:pt>
                <c:pt idx="154">
                  <c:v>5.9603480468779209</c:v>
                </c:pt>
                <c:pt idx="155">
                  <c:v>5.9638408615907457</c:v>
                </c:pt>
                <c:pt idx="156">
                  <c:v>3.9539837663113113</c:v>
                </c:pt>
                <c:pt idx="157">
                  <c:v>4.1731656536706145</c:v>
                </c:pt>
                <c:pt idx="158">
                  <c:v>4.0214970395963894</c:v>
                </c:pt>
                <c:pt idx="159">
                  <c:v>6.8408029881742465</c:v>
                </c:pt>
                <c:pt idx="160">
                  <c:v>4.910736369240956</c:v>
                </c:pt>
                <c:pt idx="161">
                  <c:v>3.803027586613863</c:v>
                </c:pt>
                <c:pt idx="162">
                  <c:v>4.8912904841671416</c:v>
                </c:pt>
                <c:pt idx="163">
                  <c:v>5.0828837914567213</c:v>
                </c:pt>
                <c:pt idx="164">
                  <c:v>5.9008980929160826</c:v>
                </c:pt>
                <c:pt idx="165">
                  <c:v>5.0204716450650793</c:v>
                </c:pt>
                <c:pt idx="166">
                  <c:v>5.8305132069850591</c:v>
                </c:pt>
                <c:pt idx="167">
                  <c:v>7.0406017735940996</c:v>
                </c:pt>
                <c:pt idx="168">
                  <c:v>5.9859054573296024</c:v>
                </c:pt>
                <c:pt idx="169">
                  <c:v>4.9997223872251988</c:v>
                </c:pt>
                <c:pt idx="170">
                  <c:v>6.0103278301842487</c:v>
                </c:pt>
                <c:pt idx="171">
                  <c:v>7.1055740348015242</c:v>
                </c:pt>
                <c:pt idx="172">
                  <c:v>5.0173008044384222</c:v>
                </c:pt>
                <c:pt idx="173">
                  <c:v>6.1730306603458152</c:v>
                </c:pt>
                <c:pt idx="174">
                  <c:v>6.1826816457524929</c:v>
                </c:pt>
                <c:pt idx="175">
                  <c:v>4.9729191662701808</c:v>
                </c:pt>
                <c:pt idx="176">
                  <c:v>5.0330274337650973</c:v>
                </c:pt>
                <c:pt idx="177">
                  <c:v>7.1317304266108064</c:v>
                </c:pt>
                <c:pt idx="178">
                  <c:v>5.0889509198750593</c:v>
                </c:pt>
                <c:pt idx="179">
                  <c:v>6.8172523782089272</c:v>
                </c:pt>
                <c:pt idx="180">
                  <c:v>6.1648282916004895</c:v>
                </c:pt>
                <c:pt idx="181">
                  <c:v>6.9722014193880693</c:v>
                </c:pt>
                <c:pt idx="182">
                  <c:v>4.9969252129256176</c:v>
                </c:pt>
                <c:pt idx="183">
                  <c:v>4.8497439597186318</c:v>
                </c:pt>
                <c:pt idx="184">
                  <c:v>6.1491410038074044</c:v>
                </c:pt>
                <c:pt idx="185">
                  <c:v>6.8212694297105489</c:v>
                </c:pt>
                <c:pt idx="186">
                  <c:v>4.9067617809449633</c:v>
                </c:pt>
                <c:pt idx="187">
                  <c:v>5.9926035340808115</c:v>
                </c:pt>
                <c:pt idx="188">
                  <c:v>5.1682307987036351</c:v>
                </c:pt>
                <c:pt idx="189">
                  <c:v>4.9957825970204937</c:v>
                </c:pt>
                <c:pt idx="190">
                  <c:v>5.0982241597762847</c:v>
                </c:pt>
                <c:pt idx="191">
                  <c:v>6.0282998980335787</c:v>
                </c:pt>
                <c:pt idx="192">
                  <c:v>5.0541895358524371</c:v>
                </c:pt>
                <c:pt idx="193">
                  <c:v>4.9970709057776794</c:v>
                </c:pt>
                <c:pt idx="194">
                  <c:v>3.8003804184922676</c:v>
                </c:pt>
                <c:pt idx="195">
                  <c:v>7.0466582274554277</c:v>
                </c:pt>
                <c:pt idx="196">
                  <c:v>6.0212963952618574</c:v>
                </c:pt>
                <c:pt idx="197">
                  <c:v>4.793230031026722</c:v>
                </c:pt>
                <c:pt idx="198">
                  <c:v>6.080865798418067</c:v>
                </c:pt>
                <c:pt idx="199">
                  <c:v>4.8861636674611866</c:v>
                </c:pt>
                <c:pt idx="200">
                  <c:v>6.1234908645295203</c:v>
                </c:pt>
                <c:pt idx="201">
                  <c:v>4.999357389225942</c:v>
                </c:pt>
                <c:pt idx="202">
                  <c:v>5.980716292650639</c:v>
                </c:pt>
                <c:pt idx="203">
                  <c:v>6.0332082211200744</c:v>
                </c:pt>
                <c:pt idx="204">
                  <c:v>6.0915285932885723</c:v>
                </c:pt>
                <c:pt idx="205">
                  <c:v>6.0278542981032821</c:v>
                </c:pt>
                <c:pt idx="206">
                  <c:v>2.9477775731227913</c:v>
                </c:pt>
                <c:pt idx="207">
                  <c:v>6.0840400342303207</c:v>
                </c:pt>
                <c:pt idx="208">
                  <c:v>6.1682895985196717</c:v>
                </c:pt>
                <c:pt idx="209">
                  <c:v>5.0584110563120026</c:v>
                </c:pt>
                <c:pt idx="210">
                  <c:v>5.9020192961825133</c:v>
                </c:pt>
                <c:pt idx="211">
                  <c:v>5.0820017355251439</c:v>
                </c:pt>
                <c:pt idx="212">
                  <c:v>6.1041879349566557</c:v>
                </c:pt>
                <c:pt idx="213">
                  <c:v>4.842808517381517</c:v>
                </c:pt>
                <c:pt idx="214">
                  <c:v>5.0700700097661784</c:v>
                </c:pt>
                <c:pt idx="215">
                  <c:v>5.9056577603186318</c:v>
                </c:pt>
                <c:pt idx="216">
                  <c:v>5.9642940476681057</c:v>
                </c:pt>
                <c:pt idx="217">
                  <c:v>5.8165689246558028</c:v>
                </c:pt>
                <c:pt idx="218">
                  <c:v>6.0108322739224</c:v>
                </c:pt>
                <c:pt idx="219">
                  <c:v>4.8831536474413122</c:v>
                </c:pt>
                <c:pt idx="220">
                  <c:v>4.9390785790196503</c:v>
                </c:pt>
                <c:pt idx="221">
                  <c:v>6.8765981783800934</c:v>
                </c:pt>
                <c:pt idx="222">
                  <c:v>5.8793298720437672</c:v>
                </c:pt>
                <c:pt idx="223">
                  <c:v>5.962042194731616</c:v>
                </c:pt>
                <c:pt idx="224">
                  <c:v>7.1114495938419244</c:v>
                </c:pt>
                <c:pt idx="225">
                  <c:v>4.9892365360762199</c:v>
                </c:pt>
                <c:pt idx="226">
                  <c:v>4.9188345427678497</c:v>
                </c:pt>
                <c:pt idx="227">
                  <c:v>4.843636773135592</c:v>
                </c:pt>
                <c:pt idx="228">
                  <c:v>4.8146486174694072</c:v>
                </c:pt>
                <c:pt idx="229">
                  <c:v>6.9030673957482822</c:v>
                </c:pt>
                <c:pt idx="230">
                  <c:v>4.880718752787109</c:v>
                </c:pt>
                <c:pt idx="231">
                  <c:v>4.9002960353052485</c:v>
                </c:pt>
                <c:pt idx="232">
                  <c:v>4.7193027084078878</c:v>
                </c:pt>
                <c:pt idx="233">
                  <c:v>2.8697434451342234</c:v>
                </c:pt>
                <c:pt idx="234">
                  <c:v>5.0756071344489966</c:v>
                </c:pt>
                <c:pt idx="235">
                  <c:v>5.8944544926968101</c:v>
                </c:pt>
                <c:pt idx="236">
                  <c:v>4.9127453877650717</c:v>
                </c:pt>
                <c:pt idx="237">
                  <c:v>4.8017985781301844</c:v>
                </c:pt>
                <c:pt idx="238">
                  <c:v>5.9327315458412953</c:v>
                </c:pt>
                <c:pt idx="239">
                  <c:v>5.9041896594131291</c:v>
                </c:pt>
                <c:pt idx="240">
                  <c:v>4.8016771338059607</c:v>
                </c:pt>
                <c:pt idx="241">
                  <c:v>5.9641380952762617</c:v>
                </c:pt>
                <c:pt idx="242">
                  <c:v>5.952300035164785</c:v>
                </c:pt>
                <c:pt idx="243">
                  <c:v>6.0619676921819243</c:v>
                </c:pt>
                <c:pt idx="244">
                  <c:v>6.0111006631843953</c:v>
                </c:pt>
                <c:pt idx="245">
                  <c:v>4.851244598195402</c:v>
                </c:pt>
                <c:pt idx="246">
                  <c:v>4.9906080186302466</c:v>
                </c:pt>
                <c:pt idx="247">
                  <c:v>4.9064243993438685</c:v>
                </c:pt>
                <c:pt idx="248">
                  <c:v>5.8970273293123032</c:v>
                </c:pt>
                <c:pt idx="249">
                  <c:v>5.0452739296327449</c:v>
                </c:pt>
                <c:pt idx="250">
                  <c:v>5.1689640835037789</c:v>
                </c:pt>
                <c:pt idx="251">
                  <c:v>5.7823981166963154</c:v>
                </c:pt>
                <c:pt idx="252">
                  <c:v>5.9882387546657707</c:v>
                </c:pt>
                <c:pt idx="253">
                  <c:v>4.9312738496139774</c:v>
                </c:pt>
                <c:pt idx="254">
                  <c:v>4.9625860723113746</c:v>
                </c:pt>
                <c:pt idx="255">
                  <c:v>5.0109173225453576</c:v>
                </c:pt>
                <c:pt idx="256">
                  <c:v>5.2733558191826919</c:v>
                </c:pt>
                <c:pt idx="257">
                  <c:v>4.9274546571206894</c:v>
                </c:pt>
                <c:pt idx="258">
                  <c:v>5.9450012077590904</c:v>
                </c:pt>
                <c:pt idx="259">
                  <c:v>4.7775452926105935</c:v>
                </c:pt>
                <c:pt idx="260">
                  <c:v>5.073238990658262</c:v>
                </c:pt>
                <c:pt idx="261">
                  <c:v>5.0522821710366914</c:v>
                </c:pt>
                <c:pt idx="262">
                  <c:v>5.2364283529770788</c:v>
                </c:pt>
                <c:pt idx="263">
                  <c:v>5.0524473201889153</c:v>
                </c:pt>
                <c:pt idx="264">
                  <c:v>5.9465842556328274</c:v>
                </c:pt>
                <c:pt idx="265">
                  <c:v>4.8895291818552256</c:v>
                </c:pt>
                <c:pt idx="266">
                  <c:v>5.0805123652886399</c:v>
                </c:pt>
                <c:pt idx="267">
                  <c:v>4.8794320382777912</c:v>
                </c:pt>
                <c:pt idx="268">
                  <c:v>5.01838177870472</c:v>
                </c:pt>
                <c:pt idx="269">
                  <c:v>4.9918274488573955</c:v>
                </c:pt>
                <c:pt idx="270">
                  <c:v>6.1200409172211074</c:v>
                </c:pt>
                <c:pt idx="271">
                  <c:v>5.932653920391326</c:v>
                </c:pt>
                <c:pt idx="272">
                  <c:v>5.9701727787049306</c:v>
                </c:pt>
                <c:pt idx="273">
                  <c:v>6.1478878161993809</c:v>
                </c:pt>
                <c:pt idx="274">
                  <c:v>4.8317009545328231</c:v>
                </c:pt>
                <c:pt idx="275">
                  <c:v>2.9634620591025471</c:v>
                </c:pt>
                <c:pt idx="276">
                  <c:v>3.9806464797880272</c:v>
                </c:pt>
                <c:pt idx="277">
                  <c:v>5.9867573979320845</c:v>
                </c:pt>
                <c:pt idx="278">
                  <c:v>6.0781911475850325</c:v>
                </c:pt>
                <c:pt idx="279">
                  <c:v>6.0342051834257191</c:v>
                </c:pt>
                <c:pt idx="280">
                  <c:v>5.9271561542908229</c:v>
                </c:pt>
                <c:pt idx="281">
                  <c:v>6.1122342121904909</c:v>
                </c:pt>
                <c:pt idx="282">
                  <c:v>5.815451475759053</c:v>
                </c:pt>
                <c:pt idx="283">
                  <c:v>5.8798628396886503</c:v>
                </c:pt>
                <c:pt idx="284">
                  <c:v>4.9700053532855195</c:v>
                </c:pt>
                <c:pt idx="285">
                  <c:v>5.1303753972439967</c:v>
                </c:pt>
                <c:pt idx="286">
                  <c:v>4.9920553925093136</c:v>
                </c:pt>
                <c:pt idx="287">
                  <c:v>6.9827118123280414</c:v>
                </c:pt>
                <c:pt idx="288">
                  <c:v>5.9880190527504773</c:v>
                </c:pt>
                <c:pt idx="289">
                  <c:v>3.9919881112683298</c:v>
                </c:pt>
                <c:pt idx="290">
                  <c:v>6.0840417778173324</c:v>
                </c:pt>
                <c:pt idx="291">
                  <c:v>6.0194571192955193</c:v>
                </c:pt>
                <c:pt idx="292">
                  <c:v>6.1022896422957089</c:v>
                </c:pt>
                <c:pt idx="293">
                  <c:v>5.0392997264935273</c:v>
                </c:pt>
                <c:pt idx="294">
                  <c:v>6.0363952575660953</c:v>
                </c:pt>
                <c:pt idx="295">
                  <c:v>4.9871365582278697</c:v>
                </c:pt>
                <c:pt idx="296">
                  <c:v>6.0088966354097133</c:v>
                </c:pt>
                <c:pt idx="297">
                  <c:v>5.0622778632756074</c:v>
                </c:pt>
                <c:pt idx="298">
                  <c:v>3.9427991134193787</c:v>
                </c:pt>
                <c:pt idx="299">
                  <c:v>4.8892441963980575</c:v>
                </c:pt>
                <c:pt idx="300">
                  <c:v>5.0413153770015597</c:v>
                </c:pt>
                <c:pt idx="301">
                  <c:v>5.0652707849752199</c:v>
                </c:pt>
                <c:pt idx="302">
                  <c:v>5.0239740289447949</c:v>
                </c:pt>
                <c:pt idx="303">
                  <c:v>5.968839313017182</c:v>
                </c:pt>
                <c:pt idx="304">
                  <c:v>6.033625409387751</c:v>
                </c:pt>
                <c:pt idx="305">
                  <c:v>4.9154251328101868</c:v>
                </c:pt>
                <c:pt idx="306">
                  <c:v>5.0960135237818402</c:v>
                </c:pt>
                <c:pt idx="307">
                  <c:v>4.9013306189490136</c:v>
                </c:pt>
                <c:pt idx="308">
                  <c:v>5.8767408005972879</c:v>
                </c:pt>
                <c:pt idx="309">
                  <c:v>3.8219548454663124</c:v>
                </c:pt>
                <c:pt idx="310">
                  <c:v>5.1852830532321361</c:v>
                </c:pt>
                <c:pt idx="311">
                  <c:v>5.9895204201191588</c:v>
                </c:pt>
                <c:pt idx="312">
                  <c:v>6.2069554504064888</c:v>
                </c:pt>
                <c:pt idx="313">
                  <c:v>5.161462854999523</c:v>
                </c:pt>
                <c:pt idx="314">
                  <c:v>5.1493373094064729</c:v>
                </c:pt>
                <c:pt idx="315">
                  <c:v>4.8440120114589256</c:v>
                </c:pt>
                <c:pt idx="316">
                  <c:v>3.9032997784716916</c:v>
                </c:pt>
                <c:pt idx="317">
                  <c:v>4.9576213770016144</c:v>
                </c:pt>
                <c:pt idx="318">
                  <c:v>4.8503244241720846</c:v>
                </c:pt>
                <c:pt idx="319">
                  <c:v>5.9600145107325364</c:v>
                </c:pt>
                <c:pt idx="320">
                  <c:v>5.8987295344287523</c:v>
                </c:pt>
                <c:pt idx="321">
                  <c:v>6.057050866882923</c:v>
                </c:pt>
                <c:pt idx="322">
                  <c:v>6.0487230419033526</c:v>
                </c:pt>
                <c:pt idx="323">
                  <c:v>6.1336847944682846</c:v>
                </c:pt>
                <c:pt idx="324">
                  <c:v>6.9544399674089181</c:v>
                </c:pt>
                <c:pt idx="325">
                  <c:v>4.808816710036723</c:v>
                </c:pt>
                <c:pt idx="326">
                  <c:v>4.9794913942623946</c:v>
                </c:pt>
                <c:pt idx="327">
                  <c:v>6.1644405081891041</c:v>
                </c:pt>
                <c:pt idx="328">
                  <c:v>3.9218760587372112</c:v>
                </c:pt>
                <c:pt idx="329">
                  <c:v>4.8872602261411595</c:v>
                </c:pt>
                <c:pt idx="330">
                  <c:v>4.9853337761105507</c:v>
                </c:pt>
                <c:pt idx="331">
                  <c:v>7.065037717679794</c:v>
                </c:pt>
                <c:pt idx="332">
                  <c:v>5.2737874926974966</c:v>
                </c:pt>
                <c:pt idx="333">
                  <c:v>6.0572261608642428</c:v>
                </c:pt>
                <c:pt idx="334">
                  <c:v>4.8764830148170111</c:v>
                </c:pt>
                <c:pt idx="335">
                  <c:v>5.9679167828210709</c:v>
                </c:pt>
                <c:pt idx="336">
                  <c:v>5.1131043128302176</c:v>
                </c:pt>
                <c:pt idx="337">
                  <c:v>6.1343592522027919</c:v>
                </c:pt>
                <c:pt idx="338">
                  <c:v>6.0301297223411812</c:v>
                </c:pt>
                <c:pt idx="339">
                  <c:v>4.9457066337093911</c:v>
                </c:pt>
                <c:pt idx="340">
                  <c:v>5.0605160671991198</c:v>
                </c:pt>
                <c:pt idx="341">
                  <c:v>5.9550894755082133</c:v>
                </c:pt>
                <c:pt idx="342">
                  <c:v>6.0746855578257133</c:v>
                </c:pt>
                <c:pt idx="343">
                  <c:v>6.0978608957887674</c:v>
                </c:pt>
                <c:pt idx="344">
                  <c:v>5.8756101884225522</c:v>
                </c:pt>
                <c:pt idx="345">
                  <c:v>4.9188368870531995</c:v>
                </c:pt>
                <c:pt idx="346">
                  <c:v>5.0844212910354836</c:v>
                </c:pt>
                <c:pt idx="347">
                  <c:v>4.9181079764859836</c:v>
                </c:pt>
                <c:pt idx="348">
                  <c:v>5.044646254830921</c:v>
                </c:pt>
                <c:pt idx="349">
                  <c:v>5.8356833278369562</c:v>
                </c:pt>
                <c:pt idx="350">
                  <c:v>5.0884302924375566</c:v>
                </c:pt>
                <c:pt idx="351">
                  <c:v>5.0422446718746547</c:v>
                </c:pt>
                <c:pt idx="352">
                  <c:v>4.9106652376792059</c:v>
                </c:pt>
                <c:pt idx="353">
                  <c:v>6.0630771991423824</c:v>
                </c:pt>
                <c:pt idx="354">
                  <c:v>6.1129968480713783</c:v>
                </c:pt>
                <c:pt idx="355">
                  <c:v>6.0094966980013664</c:v>
                </c:pt>
                <c:pt idx="356">
                  <c:v>4.9610035780420514</c:v>
                </c:pt>
                <c:pt idx="357">
                  <c:v>4.9157121492655946</c:v>
                </c:pt>
                <c:pt idx="358">
                  <c:v>5.8033729384724273</c:v>
                </c:pt>
                <c:pt idx="359">
                  <c:v>4.9302084871776231</c:v>
                </c:pt>
                <c:pt idx="360">
                  <c:v>6.1025270978055346</c:v>
                </c:pt>
                <c:pt idx="361">
                  <c:v>5.0724853358064692</c:v>
                </c:pt>
                <c:pt idx="362">
                  <c:v>5.9053768351829614</c:v>
                </c:pt>
                <c:pt idx="363">
                  <c:v>5.926839235613806</c:v>
                </c:pt>
                <c:pt idx="364">
                  <c:v>6.0328040695080274</c:v>
                </c:pt>
                <c:pt idx="365">
                  <c:v>5.0406055666312701</c:v>
                </c:pt>
                <c:pt idx="366">
                  <c:v>4.9025989861004344</c:v>
                </c:pt>
                <c:pt idx="367">
                  <c:v>5.0939324641028891</c:v>
                </c:pt>
                <c:pt idx="368">
                  <c:v>4.9662255802727948</c:v>
                </c:pt>
                <c:pt idx="369">
                  <c:v>4.8765438556883014</c:v>
                </c:pt>
                <c:pt idx="370">
                  <c:v>4.9015945723515708</c:v>
                </c:pt>
                <c:pt idx="371">
                  <c:v>5.9417459041058338</c:v>
                </c:pt>
                <c:pt idx="372">
                  <c:v>4.9331555610057825</c:v>
                </c:pt>
                <c:pt idx="373">
                  <c:v>4.7366043874871453</c:v>
                </c:pt>
                <c:pt idx="374">
                  <c:v>6.0078344154387979</c:v>
                </c:pt>
                <c:pt idx="375">
                  <c:v>6.0603739624748609</c:v>
                </c:pt>
                <c:pt idx="376">
                  <c:v>6.0991121085320419</c:v>
                </c:pt>
                <c:pt idx="377">
                  <c:v>5.9089415303033306</c:v>
                </c:pt>
                <c:pt idx="378">
                  <c:v>5.0495417255407711</c:v>
                </c:pt>
                <c:pt idx="379">
                  <c:v>6.93794890130473</c:v>
                </c:pt>
                <c:pt idx="380">
                  <c:v>6.0602720675591666</c:v>
                </c:pt>
                <c:pt idx="381">
                  <c:v>5.0993048867104873</c:v>
                </c:pt>
                <c:pt idx="382">
                  <c:v>4.9905666272203675</c:v>
                </c:pt>
                <c:pt idx="383">
                  <c:v>6.1090324312273285</c:v>
                </c:pt>
                <c:pt idx="384">
                  <c:v>5.9780361767082599</c:v>
                </c:pt>
                <c:pt idx="385">
                  <c:v>5.8890602924289173</c:v>
                </c:pt>
                <c:pt idx="386">
                  <c:v>5.056646385808234</c:v>
                </c:pt>
                <c:pt idx="387">
                  <c:v>5.284458925171287</c:v>
                </c:pt>
                <c:pt idx="388">
                  <c:v>5.1113687628078281</c:v>
                </c:pt>
                <c:pt idx="389">
                  <c:v>4.9183420952386276</c:v>
                </c:pt>
                <c:pt idx="390">
                  <c:v>5.030871823904314</c:v>
                </c:pt>
                <c:pt idx="391">
                  <c:v>4.8765433610651749</c:v>
                </c:pt>
                <c:pt idx="392">
                  <c:v>7.0124312933875661</c:v>
                </c:pt>
                <c:pt idx="393">
                  <c:v>7.0693160854753057</c:v>
                </c:pt>
                <c:pt idx="394">
                  <c:v>6.9371584626636755</c:v>
                </c:pt>
                <c:pt idx="395">
                  <c:v>6.0898278013704354</c:v>
                </c:pt>
                <c:pt idx="396">
                  <c:v>6.0426094078689827</c:v>
                </c:pt>
                <c:pt idx="397">
                  <c:v>5.9611745825794724</c:v>
                </c:pt>
                <c:pt idx="398">
                  <c:v>7.0412816939840264</c:v>
                </c:pt>
                <c:pt idx="399">
                  <c:v>4.9447325019026582</c:v>
                </c:pt>
                <c:pt idx="400">
                  <c:v>6.2075700765928659</c:v>
                </c:pt>
                <c:pt idx="401">
                  <c:v>5.0110885648677801</c:v>
                </c:pt>
                <c:pt idx="402">
                  <c:v>4.9623912758908704</c:v>
                </c:pt>
                <c:pt idx="403">
                  <c:v>6.9167230423717045</c:v>
                </c:pt>
                <c:pt idx="404">
                  <c:v>5.9956243446709019</c:v>
                </c:pt>
                <c:pt idx="405">
                  <c:v>3.9446384928454195</c:v>
                </c:pt>
                <c:pt idx="406">
                  <c:v>3.9870649018227589</c:v>
                </c:pt>
                <c:pt idx="407">
                  <c:v>5.0742112911596777</c:v>
                </c:pt>
                <c:pt idx="408">
                  <c:v>1.7600022717928372</c:v>
                </c:pt>
                <c:pt idx="409">
                  <c:v>5.9346645359748305</c:v>
                </c:pt>
                <c:pt idx="410">
                  <c:v>6.0801702978504073</c:v>
                </c:pt>
                <c:pt idx="411">
                  <c:v>5.0839586460577895</c:v>
                </c:pt>
                <c:pt idx="412">
                  <c:v>4.9558819881149896</c:v>
                </c:pt>
                <c:pt idx="413">
                  <c:v>4.8559971816590046</c:v>
                </c:pt>
                <c:pt idx="414">
                  <c:v>5.0313173037435819</c:v>
                </c:pt>
                <c:pt idx="415">
                  <c:v>6.1549351502432712</c:v>
                </c:pt>
                <c:pt idx="416">
                  <c:v>4.8927343512993247</c:v>
                </c:pt>
                <c:pt idx="417">
                  <c:v>5.8652685620920781</c:v>
                </c:pt>
                <c:pt idx="418">
                  <c:v>4.7475229628460927</c:v>
                </c:pt>
                <c:pt idx="419">
                  <c:v>6.1363518309517993</c:v>
                </c:pt>
                <c:pt idx="420">
                  <c:v>6.2697334490773962</c:v>
                </c:pt>
                <c:pt idx="421">
                  <c:v>6.0831397145979444</c:v>
                </c:pt>
                <c:pt idx="422">
                  <c:v>4.8768987171812483</c:v>
                </c:pt>
                <c:pt idx="423">
                  <c:v>4.9988179492249971</c:v>
                </c:pt>
                <c:pt idx="424">
                  <c:v>5.1273767037704152</c:v>
                </c:pt>
                <c:pt idx="425">
                  <c:v>6.0770025717210405</c:v>
                </c:pt>
                <c:pt idx="426">
                  <c:v>5.0407145733156238</c:v>
                </c:pt>
                <c:pt idx="427">
                  <c:v>6.0124995025209005</c:v>
                </c:pt>
                <c:pt idx="428">
                  <c:v>4.95841273892598</c:v>
                </c:pt>
                <c:pt idx="429">
                  <c:v>5.9838594759965966</c:v>
                </c:pt>
                <c:pt idx="430">
                  <c:v>5.1257689989498116</c:v>
                </c:pt>
                <c:pt idx="431">
                  <c:v>6.1442562333815882</c:v>
                </c:pt>
                <c:pt idx="432">
                  <c:v>4.9527336553167869</c:v>
                </c:pt>
                <c:pt idx="433">
                  <c:v>4.8830023036906276</c:v>
                </c:pt>
                <c:pt idx="434">
                  <c:v>6.0424297172320465</c:v>
                </c:pt>
                <c:pt idx="435">
                  <c:v>7.0730754837387675</c:v>
                </c:pt>
                <c:pt idx="436">
                  <c:v>5.1106844708238697</c:v>
                </c:pt>
                <c:pt idx="437">
                  <c:v>4.9243033397499616</c:v>
                </c:pt>
                <c:pt idx="438">
                  <c:v>7.142942607756491</c:v>
                </c:pt>
                <c:pt idx="439">
                  <c:v>4.9392168898925641</c:v>
                </c:pt>
                <c:pt idx="440">
                  <c:v>4.9087847398426492</c:v>
                </c:pt>
                <c:pt idx="441">
                  <c:v>4.9832167176425646</c:v>
                </c:pt>
                <c:pt idx="442">
                  <c:v>4.976125437489392</c:v>
                </c:pt>
                <c:pt idx="443">
                  <c:v>6.9590335179699041</c:v>
                </c:pt>
                <c:pt idx="444">
                  <c:v>5.9202017444246904</c:v>
                </c:pt>
                <c:pt idx="445">
                  <c:v>4.9046364658992578</c:v>
                </c:pt>
                <c:pt idx="446">
                  <c:v>4.7539650406056442</c:v>
                </c:pt>
                <c:pt idx="447">
                  <c:v>4.8640678087130818</c:v>
                </c:pt>
                <c:pt idx="448">
                  <c:v>4.9710367438373471</c:v>
                </c:pt>
                <c:pt idx="449">
                  <c:v>5.046449567870396</c:v>
                </c:pt>
                <c:pt idx="450">
                  <c:v>6.0133449032723583</c:v>
                </c:pt>
                <c:pt idx="451">
                  <c:v>4.9882724840849413</c:v>
                </c:pt>
                <c:pt idx="452">
                  <c:v>6.0699392675876291</c:v>
                </c:pt>
                <c:pt idx="453">
                  <c:v>5.9879698578349432</c:v>
                </c:pt>
                <c:pt idx="454">
                  <c:v>4.8818067925804618</c:v>
                </c:pt>
                <c:pt idx="455">
                  <c:v>5.1562528075250125</c:v>
                </c:pt>
                <c:pt idx="456">
                  <c:v>5.0053652935344379</c:v>
                </c:pt>
                <c:pt idx="457">
                  <c:v>5.8727677645621474</c:v>
                </c:pt>
                <c:pt idx="458">
                  <c:v>5.0227111564056708</c:v>
                </c:pt>
                <c:pt idx="459">
                  <c:v>5.1001965331268959</c:v>
                </c:pt>
                <c:pt idx="460">
                  <c:v>5.9644951933147752</c:v>
                </c:pt>
                <c:pt idx="461">
                  <c:v>5.932992221100875</c:v>
                </c:pt>
                <c:pt idx="462">
                  <c:v>5.9399762568550099</c:v>
                </c:pt>
                <c:pt idx="463">
                  <c:v>6.2171061850162017</c:v>
                </c:pt>
                <c:pt idx="464">
                  <c:v>4.9800882624731342</c:v>
                </c:pt>
                <c:pt idx="465">
                  <c:v>5.8591225369495694</c:v>
                </c:pt>
                <c:pt idx="466">
                  <c:v>7.0686959545127346</c:v>
                </c:pt>
                <c:pt idx="467">
                  <c:v>4.8891792626019779</c:v>
                </c:pt>
                <c:pt idx="468">
                  <c:v>2.0789821234075188</c:v>
                </c:pt>
                <c:pt idx="469">
                  <c:v>5.144535094063575</c:v>
                </c:pt>
                <c:pt idx="470">
                  <c:v>5.8112500471987278</c:v>
                </c:pt>
                <c:pt idx="471">
                  <c:v>5.0253740512820171</c:v>
                </c:pt>
                <c:pt idx="472">
                  <c:v>5.0038668143292737</c:v>
                </c:pt>
                <c:pt idx="473">
                  <c:v>5.9977404018087057</c:v>
                </c:pt>
                <c:pt idx="474">
                  <c:v>4.9569426596837083</c:v>
                </c:pt>
                <c:pt idx="475">
                  <c:v>7.1971207960538592</c:v>
                </c:pt>
                <c:pt idx="476">
                  <c:v>5.9641893202534995</c:v>
                </c:pt>
                <c:pt idx="477">
                  <c:v>7.0047404854594966</c:v>
                </c:pt>
                <c:pt idx="478">
                  <c:v>6.0773687954956026</c:v>
                </c:pt>
                <c:pt idx="479">
                  <c:v>4.8875322584532306</c:v>
                </c:pt>
                <c:pt idx="480">
                  <c:v>4.8729472162900382</c:v>
                </c:pt>
                <c:pt idx="481">
                  <c:v>4.955627760016867</c:v>
                </c:pt>
                <c:pt idx="482">
                  <c:v>4.0566347213905187</c:v>
                </c:pt>
                <c:pt idx="483">
                  <c:v>4.8760667485759575</c:v>
                </c:pt>
                <c:pt idx="484">
                  <c:v>5.1049491871044372</c:v>
                </c:pt>
                <c:pt idx="485">
                  <c:v>5.7092205972022043</c:v>
                </c:pt>
                <c:pt idx="486">
                  <c:v>4.9594590522043731</c:v>
                </c:pt>
                <c:pt idx="487">
                  <c:v>4.9845482241049632</c:v>
                </c:pt>
                <c:pt idx="488">
                  <c:v>6.0150473616108071</c:v>
                </c:pt>
                <c:pt idx="489">
                  <c:v>4.174348773748056</c:v>
                </c:pt>
                <c:pt idx="490">
                  <c:v>6.9914659195835176</c:v>
                </c:pt>
                <c:pt idx="491">
                  <c:v>5.9400590151004051</c:v>
                </c:pt>
                <c:pt idx="492">
                  <c:v>4.9900032418761509</c:v>
                </c:pt>
                <c:pt idx="493">
                  <c:v>5.9498861002395707</c:v>
                </c:pt>
                <c:pt idx="494">
                  <c:v>4.8429191507405829</c:v>
                </c:pt>
                <c:pt idx="495">
                  <c:v>6.010832665229441</c:v>
                </c:pt>
                <c:pt idx="496">
                  <c:v>5.0234638782179513</c:v>
                </c:pt>
                <c:pt idx="497">
                  <c:v>5.9791631416215747</c:v>
                </c:pt>
                <c:pt idx="498">
                  <c:v>5.8490511271560894</c:v>
                </c:pt>
                <c:pt idx="499">
                  <c:v>4.8819831735620518</c:v>
                </c:pt>
                <c:pt idx="500">
                  <c:v>5.99716102455087</c:v>
                </c:pt>
                <c:pt idx="501">
                  <c:v>4.9830454288073369</c:v>
                </c:pt>
                <c:pt idx="502">
                  <c:v>4.9558829228165244</c:v>
                </c:pt>
                <c:pt idx="503">
                  <c:v>6.0557071127145399</c:v>
                </c:pt>
                <c:pt idx="504">
                  <c:v>6.0418878242014182</c:v>
                </c:pt>
                <c:pt idx="505">
                  <c:v>4.9783429164453548</c:v>
                </c:pt>
                <c:pt idx="506">
                  <c:v>5.8539470259696778</c:v>
                </c:pt>
                <c:pt idx="507">
                  <c:v>5.9516471558783577</c:v>
                </c:pt>
                <c:pt idx="508">
                  <c:v>5.9596734318073983</c:v>
                </c:pt>
                <c:pt idx="509">
                  <c:v>4.9641565685302149</c:v>
                </c:pt>
                <c:pt idx="510">
                  <c:v>6.9370217508740888</c:v>
                </c:pt>
                <c:pt idx="511">
                  <c:v>4.9280293121360668</c:v>
                </c:pt>
                <c:pt idx="512">
                  <c:v>4.9972366971669961</c:v>
                </c:pt>
                <c:pt idx="513">
                  <c:v>4.9268457886269648</c:v>
                </c:pt>
                <c:pt idx="514">
                  <c:v>5.9818627829398769</c:v>
                </c:pt>
                <c:pt idx="515">
                  <c:v>5.8209843973272148</c:v>
                </c:pt>
                <c:pt idx="516">
                  <c:v>5.9691501049851512</c:v>
                </c:pt>
                <c:pt idx="517">
                  <c:v>5.864935341405797</c:v>
                </c:pt>
                <c:pt idx="518">
                  <c:v>4.9843645371099674</c:v>
                </c:pt>
                <c:pt idx="519">
                  <c:v>4.09479677216813</c:v>
                </c:pt>
                <c:pt idx="520">
                  <c:v>6.1147883997539214</c:v>
                </c:pt>
                <c:pt idx="521">
                  <c:v>6.1117924724012855</c:v>
                </c:pt>
                <c:pt idx="522">
                  <c:v>5.1571815579707181</c:v>
                </c:pt>
                <c:pt idx="523">
                  <c:v>6.0620587845262177</c:v>
                </c:pt>
                <c:pt idx="524">
                  <c:v>4.9390376884006697</c:v>
                </c:pt>
                <c:pt idx="525">
                  <c:v>6.0779986422861629</c:v>
                </c:pt>
                <c:pt idx="526">
                  <c:v>6.0761853083399675</c:v>
                </c:pt>
                <c:pt idx="527">
                  <c:v>5.836437396181795</c:v>
                </c:pt>
                <c:pt idx="528">
                  <c:v>5.089248381933249</c:v>
                </c:pt>
                <c:pt idx="529">
                  <c:v>4.8920484673590945</c:v>
                </c:pt>
                <c:pt idx="530">
                  <c:v>5.0069960578263428</c:v>
                </c:pt>
                <c:pt idx="531">
                  <c:v>5.0705690019953193</c:v>
                </c:pt>
                <c:pt idx="532">
                  <c:v>5.9311126295820946</c:v>
                </c:pt>
                <c:pt idx="533">
                  <c:v>6.1071057909256607</c:v>
                </c:pt>
                <c:pt idx="534">
                  <c:v>7.1907957106306268</c:v>
                </c:pt>
                <c:pt idx="535">
                  <c:v>5.967270109776976</c:v>
                </c:pt>
                <c:pt idx="536">
                  <c:v>6.8813375871100027</c:v>
                </c:pt>
                <c:pt idx="537">
                  <c:v>6.1119370594381772</c:v>
                </c:pt>
                <c:pt idx="538">
                  <c:v>4.9812148007211556</c:v>
                </c:pt>
                <c:pt idx="539">
                  <c:v>4.9429126646839352</c:v>
                </c:pt>
                <c:pt idx="540">
                  <c:v>4.9320082423108946</c:v>
                </c:pt>
                <c:pt idx="541">
                  <c:v>6.0601631704968622</c:v>
                </c:pt>
                <c:pt idx="542">
                  <c:v>6.0556232472663432</c:v>
                </c:pt>
                <c:pt idx="543">
                  <c:v>5.1511358126799012</c:v>
                </c:pt>
                <c:pt idx="544">
                  <c:v>6.1293449254959667</c:v>
                </c:pt>
                <c:pt idx="545">
                  <c:v>4.9243692058923338</c:v>
                </c:pt>
                <c:pt idx="546">
                  <c:v>6.1027027544233379</c:v>
                </c:pt>
                <c:pt idx="547">
                  <c:v>6.0018490055461706</c:v>
                </c:pt>
                <c:pt idx="548">
                  <c:v>5.9663473222944203</c:v>
                </c:pt>
                <c:pt idx="549">
                  <c:v>6.1427213087020904</c:v>
                </c:pt>
                <c:pt idx="550">
                  <c:v>5.0047458646239464</c:v>
                </c:pt>
                <c:pt idx="551">
                  <c:v>5.8326016540467611</c:v>
                </c:pt>
                <c:pt idx="552">
                  <c:v>5.0193388266842085</c:v>
                </c:pt>
                <c:pt idx="553">
                  <c:v>6.0663035500825657</c:v>
                </c:pt>
                <c:pt idx="554">
                  <c:v>7.0357569489189942</c:v>
                </c:pt>
                <c:pt idx="555">
                  <c:v>5.9285337621616705</c:v>
                </c:pt>
                <c:pt idx="556">
                  <c:v>4.1234153126108888</c:v>
                </c:pt>
                <c:pt idx="557">
                  <c:v>5.8927965560181841</c:v>
                </c:pt>
                <c:pt idx="558">
                  <c:v>4.9718655718117288</c:v>
                </c:pt>
                <c:pt idx="559">
                  <c:v>7.1178711692216599</c:v>
                </c:pt>
                <c:pt idx="560">
                  <c:v>5.92141689027462</c:v>
                </c:pt>
                <c:pt idx="561">
                  <c:v>6.9773375268472062</c:v>
                </c:pt>
                <c:pt idx="562">
                  <c:v>7.0036115778822632</c:v>
                </c:pt>
                <c:pt idx="563">
                  <c:v>6.0197897211962292</c:v>
                </c:pt>
                <c:pt idx="564">
                  <c:v>6.1235295898718629</c:v>
                </c:pt>
                <c:pt idx="565">
                  <c:v>5.0927209876131938</c:v>
                </c:pt>
                <c:pt idx="566">
                  <c:v>5.1281030787682367</c:v>
                </c:pt>
                <c:pt idx="567">
                  <c:v>6.8730891328019066</c:v>
                </c:pt>
                <c:pt idx="568">
                  <c:v>5.9686392646104345</c:v>
                </c:pt>
                <c:pt idx="569">
                  <c:v>4.971714375725556</c:v>
                </c:pt>
                <c:pt idx="570">
                  <c:v>5.8854602361295667</c:v>
                </c:pt>
                <c:pt idx="571">
                  <c:v>7.0398045222047756</c:v>
                </c:pt>
                <c:pt idx="572">
                  <c:v>5.9335411534803546</c:v>
                </c:pt>
                <c:pt idx="573">
                  <c:v>6.0035084357344166</c:v>
                </c:pt>
                <c:pt idx="574">
                  <c:v>7.1612744563814932</c:v>
                </c:pt>
                <c:pt idx="575">
                  <c:v>5.9452007217816636</c:v>
                </c:pt>
                <c:pt idx="576">
                  <c:v>7.055492723278312</c:v>
                </c:pt>
                <c:pt idx="577">
                  <c:v>5.8867145007453718</c:v>
                </c:pt>
                <c:pt idx="578">
                  <c:v>6.980548029110988</c:v>
                </c:pt>
                <c:pt idx="579">
                  <c:v>5.8752362394512714</c:v>
                </c:pt>
                <c:pt idx="580">
                  <c:v>5.8603638362785668</c:v>
                </c:pt>
                <c:pt idx="581">
                  <c:v>5.8677916975003814</c:v>
                </c:pt>
                <c:pt idx="582">
                  <c:v>5.9861379334826763</c:v>
                </c:pt>
                <c:pt idx="583">
                  <c:v>7.0565611747645836</c:v>
                </c:pt>
                <c:pt idx="584">
                  <c:v>5.8768930731023001</c:v>
                </c:pt>
                <c:pt idx="585">
                  <c:v>7.0621236672951646</c:v>
                </c:pt>
                <c:pt idx="586">
                  <c:v>5.089166866244045</c:v>
                </c:pt>
                <c:pt idx="587">
                  <c:v>5.9636188153419383</c:v>
                </c:pt>
                <c:pt idx="588">
                  <c:v>4.8648246674029867</c:v>
                </c:pt>
                <c:pt idx="589">
                  <c:v>6.0143599725321515</c:v>
                </c:pt>
                <c:pt idx="590">
                  <c:v>4.8998527678363448</c:v>
                </c:pt>
                <c:pt idx="591">
                  <c:v>6.8797959050947535</c:v>
                </c:pt>
                <c:pt idx="592">
                  <c:v>5.029047616128377</c:v>
                </c:pt>
                <c:pt idx="593">
                  <c:v>7.0347699581971446</c:v>
                </c:pt>
                <c:pt idx="594">
                  <c:v>4.8291517897494671</c:v>
                </c:pt>
                <c:pt idx="595">
                  <c:v>4.031403780656226</c:v>
                </c:pt>
                <c:pt idx="596">
                  <c:v>6.1269427418719715</c:v>
                </c:pt>
                <c:pt idx="597">
                  <c:v>4.9142345699245169</c:v>
                </c:pt>
                <c:pt idx="598">
                  <c:v>6.1943912085750386</c:v>
                </c:pt>
                <c:pt idx="599">
                  <c:v>6.7639804192699682</c:v>
                </c:pt>
                <c:pt idx="600">
                  <c:v>5.7436495356945851</c:v>
                </c:pt>
                <c:pt idx="601">
                  <c:v>5.9006472239152803</c:v>
                </c:pt>
                <c:pt idx="602">
                  <c:v>6.8903700477329828</c:v>
                </c:pt>
                <c:pt idx="603">
                  <c:v>5.9847035858058328</c:v>
                </c:pt>
                <c:pt idx="604">
                  <c:v>6.1014073460012321</c:v>
                </c:pt>
                <c:pt idx="605">
                  <c:v>6.9476119244658614</c:v>
                </c:pt>
                <c:pt idx="606">
                  <c:v>5.9183023279340778</c:v>
                </c:pt>
                <c:pt idx="607">
                  <c:v>6.9949621686481036</c:v>
                </c:pt>
                <c:pt idx="608">
                  <c:v>4.8182265516766343</c:v>
                </c:pt>
                <c:pt idx="609">
                  <c:v>6.0707340111036299</c:v>
                </c:pt>
                <c:pt idx="610">
                  <c:v>5.0141668880829009</c:v>
                </c:pt>
                <c:pt idx="611">
                  <c:v>6.0134030899012973</c:v>
                </c:pt>
                <c:pt idx="612">
                  <c:v>5.7998851498196577</c:v>
                </c:pt>
                <c:pt idx="613">
                  <c:v>5.9863590122170613</c:v>
                </c:pt>
                <c:pt idx="614">
                  <c:v>4.9356085556178781</c:v>
                </c:pt>
                <c:pt idx="615">
                  <c:v>4.8900164311956553</c:v>
                </c:pt>
                <c:pt idx="616">
                  <c:v>7.1121094455930685</c:v>
                </c:pt>
                <c:pt idx="617">
                  <c:v>4.8710757785302858</c:v>
                </c:pt>
                <c:pt idx="618">
                  <c:v>6.023599076821478</c:v>
                </c:pt>
                <c:pt idx="619">
                  <c:v>3.030097819577978</c:v>
                </c:pt>
                <c:pt idx="620">
                  <c:v>5.0438936748186922</c:v>
                </c:pt>
                <c:pt idx="621">
                  <c:v>4.8237993741904495</c:v>
                </c:pt>
                <c:pt idx="622">
                  <c:v>5.0269797190947543</c:v>
                </c:pt>
                <c:pt idx="623">
                  <c:v>6.0275580308425916</c:v>
                </c:pt>
                <c:pt idx="624">
                  <c:v>7.1054191459963194</c:v>
                </c:pt>
                <c:pt idx="625">
                  <c:v>6.0152244191930873</c:v>
                </c:pt>
                <c:pt idx="626">
                  <c:v>6.0580160494681419</c:v>
                </c:pt>
                <c:pt idx="627">
                  <c:v>6.9082141625157547</c:v>
                </c:pt>
                <c:pt idx="628">
                  <c:v>5.0435697615513568</c:v>
                </c:pt>
                <c:pt idx="629">
                  <c:v>4.8827759191360167</c:v>
                </c:pt>
                <c:pt idx="630">
                  <c:v>4.9174590834182901</c:v>
                </c:pt>
                <c:pt idx="631">
                  <c:v>6.0576916913892918</c:v>
                </c:pt>
                <c:pt idx="632">
                  <c:v>5.8728421651923384</c:v>
                </c:pt>
                <c:pt idx="633">
                  <c:v>6.9778702641966337</c:v>
                </c:pt>
                <c:pt idx="634">
                  <c:v>5.9792270220913908</c:v>
                </c:pt>
                <c:pt idx="635">
                  <c:v>5.997971492755326</c:v>
                </c:pt>
                <c:pt idx="636">
                  <c:v>5.0679384448401565</c:v>
                </c:pt>
                <c:pt idx="637">
                  <c:v>6.9044002479461462</c:v>
                </c:pt>
                <c:pt idx="638">
                  <c:v>5.7691517499992608</c:v>
                </c:pt>
                <c:pt idx="639">
                  <c:v>7.096003893743382</c:v>
                </c:pt>
                <c:pt idx="640">
                  <c:v>4.9027893845836044</c:v>
                </c:pt>
                <c:pt idx="641">
                  <c:v>6.0980826625567834</c:v>
                </c:pt>
                <c:pt idx="642">
                  <c:v>5.9331690126096257</c:v>
                </c:pt>
                <c:pt idx="643">
                  <c:v>5.0583774211971164</c:v>
                </c:pt>
                <c:pt idx="644">
                  <c:v>5.9593419816854363</c:v>
                </c:pt>
                <c:pt idx="645">
                  <c:v>4.9867513000124042</c:v>
                </c:pt>
                <c:pt idx="646">
                  <c:v>6.0504145213085572</c:v>
                </c:pt>
                <c:pt idx="647">
                  <c:v>5.0125710764540754</c:v>
                </c:pt>
                <c:pt idx="648">
                  <c:v>6.0214535101464532</c:v>
                </c:pt>
                <c:pt idx="649">
                  <c:v>7.013959127165835</c:v>
                </c:pt>
                <c:pt idx="650">
                  <c:v>5.1181213579530249</c:v>
                </c:pt>
                <c:pt idx="651">
                  <c:v>5.8899754547095826</c:v>
                </c:pt>
                <c:pt idx="652">
                  <c:v>7.0677057228342699</c:v>
                </c:pt>
                <c:pt idx="653">
                  <c:v>5.0297295721735544</c:v>
                </c:pt>
                <c:pt idx="654">
                  <c:v>5.9521601889807512</c:v>
                </c:pt>
                <c:pt idx="655">
                  <c:v>5.8833212712352916</c:v>
                </c:pt>
                <c:pt idx="656">
                  <c:v>6.1239388457086781</c:v>
                </c:pt>
                <c:pt idx="657">
                  <c:v>5.8651524146257907</c:v>
                </c:pt>
                <c:pt idx="658">
                  <c:v>5.8538554542600352</c:v>
                </c:pt>
                <c:pt idx="659">
                  <c:v>5.9516342646591021</c:v>
                </c:pt>
                <c:pt idx="660">
                  <c:v>4.8607865505231613</c:v>
                </c:pt>
                <c:pt idx="661">
                  <c:v>7.0454579172298297</c:v>
                </c:pt>
                <c:pt idx="662">
                  <c:v>4.9037723259106434</c:v>
                </c:pt>
                <c:pt idx="663">
                  <c:v>5.9861973870843954</c:v>
                </c:pt>
                <c:pt idx="664">
                  <c:v>5.8659859631213065</c:v>
                </c:pt>
                <c:pt idx="665">
                  <c:v>7.1094859313012355</c:v>
                </c:pt>
                <c:pt idx="666">
                  <c:v>6.0834839658043203</c:v>
                </c:pt>
                <c:pt idx="667">
                  <c:v>6.012323560754127</c:v>
                </c:pt>
                <c:pt idx="668">
                  <c:v>6.0103491501487598</c:v>
                </c:pt>
                <c:pt idx="669">
                  <c:v>4.8930707977688952</c:v>
                </c:pt>
                <c:pt idx="670">
                  <c:v>6.0846969200908889</c:v>
                </c:pt>
                <c:pt idx="671">
                  <c:v>6.0475143532445577</c:v>
                </c:pt>
                <c:pt idx="672">
                  <c:v>4.0327839027679211</c:v>
                </c:pt>
                <c:pt idx="673">
                  <c:v>4.9152307621705917</c:v>
                </c:pt>
                <c:pt idx="674">
                  <c:v>6.1517742633524408</c:v>
                </c:pt>
                <c:pt idx="675">
                  <c:v>5.789051433536323</c:v>
                </c:pt>
                <c:pt idx="676">
                  <c:v>5.9784793280406721</c:v>
                </c:pt>
                <c:pt idx="677">
                  <c:v>4.9556223170404055</c:v>
                </c:pt>
                <c:pt idx="678">
                  <c:v>4.979502177483476</c:v>
                </c:pt>
                <c:pt idx="679">
                  <c:v>5.7842397610883216</c:v>
                </c:pt>
                <c:pt idx="680">
                  <c:v>5.077071400108883</c:v>
                </c:pt>
                <c:pt idx="681">
                  <c:v>4.852694990757815</c:v>
                </c:pt>
                <c:pt idx="682">
                  <c:v>6.1605018138623064</c:v>
                </c:pt>
                <c:pt idx="683">
                  <c:v>4.9516845940075589</c:v>
                </c:pt>
                <c:pt idx="684">
                  <c:v>5.8998864420676229</c:v>
                </c:pt>
                <c:pt idx="685">
                  <c:v>6.9503215079455209</c:v>
                </c:pt>
                <c:pt idx="686">
                  <c:v>7.0085356648546933</c:v>
                </c:pt>
                <c:pt idx="687">
                  <c:v>3.9778997973554486</c:v>
                </c:pt>
                <c:pt idx="688">
                  <c:v>4.8399531395618522</c:v>
                </c:pt>
                <c:pt idx="689">
                  <c:v>6.16960366363051</c:v>
                </c:pt>
                <c:pt idx="690">
                  <c:v>5.9020755639961333</c:v>
                </c:pt>
                <c:pt idx="691">
                  <c:v>5.985567106456573</c:v>
                </c:pt>
                <c:pt idx="692">
                  <c:v>5.240237020499106</c:v>
                </c:pt>
                <c:pt idx="693">
                  <c:v>6.1141759877248854</c:v>
                </c:pt>
                <c:pt idx="694">
                  <c:v>5.9548714025466847</c:v>
                </c:pt>
                <c:pt idx="695">
                  <c:v>5.2447775159633645</c:v>
                </c:pt>
                <c:pt idx="696">
                  <c:v>5.8271842296203431</c:v>
                </c:pt>
                <c:pt idx="697">
                  <c:v>4.9248630477986426</c:v>
                </c:pt>
                <c:pt idx="698">
                  <c:v>5.7138960203288987</c:v>
                </c:pt>
                <c:pt idx="699">
                  <c:v>6.062984410203522</c:v>
                </c:pt>
                <c:pt idx="700">
                  <c:v>5.071695813188084</c:v>
                </c:pt>
                <c:pt idx="701">
                  <c:v>5.0393378175552161</c:v>
                </c:pt>
                <c:pt idx="702">
                  <c:v>5.8839010460873507</c:v>
                </c:pt>
                <c:pt idx="703">
                  <c:v>4.9160592059606332</c:v>
                </c:pt>
                <c:pt idx="704">
                  <c:v>7.001859122520858</c:v>
                </c:pt>
                <c:pt idx="705">
                  <c:v>5.9583545022985716</c:v>
                </c:pt>
                <c:pt idx="706">
                  <c:v>5.9485476612870398</c:v>
                </c:pt>
                <c:pt idx="707">
                  <c:v>5.7671051006638931</c:v>
                </c:pt>
                <c:pt idx="708">
                  <c:v>4.1087069779647249</c:v>
                </c:pt>
                <c:pt idx="709">
                  <c:v>5.8203750980134012</c:v>
                </c:pt>
                <c:pt idx="710">
                  <c:v>5.9367377825053653</c:v>
                </c:pt>
                <c:pt idx="711">
                  <c:v>5.9574234285617624</c:v>
                </c:pt>
                <c:pt idx="712">
                  <c:v>4.8816364909532748</c:v>
                </c:pt>
                <c:pt idx="713">
                  <c:v>4.966545764200375</c:v>
                </c:pt>
                <c:pt idx="714">
                  <c:v>7.0494294721736388</c:v>
                </c:pt>
                <c:pt idx="715">
                  <c:v>5.997431175120207</c:v>
                </c:pt>
                <c:pt idx="716">
                  <c:v>6.1705777825956272</c:v>
                </c:pt>
                <c:pt idx="717">
                  <c:v>7.0527832885124928</c:v>
                </c:pt>
                <c:pt idx="718">
                  <c:v>4.9335782430709729</c:v>
                </c:pt>
                <c:pt idx="719">
                  <c:v>5.9674931496114079</c:v>
                </c:pt>
                <c:pt idx="720">
                  <c:v>5.1360164023790382</c:v>
                </c:pt>
                <c:pt idx="721">
                  <c:v>5.0405618615207493</c:v>
                </c:pt>
                <c:pt idx="722">
                  <c:v>6.1827801898479207</c:v>
                </c:pt>
                <c:pt idx="723">
                  <c:v>5.0406365618325184</c:v>
                </c:pt>
                <c:pt idx="724">
                  <c:v>5.8609124534205419</c:v>
                </c:pt>
                <c:pt idx="725">
                  <c:v>5.9130838098849345</c:v>
                </c:pt>
                <c:pt idx="726">
                  <c:v>5.0553302493755554</c:v>
                </c:pt>
                <c:pt idx="727">
                  <c:v>6.015942493556719</c:v>
                </c:pt>
                <c:pt idx="728">
                  <c:v>5.0513696387559595</c:v>
                </c:pt>
                <c:pt idx="729">
                  <c:v>7.1277211120771549</c:v>
                </c:pt>
                <c:pt idx="730">
                  <c:v>7.1348879575039135</c:v>
                </c:pt>
                <c:pt idx="731">
                  <c:v>7.0458042552761073</c:v>
                </c:pt>
                <c:pt idx="732">
                  <c:v>6.046245962920473</c:v>
                </c:pt>
                <c:pt idx="733">
                  <c:v>3.8544608910195532</c:v>
                </c:pt>
                <c:pt idx="734">
                  <c:v>7.1207531400216855</c:v>
                </c:pt>
                <c:pt idx="735">
                  <c:v>7.0614368142566812</c:v>
                </c:pt>
                <c:pt idx="736">
                  <c:v>5.9369369946447179</c:v>
                </c:pt>
                <c:pt idx="737">
                  <c:v>4.9066319239341363</c:v>
                </c:pt>
                <c:pt idx="738">
                  <c:v>5.1040302234343242</c:v>
                </c:pt>
                <c:pt idx="739">
                  <c:v>6.1776592527352356</c:v>
                </c:pt>
                <c:pt idx="740">
                  <c:v>7.0776761252081224</c:v>
                </c:pt>
                <c:pt idx="741">
                  <c:v>4.9735445587587606</c:v>
                </c:pt>
                <c:pt idx="742">
                  <c:v>3.9638340558752256</c:v>
                </c:pt>
                <c:pt idx="743">
                  <c:v>4.0282277927915757</c:v>
                </c:pt>
                <c:pt idx="744">
                  <c:v>6.978967942546995</c:v>
                </c:pt>
                <c:pt idx="745">
                  <c:v>5.9287941896140728</c:v>
                </c:pt>
                <c:pt idx="746">
                  <c:v>3.9830338785105321</c:v>
                </c:pt>
                <c:pt idx="747">
                  <c:v>5.9372304509173057</c:v>
                </c:pt>
                <c:pt idx="748">
                  <c:v>6.0499601620319892</c:v>
                </c:pt>
                <c:pt idx="749">
                  <c:v>6.0287392345630169</c:v>
                </c:pt>
                <c:pt idx="750">
                  <c:v>3.9785380952296183</c:v>
                </c:pt>
                <c:pt idx="751">
                  <c:v>4.8558962662704142</c:v>
                </c:pt>
                <c:pt idx="752">
                  <c:v>5.8872295683394498</c:v>
                </c:pt>
                <c:pt idx="753">
                  <c:v>4.0286727066372725</c:v>
                </c:pt>
                <c:pt idx="754">
                  <c:v>6.1007255320643781</c:v>
                </c:pt>
                <c:pt idx="755">
                  <c:v>6.1142092748035726</c:v>
                </c:pt>
                <c:pt idx="756">
                  <c:v>6.7647031750322757</c:v>
                </c:pt>
                <c:pt idx="757">
                  <c:v>4.8579594584882555</c:v>
                </c:pt>
                <c:pt idx="758">
                  <c:v>6.9875093373978263</c:v>
                </c:pt>
                <c:pt idx="759">
                  <c:v>6.0348146587576332</c:v>
                </c:pt>
                <c:pt idx="760">
                  <c:v>7.0420993778991186</c:v>
                </c:pt>
                <c:pt idx="761">
                  <c:v>6.9875112787319225</c:v>
                </c:pt>
                <c:pt idx="762">
                  <c:v>6.1150124822105631</c:v>
                </c:pt>
                <c:pt idx="763">
                  <c:v>6.1124094299093414</c:v>
                </c:pt>
                <c:pt idx="764">
                  <c:v>5.1241850666039879</c:v>
                </c:pt>
                <c:pt idx="765">
                  <c:v>5.9969423478700232</c:v>
                </c:pt>
                <c:pt idx="766">
                  <c:v>4.0288689739788888</c:v>
                </c:pt>
                <c:pt idx="767">
                  <c:v>7.1657511020335001</c:v>
                </c:pt>
                <c:pt idx="768">
                  <c:v>6.0248594583677448</c:v>
                </c:pt>
                <c:pt idx="769">
                  <c:v>6.0620097518403826</c:v>
                </c:pt>
                <c:pt idx="770">
                  <c:v>6.0631564673239033</c:v>
                </c:pt>
                <c:pt idx="771">
                  <c:v>5.9602952854345395</c:v>
                </c:pt>
                <c:pt idx="772">
                  <c:v>6.022706270436017</c:v>
                </c:pt>
                <c:pt idx="773">
                  <c:v>7.1620687599989177</c:v>
                </c:pt>
                <c:pt idx="774">
                  <c:v>5.8756435383941801</c:v>
                </c:pt>
                <c:pt idx="775">
                  <c:v>4.9639742620202281</c:v>
                </c:pt>
                <c:pt idx="776">
                  <c:v>6.1838736033217536</c:v>
                </c:pt>
                <c:pt idx="777">
                  <c:v>5.9639107702160201</c:v>
                </c:pt>
                <c:pt idx="778">
                  <c:v>4.9368071688932904</c:v>
                </c:pt>
                <c:pt idx="779">
                  <c:v>5.0621748528312072</c:v>
                </c:pt>
                <c:pt idx="780">
                  <c:v>5.856551748277699</c:v>
                </c:pt>
                <c:pt idx="781">
                  <c:v>4.9505028481606432</c:v>
                </c:pt>
                <c:pt idx="782">
                  <c:v>5.8756016234608008</c:v>
                </c:pt>
                <c:pt idx="783">
                  <c:v>4.0509162802827658</c:v>
                </c:pt>
                <c:pt idx="784">
                  <c:v>5.0178427292095273</c:v>
                </c:pt>
                <c:pt idx="785">
                  <c:v>4.8952445371369961</c:v>
                </c:pt>
                <c:pt idx="786">
                  <c:v>4.8973502476456012</c:v>
                </c:pt>
                <c:pt idx="787">
                  <c:v>6.0263964982924492</c:v>
                </c:pt>
                <c:pt idx="788">
                  <c:v>4.8297668107338509</c:v>
                </c:pt>
                <c:pt idx="789">
                  <c:v>6.0141083970772442</c:v>
                </c:pt>
                <c:pt idx="790">
                  <c:v>4.0112816868375889</c:v>
                </c:pt>
                <c:pt idx="791">
                  <c:v>6.0379931744781041</c:v>
                </c:pt>
                <c:pt idx="792">
                  <c:v>4.9770591439736682</c:v>
                </c:pt>
                <c:pt idx="793">
                  <c:v>6.0007836547433433</c:v>
                </c:pt>
                <c:pt idx="794">
                  <c:v>5.9813766968460298</c:v>
                </c:pt>
                <c:pt idx="795">
                  <c:v>6.1089928407146417</c:v>
                </c:pt>
                <c:pt idx="796">
                  <c:v>6.122121980080216</c:v>
                </c:pt>
                <c:pt idx="797">
                  <c:v>4.1055534308908053</c:v>
                </c:pt>
                <c:pt idx="798">
                  <c:v>6.0349238720149927</c:v>
                </c:pt>
                <c:pt idx="799">
                  <c:v>4.9973939743865516</c:v>
                </c:pt>
                <c:pt idx="800">
                  <c:v>5.1067164232216999</c:v>
                </c:pt>
                <c:pt idx="801">
                  <c:v>6.1934782714673293</c:v>
                </c:pt>
                <c:pt idx="802">
                  <c:v>6.006057224487952</c:v>
                </c:pt>
                <c:pt idx="803">
                  <c:v>6.8252063077723424</c:v>
                </c:pt>
                <c:pt idx="804">
                  <c:v>6.0643699451897941</c:v>
                </c:pt>
                <c:pt idx="805">
                  <c:v>6.043804330140671</c:v>
                </c:pt>
                <c:pt idx="806">
                  <c:v>5.116290615961133</c:v>
                </c:pt>
                <c:pt idx="807">
                  <c:v>5.9150392433899839</c:v>
                </c:pt>
                <c:pt idx="808">
                  <c:v>5.1623743612193653</c:v>
                </c:pt>
                <c:pt idx="809">
                  <c:v>5.1306127339122742</c:v>
                </c:pt>
                <c:pt idx="810">
                  <c:v>5.0023875144900858</c:v>
                </c:pt>
                <c:pt idx="811">
                  <c:v>6.0000242496083205</c:v>
                </c:pt>
                <c:pt idx="812">
                  <c:v>3.7911259443148637</c:v>
                </c:pt>
                <c:pt idx="813">
                  <c:v>6.1140787335836873</c:v>
                </c:pt>
                <c:pt idx="814">
                  <c:v>5.0190798336904745</c:v>
                </c:pt>
                <c:pt idx="815">
                  <c:v>6.0280939314997095</c:v>
                </c:pt>
                <c:pt idx="816">
                  <c:v>7.1194130032016325</c:v>
                </c:pt>
                <c:pt idx="817">
                  <c:v>6.068858140036915</c:v>
                </c:pt>
                <c:pt idx="818">
                  <c:v>6.9848586749113659</c:v>
                </c:pt>
                <c:pt idx="819">
                  <c:v>6.1318449598935976</c:v>
                </c:pt>
                <c:pt idx="820">
                  <c:v>5.0177554448607999</c:v>
                </c:pt>
                <c:pt idx="821">
                  <c:v>5.005417260514502</c:v>
                </c:pt>
                <c:pt idx="822">
                  <c:v>6.1003114967705532</c:v>
                </c:pt>
                <c:pt idx="823">
                  <c:v>6.0207621682761232</c:v>
                </c:pt>
                <c:pt idx="824">
                  <c:v>5.9971871915989308</c:v>
                </c:pt>
                <c:pt idx="825">
                  <c:v>6.0593277441675006</c:v>
                </c:pt>
                <c:pt idx="826">
                  <c:v>5.0494401026641951</c:v>
                </c:pt>
                <c:pt idx="827">
                  <c:v>5.9066200881038089</c:v>
                </c:pt>
                <c:pt idx="828">
                  <c:v>6.0512585448868128</c:v>
                </c:pt>
                <c:pt idx="829">
                  <c:v>6.0614691645466703</c:v>
                </c:pt>
                <c:pt idx="830">
                  <c:v>5.0018436561632678</c:v>
                </c:pt>
                <c:pt idx="831">
                  <c:v>7.1135294376657425</c:v>
                </c:pt>
                <c:pt idx="832">
                  <c:v>5.0589578424734363</c:v>
                </c:pt>
                <c:pt idx="833">
                  <c:v>5.1023055811659974</c:v>
                </c:pt>
                <c:pt idx="834">
                  <c:v>5.0237768638580169</c:v>
                </c:pt>
                <c:pt idx="835">
                  <c:v>5.0701649328321849</c:v>
                </c:pt>
                <c:pt idx="836">
                  <c:v>6.0126540138380058</c:v>
                </c:pt>
                <c:pt idx="837">
                  <c:v>7.0630501682634481</c:v>
                </c:pt>
                <c:pt idx="838">
                  <c:v>4.9567667568314393</c:v>
                </c:pt>
                <c:pt idx="839">
                  <c:v>4.9640115256924764</c:v>
                </c:pt>
                <c:pt idx="840">
                  <c:v>5.0414799214725585</c:v>
                </c:pt>
                <c:pt idx="841">
                  <c:v>4.8477445209853309</c:v>
                </c:pt>
                <c:pt idx="842">
                  <c:v>5.1204633024957893</c:v>
                </c:pt>
                <c:pt idx="843">
                  <c:v>4.9043029658105182</c:v>
                </c:pt>
                <c:pt idx="844">
                  <c:v>5.0210310522825052</c:v>
                </c:pt>
                <c:pt idx="845">
                  <c:v>4.0134933752688369</c:v>
                </c:pt>
                <c:pt idx="846">
                  <c:v>5.9650133408702271</c:v>
                </c:pt>
                <c:pt idx="847">
                  <c:v>5.9473834304652478</c:v>
                </c:pt>
                <c:pt idx="848">
                  <c:v>6.9080573491115524</c:v>
                </c:pt>
                <c:pt idx="849">
                  <c:v>4.964684548303544</c:v>
                </c:pt>
                <c:pt idx="850">
                  <c:v>4.0003085600062898</c:v>
                </c:pt>
                <c:pt idx="851">
                  <c:v>6.1365548992331327</c:v>
                </c:pt>
                <c:pt idx="852">
                  <c:v>5.9173810314860118</c:v>
                </c:pt>
                <c:pt idx="853">
                  <c:v>6.0059492824562994</c:v>
                </c:pt>
                <c:pt idx="854">
                  <c:v>6.0967667345234391</c:v>
                </c:pt>
                <c:pt idx="855">
                  <c:v>6.0779837494195537</c:v>
                </c:pt>
                <c:pt idx="856">
                  <c:v>5.0498823639165868</c:v>
                </c:pt>
                <c:pt idx="857">
                  <c:v>3.9670239660117046</c:v>
                </c:pt>
                <c:pt idx="858">
                  <c:v>4.9188677274937422</c:v>
                </c:pt>
                <c:pt idx="859">
                  <c:v>5.9754812553843504</c:v>
                </c:pt>
                <c:pt idx="860">
                  <c:v>5.2847792141901859</c:v>
                </c:pt>
                <c:pt idx="861">
                  <c:v>5.8712158286888041</c:v>
                </c:pt>
                <c:pt idx="862">
                  <c:v>6.0301776063826606</c:v>
                </c:pt>
                <c:pt idx="863">
                  <c:v>4.8600828078083245</c:v>
                </c:pt>
                <c:pt idx="864">
                  <c:v>6.0030917777830952</c:v>
                </c:pt>
                <c:pt idx="865">
                  <c:v>6.0585358897557144</c:v>
                </c:pt>
                <c:pt idx="866">
                  <c:v>6.0553802398676622</c:v>
                </c:pt>
                <c:pt idx="867">
                  <c:v>6.9486274246651636</c:v>
                </c:pt>
                <c:pt idx="868">
                  <c:v>5.0723803958118152</c:v>
                </c:pt>
                <c:pt idx="869">
                  <c:v>3.8382710890088449</c:v>
                </c:pt>
                <c:pt idx="870">
                  <c:v>5.9516736415968037</c:v>
                </c:pt>
                <c:pt idx="871">
                  <c:v>5.9050895065832449</c:v>
                </c:pt>
                <c:pt idx="872">
                  <c:v>7.0277092355540942</c:v>
                </c:pt>
                <c:pt idx="873">
                  <c:v>6.1219900202880373</c:v>
                </c:pt>
                <c:pt idx="874">
                  <c:v>6.9758359612121961</c:v>
                </c:pt>
                <c:pt idx="875">
                  <c:v>6.1207044627386988</c:v>
                </c:pt>
                <c:pt idx="876">
                  <c:v>6.1228377691718059</c:v>
                </c:pt>
                <c:pt idx="877">
                  <c:v>6.0578642215836851</c:v>
                </c:pt>
                <c:pt idx="878">
                  <c:v>4.844428767952019</c:v>
                </c:pt>
                <c:pt idx="879">
                  <c:v>6.9535215737507841</c:v>
                </c:pt>
                <c:pt idx="880">
                  <c:v>5.8793146336187467</c:v>
                </c:pt>
                <c:pt idx="881">
                  <c:v>6.1475129872445873</c:v>
                </c:pt>
                <c:pt idx="882">
                  <c:v>6.0948848599190208</c:v>
                </c:pt>
                <c:pt idx="883">
                  <c:v>6.0572501991170133</c:v>
                </c:pt>
                <c:pt idx="884">
                  <c:v>5.9295454518542305</c:v>
                </c:pt>
                <c:pt idx="885">
                  <c:v>7.1386272851174475</c:v>
                </c:pt>
                <c:pt idx="886">
                  <c:v>5.9000831533647382</c:v>
                </c:pt>
                <c:pt idx="887">
                  <c:v>6.1030878441115597</c:v>
                </c:pt>
                <c:pt idx="888">
                  <c:v>6.1534991448845968</c:v>
                </c:pt>
                <c:pt idx="889">
                  <c:v>4.9525350316955956</c:v>
                </c:pt>
                <c:pt idx="890">
                  <c:v>4.0460458038214098</c:v>
                </c:pt>
                <c:pt idx="891">
                  <c:v>4.978883531507444</c:v>
                </c:pt>
                <c:pt idx="892">
                  <c:v>4.8946780322056389</c:v>
                </c:pt>
                <c:pt idx="893">
                  <c:v>6.0859875182900653</c:v>
                </c:pt>
                <c:pt idx="894">
                  <c:v>4.071537229956494</c:v>
                </c:pt>
                <c:pt idx="895">
                  <c:v>5.0762892116051761</c:v>
                </c:pt>
                <c:pt idx="896">
                  <c:v>4.9652310584216712</c:v>
                </c:pt>
                <c:pt idx="897">
                  <c:v>6.959391390476414</c:v>
                </c:pt>
                <c:pt idx="898">
                  <c:v>6.09071639422221</c:v>
                </c:pt>
                <c:pt idx="899">
                  <c:v>6.0470404938803224</c:v>
                </c:pt>
                <c:pt idx="900">
                  <c:v>7.0601493640390673</c:v>
                </c:pt>
                <c:pt idx="901">
                  <c:v>6.1641700429508361</c:v>
                </c:pt>
                <c:pt idx="902">
                  <c:v>7.1149391367029571</c:v>
                </c:pt>
                <c:pt idx="903">
                  <c:v>4.8354568202326949</c:v>
                </c:pt>
                <c:pt idx="904">
                  <c:v>4.9854366724571113</c:v>
                </c:pt>
                <c:pt idx="905">
                  <c:v>6.0306160859396494</c:v>
                </c:pt>
                <c:pt idx="906">
                  <c:v>5.8142483484516987</c:v>
                </c:pt>
                <c:pt idx="907">
                  <c:v>6.0442836243940237</c:v>
                </c:pt>
                <c:pt idx="908">
                  <c:v>4.6804394592949006</c:v>
                </c:pt>
                <c:pt idx="909">
                  <c:v>5.863265140007738</c:v>
                </c:pt>
                <c:pt idx="910">
                  <c:v>4.8624745337823629</c:v>
                </c:pt>
                <c:pt idx="911">
                  <c:v>4.9438793167837964</c:v>
                </c:pt>
                <c:pt idx="912">
                  <c:v>5.7433109205260191</c:v>
                </c:pt>
                <c:pt idx="913">
                  <c:v>6.1871972408344833</c:v>
                </c:pt>
                <c:pt idx="914">
                  <c:v>4.9824725284955491</c:v>
                </c:pt>
                <c:pt idx="915">
                  <c:v>6.2691389178725165</c:v>
                </c:pt>
                <c:pt idx="916">
                  <c:v>5.0204197926301886</c:v>
                </c:pt>
                <c:pt idx="917">
                  <c:v>5.00337170300197</c:v>
                </c:pt>
                <c:pt idx="918">
                  <c:v>5.0079438060825865</c:v>
                </c:pt>
                <c:pt idx="919">
                  <c:v>5.6966615132923168</c:v>
                </c:pt>
                <c:pt idx="920">
                  <c:v>6.1076127106342115</c:v>
                </c:pt>
                <c:pt idx="921">
                  <c:v>7.0739069323434629</c:v>
                </c:pt>
                <c:pt idx="922">
                  <c:v>5.0312090146245625</c:v>
                </c:pt>
                <c:pt idx="923">
                  <c:v>4.7094172847978832</c:v>
                </c:pt>
                <c:pt idx="924">
                  <c:v>6.7958250194545382</c:v>
                </c:pt>
                <c:pt idx="925">
                  <c:v>6.990700684606252</c:v>
                </c:pt>
                <c:pt idx="926">
                  <c:v>6.970441882034244</c:v>
                </c:pt>
                <c:pt idx="927">
                  <c:v>6.0299929431429211</c:v>
                </c:pt>
                <c:pt idx="928">
                  <c:v>6.312741385739864</c:v>
                </c:pt>
                <c:pt idx="929">
                  <c:v>6.053224781560635</c:v>
                </c:pt>
                <c:pt idx="930">
                  <c:v>5.174974989632152</c:v>
                </c:pt>
                <c:pt idx="931">
                  <c:v>5.1747556327084725</c:v>
                </c:pt>
                <c:pt idx="932">
                  <c:v>5.0801015988579152</c:v>
                </c:pt>
                <c:pt idx="933">
                  <c:v>5.7619396679183419</c:v>
                </c:pt>
                <c:pt idx="934">
                  <c:v>5.9213350058212937</c:v>
                </c:pt>
                <c:pt idx="935">
                  <c:v>6.0514727486381394</c:v>
                </c:pt>
                <c:pt idx="936">
                  <c:v>5.0174263034462028</c:v>
                </c:pt>
                <c:pt idx="937">
                  <c:v>5.9095902500144684</c:v>
                </c:pt>
                <c:pt idx="938">
                  <c:v>7.017391779112593</c:v>
                </c:pt>
                <c:pt idx="939">
                  <c:v>5.0872515108566176</c:v>
                </c:pt>
                <c:pt idx="940">
                  <c:v>5.9071605665773559</c:v>
                </c:pt>
                <c:pt idx="941">
                  <c:v>5.1005728985179317</c:v>
                </c:pt>
                <c:pt idx="942">
                  <c:v>4.8685566156969546</c:v>
                </c:pt>
                <c:pt idx="943">
                  <c:v>6.156165719566113</c:v>
                </c:pt>
                <c:pt idx="944">
                  <c:v>5.8647693934870828</c:v>
                </c:pt>
                <c:pt idx="945">
                  <c:v>5.9843310335340147</c:v>
                </c:pt>
                <c:pt idx="946">
                  <c:v>7.0155951698143131</c:v>
                </c:pt>
                <c:pt idx="947">
                  <c:v>6.1119619242546346</c:v>
                </c:pt>
                <c:pt idx="948">
                  <c:v>5.9713134176075293</c:v>
                </c:pt>
                <c:pt idx="949">
                  <c:v>5.1921044650501988</c:v>
                </c:pt>
                <c:pt idx="950">
                  <c:v>4.9517360047542516</c:v>
                </c:pt>
                <c:pt idx="951">
                  <c:v>4.8640810556490699</c:v>
                </c:pt>
                <c:pt idx="952">
                  <c:v>4.9567643580437837</c:v>
                </c:pt>
                <c:pt idx="953">
                  <c:v>5.8654044329838504</c:v>
                </c:pt>
                <c:pt idx="954">
                  <c:v>4.988333021295885</c:v>
                </c:pt>
                <c:pt idx="955">
                  <c:v>6.037842134619325</c:v>
                </c:pt>
                <c:pt idx="956">
                  <c:v>4.9807179799714874</c:v>
                </c:pt>
                <c:pt idx="957">
                  <c:v>6.1216887893635166</c:v>
                </c:pt>
                <c:pt idx="958">
                  <c:v>4.920965192217726</c:v>
                </c:pt>
                <c:pt idx="959">
                  <c:v>5.8224171278872481</c:v>
                </c:pt>
                <c:pt idx="960">
                  <c:v>7.1666342108251042</c:v>
                </c:pt>
                <c:pt idx="961">
                  <c:v>6.8545225042416424</c:v>
                </c:pt>
                <c:pt idx="962">
                  <c:v>5.9519490479133728</c:v>
                </c:pt>
                <c:pt idx="963">
                  <c:v>6.0461278506257115</c:v>
                </c:pt>
                <c:pt idx="964">
                  <c:v>4.8565759163348075</c:v>
                </c:pt>
                <c:pt idx="965">
                  <c:v>5.908935374250512</c:v>
                </c:pt>
                <c:pt idx="966">
                  <c:v>5.7845222864471335</c:v>
                </c:pt>
                <c:pt idx="967">
                  <c:v>6.065377642791554</c:v>
                </c:pt>
                <c:pt idx="968">
                  <c:v>6.0504867611032829</c:v>
                </c:pt>
                <c:pt idx="969">
                  <c:v>7.0101787763309931</c:v>
                </c:pt>
                <c:pt idx="970">
                  <c:v>4.9968760136781425</c:v>
                </c:pt>
                <c:pt idx="971">
                  <c:v>4.9214411420843795</c:v>
                </c:pt>
                <c:pt idx="972">
                  <c:v>7.0553312560323498</c:v>
                </c:pt>
                <c:pt idx="973">
                  <c:v>4.9716817422120565</c:v>
                </c:pt>
                <c:pt idx="974">
                  <c:v>4.839310295791619</c:v>
                </c:pt>
                <c:pt idx="975">
                  <c:v>6.0168149141882461</c:v>
                </c:pt>
                <c:pt idx="976">
                  <c:v>5.0547430271997049</c:v>
                </c:pt>
                <c:pt idx="977">
                  <c:v>6.0755411528715326</c:v>
                </c:pt>
                <c:pt idx="978">
                  <c:v>5.1546814934983587</c:v>
                </c:pt>
                <c:pt idx="979">
                  <c:v>5.1836480298721712</c:v>
                </c:pt>
                <c:pt idx="980">
                  <c:v>5.0004366801315658</c:v>
                </c:pt>
                <c:pt idx="981">
                  <c:v>4.9802795943895353</c:v>
                </c:pt>
                <c:pt idx="982">
                  <c:v>5.0451624051801991</c:v>
                </c:pt>
                <c:pt idx="983">
                  <c:v>6.1000362388280109</c:v>
                </c:pt>
                <c:pt idx="984">
                  <c:v>4.9029631448508253</c:v>
                </c:pt>
                <c:pt idx="985">
                  <c:v>6.0547112734188975</c:v>
                </c:pt>
                <c:pt idx="986">
                  <c:v>4.9525064308429583</c:v>
                </c:pt>
                <c:pt idx="987">
                  <c:v>5.8488194596365819</c:v>
                </c:pt>
                <c:pt idx="988">
                  <c:v>6.0460220774941016</c:v>
                </c:pt>
                <c:pt idx="989">
                  <c:v>4.9966243890728173</c:v>
                </c:pt>
                <c:pt idx="990">
                  <c:v>5.9987729705280586</c:v>
                </c:pt>
                <c:pt idx="991">
                  <c:v>4.9817285880514799</c:v>
                </c:pt>
                <c:pt idx="992">
                  <c:v>6.0300810672983651</c:v>
                </c:pt>
                <c:pt idx="993">
                  <c:v>5.0245837035817873</c:v>
                </c:pt>
                <c:pt idx="994">
                  <c:v>4.6962356533655987</c:v>
                </c:pt>
                <c:pt idx="995">
                  <c:v>6.0806397384360347</c:v>
                </c:pt>
                <c:pt idx="996">
                  <c:v>6.0384929110691239</c:v>
                </c:pt>
                <c:pt idx="997">
                  <c:v>4.8857231785234889</c:v>
                </c:pt>
                <c:pt idx="998">
                  <c:v>5.9624120036314681</c:v>
                </c:pt>
                <c:pt idx="999">
                  <c:v>6.0876370056968581</c:v>
                </c:pt>
                <c:pt idx="1000">
                  <c:v>6.00750628026596</c:v>
                </c:pt>
                <c:pt idx="1001">
                  <c:v>6.0598575542225008</c:v>
                </c:pt>
                <c:pt idx="1002">
                  <c:v>6.118437401325262</c:v>
                </c:pt>
                <c:pt idx="1003">
                  <c:v>5.9781909117473671</c:v>
                </c:pt>
                <c:pt idx="1004">
                  <c:v>6.0182884812290451</c:v>
                </c:pt>
                <c:pt idx="1005">
                  <c:v>5.037060460229128</c:v>
                </c:pt>
                <c:pt idx="1006">
                  <c:v>6.034238654538699</c:v>
                </c:pt>
                <c:pt idx="1007">
                  <c:v>5.1357186012924458</c:v>
                </c:pt>
                <c:pt idx="1008">
                  <c:v>5.9683448823380134</c:v>
                </c:pt>
                <c:pt idx="1009">
                  <c:v>5.0172715460527808</c:v>
                </c:pt>
                <c:pt idx="1010">
                  <c:v>4.9366325934173743</c:v>
                </c:pt>
                <c:pt idx="1011">
                  <c:v>4.8600545734431915</c:v>
                </c:pt>
                <c:pt idx="1012">
                  <c:v>4.9682970041332046</c:v>
                </c:pt>
                <c:pt idx="1013">
                  <c:v>5.0105608574516065</c:v>
                </c:pt>
                <c:pt idx="1014">
                  <c:v>4.9423992236916554</c:v>
                </c:pt>
                <c:pt idx="1015">
                  <c:v>5.9445190236830756</c:v>
                </c:pt>
                <c:pt idx="1016">
                  <c:v>6.0801427988981338</c:v>
                </c:pt>
                <c:pt idx="1017">
                  <c:v>5.1329012867515802</c:v>
                </c:pt>
                <c:pt idx="1018">
                  <c:v>6.004748960132086</c:v>
                </c:pt>
                <c:pt idx="1019">
                  <c:v>4.9595290805728469</c:v>
                </c:pt>
                <c:pt idx="1020">
                  <c:v>5.9740008951881265</c:v>
                </c:pt>
                <c:pt idx="1021">
                  <c:v>5.0004176042915685</c:v>
                </c:pt>
                <c:pt idx="1022">
                  <c:v>6.2001474738687818</c:v>
                </c:pt>
                <c:pt idx="1023">
                  <c:v>4.8819066741586612</c:v>
                </c:pt>
                <c:pt idx="1024">
                  <c:v>4.9495867344097784</c:v>
                </c:pt>
                <c:pt idx="1025">
                  <c:v>5.9159248409278229</c:v>
                </c:pt>
                <c:pt idx="1026">
                  <c:v>5.0048953091008892</c:v>
                </c:pt>
                <c:pt idx="1027">
                  <c:v>6.053598410237119</c:v>
                </c:pt>
                <c:pt idx="1028">
                  <c:v>6.0332816011095884</c:v>
                </c:pt>
                <c:pt idx="1029">
                  <c:v>5.1112891395629223</c:v>
                </c:pt>
                <c:pt idx="1030">
                  <c:v>4.9223358018006733</c:v>
                </c:pt>
                <c:pt idx="1031">
                  <c:v>4.8852460864742495</c:v>
                </c:pt>
                <c:pt idx="1032">
                  <c:v>6.1218974448867742</c:v>
                </c:pt>
                <c:pt idx="1033">
                  <c:v>5.0881465611073518</c:v>
                </c:pt>
                <c:pt idx="1034">
                  <c:v>5.1133327137901867</c:v>
                </c:pt>
                <c:pt idx="1035">
                  <c:v>4.9415019277643166</c:v>
                </c:pt>
                <c:pt idx="1036">
                  <c:v>6.0480171780265195</c:v>
                </c:pt>
                <c:pt idx="1037">
                  <c:v>5.2435714191000455</c:v>
                </c:pt>
                <c:pt idx="1038">
                  <c:v>4.8690930718758567</c:v>
                </c:pt>
                <c:pt idx="1039">
                  <c:v>5.9460558520155624</c:v>
                </c:pt>
                <c:pt idx="1040">
                  <c:v>6.9279696608418897</c:v>
                </c:pt>
                <c:pt idx="1041">
                  <c:v>6.8402356024202238</c:v>
                </c:pt>
                <c:pt idx="1042">
                  <c:v>6.0364155301419746</c:v>
                </c:pt>
                <c:pt idx="1043">
                  <c:v>4.9785560646985081</c:v>
                </c:pt>
                <c:pt idx="1044">
                  <c:v>4.9392511284872533</c:v>
                </c:pt>
                <c:pt idx="1045">
                  <c:v>5.1020693786701008</c:v>
                </c:pt>
                <c:pt idx="1046">
                  <c:v>4.8769594640057843</c:v>
                </c:pt>
                <c:pt idx="1047">
                  <c:v>6.0933982771622617</c:v>
                </c:pt>
                <c:pt idx="1048">
                  <c:v>5.0848456254239593</c:v>
                </c:pt>
                <c:pt idx="1049">
                  <c:v>6.1289201227865018</c:v>
                </c:pt>
                <c:pt idx="1050">
                  <c:v>5.061692310818291</c:v>
                </c:pt>
                <c:pt idx="1051">
                  <c:v>6.0369344369402622</c:v>
                </c:pt>
                <c:pt idx="1052">
                  <c:v>5.8428009143610389</c:v>
                </c:pt>
                <c:pt idx="1053">
                  <c:v>6.0150586130096784</c:v>
                </c:pt>
                <c:pt idx="1054">
                  <c:v>5.9586639380716191</c:v>
                </c:pt>
                <c:pt idx="1055">
                  <c:v>4.8692216019165215</c:v>
                </c:pt>
                <c:pt idx="1056">
                  <c:v>5.8464858747693063</c:v>
                </c:pt>
                <c:pt idx="1057">
                  <c:v>6.1958178944125901</c:v>
                </c:pt>
                <c:pt idx="1058">
                  <c:v>5.9768001325465256</c:v>
                </c:pt>
                <c:pt idx="1059">
                  <c:v>5.0355992473164193</c:v>
                </c:pt>
                <c:pt idx="1060">
                  <c:v>7.03602977681029</c:v>
                </c:pt>
                <c:pt idx="1061">
                  <c:v>7.2141396315667778</c:v>
                </c:pt>
                <c:pt idx="1062">
                  <c:v>5.942366251177579</c:v>
                </c:pt>
                <c:pt idx="1063">
                  <c:v>6.994436044260433</c:v>
                </c:pt>
                <c:pt idx="1064">
                  <c:v>6.0101999717973174</c:v>
                </c:pt>
                <c:pt idx="1065">
                  <c:v>6.920836631288986</c:v>
                </c:pt>
                <c:pt idx="1066">
                  <c:v>5.0941478421408126</c:v>
                </c:pt>
                <c:pt idx="1067">
                  <c:v>6.9227427207498522</c:v>
                </c:pt>
                <c:pt idx="1068">
                  <c:v>5.7758711596886636</c:v>
                </c:pt>
                <c:pt idx="1069">
                  <c:v>6.0936985955903538</c:v>
                </c:pt>
                <c:pt idx="1070">
                  <c:v>6.0399325857778914</c:v>
                </c:pt>
                <c:pt idx="1071">
                  <c:v>5.9436313347603509</c:v>
                </c:pt>
                <c:pt idx="1072">
                  <c:v>6.0937451638781353</c:v>
                </c:pt>
                <c:pt idx="1073">
                  <c:v>6.9709166776727223</c:v>
                </c:pt>
                <c:pt idx="1074">
                  <c:v>6.0497560704099413</c:v>
                </c:pt>
                <c:pt idx="1075">
                  <c:v>7.048980394854695</c:v>
                </c:pt>
                <c:pt idx="1076">
                  <c:v>4.9620480362098647</c:v>
                </c:pt>
                <c:pt idx="1077">
                  <c:v>5.8404736875863117</c:v>
                </c:pt>
                <c:pt idx="1078">
                  <c:v>6.0149249696513252</c:v>
                </c:pt>
                <c:pt idx="1079">
                  <c:v>1.8020404022741703</c:v>
                </c:pt>
                <c:pt idx="1080">
                  <c:v>4.9608694385285821</c:v>
                </c:pt>
                <c:pt idx="1081">
                  <c:v>2.0842096056649915</c:v>
                </c:pt>
                <c:pt idx="1082">
                  <c:v>2.0579764488184389</c:v>
                </c:pt>
                <c:pt idx="1083">
                  <c:v>4.9480537703392278</c:v>
                </c:pt>
                <c:pt idx="1084">
                  <c:v>4.9716474125309302</c:v>
                </c:pt>
                <c:pt idx="1085">
                  <c:v>4.7815276216284008</c:v>
                </c:pt>
                <c:pt idx="1086">
                  <c:v>5.0884955727283394</c:v>
                </c:pt>
                <c:pt idx="1087">
                  <c:v>4.8789376459622398</c:v>
                </c:pt>
                <c:pt idx="1088">
                  <c:v>4.0228247636492869</c:v>
                </c:pt>
                <c:pt idx="1089">
                  <c:v>5.0087963483019209</c:v>
                </c:pt>
                <c:pt idx="1090">
                  <c:v>3.9926765530203046</c:v>
                </c:pt>
                <c:pt idx="1091">
                  <c:v>4.9913314043258907</c:v>
                </c:pt>
                <c:pt idx="1092">
                  <c:v>7.0678872191635858</c:v>
                </c:pt>
                <c:pt idx="1093">
                  <c:v>3.8762940355032804</c:v>
                </c:pt>
                <c:pt idx="1094">
                  <c:v>5.969322668158707</c:v>
                </c:pt>
                <c:pt idx="1095">
                  <c:v>6.1297201505746903</c:v>
                </c:pt>
                <c:pt idx="1096">
                  <c:v>6.8308096943748362</c:v>
                </c:pt>
                <c:pt idx="1097">
                  <c:v>6.9983263017224955</c:v>
                </c:pt>
                <c:pt idx="1098">
                  <c:v>6.0903983451463075</c:v>
                </c:pt>
                <c:pt idx="1099">
                  <c:v>6.0540902055188912</c:v>
                </c:pt>
                <c:pt idx="1100">
                  <c:v>6.0275675224655831</c:v>
                </c:pt>
                <c:pt idx="1101">
                  <c:v>6.1304209594871697</c:v>
                </c:pt>
                <c:pt idx="1102">
                  <c:v>6.9535174674094327</c:v>
                </c:pt>
                <c:pt idx="1103">
                  <c:v>6.1367203196466846</c:v>
                </c:pt>
                <c:pt idx="1104">
                  <c:v>5.0017461076024583</c:v>
                </c:pt>
                <c:pt idx="1105">
                  <c:v>6.0006581460278072</c:v>
                </c:pt>
                <c:pt idx="1106">
                  <c:v>6.8578150117009073</c:v>
                </c:pt>
                <c:pt idx="1107">
                  <c:v>5.9670126782502821</c:v>
                </c:pt>
                <c:pt idx="1108">
                  <c:v>6.0370172988503681</c:v>
                </c:pt>
                <c:pt idx="1109">
                  <c:v>4.9646233495839143</c:v>
                </c:pt>
                <c:pt idx="1110">
                  <c:v>5.0113204694098581</c:v>
                </c:pt>
                <c:pt idx="1111">
                  <c:v>4.8511085198431552</c:v>
                </c:pt>
                <c:pt idx="1112">
                  <c:v>4.9958837406795205</c:v>
                </c:pt>
                <c:pt idx="1113">
                  <c:v>5.0639348083019051</c:v>
                </c:pt>
                <c:pt idx="1114">
                  <c:v>6.0695405520546863</c:v>
                </c:pt>
                <c:pt idx="1115">
                  <c:v>5.1033911301702064</c:v>
                </c:pt>
                <c:pt idx="1116">
                  <c:v>4.0188097688577864</c:v>
                </c:pt>
                <c:pt idx="1117">
                  <c:v>5.1182746610944214</c:v>
                </c:pt>
                <c:pt idx="1118">
                  <c:v>4.9880447994259285</c:v>
                </c:pt>
                <c:pt idx="1119">
                  <c:v>6.8322729272032952</c:v>
                </c:pt>
                <c:pt idx="1120">
                  <c:v>5.1579672963696765</c:v>
                </c:pt>
                <c:pt idx="1121">
                  <c:v>5.0989848067206358</c:v>
                </c:pt>
                <c:pt idx="1122">
                  <c:v>4.8097196849473303</c:v>
                </c:pt>
                <c:pt idx="1123">
                  <c:v>5.1994404060124344</c:v>
                </c:pt>
                <c:pt idx="1124">
                  <c:v>4.7613275411598508</c:v>
                </c:pt>
                <c:pt idx="1125">
                  <c:v>6.0459858455444291</c:v>
                </c:pt>
                <c:pt idx="1126">
                  <c:v>5.8297177066167007</c:v>
                </c:pt>
                <c:pt idx="1127">
                  <c:v>6.0142923320201715</c:v>
                </c:pt>
                <c:pt idx="1128">
                  <c:v>6.969184187942087</c:v>
                </c:pt>
                <c:pt idx="1129">
                  <c:v>6.0390193979694047</c:v>
                </c:pt>
                <c:pt idx="1130">
                  <c:v>6.1264251904412861</c:v>
                </c:pt>
                <c:pt idx="1131">
                  <c:v>4.9596808429260513</c:v>
                </c:pt>
                <c:pt idx="1132">
                  <c:v>4.9198843581666987</c:v>
                </c:pt>
                <c:pt idx="1133">
                  <c:v>5.1170589232618093</c:v>
                </c:pt>
                <c:pt idx="1134">
                  <c:v>5.9140812401904794</c:v>
                </c:pt>
                <c:pt idx="1135">
                  <c:v>5.9634419156769241</c:v>
                </c:pt>
                <c:pt idx="1136">
                  <c:v>4.855980348851431</c:v>
                </c:pt>
                <c:pt idx="1137">
                  <c:v>6.2731576660144057</c:v>
                </c:pt>
                <c:pt idx="1138">
                  <c:v>6.0494790695568303</c:v>
                </c:pt>
                <c:pt idx="1139">
                  <c:v>4.9291168063837816</c:v>
                </c:pt>
                <c:pt idx="1140">
                  <c:v>5.7806460050958348</c:v>
                </c:pt>
                <c:pt idx="1141">
                  <c:v>4.8952100478639116</c:v>
                </c:pt>
                <c:pt idx="1142">
                  <c:v>4.849459012689521</c:v>
                </c:pt>
                <c:pt idx="1143">
                  <c:v>1.880461267430666</c:v>
                </c:pt>
                <c:pt idx="1144">
                  <c:v>4.9628394212364748</c:v>
                </c:pt>
                <c:pt idx="1145">
                  <c:v>4.9883034826306547</c:v>
                </c:pt>
                <c:pt idx="1146">
                  <c:v>4.9571178109552472</c:v>
                </c:pt>
                <c:pt idx="1147">
                  <c:v>4.9096935146834015</c:v>
                </c:pt>
                <c:pt idx="1148">
                  <c:v>4.9176829499414758</c:v>
                </c:pt>
                <c:pt idx="1149">
                  <c:v>5.9930982989444725</c:v>
                </c:pt>
                <c:pt idx="1150">
                  <c:v>5.8668775259382651</c:v>
                </c:pt>
                <c:pt idx="1151">
                  <c:v>6.1857443889640011</c:v>
                </c:pt>
                <c:pt idx="1152">
                  <c:v>6.172905002901544</c:v>
                </c:pt>
                <c:pt idx="1153">
                  <c:v>5.9684888083657297</c:v>
                </c:pt>
                <c:pt idx="1154">
                  <c:v>6.1545983028293145</c:v>
                </c:pt>
                <c:pt idx="1155">
                  <c:v>5.9736281795041517</c:v>
                </c:pt>
                <c:pt idx="1156">
                  <c:v>5.014424150386648</c:v>
                </c:pt>
                <c:pt idx="1157">
                  <c:v>4.7742834610029083</c:v>
                </c:pt>
                <c:pt idx="1158">
                  <c:v>5.9246862839447099</c:v>
                </c:pt>
                <c:pt idx="1159">
                  <c:v>5.9905533351908407</c:v>
                </c:pt>
                <c:pt idx="1160">
                  <c:v>6.0101028293552918</c:v>
                </c:pt>
                <c:pt idx="1161">
                  <c:v>6.0927237371024408</c:v>
                </c:pt>
                <c:pt idx="1162">
                  <c:v>4.9876894904153897</c:v>
                </c:pt>
                <c:pt idx="1163">
                  <c:v>4.8698358071745806</c:v>
                </c:pt>
                <c:pt idx="1164">
                  <c:v>6.1100311959223275</c:v>
                </c:pt>
                <c:pt idx="1165">
                  <c:v>5.1078641938878873</c:v>
                </c:pt>
                <c:pt idx="1166">
                  <c:v>6.8102438011207695</c:v>
                </c:pt>
                <c:pt idx="1167">
                  <c:v>5.9125924875234155</c:v>
                </c:pt>
                <c:pt idx="1168">
                  <c:v>5.0470289887937501</c:v>
                </c:pt>
                <c:pt idx="1169">
                  <c:v>5.9826063123410398</c:v>
                </c:pt>
                <c:pt idx="1170">
                  <c:v>4.9539123793248567</c:v>
                </c:pt>
                <c:pt idx="1171">
                  <c:v>5.793857577840412</c:v>
                </c:pt>
                <c:pt idx="1172">
                  <c:v>4.9944382091493633</c:v>
                </c:pt>
                <c:pt idx="1173">
                  <c:v>5.9913409313068495</c:v>
                </c:pt>
                <c:pt idx="1174">
                  <c:v>5.1529224057098455</c:v>
                </c:pt>
                <c:pt idx="1175">
                  <c:v>5.8551416207356324</c:v>
                </c:pt>
                <c:pt idx="1176">
                  <c:v>5.1469082790601624</c:v>
                </c:pt>
                <c:pt idx="1177">
                  <c:v>5.8309547820159757</c:v>
                </c:pt>
                <c:pt idx="1178">
                  <c:v>5.9044394537169822</c:v>
                </c:pt>
                <c:pt idx="1179">
                  <c:v>4.8584504402623967</c:v>
                </c:pt>
                <c:pt idx="1180">
                  <c:v>5.0791902510254676</c:v>
                </c:pt>
                <c:pt idx="1181">
                  <c:v>5.129236014518904</c:v>
                </c:pt>
                <c:pt idx="1182">
                  <c:v>5.1237175345299901</c:v>
                </c:pt>
                <c:pt idx="1183">
                  <c:v>4.8603742478369787</c:v>
                </c:pt>
                <c:pt idx="1184">
                  <c:v>5.1397845164377811</c:v>
                </c:pt>
                <c:pt idx="1185">
                  <c:v>5.8918350631344225</c:v>
                </c:pt>
                <c:pt idx="1186">
                  <c:v>5.8780112019879684</c:v>
                </c:pt>
                <c:pt idx="1187">
                  <c:v>4.7807559994769901</c:v>
                </c:pt>
                <c:pt idx="1188">
                  <c:v>4.9999332308235553</c:v>
                </c:pt>
                <c:pt idx="1189">
                  <c:v>5.1128366620468526</c:v>
                </c:pt>
                <c:pt idx="1190">
                  <c:v>4.9679515436143955</c:v>
                </c:pt>
                <c:pt idx="1191">
                  <c:v>6.1287444069815438</c:v>
                </c:pt>
                <c:pt idx="1192">
                  <c:v>5.2343301958928157</c:v>
                </c:pt>
                <c:pt idx="1193">
                  <c:v>5.8796517497125862</c:v>
                </c:pt>
                <c:pt idx="1194">
                  <c:v>6.0647752622294782</c:v>
                </c:pt>
                <c:pt idx="1195">
                  <c:v>6.0470114279335725</c:v>
                </c:pt>
                <c:pt idx="1196">
                  <c:v>5.0223933274248633</c:v>
                </c:pt>
                <c:pt idx="1197">
                  <c:v>5.9684086545060433</c:v>
                </c:pt>
                <c:pt idx="1198">
                  <c:v>6.11181466536146</c:v>
                </c:pt>
                <c:pt idx="1199">
                  <c:v>4.9216550036654461</c:v>
                </c:pt>
                <c:pt idx="1200">
                  <c:v>4.9846980866382156</c:v>
                </c:pt>
                <c:pt idx="1201">
                  <c:v>5.9136421376089405</c:v>
                </c:pt>
                <c:pt idx="1202">
                  <c:v>4.9752609183981242</c:v>
                </c:pt>
                <c:pt idx="1203">
                  <c:v>5.9963957675584654</c:v>
                </c:pt>
                <c:pt idx="1204">
                  <c:v>5.8750779725188238</c:v>
                </c:pt>
                <c:pt idx="1205">
                  <c:v>5.9506684984529459</c:v>
                </c:pt>
                <c:pt idx="1206">
                  <c:v>6.0167739971013638</c:v>
                </c:pt>
                <c:pt idx="1207">
                  <c:v>6.9727659793367502</c:v>
                </c:pt>
                <c:pt idx="1208">
                  <c:v>4.9480154595479009</c:v>
                </c:pt>
                <c:pt idx="1209">
                  <c:v>6.0138021592680753</c:v>
                </c:pt>
                <c:pt idx="1210">
                  <c:v>5.0341250447693167</c:v>
                </c:pt>
                <c:pt idx="1211">
                  <c:v>4.8707639023168605</c:v>
                </c:pt>
                <c:pt idx="1212">
                  <c:v>6.9618781097786879</c:v>
                </c:pt>
                <c:pt idx="1213">
                  <c:v>5.9142751381327274</c:v>
                </c:pt>
                <c:pt idx="1214">
                  <c:v>6.1428492939065595</c:v>
                </c:pt>
                <c:pt idx="1215">
                  <c:v>4.8967339175505682</c:v>
                </c:pt>
                <c:pt idx="1216">
                  <c:v>6.1237999196329227</c:v>
                </c:pt>
                <c:pt idx="1217">
                  <c:v>4.8211062624990495</c:v>
                </c:pt>
                <c:pt idx="1218">
                  <c:v>5.9965030496854554</c:v>
                </c:pt>
                <c:pt idx="1219">
                  <c:v>6.0775477176425428</c:v>
                </c:pt>
                <c:pt idx="1220">
                  <c:v>5.9732250081347678</c:v>
                </c:pt>
                <c:pt idx="1221">
                  <c:v>5.0133360421380111</c:v>
                </c:pt>
                <c:pt idx="1222">
                  <c:v>6.0034424187009767</c:v>
                </c:pt>
                <c:pt idx="1223">
                  <c:v>4.9347105635491788</c:v>
                </c:pt>
                <c:pt idx="1224">
                  <c:v>6.0422732372380015</c:v>
                </c:pt>
                <c:pt idx="1225">
                  <c:v>6.0384262018229302</c:v>
                </c:pt>
                <c:pt idx="1226">
                  <c:v>6.0778971374403152</c:v>
                </c:pt>
                <c:pt idx="1227">
                  <c:v>5.9804993965635198</c:v>
                </c:pt>
                <c:pt idx="1228">
                  <c:v>4.9215229964939304</c:v>
                </c:pt>
                <c:pt idx="1229">
                  <c:v>6.0312728741344577</c:v>
                </c:pt>
                <c:pt idx="1230">
                  <c:v>4.9469514960824377</c:v>
                </c:pt>
                <c:pt idx="1231">
                  <c:v>6.0320368389289545</c:v>
                </c:pt>
                <c:pt idx="1232">
                  <c:v>4.9861494589567554</c:v>
                </c:pt>
                <c:pt idx="1233">
                  <c:v>5.9336837570864471</c:v>
                </c:pt>
                <c:pt idx="1234">
                  <c:v>5.9393038349390039</c:v>
                </c:pt>
                <c:pt idx="1235">
                  <c:v>5.161600397741255</c:v>
                </c:pt>
                <c:pt idx="1236">
                  <c:v>7.1799318068910338</c:v>
                </c:pt>
                <c:pt idx="1237">
                  <c:v>5.8982305502841221</c:v>
                </c:pt>
                <c:pt idx="1238">
                  <c:v>5.0976875196955822</c:v>
                </c:pt>
                <c:pt idx="1239">
                  <c:v>5.0279030556485784</c:v>
                </c:pt>
                <c:pt idx="1240">
                  <c:v>5.0727419810020855</c:v>
                </c:pt>
                <c:pt idx="1241">
                  <c:v>6.0374538485421629</c:v>
                </c:pt>
                <c:pt idx="1242">
                  <c:v>4.886885684819811</c:v>
                </c:pt>
                <c:pt idx="1243">
                  <c:v>4.9880982104190048</c:v>
                </c:pt>
                <c:pt idx="1244">
                  <c:v>5.8493883801285689</c:v>
                </c:pt>
                <c:pt idx="1245">
                  <c:v>6.1805386434566003</c:v>
                </c:pt>
                <c:pt idx="1246">
                  <c:v>5.9396342783185592</c:v>
                </c:pt>
                <c:pt idx="1247">
                  <c:v>6.2160644657873334</c:v>
                </c:pt>
                <c:pt idx="1248">
                  <c:v>5.9825210356691496</c:v>
                </c:pt>
                <c:pt idx="1249">
                  <c:v>5.1369690041724763</c:v>
                </c:pt>
                <c:pt idx="1250">
                  <c:v>5.0221966236123219</c:v>
                </c:pt>
                <c:pt idx="1251">
                  <c:v>6.0154054347101535</c:v>
                </c:pt>
                <c:pt idx="1252">
                  <c:v>6.0867566745558239</c:v>
                </c:pt>
                <c:pt idx="1253">
                  <c:v>4.873243441785422</c:v>
                </c:pt>
                <c:pt idx="1254">
                  <c:v>4.9957323869107446</c:v>
                </c:pt>
                <c:pt idx="1255">
                  <c:v>4.889870112321975</c:v>
                </c:pt>
                <c:pt idx="1256">
                  <c:v>4.9599819746119298</c:v>
                </c:pt>
                <c:pt idx="1257">
                  <c:v>5.171621569218896</c:v>
                </c:pt>
                <c:pt idx="1258">
                  <c:v>6.8553231298788431</c:v>
                </c:pt>
                <c:pt idx="1259">
                  <c:v>6.0482897909055104</c:v>
                </c:pt>
                <c:pt idx="1260">
                  <c:v>6.0579560362997871</c:v>
                </c:pt>
                <c:pt idx="1261">
                  <c:v>4.8199923853267377</c:v>
                </c:pt>
                <c:pt idx="1262">
                  <c:v>4.9046135088136902</c:v>
                </c:pt>
                <c:pt idx="1263">
                  <c:v>6.2039967967010679</c:v>
                </c:pt>
                <c:pt idx="1264">
                  <c:v>4.0240260664449075</c:v>
                </c:pt>
                <c:pt idx="1265">
                  <c:v>6.0061902554062243</c:v>
                </c:pt>
                <c:pt idx="1266">
                  <c:v>5.0310594323256046</c:v>
                </c:pt>
                <c:pt idx="1267">
                  <c:v>5.0517036643949256</c:v>
                </c:pt>
                <c:pt idx="1268">
                  <c:v>4.7861088688639457</c:v>
                </c:pt>
                <c:pt idx="1269">
                  <c:v>4.9463953038497817</c:v>
                </c:pt>
                <c:pt idx="1270">
                  <c:v>5.9953765175932272</c:v>
                </c:pt>
                <c:pt idx="1271">
                  <c:v>4.9911525067395255</c:v>
                </c:pt>
                <c:pt idx="1272">
                  <c:v>5.0828147471179834</c:v>
                </c:pt>
                <c:pt idx="1273">
                  <c:v>4.9806501227196183</c:v>
                </c:pt>
                <c:pt idx="1274">
                  <c:v>4.9942868029490546</c:v>
                </c:pt>
                <c:pt idx="1275">
                  <c:v>4.9345697470396814</c:v>
                </c:pt>
                <c:pt idx="1276">
                  <c:v>5.9774752413790813</c:v>
                </c:pt>
                <c:pt idx="1277">
                  <c:v>5.8637488992337143</c:v>
                </c:pt>
                <c:pt idx="1278">
                  <c:v>4.9277256376821423</c:v>
                </c:pt>
                <c:pt idx="1279">
                  <c:v>4.9255483004024754</c:v>
                </c:pt>
                <c:pt idx="1280">
                  <c:v>5.0822149117891469</c:v>
                </c:pt>
                <c:pt idx="1281">
                  <c:v>4.9102393078799569</c:v>
                </c:pt>
                <c:pt idx="1282">
                  <c:v>5.0359681131119878</c:v>
                </c:pt>
                <c:pt idx="1283">
                  <c:v>6.0722855727548426</c:v>
                </c:pt>
                <c:pt idx="1284">
                  <c:v>6.0295110839206876</c:v>
                </c:pt>
                <c:pt idx="1285">
                  <c:v>5.9767608520710152</c:v>
                </c:pt>
                <c:pt idx="1286">
                  <c:v>5.9164507493710774</c:v>
                </c:pt>
                <c:pt idx="1287">
                  <c:v>5.9870766083004172</c:v>
                </c:pt>
                <c:pt idx="1288">
                  <c:v>5.0392672788402608</c:v>
                </c:pt>
                <c:pt idx="1289">
                  <c:v>7.0014514135287067</c:v>
                </c:pt>
                <c:pt idx="1290">
                  <c:v>3.898410058709044</c:v>
                </c:pt>
                <c:pt idx="1291">
                  <c:v>5.9402127550990134</c:v>
                </c:pt>
                <c:pt idx="1292">
                  <c:v>6.0582402894423986</c:v>
                </c:pt>
                <c:pt idx="1293">
                  <c:v>6.0138218529128622</c:v>
                </c:pt>
                <c:pt idx="1294">
                  <c:v>5.873374104205249</c:v>
                </c:pt>
                <c:pt idx="1295">
                  <c:v>5.9342478379668648</c:v>
                </c:pt>
                <c:pt idx="1296">
                  <c:v>6.9811545445836893</c:v>
                </c:pt>
                <c:pt idx="1297">
                  <c:v>4.0137913029180075</c:v>
                </c:pt>
                <c:pt idx="1298">
                  <c:v>6.0987711270121583</c:v>
                </c:pt>
                <c:pt idx="1299">
                  <c:v>4.1424189347965541</c:v>
                </c:pt>
                <c:pt idx="1300">
                  <c:v>7.0743652401819785</c:v>
                </c:pt>
                <c:pt idx="1301">
                  <c:v>3.8959814801654926</c:v>
                </c:pt>
                <c:pt idx="1302">
                  <c:v>5.1212353435677</c:v>
                </c:pt>
                <c:pt idx="1303">
                  <c:v>4.8971437179423463</c:v>
                </c:pt>
                <c:pt idx="1304">
                  <c:v>4.060143560013584</c:v>
                </c:pt>
                <c:pt idx="1305">
                  <c:v>3.9474749458040508</c:v>
                </c:pt>
                <c:pt idx="1306">
                  <c:v>5.9242919043409721</c:v>
                </c:pt>
                <c:pt idx="1307">
                  <c:v>5.9278610418376845</c:v>
                </c:pt>
                <c:pt idx="1308">
                  <c:v>4.0831830561481182</c:v>
                </c:pt>
                <c:pt idx="1309">
                  <c:v>3.9045467394547448</c:v>
                </c:pt>
                <c:pt idx="1310">
                  <c:v>6.0059351610928928</c:v>
                </c:pt>
                <c:pt idx="1311">
                  <c:v>3.8607298906425154</c:v>
                </c:pt>
                <c:pt idx="1312">
                  <c:v>3.9196966763330217</c:v>
                </c:pt>
                <c:pt idx="1313">
                  <c:v>5.9885758632359156</c:v>
                </c:pt>
                <c:pt idx="1314">
                  <c:v>4.0415946338975459</c:v>
                </c:pt>
                <c:pt idx="1315">
                  <c:v>5.8653770470749391</c:v>
                </c:pt>
                <c:pt idx="1316">
                  <c:v>6.908043134992595</c:v>
                </c:pt>
                <c:pt idx="1317">
                  <c:v>5.8382174903226112</c:v>
                </c:pt>
                <c:pt idx="1318">
                  <c:v>3.0764210309773001</c:v>
                </c:pt>
                <c:pt idx="1319">
                  <c:v>4.9830200083195217</c:v>
                </c:pt>
                <c:pt idx="1320">
                  <c:v>5.9646493233462472</c:v>
                </c:pt>
                <c:pt idx="1321">
                  <c:v>4.9817455511156616</c:v>
                </c:pt>
                <c:pt idx="1322">
                  <c:v>4.9805737109812762</c:v>
                </c:pt>
                <c:pt idx="1323">
                  <c:v>5.9242752769108984</c:v>
                </c:pt>
                <c:pt idx="1324">
                  <c:v>5.9834618256863266</c:v>
                </c:pt>
                <c:pt idx="1325">
                  <c:v>5.9788862064182302</c:v>
                </c:pt>
                <c:pt idx="1326">
                  <c:v>6.0663888091662379</c:v>
                </c:pt>
                <c:pt idx="1327">
                  <c:v>5.0056757942699868</c:v>
                </c:pt>
                <c:pt idx="1328">
                  <c:v>4.9205242738598924</c:v>
                </c:pt>
                <c:pt idx="1329">
                  <c:v>5.1929855674517915</c:v>
                </c:pt>
                <c:pt idx="1330">
                  <c:v>5.9386583149666867</c:v>
                </c:pt>
                <c:pt idx="1331">
                  <c:v>6.1178138351065137</c:v>
                </c:pt>
                <c:pt idx="1332">
                  <c:v>5.9549584175971759</c:v>
                </c:pt>
                <c:pt idx="1333">
                  <c:v>5.8114799877316798</c:v>
                </c:pt>
                <c:pt idx="1334">
                  <c:v>6.0536752726426659</c:v>
                </c:pt>
                <c:pt idx="1335">
                  <c:v>5.006035343239704</c:v>
                </c:pt>
                <c:pt idx="1336">
                  <c:v>5.8377112580218764</c:v>
                </c:pt>
                <c:pt idx="1337">
                  <c:v>6.0729296513079252</c:v>
                </c:pt>
                <c:pt idx="1338">
                  <c:v>4.9267095791197804</c:v>
                </c:pt>
                <c:pt idx="1339">
                  <c:v>5.869148650606216</c:v>
                </c:pt>
                <c:pt idx="1340">
                  <c:v>5.9994889858098546</c:v>
                </c:pt>
                <c:pt idx="1341">
                  <c:v>5.0332614606429678</c:v>
                </c:pt>
                <c:pt idx="1342">
                  <c:v>4.9629550034342165</c:v>
                </c:pt>
                <c:pt idx="1343">
                  <c:v>4.8232071816765316</c:v>
                </c:pt>
                <c:pt idx="1344">
                  <c:v>6.0744932362099204</c:v>
                </c:pt>
                <c:pt idx="1345">
                  <c:v>4.841822659327657</c:v>
                </c:pt>
                <c:pt idx="1346">
                  <c:v>5.1051303114906545</c:v>
                </c:pt>
                <c:pt idx="1347">
                  <c:v>4.8303257228659167</c:v>
                </c:pt>
                <c:pt idx="1348">
                  <c:v>4.881233584551679</c:v>
                </c:pt>
                <c:pt idx="1349">
                  <c:v>5.0062349146591387</c:v>
                </c:pt>
                <c:pt idx="1350">
                  <c:v>4.9451875923022657</c:v>
                </c:pt>
                <c:pt idx="1351">
                  <c:v>4.9409947632190443</c:v>
                </c:pt>
                <c:pt idx="1352">
                  <c:v>5.0232576741344825</c:v>
                </c:pt>
                <c:pt idx="1353">
                  <c:v>5.0105978597858938</c:v>
                </c:pt>
                <c:pt idx="1354">
                  <c:v>7.0942246347704927</c:v>
                </c:pt>
                <c:pt idx="1355">
                  <c:v>5.987480026826602</c:v>
                </c:pt>
                <c:pt idx="1356">
                  <c:v>6.0246276848364992</c:v>
                </c:pt>
                <c:pt idx="1357">
                  <c:v>5.8962077728354014</c:v>
                </c:pt>
                <c:pt idx="1358">
                  <c:v>4.934880258800864</c:v>
                </c:pt>
                <c:pt idx="1359">
                  <c:v>5.0014357001490151</c:v>
                </c:pt>
                <c:pt idx="1360">
                  <c:v>5.0511400536336311</c:v>
                </c:pt>
                <c:pt idx="1361">
                  <c:v>5.0820162551342483</c:v>
                </c:pt>
                <c:pt idx="1362">
                  <c:v>4.9603223592627783</c:v>
                </c:pt>
                <c:pt idx="1363">
                  <c:v>6.9792695705815149</c:v>
                </c:pt>
                <c:pt idx="1364">
                  <c:v>6.9445393156323583</c:v>
                </c:pt>
                <c:pt idx="1365">
                  <c:v>7.1712692504040003</c:v>
                </c:pt>
                <c:pt idx="1366">
                  <c:v>6.9792710739848971</c:v>
                </c:pt>
                <c:pt idx="1367">
                  <c:v>7.0513999009911155</c:v>
                </c:pt>
                <c:pt idx="1368">
                  <c:v>1.9793943847948936</c:v>
                </c:pt>
                <c:pt idx="1369">
                  <c:v>5.080627825660434</c:v>
                </c:pt>
                <c:pt idx="1370">
                  <c:v>5.0768117786924902</c:v>
                </c:pt>
                <c:pt idx="1371">
                  <c:v>5.9863907183798997</c:v>
                </c:pt>
                <c:pt idx="1372">
                  <c:v>7.0097455584935489</c:v>
                </c:pt>
                <c:pt idx="1373">
                  <c:v>4.9323637479060043</c:v>
                </c:pt>
                <c:pt idx="1374">
                  <c:v>3.9594953769512626</c:v>
                </c:pt>
                <c:pt idx="1375">
                  <c:v>6.1259545423670856</c:v>
                </c:pt>
                <c:pt idx="1376">
                  <c:v>6.0155176735457863</c:v>
                </c:pt>
                <c:pt idx="1377">
                  <c:v>4.9648324611698573</c:v>
                </c:pt>
                <c:pt idx="1378">
                  <c:v>5.8230115379932172</c:v>
                </c:pt>
                <c:pt idx="1379">
                  <c:v>4.8840219819051205</c:v>
                </c:pt>
                <c:pt idx="1380">
                  <c:v>4.9113812998690785</c:v>
                </c:pt>
                <c:pt idx="1381">
                  <c:v>5.1251622912547123</c:v>
                </c:pt>
                <c:pt idx="1382">
                  <c:v>4.9388626220239304</c:v>
                </c:pt>
                <c:pt idx="1383">
                  <c:v>5.0397902297288244</c:v>
                </c:pt>
                <c:pt idx="1384">
                  <c:v>5.963786773601818</c:v>
                </c:pt>
                <c:pt idx="1385">
                  <c:v>4.8984293157617911</c:v>
                </c:pt>
                <c:pt idx="1386">
                  <c:v>5.1965480594019633</c:v>
                </c:pt>
                <c:pt idx="1387">
                  <c:v>4.0686126281394532</c:v>
                </c:pt>
                <c:pt idx="1388">
                  <c:v>4.798171037923936</c:v>
                </c:pt>
                <c:pt idx="1389">
                  <c:v>5.1190927719649029</c:v>
                </c:pt>
                <c:pt idx="1390">
                  <c:v>5.0476955555260723</c:v>
                </c:pt>
                <c:pt idx="1391">
                  <c:v>4.8976018669312307</c:v>
                </c:pt>
                <c:pt idx="1392">
                  <c:v>5.1779858978338682</c:v>
                </c:pt>
                <c:pt idx="1393">
                  <c:v>4.9290939816535992</c:v>
                </c:pt>
                <c:pt idx="1394">
                  <c:v>5.0001841419889406</c:v>
                </c:pt>
                <c:pt idx="1395">
                  <c:v>5.0807904249191616</c:v>
                </c:pt>
                <c:pt idx="1396">
                  <c:v>5.1799587623890373</c:v>
                </c:pt>
                <c:pt idx="1397">
                  <c:v>5.9796873852068009</c:v>
                </c:pt>
                <c:pt idx="1398">
                  <c:v>5.9691198156768799</c:v>
                </c:pt>
                <c:pt idx="1399">
                  <c:v>5.0123888640240617</c:v>
                </c:pt>
                <c:pt idx="1400">
                  <c:v>6.1133864167127872</c:v>
                </c:pt>
                <c:pt idx="1401">
                  <c:v>5.1436884479239211</c:v>
                </c:pt>
                <c:pt idx="1402">
                  <c:v>4.9410037378272014</c:v>
                </c:pt>
                <c:pt idx="1403">
                  <c:v>4.9295508033281932</c:v>
                </c:pt>
                <c:pt idx="1404">
                  <c:v>5.1554477348669465</c:v>
                </c:pt>
                <c:pt idx="1405">
                  <c:v>4.9977165106870194</c:v>
                </c:pt>
                <c:pt idx="1406">
                  <c:v>4.9719489191025446</c:v>
                </c:pt>
                <c:pt idx="1407">
                  <c:v>4.928060510215035</c:v>
                </c:pt>
                <c:pt idx="1408">
                  <c:v>5.9093728722460446</c:v>
                </c:pt>
                <c:pt idx="1409">
                  <c:v>5.9068608806681473</c:v>
                </c:pt>
                <c:pt idx="1410">
                  <c:v>4.9614862669910256</c:v>
                </c:pt>
                <c:pt idx="1411">
                  <c:v>5.1034139978938091</c:v>
                </c:pt>
                <c:pt idx="1412">
                  <c:v>4.8336695059631474</c:v>
                </c:pt>
                <c:pt idx="1413">
                  <c:v>6.0544046773089972</c:v>
                </c:pt>
                <c:pt idx="1414">
                  <c:v>4.9103532390083018</c:v>
                </c:pt>
                <c:pt idx="1415">
                  <c:v>5.9873769656755185</c:v>
                </c:pt>
                <c:pt idx="1416">
                  <c:v>6.0413923748262501</c:v>
                </c:pt>
                <c:pt idx="1417">
                  <c:v>5.050596756365838</c:v>
                </c:pt>
                <c:pt idx="1418">
                  <c:v>6.0091084948240203</c:v>
                </c:pt>
                <c:pt idx="1419">
                  <c:v>5.0636938607266098</c:v>
                </c:pt>
                <c:pt idx="1420">
                  <c:v>4.76490557917404</c:v>
                </c:pt>
                <c:pt idx="1421">
                  <c:v>6.0031929132650177</c:v>
                </c:pt>
                <c:pt idx="1422">
                  <c:v>6.2309384834672752</c:v>
                </c:pt>
                <c:pt idx="1423">
                  <c:v>5.9340190164528055</c:v>
                </c:pt>
                <c:pt idx="1424">
                  <c:v>5.0061494600984418</c:v>
                </c:pt>
                <c:pt idx="1425">
                  <c:v>4.0866424694728192</c:v>
                </c:pt>
                <c:pt idx="1426">
                  <c:v>5.0794036309425659</c:v>
                </c:pt>
                <c:pt idx="1427">
                  <c:v>6.2221107199630348</c:v>
                </c:pt>
                <c:pt idx="1428">
                  <c:v>5.1006731088775634</c:v>
                </c:pt>
                <c:pt idx="1429">
                  <c:v>3.9671980336702366</c:v>
                </c:pt>
                <c:pt idx="1430">
                  <c:v>4.960111809379419</c:v>
                </c:pt>
                <c:pt idx="1431">
                  <c:v>4.9946245141371062</c:v>
                </c:pt>
                <c:pt idx="1432">
                  <c:v>6.0081300559175848</c:v>
                </c:pt>
                <c:pt idx="1433">
                  <c:v>5.1077217826048074</c:v>
                </c:pt>
                <c:pt idx="1434">
                  <c:v>4.7857215788933356</c:v>
                </c:pt>
                <c:pt idx="1435">
                  <c:v>4.0185837209383299</c:v>
                </c:pt>
                <c:pt idx="1436">
                  <c:v>5.803840817283505</c:v>
                </c:pt>
                <c:pt idx="1437">
                  <c:v>5.0768424395758398</c:v>
                </c:pt>
                <c:pt idx="1438">
                  <c:v>5.942387681661125</c:v>
                </c:pt>
                <c:pt idx="1439">
                  <c:v>4.9306598793130565</c:v>
                </c:pt>
                <c:pt idx="1440">
                  <c:v>5.0609695230528962</c:v>
                </c:pt>
                <c:pt idx="1441">
                  <c:v>4.8264570712997896</c:v>
                </c:pt>
                <c:pt idx="1442">
                  <c:v>6.013104687216928</c:v>
                </c:pt>
                <c:pt idx="1443">
                  <c:v>4.8261587874841521</c:v>
                </c:pt>
                <c:pt idx="1444">
                  <c:v>5.0748590455741267</c:v>
                </c:pt>
                <c:pt idx="1445">
                  <c:v>5.9105886004566166</c:v>
                </c:pt>
                <c:pt idx="1446">
                  <c:v>5.127280408851802</c:v>
                </c:pt>
                <c:pt idx="1447">
                  <c:v>5.1667941397074184</c:v>
                </c:pt>
                <c:pt idx="1448">
                  <c:v>6.0001812221193971</c:v>
                </c:pt>
                <c:pt idx="1449">
                  <c:v>5.0951106336919114</c:v>
                </c:pt>
                <c:pt idx="1450">
                  <c:v>5.0912139543028703</c:v>
                </c:pt>
                <c:pt idx="1451">
                  <c:v>6.0587822331602652</c:v>
                </c:pt>
                <c:pt idx="1452">
                  <c:v>3.0125944993891767</c:v>
                </c:pt>
                <c:pt idx="1453">
                  <c:v>4.957947351554056</c:v>
                </c:pt>
                <c:pt idx="1454">
                  <c:v>5.8034542487009251</c:v>
                </c:pt>
                <c:pt idx="1455">
                  <c:v>6.1094647571735221</c:v>
                </c:pt>
                <c:pt idx="1456">
                  <c:v>6.0049705405221889</c:v>
                </c:pt>
                <c:pt idx="1457">
                  <c:v>4.2234822839722597</c:v>
                </c:pt>
                <c:pt idx="1458">
                  <c:v>5.9360942756479274</c:v>
                </c:pt>
                <c:pt idx="1459">
                  <c:v>3.9256748416193856</c:v>
                </c:pt>
                <c:pt idx="1460">
                  <c:v>7.0754724328139691</c:v>
                </c:pt>
                <c:pt idx="1461">
                  <c:v>4.2068758414270819</c:v>
                </c:pt>
                <c:pt idx="1462">
                  <c:v>3.8464166921739213</c:v>
                </c:pt>
                <c:pt idx="1463">
                  <c:v>5.9589041719070011</c:v>
                </c:pt>
                <c:pt idx="1464">
                  <c:v>6.1208132326889269</c:v>
                </c:pt>
                <c:pt idx="1465">
                  <c:v>5.8886609250135384</c:v>
                </c:pt>
                <c:pt idx="1466">
                  <c:v>5.0460561376856106</c:v>
                </c:pt>
                <c:pt idx="1467">
                  <c:v>4.8198742997931969</c:v>
                </c:pt>
                <c:pt idx="1468">
                  <c:v>4.9295587074474696</c:v>
                </c:pt>
                <c:pt idx="1469">
                  <c:v>5.0062397146295501</c:v>
                </c:pt>
                <c:pt idx="1470">
                  <c:v>4.9377848731278249</c:v>
                </c:pt>
                <c:pt idx="1471">
                  <c:v>6.166417736570815</c:v>
                </c:pt>
                <c:pt idx="1472">
                  <c:v>5.9681733384796232</c:v>
                </c:pt>
                <c:pt idx="1473">
                  <c:v>6.2288233801681869</c:v>
                </c:pt>
                <c:pt idx="1474">
                  <c:v>5.0018259817421304</c:v>
                </c:pt>
                <c:pt idx="1475">
                  <c:v>4.8655432909700629</c:v>
                </c:pt>
                <c:pt idx="1476">
                  <c:v>6.0851694506913061</c:v>
                </c:pt>
                <c:pt idx="1477">
                  <c:v>5.937423178829663</c:v>
                </c:pt>
                <c:pt idx="1478">
                  <c:v>6.1474050634347366</c:v>
                </c:pt>
                <c:pt idx="1479">
                  <c:v>5.0689121840075853</c:v>
                </c:pt>
                <c:pt idx="1480">
                  <c:v>6.0565132522056944</c:v>
                </c:pt>
                <c:pt idx="1481">
                  <c:v>5.0811605290360795</c:v>
                </c:pt>
                <c:pt idx="1482">
                  <c:v>6.1170220653615548</c:v>
                </c:pt>
                <c:pt idx="1483">
                  <c:v>5.9547202219675244</c:v>
                </c:pt>
                <c:pt idx="1484">
                  <c:v>5.9967052923574222</c:v>
                </c:pt>
                <c:pt idx="1485">
                  <c:v>5.867229812440141</c:v>
                </c:pt>
                <c:pt idx="1486">
                  <c:v>5.0047521938986765</c:v>
                </c:pt>
                <c:pt idx="1487">
                  <c:v>5.0873052644601984</c:v>
                </c:pt>
                <c:pt idx="1488">
                  <c:v>6.824897125124723</c:v>
                </c:pt>
                <c:pt idx="1489">
                  <c:v>5.8697049294707702</c:v>
                </c:pt>
                <c:pt idx="1490">
                  <c:v>5.0449656711705382</c:v>
                </c:pt>
                <c:pt idx="1491">
                  <c:v>6.0023947426902664</c:v>
                </c:pt>
                <c:pt idx="1492">
                  <c:v>4.9595013318108974</c:v>
                </c:pt>
                <c:pt idx="1493">
                  <c:v>6.9822484941734739</c:v>
                </c:pt>
                <c:pt idx="1494">
                  <c:v>6.0416476113902942</c:v>
                </c:pt>
                <c:pt idx="1495">
                  <c:v>6.0408243042656284</c:v>
                </c:pt>
                <c:pt idx="1496">
                  <c:v>5.0231741696928225</c:v>
                </c:pt>
                <c:pt idx="1497">
                  <c:v>7.0111092441233875</c:v>
                </c:pt>
                <c:pt idx="1498">
                  <c:v>5.1850180564593389</c:v>
                </c:pt>
                <c:pt idx="1499">
                  <c:v>4.9447529385054105</c:v>
                </c:pt>
                <c:pt idx="1500">
                  <c:v>4.9491127328295796</c:v>
                </c:pt>
                <c:pt idx="1501">
                  <c:v>4.9171128588765258</c:v>
                </c:pt>
                <c:pt idx="1502">
                  <c:v>4.9570236729721371</c:v>
                </c:pt>
                <c:pt idx="1503">
                  <c:v>6.0348319279866391</c:v>
                </c:pt>
                <c:pt idx="1504">
                  <c:v>6.132555238612408</c:v>
                </c:pt>
                <c:pt idx="1505">
                  <c:v>4.0916030770846445</c:v>
                </c:pt>
                <c:pt idx="1506">
                  <c:v>5.8985141638030365</c:v>
                </c:pt>
                <c:pt idx="1507">
                  <c:v>4.9198960450744851</c:v>
                </c:pt>
                <c:pt idx="1508">
                  <c:v>3.9897154610321497</c:v>
                </c:pt>
                <c:pt idx="1509">
                  <c:v>5.1214094591127628</c:v>
                </c:pt>
                <c:pt idx="1510">
                  <c:v>4.9853155500174013</c:v>
                </c:pt>
                <c:pt idx="1511">
                  <c:v>5.845340387382949</c:v>
                </c:pt>
                <c:pt idx="1512">
                  <c:v>5.9613120285002772</c:v>
                </c:pt>
                <c:pt idx="1513">
                  <c:v>5.9976844460363532</c:v>
                </c:pt>
                <c:pt idx="1514">
                  <c:v>5.8490509193759559</c:v>
                </c:pt>
                <c:pt idx="1515">
                  <c:v>5.8668597343559705</c:v>
                </c:pt>
                <c:pt idx="1516">
                  <c:v>5.9962755347430585</c:v>
                </c:pt>
                <c:pt idx="1517">
                  <c:v>5.8398314730361607</c:v>
                </c:pt>
                <c:pt idx="1518">
                  <c:v>4.8924849355596374</c:v>
                </c:pt>
                <c:pt idx="1519">
                  <c:v>3.80005061718412</c:v>
                </c:pt>
                <c:pt idx="1520">
                  <c:v>6.1082069735763804</c:v>
                </c:pt>
                <c:pt idx="1521">
                  <c:v>6.0095975437153797</c:v>
                </c:pt>
                <c:pt idx="1522">
                  <c:v>6.050015229774159</c:v>
                </c:pt>
                <c:pt idx="1523">
                  <c:v>5.9789608443947246</c:v>
                </c:pt>
                <c:pt idx="1524">
                  <c:v>5.0810875706787408</c:v>
                </c:pt>
                <c:pt idx="1525">
                  <c:v>6.0089238318436884</c:v>
                </c:pt>
                <c:pt idx="1526">
                  <c:v>4.9589766269081865</c:v>
                </c:pt>
                <c:pt idx="1527">
                  <c:v>5.9611178247271734</c:v>
                </c:pt>
                <c:pt idx="1528">
                  <c:v>5.0825362569435022</c:v>
                </c:pt>
                <c:pt idx="1529">
                  <c:v>5.0827426836464635</c:v>
                </c:pt>
                <c:pt idx="1530">
                  <c:v>5.1003037719494486</c:v>
                </c:pt>
                <c:pt idx="1531">
                  <c:v>6.0279643208098097</c:v>
                </c:pt>
                <c:pt idx="1532">
                  <c:v>4.9839882418753607</c:v>
                </c:pt>
                <c:pt idx="1533">
                  <c:v>5.0493054115778877</c:v>
                </c:pt>
                <c:pt idx="1534">
                  <c:v>4.9861222900984492</c:v>
                </c:pt>
                <c:pt idx="1535">
                  <c:v>4.9357568475741074</c:v>
                </c:pt>
                <c:pt idx="1536">
                  <c:v>6.0461429726130911</c:v>
                </c:pt>
                <c:pt idx="1537">
                  <c:v>5.9494815782719543</c:v>
                </c:pt>
                <c:pt idx="1538">
                  <c:v>6.0038469414858948</c:v>
                </c:pt>
                <c:pt idx="1539">
                  <c:v>6.9367057866765238</c:v>
                </c:pt>
                <c:pt idx="1540">
                  <c:v>4.9301986046023707</c:v>
                </c:pt>
                <c:pt idx="1541">
                  <c:v>6.0208611233070659</c:v>
                </c:pt>
                <c:pt idx="1542">
                  <c:v>4.9680537468823802</c:v>
                </c:pt>
                <c:pt idx="1543">
                  <c:v>4.9586338018187623</c:v>
                </c:pt>
                <c:pt idx="1544">
                  <c:v>5.9662026325308553</c:v>
                </c:pt>
                <c:pt idx="1545">
                  <c:v>5.0892076914677906</c:v>
                </c:pt>
                <c:pt idx="1546">
                  <c:v>5.9781483995940707</c:v>
                </c:pt>
                <c:pt idx="1547">
                  <c:v>4.9893715651338493</c:v>
                </c:pt>
                <c:pt idx="1548">
                  <c:v>4.842799659739053</c:v>
                </c:pt>
                <c:pt idx="1549">
                  <c:v>4.9734519425762747</c:v>
                </c:pt>
                <c:pt idx="1550">
                  <c:v>5.020292087287717</c:v>
                </c:pt>
                <c:pt idx="1551">
                  <c:v>6.0068706048375207</c:v>
                </c:pt>
                <c:pt idx="1552">
                  <c:v>6.0718880310546481</c:v>
                </c:pt>
                <c:pt idx="1553">
                  <c:v>5.998508225613949</c:v>
                </c:pt>
                <c:pt idx="1554">
                  <c:v>6.0716885945889638</c:v>
                </c:pt>
                <c:pt idx="1555">
                  <c:v>5.0859131990079707</c:v>
                </c:pt>
                <c:pt idx="1556">
                  <c:v>4.9464327856672323</c:v>
                </c:pt>
                <c:pt idx="1557">
                  <c:v>5.8791336148930418</c:v>
                </c:pt>
                <c:pt idx="1558">
                  <c:v>5.1766695391056103</c:v>
                </c:pt>
                <c:pt idx="1559">
                  <c:v>4.8618784390254053</c:v>
                </c:pt>
                <c:pt idx="1560">
                  <c:v>5.0449327600918412</c:v>
                </c:pt>
                <c:pt idx="1561">
                  <c:v>4.9111122226586978</c:v>
                </c:pt>
                <c:pt idx="1562">
                  <c:v>4.8186737710605234</c:v>
                </c:pt>
                <c:pt idx="1563">
                  <c:v>6.9457952130843079</c:v>
                </c:pt>
                <c:pt idx="1564">
                  <c:v>4.9709100423699129</c:v>
                </c:pt>
                <c:pt idx="1565">
                  <c:v>5.9577685815713579</c:v>
                </c:pt>
                <c:pt idx="1566">
                  <c:v>4.934277153790779</c:v>
                </c:pt>
                <c:pt idx="1567">
                  <c:v>5.9040487725448729</c:v>
                </c:pt>
                <c:pt idx="1568">
                  <c:v>5.8285529105939844</c:v>
                </c:pt>
                <c:pt idx="1569">
                  <c:v>4.9837375453025823</c:v>
                </c:pt>
                <c:pt idx="1570">
                  <c:v>4.9242642634943348</c:v>
                </c:pt>
                <c:pt idx="1571">
                  <c:v>4.9688893393770837</c:v>
                </c:pt>
                <c:pt idx="1572">
                  <c:v>6.032121785399104</c:v>
                </c:pt>
                <c:pt idx="1573">
                  <c:v>5.0155669475592015</c:v>
                </c:pt>
                <c:pt idx="1574">
                  <c:v>4.8680456786225319</c:v>
                </c:pt>
                <c:pt idx="1575">
                  <c:v>5.0530441721977386</c:v>
                </c:pt>
                <c:pt idx="1576">
                  <c:v>5.0849779806945614</c:v>
                </c:pt>
                <c:pt idx="1577">
                  <c:v>6.1540344951898067</c:v>
                </c:pt>
                <c:pt idx="1578">
                  <c:v>4.7086337071285058</c:v>
                </c:pt>
                <c:pt idx="1579">
                  <c:v>4.814989713853139</c:v>
                </c:pt>
                <c:pt idx="1580">
                  <c:v>4.9764006832320486</c:v>
                </c:pt>
                <c:pt idx="1581">
                  <c:v>6.9741159047159256</c:v>
                </c:pt>
                <c:pt idx="1582">
                  <c:v>5.0064865789554736</c:v>
                </c:pt>
                <c:pt idx="1583">
                  <c:v>5.0645121141125049</c:v>
                </c:pt>
                <c:pt idx="1584">
                  <c:v>5.8480751106768398</c:v>
                </c:pt>
                <c:pt idx="1585">
                  <c:v>4.9174315224445513</c:v>
                </c:pt>
                <c:pt idx="1586">
                  <c:v>5.1358141486388256</c:v>
                </c:pt>
                <c:pt idx="1587">
                  <c:v>6.0550148369395904</c:v>
                </c:pt>
                <c:pt idx="1588">
                  <c:v>6.0388756549651772</c:v>
                </c:pt>
                <c:pt idx="1589">
                  <c:v>5.9456037897608294</c:v>
                </c:pt>
                <c:pt idx="1590">
                  <c:v>4.8876612059468556</c:v>
                </c:pt>
                <c:pt idx="1591">
                  <c:v>4.9302834662293611</c:v>
                </c:pt>
                <c:pt idx="1592">
                  <c:v>5.1248780853269942</c:v>
                </c:pt>
                <c:pt idx="1593">
                  <c:v>4.9889656192643015</c:v>
                </c:pt>
                <c:pt idx="1594">
                  <c:v>6.0423308486376932</c:v>
                </c:pt>
                <c:pt idx="1595">
                  <c:v>5.1482429645527796</c:v>
                </c:pt>
                <c:pt idx="1596">
                  <c:v>6.0698520783869965</c:v>
                </c:pt>
                <c:pt idx="1597">
                  <c:v>6.0198787373307292</c:v>
                </c:pt>
                <c:pt idx="1598">
                  <c:v>5.0239392257237467</c:v>
                </c:pt>
                <c:pt idx="1599">
                  <c:v>6.8994519357586439</c:v>
                </c:pt>
                <c:pt idx="1600">
                  <c:v>5.9426898908134733</c:v>
                </c:pt>
                <c:pt idx="1601">
                  <c:v>4.9512737368493571</c:v>
                </c:pt>
                <c:pt idx="1602">
                  <c:v>5.016811751011204</c:v>
                </c:pt>
                <c:pt idx="1603">
                  <c:v>6.0769687858037562</c:v>
                </c:pt>
                <c:pt idx="1604">
                  <c:v>5.02756902148887</c:v>
                </c:pt>
                <c:pt idx="1605">
                  <c:v>6.0794510723030273</c:v>
                </c:pt>
                <c:pt idx="1606">
                  <c:v>4.8138925518741527</c:v>
                </c:pt>
                <c:pt idx="1607">
                  <c:v>6.097146003314041</c:v>
                </c:pt>
                <c:pt idx="1608">
                  <c:v>6.1640262583258547</c:v>
                </c:pt>
                <c:pt idx="1609">
                  <c:v>5.1013682409547076</c:v>
                </c:pt>
                <c:pt idx="1610">
                  <c:v>5.8740073363986181</c:v>
                </c:pt>
                <c:pt idx="1611">
                  <c:v>5.9468040461806471</c:v>
                </c:pt>
                <c:pt idx="1612">
                  <c:v>6.0935087929108755</c:v>
                </c:pt>
                <c:pt idx="1613">
                  <c:v>5.8299598981463721</c:v>
                </c:pt>
                <c:pt idx="1614">
                  <c:v>6.0754805607255946</c:v>
                </c:pt>
                <c:pt idx="1615">
                  <c:v>5.8292385078480349</c:v>
                </c:pt>
                <c:pt idx="1616">
                  <c:v>6.0644635907741922</c:v>
                </c:pt>
                <c:pt idx="1617">
                  <c:v>6.0222869053474186</c:v>
                </c:pt>
                <c:pt idx="1618">
                  <c:v>5.0072494557642573</c:v>
                </c:pt>
                <c:pt idx="1619">
                  <c:v>6.0446459550889147</c:v>
                </c:pt>
                <c:pt idx="1620">
                  <c:v>5.9832665587517972</c:v>
                </c:pt>
                <c:pt idx="1621">
                  <c:v>5.0484286958392097</c:v>
                </c:pt>
                <c:pt idx="1622">
                  <c:v>4.8636805950710738</c:v>
                </c:pt>
                <c:pt idx="1623">
                  <c:v>6.1621290160024627</c:v>
                </c:pt>
                <c:pt idx="1624">
                  <c:v>4.9402358825573875</c:v>
                </c:pt>
                <c:pt idx="1625">
                  <c:v>5.7991090339238625</c:v>
                </c:pt>
                <c:pt idx="1626">
                  <c:v>5.7918254713655486</c:v>
                </c:pt>
                <c:pt idx="1627">
                  <c:v>5.9632265721059179</c:v>
                </c:pt>
                <c:pt idx="1628">
                  <c:v>4.8876202473119834</c:v>
                </c:pt>
                <c:pt idx="1629">
                  <c:v>6.1437152396836439</c:v>
                </c:pt>
                <c:pt idx="1630">
                  <c:v>6.1221903983915524</c:v>
                </c:pt>
                <c:pt idx="1631">
                  <c:v>4.9624739134349811</c:v>
                </c:pt>
                <c:pt idx="1632">
                  <c:v>4.9683110444877849</c:v>
                </c:pt>
                <c:pt idx="1633">
                  <c:v>5.2480588608432202</c:v>
                </c:pt>
                <c:pt idx="1634">
                  <c:v>4.74735852812295</c:v>
                </c:pt>
                <c:pt idx="1635">
                  <c:v>7.1588568522628044</c:v>
                </c:pt>
                <c:pt idx="1636">
                  <c:v>5.0122034919857708</c:v>
                </c:pt>
                <c:pt idx="1637">
                  <c:v>4.8858732119302015</c:v>
                </c:pt>
                <c:pt idx="1638">
                  <c:v>5.0445430634380815</c:v>
                </c:pt>
                <c:pt idx="1639">
                  <c:v>4.8368747116876625</c:v>
                </c:pt>
                <c:pt idx="1640">
                  <c:v>4.9130102368451931</c:v>
                </c:pt>
                <c:pt idx="1641">
                  <c:v>4.0568087796770982</c:v>
                </c:pt>
                <c:pt idx="1642">
                  <c:v>4.0717940008802334</c:v>
                </c:pt>
                <c:pt idx="1643">
                  <c:v>4.8460173896114078</c:v>
                </c:pt>
                <c:pt idx="1644">
                  <c:v>3.9652083442792754</c:v>
                </c:pt>
                <c:pt idx="1645">
                  <c:v>4.8560107311468821</c:v>
                </c:pt>
                <c:pt idx="1646">
                  <c:v>4.9902981786801428</c:v>
                </c:pt>
                <c:pt idx="1647">
                  <c:v>5.0519511087515392</c:v>
                </c:pt>
                <c:pt idx="1648">
                  <c:v>5.9849069029894393</c:v>
                </c:pt>
                <c:pt idx="1649">
                  <c:v>4.9805979476424724</c:v>
                </c:pt>
                <c:pt idx="1650">
                  <c:v>4.9518561966153616</c:v>
                </c:pt>
                <c:pt idx="1651">
                  <c:v>6.1268435304747006</c:v>
                </c:pt>
                <c:pt idx="1652">
                  <c:v>5.9277779476882824</c:v>
                </c:pt>
                <c:pt idx="1653">
                  <c:v>6.0044324793110224</c:v>
                </c:pt>
                <c:pt idx="1654">
                  <c:v>4.9794921156654501</c:v>
                </c:pt>
                <c:pt idx="1655">
                  <c:v>5.8965083023047935</c:v>
                </c:pt>
                <c:pt idx="1656">
                  <c:v>6.1129733354065028</c:v>
                </c:pt>
                <c:pt idx="1657">
                  <c:v>6.0824156767470159</c:v>
                </c:pt>
                <c:pt idx="1658">
                  <c:v>6.0056174527730937</c:v>
                </c:pt>
                <c:pt idx="1659">
                  <c:v>5.9551203512054007</c:v>
                </c:pt>
                <c:pt idx="1660">
                  <c:v>5.0800268402610413</c:v>
                </c:pt>
                <c:pt idx="1661">
                  <c:v>6.0953871116214504</c:v>
                </c:pt>
                <c:pt idx="1662">
                  <c:v>5.9780243316345674</c:v>
                </c:pt>
                <c:pt idx="1663">
                  <c:v>5.9467183379880728</c:v>
                </c:pt>
                <c:pt idx="1664">
                  <c:v>5.8480393291786585</c:v>
                </c:pt>
                <c:pt idx="1665">
                  <c:v>4.946190586525085</c:v>
                </c:pt>
                <c:pt idx="1666">
                  <c:v>5.1425426393122367</c:v>
                </c:pt>
                <c:pt idx="1667">
                  <c:v>5.0231568680827436</c:v>
                </c:pt>
                <c:pt idx="1668">
                  <c:v>5.1124419254701312</c:v>
                </c:pt>
                <c:pt idx="1669">
                  <c:v>5.9345883324534938</c:v>
                </c:pt>
                <c:pt idx="1670">
                  <c:v>4.9552258568370311</c:v>
                </c:pt>
                <c:pt idx="1671">
                  <c:v>5.8927047473224166</c:v>
                </c:pt>
                <c:pt idx="1672">
                  <c:v>5.1849156909881531</c:v>
                </c:pt>
                <c:pt idx="1673">
                  <c:v>4.9808950406419763</c:v>
                </c:pt>
                <c:pt idx="1674">
                  <c:v>5.989677831311548</c:v>
                </c:pt>
                <c:pt idx="1675">
                  <c:v>5.9834037971231284</c:v>
                </c:pt>
                <c:pt idx="1676">
                  <c:v>5.8324936232081148</c:v>
                </c:pt>
                <c:pt idx="1677">
                  <c:v>6.116095836878543</c:v>
                </c:pt>
                <c:pt idx="1678">
                  <c:v>5.0078871522200297</c:v>
                </c:pt>
                <c:pt idx="1679">
                  <c:v>4.8590788787663</c:v>
                </c:pt>
                <c:pt idx="1680">
                  <c:v>6.2000239635277765</c:v>
                </c:pt>
                <c:pt idx="1681">
                  <c:v>5.1116560927838535</c:v>
                </c:pt>
                <c:pt idx="1682">
                  <c:v>6.0350862199330519</c:v>
                </c:pt>
                <c:pt idx="1683">
                  <c:v>4.9431397368560051</c:v>
                </c:pt>
                <c:pt idx="1684">
                  <c:v>6.0529166820082789</c:v>
                </c:pt>
                <c:pt idx="1685">
                  <c:v>5.937878870251426</c:v>
                </c:pt>
                <c:pt idx="1686">
                  <c:v>5.9030984466826073</c:v>
                </c:pt>
                <c:pt idx="1687">
                  <c:v>5.9663760687832061</c:v>
                </c:pt>
                <c:pt idx="1688">
                  <c:v>4.9958593621578995</c:v>
                </c:pt>
                <c:pt idx="1689">
                  <c:v>5.956308523364144</c:v>
                </c:pt>
                <c:pt idx="1690">
                  <c:v>5.2379020443299034</c:v>
                </c:pt>
                <c:pt idx="1691">
                  <c:v>4.9019466371206377</c:v>
                </c:pt>
                <c:pt idx="1692">
                  <c:v>6.0422790651991205</c:v>
                </c:pt>
                <c:pt idx="1693">
                  <c:v>7.0536372004064978</c:v>
                </c:pt>
                <c:pt idx="1694">
                  <c:v>5.1463293766966212</c:v>
                </c:pt>
                <c:pt idx="1695">
                  <c:v>4.9174754394265676</c:v>
                </c:pt>
                <c:pt idx="1696">
                  <c:v>5.1675038119243979</c:v>
                </c:pt>
                <c:pt idx="1697">
                  <c:v>6.142760437741388</c:v>
                </c:pt>
                <c:pt idx="1698">
                  <c:v>5.003157606942624</c:v>
                </c:pt>
                <c:pt idx="1699">
                  <c:v>4.7997180646578732</c:v>
                </c:pt>
                <c:pt idx="1700">
                  <c:v>7.010775156421472</c:v>
                </c:pt>
                <c:pt idx="1701">
                  <c:v>6.0642888112883773</c:v>
                </c:pt>
                <c:pt idx="1702">
                  <c:v>5.8794314586448877</c:v>
                </c:pt>
                <c:pt idx="1703">
                  <c:v>6.1073940019664716</c:v>
                </c:pt>
                <c:pt idx="1704">
                  <c:v>6.1173287459887611</c:v>
                </c:pt>
                <c:pt idx="1705">
                  <c:v>4.8421319744324975</c:v>
                </c:pt>
                <c:pt idx="1706">
                  <c:v>4.9481736878241378</c:v>
                </c:pt>
                <c:pt idx="1707">
                  <c:v>5.9997440973033127</c:v>
                </c:pt>
                <c:pt idx="1708">
                  <c:v>5.9998158504125998</c:v>
                </c:pt>
                <c:pt idx="1709">
                  <c:v>5.8872233950937289</c:v>
                </c:pt>
                <c:pt idx="1710">
                  <c:v>5.0577872971097904</c:v>
                </c:pt>
                <c:pt idx="1711">
                  <c:v>6.0402280299672482</c:v>
                </c:pt>
                <c:pt idx="1712">
                  <c:v>5.0369402998500341</c:v>
                </c:pt>
                <c:pt idx="1713">
                  <c:v>6.0687542663535732</c:v>
                </c:pt>
                <c:pt idx="1714">
                  <c:v>5.1074470609559572</c:v>
                </c:pt>
                <c:pt idx="1715">
                  <c:v>4.9591039636061085</c:v>
                </c:pt>
                <c:pt idx="1716">
                  <c:v>4.9589175018003067</c:v>
                </c:pt>
                <c:pt idx="1717">
                  <c:v>6.0324211720092968</c:v>
                </c:pt>
                <c:pt idx="1718">
                  <c:v>4.9557464030816485</c:v>
                </c:pt>
                <c:pt idx="1719">
                  <c:v>5.0073470099336355</c:v>
                </c:pt>
                <c:pt idx="1720">
                  <c:v>4.9585231271684975</c:v>
                </c:pt>
                <c:pt idx="1721">
                  <c:v>4.9536980162583486</c:v>
                </c:pt>
                <c:pt idx="1722">
                  <c:v>5.0104799381652452</c:v>
                </c:pt>
                <c:pt idx="1723">
                  <c:v>4.9535526185937231</c:v>
                </c:pt>
                <c:pt idx="1724">
                  <c:v>5.8030444491984543</c:v>
                </c:pt>
                <c:pt idx="1725">
                  <c:v>8.0813146389412704</c:v>
                </c:pt>
                <c:pt idx="1726">
                  <c:v>6.0318079781479916</c:v>
                </c:pt>
                <c:pt idx="1727">
                  <c:v>6.0818817929035802</c:v>
                </c:pt>
                <c:pt idx="1728">
                  <c:v>5.0428860601789696</c:v>
                </c:pt>
                <c:pt idx="1729">
                  <c:v>6.0640122191981476</c:v>
                </c:pt>
                <c:pt idx="1730">
                  <c:v>4.8299553514755331</c:v>
                </c:pt>
                <c:pt idx="1731">
                  <c:v>4.8820492691416222</c:v>
                </c:pt>
                <c:pt idx="1732">
                  <c:v>6.0178369732750516</c:v>
                </c:pt>
                <c:pt idx="1733">
                  <c:v>6.0749891336618438</c:v>
                </c:pt>
                <c:pt idx="1734">
                  <c:v>5.0981179937987813</c:v>
                </c:pt>
                <c:pt idx="1735">
                  <c:v>6.0193022339934394</c:v>
                </c:pt>
                <c:pt idx="1736">
                  <c:v>5.9783379240996233</c:v>
                </c:pt>
                <c:pt idx="1737">
                  <c:v>4.9935769857790069</c:v>
                </c:pt>
                <c:pt idx="1738">
                  <c:v>6.0173771631129753</c:v>
                </c:pt>
                <c:pt idx="1739">
                  <c:v>5.9564139151139628</c:v>
                </c:pt>
                <c:pt idx="1740">
                  <c:v>6.0186644143235517</c:v>
                </c:pt>
                <c:pt idx="1741">
                  <c:v>6.0841275744077707</c:v>
                </c:pt>
                <c:pt idx="1742">
                  <c:v>4.939363854198823</c:v>
                </c:pt>
                <c:pt idx="1743">
                  <c:v>5.0209056256243576</c:v>
                </c:pt>
                <c:pt idx="1744">
                  <c:v>5.0896914770945445</c:v>
                </c:pt>
                <c:pt idx="1745">
                  <c:v>4.8843353109940315</c:v>
                </c:pt>
                <c:pt idx="1746">
                  <c:v>5.8573581035146836</c:v>
                </c:pt>
                <c:pt idx="1747">
                  <c:v>5.1464830439188232</c:v>
                </c:pt>
                <c:pt idx="1748">
                  <c:v>4.9875841425473002</c:v>
                </c:pt>
                <c:pt idx="1749">
                  <c:v>5.137286263988261</c:v>
                </c:pt>
                <c:pt idx="1750">
                  <c:v>4.9382685892016598</c:v>
                </c:pt>
                <c:pt idx="1751">
                  <c:v>5.0948724969759258</c:v>
                </c:pt>
                <c:pt idx="1752">
                  <c:v>4.95963643336645</c:v>
                </c:pt>
                <c:pt idx="1753">
                  <c:v>6.1155271975919199</c:v>
                </c:pt>
                <c:pt idx="1754">
                  <c:v>6.1934810136891558</c:v>
                </c:pt>
                <c:pt idx="1755">
                  <c:v>5.9722855793114773</c:v>
                </c:pt>
                <c:pt idx="1756">
                  <c:v>5.0330797874487541</c:v>
                </c:pt>
                <c:pt idx="1757">
                  <c:v>5.8649112305885911</c:v>
                </c:pt>
                <c:pt idx="1758">
                  <c:v>5.0288746708351661</c:v>
                </c:pt>
                <c:pt idx="1759">
                  <c:v>5.0759050376335875</c:v>
                </c:pt>
                <c:pt idx="1760">
                  <c:v>6.1808745233986278</c:v>
                </c:pt>
                <c:pt idx="1761">
                  <c:v>5.0849757094733441</c:v>
                </c:pt>
                <c:pt idx="1762">
                  <c:v>5.9705043357779886</c:v>
                </c:pt>
                <c:pt idx="1763">
                  <c:v>6.9432394029726252</c:v>
                </c:pt>
                <c:pt idx="1764">
                  <c:v>5.1736793779655557</c:v>
                </c:pt>
                <c:pt idx="1765">
                  <c:v>6.0415193177578388</c:v>
                </c:pt>
                <c:pt idx="1766">
                  <c:v>4.9525124879857083</c:v>
                </c:pt>
                <c:pt idx="1767">
                  <c:v>6.0577004633358085</c:v>
                </c:pt>
                <c:pt idx="1768">
                  <c:v>5.9480296879828245</c:v>
                </c:pt>
                <c:pt idx="1769">
                  <c:v>7.1208564105923857</c:v>
                </c:pt>
                <c:pt idx="1770">
                  <c:v>5.7847013161717866</c:v>
                </c:pt>
                <c:pt idx="1771">
                  <c:v>5.1916110196543119</c:v>
                </c:pt>
                <c:pt idx="1772">
                  <c:v>4.8849252239357535</c:v>
                </c:pt>
                <c:pt idx="1773">
                  <c:v>5.0728877469520119</c:v>
                </c:pt>
                <c:pt idx="1774">
                  <c:v>5.1090630346135741</c:v>
                </c:pt>
                <c:pt idx="1775">
                  <c:v>5.0460749940729777</c:v>
                </c:pt>
                <c:pt idx="1776">
                  <c:v>4.9338329237332026</c:v>
                </c:pt>
                <c:pt idx="1777">
                  <c:v>6.0756324752865707</c:v>
                </c:pt>
                <c:pt idx="1778">
                  <c:v>4.9998709419589282</c:v>
                </c:pt>
                <c:pt idx="1779">
                  <c:v>7.0985852971509864</c:v>
                </c:pt>
                <c:pt idx="1780">
                  <c:v>6.0140461442834425</c:v>
                </c:pt>
                <c:pt idx="1781">
                  <c:v>6.9825589629116482</c:v>
                </c:pt>
                <c:pt idx="1782">
                  <c:v>7.2185148878607013</c:v>
                </c:pt>
                <c:pt idx="1783">
                  <c:v>7.0078224728425278</c:v>
                </c:pt>
                <c:pt idx="1784">
                  <c:v>5.1230315443199412</c:v>
                </c:pt>
                <c:pt idx="1785">
                  <c:v>6.1878968537699546</c:v>
                </c:pt>
                <c:pt idx="1786">
                  <c:v>4.9935645686681669</c:v>
                </c:pt>
                <c:pt idx="1787">
                  <c:v>6.0023284724834332</c:v>
                </c:pt>
                <c:pt idx="1788">
                  <c:v>5.0262893481954203</c:v>
                </c:pt>
                <c:pt idx="1789">
                  <c:v>5.9382634541594994</c:v>
                </c:pt>
                <c:pt idx="1790">
                  <c:v>5.8400088778920471</c:v>
                </c:pt>
                <c:pt idx="1791">
                  <c:v>5.0536722797038207</c:v>
                </c:pt>
                <c:pt idx="1792">
                  <c:v>6.0152948395605774</c:v>
                </c:pt>
                <c:pt idx="1793">
                  <c:v>6.1051945765989455</c:v>
                </c:pt>
                <c:pt idx="1794">
                  <c:v>5.9485971436265626</c:v>
                </c:pt>
                <c:pt idx="1795">
                  <c:v>6.0994079050710681</c:v>
                </c:pt>
                <c:pt idx="1796">
                  <c:v>5.9605744693683071</c:v>
                </c:pt>
                <c:pt idx="1797">
                  <c:v>5.0236891580984402</c:v>
                </c:pt>
                <c:pt idx="1798">
                  <c:v>6.1593456100323625</c:v>
                </c:pt>
                <c:pt idx="1799">
                  <c:v>6.8705454235806798</c:v>
                </c:pt>
                <c:pt idx="1800">
                  <c:v>5.0574122244510091</c:v>
                </c:pt>
                <c:pt idx="1801">
                  <c:v>6.0501801321697926</c:v>
                </c:pt>
                <c:pt idx="1802">
                  <c:v>6.0045373223512968</c:v>
                </c:pt>
                <c:pt idx="1803">
                  <c:v>5.1425369371948211</c:v>
                </c:pt>
                <c:pt idx="1804">
                  <c:v>6.9094969449193639</c:v>
                </c:pt>
                <c:pt idx="1805">
                  <c:v>5.9816075003194928</c:v>
                </c:pt>
                <c:pt idx="1806">
                  <c:v>5.1240520206668814</c:v>
                </c:pt>
                <c:pt idx="1807">
                  <c:v>6.9828091622477046</c:v>
                </c:pt>
                <c:pt idx="1808">
                  <c:v>4.9648246369158358</c:v>
                </c:pt>
                <c:pt idx="1809">
                  <c:v>7.0948237282542603</c:v>
                </c:pt>
                <c:pt idx="1810">
                  <c:v>5.9185876423196371</c:v>
                </c:pt>
                <c:pt idx="1811">
                  <c:v>6.6928135937604365</c:v>
                </c:pt>
                <c:pt idx="1812">
                  <c:v>7.0282815141466841</c:v>
                </c:pt>
                <c:pt idx="1813">
                  <c:v>5.0153821084628545</c:v>
                </c:pt>
                <c:pt idx="1814">
                  <c:v>6.0114208270581546</c:v>
                </c:pt>
                <c:pt idx="1815">
                  <c:v>4.0784058792096687</c:v>
                </c:pt>
                <c:pt idx="1816">
                  <c:v>6.0778495647403474</c:v>
                </c:pt>
                <c:pt idx="1817">
                  <c:v>5.8753582455585649</c:v>
                </c:pt>
                <c:pt idx="1818">
                  <c:v>7.0697175170187849</c:v>
                </c:pt>
                <c:pt idx="1819">
                  <c:v>5.927838985661924</c:v>
                </c:pt>
                <c:pt idx="1820">
                  <c:v>5.7897193056260097</c:v>
                </c:pt>
                <c:pt idx="1821">
                  <c:v>5.063664285905813</c:v>
                </c:pt>
                <c:pt idx="1822">
                  <c:v>6.0337025687798889</c:v>
                </c:pt>
                <c:pt idx="1823">
                  <c:v>6.1096741120324429</c:v>
                </c:pt>
                <c:pt idx="1824">
                  <c:v>6.1021831526157611</c:v>
                </c:pt>
                <c:pt idx="1825">
                  <c:v>5.9030721402528537</c:v>
                </c:pt>
                <c:pt idx="1826">
                  <c:v>9.0264528855788395</c:v>
                </c:pt>
                <c:pt idx="1827">
                  <c:v>4.9722096660373989</c:v>
                </c:pt>
                <c:pt idx="1828">
                  <c:v>4.9955433140996455</c:v>
                </c:pt>
                <c:pt idx="1829">
                  <c:v>4.9052724023850178</c:v>
                </c:pt>
                <c:pt idx="1830">
                  <c:v>4.8319370422073895</c:v>
                </c:pt>
                <c:pt idx="1831">
                  <c:v>3.8452586645193469</c:v>
                </c:pt>
                <c:pt idx="1832">
                  <c:v>4.9736679309340319</c:v>
                </c:pt>
                <c:pt idx="1833">
                  <c:v>5.2016210025587339</c:v>
                </c:pt>
                <c:pt idx="1834">
                  <c:v>5.0365078410291551</c:v>
                </c:pt>
                <c:pt idx="1835">
                  <c:v>6.0234611055650644</c:v>
                </c:pt>
                <c:pt idx="1836">
                  <c:v>4.9337381282089101</c:v>
                </c:pt>
                <c:pt idx="1837">
                  <c:v>5.0018988814874339</c:v>
                </c:pt>
                <c:pt idx="1838">
                  <c:v>4.8986097686540955</c:v>
                </c:pt>
                <c:pt idx="1839">
                  <c:v>3.9371597052199263</c:v>
                </c:pt>
                <c:pt idx="1840">
                  <c:v>6.0051959529422065</c:v>
                </c:pt>
                <c:pt idx="1841">
                  <c:v>3.9764402739304296</c:v>
                </c:pt>
                <c:pt idx="1842">
                  <c:v>5.1612670897312363</c:v>
                </c:pt>
                <c:pt idx="1843">
                  <c:v>4.9464850020154456</c:v>
                </c:pt>
                <c:pt idx="1844">
                  <c:v>5.9201482252619035</c:v>
                </c:pt>
                <c:pt idx="1845">
                  <c:v>5.0399797319303916</c:v>
                </c:pt>
                <c:pt idx="1846">
                  <c:v>5.9733481112363345</c:v>
                </c:pt>
                <c:pt idx="1847">
                  <c:v>6.9959540668243907</c:v>
                </c:pt>
                <c:pt idx="1848">
                  <c:v>5.9726826650189535</c:v>
                </c:pt>
                <c:pt idx="1849">
                  <c:v>5.1643763870214432</c:v>
                </c:pt>
                <c:pt idx="1850">
                  <c:v>6.9997728129432053</c:v>
                </c:pt>
                <c:pt idx="1851">
                  <c:v>6.2093573522551004</c:v>
                </c:pt>
                <c:pt idx="1852">
                  <c:v>5.9736306742073797</c:v>
                </c:pt>
                <c:pt idx="1853">
                  <c:v>6.164324825083189</c:v>
                </c:pt>
                <c:pt idx="1854">
                  <c:v>5.9377180463280697</c:v>
                </c:pt>
                <c:pt idx="1855">
                  <c:v>6.8469999152980749</c:v>
                </c:pt>
                <c:pt idx="1856">
                  <c:v>7.2107083768768581</c:v>
                </c:pt>
                <c:pt idx="1857">
                  <c:v>4.9827418743435326</c:v>
                </c:pt>
                <c:pt idx="1858">
                  <c:v>7.0158578223459189</c:v>
                </c:pt>
                <c:pt idx="1859">
                  <c:v>6.8634451223068647</c:v>
                </c:pt>
                <c:pt idx="1860">
                  <c:v>5.8691784540447642</c:v>
                </c:pt>
                <c:pt idx="1861">
                  <c:v>6.9767166690993552</c:v>
                </c:pt>
                <c:pt idx="1862">
                  <c:v>6.7847223872921925</c:v>
                </c:pt>
                <c:pt idx="1863">
                  <c:v>7.0048115452333963</c:v>
                </c:pt>
                <c:pt idx="1864">
                  <c:v>4.9926160491588263</c:v>
                </c:pt>
                <c:pt idx="1865">
                  <c:v>6.0090736399530753</c:v>
                </c:pt>
                <c:pt idx="1866">
                  <c:v>4.9345205908277388</c:v>
                </c:pt>
                <c:pt idx="1867">
                  <c:v>5.9671194134384713</c:v>
                </c:pt>
                <c:pt idx="1868">
                  <c:v>5.098150801505021</c:v>
                </c:pt>
                <c:pt idx="1869">
                  <c:v>5.0027293020226296</c:v>
                </c:pt>
                <c:pt idx="1870">
                  <c:v>4.9821591746138054</c:v>
                </c:pt>
                <c:pt idx="1871">
                  <c:v>7.236976377514746</c:v>
                </c:pt>
                <c:pt idx="1872">
                  <c:v>5.990309492725971</c:v>
                </c:pt>
                <c:pt idx="1873">
                  <c:v>7.0523038038789458</c:v>
                </c:pt>
                <c:pt idx="1874">
                  <c:v>6.050852088859072</c:v>
                </c:pt>
                <c:pt idx="1875">
                  <c:v>3.9546035724120947</c:v>
                </c:pt>
                <c:pt idx="1876">
                  <c:v>5.9237584542453376</c:v>
                </c:pt>
                <c:pt idx="1877">
                  <c:v>4.8266800447999074</c:v>
                </c:pt>
                <c:pt idx="1878">
                  <c:v>4.9894959677160786</c:v>
                </c:pt>
                <c:pt idx="1879">
                  <c:v>4.9443488125340407</c:v>
                </c:pt>
                <c:pt idx="1880">
                  <c:v>5.1154399311175309</c:v>
                </c:pt>
                <c:pt idx="1881">
                  <c:v>7.0624530791436699</c:v>
                </c:pt>
                <c:pt idx="1882">
                  <c:v>5.9684993877819945</c:v>
                </c:pt>
                <c:pt idx="1883">
                  <c:v>6.7399487272290592</c:v>
                </c:pt>
                <c:pt idx="1884">
                  <c:v>5.1098282424249888</c:v>
                </c:pt>
                <c:pt idx="1885">
                  <c:v>6.0495952957151369</c:v>
                </c:pt>
                <c:pt idx="1886">
                  <c:v>6.0379423850912843</c:v>
                </c:pt>
                <c:pt idx="1887">
                  <c:v>5.0454735206953538</c:v>
                </c:pt>
                <c:pt idx="1888">
                  <c:v>4.8600351507445456</c:v>
                </c:pt>
                <c:pt idx="1889">
                  <c:v>3.9244732684930441</c:v>
                </c:pt>
                <c:pt idx="1890">
                  <c:v>4.8916104560981752</c:v>
                </c:pt>
                <c:pt idx="1891">
                  <c:v>5.9768451022882125</c:v>
                </c:pt>
                <c:pt idx="1892">
                  <c:v>5.9541704901579449</c:v>
                </c:pt>
                <c:pt idx="1893">
                  <c:v>5.900173842055831</c:v>
                </c:pt>
                <c:pt idx="1894">
                  <c:v>5.9961541018956339</c:v>
                </c:pt>
                <c:pt idx="1895">
                  <c:v>6.0541956601608318</c:v>
                </c:pt>
                <c:pt idx="1896">
                  <c:v>5.0906290641826812</c:v>
                </c:pt>
                <c:pt idx="1897">
                  <c:v>5.0255564854339845</c:v>
                </c:pt>
                <c:pt idx="1898">
                  <c:v>6.0626070962485867</c:v>
                </c:pt>
                <c:pt idx="1899">
                  <c:v>4.8829600865698453</c:v>
                </c:pt>
                <c:pt idx="1900">
                  <c:v>6.1724697856415291</c:v>
                </c:pt>
                <c:pt idx="1901">
                  <c:v>6.0028870091899318</c:v>
                </c:pt>
                <c:pt idx="1902">
                  <c:v>6.0423748444841854</c:v>
                </c:pt>
                <c:pt idx="1903">
                  <c:v>6.1468604925921388</c:v>
                </c:pt>
                <c:pt idx="1904">
                  <c:v>6.1579492756514176</c:v>
                </c:pt>
                <c:pt idx="1905">
                  <c:v>5.0223187403029517</c:v>
                </c:pt>
                <c:pt idx="1906">
                  <c:v>4.9821010100152145</c:v>
                </c:pt>
                <c:pt idx="1907">
                  <c:v>4.9311953469482468</c:v>
                </c:pt>
                <c:pt idx="1908">
                  <c:v>3.9742719081528666</c:v>
                </c:pt>
                <c:pt idx="1909">
                  <c:v>4.9987070934797702</c:v>
                </c:pt>
                <c:pt idx="1910">
                  <c:v>5.2375940601534801</c:v>
                </c:pt>
                <c:pt idx="1911">
                  <c:v>5.0544509451820296</c:v>
                </c:pt>
                <c:pt idx="1912">
                  <c:v>7.0848699782358366</c:v>
                </c:pt>
                <c:pt idx="1913">
                  <c:v>4.8439263444115408</c:v>
                </c:pt>
                <c:pt idx="1914">
                  <c:v>5.1335664016556457</c:v>
                </c:pt>
                <c:pt idx="1915">
                  <c:v>5.0478045656623065</c:v>
                </c:pt>
                <c:pt idx="1916">
                  <c:v>4.9115574321741704</c:v>
                </c:pt>
                <c:pt idx="1917">
                  <c:v>5.8900067926553143</c:v>
                </c:pt>
                <c:pt idx="1918">
                  <c:v>6.1599049583320671</c:v>
                </c:pt>
                <c:pt idx="1919">
                  <c:v>5.0890651847006643</c:v>
                </c:pt>
                <c:pt idx="1920">
                  <c:v>4.8854062854152707</c:v>
                </c:pt>
                <c:pt idx="1921">
                  <c:v>5.9211598840395965</c:v>
                </c:pt>
                <c:pt idx="1922">
                  <c:v>5.2352997497559546</c:v>
                </c:pt>
                <c:pt idx="1923">
                  <c:v>4.8753165222245887</c:v>
                </c:pt>
                <c:pt idx="1924">
                  <c:v>5.0623654828201197</c:v>
                </c:pt>
                <c:pt idx="1925">
                  <c:v>4.9877180592343304</c:v>
                </c:pt>
                <c:pt idx="1926">
                  <c:v>5.0381475471163926</c:v>
                </c:pt>
                <c:pt idx="1927">
                  <c:v>5.1132958907190122</c:v>
                </c:pt>
                <c:pt idx="1928">
                  <c:v>5.973265708379496</c:v>
                </c:pt>
                <c:pt idx="1929">
                  <c:v>6.0380260803014423</c:v>
                </c:pt>
                <c:pt idx="1930">
                  <c:v>5.1243461755671502</c:v>
                </c:pt>
                <c:pt idx="1931">
                  <c:v>5.2682552168417711</c:v>
                </c:pt>
                <c:pt idx="1932">
                  <c:v>5.9044223634971589</c:v>
                </c:pt>
                <c:pt idx="1933">
                  <c:v>5.1731981729495997</c:v>
                </c:pt>
                <c:pt idx="1934">
                  <c:v>5.1571840674846952</c:v>
                </c:pt>
                <c:pt idx="1935">
                  <c:v>5.8648746132395058</c:v>
                </c:pt>
                <c:pt idx="1936">
                  <c:v>6.0815479551659237</c:v>
                </c:pt>
                <c:pt idx="1937">
                  <c:v>5.0747648859491594</c:v>
                </c:pt>
                <c:pt idx="1938">
                  <c:v>5.9076631291276129</c:v>
                </c:pt>
                <c:pt idx="1939">
                  <c:v>4.9607035691445738</c:v>
                </c:pt>
                <c:pt idx="1940">
                  <c:v>5.1195092703349276</c:v>
                </c:pt>
                <c:pt idx="1941">
                  <c:v>6.1426128237295812</c:v>
                </c:pt>
                <c:pt idx="1942">
                  <c:v>6.1430170196857503</c:v>
                </c:pt>
                <c:pt idx="1943">
                  <c:v>5.0779475503779654</c:v>
                </c:pt>
                <c:pt idx="1944">
                  <c:v>3.8988316500062763</c:v>
                </c:pt>
                <c:pt idx="1945">
                  <c:v>4.1718932029342506</c:v>
                </c:pt>
                <c:pt idx="1946">
                  <c:v>5.9871867617552645</c:v>
                </c:pt>
                <c:pt idx="1947">
                  <c:v>4.9032504043529075</c:v>
                </c:pt>
                <c:pt idx="1948">
                  <c:v>5.1555794910644837</c:v>
                </c:pt>
                <c:pt idx="1949">
                  <c:v>6.0477721353514786</c:v>
                </c:pt>
                <c:pt idx="1950">
                  <c:v>7.1139018533435969</c:v>
                </c:pt>
                <c:pt idx="1951">
                  <c:v>5.9877073230997349</c:v>
                </c:pt>
                <c:pt idx="1952">
                  <c:v>6.8317610331480001</c:v>
                </c:pt>
                <c:pt idx="1953">
                  <c:v>7.0689215210281127</c:v>
                </c:pt>
                <c:pt idx="1954">
                  <c:v>6.9297816574994116</c:v>
                </c:pt>
                <c:pt idx="1955">
                  <c:v>6.9107329068019219</c:v>
                </c:pt>
                <c:pt idx="1956">
                  <c:v>2.797583864084964</c:v>
                </c:pt>
                <c:pt idx="1957">
                  <c:v>3.197216439017426</c:v>
                </c:pt>
                <c:pt idx="1958">
                  <c:v>5.0770728902413271</c:v>
                </c:pt>
                <c:pt idx="1959">
                  <c:v>6.0166256968430218</c:v>
                </c:pt>
                <c:pt idx="1960">
                  <c:v>5.9886367569074839</c:v>
                </c:pt>
                <c:pt idx="1961">
                  <c:v>4.0305606253963555</c:v>
                </c:pt>
                <c:pt idx="1962">
                  <c:v>4.8665892393337984</c:v>
                </c:pt>
                <c:pt idx="1963">
                  <c:v>6.1718954041466905</c:v>
                </c:pt>
                <c:pt idx="1964">
                  <c:v>5.1029006991763328</c:v>
                </c:pt>
                <c:pt idx="1965">
                  <c:v>5.9020042574259666</c:v>
                </c:pt>
                <c:pt idx="1966">
                  <c:v>6.0844835021909818</c:v>
                </c:pt>
                <c:pt idx="1967">
                  <c:v>5.1401193917595478</c:v>
                </c:pt>
                <c:pt idx="1968">
                  <c:v>4.9715652921437314</c:v>
                </c:pt>
                <c:pt idx="1969">
                  <c:v>6.0878675711627519</c:v>
                </c:pt>
                <c:pt idx="1970">
                  <c:v>5.0131134139539606</c:v>
                </c:pt>
                <c:pt idx="1971">
                  <c:v>5.7964402549602712</c:v>
                </c:pt>
                <c:pt idx="1972">
                  <c:v>4.9401197265655039</c:v>
                </c:pt>
                <c:pt idx="1973">
                  <c:v>4.7997627548285005</c:v>
                </c:pt>
                <c:pt idx="1974">
                  <c:v>4.9638669211834365</c:v>
                </c:pt>
                <c:pt idx="1975">
                  <c:v>4.8983820726440364</c:v>
                </c:pt>
                <c:pt idx="1976">
                  <c:v>5.0993948533761726</c:v>
                </c:pt>
                <c:pt idx="1977">
                  <c:v>5.9142214611728505</c:v>
                </c:pt>
                <c:pt idx="1978">
                  <c:v>6.0432246853087488</c:v>
                </c:pt>
                <c:pt idx="1979">
                  <c:v>7.1272966162828757</c:v>
                </c:pt>
                <c:pt idx="1980">
                  <c:v>5.0256909776592238</c:v>
                </c:pt>
                <c:pt idx="1981">
                  <c:v>4.1064953581291173</c:v>
                </c:pt>
                <c:pt idx="1982">
                  <c:v>5.9510808574532215</c:v>
                </c:pt>
                <c:pt idx="1983">
                  <c:v>5.8985813047496203</c:v>
                </c:pt>
                <c:pt idx="1984">
                  <c:v>5.086771792815119</c:v>
                </c:pt>
                <c:pt idx="1985">
                  <c:v>5.1399639989610071</c:v>
                </c:pt>
                <c:pt idx="1986">
                  <c:v>6.1416787002541895</c:v>
                </c:pt>
                <c:pt idx="1987">
                  <c:v>4.9412500369435968</c:v>
                </c:pt>
                <c:pt idx="1988">
                  <c:v>4.9982725344325134</c:v>
                </c:pt>
                <c:pt idx="1989">
                  <c:v>6.1570457573228579</c:v>
                </c:pt>
                <c:pt idx="1990">
                  <c:v>5.9907953317181324</c:v>
                </c:pt>
                <c:pt idx="1991">
                  <c:v>5.0628328959894606</c:v>
                </c:pt>
                <c:pt idx="1992">
                  <c:v>4.9932476108637616</c:v>
                </c:pt>
                <c:pt idx="1993">
                  <c:v>4.9484983798102267</c:v>
                </c:pt>
                <c:pt idx="1994">
                  <c:v>5.8724310046679893</c:v>
                </c:pt>
                <c:pt idx="1995">
                  <c:v>5.0961987707497736</c:v>
                </c:pt>
                <c:pt idx="1996">
                  <c:v>4.9756522556913056</c:v>
                </c:pt>
                <c:pt idx="1997">
                  <c:v>4.9624995185135985</c:v>
                </c:pt>
                <c:pt idx="1998">
                  <c:v>5.0033239730765242</c:v>
                </c:pt>
                <c:pt idx="1999">
                  <c:v>5.1305913396836127</c:v>
                </c:pt>
                <c:pt idx="2000">
                  <c:v>4.8632111624174668</c:v>
                </c:pt>
                <c:pt idx="2001">
                  <c:v>5.9666202691926182</c:v>
                </c:pt>
                <c:pt idx="2002">
                  <c:v>6.0642225536139094</c:v>
                </c:pt>
                <c:pt idx="2003">
                  <c:v>4.909228998199481</c:v>
                </c:pt>
                <c:pt idx="2004">
                  <c:v>5.8184983044560177</c:v>
                </c:pt>
                <c:pt idx="2005">
                  <c:v>5.9571472657548519</c:v>
                </c:pt>
                <c:pt idx="2006">
                  <c:v>6.9592142640214831</c:v>
                </c:pt>
                <c:pt idx="2007">
                  <c:v>6.8312585848229599</c:v>
                </c:pt>
                <c:pt idx="2008">
                  <c:v>6.8717917282909662</c:v>
                </c:pt>
                <c:pt idx="2009">
                  <c:v>4.732988008414404</c:v>
                </c:pt>
                <c:pt idx="2010">
                  <c:v>4.9905935034364557</c:v>
                </c:pt>
                <c:pt idx="2011">
                  <c:v>6.9725267509328699</c:v>
                </c:pt>
                <c:pt idx="2012">
                  <c:v>4.9466032194469927</c:v>
                </c:pt>
                <c:pt idx="2013">
                  <c:v>4.8389718095562637</c:v>
                </c:pt>
                <c:pt idx="2014">
                  <c:v>4.957193180011795</c:v>
                </c:pt>
                <c:pt idx="2015">
                  <c:v>5.9924268124107751</c:v>
                </c:pt>
                <c:pt idx="2016">
                  <c:v>5.9684256053215039</c:v>
                </c:pt>
                <c:pt idx="2017">
                  <c:v>5.0119620073564093</c:v>
                </c:pt>
                <c:pt idx="2018">
                  <c:v>4.8814558838820759</c:v>
                </c:pt>
                <c:pt idx="2019">
                  <c:v>7.0952098356679718</c:v>
                </c:pt>
                <c:pt idx="2020">
                  <c:v>5.1795951622734302</c:v>
                </c:pt>
                <c:pt idx="2021">
                  <c:v>4.8964069592354473</c:v>
                </c:pt>
                <c:pt idx="2022">
                  <c:v>5.0128001711244474</c:v>
                </c:pt>
                <c:pt idx="2023">
                  <c:v>5.0583833684213566</c:v>
                </c:pt>
                <c:pt idx="2024">
                  <c:v>6.2088767909185165</c:v>
                </c:pt>
                <c:pt idx="2025">
                  <c:v>4.8177481906763679</c:v>
                </c:pt>
                <c:pt idx="2026">
                  <c:v>6.073236050552814</c:v>
                </c:pt>
                <c:pt idx="2027">
                  <c:v>5.2044437246253779</c:v>
                </c:pt>
                <c:pt idx="2028">
                  <c:v>5.0020409726491275</c:v>
                </c:pt>
                <c:pt idx="2029">
                  <c:v>5.1581391191424784</c:v>
                </c:pt>
                <c:pt idx="2030">
                  <c:v>4.9267707365389981</c:v>
                </c:pt>
                <c:pt idx="2031">
                  <c:v>4.9946770950291954</c:v>
                </c:pt>
                <c:pt idx="2032">
                  <c:v>5.0406911646214771</c:v>
                </c:pt>
                <c:pt idx="2033">
                  <c:v>4.9353287474741219</c:v>
                </c:pt>
                <c:pt idx="2034">
                  <c:v>5.9149084403950551</c:v>
                </c:pt>
                <c:pt idx="2035">
                  <c:v>6.0718350787802153</c:v>
                </c:pt>
                <c:pt idx="2036">
                  <c:v>6.1528167900553381</c:v>
                </c:pt>
                <c:pt idx="2037">
                  <c:v>4.8800224922546427</c:v>
                </c:pt>
                <c:pt idx="2038">
                  <c:v>5.0935168488012987</c:v>
                </c:pt>
                <c:pt idx="2039">
                  <c:v>6.0525226120756352</c:v>
                </c:pt>
                <c:pt idx="2040">
                  <c:v>6.1170333153119785</c:v>
                </c:pt>
                <c:pt idx="2041">
                  <c:v>5.9854568557757988</c:v>
                </c:pt>
                <c:pt idx="2042">
                  <c:v>5.9943228691460169</c:v>
                </c:pt>
                <c:pt idx="2043">
                  <c:v>6.2497312548658535</c:v>
                </c:pt>
                <c:pt idx="2044">
                  <c:v>5.9340655124191475</c:v>
                </c:pt>
                <c:pt idx="2045">
                  <c:v>4.1260549176157317</c:v>
                </c:pt>
                <c:pt idx="2046">
                  <c:v>4.9588575920326603</c:v>
                </c:pt>
                <c:pt idx="2047">
                  <c:v>5.9675651103412628</c:v>
                </c:pt>
                <c:pt idx="2048">
                  <c:v>4.7877509085392482</c:v>
                </c:pt>
                <c:pt idx="2049">
                  <c:v>7.0976084138947657</c:v>
                </c:pt>
                <c:pt idx="2050">
                  <c:v>4.9403013646466185</c:v>
                </c:pt>
                <c:pt idx="2051">
                  <c:v>6.0775840907101264</c:v>
                </c:pt>
                <c:pt idx="2052">
                  <c:v>5.9501502801054231</c:v>
                </c:pt>
                <c:pt idx="2053">
                  <c:v>6.1081217018798233</c:v>
                </c:pt>
                <c:pt idx="2054">
                  <c:v>4.8879480753050384</c:v>
                </c:pt>
                <c:pt idx="2055">
                  <c:v>4.0157927779781062</c:v>
                </c:pt>
                <c:pt idx="2056">
                  <c:v>4.9824919416600437</c:v>
                </c:pt>
                <c:pt idx="2057">
                  <c:v>6.0318449466710709</c:v>
                </c:pt>
                <c:pt idx="2058">
                  <c:v>4.9873248135916404</c:v>
                </c:pt>
                <c:pt idx="2059">
                  <c:v>5.0404414499775907</c:v>
                </c:pt>
                <c:pt idx="2060">
                  <c:v>6.0129688685603391</c:v>
                </c:pt>
                <c:pt idx="2061">
                  <c:v>4.0013527550873684</c:v>
                </c:pt>
                <c:pt idx="2062">
                  <c:v>4.9352462959747099</c:v>
                </c:pt>
                <c:pt idx="2063">
                  <c:v>6.9591024149118681</c:v>
                </c:pt>
                <c:pt idx="2064">
                  <c:v>7.2020437798898218</c:v>
                </c:pt>
                <c:pt idx="2065">
                  <c:v>5.0610092768702577</c:v>
                </c:pt>
                <c:pt idx="2066">
                  <c:v>5.0056435520762035</c:v>
                </c:pt>
                <c:pt idx="2067">
                  <c:v>6.1565089527234704</c:v>
                </c:pt>
                <c:pt idx="2068">
                  <c:v>5.9943241372244751</c:v>
                </c:pt>
                <c:pt idx="2069">
                  <c:v>4.9975117094762354</c:v>
                </c:pt>
                <c:pt idx="2070">
                  <c:v>4.7205717881093436</c:v>
                </c:pt>
                <c:pt idx="2071">
                  <c:v>5.9728146728888483</c:v>
                </c:pt>
                <c:pt idx="2072">
                  <c:v>6.0126982772054891</c:v>
                </c:pt>
                <c:pt idx="2073">
                  <c:v>5.9071173769918497</c:v>
                </c:pt>
                <c:pt idx="2074">
                  <c:v>5.1547477647318765</c:v>
                </c:pt>
                <c:pt idx="2075">
                  <c:v>4.8993930631815559</c:v>
                </c:pt>
                <c:pt idx="2076">
                  <c:v>6.2471290559528549</c:v>
                </c:pt>
                <c:pt idx="2077">
                  <c:v>6.1698759858208634</c:v>
                </c:pt>
                <c:pt idx="2078">
                  <c:v>4.8712650523003456</c:v>
                </c:pt>
                <c:pt idx="2079">
                  <c:v>4.9182634091703292</c:v>
                </c:pt>
                <c:pt idx="2080">
                  <c:v>5.9810778329331784</c:v>
                </c:pt>
                <c:pt idx="2081">
                  <c:v>5.8907794259055999</c:v>
                </c:pt>
                <c:pt idx="2082">
                  <c:v>5.8688067163532853</c:v>
                </c:pt>
                <c:pt idx="2083">
                  <c:v>6.0863452995340968</c:v>
                </c:pt>
                <c:pt idx="2084">
                  <c:v>4.8953438120863266</c:v>
                </c:pt>
                <c:pt idx="2085">
                  <c:v>7.0504616180091615</c:v>
                </c:pt>
                <c:pt idx="2086">
                  <c:v>5.0807022812056593</c:v>
                </c:pt>
                <c:pt idx="2087">
                  <c:v>5.0289677864723332</c:v>
                </c:pt>
                <c:pt idx="2088">
                  <c:v>6.098027344168365</c:v>
                </c:pt>
                <c:pt idx="2089">
                  <c:v>4.8770355949143767</c:v>
                </c:pt>
                <c:pt idx="2090">
                  <c:v>6.1327441785871537</c:v>
                </c:pt>
                <c:pt idx="2091">
                  <c:v>5.1973508615915414</c:v>
                </c:pt>
                <c:pt idx="2092">
                  <c:v>4.9393591140679156</c:v>
                </c:pt>
                <c:pt idx="2093">
                  <c:v>4.9084625387215208</c:v>
                </c:pt>
                <c:pt idx="2094">
                  <c:v>6.2965374800106284</c:v>
                </c:pt>
                <c:pt idx="2095">
                  <c:v>5.0315894267007533</c:v>
                </c:pt>
                <c:pt idx="2096">
                  <c:v>5.9397068305523018</c:v>
                </c:pt>
                <c:pt idx="2097">
                  <c:v>5.1062822587290926</c:v>
                </c:pt>
                <c:pt idx="2098">
                  <c:v>7.0386900855139229</c:v>
                </c:pt>
                <c:pt idx="2099">
                  <c:v>4.9721037187322255</c:v>
                </c:pt>
                <c:pt idx="2100">
                  <c:v>5.9845909145634026</c:v>
                </c:pt>
                <c:pt idx="2101">
                  <c:v>5.9232133451933269</c:v>
                </c:pt>
                <c:pt idx="2102">
                  <c:v>4.8692358374414733</c:v>
                </c:pt>
                <c:pt idx="2103">
                  <c:v>5.9607534392818708</c:v>
                </c:pt>
                <c:pt idx="2104">
                  <c:v>5.0168322231368077</c:v>
                </c:pt>
                <c:pt idx="2105">
                  <c:v>6.8989660640341777</c:v>
                </c:pt>
                <c:pt idx="2106">
                  <c:v>6.2257658284564759</c:v>
                </c:pt>
                <c:pt idx="2107">
                  <c:v>6.0971127679752524</c:v>
                </c:pt>
                <c:pt idx="2108">
                  <c:v>5.9372251073109146</c:v>
                </c:pt>
                <c:pt idx="2109">
                  <c:v>6.044574697859181</c:v>
                </c:pt>
                <c:pt idx="2110">
                  <c:v>6.0093470718561175</c:v>
                </c:pt>
                <c:pt idx="2111">
                  <c:v>3.9350798519012797</c:v>
                </c:pt>
                <c:pt idx="2112">
                  <c:v>6.0385416291666534</c:v>
                </c:pt>
                <c:pt idx="2113">
                  <c:v>5.082657933278238</c:v>
                </c:pt>
                <c:pt idx="2114">
                  <c:v>5.9679280727255284</c:v>
                </c:pt>
                <c:pt idx="2115">
                  <c:v>5.875762456634015</c:v>
                </c:pt>
                <c:pt idx="2116">
                  <c:v>4.9949461536617896</c:v>
                </c:pt>
                <c:pt idx="2117">
                  <c:v>3.9730948533739969</c:v>
                </c:pt>
                <c:pt idx="2118">
                  <c:v>4.9995064144102264</c:v>
                </c:pt>
                <c:pt idx="2119">
                  <c:v>4.8781058671262416</c:v>
                </c:pt>
                <c:pt idx="2120">
                  <c:v>6.0028372538918502</c:v>
                </c:pt>
                <c:pt idx="2121">
                  <c:v>5.0988182562572799</c:v>
                </c:pt>
                <c:pt idx="2122">
                  <c:v>5.0612987385647266</c:v>
                </c:pt>
                <c:pt idx="2123">
                  <c:v>3.9791676460793348</c:v>
                </c:pt>
                <c:pt idx="2124">
                  <c:v>6.844902585206837</c:v>
                </c:pt>
                <c:pt idx="2125">
                  <c:v>5.0611579440179932</c:v>
                </c:pt>
                <c:pt idx="2126">
                  <c:v>5.0615656297046048</c:v>
                </c:pt>
                <c:pt idx="2127">
                  <c:v>4.8409953861462114</c:v>
                </c:pt>
                <c:pt idx="2128">
                  <c:v>6.0752019627370801</c:v>
                </c:pt>
                <c:pt idx="2129">
                  <c:v>5.0077872331149216</c:v>
                </c:pt>
                <c:pt idx="2130">
                  <c:v>4.8567218803642813</c:v>
                </c:pt>
                <c:pt idx="2131">
                  <c:v>7.0017895086351629</c:v>
                </c:pt>
                <c:pt idx="2132">
                  <c:v>6.0919314126813049</c:v>
                </c:pt>
                <c:pt idx="2133">
                  <c:v>7.0320585800120599</c:v>
                </c:pt>
                <c:pt idx="2134">
                  <c:v>4.7994444368880451</c:v>
                </c:pt>
                <c:pt idx="2135">
                  <c:v>5.9882568419975222</c:v>
                </c:pt>
                <c:pt idx="2136">
                  <c:v>6.1948932108900499</c:v>
                </c:pt>
                <c:pt idx="2137">
                  <c:v>4.970643803248552</c:v>
                </c:pt>
                <c:pt idx="2138">
                  <c:v>5.7994721932798159</c:v>
                </c:pt>
                <c:pt idx="2139">
                  <c:v>6.0206851483075345</c:v>
                </c:pt>
                <c:pt idx="2140">
                  <c:v>5.8732340715989553</c:v>
                </c:pt>
                <c:pt idx="2141">
                  <c:v>5.9849238827516835</c:v>
                </c:pt>
                <c:pt idx="2142">
                  <c:v>7.0639405023431125</c:v>
                </c:pt>
                <c:pt idx="2143">
                  <c:v>4.8859979770253039</c:v>
                </c:pt>
                <c:pt idx="2144">
                  <c:v>4.9660576255723301</c:v>
                </c:pt>
                <c:pt idx="2145">
                  <c:v>4.9862814890747709</c:v>
                </c:pt>
                <c:pt idx="2146">
                  <c:v>6.0705314182641619</c:v>
                </c:pt>
                <c:pt idx="2147">
                  <c:v>7.1423640555957277</c:v>
                </c:pt>
                <c:pt idx="2148">
                  <c:v>5.0225126077016924</c:v>
                </c:pt>
                <c:pt idx="2149">
                  <c:v>6.1099777142617313</c:v>
                </c:pt>
                <c:pt idx="2150">
                  <c:v>5.1050253322222554</c:v>
                </c:pt>
                <c:pt idx="2151">
                  <c:v>5.9311155431875129</c:v>
                </c:pt>
                <c:pt idx="2152">
                  <c:v>6.0665120938680168</c:v>
                </c:pt>
                <c:pt idx="2153">
                  <c:v>5.0040457789447252</c:v>
                </c:pt>
                <c:pt idx="2154">
                  <c:v>4.802387087403666</c:v>
                </c:pt>
                <c:pt idx="2155">
                  <c:v>5.0337835161708639</c:v>
                </c:pt>
                <c:pt idx="2156">
                  <c:v>5.9699547471546612</c:v>
                </c:pt>
                <c:pt idx="2157">
                  <c:v>4.9139546737630466</c:v>
                </c:pt>
                <c:pt idx="2158">
                  <c:v>6.9960604435499354</c:v>
                </c:pt>
                <c:pt idx="2159">
                  <c:v>6.1136913790554397</c:v>
                </c:pt>
                <c:pt idx="2160">
                  <c:v>7.0050345974415755</c:v>
                </c:pt>
                <c:pt idx="2161">
                  <c:v>4.8692878164079945</c:v>
                </c:pt>
                <c:pt idx="2162">
                  <c:v>5.1117133972111111</c:v>
                </c:pt>
                <c:pt idx="2163">
                  <c:v>5.0124258573382612</c:v>
                </c:pt>
                <c:pt idx="2164">
                  <c:v>6.8804304783939942</c:v>
                </c:pt>
                <c:pt idx="2165">
                  <c:v>4.8716336011871126</c:v>
                </c:pt>
                <c:pt idx="2166">
                  <c:v>5.9781125053205812</c:v>
                </c:pt>
                <c:pt idx="2167">
                  <c:v>5.9378455972992406</c:v>
                </c:pt>
                <c:pt idx="2168">
                  <c:v>5.9113929634969127</c:v>
                </c:pt>
                <c:pt idx="2169">
                  <c:v>5.8884850542118707</c:v>
                </c:pt>
                <c:pt idx="2170">
                  <c:v>3.9343123065467309</c:v>
                </c:pt>
                <c:pt idx="2171">
                  <c:v>5.0326199331190011</c:v>
                </c:pt>
                <c:pt idx="2172">
                  <c:v>6.1040969207003553</c:v>
                </c:pt>
                <c:pt idx="2173">
                  <c:v>4.89309558232946</c:v>
                </c:pt>
                <c:pt idx="2174">
                  <c:v>6.0550845859342717</c:v>
                </c:pt>
                <c:pt idx="2175">
                  <c:v>5.0974959696802848</c:v>
                </c:pt>
                <c:pt idx="2176">
                  <c:v>4.974289014318293</c:v>
                </c:pt>
                <c:pt idx="2177">
                  <c:v>3.8632293904689292</c:v>
                </c:pt>
                <c:pt idx="2178">
                  <c:v>5.9575205737631718</c:v>
                </c:pt>
                <c:pt idx="2179">
                  <c:v>5.8352162774121528</c:v>
                </c:pt>
                <c:pt idx="2180">
                  <c:v>5.9537055080054921</c:v>
                </c:pt>
                <c:pt idx="2181">
                  <c:v>5.9792052205799342</c:v>
                </c:pt>
                <c:pt idx="2182">
                  <c:v>6.1266564549767972</c:v>
                </c:pt>
                <c:pt idx="2183">
                  <c:v>6.094267625558933</c:v>
                </c:pt>
                <c:pt idx="2184">
                  <c:v>5.8922799799159753</c:v>
                </c:pt>
                <c:pt idx="2185">
                  <c:v>6.055423359629768</c:v>
                </c:pt>
                <c:pt idx="2186">
                  <c:v>5.8911078938114789</c:v>
                </c:pt>
                <c:pt idx="2187">
                  <c:v>5.883567899258602</c:v>
                </c:pt>
                <c:pt idx="2188">
                  <c:v>6.0030942466853077</c:v>
                </c:pt>
                <c:pt idx="2189">
                  <c:v>5.900474291171208</c:v>
                </c:pt>
                <c:pt idx="2190">
                  <c:v>5.947508763618103</c:v>
                </c:pt>
                <c:pt idx="2191">
                  <c:v>5.9205576025524973</c:v>
                </c:pt>
                <c:pt idx="2192">
                  <c:v>5.9332161508831671</c:v>
                </c:pt>
                <c:pt idx="2193">
                  <c:v>6.1838498016278294</c:v>
                </c:pt>
                <c:pt idx="2194">
                  <c:v>4.9718635431837841</c:v>
                </c:pt>
                <c:pt idx="2195">
                  <c:v>6.0221266717525932</c:v>
                </c:pt>
                <c:pt idx="2196">
                  <c:v>6.0277784124143938</c:v>
                </c:pt>
                <c:pt idx="2197">
                  <c:v>6.0876184867294478</c:v>
                </c:pt>
                <c:pt idx="2198">
                  <c:v>6.0581339040978133</c:v>
                </c:pt>
                <c:pt idx="2199">
                  <c:v>4.989135461505386</c:v>
                </c:pt>
                <c:pt idx="2200">
                  <c:v>5.07847261005102</c:v>
                </c:pt>
                <c:pt idx="2201">
                  <c:v>4.958498640361463</c:v>
                </c:pt>
                <c:pt idx="2202">
                  <c:v>5.0378221447085387</c:v>
                </c:pt>
                <c:pt idx="2203">
                  <c:v>5.9980384182629738</c:v>
                </c:pt>
                <c:pt idx="2204">
                  <c:v>5.8789491498782507</c:v>
                </c:pt>
                <c:pt idx="2205">
                  <c:v>6.9423905871917224</c:v>
                </c:pt>
                <c:pt idx="2206">
                  <c:v>5.9578847447816079</c:v>
                </c:pt>
                <c:pt idx="2207">
                  <c:v>4.9471416142183591</c:v>
                </c:pt>
                <c:pt idx="2208">
                  <c:v>5.0446026674137814</c:v>
                </c:pt>
                <c:pt idx="2209">
                  <c:v>5.0224437817703667</c:v>
                </c:pt>
                <c:pt idx="2210">
                  <c:v>4.9142830734166898</c:v>
                </c:pt>
                <c:pt idx="2211">
                  <c:v>5.9252890026219607</c:v>
                </c:pt>
                <c:pt idx="2212">
                  <c:v>5.8805224115659582</c:v>
                </c:pt>
                <c:pt idx="2213">
                  <c:v>5.7997518151041447</c:v>
                </c:pt>
                <c:pt idx="2214">
                  <c:v>2.0089465280072418</c:v>
                </c:pt>
                <c:pt idx="2215">
                  <c:v>4.9622694296182113</c:v>
                </c:pt>
                <c:pt idx="2216">
                  <c:v>5.9109846797498964</c:v>
                </c:pt>
                <c:pt idx="2217">
                  <c:v>2.2111931190340686</c:v>
                </c:pt>
                <c:pt idx="2218">
                  <c:v>5.9952364071715465</c:v>
                </c:pt>
                <c:pt idx="2219">
                  <c:v>5.8302510149512923</c:v>
                </c:pt>
                <c:pt idx="2220">
                  <c:v>1.8950131147393481</c:v>
                </c:pt>
                <c:pt idx="2221">
                  <c:v>6.1051260791468858</c:v>
                </c:pt>
                <c:pt idx="2222">
                  <c:v>2.1066048450870163</c:v>
                </c:pt>
                <c:pt idx="2223">
                  <c:v>5.8640100532914845</c:v>
                </c:pt>
                <c:pt idx="2224">
                  <c:v>6.0411665790376512</c:v>
                </c:pt>
                <c:pt idx="2225">
                  <c:v>6.022014771025388</c:v>
                </c:pt>
                <c:pt idx="2226">
                  <c:v>6.0058503327747124</c:v>
                </c:pt>
                <c:pt idx="2227">
                  <c:v>5.0182272453110528</c:v>
                </c:pt>
                <c:pt idx="2228">
                  <c:v>6.0579111469513087</c:v>
                </c:pt>
                <c:pt idx="2229">
                  <c:v>6.1032097258013795</c:v>
                </c:pt>
                <c:pt idx="2230">
                  <c:v>3.9666654740055711</c:v>
                </c:pt>
                <c:pt idx="2231">
                  <c:v>5.974450042599166</c:v>
                </c:pt>
                <c:pt idx="2232">
                  <c:v>5.8188350944389313</c:v>
                </c:pt>
                <c:pt idx="2233">
                  <c:v>6.1981999535772534</c:v>
                </c:pt>
                <c:pt idx="2234">
                  <c:v>3.9582802369069667</c:v>
                </c:pt>
                <c:pt idx="2235">
                  <c:v>5.0730173334154589</c:v>
                </c:pt>
                <c:pt idx="2236">
                  <c:v>5.7939645871962009</c:v>
                </c:pt>
                <c:pt idx="2237">
                  <c:v>1.9634612099840498</c:v>
                </c:pt>
                <c:pt idx="2238">
                  <c:v>5.9336198252783952</c:v>
                </c:pt>
                <c:pt idx="2239">
                  <c:v>6.0831818502897512</c:v>
                </c:pt>
                <c:pt idx="2240">
                  <c:v>5.9919524261868959</c:v>
                </c:pt>
                <c:pt idx="2241">
                  <c:v>5.982103853787426</c:v>
                </c:pt>
                <c:pt idx="2242">
                  <c:v>5.0190983705948771</c:v>
                </c:pt>
                <c:pt idx="2243">
                  <c:v>6.0900482179291133</c:v>
                </c:pt>
                <c:pt idx="2244">
                  <c:v>5.0019588138983284</c:v>
                </c:pt>
                <c:pt idx="2245">
                  <c:v>6.0400970515821157</c:v>
                </c:pt>
                <c:pt idx="2246">
                  <c:v>5.0507314934723526</c:v>
                </c:pt>
                <c:pt idx="2247">
                  <c:v>5.1163952375860937</c:v>
                </c:pt>
                <c:pt idx="2248">
                  <c:v>5.005845240151868</c:v>
                </c:pt>
                <c:pt idx="2249">
                  <c:v>5.0763239198890524</c:v>
                </c:pt>
                <c:pt idx="2250">
                  <c:v>5.9543878284761469</c:v>
                </c:pt>
                <c:pt idx="2251">
                  <c:v>7.0264946613070869</c:v>
                </c:pt>
                <c:pt idx="2252">
                  <c:v>5.9090359798759611</c:v>
                </c:pt>
                <c:pt idx="2253">
                  <c:v>6.0256638602461861</c:v>
                </c:pt>
                <c:pt idx="2254">
                  <c:v>4.8738881690485085</c:v>
                </c:pt>
                <c:pt idx="2255">
                  <c:v>6.0445775917309712</c:v>
                </c:pt>
                <c:pt idx="2256">
                  <c:v>4.993500513574479</c:v>
                </c:pt>
                <c:pt idx="2257">
                  <c:v>5.1679157411120933</c:v>
                </c:pt>
                <c:pt idx="2258">
                  <c:v>5.0801971198356188</c:v>
                </c:pt>
                <c:pt idx="2259">
                  <c:v>5.9369422949526172</c:v>
                </c:pt>
                <c:pt idx="2260">
                  <c:v>5.0344675514870243</c:v>
                </c:pt>
                <c:pt idx="2261">
                  <c:v>5.0708340723223184</c:v>
                </c:pt>
                <c:pt idx="2262">
                  <c:v>5.0129133027062363</c:v>
                </c:pt>
                <c:pt idx="2263">
                  <c:v>6.2057409596141655</c:v>
                </c:pt>
                <c:pt idx="2264">
                  <c:v>5.020866495385234</c:v>
                </c:pt>
                <c:pt idx="2265">
                  <c:v>6.009072142658014</c:v>
                </c:pt>
                <c:pt idx="2266">
                  <c:v>5.0072914647669835</c:v>
                </c:pt>
                <c:pt idx="2267">
                  <c:v>4.098084744128168</c:v>
                </c:pt>
                <c:pt idx="2268">
                  <c:v>5.0162638819120042</c:v>
                </c:pt>
                <c:pt idx="2269">
                  <c:v>6.1508551294039098</c:v>
                </c:pt>
                <c:pt idx="2270">
                  <c:v>5.9776504223873621</c:v>
                </c:pt>
                <c:pt idx="2271">
                  <c:v>5.9873766209352315</c:v>
                </c:pt>
                <c:pt idx="2272">
                  <c:v>5.9970685311422853</c:v>
                </c:pt>
                <c:pt idx="2273">
                  <c:v>5.9462409092923441</c:v>
                </c:pt>
                <c:pt idx="2274">
                  <c:v>6.0947429657137597</c:v>
                </c:pt>
                <c:pt idx="2275">
                  <c:v>5.9984256205549258</c:v>
                </c:pt>
                <c:pt idx="2276">
                  <c:v>7.0156268451035499</c:v>
                </c:pt>
                <c:pt idx="2277">
                  <c:v>5.0692561793128545</c:v>
                </c:pt>
                <c:pt idx="2278">
                  <c:v>5.0570223664417187</c:v>
                </c:pt>
                <c:pt idx="2279">
                  <c:v>4.9441418251656142</c:v>
                </c:pt>
                <c:pt idx="2280">
                  <c:v>4.9214097073824483</c:v>
                </c:pt>
                <c:pt idx="2281">
                  <c:v>5.9224803002861783</c:v>
                </c:pt>
                <c:pt idx="2282">
                  <c:v>5.0809632877125885</c:v>
                </c:pt>
                <c:pt idx="2283">
                  <c:v>6.0997025809721661</c:v>
                </c:pt>
                <c:pt idx="2284">
                  <c:v>4.0753381597852369</c:v>
                </c:pt>
                <c:pt idx="2285">
                  <c:v>3.9129080312986497</c:v>
                </c:pt>
                <c:pt idx="2286">
                  <c:v>5.9486779474057752</c:v>
                </c:pt>
                <c:pt idx="2287">
                  <c:v>4.9321674579299408</c:v>
                </c:pt>
                <c:pt idx="2288">
                  <c:v>6.1900690531276759</c:v>
                </c:pt>
                <c:pt idx="2289">
                  <c:v>5.9507327258948131</c:v>
                </c:pt>
                <c:pt idx="2290">
                  <c:v>6.0503781417856173</c:v>
                </c:pt>
                <c:pt idx="2291">
                  <c:v>5.0841337053594273</c:v>
                </c:pt>
                <c:pt idx="2292">
                  <c:v>6.0604877164099644</c:v>
                </c:pt>
                <c:pt idx="2293">
                  <c:v>6.0146743791454309</c:v>
                </c:pt>
                <c:pt idx="2294">
                  <c:v>5.0439303989943101</c:v>
                </c:pt>
                <c:pt idx="2295">
                  <c:v>4.9643056035647852</c:v>
                </c:pt>
                <c:pt idx="2296">
                  <c:v>6.8338258169025394</c:v>
                </c:pt>
                <c:pt idx="2297">
                  <c:v>5.9090735315262828</c:v>
                </c:pt>
                <c:pt idx="2298">
                  <c:v>5.1054204866197823</c:v>
                </c:pt>
                <c:pt idx="2299">
                  <c:v>5.9796484632310332</c:v>
                </c:pt>
                <c:pt idx="2300">
                  <c:v>6.0725676266335844</c:v>
                </c:pt>
                <c:pt idx="2301">
                  <c:v>6.0349939294188193</c:v>
                </c:pt>
                <c:pt idx="2302">
                  <c:v>6.0110715553844054</c:v>
                </c:pt>
                <c:pt idx="2303">
                  <c:v>7.0285506932165385</c:v>
                </c:pt>
                <c:pt idx="2304">
                  <c:v>6.9465341034090837</c:v>
                </c:pt>
                <c:pt idx="2305">
                  <c:v>6.202106001856496</c:v>
                </c:pt>
                <c:pt idx="2306">
                  <c:v>4.8986678942838582</c:v>
                </c:pt>
                <c:pt idx="2307">
                  <c:v>4.7827372193094675</c:v>
                </c:pt>
                <c:pt idx="2308">
                  <c:v>5.0737617592447695</c:v>
                </c:pt>
                <c:pt idx="2309">
                  <c:v>4.8455845092617063</c:v>
                </c:pt>
                <c:pt idx="2310">
                  <c:v>4.9937695709932548</c:v>
                </c:pt>
                <c:pt idx="2311">
                  <c:v>5.0013794794093176</c:v>
                </c:pt>
                <c:pt idx="2312">
                  <c:v>4.8448912004173765</c:v>
                </c:pt>
                <c:pt idx="2313">
                  <c:v>5.93968687666609</c:v>
                </c:pt>
                <c:pt idx="2314">
                  <c:v>5.8733765089434584</c:v>
                </c:pt>
                <c:pt idx="2315">
                  <c:v>4.9548886875971396</c:v>
                </c:pt>
                <c:pt idx="2316">
                  <c:v>6.0128130900128154</c:v>
                </c:pt>
                <c:pt idx="2317">
                  <c:v>5.8678729008914852</c:v>
                </c:pt>
                <c:pt idx="2318">
                  <c:v>5.9073206759017269</c:v>
                </c:pt>
                <c:pt idx="2319">
                  <c:v>6.8473669280492606</c:v>
                </c:pt>
                <c:pt idx="2320">
                  <c:v>5.9532400171302129</c:v>
                </c:pt>
                <c:pt idx="2321">
                  <c:v>5.0255744335271846</c:v>
                </c:pt>
                <c:pt idx="2322">
                  <c:v>4.9735694590715402</c:v>
                </c:pt>
                <c:pt idx="2323">
                  <c:v>6.1346473623740829</c:v>
                </c:pt>
                <c:pt idx="2324">
                  <c:v>5.0655488032895359</c:v>
                </c:pt>
                <c:pt idx="2325">
                  <c:v>6.1552401663414713</c:v>
                </c:pt>
                <c:pt idx="2326">
                  <c:v>5.0638272047439665</c:v>
                </c:pt>
                <c:pt idx="2327">
                  <c:v>6.0192619705485786</c:v>
                </c:pt>
                <c:pt idx="2328">
                  <c:v>6.0216059257337911</c:v>
                </c:pt>
                <c:pt idx="2329">
                  <c:v>5.0150578520527516</c:v>
                </c:pt>
                <c:pt idx="2330">
                  <c:v>4.7974649415006878</c:v>
                </c:pt>
                <c:pt idx="2331">
                  <c:v>4.8669737237992026</c:v>
                </c:pt>
                <c:pt idx="2332">
                  <c:v>6.0652477204084656</c:v>
                </c:pt>
                <c:pt idx="2333">
                  <c:v>7.0816668625169505</c:v>
                </c:pt>
                <c:pt idx="2334">
                  <c:v>6.2033832056303728</c:v>
                </c:pt>
                <c:pt idx="2335">
                  <c:v>5.8156697206809493</c:v>
                </c:pt>
                <c:pt idx="2336">
                  <c:v>5.0214856632577058</c:v>
                </c:pt>
                <c:pt idx="2337">
                  <c:v>5.007136447575121</c:v>
                </c:pt>
                <c:pt idx="2338">
                  <c:v>5.9934332376027948</c:v>
                </c:pt>
                <c:pt idx="2339">
                  <c:v>4.8919149485698341</c:v>
                </c:pt>
                <c:pt idx="2340">
                  <c:v>5.9649760474823568</c:v>
                </c:pt>
                <c:pt idx="2341">
                  <c:v>5.0420645621059865</c:v>
                </c:pt>
                <c:pt idx="2342">
                  <c:v>5.9521563203336019</c:v>
                </c:pt>
                <c:pt idx="2343">
                  <c:v>5.0862142321887278</c:v>
                </c:pt>
                <c:pt idx="2344">
                  <c:v>6.0471797404845189</c:v>
                </c:pt>
                <c:pt idx="2345">
                  <c:v>7.1094116378903722</c:v>
                </c:pt>
                <c:pt idx="2346">
                  <c:v>5.0341159188462665</c:v>
                </c:pt>
                <c:pt idx="2347">
                  <c:v>5.0407509107320747</c:v>
                </c:pt>
                <c:pt idx="2348">
                  <c:v>6.0277518085296924</c:v>
                </c:pt>
                <c:pt idx="2349">
                  <c:v>4.9480025719207639</c:v>
                </c:pt>
                <c:pt idx="2350">
                  <c:v>4.8967238160517299</c:v>
                </c:pt>
                <c:pt idx="2351">
                  <c:v>6.6925553689334629</c:v>
                </c:pt>
                <c:pt idx="2352">
                  <c:v>5.9046225252189579</c:v>
                </c:pt>
                <c:pt idx="2353">
                  <c:v>7.0377790318779345</c:v>
                </c:pt>
                <c:pt idx="2354">
                  <c:v>6.0570347233391919</c:v>
                </c:pt>
                <c:pt idx="2355">
                  <c:v>6.9140070927016639</c:v>
                </c:pt>
                <c:pt idx="2356">
                  <c:v>5.9561908375342121</c:v>
                </c:pt>
                <c:pt idx="2357">
                  <c:v>5.0810416116497299</c:v>
                </c:pt>
                <c:pt idx="2358">
                  <c:v>5.0580026365133426</c:v>
                </c:pt>
                <c:pt idx="2359">
                  <c:v>6.1159038339935936</c:v>
                </c:pt>
                <c:pt idx="2360">
                  <c:v>5.1718752747766628</c:v>
                </c:pt>
                <c:pt idx="2361">
                  <c:v>5.0312972890359253</c:v>
                </c:pt>
                <c:pt idx="2362">
                  <c:v>5.9817050618348802</c:v>
                </c:pt>
                <c:pt idx="2363">
                  <c:v>4.8497194824603422</c:v>
                </c:pt>
                <c:pt idx="2364">
                  <c:v>5.0496286336823548</c:v>
                </c:pt>
                <c:pt idx="2365">
                  <c:v>6.0336272203528871</c:v>
                </c:pt>
                <c:pt idx="2366">
                  <c:v>5.9217162248415081</c:v>
                </c:pt>
                <c:pt idx="2367">
                  <c:v>4.8911996052594864</c:v>
                </c:pt>
                <c:pt idx="2368">
                  <c:v>5.1720157995039644</c:v>
                </c:pt>
                <c:pt idx="2369">
                  <c:v>6.0253239626776649</c:v>
                </c:pt>
                <c:pt idx="2370">
                  <c:v>5.0768149861396044</c:v>
                </c:pt>
                <c:pt idx="2371">
                  <c:v>5.0060675064659392</c:v>
                </c:pt>
                <c:pt idx="2372">
                  <c:v>5.9822984391393907</c:v>
                </c:pt>
                <c:pt idx="2373">
                  <c:v>5.8379873256981378</c:v>
                </c:pt>
                <c:pt idx="2374">
                  <c:v>4.9778184039221989</c:v>
                </c:pt>
                <c:pt idx="2375">
                  <c:v>6.0615909086565356</c:v>
                </c:pt>
                <c:pt idx="2376">
                  <c:v>5.182785365216283</c:v>
                </c:pt>
                <c:pt idx="2377">
                  <c:v>8.9693284511431042</c:v>
                </c:pt>
                <c:pt idx="2378">
                  <c:v>6.9988780991351707</c:v>
                </c:pt>
                <c:pt idx="2379">
                  <c:v>6.0450034708587603</c:v>
                </c:pt>
                <c:pt idx="2380">
                  <c:v>4.9352856096522082</c:v>
                </c:pt>
                <c:pt idx="2381">
                  <c:v>5.0852168979423373</c:v>
                </c:pt>
                <c:pt idx="2382">
                  <c:v>6.1227525371855851</c:v>
                </c:pt>
                <c:pt idx="2383">
                  <c:v>4.9212337205297816</c:v>
                </c:pt>
                <c:pt idx="2384">
                  <c:v>5.3076856437737252</c:v>
                </c:pt>
                <c:pt idx="2385">
                  <c:v>4.946677651082716</c:v>
                </c:pt>
                <c:pt idx="2386">
                  <c:v>6.1297405840115609</c:v>
                </c:pt>
                <c:pt idx="2387">
                  <c:v>6.0363261825063201</c:v>
                </c:pt>
                <c:pt idx="2388">
                  <c:v>5.0538746438061377</c:v>
                </c:pt>
                <c:pt idx="2389">
                  <c:v>5.1995529049196669</c:v>
                </c:pt>
                <c:pt idx="2390">
                  <c:v>5.0840126966917749</c:v>
                </c:pt>
                <c:pt idx="2391">
                  <c:v>4.8924830266373673</c:v>
                </c:pt>
                <c:pt idx="2392">
                  <c:v>5.8709770341918368</c:v>
                </c:pt>
                <c:pt idx="2393">
                  <c:v>4.8604976628686636</c:v>
                </c:pt>
                <c:pt idx="2394">
                  <c:v>4.8351235349497852</c:v>
                </c:pt>
                <c:pt idx="2395">
                  <c:v>5.8887965416510433</c:v>
                </c:pt>
                <c:pt idx="2396">
                  <c:v>4.0232532089182627</c:v>
                </c:pt>
                <c:pt idx="2397">
                  <c:v>4.9221528420798135</c:v>
                </c:pt>
                <c:pt idx="2398">
                  <c:v>6.0297913285094564</c:v>
                </c:pt>
                <c:pt idx="2399">
                  <c:v>5.9125830946513123</c:v>
                </c:pt>
                <c:pt idx="2400">
                  <c:v>5.0746959747338183</c:v>
                </c:pt>
                <c:pt idx="2401">
                  <c:v>4.8549359087497805</c:v>
                </c:pt>
                <c:pt idx="2402">
                  <c:v>5.0554585654366502</c:v>
                </c:pt>
                <c:pt idx="2403">
                  <c:v>6.141269084005752</c:v>
                </c:pt>
                <c:pt idx="2404">
                  <c:v>7.0153771863644776</c:v>
                </c:pt>
                <c:pt idx="2405">
                  <c:v>5.9889043617268021</c:v>
                </c:pt>
                <c:pt idx="2406">
                  <c:v>5.8475928541848639</c:v>
                </c:pt>
                <c:pt idx="2407">
                  <c:v>4.9597468607114958</c:v>
                </c:pt>
                <c:pt idx="2408">
                  <c:v>5.0281490253919809</c:v>
                </c:pt>
                <c:pt idx="2409">
                  <c:v>6.913294389228299</c:v>
                </c:pt>
                <c:pt idx="2410">
                  <c:v>6.0195838440372684</c:v>
                </c:pt>
                <c:pt idx="2411">
                  <c:v>5.0867945311115728</c:v>
                </c:pt>
                <c:pt idx="2412">
                  <c:v>5.0136429138632703</c:v>
                </c:pt>
                <c:pt idx="2413">
                  <c:v>4.9573713632105765</c:v>
                </c:pt>
                <c:pt idx="2414">
                  <c:v>4.1850661159427087</c:v>
                </c:pt>
                <c:pt idx="2415">
                  <c:v>3.7620822821371807</c:v>
                </c:pt>
                <c:pt idx="2416">
                  <c:v>4.0675778510880258</c:v>
                </c:pt>
                <c:pt idx="2417">
                  <c:v>5.8960688191361772</c:v>
                </c:pt>
                <c:pt idx="2418">
                  <c:v>5.1476511634571116</c:v>
                </c:pt>
                <c:pt idx="2419">
                  <c:v>5.1944161100793806</c:v>
                </c:pt>
                <c:pt idx="2420">
                  <c:v>4.9748212967115224</c:v>
                </c:pt>
                <c:pt idx="2421">
                  <c:v>6.9991682724874806</c:v>
                </c:pt>
                <c:pt idx="2422">
                  <c:v>4.8449550730816746</c:v>
                </c:pt>
                <c:pt idx="2423">
                  <c:v>5.9156438582234774</c:v>
                </c:pt>
                <c:pt idx="2424">
                  <c:v>5.0722447859389179</c:v>
                </c:pt>
                <c:pt idx="2425">
                  <c:v>5.963224450656492</c:v>
                </c:pt>
                <c:pt idx="2426">
                  <c:v>4.993199139145263</c:v>
                </c:pt>
                <c:pt idx="2427">
                  <c:v>6.094436643625202</c:v>
                </c:pt>
                <c:pt idx="2428">
                  <c:v>5.9777991188252573</c:v>
                </c:pt>
                <c:pt idx="2429">
                  <c:v>6.0421265216528122</c:v>
                </c:pt>
                <c:pt idx="2430">
                  <c:v>5.9535763605098975</c:v>
                </c:pt>
                <c:pt idx="2431">
                  <c:v>5.9064562083097272</c:v>
                </c:pt>
                <c:pt idx="2432">
                  <c:v>7.1560545167643301</c:v>
                </c:pt>
                <c:pt idx="2433">
                  <c:v>3.9480728043286279</c:v>
                </c:pt>
                <c:pt idx="2434">
                  <c:v>3.9703972167724957</c:v>
                </c:pt>
                <c:pt idx="2435">
                  <c:v>4.0545945711472857</c:v>
                </c:pt>
                <c:pt idx="2436">
                  <c:v>6.0608755806184824</c:v>
                </c:pt>
                <c:pt idx="2437">
                  <c:v>5.9586001028708289</c:v>
                </c:pt>
                <c:pt idx="2438">
                  <c:v>6.0229910218420057</c:v>
                </c:pt>
                <c:pt idx="2439">
                  <c:v>5.2367000317076657</c:v>
                </c:pt>
                <c:pt idx="2440">
                  <c:v>4.8709532630691337</c:v>
                </c:pt>
                <c:pt idx="2441">
                  <c:v>5.0093234039033385</c:v>
                </c:pt>
                <c:pt idx="2442">
                  <c:v>5.8452392482821836</c:v>
                </c:pt>
                <c:pt idx="2443">
                  <c:v>4.951017763662616</c:v>
                </c:pt>
                <c:pt idx="2444">
                  <c:v>4.8208351725737639</c:v>
                </c:pt>
                <c:pt idx="2445">
                  <c:v>5.0553071179573221</c:v>
                </c:pt>
                <c:pt idx="2446">
                  <c:v>4.9811324029830724</c:v>
                </c:pt>
                <c:pt idx="2447">
                  <c:v>5.9521816683183291</c:v>
                </c:pt>
                <c:pt idx="2448">
                  <c:v>5.2714400500523748</c:v>
                </c:pt>
                <c:pt idx="2449">
                  <c:v>4.9034456363123171</c:v>
                </c:pt>
                <c:pt idx="2450">
                  <c:v>6.092864693177324</c:v>
                </c:pt>
                <c:pt idx="2451">
                  <c:v>6.0111678754628315</c:v>
                </c:pt>
                <c:pt idx="2452">
                  <c:v>6.1355334081052648</c:v>
                </c:pt>
                <c:pt idx="2453">
                  <c:v>4.8766580927776726</c:v>
                </c:pt>
                <c:pt idx="2454">
                  <c:v>6.0746564665803371</c:v>
                </c:pt>
                <c:pt idx="2455">
                  <c:v>4.8040599031604634</c:v>
                </c:pt>
                <c:pt idx="2456">
                  <c:v>5.9544971249241421</c:v>
                </c:pt>
                <c:pt idx="2457">
                  <c:v>6.1770834356449837</c:v>
                </c:pt>
                <c:pt idx="2458">
                  <c:v>6.0806366425468363</c:v>
                </c:pt>
                <c:pt idx="2459">
                  <c:v>6.0669202059885867</c:v>
                </c:pt>
                <c:pt idx="2460">
                  <c:v>6.0500472931355631</c:v>
                </c:pt>
                <c:pt idx="2461">
                  <c:v>5.9891095435746537</c:v>
                </c:pt>
                <c:pt idx="2462">
                  <c:v>6.0768012195204459</c:v>
                </c:pt>
                <c:pt idx="2463">
                  <c:v>6.0176032709316827</c:v>
                </c:pt>
                <c:pt idx="2464">
                  <c:v>6.0839421951371282</c:v>
                </c:pt>
                <c:pt idx="2465">
                  <c:v>5.9909519282683767</c:v>
                </c:pt>
                <c:pt idx="2466">
                  <c:v>5.948111449797822</c:v>
                </c:pt>
                <c:pt idx="2467">
                  <c:v>6.0792639184521367</c:v>
                </c:pt>
                <c:pt idx="2468">
                  <c:v>6.0716196910885509</c:v>
                </c:pt>
                <c:pt idx="2469">
                  <c:v>6.1174653472451324</c:v>
                </c:pt>
                <c:pt idx="2470">
                  <c:v>6.0691645180808251</c:v>
                </c:pt>
                <c:pt idx="2471">
                  <c:v>6.012966599484681</c:v>
                </c:pt>
                <c:pt idx="2472">
                  <c:v>6.0391783481041763</c:v>
                </c:pt>
                <c:pt idx="2473">
                  <c:v>5.8929698416924667</c:v>
                </c:pt>
                <c:pt idx="2474">
                  <c:v>4.8543155393363095</c:v>
                </c:pt>
                <c:pt idx="2475">
                  <c:v>5.9843318344761833</c:v>
                </c:pt>
                <c:pt idx="2476">
                  <c:v>6.0834402377585581</c:v>
                </c:pt>
                <c:pt idx="2477">
                  <c:v>5.1098390562453675</c:v>
                </c:pt>
                <c:pt idx="2478">
                  <c:v>5.0872009317603624</c:v>
                </c:pt>
                <c:pt idx="2479">
                  <c:v>6.0853739912129177</c:v>
                </c:pt>
                <c:pt idx="2480">
                  <c:v>5.015947372813641</c:v>
                </c:pt>
                <c:pt idx="2481">
                  <c:v>4.9306063198111145</c:v>
                </c:pt>
                <c:pt idx="2482">
                  <c:v>5.9821926836883845</c:v>
                </c:pt>
                <c:pt idx="2483">
                  <c:v>6.1126023523015993</c:v>
                </c:pt>
                <c:pt idx="2484">
                  <c:v>3.9622357754936384</c:v>
                </c:pt>
                <c:pt idx="2485">
                  <c:v>4.8872685791962205</c:v>
                </c:pt>
                <c:pt idx="2486">
                  <c:v>5.0577861029170217</c:v>
                </c:pt>
                <c:pt idx="2487">
                  <c:v>3.9874253958147117</c:v>
                </c:pt>
                <c:pt idx="2488">
                  <c:v>4.9043579820659469</c:v>
                </c:pt>
                <c:pt idx="2489">
                  <c:v>7.1049720601006952</c:v>
                </c:pt>
                <c:pt idx="2490">
                  <c:v>6.0761776874487197</c:v>
                </c:pt>
                <c:pt idx="2491">
                  <c:v>4.8594825245064195</c:v>
                </c:pt>
                <c:pt idx="2492">
                  <c:v>5.939517925921824</c:v>
                </c:pt>
                <c:pt idx="2493">
                  <c:v>4.9692311616489659</c:v>
                </c:pt>
                <c:pt idx="2494">
                  <c:v>4.984307977808685</c:v>
                </c:pt>
                <c:pt idx="2495">
                  <c:v>5.8965405189024915</c:v>
                </c:pt>
                <c:pt idx="2496">
                  <c:v>4.9084801855317721</c:v>
                </c:pt>
                <c:pt idx="2497">
                  <c:v>5.9538421470285154</c:v>
                </c:pt>
                <c:pt idx="2498">
                  <c:v>5.9428668474940931</c:v>
                </c:pt>
                <c:pt idx="2499">
                  <c:v>6.0377019905913158</c:v>
                </c:pt>
                <c:pt idx="2500">
                  <c:v>6.0415411400794738</c:v>
                </c:pt>
                <c:pt idx="2501">
                  <c:v>5.9674164071598108</c:v>
                </c:pt>
                <c:pt idx="2502">
                  <c:v>6.013269735965511</c:v>
                </c:pt>
                <c:pt idx="2503">
                  <c:v>5.1103067912291307</c:v>
                </c:pt>
                <c:pt idx="2504">
                  <c:v>6.0541100603746614</c:v>
                </c:pt>
                <c:pt idx="2505">
                  <c:v>6.0856352355477954</c:v>
                </c:pt>
                <c:pt idx="2506">
                  <c:v>4.9440537612667796</c:v>
                </c:pt>
                <c:pt idx="2507">
                  <c:v>5.7965080303224683</c:v>
                </c:pt>
                <c:pt idx="2508">
                  <c:v>6.0122696688737394</c:v>
                </c:pt>
                <c:pt idx="2509">
                  <c:v>5.085702644337867</c:v>
                </c:pt>
                <c:pt idx="2510">
                  <c:v>6.0976599587923044</c:v>
                </c:pt>
                <c:pt idx="2511">
                  <c:v>5.0570222259685487</c:v>
                </c:pt>
                <c:pt idx="2512">
                  <c:v>6.8986057901847166</c:v>
                </c:pt>
                <c:pt idx="2513">
                  <c:v>4.9306689766975822</c:v>
                </c:pt>
                <c:pt idx="2514">
                  <c:v>5.8800045957260503</c:v>
                </c:pt>
                <c:pt idx="2515">
                  <c:v>6.0531733934922176</c:v>
                </c:pt>
                <c:pt idx="2516">
                  <c:v>5.1334904198465976</c:v>
                </c:pt>
                <c:pt idx="2517">
                  <c:v>6.1272677051390136</c:v>
                </c:pt>
                <c:pt idx="2518">
                  <c:v>6.0866595820700153</c:v>
                </c:pt>
                <c:pt idx="2519">
                  <c:v>4.9081899468018069</c:v>
                </c:pt>
                <c:pt idx="2520">
                  <c:v>5.0616589576431155</c:v>
                </c:pt>
                <c:pt idx="2521">
                  <c:v>4.8005263543139796</c:v>
                </c:pt>
                <c:pt idx="2522">
                  <c:v>6.0870124839832798</c:v>
                </c:pt>
                <c:pt idx="2523">
                  <c:v>5.0520122529460014</c:v>
                </c:pt>
                <c:pt idx="2524">
                  <c:v>6.0071074816933878</c:v>
                </c:pt>
                <c:pt idx="2525">
                  <c:v>3.8408279126004565</c:v>
                </c:pt>
                <c:pt idx="2526">
                  <c:v>5.1566655400333845</c:v>
                </c:pt>
                <c:pt idx="2527">
                  <c:v>6.0561429351577569</c:v>
                </c:pt>
                <c:pt idx="2528">
                  <c:v>4.9917183689486482</c:v>
                </c:pt>
                <c:pt idx="2529">
                  <c:v>6.0577230439833549</c:v>
                </c:pt>
                <c:pt idx="2530">
                  <c:v>5.0472861999443257</c:v>
                </c:pt>
                <c:pt idx="2531">
                  <c:v>4.8578739665534192</c:v>
                </c:pt>
                <c:pt idx="2532">
                  <c:v>5.0288707907589618</c:v>
                </c:pt>
                <c:pt idx="2533">
                  <c:v>5.2015575218177208</c:v>
                </c:pt>
                <c:pt idx="2534">
                  <c:v>6.0019639233055031</c:v>
                </c:pt>
                <c:pt idx="2535">
                  <c:v>7.1844024949557967</c:v>
                </c:pt>
                <c:pt idx="2536">
                  <c:v>6.1327200770558292</c:v>
                </c:pt>
                <c:pt idx="2537">
                  <c:v>4.7960220354903793</c:v>
                </c:pt>
                <c:pt idx="2538">
                  <c:v>5.00492067495931</c:v>
                </c:pt>
                <c:pt idx="2539">
                  <c:v>4.9681947124621164</c:v>
                </c:pt>
                <c:pt idx="2540">
                  <c:v>4.9860224802143573</c:v>
                </c:pt>
                <c:pt idx="2541">
                  <c:v>4.996882834491319</c:v>
                </c:pt>
                <c:pt idx="2542">
                  <c:v>4.9364329709090953</c:v>
                </c:pt>
                <c:pt idx="2543">
                  <c:v>5.9992251364965448</c:v>
                </c:pt>
                <c:pt idx="2544">
                  <c:v>5.0397288634711908</c:v>
                </c:pt>
                <c:pt idx="2545">
                  <c:v>5.8559885668752649</c:v>
                </c:pt>
                <c:pt idx="2546">
                  <c:v>5.1327580127454002</c:v>
                </c:pt>
                <c:pt idx="2547">
                  <c:v>5.826429056504435</c:v>
                </c:pt>
                <c:pt idx="2548">
                  <c:v>4.8514888051819778</c:v>
                </c:pt>
                <c:pt idx="2549">
                  <c:v>6.071713955561254</c:v>
                </c:pt>
                <c:pt idx="2550">
                  <c:v>4.9504552550016641</c:v>
                </c:pt>
                <c:pt idx="2551">
                  <c:v>6.0366217520638861</c:v>
                </c:pt>
                <c:pt idx="2552">
                  <c:v>4.9008374201761686</c:v>
                </c:pt>
                <c:pt idx="2553">
                  <c:v>5.9374280066023113</c:v>
                </c:pt>
                <c:pt idx="2554">
                  <c:v>5.0737027499721847</c:v>
                </c:pt>
                <c:pt idx="2555">
                  <c:v>6.1465540659459847</c:v>
                </c:pt>
                <c:pt idx="2556">
                  <c:v>6.8754152699111595</c:v>
                </c:pt>
                <c:pt idx="2557">
                  <c:v>5.9232413848584731</c:v>
                </c:pt>
                <c:pt idx="2558">
                  <c:v>5.162535956926674</c:v>
                </c:pt>
                <c:pt idx="2559">
                  <c:v>6.0995300819903946</c:v>
                </c:pt>
                <c:pt idx="2560">
                  <c:v>7.0110943036507729</c:v>
                </c:pt>
                <c:pt idx="2561">
                  <c:v>6.0035609440245814</c:v>
                </c:pt>
                <c:pt idx="2562">
                  <c:v>6.1185942611634117</c:v>
                </c:pt>
                <c:pt idx="2563">
                  <c:v>4.8935349083257487</c:v>
                </c:pt>
                <c:pt idx="2564">
                  <c:v>5.1205977674223311</c:v>
                </c:pt>
                <c:pt idx="2565">
                  <c:v>4.8942744382541123</c:v>
                </c:pt>
                <c:pt idx="2566">
                  <c:v>5.0038663785345792</c:v>
                </c:pt>
                <c:pt idx="2567">
                  <c:v>6.0687873139274071</c:v>
                </c:pt>
                <c:pt idx="2568">
                  <c:v>5.92154383539589</c:v>
                </c:pt>
                <c:pt idx="2569">
                  <c:v>6.0142957732288389</c:v>
                </c:pt>
                <c:pt idx="2570">
                  <c:v>4.8954616694267026</c:v>
                </c:pt>
                <c:pt idx="2571">
                  <c:v>6.0677900612419267</c:v>
                </c:pt>
                <c:pt idx="2572">
                  <c:v>5.9305056489271903</c:v>
                </c:pt>
                <c:pt idx="2573">
                  <c:v>5.0974647427491533</c:v>
                </c:pt>
                <c:pt idx="2574">
                  <c:v>5.0041454004838464</c:v>
                </c:pt>
                <c:pt idx="2575">
                  <c:v>6.0429469408276235</c:v>
                </c:pt>
                <c:pt idx="2576">
                  <c:v>4.9065530513225459</c:v>
                </c:pt>
                <c:pt idx="2577">
                  <c:v>5.0115333325499307</c:v>
                </c:pt>
                <c:pt idx="2578">
                  <c:v>5.0532150222705763</c:v>
                </c:pt>
                <c:pt idx="2579">
                  <c:v>5.9125682600452469</c:v>
                </c:pt>
                <c:pt idx="2580">
                  <c:v>6.0096264164435915</c:v>
                </c:pt>
                <c:pt idx="2581">
                  <c:v>5.0149185486346299</c:v>
                </c:pt>
                <c:pt idx="2582">
                  <c:v>5.8916615854205299</c:v>
                </c:pt>
                <c:pt idx="2583">
                  <c:v>6.1470382794860363</c:v>
                </c:pt>
                <c:pt idx="2584">
                  <c:v>6.0744622739866028</c:v>
                </c:pt>
                <c:pt idx="2585">
                  <c:v>7.1397231674523693</c:v>
                </c:pt>
                <c:pt idx="2586">
                  <c:v>5.9961672423361998</c:v>
                </c:pt>
                <c:pt idx="2587">
                  <c:v>4.8772987144475213</c:v>
                </c:pt>
                <c:pt idx="2588">
                  <c:v>5.0326282854480189</c:v>
                </c:pt>
                <c:pt idx="2589">
                  <c:v>6.1945722244010604</c:v>
                </c:pt>
                <c:pt idx="2590">
                  <c:v>5.9732025164339024</c:v>
                </c:pt>
                <c:pt idx="2591">
                  <c:v>6.0617042364514226</c:v>
                </c:pt>
                <c:pt idx="2592">
                  <c:v>5.8234613180889081</c:v>
                </c:pt>
                <c:pt idx="2593">
                  <c:v>4.9925844897629883</c:v>
                </c:pt>
                <c:pt idx="2594">
                  <c:v>5.8287512164183557</c:v>
                </c:pt>
                <c:pt idx="2595">
                  <c:v>6.0792643343976298</c:v>
                </c:pt>
                <c:pt idx="2596">
                  <c:v>4.9291717889185209</c:v>
                </c:pt>
                <c:pt idx="2597">
                  <c:v>5.9587693590891124</c:v>
                </c:pt>
                <c:pt idx="2598">
                  <c:v>5.0480770796375474</c:v>
                </c:pt>
                <c:pt idx="2599">
                  <c:v>6.0209332339017712</c:v>
                </c:pt>
                <c:pt idx="2600">
                  <c:v>5.9715366065071755</c:v>
                </c:pt>
                <c:pt idx="2601">
                  <c:v>4.8708988934479391</c:v>
                </c:pt>
                <c:pt idx="2602">
                  <c:v>6.0335936895427649</c:v>
                </c:pt>
                <c:pt idx="2603">
                  <c:v>6.2938335455363807</c:v>
                </c:pt>
                <c:pt idx="2604">
                  <c:v>5.9856815120684006</c:v>
                </c:pt>
                <c:pt idx="2605">
                  <c:v>7.0596212708866402</c:v>
                </c:pt>
                <c:pt idx="2606">
                  <c:v>6.026066124470038</c:v>
                </c:pt>
                <c:pt idx="2607">
                  <c:v>5.9086390144749794</c:v>
                </c:pt>
                <c:pt idx="2608">
                  <c:v>5.9028082426598489</c:v>
                </c:pt>
                <c:pt idx="2609">
                  <c:v>5.8122032318314183</c:v>
                </c:pt>
                <c:pt idx="2610">
                  <c:v>4.8502572523481327</c:v>
                </c:pt>
                <c:pt idx="2611">
                  <c:v>4.8930648443206923</c:v>
                </c:pt>
                <c:pt idx="2612">
                  <c:v>4.8686860235669371</c:v>
                </c:pt>
                <c:pt idx="2613">
                  <c:v>5.1060114503204304</c:v>
                </c:pt>
                <c:pt idx="2614">
                  <c:v>7.089366131956047</c:v>
                </c:pt>
                <c:pt idx="2615">
                  <c:v>5.8983872874971688</c:v>
                </c:pt>
                <c:pt idx="2616">
                  <c:v>6.164918615262053</c:v>
                </c:pt>
                <c:pt idx="2617">
                  <c:v>5.9102828767499123</c:v>
                </c:pt>
                <c:pt idx="2618">
                  <c:v>7.0647199738836077</c:v>
                </c:pt>
                <c:pt idx="2619">
                  <c:v>3.9364676096566713</c:v>
                </c:pt>
                <c:pt idx="2620">
                  <c:v>5.0866368812741722</c:v>
                </c:pt>
                <c:pt idx="2621">
                  <c:v>4.9787681033556375</c:v>
                </c:pt>
                <c:pt idx="2622">
                  <c:v>4.7888275216880318</c:v>
                </c:pt>
                <c:pt idx="2623">
                  <c:v>6.1791424824549823</c:v>
                </c:pt>
                <c:pt idx="2624">
                  <c:v>5.0939187717532528</c:v>
                </c:pt>
                <c:pt idx="2625">
                  <c:v>6.0140977383496539</c:v>
                </c:pt>
                <c:pt idx="2626">
                  <c:v>6.0579830343415404</c:v>
                </c:pt>
                <c:pt idx="2627">
                  <c:v>6.0204417118218387</c:v>
                </c:pt>
                <c:pt idx="2628">
                  <c:v>4.8947638609658757</c:v>
                </c:pt>
                <c:pt idx="2629">
                  <c:v>6.0429527616385101</c:v>
                </c:pt>
                <c:pt idx="2630">
                  <c:v>4.8825191813925164</c:v>
                </c:pt>
                <c:pt idx="2631">
                  <c:v>6.1335283089705648</c:v>
                </c:pt>
                <c:pt idx="2632">
                  <c:v>2.0019872462384649</c:v>
                </c:pt>
                <c:pt idx="2633">
                  <c:v>3.080783958541979</c:v>
                </c:pt>
                <c:pt idx="2634">
                  <c:v>5.0100978255472368</c:v>
                </c:pt>
                <c:pt idx="2635">
                  <c:v>4.9212878674049723</c:v>
                </c:pt>
                <c:pt idx="2636">
                  <c:v>5.0380285317440254</c:v>
                </c:pt>
                <c:pt idx="2637">
                  <c:v>2.9598307045521244</c:v>
                </c:pt>
                <c:pt idx="2638">
                  <c:v>6.1175484118078227</c:v>
                </c:pt>
                <c:pt idx="2639">
                  <c:v>6.8973666588171305</c:v>
                </c:pt>
                <c:pt idx="2640">
                  <c:v>5.9683945036660822</c:v>
                </c:pt>
                <c:pt idx="2641">
                  <c:v>6.9803537453395048</c:v>
                </c:pt>
                <c:pt idx="2642">
                  <c:v>4.9696708150620061</c:v>
                </c:pt>
                <c:pt idx="2643">
                  <c:v>5.9285534946359384</c:v>
                </c:pt>
                <c:pt idx="2644">
                  <c:v>4.8632471211097279</c:v>
                </c:pt>
                <c:pt idx="2645">
                  <c:v>5.0245881745168575</c:v>
                </c:pt>
                <c:pt idx="2646">
                  <c:v>5.1227616957049369</c:v>
                </c:pt>
                <c:pt idx="2647">
                  <c:v>4.047950356467573</c:v>
                </c:pt>
                <c:pt idx="2648">
                  <c:v>5.0476382184363784</c:v>
                </c:pt>
                <c:pt idx="2649">
                  <c:v>4.9352579923116799</c:v>
                </c:pt>
                <c:pt idx="2650">
                  <c:v>5.0812050927651367</c:v>
                </c:pt>
                <c:pt idx="2651">
                  <c:v>5.0445168000952822</c:v>
                </c:pt>
                <c:pt idx="2652">
                  <c:v>5.8309898967946463</c:v>
                </c:pt>
                <c:pt idx="2653">
                  <c:v>6.0153250425696028</c:v>
                </c:pt>
                <c:pt idx="2654">
                  <c:v>4.0333117956132174</c:v>
                </c:pt>
                <c:pt idx="2655">
                  <c:v>2.9287696178667368</c:v>
                </c:pt>
                <c:pt idx="2656">
                  <c:v>4.8481380164172201</c:v>
                </c:pt>
                <c:pt idx="2657">
                  <c:v>4.7916464094709781</c:v>
                </c:pt>
                <c:pt idx="2658">
                  <c:v>5.0806479052675426</c:v>
                </c:pt>
                <c:pt idx="2659">
                  <c:v>4.8861720436130325</c:v>
                </c:pt>
                <c:pt idx="2660">
                  <c:v>3.8487782947857894</c:v>
                </c:pt>
                <c:pt idx="2661">
                  <c:v>6.0812425538231363</c:v>
                </c:pt>
                <c:pt idx="2662">
                  <c:v>4.0435566821510847</c:v>
                </c:pt>
                <c:pt idx="2663">
                  <c:v>3.9584363625461059</c:v>
                </c:pt>
                <c:pt idx="2664">
                  <c:v>4.8276991875232982</c:v>
                </c:pt>
                <c:pt idx="2665">
                  <c:v>4.8697619248380768</c:v>
                </c:pt>
                <c:pt idx="2666">
                  <c:v>2.9051017967003747</c:v>
                </c:pt>
                <c:pt idx="2667">
                  <c:v>4.0301861747171497</c:v>
                </c:pt>
                <c:pt idx="2668">
                  <c:v>5.0084596790686753</c:v>
                </c:pt>
                <c:pt idx="2669">
                  <c:v>5.9719106107932669</c:v>
                </c:pt>
                <c:pt idx="2670">
                  <c:v>5.9761738245806626</c:v>
                </c:pt>
                <c:pt idx="2671">
                  <c:v>4.9662829058169926</c:v>
                </c:pt>
                <c:pt idx="2672">
                  <c:v>5.9160805288338203</c:v>
                </c:pt>
                <c:pt idx="2673">
                  <c:v>2.9136450868945389</c:v>
                </c:pt>
                <c:pt idx="2674">
                  <c:v>4.8151517212207544</c:v>
                </c:pt>
                <c:pt idx="2675">
                  <c:v>5.8528684239077684</c:v>
                </c:pt>
                <c:pt idx="2676">
                  <c:v>6.9807557040252881</c:v>
                </c:pt>
                <c:pt idx="2677">
                  <c:v>4.9895889827432374</c:v>
                </c:pt>
                <c:pt idx="2678">
                  <c:v>5.9749666813374871</c:v>
                </c:pt>
                <c:pt idx="2679">
                  <c:v>4.9731926436916387</c:v>
                </c:pt>
                <c:pt idx="2680">
                  <c:v>4.995176272170271</c:v>
                </c:pt>
                <c:pt idx="2681">
                  <c:v>4.8942081705575555</c:v>
                </c:pt>
                <c:pt idx="2682">
                  <c:v>6.0288775921519555</c:v>
                </c:pt>
                <c:pt idx="2683">
                  <c:v>6.0882043814713809</c:v>
                </c:pt>
                <c:pt idx="2684">
                  <c:v>5.0261025173891634</c:v>
                </c:pt>
                <c:pt idx="2685">
                  <c:v>4.0067496110208065</c:v>
                </c:pt>
                <c:pt idx="2686">
                  <c:v>5.9784748866812647</c:v>
                </c:pt>
                <c:pt idx="2687">
                  <c:v>3.9775589269959362</c:v>
                </c:pt>
                <c:pt idx="2688">
                  <c:v>6.0265191764657624</c:v>
                </c:pt>
                <c:pt idx="2689">
                  <c:v>4.8007867530719279</c:v>
                </c:pt>
                <c:pt idx="2690">
                  <c:v>6.0773664626404811</c:v>
                </c:pt>
                <c:pt idx="2691">
                  <c:v>5.0545764203414727</c:v>
                </c:pt>
                <c:pt idx="2692">
                  <c:v>5.8032267297427822</c:v>
                </c:pt>
                <c:pt idx="2693">
                  <c:v>4.874297447991645</c:v>
                </c:pt>
                <c:pt idx="2694">
                  <c:v>5.9071480698802432</c:v>
                </c:pt>
                <c:pt idx="2695">
                  <c:v>4.9713236903023272</c:v>
                </c:pt>
                <c:pt idx="2696">
                  <c:v>5.9958751245830673</c:v>
                </c:pt>
                <c:pt idx="2697">
                  <c:v>6.1066067715632872</c:v>
                </c:pt>
                <c:pt idx="2698">
                  <c:v>4.975442965803281</c:v>
                </c:pt>
                <c:pt idx="2699">
                  <c:v>5.0956840726930128</c:v>
                </c:pt>
                <c:pt idx="2700">
                  <c:v>6.0929042740208077</c:v>
                </c:pt>
                <c:pt idx="2701">
                  <c:v>6.1326737025625562</c:v>
                </c:pt>
                <c:pt idx="2702">
                  <c:v>5.9037766056190932</c:v>
                </c:pt>
                <c:pt idx="2703">
                  <c:v>5.1239397687255597</c:v>
                </c:pt>
                <c:pt idx="2704">
                  <c:v>5.0109875296615041</c:v>
                </c:pt>
                <c:pt idx="2705">
                  <c:v>5.9952519812194964</c:v>
                </c:pt>
                <c:pt idx="2706">
                  <c:v>5.0572122528446561</c:v>
                </c:pt>
                <c:pt idx="2707">
                  <c:v>5.0197701237582377</c:v>
                </c:pt>
                <c:pt idx="2708">
                  <c:v>4.7541207485551933</c:v>
                </c:pt>
                <c:pt idx="2709">
                  <c:v>5.9414831444017375</c:v>
                </c:pt>
                <c:pt idx="2710">
                  <c:v>5.0253224629586999</c:v>
                </c:pt>
                <c:pt idx="2711">
                  <c:v>4.9069660103782073</c:v>
                </c:pt>
                <c:pt idx="2712">
                  <c:v>4.988477996485047</c:v>
                </c:pt>
                <c:pt idx="2713">
                  <c:v>6.0434392077676229</c:v>
                </c:pt>
                <c:pt idx="2714">
                  <c:v>5.0556750440481428</c:v>
                </c:pt>
                <c:pt idx="2715">
                  <c:v>3.7544630509847403</c:v>
                </c:pt>
                <c:pt idx="2716">
                  <c:v>4.9690133988510308</c:v>
                </c:pt>
                <c:pt idx="2717">
                  <c:v>5.8869180769289624</c:v>
                </c:pt>
                <c:pt idx="2718">
                  <c:v>4.9135376704763996</c:v>
                </c:pt>
                <c:pt idx="2719">
                  <c:v>3.7770996940627959</c:v>
                </c:pt>
                <c:pt idx="2720">
                  <c:v>4.9955778844798591</c:v>
                </c:pt>
                <c:pt idx="2721">
                  <c:v>3.8348362285517239</c:v>
                </c:pt>
                <c:pt idx="2722">
                  <c:v>5.8337823661418442</c:v>
                </c:pt>
                <c:pt idx="2723">
                  <c:v>5.1534573921188809</c:v>
                </c:pt>
                <c:pt idx="2724">
                  <c:v>3.6421782317195408</c:v>
                </c:pt>
                <c:pt idx="2725">
                  <c:v>5.9298715521920426</c:v>
                </c:pt>
                <c:pt idx="2726">
                  <c:v>8.9662551027221831</c:v>
                </c:pt>
                <c:pt idx="2727">
                  <c:v>6.049415517059308</c:v>
                </c:pt>
                <c:pt idx="2728">
                  <c:v>5.8575430940055879</c:v>
                </c:pt>
                <c:pt idx="2729">
                  <c:v>6.2239201865486047</c:v>
                </c:pt>
                <c:pt idx="2730">
                  <c:v>4.9135614596075445</c:v>
                </c:pt>
                <c:pt idx="2731">
                  <c:v>5.0294151451494962</c:v>
                </c:pt>
                <c:pt idx="2732">
                  <c:v>6.1162437083022656</c:v>
                </c:pt>
                <c:pt idx="2733">
                  <c:v>5.1325283207192269</c:v>
                </c:pt>
                <c:pt idx="2734">
                  <c:v>5.0866470906814758</c:v>
                </c:pt>
                <c:pt idx="2735">
                  <c:v>5.912631303011473</c:v>
                </c:pt>
                <c:pt idx="2736">
                  <c:v>6.0395828004568912</c:v>
                </c:pt>
                <c:pt idx="2737">
                  <c:v>4.8363684269320046</c:v>
                </c:pt>
                <c:pt idx="2738">
                  <c:v>4.8351611045881988</c:v>
                </c:pt>
                <c:pt idx="2739">
                  <c:v>6.0483389647255379</c:v>
                </c:pt>
                <c:pt idx="2740">
                  <c:v>5.872516478881793</c:v>
                </c:pt>
                <c:pt idx="2741">
                  <c:v>5.1314808340631863</c:v>
                </c:pt>
                <c:pt idx="2742">
                  <c:v>5.8965797038045178</c:v>
                </c:pt>
                <c:pt idx="2743">
                  <c:v>5.1185617648917301</c:v>
                </c:pt>
                <c:pt idx="2744">
                  <c:v>5.9608630237704823</c:v>
                </c:pt>
                <c:pt idx="2745">
                  <c:v>6.1066902063829422</c:v>
                </c:pt>
                <c:pt idx="2746">
                  <c:v>5.0248386530855935</c:v>
                </c:pt>
                <c:pt idx="2747">
                  <c:v>5.0503767182877057</c:v>
                </c:pt>
                <c:pt idx="2748">
                  <c:v>6.1855879765845163</c:v>
                </c:pt>
                <c:pt idx="2749">
                  <c:v>4.9721846100818015</c:v>
                </c:pt>
                <c:pt idx="2750">
                  <c:v>5.1077358196481635</c:v>
                </c:pt>
                <c:pt idx="2751">
                  <c:v>4.9573433010231245</c:v>
                </c:pt>
                <c:pt idx="2752">
                  <c:v>4.9672223159350652</c:v>
                </c:pt>
                <c:pt idx="2753">
                  <c:v>5.0013821165121524</c:v>
                </c:pt>
                <c:pt idx="2754">
                  <c:v>5.0033561916900995</c:v>
                </c:pt>
                <c:pt idx="2755">
                  <c:v>6.0169965755310999</c:v>
                </c:pt>
                <c:pt idx="2756">
                  <c:v>3.9851384003763592</c:v>
                </c:pt>
                <c:pt idx="2757">
                  <c:v>7.0778944145423965</c:v>
                </c:pt>
                <c:pt idx="2758">
                  <c:v>5.015295965438554</c:v>
                </c:pt>
                <c:pt idx="2759">
                  <c:v>4.9142487593140958</c:v>
                </c:pt>
                <c:pt idx="2760">
                  <c:v>5.0843278846029314</c:v>
                </c:pt>
                <c:pt idx="2761">
                  <c:v>5.0132137548147018</c:v>
                </c:pt>
                <c:pt idx="2762">
                  <c:v>5.8479829282031313</c:v>
                </c:pt>
                <c:pt idx="2763">
                  <c:v>4.879712510809803</c:v>
                </c:pt>
                <c:pt idx="2764">
                  <c:v>5.1938484426406175</c:v>
                </c:pt>
                <c:pt idx="2765">
                  <c:v>5.1491618960681329</c:v>
                </c:pt>
                <c:pt idx="2766">
                  <c:v>5.0503662861144258</c:v>
                </c:pt>
                <c:pt idx="2767">
                  <c:v>5.1619827383979366</c:v>
                </c:pt>
                <c:pt idx="2768">
                  <c:v>6.0131091378319583</c:v>
                </c:pt>
                <c:pt idx="2769">
                  <c:v>4.032626752804501</c:v>
                </c:pt>
                <c:pt idx="2770">
                  <c:v>5.1098297446247045</c:v>
                </c:pt>
                <c:pt idx="2771">
                  <c:v>5.0305168103225153</c:v>
                </c:pt>
                <c:pt idx="2772">
                  <c:v>4.9233644299508628</c:v>
                </c:pt>
                <c:pt idx="2773">
                  <c:v>4.8915625754910845</c:v>
                </c:pt>
                <c:pt idx="2774">
                  <c:v>4.1431789811746631</c:v>
                </c:pt>
                <c:pt idx="2775">
                  <c:v>6.0419529227073436</c:v>
                </c:pt>
                <c:pt idx="2776">
                  <c:v>6.063193689346833</c:v>
                </c:pt>
                <c:pt idx="2777">
                  <c:v>5.8792679915756763</c:v>
                </c:pt>
                <c:pt idx="2778">
                  <c:v>4.1566937478611248</c:v>
                </c:pt>
                <c:pt idx="2779">
                  <c:v>6.0804915319780175</c:v>
                </c:pt>
                <c:pt idx="2780">
                  <c:v>5.9730918141946558</c:v>
                </c:pt>
                <c:pt idx="2781">
                  <c:v>6.0402745645335409</c:v>
                </c:pt>
                <c:pt idx="2782">
                  <c:v>4.9428547247483232</c:v>
                </c:pt>
                <c:pt idx="2783">
                  <c:v>6.0753365467313127</c:v>
                </c:pt>
                <c:pt idx="2784">
                  <c:v>6.0876459217547554</c:v>
                </c:pt>
                <c:pt idx="2785">
                  <c:v>5.9641061083658</c:v>
                </c:pt>
                <c:pt idx="2786">
                  <c:v>6.0023836307066647</c:v>
                </c:pt>
                <c:pt idx="2787">
                  <c:v>6.1193967229152086</c:v>
                </c:pt>
                <c:pt idx="2788">
                  <c:v>5.9757748729616003</c:v>
                </c:pt>
                <c:pt idx="2789">
                  <c:v>6.0460208259711221</c:v>
                </c:pt>
                <c:pt idx="2790">
                  <c:v>6.3167523813677882</c:v>
                </c:pt>
                <c:pt idx="2791">
                  <c:v>5.9574804745879479</c:v>
                </c:pt>
                <c:pt idx="2792">
                  <c:v>5.0944894386381856</c:v>
                </c:pt>
                <c:pt idx="2793">
                  <c:v>6.016920268248132</c:v>
                </c:pt>
                <c:pt idx="2794">
                  <c:v>6.0959944216221764</c:v>
                </c:pt>
                <c:pt idx="2795">
                  <c:v>5.1675642100854562</c:v>
                </c:pt>
                <c:pt idx="2796">
                  <c:v>6.2405267956523121</c:v>
                </c:pt>
                <c:pt idx="2797">
                  <c:v>7.0751631375727309</c:v>
                </c:pt>
                <c:pt idx="2798">
                  <c:v>4.9159084185687387</c:v>
                </c:pt>
                <c:pt idx="2799">
                  <c:v>6.1114575796116526</c:v>
                </c:pt>
                <c:pt idx="2800">
                  <c:v>7.0240130497895858</c:v>
                </c:pt>
                <c:pt idx="2801">
                  <c:v>5.8659363404440992</c:v>
                </c:pt>
                <c:pt idx="2802">
                  <c:v>6.0615731067701821</c:v>
                </c:pt>
                <c:pt idx="2803">
                  <c:v>5.9078089320424496</c:v>
                </c:pt>
                <c:pt idx="2804">
                  <c:v>6.0557225191949939</c:v>
                </c:pt>
                <c:pt idx="2805">
                  <c:v>5.9421686878922362</c:v>
                </c:pt>
                <c:pt idx="2806">
                  <c:v>5.9173437316996518</c:v>
                </c:pt>
                <c:pt idx="2807">
                  <c:v>5.0108313699572893</c:v>
                </c:pt>
                <c:pt idx="2808">
                  <c:v>4.1182387941867926</c:v>
                </c:pt>
                <c:pt idx="2809">
                  <c:v>5.9650330992386182</c:v>
                </c:pt>
                <c:pt idx="2810">
                  <c:v>5.0220753320646256</c:v>
                </c:pt>
                <c:pt idx="2811">
                  <c:v>5.9949434775291275</c:v>
                </c:pt>
                <c:pt idx="2812">
                  <c:v>4.8501145403290113</c:v>
                </c:pt>
                <c:pt idx="2813">
                  <c:v>5.9881815126894029</c:v>
                </c:pt>
                <c:pt idx="2814">
                  <c:v>6.0973414177970389</c:v>
                </c:pt>
                <c:pt idx="2815">
                  <c:v>6.2345785571258743</c:v>
                </c:pt>
                <c:pt idx="2816">
                  <c:v>6.0352478836200589</c:v>
                </c:pt>
                <c:pt idx="2817">
                  <c:v>3.961124982474117</c:v>
                </c:pt>
                <c:pt idx="2818">
                  <c:v>6.0230942749956204</c:v>
                </c:pt>
                <c:pt idx="2819">
                  <c:v>4.9903703754053179</c:v>
                </c:pt>
                <c:pt idx="2820">
                  <c:v>3.9500256702121037</c:v>
                </c:pt>
                <c:pt idx="2821">
                  <c:v>3.8989394408782769</c:v>
                </c:pt>
                <c:pt idx="2822">
                  <c:v>5.1526899863499622</c:v>
                </c:pt>
                <c:pt idx="2823">
                  <c:v>5.9926623941433785</c:v>
                </c:pt>
                <c:pt idx="2824">
                  <c:v>4.9396947252278824</c:v>
                </c:pt>
                <c:pt idx="2825">
                  <c:v>5.9220883420844537</c:v>
                </c:pt>
                <c:pt idx="2826">
                  <c:v>6.0349330509719472</c:v>
                </c:pt>
                <c:pt idx="2827">
                  <c:v>5.950386215993162</c:v>
                </c:pt>
                <c:pt idx="2828">
                  <c:v>5.9989588523568091</c:v>
                </c:pt>
                <c:pt idx="2829">
                  <c:v>4.8951462167317619</c:v>
                </c:pt>
                <c:pt idx="2830">
                  <c:v>5.0806566026001461</c:v>
                </c:pt>
                <c:pt idx="2831">
                  <c:v>4.0176046622027464</c:v>
                </c:pt>
                <c:pt idx="2832">
                  <c:v>4.9956005049410974</c:v>
                </c:pt>
                <c:pt idx="2833">
                  <c:v>4.8430160002117502</c:v>
                </c:pt>
                <c:pt idx="2834">
                  <c:v>5.9504148263106034</c:v>
                </c:pt>
                <c:pt idx="2835">
                  <c:v>4.9058119336605266</c:v>
                </c:pt>
                <c:pt idx="2836">
                  <c:v>3.9550900428509701</c:v>
                </c:pt>
                <c:pt idx="2837">
                  <c:v>4.0253574279285331</c:v>
                </c:pt>
                <c:pt idx="2838">
                  <c:v>6.0919859544519364</c:v>
                </c:pt>
                <c:pt idx="2839">
                  <c:v>6.0213922521712124</c:v>
                </c:pt>
                <c:pt idx="2840">
                  <c:v>4.9353851190001459</c:v>
                </c:pt>
                <c:pt idx="2841">
                  <c:v>3.924329957336417</c:v>
                </c:pt>
                <c:pt idx="2842">
                  <c:v>4.9179551721301911</c:v>
                </c:pt>
                <c:pt idx="2843">
                  <c:v>6.0727420160288101</c:v>
                </c:pt>
                <c:pt idx="2844">
                  <c:v>4.0020317550408437</c:v>
                </c:pt>
                <c:pt idx="2845">
                  <c:v>6.1090249208861991</c:v>
                </c:pt>
                <c:pt idx="2846">
                  <c:v>5.0832734537023319</c:v>
                </c:pt>
                <c:pt idx="2847">
                  <c:v>5.9047063767205445</c:v>
                </c:pt>
                <c:pt idx="2848">
                  <c:v>4.8633640612113744</c:v>
                </c:pt>
                <c:pt idx="2849">
                  <c:v>5.0892098373345798</c:v>
                </c:pt>
                <c:pt idx="2850">
                  <c:v>5.8213735765218839</c:v>
                </c:pt>
                <c:pt idx="2851">
                  <c:v>5.8760777058449118</c:v>
                </c:pt>
                <c:pt idx="2852">
                  <c:v>4.9096190045401826</c:v>
                </c:pt>
                <c:pt idx="2853">
                  <c:v>4.9989571736930092</c:v>
                </c:pt>
                <c:pt idx="2854">
                  <c:v>6.1018874072117972</c:v>
                </c:pt>
                <c:pt idx="2855">
                  <c:v>5.954907304431539</c:v>
                </c:pt>
                <c:pt idx="2856">
                  <c:v>5.9842078977183437</c:v>
                </c:pt>
                <c:pt idx="2857">
                  <c:v>5.8948286008358544</c:v>
                </c:pt>
                <c:pt idx="2858">
                  <c:v>4.8145527621091606</c:v>
                </c:pt>
                <c:pt idx="2859">
                  <c:v>4.984340622139233</c:v>
                </c:pt>
                <c:pt idx="2860">
                  <c:v>6.0332240346492183</c:v>
                </c:pt>
                <c:pt idx="2861">
                  <c:v>7.1475247844747578</c:v>
                </c:pt>
                <c:pt idx="2862">
                  <c:v>5.9964774606390847</c:v>
                </c:pt>
                <c:pt idx="2863">
                  <c:v>5.0080339420433777</c:v>
                </c:pt>
                <c:pt idx="2864">
                  <c:v>6.1081097819818879</c:v>
                </c:pt>
                <c:pt idx="2865">
                  <c:v>6.0434386399048794</c:v>
                </c:pt>
                <c:pt idx="2866">
                  <c:v>5.888154693152134</c:v>
                </c:pt>
                <c:pt idx="2867">
                  <c:v>5.0232077532361581</c:v>
                </c:pt>
                <c:pt idx="2868">
                  <c:v>4.873421600832593</c:v>
                </c:pt>
                <c:pt idx="2869">
                  <c:v>5.9325094367185844</c:v>
                </c:pt>
                <c:pt idx="2870">
                  <c:v>4.9014595754155446</c:v>
                </c:pt>
                <c:pt idx="2871">
                  <c:v>6.9637479509646596</c:v>
                </c:pt>
                <c:pt idx="2872">
                  <c:v>4.9231327576228026</c:v>
                </c:pt>
                <c:pt idx="2873">
                  <c:v>6.0077958599872803</c:v>
                </c:pt>
                <c:pt idx="2874">
                  <c:v>6.1017998546466901</c:v>
                </c:pt>
                <c:pt idx="2875">
                  <c:v>5.008947591066268</c:v>
                </c:pt>
                <c:pt idx="2876">
                  <c:v>5.9728885259541116</c:v>
                </c:pt>
                <c:pt idx="2877">
                  <c:v>5.1552439782164914</c:v>
                </c:pt>
                <c:pt idx="2878">
                  <c:v>4.8304206219878489</c:v>
                </c:pt>
                <c:pt idx="2879">
                  <c:v>6.1397422107711872</c:v>
                </c:pt>
                <c:pt idx="2880">
                  <c:v>6.1116687181186524</c:v>
                </c:pt>
                <c:pt idx="2881">
                  <c:v>5.8097615342968965</c:v>
                </c:pt>
                <c:pt idx="2882">
                  <c:v>5.0459622909538595</c:v>
                </c:pt>
                <c:pt idx="2883">
                  <c:v>5.6017887509581126</c:v>
                </c:pt>
                <c:pt idx="2884">
                  <c:v>6.9056090615372687</c:v>
                </c:pt>
                <c:pt idx="2885">
                  <c:v>4.875649856655472</c:v>
                </c:pt>
                <c:pt idx="2886">
                  <c:v>5.1223383913646225</c:v>
                </c:pt>
                <c:pt idx="2887">
                  <c:v>4.9820488002532617</c:v>
                </c:pt>
                <c:pt idx="2888">
                  <c:v>4.96348275640345</c:v>
                </c:pt>
                <c:pt idx="2889">
                  <c:v>7.0057823202157232</c:v>
                </c:pt>
                <c:pt idx="2890">
                  <c:v>5.1075251082778612</c:v>
                </c:pt>
                <c:pt idx="2891">
                  <c:v>4.9354404529603144</c:v>
                </c:pt>
                <c:pt idx="2892">
                  <c:v>6.148992393805675</c:v>
                </c:pt>
                <c:pt idx="2893">
                  <c:v>5.0249834922026286</c:v>
                </c:pt>
                <c:pt idx="2894">
                  <c:v>5.0056499575928539</c:v>
                </c:pt>
                <c:pt idx="2895">
                  <c:v>4.9829489332641925</c:v>
                </c:pt>
                <c:pt idx="2896">
                  <c:v>4.9030268743007133</c:v>
                </c:pt>
                <c:pt idx="2897">
                  <c:v>6.1967015692036433</c:v>
                </c:pt>
                <c:pt idx="2898">
                  <c:v>6.9381339802947908</c:v>
                </c:pt>
                <c:pt idx="2899">
                  <c:v>6.0619853098002556</c:v>
                </c:pt>
                <c:pt idx="2900">
                  <c:v>4.8619483063095545</c:v>
                </c:pt>
                <c:pt idx="2901">
                  <c:v>4.963517954739407</c:v>
                </c:pt>
                <c:pt idx="2902">
                  <c:v>5.9660399229940611</c:v>
                </c:pt>
                <c:pt idx="2903">
                  <c:v>6.9788986229887966</c:v>
                </c:pt>
                <c:pt idx="2904">
                  <c:v>7.0716555255776949</c:v>
                </c:pt>
                <c:pt idx="2905">
                  <c:v>5.0936499968392219</c:v>
                </c:pt>
                <c:pt idx="2906">
                  <c:v>6.125897014889226</c:v>
                </c:pt>
                <c:pt idx="2907">
                  <c:v>6.9761037796297147</c:v>
                </c:pt>
                <c:pt idx="2908">
                  <c:v>5.0067208670434331</c:v>
                </c:pt>
                <c:pt idx="2909">
                  <c:v>4.9956632407372714</c:v>
                </c:pt>
                <c:pt idx="2910">
                  <c:v>6.0329453589333006</c:v>
                </c:pt>
                <c:pt idx="2911">
                  <c:v>7.0198298641989254</c:v>
                </c:pt>
                <c:pt idx="2912">
                  <c:v>4.905863056912291</c:v>
                </c:pt>
                <c:pt idx="2913">
                  <c:v>5.0404384240951012</c:v>
                </c:pt>
                <c:pt idx="2914">
                  <c:v>5.9492519181822292</c:v>
                </c:pt>
                <c:pt idx="2915">
                  <c:v>5.0817652677880787</c:v>
                </c:pt>
                <c:pt idx="2916">
                  <c:v>5.0180621660288569</c:v>
                </c:pt>
                <c:pt idx="2917">
                  <c:v>6.9560618511466501</c:v>
                </c:pt>
                <c:pt idx="2918">
                  <c:v>5.0245730735936336</c:v>
                </c:pt>
                <c:pt idx="2919">
                  <c:v>5.1383574098352325</c:v>
                </c:pt>
                <c:pt idx="2920">
                  <c:v>6.1232976922532325</c:v>
                </c:pt>
                <c:pt idx="2921">
                  <c:v>5.0192540756905526</c:v>
                </c:pt>
                <c:pt idx="2922">
                  <c:v>5.9301647912924675</c:v>
                </c:pt>
                <c:pt idx="2923">
                  <c:v>5.0596875386437539</c:v>
                </c:pt>
                <c:pt idx="2924">
                  <c:v>5.8386039894531532</c:v>
                </c:pt>
                <c:pt idx="2925">
                  <c:v>6.1979944043807738</c:v>
                </c:pt>
                <c:pt idx="2926">
                  <c:v>5.1413949364584983</c:v>
                </c:pt>
                <c:pt idx="2927">
                  <c:v>5.9674310878643597</c:v>
                </c:pt>
                <c:pt idx="2928">
                  <c:v>5.0241066934888536</c:v>
                </c:pt>
                <c:pt idx="2929">
                  <c:v>5.9760881388882465</c:v>
                </c:pt>
                <c:pt idx="2930">
                  <c:v>5.9097380261017101</c:v>
                </c:pt>
                <c:pt idx="2931">
                  <c:v>4.892008265889757</c:v>
                </c:pt>
                <c:pt idx="2932">
                  <c:v>4.9275825378513538</c:v>
                </c:pt>
                <c:pt idx="2933">
                  <c:v>5.0562802625303469</c:v>
                </c:pt>
                <c:pt idx="2934">
                  <c:v>4.818545182284578</c:v>
                </c:pt>
                <c:pt idx="2935">
                  <c:v>5.0857536536019055</c:v>
                </c:pt>
                <c:pt idx="2936">
                  <c:v>6.0409469551921422</c:v>
                </c:pt>
                <c:pt idx="2937">
                  <c:v>4.8699735788735614</c:v>
                </c:pt>
                <c:pt idx="2938">
                  <c:v>4.9209622066097749</c:v>
                </c:pt>
                <c:pt idx="2939">
                  <c:v>3.9032332907816656</c:v>
                </c:pt>
                <c:pt idx="2940">
                  <c:v>4.9193255389468149</c:v>
                </c:pt>
                <c:pt idx="2941">
                  <c:v>5.9290804733414317</c:v>
                </c:pt>
                <c:pt idx="2942">
                  <c:v>5.9887875854379766</c:v>
                </c:pt>
                <c:pt idx="2943">
                  <c:v>4.8888152539737693</c:v>
                </c:pt>
                <c:pt idx="2944">
                  <c:v>5.0830444060228892</c:v>
                </c:pt>
                <c:pt idx="2945">
                  <c:v>4.8469075911575885</c:v>
                </c:pt>
                <c:pt idx="2946">
                  <c:v>5.8944782920973298</c:v>
                </c:pt>
                <c:pt idx="2947">
                  <c:v>6.0757437402098597</c:v>
                </c:pt>
                <c:pt idx="2948">
                  <c:v>5.8407229695124823</c:v>
                </c:pt>
                <c:pt idx="2949">
                  <c:v>4.9458884114053108</c:v>
                </c:pt>
                <c:pt idx="2950">
                  <c:v>4.9517177091993547</c:v>
                </c:pt>
                <c:pt idx="2951">
                  <c:v>6.2050173175007357</c:v>
                </c:pt>
                <c:pt idx="2952">
                  <c:v>4.8931074474657592</c:v>
                </c:pt>
                <c:pt idx="2953">
                  <c:v>6.1767108265342987</c:v>
                </c:pt>
                <c:pt idx="2954">
                  <c:v>4.8895192286047502</c:v>
                </c:pt>
                <c:pt idx="2955">
                  <c:v>5.9321357659252039</c:v>
                </c:pt>
                <c:pt idx="2956">
                  <c:v>6.0260895440517546</c:v>
                </c:pt>
                <c:pt idx="2957">
                  <c:v>6.0218450216457979</c:v>
                </c:pt>
                <c:pt idx="2958">
                  <c:v>6.0450111511169666</c:v>
                </c:pt>
                <c:pt idx="2959">
                  <c:v>5.9709909477148537</c:v>
                </c:pt>
                <c:pt idx="2960">
                  <c:v>5.9479220267201889</c:v>
                </c:pt>
                <c:pt idx="2961">
                  <c:v>4.9345107042089875</c:v>
                </c:pt>
                <c:pt idx="2962">
                  <c:v>4.8867799825411566</c:v>
                </c:pt>
                <c:pt idx="2963">
                  <c:v>4.9638366318085145</c:v>
                </c:pt>
                <c:pt idx="2964">
                  <c:v>6.1444920552531626</c:v>
                </c:pt>
                <c:pt idx="2965">
                  <c:v>4.9662499538727678</c:v>
                </c:pt>
                <c:pt idx="2966">
                  <c:v>4.8857799875696815</c:v>
                </c:pt>
                <c:pt idx="2967">
                  <c:v>5.0959104390189411</c:v>
                </c:pt>
                <c:pt idx="2968">
                  <c:v>4.9687422386951647</c:v>
                </c:pt>
                <c:pt idx="2969">
                  <c:v>5.7312775628434451</c:v>
                </c:pt>
                <c:pt idx="2970">
                  <c:v>5.9116562012025522</c:v>
                </c:pt>
                <c:pt idx="2971">
                  <c:v>5.0206328060219523</c:v>
                </c:pt>
                <c:pt idx="2972">
                  <c:v>4.8777787602622906</c:v>
                </c:pt>
                <c:pt idx="2973">
                  <c:v>6.0863734297576411</c:v>
                </c:pt>
                <c:pt idx="2974">
                  <c:v>5.874241660513257</c:v>
                </c:pt>
                <c:pt idx="2975">
                  <c:v>5.9861899815068833</c:v>
                </c:pt>
                <c:pt idx="2976">
                  <c:v>5.109243874640276</c:v>
                </c:pt>
                <c:pt idx="2977">
                  <c:v>5.8096743831078319</c:v>
                </c:pt>
                <c:pt idx="2978">
                  <c:v>6.0064917735407093</c:v>
                </c:pt>
                <c:pt idx="2979">
                  <c:v>5.931564205971501</c:v>
                </c:pt>
                <c:pt idx="2980">
                  <c:v>5.0819653782712857</c:v>
                </c:pt>
                <c:pt idx="2981">
                  <c:v>5.0443851650820868</c:v>
                </c:pt>
                <c:pt idx="2982">
                  <c:v>5.193843136586235</c:v>
                </c:pt>
                <c:pt idx="2983">
                  <c:v>6.1677016278124963</c:v>
                </c:pt>
                <c:pt idx="2984">
                  <c:v>4.8539782620645147</c:v>
                </c:pt>
                <c:pt idx="2985">
                  <c:v>4.9517506665105424</c:v>
                </c:pt>
                <c:pt idx="2986">
                  <c:v>5.1150743928150346</c:v>
                </c:pt>
                <c:pt idx="2987">
                  <c:v>4.7574386320052584</c:v>
                </c:pt>
                <c:pt idx="2988">
                  <c:v>5.0913291252602066</c:v>
                </c:pt>
                <c:pt idx="2989">
                  <c:v>6.1357508997813648</c:v>
                </c:pt>
                <c:pt idx="2990">
                  <c:v>4.9964791885364415</c:v>
                </c:pt>
                <c:pt idx="2991">
                  <c:v>6.0487166010749043</c:v>
                </c:pt>
                <c:pt idx="2992">
                  <c:v>5.0532062828564781</c:v>
                </c:pt>
                <c:pt idx="2993">
                  <c:v>5.0433915545234251</c:v>
                </c:pt>
                <c:pt idx="2994">
                  <c:v>6.0502945759139575</c:v>
                </c:pt>
                <c:pt idx="2995">
                  <c:v>6.1173824866224606</c:v>
                </c:pt>
                <c:pt idx="2996">
                  <c:v>6.0373141824889194</c:v>
                </c:pt>
                <c:pt idx="2997">
                  <c:v>5.1736675318943988</c:v>
                </c:pt>
                <c:pt idx="2998">
                  <c:v>5.104219345512603</c:v>
                </c:pt>
                <c:pt idx="2999">
                  <c:v>4.9530183945985309</c:v>
                </c:pt>
                <c:pt idx="3000">
                  <c:v>5.0136228609982494</c:v>
                </c:pt>
                <c:pt idx="3001">
                  <c:v>5.9688464242601977</c:v>
                </c:pt>
                <c:pt idx="3002">
                  <c:v>5.9628702564721632</c:v>
                </c:pt>
                <c:pt idx="3003">
                  <c:v>5.7841462993714412</c:v>
                </c:pt>
                <c:pt idx="3004">
                  <c:v>5.1169793677571702</c:v>
                </c:pt>
                <c:pt idx="3005">
                  <c:v>4.9892799765676203</c:v>
                </c:pt>
                <c:pt idx="3006">
                  <c:v>6.0888098975381926</c:v>
                </c:pt>
                <c:pt idx="3007">
                  <c:v>6.0481156096598276</c:v>
                </c:pt>
                <c:pt idx="3008">
                  <c:v>4.999787561404295</c:v>
                </c:pt>
                <c:pt idx="3009">
                  <c:v>6.0841350901568081</c:v>
                </c:pt>
                <c:pt idx="3010">
                  <c:v>5.9684544888300692</c:v>
                </c:pt>
                <c:pt idx="3011">
                  <c:v>5.0870028359950723</c:v>
                </c:pt>
                <c:pt idx="3012">
                  <c:v>5.9834479528475928</c:v>
                </c:pt>
                <c:pt idx="3013">
                  <c:v>6.1144871787684583</c:v>
                </c:pt>
                <c:pt idx="3014">
                  <c:v>5.9971792222490876</c:v>
                </c:pt>
                <c:pt idx="3015">
                  <c:v>4.8682342557684226</c:v>
                </c:pt>
                <c:pt idx="3016">
                  <c:v>4.8746512354316707</c:v>
                </c:pt>
                <c:pt idx="3017">
                  <c:v>4.8409680602118765</c:v>
                </c:pt>
                <c:pt idx="3018">
                  <c:v>6.0265399970627165</c:v>
                </c:pt>
                <c:pt idx="3019">
                  <c:v>4.9928539830874978</c:v>
                </c:pt>
                <c:pt idx="3020">
                  <c:v>6.089791800071569</c:v>
                </c:pt>
                <c:pt idx="3021">
                  <c:v>6.0174645801363127</c:v>
                </c:pt>
                <c:pt idx="3022">
                  <c:v>4.9234010270288007</c:v>
                </c:pt>
                <c:pt idx="3023">
                  <c:v>5.0826783352618499</c:v>
                </c:pt>
                <c:pt idx="3024">
                  <c:v>5.0559740580380108</c:v>
                </c:pt>
                <c:pt idx="3025">
                  <c:v>6.1112700158625319</c:v>
                </c:pt>
                <c:pt idx="3026">
                  <c:v>5.7752595366751809</c:v>
                </c:pt>
                <c:pt idx="3027">
                  <c:v>5.9665880384078669</c:v>
                </c:pt>
                <c:pt idx="3028">
                  <c:v>4.9895250271598321</c:v>
                </c:pt>
                <c:pt idx="3029">
                  <c:v>4.9784488941624234</c:v>
                </c:pt>
                <c:pt idx="3030">
                  <c:v>4.9815032897103446</c:v>
                </c:pt>
                <c:pt idx="3031">
                  <c:v>4.8785555474562949</c:v>
                </c:pt>
                <c:pt idx="3032">
                  <c:v>6.1427370979617129</c:v>
                </c:pt>
                <c:pt idx="3033">
                  <c:v>5.0294513295842469</c:v>
                </c:pt>
                <c:pt idx="3034">
                  <c:v>5.830853242525281</c:v>
                </c:pt>
                <c:pt idx="3035">
                  <c:v>5.0780389708028038</c:v>
                </c:pt>
                <c:pt idx="3036">
                  <c:v>4.9505081761825016</c:v>
                </c:pt>
                <c:pt idx="3037">
                  <c:v>6.1734209170173466</c:v>
                </c:pt>
                <c:pt idx="3038">
                  <c:v>6.0945572192069548</c:v>
                </c:pt>
                <c:pt idx="3039">
                  <c:v>4.0084647361630248</c:v>
                </c:pt>
                <c:pt idx="3040">
                  <c:v>5.0523016788658612</c:v>
                </c:pt>
                <c:pt idx="3041">
                  <c:v>4.91675697452854</c:v>
                </c:pt>
                <c:pt idx="3042">
                  <c:v>6.0452370329441223</c:v>
                </c:pt>
                <c:pt idx="3043">
                  <c:v>5.072621405645557</c:v>
                </c:pt>
                <c:pt idx="3044">
                  <c:v>4.9283634937607541</c:v>
                </c:pt>
                <c:pt idx="3045">
                  <c:v>5.0551994446588706</c:v>
                </c:pt>
                <c:pt idx="3046">
                  <c:v>5.1311937166072186</c:v>
                </c:pt>
                <c:pt idx="3047">
                  <c:v>6.0315350504810539</c:v>
                </c:pt>
                <c:pt idx="3048">
                  <c:v>6.0042553840580313</c:v>
                </c:pt>
                <c:pt idx="3049">
                  <c:v>4.6495444375815191</c:v>
                </c:pt>
                <c:pt idx="3050">
                  <c:v>5.0164956693811309</c:v>
                </c:pt>
                <c:pt idx="3051">
                  <c:v>5.9455085377012287</c:v>
                </c:pt>
                <c:pt idx="3052">
                  <c:v>5.7812715587096246</c:v>
                </c:pt>
                <c:pt idx="3053">
                  <c:v>5.1678290061982253</c:v>
                </c:pt>
                <c:pt idx="3054">
                  <c:v>5.02973562231288</c:v>
                </c:pt>
                <c:pt idx="3055">
                  <c:v>4.8796010327735813</c:v>
                </c:pt>
                <c:pt idx="3056">
                  <c:v>5.0413804094136285</c:v>
                </c:pt>
                <c:pt idx="3057">
                  <c:v>5.8895297181617874</c:v>
                </c:pt>
                <c:pt idx="3058">
                  <c:v>5.0828374205656672</c:v>
                </c:pt>
                <c:pt idx="3059">
                  <c:v>5.986112219121388</c:v>
                </c:pt>
                <c:pt idx="3060">
                  <c:v>6.1396289750241664</c:v>
                </c:pt>
                <c:pt idx="3061">
                  <c:v>5.7955633897386756</c:v>
                </c:pt>
                <c:pt idx="3062">
                  <c:v>4.9536775016220957</c:v>
                </c:pt>
                <c:pt idx="3063">
                  <c:v>5.9648799135558059</c:v>
                </c:pt>
                <c:pt idx="3064">
                  <c:v>5.0348184657764286</c:v>
                </c:pt>
                <c:pt idx="3065">
                  <c:v>6.0646475832774591</c:v>
                </c:pt>
                <c:pt idx="3066">
                  <c:v>5.0021791288001278</c:v>
                </c:pt>
                <c:pt idx="3067">
                  <c:v>5.9318697540166836</c:v>
                </c:pt>
                <c:pt idx="3068">
                  <c:v>5.0721205435648793</c:v>
                </c:pt>
                <c:pt idx="3069">
                  <c:v>5.1204007673582241</c:v>
                </c:pt>
                <c:pt idx="3070">
                  <c:v>6.1464262242771879</c:v>
                </c:pt>
                <c:pt idx="3071">
                  <c:v>4.9308306519422906</c:v>
                </c:pt>
                <c:pt idx="3072">
                  <c:v>6.1176229716791362</c:v>
                </c:pt>
                <c:pt idx="3073">
                  <c:v>5.0560637921248466</c:v>
                </c:pt>
                <c:pt idx="3074">
                  <c:v>4.8227622579600302</c:v>
                </c:pt>
                <c:pt idx="3075">
                  <c:v>5.8978036321624634</c:v>
                </c:pt>
                <c:pt idx="3076">
                  <c:v>5.8553295479539678</c:v>
                </c:pt>
                <c:pt idx="3077">
                  <c:v>5.1384303538077791</c:v>
                </c:pt>
                <c:pt idx="3078">
                  <c:v>5.0415496488869778</c:v>
                </c:pt>
                <c:pt idx="3079">
                  <c:v>4.8972121373363402</c:v>
                </c:pt>
                <c:pt idx="3080">
                  <c:v>4.9737354331990389</c:v>
                </c:pt>
                <c:pt idx="3081">
                  <c:v>5.1107373651577293</c:v>
                </c:pt>
                <c:pt idx="3082">
                  <c:v>4.8752015090494929</c:v>
                </c:pt>
                <c:pt idx="3083">
                  <c:v>5.0809849092070181</c:v>
                </c:pt>
                <c:pt idx="3084">
                  <c:v>4.933450353971339</c:v>
                </c:pt>
                <c:pt idx="3085">
                  <c:v>6.85809939002338</c:v>
                </c:pt>
                <c:pt idx="3086">
                  <c:v>5.1685460188382697</c:v>
                </c:pt>
                <c:pt idx="3087">
                  <c:v>5.9730710665126407</c:v>
                </c:pt>
                <c:pt idx="3088">
                  <c:v>3.9835324160956116</c:v>
                </c:pt>
                <c:pt idx="3089">
                  <c:v>5.1439258993317551</c:v>
                </c:pt>
                <c:pt idx="3090">
                  <c:v>4.9223128018624935</c:v>
                </c:pt>
                <c:pt idx="3091">
                  <c:v>6.0691681866951868</c:v>
                </c:pt>
                <c:pt idx="3092">
                  <c:v>4.8696740104071656</c:v>
                </c:pt>
                <c:pt idx="3093">
                  <c:v>6.0698451894303496</c:v>
                </c:pt>
                <c:pt idx="3094">
                  <c:v>5.9528397076534265</c:v>
                </c:pt>
                <c:pt idx="3095">
                  <c:v>4.9223428469931507</c:v>
                </c:pt>
                <c:pt idx="3096">
                  <c:v>3.7957362477976408</c:v>
                </c:pt>
                <c:pt idx="3097">
                  <c:v>4.966167961061621</c:v>
                </c:pt>
                <c:pt idx="3098">
                  <c:v>5.0048679905664262</c:v>
                </c:pt>
                <c:pt idx="3099">
                  <c:v>6.0925605946355459</c:v>
                </c:pt>
                <c:pt idx="3100">
                  <c:v>5.0993062276918248</c:v>
                </c:pt>
                <c:pt idx="3101">
                  <c:v>6.0309818080215702</c:v>
                </c:pt>
                <c:pt idx="3102">
                  <c:v>4.9403750766116454</c:v>
                </c:pt>
                <c:pt idx="3103">
                  <c:v>6.1350486330822429</c:v>
                </c:pt>
                <c:pt idx="3104">
                  <c:v>6.9204307649185646</c:v>
                </c:pt>
                <c:pt idx="3105">
                  <c:v>5.0016072431254477</c:v>
                </c:pt>
                <c:pt idx="3106">
                  <c:v>5.0644193554298802</c:v>
                </c:pt>
                <c:pt idx="3107">
                  <c:v>5.9281071269822148</c:v>
                </c:pt>
                <c:pt idx="3108">
                  <c:v>3.044502515767967</c:v>
                </c:pt>
                <c:pt idx="3109">
                  <c:v>6.1487810824817783</c:v>
                </c:pt>
                <c:pt idx="3110">
                  <c:v>5.9837925874843263</c:v>
                </c:pt>
                <c:pt idx="3111">
                  <c:v>7.0247053125195889</c:v>
                </c:pt>
                <c:pt idx="3112">
                  <c:v>6.1110279815590669</c:v>
                </c:pt>
                <c:pt idx="3113">
                  <c:v>2.0120504609962389</c:v>
                </c:pt>
                <c:pt idx="3114">
                  <c:v>4.9690895889441347</c:v>
                </c:pt>
                <c:pt idx="3115">
                  <c:v>5.1429589049825193</c:v>
                </c:pt>
                <c:pt idx="3116">
                  <c:v>1.9501203725964871</c:v>
                </c:pt>
                <c:pt idx="3117">
                  <c:v>5.9643922917608121</c:v>
                </c:pt>
                <c:pt idx="3118">
                  <c:v>5.0482274104189395</c:v>
                </c:pt>
                <c:pt idx="3119">
                  <c:v>5.9493709538986623</c:v>
                </c:pt>
                <c:pt idx="3120">
                  <c:v>5.0682115262702414</c:v>
                </c:pt>
                <c:pt idx="3121">
                  <c:v>2.0151657986977329</c:v>
                </c:pt>
                <c:pt idx="3122">
                  <c:v>5.9736743683580773</c:v>
                </c:pt>
                <c:pt idx="3123">
                  <c:v>6.0246578770310952</c:v>
                </c:pt>
                <c:pt idx="3124">
                  <c:v>7.0893216516547266</c:v>
                </c:pt>
                <c:pt idx="3125">
                  <c:v>5.9771984911801974</c:v>
                </c:pt>
                <c:pt idx="3126">
                  <c:v>5.052119943962496</c:v>
                </c:pt>
                <c:pt idx="3127">
                  <c:v>4.9628247938045718</c:v>
                </c:pt>
                <c:pt idx="3128">
                  <c:v>7.1143531943091807</c:v>
                </c:pt>
                <c:pt idx="3129">
                  <c:v>4.9317393198034578</c:v>
                </c:pt>
                <c:pt idx="3130">
                  <c:v>5.8765071931060655</c:v>
                </c:pt>
                <c:pt idx="3131">
                  <c:v>6.2223388680473724</c:v>
                </c:pt>
                <c:pt idx="3132">
                  <c:v>4.9425660461557666</c:v>
                </c:pt>
                <c:pt idx="3133">
                  <c:v>5.8390731410513705</c:v>
                </c:pt>
                <c:pt idx="3134">
                  <c:v>6.7315754947929447</c:v>
                </c:pt>
                <c:pt idx="3135">
                  <c:v>4.969779865486541</c:v>
                </c:pt>
                <c:pt idx="3136">
                  <c:v>5.8773895293998555</c:v>
                </c:pt>
                <c:pt idx="3137">
                  <c:v>5.0784576891512634</c:v>
                </c:pt>
                <c:pt idx="3138">
                  <c:v>5.9547643362628664</c:v>
                </c:pt>
                <c:pt idx="3139">
                  <c:v>7.0294427613976485</c:v>
                </c:pt>
                <c:pt idx="3140">
                  <c:v>6.8209027353597529</c:v>
                </c:pt>
                <c:pt idx="3141">
                  <c:v>5.0773697406659348</c:v>
                </c:pt>
                <c:pt idx="3142">
                  <c:v>5.004735590826539</c:v>
                </c:pt>
                <c:pt idx="3143">
                  <c:v>5.9415582764780499</c:v>
                </c:pt>
                <c:pt idx="3144">
                  <c:v>6.1247538788857003</c:v>
                </c:pt>
                <c:pt idx="3145">
                  <c:v>6.0006792921565175</c:v>
                </c:pt>
                <c:pt idx="3146">
                  <c:v>5.9270136771546165</c:v>
                </c:pt>
                <c:pt idx="3147">
                  <c:v>4.9294684462451874</c:v>
                </c:pt>
                <c:pt idx="3148">
                  <c:v>6.0317942369888824</c:v>
                </c:pt>
                <c:pt idx="3149">
                  <c:v>7.1268308639443978</c:v>
                </c:pt>
                <c:pt idx="3150">
                  <c:v>5.1981891218126126</c:v>
                </c:pt>
                <c:pt idx="3151">
                  <c:v>6.0745049909906754</c:v>
                </c:pt>
                <c:pt idx="3152">
                  <c:v>5.0082161353620087</c:v>
                </c:pt>
                <c:pt idx="3153">
                  <c:v>5.1711494151552477</c:v>
                </c:pt>
                <c:pt idx="3154">
                  <c:v>5.0254948701616504</c:v>
                </c:pt>
                <c:pt idx="3155">
                  <c:v>5.0789078699107018</c:v>
                </c:pt>
                <c:pt idx="3156">
                  <c:v>4.8775384720723522</c:v>
                </c:pt>
                <c:pt idx="3157">
                  <c:v>6.0318730087856771</c:v>
                </c:pt>
                <c:pt idx="3158">
                  <c:v>4.0004578595790017</c:v>
                </c:pt>
                <c:pt idx="3159">
                  <c:v>7.0894765041473429</c:v>
                </c:pt>
                <c:pt idx="3160">
                  <c:v>3.9123309861812507</c:v>
                </c:pt>
                <c:pt idx="3161">
                  <c:v>4.9069234146238792</c:v>
                </c:pt>
                <c:pt idx="3162">
                  <c:v>5.1569758255884324</c:v>
                </c:pt>
                <c:pt idx="3163">
                  <c:v>5.995740790450272</c:v>
                </c:pt>
                <c:pt idx="3164">
                  <c:v>4.9646321915326475</c:v>
                </c:pt>
                <c:pt idx="3165">
                  <c:v>4.9323367384300409</c:v>
                </c:pt>
                <c:pt idx="3166">
                  <c:v>5.0243879812769654</c:v>
                </c:pt>
                <c:pt idx="3167">
                  <c:v>5.1121796270948794</c:v>
                </c:pt>
                <c:pt idx="3168">
                  <c:v>6.9644571470069883</c:v>
                </c:pt>
                <c:pt idx="3169">
                  <c:v>4.9055322837360515</c:v>
                </c:pt>
                <c:pt idx="3170">
                  <c:v>4.880839157472054</c:v>
                </c:pt>
                <c:pt idx="3171">
                  <c:v>4.7485175775521249</c:v>
                </c:pt>
                <c:pt idx="3172">
                  <c:v>5.2273107223857371</c:v>
                </c:pt>
                <c:pt idx="3173">
                  <c:v>5.0138217737712951</c:v>
                </c:pt>
                <c:pt idx="3174">
                  <c:v>5.9630753942229227</c:v>
                </c:pt>
                <c:pt idx="3175">
                  <c:v>4.8151361712564116</c:v>
                </c:pt>
                <c:pt idx="3176">
                  <c:v>4.9717572401782038</c:v>
                </c:pt>
                <c:pt idx="3177">
                  <c:v>5.0813792834656839</c:v>
                </c:pt>
                <c:pt idx="3178">
                  <c:v>4.9284480661231118</c:v>
                </c:pt>
                <c:pt idx="3179">
                  <c:v>6.1947627481410006</c:v>
                </c:pt>
                <c:pt idx="3180">
                  <c:v>5.9622839704668937</c:v>
                </c:pt>
                <c:pt idx="3181">
                  <c:v>5.0041742004570056</c:v>
                </c:pt>
                <c:pt idx="3182">
                  <c:v>6.9792183348791177</c:v>
                </c:pt>
                <c:pt idx="3183">
                  <c:v>6.0159419337223969</c:v>
                </c:pt>
                <c:pt idx="3184">
                  <c:v>7.0334694640591602</c:v>
                </c:pt>
                <c:pt idx="3185">
                  <c:v>5.1143661605418282</c:v>
                </c:pt>
                <c:pt idx="3186">
                  <c:v>5.1289045163578928</c:v>
                </c:pt>
                <c:pt idx="3187">
                  <c:v>5.9806892129348599</c:v>
                </c:pt>
                <c:pt idx="3188">
                  <c:v>5.0246594507505229</c:v>
                </c:pt>
                <c:pt idx="3189">
                  <c:v>5.8759415565638156</c:v>
                </c:pt>
                <c:pt idx="3190">
                  <c:v>4.9389362497397897</c:v>
                </c:pt>
                <c:pt idx="3191">
                  <c:v>4.9504954538764956</c:v>
                </c:pt>
                <c:pt idx="3192">
                  <c:v>6.0160487451528528</c:v>
                </c:pt>
                <c:pt idx="3193">
                  <c:v>5.9092915315105241</c:v>
                </c:pt>
                <c:pt idx="3194">
                  <c:v>4.8827470912132291</c:v>
                </c:pt>
                <c:pt idx="3195">
                  <c:v>5.0080559803567102</c:v>
                </c:pt>
                <c:pt idx="3196">
                  <c:v>6.7794179863662549</c:v>
                </c:pt>
                <c:pt idx="3197">
                  <c:v>5.0954766991707672</c:v>
                </c:pt>
                <c:pt idx="3198">
                  <c:v>6.0378921324573822</c:v>
                </c:pt>
                <c:pt idx="3199">
                  <c:v>6.9383656811045302</c:v>
                </c:pt>
                <c:pt idx="3200">
                  <c:v>4.9809282489560252</c:v>
                </c:pt>
                <c:pt idx="3201">
                  <c:v>5.1278392411238567</c:v>
                </c:pt>
                <c:pt idx="3202">
                  <c:v>5.8998474380631496</c:v>
                </c:pt>
                <c:pt idx="3203">
                  <c:v>4.8361955433020061</c:v>
                </c:pt>
                <c:pt idx="3204">
                  <c:v>4.8146560294032827</c:v>
                </c:pt>
                <c:pt idx="3205">
                  <c:v>5.0146292960375911</c:v>
                </c:pt>
                <c:pt idx="3206">
                  <c:v>5.0426782758996023</c:v>
                </c:pt>
                <c:pt idx="3207">
                  <c:v>5.9027360998097151</c:v>
                </c:pt>
                <c:pt idx="3208">
                  <c:v>5.7336051344263854</c:v>
                </c:pt>
                <c:pt idx="3209">
                  <c:v>6.0122811937052356</c:v>
                </c:pt>
                <c:pt idx="3210">
                  <c:v>5.9319937730338639</c:v>
                </c:pt>
                <c:pt idx="3211">
                  <c:v>5.07719644203575</c:v>
                </c:pt>
                <c:pt idx="3212">
                  <c:v>5.9204238418083062</c:v>
                </c:pt>
                <c:pt idx="3213">
                  <c:v>5.0194070133407029</c:v>
                </c:pt>
                <c:pt idx="3214">
                  <c:v>4.9545489644941005</c:v>
                </c:pt>
                <c:pt idx="3215">
                  <c:v>5.0137543640225033</c:v>
                </c:pt>
                <c:pt idx="3216">
                  <c:v>4.9208068719151399</c:v>
                </c:pt>
                <c:pt idx="3217">
                  <c:v>5.8724098235081383</c:v>
                </c:pt>
                <c:pt idx="3218">
                  <c:v>6.0395657060564378</c:v>
                </c:pt>
                <c:pt idx="3219">
                  <c:v>5.0454666454252619</c:v>
                </c:pt>
                <c:pt idx="3220">
                  <c:v>4.9197052345020875</c:v>
                </c:pt>
                <c:pt idx="3221">
                  <c:v>5.011888294136587</c:v>
                </c:pt>
                <c:pt idx="3222">
                  <c:v>4.9925523335469615</c:v>
                </c:pt>
                <c:pt idx="3223">
                  <c:v>5.0046380317481063</c:v>
                </c:pt>
                <c:pt idx="3224">
                  <c:v>5.0495076891636792</c:v>
                </c:pt>
                <c:pt idx="3225">
                  <c:v>4.9171593157475</c:v>
                </c:pt>
                <c:pt idx="3226">
                  <c:v>4.7733157332284737</c:v>
                </c:pt>
                <c:pt idx="3227">
                  <c:v>5.0701046947392188</c:v>
                </c:pt>
                <c:pt idx="3228">
                  <c:v>5.9211693587466945</c:v>
                </c:pt>
                <c:pt idx="3229">
                  <c:v>5.9245478912605822</c:v>
                </c:pt>
                <c:pt idx="3230">
                  <c:v>4.926030847292302</c:v>
                </c:pt>
                <c:pt idx="3231">
                  <c:v>4.8396418146813547</c:v>
                </c:pt>
                <c:pt idx="3232">
                  <c:v>5.0847948515285939</c:v>
                </c:pt>
                <c:pt idx="3233">
                  <c:v>5.0829854293317709</c:v>
                </c:pt>
                <c:pt idx="3234">
                  <c:v>4.9297413662631175</c:v>
                </c:pt>
                <c:pt idx="3235">
                  <c:v>5.0532484177936565</c:v>
                </c:pt>
                <c:pt idx="3236">
                  <c:v>5.7779848882831342</c:v>
                </c:pt>
                <c:pt idx="3237">
                  <c:v>6.0068377119969725</c:v>
                </c:pt>
                <c:pt idx="3238">
                  <c:v>6.0641596835949745</c:v>
                </c:pt>
                <c:pt idx="3239">
                  <c:v>5.1459039910132836</c:v>
                </c:pt>
                <c:pt idx="3240">
                  <c:v>4.9827669096602278</c:v>
                </c:pt>
                <c:pt idx="3241">
                  <c:v>6.1521092848467651</c:v>
                </c:pt>
                <c:pt idx="3242">
                  <c:v>5.0887263905087581</c:v>
                </c:pt>
                <c:pt idx="3243">
                  <c:v>5.0421599666686578</c:v>
                </c:pt>
                <c:pt idx="3244">
                  <c:v>4.9890399087475963</c:v>
                </c:pt>
                <c:pt idx="3245">
                  <c:v>6.0057703575299115</c:v>
                </c:pt>
                <c:pt idx="3246">
                  <c:v>4.9941073000951581</c:v>
                </c:pt>
                <c:pt idx="3247">
                  <c:v>4.7704496102120615</c:v>
                </c:pt>
                <c:pt idx="3248">
                  <c:v>5.0601972580178947</c:v>
                </c:pt>
                <c:pt idx="3249">
                  <c:v>6.0678866311397393</c:v>
                </c:pt>
                <c:pt idx="3250">
                  <c:v>5.0569958636713439</c:v>
                </c:pt>
                <c:pt idx="3251">
                  <c:v>5.0174436806610281</c:v>
                </c:pt>
                <c:pt idx="3252">
                  <c:v>5.073853377331079</c:v>
                </c:pt>
                <c:pt idx="3253">
                  <c:v>5.0082690976194151</c:v>
                </c:pt>
                <c:pt idx="3254">
                  <c:v>6.112602344441421</c:v>
                </c:pt>
                <c:pt idx="3255">
                  <c:v>6.0721405943614863</c:v>
                </c:pt>
                <c:pt idx="3256">
                  <c:v>5.9220067888104317</c:v>
                </c:pt>
                <c:pt idx="3257">
                  <c:v>5.0133202927463305</c:v>
                </c:pt>
                <c:pt idx="3258">
                  <c:v>5.0928392497621058</c:v>
                </c:pt>
                <c:pt idx="3259">
                  <c:v>5.9706978924360161</c:v>
                </c:pt>
                <c:pt idx="3260">
                  <c:v>6.1598807359154097</c:v>
                </c:pt>
                <c:pt idx="3261">
                  <c:v>4.9362116746919673</c:v>
                </c:pt>
                <c:pt idx="3262">
                  <c:v>6.086926288083732</c:v>
                </c:pt>
                <c:pt idx="3263">
                  <c:v>7.0727462723487688</c:v>
                </c:pt>
                <c:pt idx="3264">
                  <c:v>5.0402124460231477</c:v>
                </c:pt>
                <c:pt idx="3265">
                  <c:v>5.0584426236875508</c:v>
                </c:pt>
                <c:pt idx="3266">
                  <c:v>5.9758360326710793</c:v>
                </c:pt>
                <c:pt idx="3267">
                  <c:v>4.9014605297018123</c:v>
                </c:pt>
                <c:pt idx="3268">
                  <c:v>4.9198877198744313</c:v>
                </c:pt>
                <c:pt idx="3269">
                  <c:v>6.2142250341082015</c:v>
                </c:pt>
                <c:pt idx="3270">
                  <c:v>7.016849462993723</c:v>
                </c:pt>
                <c:pt idx="3271">
                  <c:v>4.9612617276271012</c:v>
                </c:pt>
                <c:pt idx="3272">
                  <c:v>6.1270422395790334</c:v>
                </c:pt>
                <c:pt idx="3273">
                  <c:v>4.9202338754618316</c:v>
                </c:pt>
                <c:pt idx="3274">
                  <c:v>5.0770370077296914</c:v>
                </c:pt>
                <c:pt idx="3275">
                  <c:v>5.0647160505548836</c:v>
                </c:pt>
                <c:pt idx="3276">
                  <c:v>4.912959959877357</c:v>
                </c:pt>
                <c:pt idx="3277">
                  <c:v>5.9840344514663082</c:v>
                </c:pt>
                <c:pt idx="3278">
                  <c:v>4.9787954316430136</c:v>
                </c:pt>
                <c:pt idx="3279">
                  <c:v>5.0959065036353062</c:v>
                </c:pt>
                <c:pt idx="3280">
                  <c:v>4.9858332569565311</c:v>
                </c:pt>
                <c:pt idx="3281">
                  <c:v>6.1102397290716777</c:v>
                </c:pt>
                <c:pt idx="3282">
                  <c:v>5.0878427450970225</c:v>
                </c:pt>
                <c:pt idx="3283">
                  <c:v>5.935681689005829</c:v>
                </c:pt>
                <c:pt idx="3284">
                  <c:v>6.1062524220405772</c:v>
                </c:pt>
                <c:pt idx="3285">
                  <c:v>5.0680159415917982</c:v>
                </c:pt>
                <c:pt idx="3286">
                  <c:v>5.0457699154527624</c:v>
                </c:pt>
                <c:pt idx="3287">
                  <c:v>6.0062759243854664</c:v>
                </c:pt>
                <c:pt idx="3288">
                  <c:v>5.0595690670647322</c:v>
                </c:pt>
                <c:pt idx="3289">
                  <c:v>5.1584890435460391</c:v>
                </c:pt>
                <c:pt idx="3290">
                  <c:v>5.094462195108366</c:v>
                </c:pt>
                <c:pt idx="3291">
                  <c:v>4.8817052802211451</c:v>
                </c:pt>
                <c:pt idx="3292">
                  <c:v>5.0640200778038036</c:v>
                </c:pt>
                <c:pt idx="3293">
                  <c:v>5.9877007004569283</c:v>
                </c:pt>
                <c:pt idx="3294">
                  <c:v>5.1236922845063715</c:v>
                </c:pt>
                <c:pt idx="3295">
                  <c:v>5.0289938571772659</c:v>
                </c:pt>
                <c:pt idx="3296">
                  <c:v>5.900465557765763</c:v>
                </c:pt>
                <c:pt idx="3297">
                  <c:v>4.8899241404823321</c:v>
                </c:pt>
                <c:pt idx="3298">
                  <c:v>4.8787246439503171</c:v>
                </c:pt>
                <c:pt idx="3299">
                  <c:v>4.8360982759062772</c:v>
                </c:pt>
                <c:pt idx="3300">
                  <c:v>4.9109434449124416</c:v>
                </c:pt>
                <c:pt idx="3301">
                  <c:v>6.1067567242531515</c:v>
                </c:pt>
                <c:pt idx="3302">
                  <c:v>4.9768601226388842</c:v>
                </c:pt>
                <c:pt idx="3303">
                  <c:v>4.9843552779073068</c:v>
                </c:pt>
                <c:pt idx="3304">
                  <c:v>4.991044934248384</c:v>
                </c:pt>
                <c:pt idx="3305">
                  <c:v>4.9802013327852652</c:v>
                </c:pt>
                <c:pt idx="3306">
                  <c:v>6.241554493008187</c:v>
                </c:pt>
                <c:pt idx="3307">
                  <c:v>4.8403866462638545</c:v>
                </c:pt>
                <c:pt idx="3308">
                  <c:v>5.0196913361377735</c:v>
                </c:pt>
                <c:pt idx="3309">
                  <c:v>5.0277352027508444</c:v>
                </c:pt>
                <c:pt idx="3310">
                  <c:v>6.101227512457946</c:v>
                </c:pt>
                <c:pt idx="3311">
                  <c:v>6.1962998100959004</c:v>
                </c:pt>
                <c:pt idx="3312">
                  <c:v>6.0416299789721819</c:v>
                </c:pt>
                <c:pt idx="3313">
                  <c:v>5.0227679078365748</c:v>
                </c:pt>
                <c:pt idx="3314">
                  <c:v>5.0185456775918187</c:v>
                </c:pt>
                <c:pt idx="3315">
                  <c:v>7.1151087972039218</c:v>
                </c:pt>
                <c:pt idx="3316">
                  <c:v>5.1067569670710569</c:v>
                </c:pt>
                <c:pt idx="3317">
                  <c:v>5.1993390718766817</c:v>
                </c:pt>
                <c:pt idx="3318">
                  <c:v>6.0015579943093886</c:v>
                </c:pt>
                <c:pt idx="3319">
                  <c:v>4.8613566950834226</c:v>
                </c:pt>
                <c:pt idx="3320">
                  <c:v>5.9458458710683928</c:v>
                </c:pt>
                <c:pt idx="3321">
                  <c:v>4.9444231144620696</c:v>
                </c:pt>
                <c:pt idx="3322">
                  <c:v>5.9408779673245737</c:v>
                </c:pt>
                <c:pt idx="3323">
                  <c:v>5.0101000602853132</c:v>
                </c:pt>
                <c:pt idx="3324">
                  <c:v>5.0401460526684101</c:v>
                </c:pt>
                <c:pt idx="3325">
                  <c:v>4.9557478594427185</c:v>
                </c:pt>
                <c:pt idx="3326">
                  <c:v>6.0349152527579291</c:v>
                </c:pt>
                <c:pt idx="3327">
                  <c:v>5.9741148514725166</c:v>
                </c:pt>
                <c:pt idx="3328">
                  <c:v>4.8518220406522587</c:v>
                </c:pt>
                <c:pt idx="3329">
                  <c:v>6.0943009073697691</c:v>
                </c:pt>
                <c:pt idx="3330">
                  <c:v>5.9374525387135781</c:v>
                </c:pt>
                <c:pt idx="3331">
                  <c:v>4.948060602694448</c:v>
                </c:pt>
                <c:pt idx="3332">
                  <c:v>6.1676803479470683</c:v>
                </c:pt>
                <c:pt idx="3333">
                  <c:v>5.0485031259486703</c:v>
                </c:pt>
                <c:pt idx="3334">
                  <c:v>4.8796668357453603</c:v>
                </c:pt>
                <c:pt idx="3335">
                  <c:v>5.0667564626265786</c:v>
                </c:pt>
                <c:pt idx="3336">
                  <c:v>5.1124629690054659</c:v>
                </c:pt>
                <c:pt idx="3337">
                  <c:v>5.1433351762136637</c:v>
                </c:pt>
                <c:pt idx="3338">
                  <c:v>4.8356097413729868</c:v>
                </c:pt>
                <c:pt idx="3339">
                  <c:v>5.0120694520417253</c:v>
                </c:pt>
                <c:pt idx="3340">
                  <c:v>4.9474361362265027</c:v>
                </c:pt>
                <c:pt idx="3341">
                  <c:v>5.1425248176913376</c:v>
                </c:pt>
                <c:pt idx="3342">
                  <c:v>5.9502268082747198</c:v>
                </c:pt>
                <c:pt idx="3343">
                  <c:v>5.842853341376367</c:v>
                </c:pt>
                <c:pt idx="3344">
                  <c:v>5.8435387317662322</c:v>
                </c:pt>
                <c:pt idx="3345">
                  <c:v>5.0127538356277253</c:v>
                </c:pt>
                <c:pt idx="3346">
                  <c:v>6.0545655149289743</c:v>
                </c:pt>
                <c:pt idx="3347">
                  <c:v>5.9789698387180703</c:v>
                </c:pt>
                <c:pt idx="3348">
                  <c:v>4.9614720481947225</c:v>
                </c:pt>
                <c:pt idx="3349">
                  <c:v>5.9713580179423937</c:v>
                </c:pt>
                <c:pt idx="3350">
                  <c:v>4.9463542750295009</c:v>
                </c:pt>
                <c:pt idx="3351">
                  <c:v>4.9069349441470491</c:v>
                </c:pt>
                <c:pt idx="3352">
                  <c:v>6.0526601858308515</c:v>
                </c:pt>
                <c:pt idx="3353">
                  <c:v>3.0137917626950004</c:v>
                </c:pt>
                <c:pt idx="3354">
                  <c:v>5.1480449665583059</c:v>
                </c:pt>
                <c:pt idx="3355">
                  <c:v>6.0832633011922681</c:v>
                </c:pt>
                <c:pt idx="3356">
                  <c:v>4.9845152185535309</c:v>
                </c:pt>
                <c:pt idx="3357">
                  <c:v>4.9937903849868208</c:v>
                </c:pt>
                <c:pt idx="3358">
                  <c:v>5.0602246971104794</c:v>
                </c:pt>
                <c:pt idx="3359">
                  <c:v>5.9194226096994011</c:v>
                </c:pt>
                <c:pt idx="3360">
                  <c:v>4.9398980880532868</c:v>
                </c:pt>
                <c:pt idx="3361">
                  <c:v>5.0511356591061949</c:v>
                </c:pt>
                <c:pt idx="3362">
                  <c:v>5.0983999900777164</c:v>
                </c:pt>
                <c:pt idx="3363">
                  <c:v>5.8116227644942882</c:v>
                </c:pt>
                <c:pt idx="3364">
                  <c:v>5.2860288176197274</c:v>
                </c:pt>
                <c:pt idx="3365">
                  <c:v>5.0654527157151339</c:v>
                </c:pt>
                <c:pt idx="3366">
                  <c:v>5.1659574724623223</c:v>
                </c:pt>
                <c:pt idx="3367">
                  <c:v>5.0740723900742157</c:v>
                </c:pt>
                <c:pt idx="3368">
                  <c:v>4.9958377450485267</c:v>
                </c:pt>
                <c:pt idx="3369">
                  <c:v>5.155111351322442</c:v>
                </c:pt>
                <c:pt idx="3370">
                  <c:v>5.0685104055767889</c:v>
                </c:pt>
                <c:pt idx="3371">
                  <c:v>5.045436046729411</c:v>
                </c:pt>
                <c:pt idx="3372">
                  <c:v>4.9954526082115374</c:v>
                </c:pt>
                <c:pt idx="3373">
                  <c:v>4.9241413493928929</c:v>
                </c:pt>
                <c:pt idx="3374">
                  <c:v>5.7932252836849791</c:v>
                </c:pt>
                <c:pt idx="3375">
                  <c:v>5.8327110645984535</c:v>
                </c:pt>
                <c:pt idx="3376">
                  <c:v>5.0616054105357469</c:v>
                </c:pt>
                <c:pt idx="3377">
                  <c:v>5.9063029094624673</c:v>
                </c:pt>
                <c:pt idx="3378">
                  <c:v>5.9376153670588376</c:v>
                </c:pt>
                <c:pt idx="3379">
                  <c:v>4.8343594581334965</c:v>
                </c:pt>
                <c:pt idx="3380">
                  <c:v>5.0684054399985552</c:v>
                </c:pt>
                <c:pt idx="3381">
                  <c:v>5.1211909311264456</c:v>
                </c:pt>
                <c:pt idx="3382">
                  <c:v>5.055809452584203</c:v>
                </c:pt>
                <c:pt idx="3383">
                  <c:v>6.0580638670976468</c:v>
                </c:pt>
                <c:pt idx="3384">
                  <c:v>5.014265749108997</c:v>
                </c:pt>
                <c:pt idx="3385">
                  <c:v>5.1941679481513319</c:v>
                </c:pt>
                <c:pt idx="3386">
                  <c:v>4.9757067178495378</c:v>
                </c:pt>
                <c:pt idx="3387">
                  <c:v>4.9312731905444966</c:v>
                </c:pt>
                <c:pt idx="3388">
                  <c:v>5.7544124394277087</c:v>
                </c:pt>
                <c:pt idx="3389">
                  <c:v>5.0330062893472691</c:v>
                </c:pt>
                <c:pt idx="3390">
                  <c:v>4.9282103130241888</c:v>
                </c:pt>
                <c:pt idx="3391">
                  <c:v>6.0374293578587395</c:v>
                </c:pt>
                <c:pt idx="3392">
                  <c:v>4.9652635538936476</c:v>
                </c:pt>
                <c:pt idx="3393">
                  <c:v>6.0885197551787034</c:v>
                </c:pt>
                <c:pt idx="3394">
                  <c:v>5.0530629935761748</c:v>
                </c:pt>
                <c:pt idx="3395">
                  <c:v>5.0027739059334388</c:v>
                </c:pt>
                <c:pt idx="3396">
                  <c:v>4.917857636030881</c:v>
                </c:pt>
                <c:pt idx="3397">
                  <c:v>4.903517384218457</c:v>
                </c:pt>
                <c:pt idx="3398">
                  <c:v>5.0996423547302143</c:v>
                </c:pt>
                <c:pt idx="3399">
                  <c:v>4.9533512520606129</c:v>
                </c:pt>
                <c:pt idx="3400">
                  <c:v>4.9231202930271962</c:v>
                </c:pt>
                <c:pt idx="3401">
                  <c:v>5.0317039401757206</c:v>
                </c:pt>
                <c:pt idx="3402">
                  <c:v>5.0817555657441833</c:v>
                </c:pt>
                <c:pt idx="3403">
                  <c:v>5.0349317610308661</c:v>
                </c:pt>
                <c:pt idx="3404">
                  <c:v>5.0539861700181161</c:v>
                </c:pt>
                <c:pt idx="3405">
                  <c:v>5.0518084884491934</c:v>
                </c:pt>
                <c:pt idx="3406">
                  <c:v>6.1945155132076994</c:v>
                </c:pt>
                <c:pt idx="3407">
                  <c:v>5.9820520348554131</c:v>
                </c:pt>
                <c:pt idx="3408">
                  <c:v>5.9358418057719273</c:v>
                </c:pt>
                <c:pt idx="3409">
                  <c:v>5.9899057955854147</c:v>
                </c:pt>
                <c:pt idx="3410">
                  <c:v>5.1279632341902559</c:v>
                </c:pt>
                <c:pt idx="3411">
                  <c:v>5.0424394228215483</c:v>
                </c:pt>
                <c:pt idx="3412">
                  <c:v>4.9840780918756078</c:v>
                </c:pt>
                <c:pt idx="3413">
                  <c:v>4.8281353299414622</c:v>
                </c:pt>
                <c:pt idx="3414">
                  <c:v>5.176913800509281</c:v>
                </c:pt>
                <c:pt idx="3415">
                  <c:v>4.9239398142601658</c:v>
                </c:pt>
                <c:pt idx="3416">
                  <c:v>5.9071814801800686</c:v>
                </c:pt>
                <c:pt idx="3417">
                  <c:v>5.0237271025253945</c:v>
                </c:pt>
                <c:pt idx="3418">
                  <c:v>5.0009828100434017</c:v>
                </c:pt>
                <c:pt idx="3419">
                  <c:v>4.9105992894150239</c:v>
                </c:pt>
                <c:pt idx="3420">
                  <c:v>5.9740910814993713</c:v>
                </c:pt>
                <c:pt idx="3421">
                  <c:v>4.8590548652679004</c:v>
                </c:pt>
                <c:pt idx="3422">
                  <c:v>5.0804108620070245</c:v>
                </c:pt>
                <c:pt idx="3423">
                  <c:v>6.2299993989953695</c:v>
                </c:pt>
                <c:pt idx="3424">
                  <c:v>4.8729778334103839</c:v>
                </c:pt>
                <c:pt idx="3425">
                  <c:v>4.9580784582497381</c:v>
                </c:pt>
                <c:pt idx="3426">
                  <c:v>4.9621643657051706</c:v>
                </c:pt>
                <c:pt idx="3427">
                  <c:v>5.0915944160358331</c:v>
                </c:pt>
                <c:pt idx="3428">
                  <c:v>6.2516033571012528</c:v>
                </c:pt>
                <c:pt idx="3429">
                  <c:v>4.9947100773287403</c:v>
                </c:pt>
                <c:pt idx="3430">
                  <c:v>5.0097309857104078</c:v>
                </c:pt>
                <c:pt idx="3431">
                  <c:v>4.9578807513309746</c:v>
                </c:pt>
                <c:pt idx="3432">
                  <c:v>5.138256589211406</c:v>
                </c:pt>
                <c:pt idx="3433">
                  <c:v>4.9025726799813434</c:v>
                </c:pt>
                <c:pt idx="3434">
                  <c:v>5.9328544352118557</c:v>
                </c:pt>
                <c:pt idx="3435">
                  <c:v>4.8887012443904858</c:v>
                </c:pt>
                <c:pt idx="3436">
                  <c:v>4.9976343411434589</c:v>
                </c:pt>
                <c:pt idx="3437">
                  <c:v>5.2760713346855184</c:v>
                </c:pt>
                <c:pt idx="3438">
                  <c:v>4.9234458039225402</c:v>
                </c:pt>
                <c:pt idx="3439">
                  <c:v>7.1686470201596659</c:v>
                </c:pt>
                <c:pt idx="3440">
                  <c:v>6.0831107705601157</c:v>
                </c:pt>
                <c:pt idx="3441">
                  <c:v>5.9227537584304013</c:v>
                </c:pt>
                <c:pt idx="3442">
                  <c:v>5.0155654786880204</c:v>
                </c:pt>
                <c:pt idx="3443">
                  <c:v>5.9281468745672266</c:v>
                </c:pt>
                <c:pt idx="3444">
                  <c:v>5.2269153898867673</c:v>
                </c:pt>
                <c:pt idx="3445">
                  <c:v>5.9297947558416721</c:v>
                </c:pt>
                <c:pt idx="3446">
                  <c:v>5.9243593189215522</c:v>
                </c:pt>
                <c:pt idx="3447">
                  <c:v>5.9047255078885685</c:v>
                </c:pt>
                <c:pt idx="3448">
                  <c:v>5.0558989027199379</c:v>
                </c:pt>
                <c:pt idx="3449">
                  <c:v>6.8648405875368228</c:v>
                </c:pt>
                <c:pt idx="3450">
                  <c:v>5.9330083770643327</c:v>
                </c:pt>
                <c:pt idx="3451">
                  <c:v>4.9883565471356199</c:v>
                </c:pt>
                <c:pt idx="3452">
                  <c:v>5.108631254163476</c:v>
                </c:pt>
                <c:pt idx="3453">
                  <c:v>5.0779510228604714</c:v>
                </c:pt>
                <c:pt idx="3454">
                  <c:v>4.8386246633988428</c:v>
                </c:pt>
                <c:pt idx="3455">
                  <c:v>5.1367521039866322</c:v>
                </c:pt>
                <c:pt idx="3456">
                  <c:v>6.0631309507242941</c:v>
                </c:pt>
                <c:pt idx="3457">
                  <c:v>5.0365459018328416</c:v>
                </c:pt>
                <c:pt idx="3458">
                  <c:v>5.0942469231372964</c:v>
                </c:pt>
                <c:pt idx="3459">
                  <c:v>6.0876237233379191</c:v>
                </c:pt>
                <c:pt idx="3460">
                  <c:v>6.0056818556725675</c:v>
                </c:pt>
                <c:pt idx="3461">
                  <c:v>6.8106164465895178</c:v>
                </c:pt>
                <c:pt idx="3462">
                  <c:v>4.9726950373206344</c:v>
                </c:pt>
                <c:pt idx="3463">
                  <c:v>4.8503453817182969</c:v>
                </c:pt>
                <c:pt idx="3464">
                  <c:v>5.0334425957807785</c:v>
                </c:pt>
                <c:pt idx="3465">
                  <c:v>5.1356463410592212</c:v>
                </c:pt>
                <c:pt idx="3466">
                  <c:v>4.9806606804912397</c:v>
                </c:pt>
                <c:pt idx="3467">
                  <c:v>5.9983352760434254</c:v>
                </c:pt>
                <c:pt idx="3468">
                  <c:v>5.9554545409317585</c:v>
                </c:pt>
                <c:pt idx="3469">
                  <c:v>4.9515883279358262</c:v>
                </c:pt>
                <c:pt idx="3470">
                  <c:v>6.0266517748293005</c:v>
                </c:pt>
                <c:pt idx="3471">
                  <c:v>5.1432026920571632</c:v>
                </c:pt>
                <c:pt idx="3472">
                  <c:v>5.0234089411862914</c:v>
                </c:pt>
                <c:pt idx="3473">
                  <c:v>4.960120398252359</c:v>
                </c:pt>
                <c:pt idx="3474">
                  <c:v>5.9969781898937526</c:v>
                </c:pt>
                <c:pt idx="3475">
                  <c:v>5.0377466295747322</c:v>
                </c:pt>
                <c:pt idx="3476">
                  <c:v>5.0169540442927314</c:v>
                </c:pt>
                <c:pt idx="3477">
                  <c:v>5.9616383109727726</c:v>
                </c:pt>
                <c:pt idx="3478">
                  <c:v>5.0302126827943514</c:v>
                </c:pt>
                <c:pt idx="3479">
                  <c:v>5.0024585433633542</c:v>
                </c:pt>
                <c:pt idx="3480">
                  <c:v>5.8558136865376014</c:v>
                </c:pt>
                <c:pt idx="3481">
                  <c:v>4.8599625181549424</c:v>
                </c:pt>
                <c:pt idx="3482">
                  <c:v>6.0716489493550698</c:v>
                </c:pt>
                <c:pt idx="3483">
                  <c:v>4.8425593036805452</c:v>
                </c:pt>
                <c:pt idx="3484">
                  <c:v>4.864086550772778</c:v>
                </c:pt>
                <c:pt idx="3485">
                  <c:v>5.0647609381732197</c:v>
                </c:pt>
                <c:pt idx="3486">
                  <c:v>4.7665817579781713</c:v>
                </c:pt>
                <c:pt idx="3487">
                  <c:v>4.9423047289852313</c:v>
                </c:pt>
                <c:pt idx="3488">
                  <c:v>4.925738614142122</c:v>
                </c:pt>
                <c:pt idx="3489">
                  <c:v>4.9256436882898695</c:v>
                </c:pt>
                <c:pt idx="3490">
                  <c:v>4.9179212593625508</c:v>
                </c:pt>
                <c:pt idx="3491">
                  <c:v>5.971060535593022</c:v>
                </c:pt>
                <c:pt idx="3492">
                  <c:v>5.8595130059852689</c:v>
                </c:pt>
                <c:pt idx="3493">
                  <c:v>4.9746575817907761</c:v>
                </c:pt>
                <c:pt idx="3494">
                  <c:v>4.8901168011068314</c:v>
                </c:pt>
                <c:pt idx="3495">
                  <c:v>5.0984465866470208</c:v>
                </c:pt>
                <c:pt idx="3496">
                  <c:v>4.9075888062389934</c:v>
                </c:pt>
                <c:pt idx="3497">
                  <c:v>5.055413384032394</c:v>
                </c:pt>
                <c:pt idx="3498">
                  <c:v>7.1242229946166393</c:v>
                </c:pt>
                <c:pt idx="3499">
                  <c:v>5.1489087396608859</c:v>
                </c:pt>
                <c:pt idx="3500">
                  <c:v>6.2180138572777439</c:v>
                </c:pt>
                <c:pt idx="3501">
                  <c:v>6.0371125095543245</c:v>
                </c:pt>
                <c:pt idx="3502">
                  <c:v>5.0450630215899084</c:v>
                </c:pt>
                <c:pt idx="3503">
                  <c:v>5.019545859548237</c:v>
                </c:pt>
                <c:pt idx="3504">
                  <c:v>6.0035491429712504</c:v>
                </c:pt>
                <c:pt idx="3505">
                  <c:v>4.8546330212731696</c:v>
                </c:pt>
                <c:pt idx="3506">
                  <c:v>5.0151314095961004</c:v>
                </c:pt>
                <c:pt idx="3507">
                  <c:v>4.9682323265172394</c:v>
                </c:pt>
                <c:pt idx="3508">
                  <c:v>5.1643944222363656</c:v>
                </c:pt>
                <c:pt idx="3509">
                  <c:v>5.9116287300624393</c:v>
                </c:pt>
                <c:pt idx="3510">
                  <c:v>4.9608049512487495</c:v>
                </c:pt>
                <c:pt idx="3511">
                  <c:v>4.9515176439084181</c:v>
                </c:pt>
                <c:pt idx="3512">
                  <c:v>5.9864442196315242</c:v>
                </c:pt>
                <c:pt idx="3513">
                  <c:v>5.1827599494916408</c:v>
                </c:pt>
                <c:pt idx="3514">
                  <c:v>6.0391361597717674</c:v>
                </c:pt>
                <c:pt idx="3515">
                  <c:v>5.901004240047464</c:v>
                </c:pt>
                <c:pt idx="3516">
                  <c:v>4.9564809305846165</c:v>
                </c:pt>
                <c:pt idx="3517">
                  <c:v>6.081222053083347</c:v>
                </c:pt>
                <c:pt idx="3518">
                  <c:v>6.8910459644913065</c:v>
                </c:pt>
                <c:pt idx="3519">
                  <c:v>5.0579131727821993</c:v>
                </c:pt>
                <c:pt idx="3520">
                  <c:v>5.0509853566263896</c:v>
                </c:pt>
                <c:pt idx="3521">
                  <c:v>4.7481852301240011</c:v>
                </c:pt>
                <c:pt idx="3522">
                  <c:v>4.7995247886221364</c:v>
                </c:pt>
                <c:pt idx="3523">
                  <c:v>4.9869838363301477</c:v>
                </c:pt>
                <c:pt idx="3524">
                  <c:v>5.0589066433394114</c:v>
                </c:pt>
                <c:pt idx="3525">
                  <c:v>4.9759461924201407</c:v>
                </c:pt>
                <c:pt idx="3526">
                  <c:v>5.003108200122127</c:v>
                </c:pt>
                <c:pt idx="3527">
                  <c:v>5.0501744920259517</c:v>
                </c:pt>
                <c:pt idx="3528">
                  <c:v>5.0164368118242768</c:v>
                </c:pt>
                <c:pt idx="3529">
                  <c:v>5.0270221538786899</c:v>
                </c:pt>
                <c:pt idx="3530">
                  <c:v>4.9583070340556175</c:v>
                </c:pt>
                <c:pt idx="3531">
                  <c:v>6.0540341285947852</c:v>
                </c:pt>
                <c:pt idx="3532">
                  <c:v>4.9671977771007212</c:v>
                </c:pt>
                <c:pt idx="3533">
                  <c:v>5.0224983050243637</c:v>
                </c:pt>
                <c:pt idx="3534">
                  <c:v>7.0243721594059467</c:v>
                </c:pt>
                <c:pt idx="3535">
                  <c:v>5.0546283227948878</c:v>
                </c:pt>
                <c:pt idx="3536">
                  <c:v>5.0589149878622379</c:v>
                </c:pt>
                <c:pt idx="3537">
                  <c:v>5.0117334307966477</c:v>
                </c:pt>
                <c:pt idx="3538">
                  <c:v>5.0532342864011666</c:v>
                </c:pt>
                <c:pt idx="3539">
                  <c:v>5.8886200952965906</c:v>
                </c:pt>
                <c:pt idx="3540">
                  <c:v>4.9394067245292277</c:v>
                </c:pt>
                <c:pt idx="3541">
                  <c:v>5.1559449969212396</c:v>
                </c:pt>
                <c:pt idx="3542">
                  <c:v>4.9425987244457472</c:v>
                </c:pt>
                <c:pt idx="3543">
                  <c:v>5.1448086416063878</c:v>
                </c:pt>
                <c:pt idx="3544">
                  <c:v>5.9497860658882802</c:v>
                </c:pt>
                <c:pt idx="3545">
                  <c:v>5.0420024396537002</c:v>
                </c:pt>
                <c:pt idx="3546">
                  <c:v>5.0282312865948899</c:v>
                </c:pt>
                <c:pt idx="3547">
                  <c:v>5.0256214322045256</c:v>
                </c:pt>
                <c:pt idx="3548">
                  <c:v>5.0716007756689807</c:v>
                </c:pt>
                <c:pt idx="3549">
                  <c:v>4.8963887817075209</c:v>
                </c:pt>
                <c:pt idx="3550">
                  <c:v>4.9090543342436881</c:v>
                </c:pt>
                <c:pt idx="3551">
                  <c:v>6.1329260362647489</c:v>
                </c:pt>
                <c:pt idx="3552">
                  <c:v>5.9779194817100132</c:v>
                </c:pt>
                <c:pt idx="3553">
                  <c:v>5.9721011666909991</c:v>
                </c:pt>
                <c:pt idx="3554">
                  <c:v>5.799900483256649</c:v>
                </c:pt>
                <c:pt idx="3555">
                  <c:v>4.8832886407943956</c:v>
                </c:pt>
                <c:pt idx="3556">
                  <c:v>4.9967517220151842</c:v>
                </c:pt>
                <c:pt idx="3557">
                  <c:v>5.034808963911126</c:v>
                </c:pt>
                <c:pt idx="3558">
                  <c:v>5.0546988930767833</c:v>
                </c:pt>
                <c:pt idx="3559">
                  <c:v>5.9576229072672264</c:v>
                </c:pt>
                <c:pt idx="3560">
                  <c:v>5.1354155383270506</c:v>
                </c:pt>
                <c:pt idx="3561">
                  <c:v>5.1051403464226421</c:v>
                </c:pt>
                <c:pt idx="3562">
                  <c:v>5.9359972667845815</c:v>
                </c:pt>
                <c:pt idx="3563">
                  <c:v>4.9431014026503188</c:v>
                </c:pt>
                <c:pt idx="3564">
                  <c:v>6.1238265262053124</c:v>
                </c:pt>
                <c:pt idx="3565">
                  <c:v>4.9218883081741716</c:v>
                </c:pt>
                <c:pt idx="3566">
                  <c:v>5.2497884739473237</c:v>
                </c:pt>
                <c:pt idx="3567">
                  <c:v>5.055701743566595</c:v>
                </c:pt>
                <c:pt idx="3568">
                  <c:v>4.9731883584577643</c:v>
                </c:pt>
                <c:pt idx="3569">
                  <c:v>4.7943951503908977</c:v>
                </c:pt>
                <c:pt idx="3570">
                  <c:v>4.9358770425050524</c:v>
                </c:pt>
                <c:pt idx="3571">
                  <c:v>5.6878149825030535</c:v>
                </c:pt>
                <c:pt idx="3572">
                  <c:v>5.2042713800849905</c:v>
                </c:pt>
                <c:pt idx="3573">
                  <c:v>4.9622003420586598</c:v>
                </c:pt>
                <c:pt idx="3574">
                  <c:v>4.9461864426804087</c:v>
                </c:pt>
                <c:pt idx="3575">
                  <c:v>5.0079286404284602</c:v>
                </c:pt>
                <c:pt idx="3576">
                  <c:v>4.8321083567262875</c:v>
                </c:pt>
                <c:pt idx="3577">
                  <c:v>5.1299056384230859</c:v>
                </c:pt>
                <c:pt idx="3578">
                  <c:v>5.0193115856954185</c:v>
                </c:pt>
                <c:pt idx="3579">
                  <c:v>5.1561186026410484</c:v>
                </c:pt>
                <c:pt idx="3580">
                  <c:v>6.020069803723846</c:v>
                </c:pt>
                <c:pt idx="3581">
                  <c:v>5.0346002901140086</c:v>
                </c:pt>
                <c:pt idx="3582">
                  <c:v>5.0021112033127029</c:v>
                </c:pt>
                <c:pt idx="3583">
                  <c:v>4.8507879451899161</c:v>
                </c:pt>
                <c:pt idx="3584">
                  <c:v>5.0927040272866053</c:v>
                </c:pt>
                <c:pt idx="3585">
                  <c:v>5.0397105884043683</c:v>
                </c:pt>
                <c:pt idx="3586">
                  <c:v>5.1489730890664394</c:v>
                </c:pt>
                <c:pt idx="3587">
                  <c:v>4.8696544766310339</c:v>
                </c:pt>
                <c:pt idx="3588">
                  <c:v>4.9176581152882965</c:v>
                </c:pt>
                <c:pt idx="3589">
                  <c:v>5.1584469149073229</c:v>
                </c:pt>
                <c:pt idx="3590">
                  <c:v>5.0311717012464836</c:v>
                </c:pt>
                <c:pt idx="3591">
                  <c:v>4.9612113428969744</c:v>
                </c:pt>
                <c:pt idx="3592">
                  <c:v>4.9299631899100511</c:v>
                </c:pt>
                <c:pt idx="3593">
                  <c:v>5.9745834131266786</c:v>
                </c:pt>
                <c:pt idx="3594">
                  <c:v>4.9893831941452653</c:v>
                </c:pt>
                <c:pt idx="3595">
                  <c:v>5.0914508246616155</c:v>
                </c:pt>
                <c:pt idx="3596">
                  <c:v>4.994328288328088</c:v>
                </c:pt>
                <c:pt idx="3597">
                  <c:v>5.0400154650223925</c:v>
                </c:pt>
                <c:pt idx="3598">
                  <c:v>4.8393521460457469</c:v>
                </c:pt>
                <c:pt idx="3599">
                  <c:v>4.8902579775715891</c:v>
                </c:pt>
                <c:pt idx="3600">
                  <c:v>4.9960064820158276</c:v>
                </c:pt>
                <c:pt idx="3601">
                  <c:v>5.0206952657313781</c:v>
                </c:pt>
                <c:pt idx="3602">
                  <c:v>4.9699504546416122</c:v>
                </c:pt>
                <c:pt idx="3603">
                  <c:v>5.9196407882042372</c:v>
                </c:pt>
                <c:pt idx="3604">
                  <c:v>6.109687114460014</c:v>
                </c:pt>
                <c:pt idx="3605">
                  <c:v>6.0942469105752055</c:v>
                </c:pt>
                <c:pt idx="3606">
                  <c:v>4.8933131502032579</c:v>
                </c:pt>
                <c:pt idx="3607">
                  <c:v>5.9876962526381892</c:v>
                </c:pt>
                <c:pt idx="3608">
                  <c:v>4.9952339480811263</c:v>
                </c:pt>
                <c:pt idx="3609">
                  <c:v>5.0396435591599005</c:v>
                </c:pt>
                <c:pt idx="3610">
                  <c:v>4.9007866460867548</c:v>
                </c:pt>
                <c:pt idx="3611">
                  <c:v>4.9199583861233975</c:v>
                </c:pt>
                <c:pt idx="3612">
                  <c:v>5.7899820159414226</c:v>
                </c:pt>
                <c:pt idx="3613">
                  <c:v>4.9044137293143333</c:v>
                </c:pt>
                <c:pt idx="3614">
                  <c:v>5.0756274097673222</c:v>
                </c:pt>
                <c:pt idx="3615">
                  <c:v>4.8941088844443081</c:v>
                </c:pt>
                <c:pt idx="3616">
                  <c:v>5.0917102054522969</c:v>
                </c:pt>
                <c:pt idx="3617">
                  <c:v>5.0350493988730687</c:v>
                </c:pt>
                <c:pt idx="3618">
                  <c:v>5.8919327135314603</c:v>
                </c:pt>
                <c:pt idx="3619">
                  <c:v>5.0628316684529588</c:v>
                </c:pt>
                <c:pt idx="3620">
                  <c:v>4.9819069581147479</c:v>
                </c:pt>
                <c:pt idx="3621">
                  <c:v>4.9831812550347845</c:v>
                </c:pt>
                <c:pt idx="3622">
                  <c:v>5.1853958871015546</c:v>
                </c:pt>
                <c:pt idx="3623">
                  <c:v>6.1330951310626407</c:v>
                </c:pt>
                <c:pt idx="3624">
                  <c:v>5.1453646045755175</c:v>
                </c:pt>
                <c:pt idx="3625">
                  <c:v>5.1748869884940305</c:v>
                </c:pt>
                <c:pt idx="3626">
                  <c:v>4.9446531820799402</c:v>
                </c:pt>
                <c:pt idx="3627">
                  <c:v>5.1715788617507652</c:v>
                </c:pt>
                <c:pt idx="3628">
                  <c:v>5.9348137692323801</c:v>
                </c:pt>
                <c:pt idx="3629">
                  <c:v>4.7982050172666337</c:v>
                </c:pt>
                <c:pt idx="3630">
                  <c:v>5.0751341416474096</c:v>
                </c:pt>
                <c:pt idx="3631">
                  <c:v>4.9089586670246472</c:v>
                </c:pt>
                <c:pt idx="3632">
                  <c:v>6.0075918619050457</c:v>
                </c:pt>
                <c:pt idx="3633">
                  <c:v>4.8934301457013003</c:v>
                </c:pt>
                <c:pt idx="3634">
                  <c:v>4.9837502463669416</c:v>
                </c:pt>
                <c:pt idx="3635">
                  <c:v>5.1075042519283631</c:v>
                </c:pt>
                <c:pt idx="3636">
                  <c:v>5.0570412066990311</c:v>
                </c:pt>
                <c:pt idx="3637">
                  <c:v>5.0231693032336864</c:v>
                </c:pt>
                <c:pt idx="3638">
                  <c:v>5.0304101708411313</c:v>
                </c:pt>
                <c:pt idx="3639">
                  <c:v>6.0163809382345965</c:v>
                </c:pt>
                <c:pt idx="3640">
                  <c:v>5.9975190296377452</c:v>
                </c:pt>
                <c:pt idx="3641">
                  <c:v>5.9984211958141405</c:v>
                </c:pt>
                <c:pt idx="3642">
                  <c:v>5.0099229154346938</c:v>
                </c:pt>
                <c:pt idx="3643">
                  <c:v>5.0356436716805328</c:v>
                </c:pt>
                <c:pt idx="3644">
                  <c:v>5.9260757818274739</c:v>
                </c:pt>
                <c:pt idx="3645">
                  <c:v>5.1337939162131683</c:v>
                </c:pt>
                <c:pt idx="3646">
                  <c:v>5.0622029306302307</c:v>
                </c:pt>
                <c:pt idx="3647">
                  <c:v>4.9199443665624898</c:v>
                </c:pt>
                <c:pt idx="3648">
                  <c:v>5.0626330610024315</c:v>
                </c:pt>
                <c:pt idx="3649">
                  <c:v>4.9804879010867937</c:v>
                </c:pt>
                <c:pt idx="3650">
                  <c:v>5.9129421027085893</c:v>
                </c:pt>
                <c:pt idx="3651">
                  <c:v>4.8701865841654355</c:v>
                </c:pt>
                <c:pt idx="3652">
                  <c:v>6.1490032472601293</c:v>
                </c:pt>
                <c:pt idx="3653">
                  <c:v>5.0040860490836154</c:v>
                </c:pt>
                <c:pt idx="3654">
                  <c:v>5.1755531123864902</c:v>
                </c:pt>
                <c:pt idx="3655">
                  <c:v>5.8942061998147013</c:v>
                </c:pt>
                <c:pt idx="3656">
                  <c:v>5.0619072017618922</c:v>
                </c:pt>
                <c:pt idx="3657">
                  <c:v>6.0565720605471984</c:v>
                </c:pt>
                <c:pt idx="3658">
                  <c:v>4.9914688694131444</c:v>
                </c:pt>
                <c:pt idx="3659">
                  <c:v>5.0206154279002142</c:v>
                </c:pt>
                <c:pt idx="3660">
                  <c:v>4.9528284790360999</c:v>
                </c:pt>
                <c:pt idx="3661">
                  <c:v>5.1600848247327553</c:v>
                </c:pt>
                <c:pt idx="3662">
                  <c:v>5.9272316016477724</c:v>
                </c:pt>
                <c:pt idx="3663">
                  <c:v>6.0131488798304682</c:v>
                </c:pt>
                <c:pt idx="3664">
                  <c:v>5.1070239839642415</c:v>
                </c:pt>
                <c:pt idx="3665">
                  <c:v>4.9742927096415555</c:v>
                </c:pt>
                <c:pt idx="3666">
                  <c:v>4.9089206043298299</c:v>
                </c:pt>
                <c:pt idx="3667">
                  <c:v>6.0513814759654405</c:v>
                </c:pt>
                <c:pt idx="3668">
                  <c:v>4.8925689849000076</c:v>
                </c:pt>
                <c:pt idx="3669">
                  <c:v>5.054836681886572</c:v>
                </c:pt>
                <c:pt idx="3670">
                  <c:v>5.1080028235952692</c:v>
                </c:pt>
                <c:pt idx="3671">
                  <c:v>5.0939475333253244</c:v>
                </c:pt>
                <c:pt idx="3672">
                  <c:v>5.1073846483190106</c:v>
                </c:pt>
                <c:pt idx="3673">
                  <c:v>4.9189346641492353</c:v>
                </c:pt>
                <c:pt idx="3674">
                  <c:v>5.0751828125281495</c:v>
                </c:pt>
                <c:pt idx="3675">
                  <c:v>5.9785521239284742</c:v>
                </c:pt>
                <c:pt idx="3676">
                  <c:v>4.9589209968814991</c:v>
                </c:pt>
                <c:pt idx="3677">
                  <c:v>5.0548996607683359</c:v>
                </c:pt>
                <c:pt idx="3678">
                  <c:v>5.9703789433342633</c:v>
                </c:pt>
                <c:pt idx="3679">
                  <c:v>6.1016998904915623</c:v>
                </c:pt>
                <c:pt idx="3680">
                  <c:v>4.9105623530716693</c:v>
                </c:pt>
                <c:pt idx="3681">
                  <c:v>5.9222573848132729</c:v>
                </c:pt>
                <c:pt idx="3682">
                  <c:v>5.9477192047162664</c:v>
                </c:pt>
                <c:pt idx="3683">
                  <c:v>6.1295114875804675</c:v>
                </c:pt>
                <c:pt idx="3684">
                  <c:v>6.0703917730643937</c:v>
                </c:pt>
                <c:pt idx="3685">
                  <c:v>4.9743300871469129</c:v>
                </c:pt>
                <c:pt idx="3686">
                  <c:v>6.0371619023966758</c:v>
                </c:pt>
                <c:pt idx="3687">
                  <c:v>6.0265845471883797</c:v>
                </c:pt>
                <c:pt idx="3688">
                  <c:v>6.9495440425538968</c:v>
                </c:pt>
                <c:pt idx="3689">
                  <c:v>5.0860638229653183</c:v>
                </c:pt>
                <c:pt idx="3690">
                  <c:v>4.95310703035637</c:v>
                </c:pt>
                <c:pt idx="3691">
                  <c:v>5.9842830741770934</c:v>
                </c:pt>
                <c:pt idx="3692">
                  <c:v>6.8930192613259997</c:v>
                </c:pt>
                <c:pt idx="3693">
                  <c:v>4.9937220466490988</c:v>
                </c:pt>
                <c:pt idx="3694">
                  <c:v>4.8863127129533082</c:v>
                </c:pt>
                <c:pt idx="3695">
                  <c:v>4.8365637979484344</c:v>
                </c:pt>
                <c:pt idx="3696">
                  <c:v>5.1246255001976628</c:v>
                </c:pt>
                <c:pt idx="3697">
                  <c:v>4.9222153015795858</c:v>
                </c:pt>
                <c:pt idx="3698">
                  <c:v>4.9351757422499674</c:v>
                </c:pt>
                <c:pt idx="3699">
                  <c:v>5.1736673956825285</c:v>
                </c:pt>
                <c:pt idx="3700">
                  <c:v>4.8684345607464881</c:v>
                </c:pt>
                <c:pt idx="3701">
                  <c:v>4.8726783464715249</c:v>
                </c:pt>
                <c:pt idx="3702">
                  <c:v>6.0638124808339189</c:v>
                </c:pt>
                <c:pt idx="3703">
                  <c:v>6.0945862283443395</c:v>
                </c:pt>
                <c:pt idx="3704">
                  <c:v>7.0063075547995624</c:v>
                </c:pt>
                <c:pt idx="3705">
                  <c:v>6.1091316121936892</c:v>
                </c:pt>
                <c:pt idx="3706">
                  <c:v>6.0092524596069934</c:v>
                </c:pt>
                <c:pt idx="3707">
                  <c:v>5.0046875836449463</c:v>
                </c:pt>
                <c:pt idx="3708">
                  <c:v>5.0243127905909368</c:v>
                </c:pt>
                <c:pt idx="3709">
                  <c:v>5.8882482795299982</c:v>
                </c:pt>
                <c:pt idx="3710">
                  <c:v>4.8741213260132197</c:v>
                </c:pt>
                <c:pt idx="3711">
                  <c:v>5.0611074866792132</c:v>
                </c:pt>
                <c:pt idx="3712">
                  <c:v>5.1874826732858406</c:v>
                </c:pt>
                <c:pt idx="3713">
                  <c:v>6.2075434925156312</c:v>
                </c:pt>
                <c:pt idx="3714">
                  <c:v>5.9977953046786645</c:v>
                </c:pt>
                <c:pt idx="3715">
                  <c:v>5.9252131617741997</c:v>
                </c:pt>
                <c:pt idx="3716">
                  <c:v>5.9303549935326538</c:v>
                </c:pt>
                <c:pt idx="3717">
                  <c:v>6.0172842176797028</c:v>
                </c:pt>
                <c:pt idx="3718">
                  <c:v>4.9709357487304677</c:v>
                </c:pt>
                <c:pt idx="3719">
                  <c:v>5.0624487380197838</c:v>
                </c:pt>
                <c:pt idx="3720">
                  <c:v>5.8449861717630833</c:v>
                </c:pt>
                <c:pt idx="3721">
                  <c:v>4.9193802511630853</c:v>
                </c:pt>
                <c:pt idx="3722">
                  <c:v>4.9399914430780258</c:v>
                </c:pt>
                <c:pt idx="3723">
                  <c:v>4.947883894804078</c:v>
                </c:pt>
                <c:pt idx="3724">
                  <c:v>5.1437212985500356</c:v>
                </c:pt>
                <c:pt idx="3725">
                  <c:v>5.1529023559200242</c:v>
                </c:pt>
                <c:pt idx="3726">
                  <c:v>6.0196152503180507</c:v>
                </c:pt>
                <c:pt idx="3727">
                  <c:v>5.0276996725487031</c:v>
                </c:pt>
                <c:pt idx="3728">
                  <c:v>4.8835658401284592</c:v>
                </c:pt>
                <c:pt idx="3729">
                  <c:v>6.0476216094302462</c:v>
                </c:pt>
                <c:pt idx="3730">
                  <c:v>5.8403158742761212</c:v>
                </c:pt>
                <c:pt idx="3731">
                  <c:v>5.2191237704543987</c:v>
                </c:pt>
                <c:pt idx="3732">
                  <c:v>5.1533357984584445</c:v>
                </c:pt>
                <c:pt idx="3733">
                  <c:v>4.9032043233710407</c:v>
                </c:pt>
                <c:pt idx="3734">
                  <c:v>5.0867583590299903</c:v>
                </c:pt>
                <c:pt idx="3735">
                  <c:v>6.1235226574483361</c:v>
                </c:pt>
                <c:pt idx="3736">
                  <c:v>5.0658359137203863</c:v>
                </c:pt>
                <c:pt idx="3737">
                  <c:v>6.0326755064905742</c:v>
                </c:pt>
                <c:pt idx="3738">
                  <c:v>4.9078775462414628</c:v>
                </c:pt>
                <c:pt idx="3739">
                  <c:v>5.0787344525900071</c:v>
                </c:pt>
                <c:pt idx="3740">
                  <c:v>4.9191309026073009</c:v>
                </c:pt>
                <c:pt idx="3741">
                  <c:v>5.9648098734585693</c:v>
                </c:pt>
                <c:pt idx="3742">
                  <c:v>5.0029906361592165</c:v>
                </c:pt>
                <c:pt idx="3743">
                  <c:v>4.9982125410221752</c:v>
                </c:pt>
                <c:pt idx="3744">
                  <c:v>5.0414706455659113</c:v>
                </c:pt>
                <c:pt idx="3745">
                  <c:v>4.9545346356216946</c:v>
                </c:pt>
                <c:pt idx="3746">
                  <c:v>5.1665729740001645</c:v>
                </c:pt>
                <c:pt idx="3747">
                  <c:v>6.2317246845692749</c:v>
                </c:pt>
                <c:pt idx="3748">
                  <c:v>4.883374972482545</c:v>
                </c:pt>
                <c:pt idx="3749">
                  <c:v>4.932252775498406</c:v>
                </c:pt>
                <c:pt idx="3750">
                  <c:v>4.9897227155000845</c:v>
                </c:pt>
                <c:pt idx="3751">
                  <c:v>5.9779805134004782</c:v>
                </c:pt>
                <c:pt idx="3752">
                  <c:v>4.8646498650782792</c:v>
                </c:pt>
                <c:pt idx="3753">
                  <c:v>5.9615522555765681</c:v>
                </c:pt>
                <c:pt idx="3754">
                  <c:v>6.1029479759428336</c:v>
                </c:pt>
                <c:pt idx="3755">
                  <c:v>5.0946704235295881</c:v>
                </c:pt>
                <c:pt idx="3756">
                  <c:v>5.9525920674458304</c:v>
                </c:pt>
                <c:pt idx="3757">
                  <c:v>4.9632618107782527</c:v>
                </c:pt>
                <c:pt idx="3758">
                  <c:v>6.933680276826192</c:v>
                </c:pt>
                <c:pt idx="3759">
                  <c:v>6.0333553343201416</c:v>
                </c:pt>
                <c:pt idx="3760">
                  <c:v>5.0131262581381097</c:v>
                </c:pt>
                <c:pt idx="3761">
                  <c:v>5.9628191184004695</c:v>
                </c:pt>
                <c:pt idx="3762">
                  <c:v>6.126460808681232</c:v>
                </c:pt>
                <c:pt idx="3763">
                  <c:v>6.0517370698775625</c:v>
                </c:pt>
                <c:pt idx="3764">
                  <c:v>5.0364437744554467</c:v>
                </c:pt>
                <c:pt idx="3765">
                  <c:v>6.0395059575574974</c:v>
                </c:pt>
                <c:pt idx="3766">
                  <c:v>5.0404698908249115</c:v>
                </c:pt>
                <c:pt idx="3767">
                  <c:v>4.9140184154826105</c:v>
                </c:pt>
                <c:pt idx="3768">
                  <c:v>6.0321920637959661</c:v>
                </c:pt>
                <c:pt idx="3769">
                  <c:v>6.1436562954473288</c:v>
                </c:pt>
                <c:pt idx="3770">
                  <c:v>5.0705074356910007</c:v>
                </c:pt>
                <c:pt idx="3771">
                  <c:v>5.9396379648880604</c:v>
                </c:pt>
                <c:pt idx="3772">
                  <c:v>4.9444867690980843</c:v>
                </c:pt>
                <c:pt idx="3773">
                  <c:v>6.0276603890067415</c:v>
                </c:pt>
                <c:pt idx="3774">
                  <c:v>4.9490293391915312</c:v>
                </c:pt>
                <c:pt idx="3775">
                  <c:v>5.8938267548433174</c:v>
                </c:pt>
                <c:pt idx="3776">
                  <c:v>5.0735618551604142</c:v>
                </c:pt>
                <c:pt idx="3777">
                  <c:v>5.1121872367380172</c:v>
                </c:pt>
                <c:pt idx="3778">
                  <c:v>5.825614669074092</c:v>
                </c:pt>
                <c:pt idx="3779">
                  <c:v>5.2318318386078513</c:v>
                </c:pt>
                <c:pt idx="3780">
                  <c:v>4.8567728759028288</c:v>
                </c:pt>
                <c:pt idx="3781">
                  <c:v>5.9580883839005594</c:v>
                </c:pt>
                <c:pt idx="3782">
                  <c:v>5.0354203340699328</c:v>
                </c:pt>
                <c:pt idx="3783">
                  <c:v>6.0006764553796827</c:v>
                </c:pt>
                <c:pt idx="3784">
                  <c:v>4.8678725708153783</c:v>
                </c:pt>
                <c:pt idx="3785">
                  <c:v>4.8144902494156199</c:v>
                </c:pt>
                <c:pt idx="3786">
                  <c:v>6.0244221174428265</c:v>
                </c:pt>
                <c:pt idx="3787">
                  <c:v>6.1112737257240983</c:v>
                </c:pt>
                <c:pt idx="3788">
                  <c:v>4.8253354378161282</c:v>
                </c:pt>
                <c:pt idx="3789">
                  <c:v>5.0300389167446626</c:v>
                </c:pt>
                <c:pt idx="3790">
                  <c:v>5.9575739499038258</c:v>
                </c:pt>
                <c:pt idx="3791">
                  <c:v>6.1151145142275531</c:v>
                </c:pt>
                <c:pt idx="3792">
                  <c:v>6.1513846030478172</c:v>
                </c:pt>
                <c:pt idx="3793">
                  <c:v>4.9938151490601097</c:v>
                </c:pt>
                <c:pt idx="3794">
                  <c:v>4.8164556280098587</c:v>
                </c:pt>
                <c:pt idx="3795">
                  <c:v>4.9367284607157442</c:v>
                </c:pt>
                <c:pt idx="3796">
                  <c:v>5.1115144916093129</c:v>
                </c:pt>
                <c:pt idx="3797">
                  <c:v>5.7473592104673941</c:v>
                </c:pt>
                <c:pt idx="3798">
                  <c:v>5.1730926983644911</c:v>
                </c:pt>
                <c:pt idx="3799">
                  <c:v>4.8830818053913649</c:v>
                </c:pt>
                <c:pt idx="3800">
                  <c:v>6.2423828482970887</c:v>
                </c:pt>
                <c:pt idx="3801">
                  <c:v>4.9639218474209237</c:v>
                </c:pt>
                <c:pt idx="3802">
                  <c:v>5.8145799562762299</c:v>
                </c:pt>
                <c:pt idx="3803">
                  <c:v>5.9404468051231438</c:v>
                </c:pt>
                <c:pt idx="3804">
                  <c:v>5.1018952972448988</c:v>
                </c:pt>
                <c:pt idx="3805">
                  <c:v>4.7852921395073071</c:v>
                </c:pt>
                <c:pt idx="3806">
                  <c:v>5.9338012208514295</c:v>
                </c:pt>
                <c:pt idx="3807">
                  <c:v>5.0484906113328494</c:v>
                </c:pt>
                <c:pt idx="3808">
                  <c:v>4.9262500389111494</c:v>
                </c:pt>
                <c:pt idx="3809">
                  <c:v>4.9627833997181821</c:v>
                </c:pt>
                <c:pt idx="3810">
                  <c:v>4.9638952727532741</c:v>
                </c:pt>
                <c:pt idx="3811">
                  <c:v>5.0041020448045783</c:v>
                </c:pt>
                <c:pt idx="3812">
                  <c:v>5.1186917365778708</c:v>
                </c:pt>
                <c:pt idx="3813">
                  <c:v>5.142570660938139</c:v>
                </c:pt>
                <c:pt idx="3814">
                  <c:v>5.0884637227419933</c:v>
                </c:pt>
                <c:pt idx="3815">
                  <c:v>5.0319356138252713</c:v>
                </c:pt>
                <c:pt idx="3816">
                  <c:v>7.0694194412339506</c:v>
                </c:pt>
                <c:pt idx="3817">
                  <c:v>5.1539176748106428</c:v>
                </c:pt>
                <c:pt idx="3818">
                  <c:v>4.9970786080145952</c:v>
                </c:pt>
                <c:pt idx="3819">
                  <c:v>4.9861193990231438</c:v>
                </c:pt>
                <c:pt idx="3820">
                  <c:v>6.2013286390872988</c:v>
                </c:pt>
                <c:pt idx="3821">
                  <c:v>6.0084323139771252</c:v>
                </c:pt>
                <c:pt idx="3822">
                  <c:v>5.0746833543808778</c:v>
                </c:pt>
                <c:pt idx="3823">
                  <c:v>4.8556043562332096</c:v>
                </c:pt>
                <c:pt idx="3824">
                  <c:v>4.899735758616548</c:v>
                </c:pt>
                <c:pt idx="3825">
                  <c:v>6.0149075778485148</c:v>
                </c:pt>
                <c:pt idx="3826">
                  <c:v>5.8336868372436772</c:v>
                </c:pt>
                <c:pt idx="3827">
                  <c:v>4.9983600244469963</c:v>
                </c:pt>
                <c:pt idx="3828">
                  <c:v>6.0819463619223004</c:v>
                </c:pt>
                <c:pt idx="3829">
                  <c:v>4.9775051374231634</c:v>
                </c:pt>
                <c:pt idx="3830">
                  <c:v>4.940018857945593</c:v>
                </c:pt>
                <c:pt idx="3831">
                  <c:v>6.0485926328236275</c:v>
                </c:pt>
                <c:pt idx="3832">
                  <c:v>6.0293022442270097</c:v>
                </c:pt>
                <c:pt idx="3833">
                  <c:v>4.9187660736978556</c:v>
                </c:pt>
                <c:pt idx="3834">
                  <c:v>5.9605261776785738</c:v>
                </c:pt>
                <c:pt idx="3835">
                  <c:v>5.0544937301616946</c:v>
                </c:pt>
                <c:pt idx="3836">
                  <c:v>4.955057426028497</c:v>
                </c:pt>
                <c:pt idx="3837">
                  <c:v>4.9498581425158283</c:v>
                </c:pt>
                <c:pt idx="3838">
                  <c:v>6.0218880938455808</c:v>
                </c:pt>
                <c:pt idx="3839">
                  <c:v>5.0623893059286775</c:v>
                </c:pt>
                <c:pt idx="3840">
                  <c:v>6.0713572015117583</c:v>
                </c:pt>
                <c:pt idx="3841">
                  <c:v>5.0099351654213766</c:v>
                </c:pt>
                <c:pt idx="3842">
                  <c:v>6.9035909676492695</c:v>
                </c:pt>
                <c:pt idx="3843">
                  <c:v>5.0186737263141881</c:v>
                </c:pt>
                <c:pt idx="3844">
                  <c:v>6.8923909513706318</c:v>
                </c:pt>
                <c:pt idx="3845">
                  <c:v>6.0211021264138971</c:v>
                </c:pt>
                <c:pt idx="3846">
                  <c:v>4.9875989165341936</c:v>
                </c:pt>
                <c:pt idx="3847">
                  <c:v>5.0463071759874172</c:v>
                </c:pt>
                <c:pt idx="3848">
                  <c:v>5.0402406742591328</c:v>
                </c:pt>
                <c:pt idx="3849">
                  <c:v>5.1181200575725043</c:v>
                </c:pt>
                <c:pt idx="3850">
                  <c:v>6.1265884778960755</c:v>
                </c:pt>
                <c:pt idx="3851">
                  <c:v>4.9880887413682506</c:v>
                </c:pt>
                <c:pt idx="3852">
                  <c:v>4.9893615954586954</c:v>
                </c:pt>
                <c:pt idx="3853">
                  <c:v>5.1434890307685937</c:v>
                </c:pt>
                <c:pt idx="3854">
                  <c:v>5.0083705967005114</c:v>
                </c:pt>
                <c:pt idx="3855">
                  <c:v>4.9417213759824783</c:v>
                </c:pt>
                <c:pt idx="3856">
                  <c:v>6.1328176802534831</c:v>
                </c:pt>
                <c:pt idx="3857">
                  <c:v>5.9635343822755189</c:v>
                </c:pt>
                <c:pt idx="3858">
                  <c:v>4.6973758673558432</c:v>
                </c:pt>
                <c:pt idx="3859">
                  <c:v>4.768116013846381</c:v>
                </c:pt>
                <c:pt idx="3860">
                  <c:v>5.9534695505908317</c:v>
                </c:pt>
                <c:pt idx="3861">
                  <c:v>6.0767925658620694</c:v>
                </c:pt>
                <c:pt idx="3862">
                  <c:v>5.076808740012023</c:v>
                </c:pt>
                <c:pt idx="3863">
                  <c:v>4.9629331751657135</c:v>
                </c:pt>
                <c:pt idx="3864">
                  <c:v>4.9843911654639887</c:v>
                </c:pt>
                <c:pt idx="3865">
                  <c:v>4.9021198746322314</c:v>
                </c:pt>
                <c:pt idx="3866">
                  <c:v>5.0386105455289547</c:v>
                </c:pt>
                <c:pt idx="3867">
                  <c:v>5.0816998729115994</c:v>
                </c:pt>
                <c:pt idx="3868">
                  <c:v>4.8404672114446052</c:v>
                </c:pt>
                <c:pt idx="3869">
                  <c:v>5.0418312700645114</c:v>
                </c:pt>
                <c:pt idx="3870">
                  <c:v>5.0749750191180327</c:v>
                </c:pt>
                <c:pt idx="3871">
                  <c:v>5.0936099857040631</c:v>
                </c:pt>
                <c:pt idx="3872">
                  <c:v>5.1576053237886628</c:v>
                </c:pt>
                <c:pt idx="3873">
                  <c:v>5.0049930889379395</c:v>
                </c:pt>
                <c:pt idx="3874">
                  <c:v>4.9205590634286969</c:v>
                </c:pt>
                <c:pt idx="3875">
                  <c:v>5.022311354407198</c:v>
                </c:pt>
                <c:pt idx="3876">
                  <c:v>5.1430413524672351</c:v>
                </c:pt>
                <c:pt idx="3877">
                  <c:v>6.0028482242710091</c:v>
                </c:pt>
                <c:pt idx="3878">
                  <c:v>5.0642095437986736</c:v>
                </c:pt>
                <c:pt idx="3879">
                  <c:v>4.9035343340970989</c:v>
                </c:pt>
                <c:pt idx="3880">
                  <c:v>6.0500594336943259</c:v>
                </c:pt>
                <c:pt idx="3881">
                  <c:v>5.1298403978226625</c:v>
                </c:pt>
                <c:pt idx="3882">
                  <c:v>4.9588723917466409</c:v>
                </c:pt>
                <c:pt idx="3883">
                  <c:v>4.8887896113671827</c:v>
                </c:pt>
                <c:pt idx="3884">
                  <c:v>4.9565792975421008</c:v>
                </c:pt>
                <c:pt idx="3885">
                  <c:v>6.0164816580145217</c:v>
                </c:pt>
                <c:pt idx="3886">
                  <c:v>4.9289419147774538</c:v>
                </c:pt>
                <c:pt idx="3887">
                  <c:v>4.8873414246923419</c:v>
                </c:pt>
                <c:pt idx="3888">
                  <c:v>5.0168609940242028</c:v>
                </c:pt>
                <c:pt idx="3889">
                  <c:v>6.0124215578027655</c:v>
                </c:pt>
                <c:pt idx="3890">
                  <c:v>5.9562936550828738</c:v>
                </c:pt>
                <c:pt idx="3891">
                  <c:v>5.0370822415492711</c:v>
                </c:pt>
                <c:pt idx="3892">
                  <c:v>4.9067502558387917</c:v>
                </c:pt>
                <c:pt idx="3893">
                  <c:v>4.941000885638033</c:v>
                </c:pt>
                <c:pt idx="3894">
                  <c:v>5.9246038415522486</c:v>
                </c:pt>
                <c:pt idx="3895">
                  <c:v>4.9646122583731369</c:v>
                </c:pt>
                <c:pt idx="3896">
                  <c:v>5.0186541680382506</c:v>
                </c:pt>
                <c:pt idx="3897">
                  <c:v>4.9999341602565313</c:v>
                </c:pt>
                <c:pt idx="3898">
                  <c:v>5.0376627566436101</c:v>
                </c:pt>
                <c:pt idx="3899">
                  <c:v>4.9686607315152234</c:v>
                </c:pt>
                <c:pt idx="3900">
                  <c:v>5.0469942775129368</c:v>
                </c:pt>
                <c:pt idx="3901">
                  <c:v>4.9644740808799579</c:v>
                </c:pt>
                <c:pt idx="3902">
                  <c:v>6.0219606110500692</c:v>
                </c:pt>
                <c:pt idx="3903">
                  <c:v>5.9985875992934172</c:v>
                </c:pt>
                <c:pt idx="3904">
                  <c:v>4.9707918881630668</c:v>
                </c:pt>
                <c:pt idx="3905">
                  <c:v>5.191753675082718</c:v>
                </c:pt>
                <c:pt idx="3906">
                  <c:v>4.9039467992800212</c:v>
                </c:pt>
                <c:pt idx="3907">
                  <c:v>5.0015916234784648</c:v>
                </c:pt>
                <c:pt idx="3908">
                  <c:v>4.9976394464038147</c:v>
                </c:pt>
                <c:pt idx="3909">
                  <c:v>5.9476447933905128</c:v>
                </c:pt>
                <c:pt idx="3910">
                  <c:v>5.1572638301911056</c:v>
                </c:pt>
                <c:pt idx="3911">
                  <c:v>6.033982938280082</c:v>
                </c:pt>
                <c:pt idx="3912">
                  <c:v>5.1876980708394926</c:v>
                </c:pt>
                <c:pt idx="3913">
                  <c:v>4.949010613260584</c:v>
                </c:pt>
                <c:pt idx="3914">
                  <c:v>3.8695712749384379</c:v>
                </c:pt>
                <c:pt idx="3915">
                  <c:v>4.9408046387440985</c:v>
                </c:pt>
                <c:pt idx="3916">
                  <c:v>3.9463057054216435</c:v>
                </c:pt>
                <c:pt idx="3917">
                  <c:v>6.998980599338041</c:v>
                </c:pt>
                <c:pt idx="3918">
                  <c:v>6.7972194441897331</c:v>
                </c:pt>
                <c:pt idx="3919">
                  <c:v>6.0356343541459143</c:v>
                </c:pt>
                <c:pt idx="3920">
                  <c:v>5.8044495306427581</c:v>
                </c:pt>
                <c:pt idx="3921">
                  <c:v>5.9633222113700963</c:v>
                </c:pt>
                <c:pt idx="3922">
                  <c:v>5.0660931111983381</c:v>
                </c:pt>
                <c:pt idx="3923">
                  <c:v>4.970279919655912</c:v>
                </c:pt>
                <c:pt idx="3924">
                  <c:v>5.8951310198741966</c:v>
                </c:pt>
                <c:pt idx="3925">
                  <c:v>6.0741019817055015</c:v>
                </c:pt>
                <c:pt idx="3926">
                  <c:v>5.8201156154297378</c:v>
                </c:pt>
                <c:pt idx="3927">
                  <c:v>5.0400125024655242</c:v>
                </c:pt>
                <c:pt idx="3928">
                  <c:v>5.0762007631740049</c:v>
                </c:pt>
                <c:pt idx="3929">
                  <c:v>5.8956115007972896</c:v>
                </c:pt>
                <c:pt idx="3930">
                  <c:v>5.8573235633302057</c:v>
                </c:pt>
                <c:pt idx="3931">
                  <c:v>7.0843660487004412</c:v>
                </c:pt>
                <c:pt idx="3932">
                  <c:v>5.0414620499700566</c:v>
                </c:pt>
                <c:pt idx="3933">
                  <c:v>4.9612410692456672</c:v>
                </c:pt>
                <c:pt idx="3934">
                  <c:v>4.8114032640729683</c:v>
                </c:pt>
                <c:pt idx="3935">
                  <c:v>7.0110495002471902</c:v>
                </c:pt>
                <c:pt idx="3936">
                  <c:v>6.0551294477728828</c:v>
                </c:pt>
                <c:pt idx="3937">
                  <c:v>6.0751753075367612</c:v>
                </c:pt>
                <c:pt idx="3938">
                  <c:v>5.9954987484442892</c:v>
                </c:pt>
                <c:pt idx="3939">
                  <c:v>4.9323693242257711</c:v>
                </c:pt>
                <c:pt idx="3940">
                  <c:v>4.9260640932082191</c:v>
                </c:pt>
                <c:pt idx="3941">
                  <c:v>6.0147391217239639</c:v>
                </c:pt>
                <c:pt idx="3942">
                  <c:v>5.0391908357947841</c:v>
                </c:pt>
                <c:pt idx="3943">
                  <c:v>4.9197403013302523</c:v>
                </c:pt>
                <c:pt idx="3944">
                  <c:v>4.9933080266167371</c:v>
                </c:pt>
                <c:pt idx="3945">
                  <c:v>6.1440328785806733</c:v>
                </c:pt>
                <c:pt idx="3946">
                  <c:v>6.1339713902342803</c:v>
                </c:pt>
                <c:pt idx="3947">
                  <c:v>6.0521509326796181</c:v>
                </c:pt>
                <c:pt idx="3948">
                  <c:v>4.9810349044767097</c:v>
                </c:pt>
                <c:pt idx="3949">
                  <c:v>5.9661787452254442</c:v>
                </c:pt>
                <c:pt idx="3950">
                  <c:v>6.1264318749619582</c:v>
                </c:pt>
                <c:pt idx="3951">
                  <c:v>4.8901262679023398</c:v>
                </c:pt>
                <c:pt idx="3952">
                  <c:v>5.049527832024082</c:v>
                </c:pt>
                <c:pt idx="3953">
                  <c:v>6.0562756100646693</c:v>
                </c:pt>
                <c:pt idx="3954">
                  <c:v>5.0415882385597488</c:v>
                </c:pt>
                <c:pt idx="3955">
                  <c:v>5.1485620651856872</c:v>
                </c:pt>
                <c:pt idx="3956">
                  <c:v>5.8364833427866483</c:v>
                </c:pt>
                <c:pt idx="3957">
                  <c:v>5.9795854629645904</c:v>
                </c:pt>
                <c:pt idx="3958">
                  <c:v>6.9903463275957884</c:v>
                </c:pt>
                <c:pt idx="3959">
                  <c:v>5.0744835444368785</c:v>
                </c:pt>
                <c:pt idx="3960">
                  <c:v>7.0034987028199644</c:v>
                </c:pt>
                <c:pt idx="3961">
                  <c:v>5.8440663706247848</c:v>
                </c:pt>
                <c:pt idx="3962">
                  <c:v>5.8830617446906617</c:v>
                </c:pt>
                <c:pt idx="3963">
                  <c:v>5.9252768667850333</c:v>
                </c:pt>
                <c:pt idx="3964">
                  <c:v>4.8895950743321954</c:v>
                </c:pt>
                <c:pt idx="3965">
                  <c:v>5.0817201524737881</c:v>
                </c:pt>
                <c:pt idx="3966">
                  <c:v>4.9477242420020628</c:v>
                </c:pt>
                <c:pt idx="3967">
                  <c:v>6.0762497795815973</c:v>
                </c:pt>
                <c:pt idx="3968">
                  <c:v>3.9604721961326539</c:v>
                </c:pt>
                <c:pt idx="3969">
                  <c:v>5.0512456635789738</c:v>
                </c:pt>
                <c:pt idx="3970">
                  <c:v>4.7269149414454938</c:v>
                </c:pt>
                <c:pt idx="3971">
                  <c:v>5.1628244430074233</c:v>
                </c:pt>
                <c:pt idx="3972">
                  <c:v>5.9732294846212657</c:v>
                </c:pt>
                <c:pt idx="3973">
                  <c:v>5.1888349294066778</c:v>
                </c:pt>
                <c:pt idx="3974">
                  <c:v>6.9439485471590787</c:v>
                </c:pt>
                <c:pt idx="3975">
                  <c:v>7.0916388548225511</c:v>
                </c:pt>
                <c:pt idx="3976">
                  <c:v>6.1254831643905172</c:v>
                </c:pt>
                <c:pt idx="3977">
                  <c:v>5.7772601540626782</c:v>
                </c:pt>
                <c:pt idx="3978">
                  <c:v>5.9866418410510542</c:v>
                </c:pt>
                <c:pt idx="3979">
                  <c:v>5.1084671607779555</c:v>
                </c:pt>
                <c:pt idx="3980">
                  <c:v>5.0421119276789659</c:v>
                </c:pt>
                <c:pt idx="3981">
                  <c:v>4.9742858897737454</c:v>
                </c:pt>
                <c:pt idx="3982">
                  <c:v>5.9922445959806359</c:v>
                </c:pt>
                <c:pt idx="3983">
                  <c:v>5.0742270582203881</c:v>
                </c:pt>
                <c:pt idx="3984">
                  <c:v>6.0134245141051235</c:v>
                </c:pt>
                <c:pt idx="3985">
                  <c:v>4.9773683186188427</c:v>
                </c:pt>
                <c:pt idx="3986">
                  <c:v>4.8217609195084661</c:v>
                </c:pt>
                <c:pt idx="3987">
                  <c:v>5.9950992337676139</c:v>
                </c:pt>
                <c:pt idx="3988">
                  <c:v>5.0504307260447829</c:v>
                </c:pt>
                <c:pt idx="3989">
                  <c:v>5.0107657118750346</c:v>
                </c:pt>
                <c:pt idx="3990">
                  <c:v>5.1076407086282929</c:v>
                </c:pt>
                <c:pt idx="3991">
                  <c:v>5.0602229767873679</c:v>
                </c:pt>
                <c:pt idx="3992">
                  <c:v>4.9644089803703331</c:v>
                </c:pt>
                <c:pt idx="3993">
                  <c:v>5.0910152779007554</c:v>
                </c:pt>
                <c:pt idx="3994">
                  <c:v>5.0640717167841025</c:v>
                </c:pt>
                <c:pt idx="3995">
                  <c:v>4.7931523193411669</c:v>
                </c:pt>
                <c:pt idx="3996">
                  <c:v>5.9531797726619757</c:v>
                </c:pt>
                <c:pt idx="3997">
                  <c:v>4.8997441675702174</c:v>
                </c:pt>
                <c:pt idx="3998">
                  <c:v>6.096541227283196</c:v>
                </c:pt>
                <c:pt idx="3999">
                  <c:v>4.901534350867637</c:v>
                </c:pt>
                <c:pt idx="4000">
                  <c:v>5.9611337611562494</c:v>
                </c:pt>
                <c:pt idx="4001">
                  <c:v>6.0445188768097013</c:v>
                </c:pt>
                <c:pt idx="4002">
                  <c:v>4.9653458861754212</c:v>
                </c:pt>
                <c:pt idx="4003">
                  <c:v>5.9404137906361054</c:v>
                </c:pt>
                <c:pt idx="4004">
                  <c:v>5.9653080994172019</c:v>
                </c:pt>
                <c:pt idx="4005">
                  <c:v>4.8272382034028603</c:v>
                </c:pt>
                <c:pt idx="4006">
                  <c:v>6.0759994792390319</c:v>
                </c:pt>
                <c:pt idx="4007">
                  <c:v>5.9836379634203878</c:v>
                </c:pt>
                <c:pt idx="4008">
                  <c:v>5.0472173511071752</c:v>
                </c:pt>
                <c:pt idx="4009">
                  <c:v>5.0135065042194986</c:v>
                </c:pt>
                <c:pt idx="4010">
                  <c:v>4.9344184034892917</c:v>
                </c:pt>
                <c:pt idx="4011">
                  <c:v>4.9867777460686673</c:v>
                </c:pt>
                <c:pt idx="4012">
                  <c:v>6.0062734313588289</c:v>
                </c:pt>
                <c:pt idx="4013">
                  <c:v>7.1150379674672708</c:v>
                </c:pt>
                <c:pt idx="4014">
                  <c:v>5.1369547282374368</c:v>
                </c:pt>
                <c:pt idx="4015">
                  <c:v>5.0495308171256825</c:v>
                </c:pt>
                <c:pt idx="4016">
                  <c:v>5.0575881482230409</c:v>
                </c:pt>
                <c:pt idx="4017">
                  <c:v>4.9733616189892649</c:v>
                </c:pt>
                <c:pt idx="4018">
                  <c:v>5.109662293481132</c:v>
                </c:pt>
                <c:pt idx="4019">
                  <c:v>4.7949054487304963</c:v>
                </c:pt>
                <c:pt idx="4020">
                  <c:v>4.9217830269898544</c:v>
                </c:pt>
                <c:pt idx="4021">
                  <c:v>4.957198446443666</c:v>
                </c:pt>
                <c:pt idx="4022">
                  <c:v>5.8046266120735366</c:v>
                </c:pt>
                <c:pt idx="4023">
                  <c:v>5.9534785828701633</c:v>
                </c:pt>
                <c:pt idx="4024">
                  <c:v>4.9552569313220971</c:v>
                </c:pt>
                <c:pt idx="4025">
                  <c:v>5.0610447213437295</c:v>
                </c:pt>
                <c:pt idx="4026">
                  <c:v>5.1259217323702222</c:v>
                </c:pt>
                <c:pt idx="4027">
                  <c:v>5.7906408308810349</c:v>
                </c:pt>
                <c:pt idx="4028">
                  <c:v>5.93688548309742</c:v>
                </c:pt>
                <c:pt idx="4029">
                  <c:v>6.2201041571186364</c:v>
                </c:pt>
                <c:pt idx="4030">
                  <c:v>4.8842224498140432</c:v>
                </c:pt>
                <c:pt idx="4031">
                  <c:v>7.034773252022374</c:v>
                </c:pt>
                <c:pt idx="4032">
                  <c:v>5.9637980044367493</c:v>
                </c:pt>
                <c:pt idx="4033">
                  <c:v>5.0756214145510858</c:v>
                </c:pt>
                <c:pt idx="4034">
                  <c:v>5.0458980342867568</c:v>
                </c:pt>
                <c:pt idx="4035">
                  <c:v>5.0237730093026123</c:v>
                </c:pt>
                <c:pt idx="4036">
                  <c:v>5.7610386755219976</c:v>
                </c:pt>
                <c:pt idx="4037">
                  <c:v>5.7379868839178583</c:v>
                </c:pt>
                <c:pt idx="4038">
                  <c:v>6.0242406111236351</c:v>
                </c:pt>
                <c:pt idx="4039">
                  <c:v>6.0496796146405698</c:v>
                </c:pt>
                <c:pt idx="4040">
                  <c:v>5.0984328228003557</c:v>
                </c:pt>
                <c:pt idx="4041">
                  <c:v>6.1350270035102428</c:v>
                </c:pt>
                <c:pt idx="4042">
                  <c:v>4.8691942608820469</c:v>
                </c:pt>
                <c:pt idx="4043">
                  <c:v>5.1496853388025903</c:v>
                </c:pt>
                <c:pt idx="4044">
                  <c:v>5.9526650222941706</c:v>
                </c:pt>
                <c:pt idx="4045">
                  <c:v>5.902435800432114</c:v>
                </c:pt>
                <c:pt idx="4046">
                  <c:v>5.0005942884679957</c:v>
                </c:pt>
                <c:pt idx="4047">
                  <c:v>5.9509370954632281</c:v>
                </c:pt>
                <c:pt idx="4048">
                  <c:v>5.1050311054347803</c:v>
                </c:pt>
                <c:pt idx="4049">
                  <c:v>5.0269718276093247</c:v>
                </c:pt>
                <c:pt idx="4050">
                  <c:v>6.0113548497670388</c:v>
                </c:pt>
                <c:pt idx="4051">
                  <c:v>4.9734897634390132</c:v>
                </c:pt>
                <c:pt idx="4052">
                  <c:v>5.0323609348160412</c:v>
                </c:pt>
                <c:pt idx="4053">
                  <c:v>6.0148812406540291</c:v>
                </c:pt>
                <c:pt idx="4054">
                  <c:v>6.0427155796833896</c:v>
                </c:pt>
                <c:pt idx="4055">
                  <c:v>5.0089777627719823</c:v>
                </c:pt>
                <c:pt idx="4056">
                  <c:v>5.9725111914354185</c:v>
                </c:pt>
                <c:pt idx="4057">
                  <c:v>6.050270421926121</c:v>
                </c:pt>
                <c:pt idx="4058">
                  <c:v>7.0999589438252695</c:v>
                </c:pt>
                <c:pt idx="4059">
                  <c:v>5.1340364086216033</c:v>
                </c:pt>
                <c:pt idx="4060">
                  <c:v>5.9953001306355613</c:v>
                </c:pt>
                <c:pt idx="4061">
                  <c:v>5.8685530434543658</c:v>
                </c:pt>
                <c:pt idx="4062">
                  <c:v>6.1707316009106297</c:v>
                </c:pt>
                <c:pt idx="4063">
                  <c:v>5.0551493212182104</c:v>
                </c:pt>
                <c:pt idx="4064">
                  <c:v>6.8971093721827295</c:v>
                </c:pt>
                <c:pt idx="4065">
                  <c:v>6.0682492543646394</c:v>
                </c:pt>
                <c:pt idx="4066">
                  <c:v>5.0636394091450248</c:v>
                </c:pt>
                <c:pt idx="4067">
                  <c:v>6.9923514705955405</c:v>
                </c:pt>
                <c:pt idx="4068">
                  <c:v>5.0303154629897602</c:v>
                </c:pt>
                <c:pt idx="4069">
                  <c:v>7.0475938871263883</c:v>
                </c:pt>
                <c:pt idx="4070">
                  <c:v>6.0501303823920392</c:v>
                </c:pt>
                <c:pt idx="4071">
                  <c:v>4.9414958031981469</c:v>
                </c:pt>
                <c:pt idx="4072">
                  <c:v>6.871810362223937</c:v>
                </c:pt>
                <c:pt idx="4073">
                  <c:v>7.0049773491910505</c:v>
                </c:pt>
                <c:pt idx="4074">
                  <c:v>5.9722893395312289</c:v>
                </c:pt>
                <c:pt idx="4075">
                  <c:v>5.0763663164909962</c:v>
                </c:pt>
                <c:pt idx="4076">
                  <c:v>4.0950245083037862</c:v>
                </c:pt>
                <c:pt idx="4077">
                  <c:v>5.0813879013226675</c:v>
                </c:pt>
                <c:pt idx="4078">
                  <c:v>3.8960831876132604</c:v>
                </c:pt>
                <c:pt idx="4079">
                  <c:v>4.9552722591246523</c:v>
                </c:pt>
                <c:pt idx="4080">
                  <c:v>5.8970996750677509</c:v>
                </c:pt>
                <c:pt idx="4081">
                  <c:v>5.0448975151210078</c:v>
                </c:pt>
                <c:pt idx="4082">
                  <c:v>5.9894576823621932</c:v>
                </c:pt>
                <c:pt idx="4083">
                  <c:v>5.0100576441539522</c:v>
                </c:pt>
                <c:pt idx="4084">
                  <c:v>4.8305270802996958</c:v>
                </c:pt>
                <c:pt idx="4085">
                  <c:v>6.0227697289652706</c:v>
                </c:pt>
                <c:pt idx="4086">
                  <c:v>6.0776469108529758</c:v>
                </c:pt>
                <c:pt idx="4087">
                  <c:v>7.0196183663879559</c:v>
                </c:pt>
                <c:pt idx="4088">
                  <c:v>4.9873990827833241</c:v>
                </c:pt>
                <c:pt idx="4089">
                  <c:v>5.0536217225754294</c:v>
                </c:pt>
                <c:pt idx="4090">
                  <c:v>4.9839711213727167</c:v>
                </c:pt>
                <c:pt idx="4091">
                  <c:v>5.0809858437595006</c:v>
                </c:pt>
                <c:pt idx="4092">
                  <c:v>5.0864984503288042</c:v>
                </c:pt>
                <c:pt idx="4093">
                  <c:v>5.8790900148510143</c:v>
                </c:pt>
                <c:pt idx="4094">
                  <c:v>6.0395159643750276</c:v>
                </c:pt>
                <c:pt idx="4095">
                  <c:v>4.9823813173840703</c:v>
                </c:pt>
                <c:pt idx="4096">
                  <c:v>7.0351168782158275</c:v>
                </c:pt>
                <c:pt idx="4097">
                  <c:v>5.0667081478428901</c:v>
                </c:pt>
                <c:pt idx="4098">
                  <c:v>4.9475803315368463</c:v>
                </c:pt>
                <c:pt idx="4099">
                  <c:v>2.9858527516942246</c:v>
                </c:pt>
                <c:pt idx="4100">
                  <c:v>7.1217313055201599</c:v>
                </c:pt>
                <c:pt idx="4101">
                  <c:v>6.0666463427966448</c:v>
                </c:pt>
                <c:pt idx="4102">
                  <c:v>6.204059728254391</c:v>
                </c:pt>
                <c:pt idx="4103">
                  <c:v>6.0436903082615272</c:v>
                </c:pt>
                <c:pt idx="4104">
                  <c:v>5.8654170002334576</c:v>
                </c:pt>
                <c:pt idx="4105">
                  <c:v>5.8908105806382096</c:v>
                </c:pt>
                <c:pt idx="4106">
                  <c:v>4.9149620112420935</c:v>
                </c:pt>
                <c:pt idx="4107">
                  <c:v>5.9234589640474553</c:v>
                </c:pt>
                <c:pt idx="4108">
                  <c:v>5.9406724760605734</c:v>
                </c:pt>
                <c:pt idx="4109">
                  <c:v>5.9051657821816095</c:v>
                </c:pt>
                <c:pt idx="4110">
                  <c:v>5.2457270881376949</c:v>
                </c:pt>
                <c:pt idx="4111">
                  <c:v>5.0372900296404231</c:v>
                </c:pt>
                <c:pt idx="4112">
                  <c:v>4.9283286453870661</c:v>
                </c:pt>
                <c:pt idx="4113">
                  <c:v>5.9981927209936226</c:v>
                </c:pt>
                <c:pt idx="4114">
                  <c:v>4.8431357933351187</c:v>
                </c:pt>
                <c:pt idx="4115">
                  <c:v>5.0405070642741112</c:v>
                </c:pt>
                <c:pt idx="4116">
                  <c:v>6.0674727910519852</c:v>
                </c:pt>
                <c:pt idx="4117">
                  <c:v>6.2372352381349137</c:v>
                </c:pt>
                <c:pt idx="4118">
                  <c:v>4.9840690070352993</c:v>
                </c:pt>
                <c:pt idx="4119">
                  <c:v>6.0736013546764847</c:v>
                </c:pt>
                <c:pt idx="4120">
                  <c:v>5.0266469388181241</c:v>
                </c:pt>
                <c:pt idx="4121">
                  <c:v>5.9423032914582539</c:v>
                </c:pt>
                <c:pt idx="4122">
                  <c:v>4.9450244462720274</c:v>
                </c:pt>
                <c:pt idx="4123">
                  <c:v>7.0955673809816968</c:v>
                </c:pt>
                <c:pt idx="4124">
                  <c:v>4.904906641314839</c:v>
                </c:pt>
                <c:pt idx="4125">
                  <c:v>5.8839770459029799</c:v>
                </c:pt>
                <c:pt idx="4126">
                  <c:v>4.9453494082015013</c:v>
                </c:pt>
                <c:pt idx="4127">
                  <c:v>5.1088836623833398</c:v>
                </c:pt>
                <c:pt idx="4128">
                  <c:v>5.9793234737306991</c:v>
                </c:pt>
                <c:pt idx="4129">
                  <c:v>4.8994675806974879</c:v>
                </c:pt>
                <c:pt idx="4130">
                  <c:v>4.8948902246717658</c:v>
                </c:pt>
                <c:pt idx="4131">
                  <c:v>4.9483863462425539</c:v>
                </c:pt>
                <c:pt idx="4132">
                  <c:v>4.816304734368023</c:v>
                </c:pt>
                <c:pt idx="4133">
                  <c:v>5.9641116287156271</c:v>
                </c:pt>
                <c:pt idx="4134">
                  <c:v>5.0544281514561575</c:v>
                </c:pt>
                <c:pt idx="4135">
                  <c:v>5.1689779300914811</c:v>
                </c:pt>
                <c:pt idx="4136">
                  <c:v>5.0181521143589176</c:v>
                </c:pt>
                <c:pt idx="4137">
                  <c:v>5.9972767501978588</c:v>
                </c:pt>
                <c:pt idx="4138">
                  <c:v>4.9547000327977972</c:v>
                </c:pt>
                <c:pt idx="4139">
                  <c:v>5.1179297721862298</c:v>
                </c:pt>
                <c:pt idx="4140">
                  <c:v>4.7830351467226144</c:v>
                </c:pt>
                <c:pt idx="4141">
                  <c:v>6.0015790385254739</c:v>
                </c:pt>
                <c:pt idx="4142">
                  <c:v>6.0998743166582647</c:v>
                </c:pt>
                <c:pt idx="4143">
                  <c:v>4.9639798217177304</c:v>
                </c:pt>
                <c:pt idx="4144">
                  <c:v>4.9692878383242265</c:v>
                </c:pt>
                <c:pt idx="4145">
                  <c:v>5.0990854611478804</c:v>
                </c:pt>
                <c:pt idx="4146">
                  <c:v>5.9681043855993181</c:v>
                </c:pt>
                <c:pt idx="4147">
                  <c:v>7.1050843731017714</c:v>
                </c:pt>
                <c:pt idx="4148">
                  <c:v>5.0068709656507435</c:v>
                </c:pt>
                <c:pt idx="4149">
                  <c:v>5.9451790847733017</c:v>
                </c:pt>
                <c:pt idx="4150">
                  <c:v>5.0255094519959709</c:v>
                </c:pt>
                <c:pt idx="4151">
                  <c:v>6.0827622868830549</c:v>
                </c:pt>
                <c:pt idx="4152">
                  <c:v>6.9852511164241911</c:v>
                </c:pt>
                <c:pt idx="4153">
                  <c:v>7.0300231794764398</c:v>
                </c:pt>
                <c:pt idx="4154">
                  <c:v>4.9876816584992785</c:v>
                </c:pt>
                <c:pt idx="4155">
                  <c:v>7.0846695007332938</c:v>
                </c:pt>
                <c:pt idx="4156">
                  <c:v>5.9412605599630899</c:v>
                </c:pt>
                <c:pt idx="4157">
                  <c:v>6.0542632734920954</c:v>
                </c:pt>
                <c:pt idx="4158">
                  <c:v>6.9021337463812573</c:v>
                </c:pt>
                <c:pt idx="4159">
                  <c:v>6.8359920332431727</c:v>
                </c:pt>
                <c:pt idx="4160">
                  <c:v>5.0042710897424261</c:v>
                </c:pt>
                <c:pt idx="4161">
                  <c:v>7.0349376929078797</c:v>
                </c:pt>
                <c:pt idx="4162">
                  <c:v>6.95758891337434</c:v>
                </c:pt>
                <c:pt idx="4163">
                  <c:v>7.0638933810207742</c:v>
                </c:pt>
                <c:pt idx="4164">
                  <c:v>6.9729377311048797</c:v>
                </c:pt>
                <c:pt idx="4165">
                  <c:v>5.1774553328357182</c:v>
                </c:pt>
                <c:pt idx="4166">
                  <c:v>5.1034425083149628</c:v>
                </c:pt>
                <c:pt idx="4167">
                  <c:v>6.8353910816923626</c:v>
                </c:pt>
                <c:pt idx="4168">
                  <c:v>5.1685895386687708</c:v>
                </c:pt>
                <c:pt idx="4169">
                  <c:v>6.9555287115909188</c:v>
                </c:pt>
                <c:pt idx="4170">
                  <c:v>5.9468233191474811</c:v>
                </c:pt>
                <c:pt idx="4171">
                  <c:v>4.9584947037997216</c:v>
                </c:pt>
                <c:pt idx="4172">
                  <c:v>5.9708250157113341</c:v>
                </c:pt>
                <c:pt idx="4173">
                  <c:v>5.0151903322428577</c:v>
                </c:pt>
                <c:pt idx="4174">
                  <c:v>4.999301519924531</c:v>
                </c:pt>
                <c:pt idx="4175">
                  <c:v>6.2639142802026626</c:v>
                </c:pt>
                <c:pt idx="4176">
                  <c:v>4.845676869750581</c:v>
                </c:pt>
                <c:pt idx="4177">
                  <c:v>4.9638270451256652</c:v>
                </c:pt>
                <c:pt idx="4178">
                  <c:v>5.938493867635902</c:v>
                </c:pt>
                <c:pt idx="4179">
                  <c:v>5.076317090221738</c:v>
                </c:pt>
                <c:pt idx="4180">
                  <c:v>5.1009443732012052</c:v>
                </c:pt>
                <c:pt idx="4181">
                  <c:v>5.9855841959641625</c:v>
                </c:pt>
                <c:pt idx="4182">
                  <c:v>4.9858395934218063</c:v>
                </c:pt>
                <c:pt idx="4183">
                  <c:v>5.0939396820832821</c:v>
                </c:pt>
                <c:pt idx="4184">
                  <c:v>5.0940516443009383</c:v>
                </c:pt>
                <c:pt idx="4185">
                  <c:v>4.9802398608153116</c:v>
                </c:pt>
                <c:pt idx="4186">
                  <c:v>4.9570743970165445</c:v>
                </c:pt>
                <c:pt idx="4187">
                  <c:v>4.9801661030050095</c:v>
                </c:pt>
                <c:pt idx="4188">
                  <c:v>6.0808983850632989</c:v>
                </c:pt>
                <c:pt idx="4189">
                  <c:v>5.0624186387232974</c:v>
                </c:pt>
                <c:pt idx="4190">
                  <c:v>5.0967858440275018</c:v>
                </c:pt>
                <c:pt idx="4191">
                  <c:v>5.0124754090250105</c:v>
                </c:pt>
                <c:pt idx="4192">
                  <c:v>4.940550430354512</c:v>
                </c:pt>
                <c:pt idx="4193">
                  <c:v>5.0207281347389872</c:v>
                </c:pt>
                <c:pt idx="4194">
                  <c:v>4.796709736630576</c:v>
                </c:pt>
                <c:pt idx="4195">
                  <c:v>5.2421566813666818</c:v>
                </c:pt>
                <c:pt idx="4196">
                  <c:v>4.9646693303753739</c:v>
                </c:pt>
                <c:pt idx="4197">
                  <c:v>6.0533817062977215</c:v>
                </c:pt>
                <c:pt idx="4198">
                  <c:v>4.9996104967819885</c:v>
                </c:pt>
                <c:pt idx="4199">
                  <c:v>5.1080685670502133</c:v>
                </c:pt>
                <c:pt idx="4200">
                  <c:v>4.8495836710543294</c:v>
                </c:pt>
                <c:pt idx="4201">
                  <c:v>5.1439292987220711</c:v>
                </c:pt>
                <c:pt idx="4202">
                  <c:v>5.0131620468278495</c:v>
                </c:pt>
                <c:pt idx="4203">
                  <c:v>6.0069969215233465</c:v>
                </c:pt>
                <c:pt idx="4204">
                  <c:v>5.881495391323452</c:v>
                </c:pt>
                <c:pt idx="4205">
                  <c:v>4.9040017682447248</c:v>
                </c:pt>
                <c:pt idx="4206">
                  <c:v>6.1061869502246084</c:v>
                </c:pt>
                <c:pt idx="4207">
                  <c:v>5.1023393592353807</c:v>
                </c:pt>
                <c:pt idx="4208">
                  <c:v>5.2121969480851629</c:v>
                </c:pt>
                <c:pt idx="4209">
                  <c:v>5.0101988706000329</c:v>
                </c:pt>
                <c:pt idx="4210">
                  <c:v>6.0902990788972442</c:v>
                </c:pt>
                <c:pt idx="4211">
                  <c:v>5.8348237130656431</c:v>
                </c:pt>
                <c:pt idx="4212">
                  <c:v>4.9871845453153654</c:v>
                </c:pt>
                <c:pt idx="4213">
                  <c:v>5.1158533847677852</c:v>
                </c:pt>
                <c:pt idx="4214">
                  <c:v>5.0037863524838206</c:v>
                </c:pt>
                <c:pt idx="4215">
                  <c:v>4.9375397674493247</c:v>
                </c:pt>
                <c:pt idx="4216">
                  <c:v>6.0075643693815568</c:v>
                </c:pt>
                <c:pt idx="4217">
                  <c:v>6.2541813711160801</c:v>
                </c:pt>
                <c:pt idx="4218">
                  <c:v>5.0682547920137306</c:v>
                </c:pt>
                <c:pt idx="4219">
                  <c:v>5.9616824043380099</c:v>
                </c:pt>
                <c:pt idx="4220">
                  <c:v>4.9709264885830002</c:v>
                </c:pt>
                <c:pt idx="4221">
                  <c:v>6.8526353576480172</c:v>
                </c:pt>
                <c:pt idx="4222">
                  <c:v>5.0186457323913505</c:v>
                </c:pt>
                <c:pt idx="4223">
                  <c:v>5.9560673969735571</c:v>
                </c:pt>
                <c:pt idx="4224">
                  <c:v>5.0061484695645682</c:v>
                </c:pt>
                <c:pt idx="4225">
                  <c:v>4.996240113671707</c:v>
                </c:pt>
                <c:pt idx="4226">
                  <c:v>6.203164573123404</c:v>
                </c:pt>
                <c:pt idx="4227">
                  <c:v>6.0444419250822818</c:v>
                </c:pt>
                <c:pt idx="4228">
                  <c:v>5.9685293435859288</c:v>
                </c:pt>
                <c:pt idx="4229">
                  <c:v>6.022884598454973</c:v>
                </c:pt>
                <c:pt idx="4230">
                  <c:v>4.957508191623508</c:v>
                </c:pt>
                <c:pt idx="4231">
                  <c:v>4.9906317689686093</c:v>
                </c:pt>
                <c:pt idx="4232">
                  <c:v>5.1539669833683481</c:v>
                </c:pt>
                <c:pt idx="4233">
                  <c:v>5.0276943246612005</c:v>
                </c:pt>
                <c:pt idx="4234">
                  <c:v>6.0058727994010033</c:v>
                </c:pt>
                <c:pt idx="4235">
                  <c:v>4.9934643738223885</c:v>
                </c:pt>
                <c:pt idx="4236">
                  <c:v>7.0806514830218648</c:v>
                </c:pt>
                <c:pt idx="4237">
                  <c:v>6.1490610094068936</c:v>
                </c:pt>
                <c:pt idx="4238">
                  <c:v>4.8949542418686791</c:v>
                </c:pt>
                <c:pt idx="4239">
                  <c:v>7.0181128736973974</c:v>
                </c:pt>
                <c:pt idx="4240">
                  <c:v>4.8943534369859476</c:v>
                </c:pt>
                <c:pt idx="4241">
                  <c:v>5.1790671608481249</c:v>
                </c:pt>
                <c:pt idx="4242">
                  <c:v>4.9172663373812142</c:v>
                </c:pt>
                <c:pt idx="4243">
                  <c:v>4.9470796207801415</c:v>
                </c:pt>
                <c:pt idx="4244">
                  <c:v>7.1528561955491679</c:v>
                </c:pt>
                <c:pt idx="4245">
                  <c:v>5.082182005906013</c:v>
                </c:pt>
                <c:pt idx="4246">
                  <c:v>4.8608196337160896</c:v>
                </c:pt>
                <c:pt idx="4247">
                  <c:v>5.054267784338915</c:v>
                </c:pt>
                <c:pt idx="4248">
                  <c:v>4.8730188084038124</c:v>
                </c:pt>
                <c:pt idx="4249">
                  <c:v>7.1112782733891411</c:v>
                </c:pt>
                <c:pt idx="4250">
                  <c:v>6.0670046444795567</c:v>
                </c:pt>
                <c:pt idx="4251">
                  <c:v>5.8872623240941024</c:v>
                </c:pt>
                <c:pt idx="4252">
                  <c:v>5.8638665714793898</c:v>
                </c:pt>
                <c:pt idx="4253">
                  <c:v>5.054638854852981</c:v>
                </c:pt>
                <c:pt idx="4254">
                  <c:v>5.067060520031891</c:v>
                </c:pt>
                <c:pt idx="4255">
                  <c:v>5.0976067957522648</c:v>
                </c:pt>
                <c:pt idx="4256">
                  <c:v>6.0638676888185969</c:v>
                </c:pt>
                <c:pt idx="4257">
                  <c:v>5.1005859741225619</c:v>
                </c:pt>
                <c:pt idx="4258">
                  <c:v>4.8672217410461265</c:v>
                </c:pt>
                <c:pt idx="4259">
                  <c:v>5.9952141840946389</c:v>
                </c:pt>
                <c:pt idx="4260">
                  <c:v>5.9709242755722096</c:v>
                </c:pt>
                <c:pt idx="4261">
                  <c:v>4.9519821510157174</c:v>
                </c:pt>
                <c:pt idx="4262">
                  <c:v>5.048076721828135</c:v>
                </c:pt>
                <c:pt idx="4263">
                  <c:v>4.9286067499500437</c:v>
                </c:pt>
                <c:pt idx="4264">
                  <c:v>5.1402578139269322</c:v>
                </c:pt>
                <c:pt idx="4265">
                  <c:v>4.001051704878523</c:v>
                </c:pt>
                <c:pt idx="4266">
                  <c:v>5.0644185562626216</c:v>
                </c:pt>
                <c:pt idx="4267">
                  <c:v>4.8665391111037808</c:v>
                </c:pt>
                <c:pt idx="4268">
                  <c:v>5.0823181867790241</c:v>
                </c:pt>
                <c:pt idx="4269">
                  <c:v>5.0352845017196763</c:v>
                </c:pt>
                <c:pt idx="4270">
                  <c:v>5.1675983201723179</c:v>
                </c:pt>
                <c:pt idx="4271">
                  <c:v>4.9262849338175005</c:v>
                </c:pt>
                <c:pt idx="4272">
                  <c:v>5.0335966597793957</c:v>
                </c:pt>
                <c:pt idx="4273">
                  <c:v>5.0029192518405488</c:v>
                </c:pt>
                <c:pt idx="4274">
                  <c:v>5.1015228573719593</c:v>
                </c:pt>
                <c:pt idx="4275">
                  <c:v>4.9335208045431305</c:v>
                </c:pt>
                <c:pt idx="4276">
                  <c:v>4.8899598407951723</c:v>
                </c:pt>
                <c:pt idx="4277">
                  <c:v>4.9233370701545898</c:v>
                </c:pt>
                <c:pt idx="4278">
                  <c:v>5.7124374656304955</c:v>
                </c:pt>
                <c:pt idx="4279">
                  <c:v>4.816716662051153</c:v>
                </c:pt>
                <c:pt idx="4280">
                  <c:v>5.8534355051522811</c:v>
                </c:pt>
                <c:pt idx="4281">
                  <c:v>6.9889303456971321</c:v>
                </c:pt>
                <c:pt idx="4282">
                  <c:v>6.0584593967564055</c:v>
                </c:pt>
                <c:pt idx="4283">
                  <c:v>6.0455986443636043</c:v>
                </c:pt>
                <c:pt idx="4284">
                  <c:v>4.9970752040470749</c:v>
                </c:pt>
                <c:pt idx="4285">
                  <c:v>5.0354453607152214</c:v>
                </c:pt>
                <c:pt idx="4286">
                  <c:v>4.8580635906206933</c:v>
                </c:pt>
                <c:pt idx="4287">
                  <c:v>5.8213498668139545</c:v>
                </c:pt>
                <c:pt idx="4288">
                  <c:v>5.9040762246902183</c:v>
                </c:pt>
                <c:pt idx="4289">
                  <c:v>7.0462244935927609</c:v>
                </c:pt>
                <c:pt idx="4290">
                  <c:v>4.9808702486954095</c:v>
                </c:pt>
                <c:pt idx="4291">
                  <c:v>6.022757765848298</c:v>
                </c:pt>
                <c:pt idx="4292">
                  <c:v>6.12633890626332</c:v>
                </c:pt>
                <c:pt idx="4293">
                  <c:v>4.9350172564717099</c:v>
                </c:pt>
                <c:pt idx="4294">
                  <c:v>7.1826944257398182</c:v>
                </c:pt>
                <c:pt idx="4295">
                  <c:v>5.9904704379232578</c:v>
                </c:pt>
                <c:pt idx="4296">
                  <c:v>6.0086313262418587</c:v>
                </c:pt>
                <c:pt idx="4297">
                  <c:v>7.1654905327753085</c:v>
                </c:pt>
                <c:pt idx="4298">
                  <c:v>4.8719061240977677</c:v>
                </c:pt>
                <c:pt idx="4299">
                  <c:v>5.1873565700874851</c:v>
                </c:pt>
                <c:pt idx="4300">
                  <c:v>5.95769125587214</c:v>
                </c:pt>
                <c:pt idx="4301">
                  <c:v>5.0148647413630778</c:v>
                </c:pt>
                <c:pt idx="4302">
                  <c:v>5.930826813092696</c:v>
                </c:pt>
                <c:pt idx="4303">
                  <c:v>6.7365037901870526</c:v>
                </c:pt>
                <c:pt idx="4304">
                  <c:v>5.0383512581651253</c:v>
                </c:pt>
                <c:pt idx="4305">
                  <c:v>5.0231168774549584</c:v>
                </c:pt>
                <c:pt idx="4306">
                  <c:v>6.9342681573570006</c:v>
                </c:pt>
                <c:pt idx="4307">
                  <c:v>5.8970699485571174</c:v>
                </c:pt>
                <c:pt idx="4308">
                  <c:v>5.8988291481711208</c:v>
                </c:pt>
                <c:pt idx="4309">
                  <c:v>4.9562653814578983</c:v>
                </c:pt>
                <c:pt idx="4310">
                  <c:v>6.0312412364382864</c:v>
                </c:pt>
                <c:pt idx="4311">
                  <c:v>5.1062760232943969</c:v>
                </c:pt>
                <c:pt idx="4312">
                  <c:v>5.1089588142446578</c:v>
                </c:pt>
                <c:pt idx="4313">
                  <c:v>4.0104242328298305</c:v>
                </c:pt>
                <c:pt idx="4314">
                  <c:v>7.0647931145077747</c:v>
                </c:pt>
                <c:pt idx="4315">
                  <c:v>5.0250303512713632</c:v>
                </c:pt>
                <c:pt idx="4316">
                  <c:v>4.98075799060768</c:v>
                </c:pt>
                <c:pt idx="4317">
                  <c:v>5.8922050296338551</c:v>
                </c:pt>
                <c:pt idx="4318">
                  <c:v>5.0770697222577095</c:v>
                </c:pt>
                <c:pt idx="4319">
                  <c:v>4.9915302499395828</c:v>
                </c:pt>
                <c:pt idx="4320">
                  <c:v>5.021385771033291</c:v>
                </c:pt>
                <c:pt idx="4321">
                  <c:v>5.9051499325790653</c:v>
                </c:pt>
                <c:pt idx="4322">
                  <c:v>5.2192914262392707</c:v>
                </c:pt>
                <c:pt idx="4323">
                  <c:v>5.9127378560679498</c:v>
                </c:pt>
                <c:pt idx="4324">
                  <c:v>4.9989106253741999</c:v>
                </c:pt>
                <c:pt idx="4325">
                  <c:v>6.2320720087940922</c:v>
                </c:pt>
                <c:pt idx="4326">
                  <c:v>6.0406498227701544</c:v>
                </c:pt>
                <c:pt idx="4327">
                  <c:v>4.8265640902047249</c:v>
                </c:pt>
                <c:pt idx="4328">
                  <c:v>4.9172905364027502</c:v>
                </c:pt>
                <c:pt idx="4329">
                  <c:v>5.0672938993402781</c:v>
                </c:pt>
                <c:pt idx="4330">
                  <c:v>5.12638488995833</c:v>
                </c:pt>
                <c:pt idx="4331">
                  <c:v>4.881319188625862</c:v>
                </c:pt>
                <c:pt idx="4332">
                  <c:v>5.0072780504468124</c:v>
                </c:pt>
                <c:pt idx="4333">
                  <c:v>3.9532258124489594</c:v>
                </c:pt>
                <c:pt idx="4334">
                  <c:v>5.8685619479914228</c:v>
                </c:pt>
                <c:pt idx="4335">
                  <c:v>4.9533749010400463</c:v>
                </c:pt>
                <c:pt idx="4336">
                  <c:v>5.9335782455842629</c:v>
                </c:pt>
                <c:pt idx="4337">
                  <c:v>4.940809966335113</c:v>
                </c:pt>
                <c:pt idx="4338">
                  <c:v>5.9135304060300689</c:v>
                </c:pt>
                <c:pt idx="4339">
                  <c:v>4.8950138783734722</c:v>
                </c:pt>
                <c:pt idx="4340">
                  <c:v>6.9261938617824637</c:v>
                </c:pt>
                <c:pt idx="4341">
                  <c:v>5.8074734873857219</c:v>
                </c:pt>
                <c:pt idx="4342">
                  <c:v>5.8606645363485343</c:v>
                </c:pt>
                <c:pt idx="4343">
                  <c:v>5.184677652780314</c:v>
                </c:pt>
                <c:pt idx="4344">
                  <c:v>5.0982591839163991</c:v>
                </c:pt>
                <c:pt idx="4345">
                  <c:v>5.0757304703781569</c:v>
                </c:pt>
                <c:pt idx="4346">
                  <c:v>4.9078298626039389</c:v>
                </c:pt>
                <c:pt idx="4347">
                  <c:v>4.9616392143715435</c:v>
                </c:pt>
                <c:pt idx="4348">
                  <c:v>6.0366235142175499</c:v>
                </c:pt>
                <c:pt idx="4349">
                  <c:v>4.9089619366734034</c:v>
                </c:pt>
                <c:pt idx="4350">
                  <c:v>5.2305171485189765</c:v>
                </c:pt>
                <c:pt idx="4351">
                  <c:v>5.7914741143575954</c:v>
                </c:pt>
                <c:pt idx="4352">
                  <c:v>6.0202545718980334</c:v>
                </c:pt>
                <c:pt idx="4353">
                  <c:v>5.1212090333774869</c:v>
                </c:pt>
                <c:pt idx="4354">
                  <c:v>5.8992712285292468</c:v>
                </c:pt>
                <c:pt idx="4355">
                  <c:v>5.0653259795651833</c:v>
                </c:pt>
                <c:pt idx="4356">
                  <c:v>5.9425318921478603</c:v>
                </c:pt>
                <c:pt idx="4357">
                  <c:v>7.1326119897817533</c:v>
                </c:pt>
                <c:pt idx="4358">
                  <c:v>4.9600075250717719</c:v>
                </c:pt>
                <c:pt idx="4359">
                  <c:v>4.9329346128770535</c:v>
                </c:pt>
                <c:pt idx="4360">
                  <c:v>4.9323708260837735</c:v>
                </c:pt>
                <c:pt idx="4361">
                  <c:v>4.8816622871550646</c:v>
                </c:pt>
                <c:pt idx="4362">
                  <c:v>6.0268582967730993</c:v>
                </c:pt>
                <c:pt idx="4363">
                  <c:v>6.9230645750695938</c:v>
                </c:pt>
                <c:pt idx="4364">
                  <c:v>5.0600515320743522</c:v>
                </c:pt>
                <c:pt idx="4365">
                  <c:v>4.9867877438202379</c:v>
                </c:pt>
                <c:pt idx="4366">
                  <c:v>5.1255253170298971</c:v>
                </c:pt>
                <c:pt idx="4367">
                  <c:v>4.8326919707836122</c:v>
                </c:pt>
                <c:pt idx="4368">
                  <c:v>5.0147927453911647</c:v>
                </c:pt>
                <c:pt idx="4369">
                  <c:v>5.0489568293068485</c:v>
                </c:pt>
                <c:pt idx="4370">
                  <c:v>5.9256638668980308</c:v>
                </c:pt>
                <c:pt idx="4371">
                  <c:v>6.1550627260674062</c:v>
                </c:pt>
                <c:pt idx="4372">
                  <c:v>4.8931620267337497</c:v>
                </c:pt>
                <c:pt idx="4373">
                  <c:v>5.9372161693032588</c:v>
                </c:pt>
                <c:pt idx="4374">
                  <c:v>6.2408843863311638</c:v>
                </c:pt>
                <c:pt idx="4375">
                  <c:v>5.0729594326674352</c:v>
                </c:pt>
                <c:pt idx="4376">
                  <c:v>6.0304339884616613</c:v>
                </c:pt>
                <c:pt idx="4377">
                  <c:v>5.0468347205032922</c:v>
                </c:pt>
                <c:pt idx="4378">
                  <c:v>6.0173969112747185</c:v>
                </c:pt>
                <c:pt idx="4379">
                  <c:v>4.9482203755249641</c:v>
                </c:pt>
                <c:pt idx="4380">
                  <c:v>6.0208030413290752</c:v>
                </c:pt>
                <c:pt idx="4381">
                  <c:v>6.031888318143853</c:v>
                </c:pt>
                <c:pt idx="4382">
                  <c:v>4.9040572713472086</c:v>
                </c:pt>
                <c:pt idx="4383">
                  <c:v>5.9714432335224412</c:v>
                </c:pt>
                <c:pt idx="4384">
                  <c:v>3.9194828788431773</c:v>
                </c:pt>
                <c:pt idx="4385">
                  <c:v>6.018907437381892</c:v>
                </c:pt>
                <c:pt idx="4386">
                  <c:v>6.01260572748199</c:v>
                </c:pt>
                <c:pt idx="4387">
                  <c:v>6.1725326868410377</c:v>
                </c:pt>
                <c:pt idx="4388">
                  <c:v>4.9725071993809999</c:v>
                </c:pt>
                <c:pt idx="4389">
                  <c:v>6.07346432980414</c:v>
                </c:pt>
                <c:pt idx="4390">
                  <c:v>6.0127524814991622</c:v>
                </c:pt>
                <c:pt idx="4391">
                  <c:v>6.0532880826277085</c:v>
                </c:pt>
                <c:pt idx="4392">
                  <c:v>5.2472564792408232</c:v>
                </c:pt>
                <c:pt idx="4393">
                  <c:v>5.040987169282527</c:v>
                </c:pt>
                <c:pt idx="4394">
                  <c:v>5.0517204979314743</c:v>
                </c:pt>
                <c:pt idx="4395">
                  <c:v>5.1228095948705175</c:v>
                </c:pt>
                <c:pt idx="4396">
                  <c:v>4.9589218562201705</c:v>
                </c:pt>
                <c:pt idx="4397">
                  <c:v>6.0532419229516572</c:v>
                </c:pt>
                <c:pt idx="4398">
                  <c:v>5.7710897647848451</c:v>
                </c:pt>
                <c:pt idx="4399">
                  <c:v>6.0644832739141448</c:v>
                </c:pt>
                <c:pt idx="4400">
                  <c:v>6.7976613293641215</c:v>
                </c:pt>
                <c:pt idx="4401">
                  <c:v>6.0467245722116623</c:v>
                </c:pt>
                <c:pt idx="4402">
                  <c:v>5.9295970809296037</c:v>
                </c:pt>
                <c:pt idx="4403">
                  <c:v>4.9536868122626174</c:v>
                </c:pt>
                <c:pt idx="4404">
                  <c:v>6.0238408445145151</c:v>
                </c:pt>
                <c:pt idx="4405">
                  <c:v>4.9895155619139002</c:v>
                </c:pt>
                <c:pt idx="4406">
                  <c:v>5.0000492243247328</c:v>
                </c:pt>
                <c:pt idx="4407">
                  <c:v>5.9240558796837712</c:v>
                </c:pt>
                <c:pt idx="4408">
                  <c:v>5.0741816038360668</c:v>
                </c:pt>
                <c:pt idx="4409">
                  <c:v>7.0637482485241883</c:v>
                </c:pt>
                <c:pt idx="4410">
                  <c:v>5.0159517990226261</c:v>
                </c:pt>
                <c:pt idx="4411">
                  <c:v>4.9510991546549832</c:v>
                </c:pt>
                <c:pt idx="4412">
                  <c:v>6.1973375841573404</c:v>
                </c:pt>
                <c:pt idx="4413">
                  <c:v>5.778807440347542</c:v>
                </c:pt>
                <c:pt idx="4414">
                  <c:v>4.9219790562460952</c:v>
                </c:pt>
                <c:pt idx="4415">
                  <c:v>5.8745180669394479</c:v>
                </c:pt>
                <c:pt idx="4416">
                  <c:v>5.8878336068015598</c:v>
                </c:pt>
                <c:pt idx="4417">
                  <c:v>5.978245889932964</c:v>
                </c:pt>
                <c:pt idx="4418">
                  <c:v>5.0436382344335309</c:v>
                </c:pt>
                <c:pt idx="4419">
                  <c:v>6.0453154587982629</c:v>
                </c:pt>
                <c:pt idx="4420">
                  <c:v>6.0655151430853849</c:v>
                </c:pt>
                <c:pt idx="4421">
                  <c:v>5.1292954068926822</c:v>
                </c:pt>
                <c:pt idx="4422">
                  <c:v>5.0523986888736356</c:v>
                </c:pt>
                <c:pt idx="4423">
                  <c:v>5.0908507299765775</c:v>
                </c:pt>
                <c:pt idx="4424">
                  <c:v>6.0206193974796758</c:v>
                </c:pt>
                <c:pt idx="4425">
                  <c:v>4.9978527682802447</c:v>
                </c:pt>
                <c:pt idx="4426">
                  <c:v>4.8852175577188603</c:v>
                </c:pt>
                <c:pt idx="4427">
                  <c:v>8.0317367771759542</c:v>
                </c:pt>
                <c:pt idx="4428">
                  <c:v>4.0370747812271359</c:v>
                </c:pt>
                <c:pt idx="4429">
                  <c:v>4.9334587520663407</c:v>
                </c:pt>
                <c:pt idx="4430">
                  <c:v>5.2263468579476493</c:v>
                </c:pt>
                <c:pt idx="4431">
                  <c:v>5.9408971687346233</c:v>
                </c:pt>
                <c:pt idx="4432">
                  <c:v>5.1163165832143171</c:v>
                </c:pt>
                <c:pt idx="4433">
                  <c:v>5.0768354344127067</c:v>
                </c:pt>
                <c:pt idx="4434">
                  <c:v>5.0507421571195481</c:v>
                </c:pt>
                <c:pt idx="4435">
                  <c:v>6.0963058359162723</c:v>
                </c:pt>
                <c:pt idx="4436">
                  <c:v>5.9485043071321995</c:v>
                </c:pt>
                <c:pt idx="4437">
                  <c:v>4.0151443755956517</c:v>
                </c:pt>
                <c:pt idx="4438">
                  <c:v>5.1613926877667913</c:v>
                </c:pt>
                <c:pt idx="4439">
                  <c:v>4.8894846589136227</c:v>
                </c:pt>
                <c:pt idx="4440">
                  <c:v>5.9962749196134055</c:v>
                </c:pt>
                <c:pt idx="4441">
                  <c:v>6.1957948576605002</c:v>
                </c:pt>
                <c:pt idx="4442">
                  <c:v>4.947813652811524</c:v>
                </c:pt>
                <c:pt idx="4443">
                  <c:v>5.089408386384239</c:v>
                </c:pt>
                <c:pt idx="4444">
                  <c:v>5.1288795631506749</c:v>
                </c:pt>
                <c:pt idx="4445">
                  <c:v>5.8237314125220072</c:v>
                </c:pt>
                <c:pt idx="4446">
                  <c:v>4.9686409164167804</c:v>
                </c:pt>
                <c:pt idx="4447">
                  <c:v>4.9296324995156144</c:v>
                </c:pt>
                <c:pt idx="4448">
                  <c:v>5.0473012942733906</c:v>
                </c:pt>
                <c:pt idx="4449">
                  <c:v>4.9094090347038506</c:v>
                </c:pt>
                <c:pt idx="4450">
                  <c:v>5.1258121333574644</c:v>
                </c:pt>
                <c:pt idx="4451">
                  <c:v>5.9773368941781175</c:v>
                </c:pt>
                <c:pt idx="4452">
                  <c:v>4.985885688346646</c:v>
                </c:pt>
                <c:pt idx="4453">
                  <c:v>4.9460573489328263</c:v>
                </c:pt>
                <c:pt idx="4454">
                  <c:v>6.0233817045387914</c:v>
                </c:pt>
                <c:pt idx="4455">
                  <c:v>4.9342280363534785</c:v>
                </c:pt>
                <c:pt idx="4456">
                  <c:v>6.0011031747578132</c:v>
                </c:pt>
                <c:pt idx="4457">
                  <c:v>5.9645945394469289</c:v>
                </c:pt>
                <c:pt idx="4458">
                  <c:v>6.1086746618135619</c:v>
                </c:pt>
                <c:pt idx="4459">
                  <c:v>5.9875714139365845</c:v>
                </c:pt>
                <c:pt idx="4460">
                  <c:v>4.02547647041541</c:v>
                </c:pt>
                <c:pt idx="4461">
                  <c:v>4.9845244938278128</c:v>
                </c:pt>
                <c:pt idx="4462">
                  <c:v>6.1388157601178053</c:v>
                </c:pt>
                <c:pt idx="4463">
                  <c:v>6.009744332618526</c:v>
                </c:pt>
                <c:pt idx="4464">
                  <c:v>5.924209244080104</c:v>
                </c:pt>
                <c:pt idx="4465">
                  <c:v>4.9533549304865563</c:v>
                </c:pt>
                <c:pt idx="4466">
                  <c:v>5.9450106576197896</c:v>
                </c:pt>
                <c:pt idx="4467">
                  <c:v>4.9498588570791089</c:v>
                </c:pt>
                <c:pt idx="4468">
                  <c:v>6.0393399903717393</c:v>
                </c:pt>
                <c:pt idx="4469">
                  <c:v>6.0380979401283659</c:v>
                </c:pt>
                <c:pt idx="4470">
                  <c:v>4.9254946527994212</c:v>
                </c:pt>
                <c:pt idx="4471">
                  <c:v>5.0081728873816616</c:v>
                </c:pt>
                <c:pt idx="4472">
                  <c:v>5.0384671474631713</c:v>
                </c:pt>
                <c:pt idx="4473">
                  <c:v>6.1429297779774323</c:v>
                </c:pt>
                <c:pt idx="4474">
                  <c:v>4.8763519556220842</c:v>
                </c:pt>
                <c:pt idx="4475">
                  <c:v>4.9547935756292469</c:v>
                </c:pt>
                <c:pt idx="4476">
                  <c:v>6.1332362986789102</c:v>
                </c:pt>
                <c:pt idx="4477">
                  <c:v>6.0162783005311509</c:v>
                </c:pt>
                <c:pt idx="4478">
                  <c:v>6.0021251321205584</c:v>
                </c:pt>
                <c:pt idx="4479">
                  <c:v>6.0282634577148331</c:v>
                </c:pt>
                <c:pt idx="4480">
                  <c:v>5.9438011834839308</c:v>
                </c:pt>
                <c:pt idx="4481">
                  <c:v>5.9307557279523939</c:v>
                </c:pt>
                <c:pt idx="4482">
                  <c:v>5.956678134922778</c:v>
                </c:pt>
                <c:pt idx="4483">
                  <c:v>5.890405435745758</c:v>
                </c:pt>
                <c:pt idx="4484">
                  <c:v>6.0231710279700241</c:v>
                </c:pt>
                <c:pt idx="4485">
                  <c:v>5.9674630832998341</c:v>
                </c:pt>
                <c:pt idx="4486">
                  <c:v>6.0813366072409663</c:v>
                </c:pt>
                <c:pt idx="4487">
                  <c:v>6.033557579933353</c:v>
                </c:pt>
                <c:pt idx="4488">
                  <c:v>6.0152782187897582</c:v>
                </c:pt>
                <c:pt idx="4489">
                  <c:v>5.903699736674251</c:v>
                </c:pt>
                <c:pt idx="4490">
                  <c:v>5.9846873733158219</c:v>
                </c:pt>
                <c:pt idx="4491">
                  <c:v>6.0962889523619426</c:v>
                </c:pt>
                <c:pt idx="4492">
                  <c:v>6.1307360883036051</c:v>
                </c:pt>
                <c:pt idx="4493">
                  <c:v>5.7689787545653886</c:v>
                </c:pt>
                <c:pt idx="4494">
                  <c:v>5.9522691630265054</c:v>
                </c:pt>
                <c:pt idx="4495">
                  <c:v>5.9294301827296341</c:v>
                </c:pt>
                <c:pt idx="4496">
                  <c:v>5.9256148932843411</c:v>
                </c:pt>
                <c:pt idx="4497">
                  <c:v>5.9212308509033065</c:v>
                </c:pt>
                <c:pt idx="4498">
                  <c:v>6.067994863582971</c:v>
                </c:pt>
                <c:pt idx="4499">
                  <c:v>5.9016880023885072</c:v>
                </c:pt>
                <c:pt idx="4500">
                  <c:v>6.0979470151355297</c:v>
                </c:pt>
                <c:pt idx="4501">
                  <c:v>6.0144701004376913</c:v>
                </c:pt>
                <c:pt idx="4502">
                  <c:v>5.8536861051056306</c:v>
                </c:pt>
                <c:pt idx="4503">
                  <c:v>5.9769463959509199</c:v>
                </c:pt>
                <c:pt idx="4504">
                  <c:v>5.9809233488784166</c:v>
                </c:pt>
                <c:pt idx="4505">
                  <c:v>5.975999335785894</c:v>
                </c:pt>
                <c:pt idx="4506">
                  <c:v>6.0591537286188926</c:v>
                </c:pt>
                <c:pt idx="4507">
                  <c:v>6.0830724455216707</c:v>
                </c:pt>
                <c:pt idx="4508">
                  <c:v>6.1240832044739015</c:v>
                </c:pt>
                <c:pt idx="4509">
                  <c:v>5.9322312212464583</c:v>
                </c:pt>
                <c:pt idx="4510">
                  <c:v>6.0752421408750097</c:v>
                </c:pt>
                <c:pt idx="4511">
                  <c:v>5.9896142645638966</c:v>
                </c:pt>
                <c:pt idx="4512">
                  <c:v>5.9972960913812994</c:v>
                </c:pt>
                <c:pt idx="4513">
                  <c:v>5.8886840668526323</c:v>
                </c:pt>
                <c:pt idx="4514">
                  <c:v>5.8266013513251345</c:v>
                </c:pt>
                <c:pt idx="4515">
                  <c:v>6.0990420057124597</c:v>
                </c:pt>
                <c:pt idx="4516">
                  <c:v>4.9745591808025171</c:v>
                </c:pt>
                <c:pt idx="4517">
                  <c:v>6.0469427430922176</c:v>
                </c:pt>
                <c:pt idx="4518">
                  <c:v>6.0474178385768562</c:v>
                </c:pt>
                <c:pt idx="4519">
                  <c:v>5.9628973219343369</c:v>
                </c:pt>
                <c:pt idx="4520">
                  <c:v>5.886287722288114</c:v>
                </c:pt>
                <c:pt idx="4521">
                  <c:v>5.7467431741679889</c:v>
                </c:pt>
                <c:pt idx="4522">
                  <c:v>5.8105443952452216</c:v>
                </c:pt>
                <c:pt idx="4523">
                  <c:v>5.9272121798424431</c:v>
                </c:pt>
                <c:pt idx="4524">
                  <c:v>5.8879291396578468</c:v>
                </c:pt>
                <c:pt idx="4525">
                  <c:v>6.042857695947438</c:v>
                </c:pt>
                <c:pt idx="4526">
                  <c:v>5.9846430783226685</c:v>
                </c:pt>
                <c:pt idx="4527">
                  <c:v>6.078838627148893</c:v>
                </c:pt>
                <c:pt idx="4528">
                  <c:v>5.8968726542306777</c:v>
                </c:pt>
                <c:pt idx="4529">
                  <c:v>5.9277183785267091</c:v>
                </c:pt>
                <c:pt idx="4530">
                  <c:v>5.0593030680265576</c:v>
                </c:pt>
                <c:pt idx="4531">
                  <c:v>6.0197545796630241</c:v>
                </c:pt>
                <c:pt idx="4532">
                  <c:v>6.0725961468795058</c:v>
                </c:pt>
                <c:pt idx="4533">
                  <c:v>6.0484303822624037</c:v>
                </c:pt>
                <c:pt idx="4534">
                  <c:v>5.919059293146395</c:v>
                </c:pt>
                <c:pt idx="4535">
                  <c:v>6.1203902386272455</c:v>
                </c:pt>
                <c:pt idx="4536">
                  <c:v>5.9540270915312146</c:v>
                </c:pt>
                <c:pt idx="4537">
                  <c:v>6.1262507841959515</c:v>
                </c:pt>
                <c:pt idx="4538">
                  <c:v>6.1477078067356654</c:v>
                </c:pt>
                <c:pt idx="4539">
                  <c:v>5.8430018812538247</c:v>
                </c:pt>
                <c:pt idx="4540">
                  <c:v>6.0447835061844568</c:v>
                </c:pt>
                <c:pt idx="4541">
                  <c:v>6.0871567469709902</c:v>
                </c:pt>
                <c:pt idx="4542">
                  <c:v>5.0657909389867104</c:v>
                </c:pt>
                <c:pt idx="4543">
                  <c:v>4.9675313859927401</c:v>
                </c:pt>
                <c:pt idx="4544">
                  <c:v>5.0354920789579101</c:v>
                </c:pt>
                <c:pt idx="4545">
                  <c:v>5.8608426339376072</c:v>
                </c:pt>
                <c:pt idx="4546">
                  <c:v>6.1687660141919363</c:v>
                </c:pt>
                <c:pt idx="4547">
                  <c:v>5.0122944575556456</c:v>
                </c:pt>
                <c:pt idx="4548">
                  <c:v>4.9784956419825699</c:v>
                </c:pt>
                <c:pt idx="4549">
                  <c:v>4.8228382424170331</c:v>
                </c:pt>
                <c:pt idx="4550">
                  <c:v>5.17091120574631</c:v>
                </c:pt>
                <c:pt idx="4551">
                  <c:v>6.1539239127293603</c:v>
                </c:pt>
                <c:pt idx="4552">
                  <c:v>7.071544136391001</c:v>
                </c:pt>
                <c:pt idx="4553">
                  <c:v>5.1855723734689532</c:v>
                </c:pt>
                <c:pt idx="4554">
                  <c:v>6.1577412767055604</c:v>
                </c:pt>
                <c:pt idx="4555">
                  <c:v>7.0016020904616365</c:v>
                </c:pt>
                <c:pt idx="4556">
                  <c:v>6.2073324857826773</c:v>
                </c:pt>
                <c:pt idx="4557">
                  <c:v>5.9219128338132325</c:v>
                </c:pt>
                <c:pt idx="4558">
                  <c:v>4.9506564058124001</c:v>
                </c:pt>
                <c:pt idx="4559">
                  <c:v>4.9300904593052239</c:v>
                </c:pt>
                <c:pt idx="4560">
                  <c:v>5.0530872093039445</c:v>
                </c:pt>
                <c:pt idx="4561">
                  <c:v>6.0364544669671831</c:v>
                </c:pt>
                <c:pt idx="4562">
                  <c:v>5.9881516193280113</c:v>
                </c:pt>
                <c:pt idx="4563">
                  <c:v>5.0617046447684286</c:v>
                </c:pt>
                <c:pt idx="4564">
                  <c:v>5.8655945839623254</c:v>
                </c:pt>
                <c:pt idx="4565">
                  <c:v>6.0797720875963641</c:v>
                </c:pt>
                <c:pt idx="4566">
                  <c:v>5.9697013292894114</c:v>
                </c:pt>
                <c:pt idx="4567">
                  <c:v>6.0408457839431202</c:v>
                </c:pt>
                <c:pt idx="4568">
                  <c:v>4.8578616648868813</c:v>
                </c:pt>
                <c:pt idx="4569">
                  <c:v>6.0782173251487501</c:v>
                </c:pt>
                <c:pt idx="4570">
                  <c:v>5.7803740394142826</c:v>
                </c:pt>
                <c:pt idx="4571">
                  <c:v>5.134228843373891</c:v>
                </c:pt>
                <c:pt idx="4572">
                  <c:v>4.9290963968243879</c:v>
                </c:pt>
                <c:pt idx="4573">
                  <c:v>5.221952434560885</c:v>
                </c:pt>
                <c:pt idx="4574">
                  <c:v>5.0108914366190387</c:v>
                </c:pt>
                <c:pt idx="4575">
                  <c:v>5.8418033487499823</c:v>
                </c:pt>
                <c:pt idx="4576">
                  <c:v>4.9331701187177286</c:v>
                </c:pt>
                <c:pt idx="4577">
                  <c:v>6.0440278700690175</c:v>
                </c:pt>
                <c:pt idx="4578">
                  <c:v>5.9042625779060529</c:v>
                </c:pt>
                <c:pt idx="4579">
                  <c:v>6.0743383220116991</c:v>
                </c:pt>
                <c:pt idx="4580">
                  <c:v>6.2589044701603598</c:v>
                </c:pt>
                <c:pt idx="4581">
                  <c:v>5.9716399674200114</c:v>
                </c:pt>
                <c:pt idx="4582">
                  <c:v>4.9324909755743462</c:v>
                </c:pt>
                <c:pt idx="4583">
                  <c:v>6.0445902885011025</c:v>
                </c:pt>
                <c:pt idx="4584">
                  <c:v>4.9767391195633603</c:v>
                </c:pt>
                <c:pt idx="4585">
                  <c:v>6.9965020072465283</c:v>
                </c:pt>
                <c:pt idx="4586">
                  <c:v>4.0847108495557887</c:v>
                </c:pt>
                <c:pt idx="4587">
                  <c:v>5.0278824071075841</c:v>
                </c:pt>
                <c:pt idx="4588">
                  <c:v>6.8925373019249978</c:v>
                </c:pt>
                <c:pt idx="4589">
                  <c:v>5.0393065565035453</c:v>
                </c:pt>
                <c:pt idx="4590">
                  <c:v>4.9968361443081601</c:v>
                </c:pt>
                <c:pt idx="4591">
                  <c:v>4.8352419199226535</c:v>
                </c:pt>
                <c:pt idx="4592">
                  <c:v>4.7999532233501139</c:v>
                </c:pt>
                <c:pt idx="4593">
                  <c:v>4.9927473665088087</c:v>
                </c:pt>
                <c:pt idx="4594">
                  <c:v>5.0354282032125628</c:v>
                </c:pt>
                <c:pt idx="4595">
                  <c:v>4.8914920098288448</c:v>
                </c:pt>
                <c:pt idx="4596">
                  <c:v>5.0362101482834989</c:v>
                </c:pt>
                <c:pt idx="4597">
                  <c:v>5.0773398566854278</c:v>
                </c:pt>
                <c:pt idx="4598">
                  <c:v>4.9398898466649328</c:v>
                </c:pt>
                <c:pt idx="4599">
                  <c:v>6.0181309897640443</c:v>
                </c:pt>
                <c:pt idx="4600">
                  <c:v>5.9690771770957722</c:v>
                </c:pt>
                <c:pt idx="4601">
                  <c:v>6.0634102159640708</c:v>
                </c:pt>
                <c:pt idx="4602">
                  <c:v>3.8281120535220845</c:v>
                </c:pt>
                <c:pt idx="4603">
                  <c:v>5.8282702443756218</c:v>
                </c:pt>
                <c:pt idx="4604">
                  <c:v>5.0199564038371456</c:v>
                </c:pt>
                <c:pt idx="4605">
                  <c:v>5.1691764369507229</c:v>
                </c:pt>
                <c:pt idx="4606">
                  <c:v>5.9928654747266972</c:v>
                </c:pt>
                <c:pt idx="4607">
                  <c:v>5.8746758431497001</c:v>
                </c:pt>
                <c:pt idx="4608">
                  <c:v>5.0793304119615961</c:v>
                </c:pt>
                <c:pt idx="4609">
                  <c:v>5.1237183592559115</c:v>
                </c:pt>
                <c:pt idx="4610">
                  <c:v>6.1280023990113799</c:v>
                </c:pt>
                <c:pt idx="4611">
                  <c:v>4.980121093578024</c:v>
                </c:pt>
                <c:pt idx="4612">
                  <c:v>5.1359763769404267</c:v>
                </c:pt>
                <c:pt idx="4613">
                  <c:v>5.9421002660233802</c:v>
                </c:pt>
                <c:pt idx="4614">
                  <c:v>4.0568202330497041</c:v>
                </c:pt>
                <c:pt idx="4615">
                  <c:v>4.9219049874494889</c:v>
                </c:pt>
                <c:pt idx="4616">
                  <c:v>6.9219899068676627</c:v>
                </c:pt>
                <c:pt idx="4617">
                  <c:v>4.8331351931009969</c:v>
                </c:pt>
                <c:pt idx="4618">
                  <c:v>5.9728077093664327</c:v>
                </c:pt>
                <c:pt idx="4619">
                  <c:v>5.0730273272765745</c:v>
                </c:pt>
                <c:pt idx="4620">
                  <c:v>6.0236869179455219</c:v>
                </c:pt>
                <c:pt idx="4621">
                  <c:v>5.9576154780920989</c:v>
                </c:pt>
                <c:pt idx="4622">
                  <c:v>4.8464307234825919</c:v>
                </c:pt>
                <c:pt idx="4623">
                  <c:v>3.0110575929625925</c:v>
                </c:pt>
                <c:pt idx="4624">
                  <c:v>5.9811174289779583</c:v>
                </c:pt>
                <c:pt idx="4625">
                  <c:v>4.0738400176168348</c:v>
                </c:pt>
                <c:pt idx="4626">
                  <c:v>4.854928344764323</c:v>
                </c:pt>
                <c:pt idx="4627">
                  <c:v>5.9395235392996142</c:v>
                </c:pt>
                <c:pt idx="4628">
                  <c:v>4.9014850426133707</c:v>
                </c:pt>
                <c:pt idx="4629">
                  <c:v>5.9023397088334892</c:v>
                </c:pt>
                <c:pt idx="4630">
                  <c:v>4.8599079497575586</c:v>
                </c:pt>
                <c:pt idx="4631">
                  <c:v>6.9588969874991786</c:v>
                </c:pt>
                <c:pt idx="4632">
                  <c:v>5.8137044025651701</c:v>
                </c:pt>
                <c:pt idx="4633">
                  <c:v>4.9359612637557317</c:v>
                </c:pt>
                <c:pt idx="4634">
                  <c:v>6.2847222764694051</c:v>
                </c:pt>
                <c:pt idx="4635">
                  <c:v>5.0626881218107922</c:v>
                </c:pt>
                <c:pt idx="4636">
                  <c:v>4.9634689959066689</c:v>
                </c:pt>
                <c:pt idx="4637">
                  <c:v>4.936990020073214</c:v>
                </c:pt>
                <c:pt idx="4638">
                  <c:v>5.9955514483111854</c:v>
                </c:pt>
                <c:pt idx="4639">
                  <c:v>5.0074125615470937</c:v>
                </c:pt>
                <c:pt idx="4640">
                  <c:v>6.0010511430357614</c:v>
                </c:pt>
                <c:pt idx="4641">
                  <c:v>5.0889404889736713</c:v>
                </c:pt>
                <c:pt idx="4642">
                  <c:v>6.0593206534830797</c:v>
                </c:pt>
                <c:pt idx="4643">
                  <c:v>4.1645748833277167</c:v>
                </c:pt>
                <c:pt idx="4644">
                  <c:v>5.0909997789237993</c:v>
                </c:pt>
                <c:pt idx="4645">
                  <c:v>6.9880138910765375</c:v>
                </c:pt>
                <c:pt idx="4646">
                  <c:v>4.9886475149356437</c:v>
                </c:pt>
                <c:pt idx="4647">
                  <c:v>6.0535168137853548</c:v>
                </c:pt>
                <c:pt idx="4648">
                  <c:v>4.8478871800368006</c:v>
                </c:pt>
                <c:pt idx="4649">
                  <c:v>6.0982912252267667</c:v>
                </c:pt>
                <c:pt idx="4650">
                  <c:v>4.9928799256021819</c:v>
                </c:pt>
                <c:pt idx="4651">
                  <c:v>5.2245651613534374</c:v>
                </c:pt>
                <c:pt idx="4652">
                  <c:v>5.9102384967185655</c:v>
                </c:pt>
                <c:pt idx="4653">
                  <c:v>5.0223789104958554</c:v>
                </c:pt>
                <c:pt idx="4654">
                  <c:v>6.0179770103728174</c:v>
                </c:pt>
                <c:pt idx="4655">
                  <c:v>5.9482324538323956</c:v>
                </c:pt>
                <c:pt idx="4656">
                  <c:v>5.7221088186205931</c:v>
                </c:pt>
                <c:pt idx="4657">
                  <c:v>4.946169038565964</c:v>
                </c:pt>
                <c:pt idx="4658">
                  <c:v>6.1907812342596671</c:v>
                </c:pt>
                <c:pt idx="4659">
                  <c:v>5.86206287327522</c:v>
                </c:pt>
                <c:pt idx="4660">
                  <c:v>5.8660867406517578</c:v>
                </c:pt>
                <c:pt idx="4661">
                  <c:v>5.0071824052265876</c:v>
                </c:pt>
                <c:pt idx="4662">
                  <c:v>4.9386816694086466</c:v>
                </c:pt>
                <c:pt idx="4663">
                  <c:v>5.9584715519688531</c:v>
                </c:pt>
                <c:pt idx="4664">
                  <c:v>5.1125991154836363</c:v>
                </c:pt>
                <c:pt idx="4665">
                  <c:v>5.0620171906644869</c:v>
                </c:pt>
                <c:pt idx="4666">
                  <c:v>3.8726031027464005</c:v>
                </c:pt>
                <c:pt idx="4667">
                  <c:v>5.0502714614475579</c:v>
                </c:pt>
                <c:pt idx="4668">
                  <c:v>6.0166263464269099</c:v>
                </c:pt>
                <c:pt idx="4669">
                  <c:v>5.00740398222921</c:v>
                </c:pt>
                <c:pt idx="4670">
                  <c:v>5.9413075472996431</c:v>
                </c:pt>
                <c:pt idx="4671">
                  <c:v>5.1975433876780608</c:v>
                </c:pt>
                <c:pt idx="4672">
                  <c:v>4.9294244920811492</c:v>
                </c:pt>
                <c:pt idx="4673">
                  <c:v>5.0067538575047807</c:v>
                </c:pt>
                <c:pt idx="4674">
                  <c:v>5.1105928571888857</c:v>
                </c:pt>
                <c:pt idx="4675">
                  <c:v>4.9227790802864444</c:v>
                </c:pt>
                <c:pt idx="4676">
                  <c:v>5.9837018815140537</c:v>
                </c:pt>
                <c:pt idx="4677">
                  <c:v>5.0303525830906128</c:v>
                </c:pt>
                <c:pt idx="4678">
                  <c:v>3.9727834138912965</c:v>
                </c:pt>
                <c:pt idx="4679">
                  <c:v>5.9242104339880326</c:v>
                </c:pt>
                <c:pt idx="4680">
                  <c:v>6.0105578472990455</c:v>
                </c:pt>
                <c:pt idx="4681">
                  <c:v>5.0492063192211685</c:v>
                </c:pt>
                <c:pt idx="4682">
                  <c:v>5.2038856879952027</c:v>
                </c:pt>
                <c:pt idx="4683">
                  <c:v>5.9605456443695966</c:v>
                </c:pt>
                <c:pt idx="4684">
                  <c:v>4.9428684728245385</c:v>
                </c:pt>
                <c:pt idx="4685">
                  <c:v>3.0811602771966777</c:v>
                </c:pt>
                <c:pt idx="4686">
                  <c:v>6.0351829367525065</c:v>
                </c:pt>
                <c:pt idx="4687">
                  <c:v>6.0136874442667745</c:v>
                </c:pt>
                <c:pt idx="4688">
                  <c:v>6.1429133408066736</c:v>
                </c:pt>
                <c:pt idx="4689">
                  <c:v>5.1674659902726647</c:v>
                </c:pt>
                <c:pt idx="4690">
                  <c:v>4.9158169486236361</c:v>
                </c:pt>
                <c:pt idx="4691">
                  <c:v>4.8999250701619133</c:v>
                </c:pt>
                <c:pt idx="4692">
                  <c:v>4.9534093227008835</c:v>
                </c:pt>
                <c:pt idx="4693">
                  <c:v>5.1071241627696118</c:v>
                </c:pt>
                <c:pt idx="4694">
                  <c:v>5.957720991842006</c:v>
                </c:pt>
                <c:pt idx="4695">
                  <c:v>4.1689103303500268</c:v>
                </c:pt>
                <c:pt idx="4696">
                  <c:v>5.7763883763692929</c:v>
                </c:pt>
                <c:pt idx="4697">
                  <c:v>6.005713730581876</c:v>
                </c:pt>
                <c:pt idx="4698">
                  <c:v>4.8507894248103769</c:v>
                </c:pt>
                <c:pt idx="4699">
                  <c:v>5.9605946573665447</c:v>
                </c:pt>
                <c:pt idx="4700">
                  <c:v>4.9745090588320293</c:v>
                </c:pt>
                <c:pt idx="4701">
                  <c:v>6.9759337085575321</c:v>
                </c:pt>
                <c:pt idx="4702">
                  <c:v>6.0272048168660337</c:v>
                </c:pt>
                <c:pt idx="4703">
                  <c:v>5.0780500683854131</c:v>
                </c:pt>
                <c:pt idx="4704">
                  <c:v>6.1873053487627327</c:v>
                </c:pt>
                <c:pt idx="4705">
                  <c:v>5.208483905370203</c:v>
                </c:pt>
                <c:pt idx="4706">
                  <c:v>5.1403915376455007</c:v>
                </c:pt>
                <c:pt idx="4707">
                  <c:v>5.0058090608652028</c:v>
                </c:pt>
                <c:pt idx="4708">
                  <c:v>4.925937340706926</c:v>
                </c:pt>
                <c:pt idx="4709">
                  <c:v>5.0038093236502101</c:v>
                </c:pt>
                <c:pt idx="4710">
                  <c:v>5.9110881702251676</c:v>
                </c:pt>
                <c:pt idx="4711">
                  <c:v>6.0399095640432208</c:v>
                </c:pt>
                <c:pt idx="4712">
                  <c:v>6.1451389695570686</c:v>
                </c:pt>
                <c:pt idx="4713">
                  <c:v>4.9448249004691123</c:v>
                </c:pt>
                <c:pt idx="4714">
                  <c:v>4.8313390700757992</c:v>
                </c:pt>
                <c:pt idx="4715">
                  <c:v>6.1184682849374141</c:v>
                </c:pt>
                <c:pt idx="4716">
                  <c:v>4.996375700659387</c:v>
                </c:pt>
                <c:pt idx="4717">
                  <c:v>6.047906694808999</c:v>
                </c:pt>
                <c:pt idx="4718">
                  <c:v>6.9925683284645173</c:v>
                </c:pt>
                <c:pt idx="4719">
                  <c:v>5.0969773405965908</c:v>
                </c:pt>
                <c:pt idx="4720">
                  <c:v>6.0064270067018013</c:v>
                </c:pt>
                <c:pt idx="4721">
                  <c:v>2.0475776868443525</c:v>
                </c:pt>
                <c:pt idx="4722">
                  <c:v>4.8396510018065015</c:v>
                </c:pt>
                <c:pt idx="4723">
                  <c:v>4.8740592625883759</c:v>
                </c:pt>
                <c:pt idx="4724">
                  <c:v>5.0290092329852891</c:v>
                </c:pt>
                <c:pt idx="4725">
                  <c:v>5.1615250367175438</c:v>
                </c:pt>
                <c:pt idx="4726">
                  <c:v>5.9916626300226712</c:v>
                </c:pt>
                <c:pt idx="4727">
                  <c:v>4.9707454800195245</c:v>
                </c:pt>
                <c:pt idx="4728">
                  <c:v>6.0089695576348632</c:v>
                </c:pt>
                <c:pt idx="4729">
                  <c:v>4.9806054014602816</c:v>
                </c:pt>
                <c:pt idx="4730">
                  <c:v>4.9558184884529171</c:v>
                </c:pt>
                <c:pt idx="4731">
                  <c:v>5.9056571577269832</c:v>
                </c:pt>
                <c:pt idx="4732">
                  <c:v>6.0108119337735513</c:v>
                </c:pt>
                <c:pt idx="4733">
                  <c:v>5.0155706370113124</c:v>
                </c:pt>
                <c:pt idx="4734">
                  <c:v>4.9947503314879924</c:v>
                </c:pt>
                <c:pt idx="4735">
                  <c:v>5.1289621075152247</c:v>
                </c:pt>
                <c:pt idx="4736">
                  <c:v>4.9533964504686265</c:v>
                </c:pt>
                <c:pt idx="4737">
                  <c:v>6.0462178867833645</c:v>
                </c:pt>
                <c:pt idx="4738">
                  <c:v>5.051507524139792</c:v>
                </c:pt>
                <c:pt idx="4739">
                  <c:v>5.8642773976933738</c:v>
                </c:pt>
                <c:pt idx="4740">
                  <c:v>4.9330773042958347</c:v>
                </c:pt>
                <c:pt idx="4741">
                  <c:v>5.0244158398450525</c:v>
                </c:pt>
                <c:pt idx="4742">
                  <c:v>5.0984287129727477</c:v>
                </c:pt>
                <c:pt idx="4743">
                  <c:v>5.8384210205342315</c:v>
                </c:pt>
                <c:pt idx="4744">
                  <c:v>5.8615906020423481</c:v>
                </c:pt>
                <c:pt idx="4745">
                  <c:v>6.0374410001208663</c:v>
                </c:pt>
                <c:pt idx="4746">
                  <c:v>7.1364037111289838</c:v>
                </c:pt>
                <c:pt idx="4747">
                  <c:v>5.9919810913090412</c:v>
                </c:pt>
                <c:pt idx="4748">
                  <c:v>4.9347636033798778</c:v>
                </c:pt>
                <c:pt idx="4749">
                  <c:v>5.0830996821375392</c:v>
                </c:pt>
                <c:pt idx="4750">
                  <c:v>5.900668594061802</c:v>
                </c:pt>
                <c:pt idx="4751">
                  <c:v>4.8629749816425933</c:v>
                </c:pt>
                <c:pt idx="4752">
                  <c:v>5.9073664105909733</c:v>
                </c:pt>
                <c:pt idx="4753">
                  <c:v>5.8537629302954262</c:v>
                </c:pt>
                <c:pt idx="4754">
                  <c:v>6.8574031011177574</c:v>
                </c:pt>
                <c:pt idx="4755">
                  <c:v>7.092771796918993</c:v>
                </c:pt>
                <c:pt idx="4756">
                  <c:v>6.0495965985140305</c:v>
                </c:pt>
                <c:pt idx="4757">
                  <c:v>4.9008683416815835</c:v>
                </c:pt>
                <c:pt idx="4758">
                  <c:v>4.9598487157606517</c:v>
                </c:pt>
                <c:pt idx="4759">
                  <c:v>3.7861809160641506</c:v>
                </c:pt>
                <c:pt idx="4760">
                  <c:v>6.0256618829814386</c:v>
                </c:pt>
                <c:pt idx="4761">
                  <c:v>5.0644875653213122</c:v>
                </c:pt>
                <c:pt idx="4762">
                  <c:v>6.012229577066754</c:v>
                </c:pt>
                <c:pt idx="4763">
                  <c:v>5.1328074250676421</c:v>
                </c:pt>
                <c:pt idx="4764">
                  <c:v>5.993710458233509</c:v>
                </c:pt>
                <c:pt idx="4765">
                  <c:v>4.8514313468405215</c:v>
                </c:pt>
                <c:pt idx="4766">
                  <c:v>5.0795531544485959</c:v>
                </c:pt>
                <c:pt idx="4767">
                  <c:v>5.0341446680279569</c:v>
                </c:pt>
                <c:pt idx="4768">
                  <c:v>6.0112551174021185</c:v>
                </c:pt>
                <c:pt idx="4769">
                  <c:v>4.0383262059962313</c:v>
                </c:pt>
                <c:pt idx="4770">
                  <c:v>5.0837051383424718</c:v>
                </c:pt>
                <c:pt idx="4771">
                  <c:v>5.0504669423152366</c:v>
                </c:pt>
                <c:pt idx="4772">
                  <c:v>6.0203919433822568</c:v>
                </c:pt>
                <c:pt idx="4773">
                  <c:v>4.8696205840388744</c:v>
                </c:pt>
                <c:pt idx="4774">
                  <c:v>5.0992339149013963</c:v>
                </c:pt>
                <c:pt idx="4775">
                  <c:v>4.9934673103307698</c:v>
                </c:pt>
                <c:pt idx="4776">
                  <c:v>6.1584809304570447</c:v>
                </c:pt>
                <c:pt idx="4777">
                  <c:v>4.0894269516043371</c:v>
                </c:pt>
                <c:pt idx="4778">
                  <c:v>5.7542040723655017</c:v>
                </c:pt>
                <c:pt idx="4779">
                  <c:v>5.0635067294713476</c:v>
                </c:pt>
                <c:pt idx="4780">
                  <c:v>6.1019530721723942</c:v>
                </c:pt>
                <c:pt idx="4781">
                  <c:v>5.0747307473693652</c:v>
                </c:pt>
                <c:pt idx="4782">
                  <c:v>6.1325091321199245</c:v>
                </c:pt>
                <c:pt idx="4783">
                  <c:v>5.035227318218074</c:v>
                </c:pt>
                <c:pt idx="4784">
                  <c:v>5.0357162727225724</c:v>
                </c:pt>
                <c:pt idx="4785">
                  <c:v>5.926202696498617</c:v>
                </c:pt>
                <c:pt idx="4786">
                  <c:v>5.0888707649002889</c:v>
                </c:pt>
                <c:pt idx="4787">
                  <c:v>6.1236918325638259</c:v>
                </c:pt>
                <c:pt idx="4788">
                  <c:v>4.9585743626078012</c:v>
                </c:pt>
                <c:pt idx="4789">
                  <c:v>5.8291905169799154</c:v>
                </c:pt>
                <c:pt idx="4790">
                  <c:v>5.0253042219640411</c:v>
                </c:pt>
                <c:pt idx="4791">
                  <c:v>5.9918087903918824</c:v>
                </c:pt>
                <c:pt idx="4792">
                  <c:v>6.1004807913363912</c:v>
                </c:pt>
                <c:pt idx="4793">
                  <c:v>4.8820337496144397</c:v>
                </c:pt>
                <c:pt idx="4794">
                  <c:v>5.0004818939615987</c:v>
                </c:pt>
                <c:pt idx="4795">
                  <c:v>6.0279798075412323</c:v>
                </c:pt>
                <c:pt idx="4796">
                  <c:v>4.1109272980030758</c:v>
                </c:pt>
                <c:pt idx="4797">
                  <c:v>5.1376517558276262</c:v>
                </c:pt>
                <c:pt idx="4798">
                  <c:v>4.9656861325245503</c:v>
                </c:pt>
                <c:pt idx="4799">
                  <c:v>6.0912765934629176</c:v>
                </c:pt>
                <c:pt idx="4800">
                  <c:v>5.1642615972629144</c:v>
                </c:pt>
                <c:pt idx="4801">
                  <c:v>5.010605236929436</c:v>
                </c:pt>
                <c:pt idx="4802">
                  <c:v>6.8849882585484439</c:v>
                </c:pt>
                <c:pt idx="4803">
                  <c:v>5.0683277954346613</c:v>
                </c:pt>
                <c:pt idx="4804">
                  <c:v>7.0807544300094687</c:v>
                </c:pt>
                <c:pt idx="4805">
                  <c:v>4.9473988727117941</c:v>
                </c:pt>
                <c:pt idx="4806">
                  <c:v>5.8126281835279121</c:v>
                </c:pt>
                <c:pt idx="4807">
                  <c:v>6.0593120034743482</c:v>
                </c:pt>
                <c:pt idx="4808">
                  <c:v>6.0922978649314823</c:v>
                </c:pt>
                <c:pt idx="4809">
                  <c:v>5.9932182020721418</c:v>
                </c:pt>
                <c:pt idx="4810">
                  <c:v>5.8961017114685932</c:v>
                </c:pt>
                <c:pt idx="4811">
                  <c:v>6.0036234149991907</c:v>
                </c:pt>
                <c:pt idx="4812">
                  <c:v>4.8918649980115623</c:v>
                </c:pt>
                <c:pt idx="4813">
                  <c:v>6.1050978726517178</c:v>
                </c:pt>
                <c:pt idx="4814">
                  <c:v>5.8632239855899755</c:v>
                </c:pt>
                <c:pt idx="4815">
                  <c:v>5.9033319678345801</c:v>
                </c:pt>
                <c:pt idx="4816">
                  <c:v>5.9601331027517102</c:v>
                </c:pt>
                <c:pt idx="4817">
                  <c:v>4.9117036655531594</c:v>
                </c:pt>
                <c:pt idx="4818">
                  <c:v>4.9690165154601837</c:v>
                </c:pt>
                <c:pt idx="4819">
                  <c:v>5.0769355722684493</c:v>
                </c:pt>
                <c:pt idx="4820">
                  <c:v>7.0485868540482262</c:v>
                </c:pt>
                <c:pt idx="4821">
                  <c:v>7.0012667835904123</c:v>
                </c:pt>
                <c:pt idx="4822">
                  <c:v>5.1107516391469821</c:v>
                </c:pt>
                <c:pt idx="4823">
                  <c:v>5.04740438577414</c:v>
                </c:pt>
                <c:pt idx="4824">
                  <c:v>5.9310505286108244</c:v>
                </c:pt>
                <c:pt idx="4825">
                  <c:v>4.8688383240798636</c:v>
                </c:pt>
                <c:pt idx="4826">
                  <c:v>5.0054591697999644</c:v>
                </c:pt>
                <c:pt idx="4827">
                  <c:v>6.28325372009588</c:v>
                </c:pt>
                <c:pt idx="4828">
                  <c:v>6.0168807864841733</c:v>
                </c:pt>
                <c:pt idx="4829">
                  <c:v>4.9150170005060989</c:v>
                </c:pt>
                <c:pt idx="4830">
                  <c:v>6.0513444254888089</c:v>
                </c:pt>
                <c:pt idx="4831">
                  <c:v>4.9108347975771114</c:v>
                </c:pt>
                <c:pt idx="4832">
                  <c:v>5.9023781379923292</c:v>
                </c:pt>
                <c:pt idx="4833">
                  <c:v>5.0682401169138283</c:v>
                </c:pt>
                <c:pt idx="4834">
                  <c:v>5.9431380264515896</c:v>
                </c:pt>
                <c:pt idx="4835">
                  <c:v>5.9541327708482887</c:v>
                </c:pt>
                <c:pt idx="4836">
                  <c:v>4.0403295810831494</c:v>
                </c:pt>
                <c:pt idx="4837">
                  <c:v>5.0940779609305471</c:v>
                </c:pt>
                <c:pt idx="4838">
                  <c:v>4.9810082621649689</c:v>
                </c:pt>
                <c:pt idx="4839">
                  <c:v>4.9403917588098594</c:v>
                </c:pt>
                <c:pt idx="4840">
                  <c:v>5.9254167714328823</c:v>
                </c:pt>
                <c:pt idx="4841">
                  <c:v>5.0221656742596705</c:v>
                </c:pt>
                <c:pt idx="4842">
                  <c:v>5.9471181657269643</c:v>
                </c:pt>
                <c:pt idx="4843">
                  <c:v>5.2367064022204994</c:v>
                </c:pt>
                <c:pt idx="4844">
                  <c:v>5.9044433608778757</c:v>
                </c:pt>
                <c:pt idx="4845">
                  <c:v>5.0080030047203987</c:v>
                </c:pt>
                <c:pt idx="4846">
                  <c:v>7.0050933976671201</c:v>
                </c:pt>
                <c:pt idx="4847">
                  <c:v>3.8090424766872872</c:v>
                </c:pt>
                <c:pt idx="4848">
                  <c:v>3.8925906431000445</c:v>
                </c:pt>
                <c:pt idx="4849">
                  <c:v>3.9132672098840127</c:v>
                </c:pt>
                <c:pt idx="4850">
                  <c:v>3.9600078963142744</c:v>
                </c:pt>
                <c:pt idx="4851">
                  <c:v>3.9395082333853799</c:v>
                </c:pt>
                <c:pt idx="4852">
                  <c:v>4.1855695969566034</c:v>
                </c:pt>
                <c:pt idx="4853">
                  <c:v>4.0238897920135184</c:v>
                </c:pt>
                <c:pt idx="4854">
                  <c:v>4.1544836135091243</c:v>
                </c:pt>
                <c:pt idx="4855">
                  <c:v>4.0947245036027704</c:v>
                </c:pt>
                <c:pt idx="4856">
                  <c:v>3.8550364527655527</c:v>
                </c:pt>
                <c:pt idx="4857">
                  <c:v>5.8396633617012217</c:v>
                </c:pt>
                <c:pt idx="4858">
                  <c:v>4.9327396343613303</c:v>
                </c:pt>
                <c:pt idx="4859">
                  <c:v>5.008399117092484</c:v>
                </c:pt>
                <c:pt idx="4860">
                  <c:v>4.9081039637646811</c:v>
                </c:pt>
                <c:pt idx="4861">
                  <c:v>4.8234567092316736</c:v>
                </c:pt>
                <c:pt idx="4862">
                  <c:v>5.8497366048149955</c:v>
                </c:pt>
                <c:pt idx="4863">
                  <c:v>6.001339654508044</c:v>
                </c:pt>
                <c:pt idx="4864">
                  <c:v>5.0370171831695485</c:v>
                </c:pt>
                <c:pt idx="4865">
                  <c:v>4.9002890040985765</c:v>
                </c:pt>
                <c:pt idx="4866">
                  <c:v>4.9105248389943981</c:v>
                </c:pt>
                <c:pt idx="4867">
                  <c:v>5.8857774089816584</c:v>
                </c:pt>
                <c:pt idx="4868">
                  <c:v>7.0460948818630555</c:v>
                </c:pt>
                <c:pt idx="4869">
                  <c:v>4.9098175988800072</c:v>
                </c:pt>
                <c:pt idx="4870">
                  <c:v>4.9491891116039817</c:v>
                </c:pt>
                <c:pt idx="4871">
                  <c:v>5.99276709975803</c:v>
                </c:pt>
                <c:pt idx="4872">
                  <c:v>5.9384142823992025</c:v>
                </c:pt>
                <c:pt idx="4873">
                  <c:v>5.8542995259491697</c:v>
                </c:pt>
                <c:pt idx="4874">
                  <c:v>4.9104007136908274</c:v>
                </c:pt>
                <c:pt idx="4875">
                  <c:v>5.06725413078461</c:v>
                </c:pt>
                <c:pt idx="4876">
                  <c:v>6.1615771142154117</c:v>
                </c:pt>
                <c:pt idx="4877">
                  <c:v>4.9581963758894876</c:v>
                </c:pt>
                <c:pt idx="4878">
                  <c:v>4.8051001117007077</c:v>
                </c:pt>
                <c:pt idx="4879">
                  <c:v>4.6814781603275675</c:v>
                </c:pt>
                <c:pt idx="4880">
                  <c:v>3.9400223252959083</c:v>
                </c:pt>
                <c:pt idx="4881">
                  <c:v>6.0112289369128522</c:v>
                </c:pt>
                <c:pt idx="4882">
                  <c:v>4.9418282779829061</c:v>
                </c:pt>
                <c:pt idx="4883">
                  <c:v>5.924999531479556</c:v>
                </c:pt>
                <c:pt idx="4884">
                  <c:v>4.9562258806367465</c:v>
                </c:pt>
                <c:pt idx="4885">
                  <c:v>4.9297455245148534</c:v>
                </c:pt>
                <c:pt idx="4886">
                  <c:v>4.981233315175138</c:v>
                </c:pt>
                <c:pt idx="4887">
                  <c:v>3.9940940159272791</c:v>
                </c:pt>
                <c:pt idx="4888">
                  <c:v>5.8854029799368046</c:v>
                </c:pt>
                <c:pt idx="4889">
                  <c:v>6.0257172076340151</c:v>
                </c:pt>
                <c:pt idx="4890">
                  <c:v>4.8575668806564662</c:v>
                </c:pt>
                <c:pt idx="4891">
                  <c:v>4.9323326226265118</c:v>
                </c:pt>
                <c:pt idx="4892">
                  <c:v>4.9986312443085268</c:v>
                </c:pt>
                <c:pt idx="4893">
                  <c:v>5.2053249422406473</c:v>
                </c:pt>
                <c:pt idx="4894">
                  <c:v>5.9029036172151956</c:v>
                </c:pt>
                <c:pt idx="4895">
                  <c:v>4.8566413436828437</c:v>
                </c:pt>
                <c:pt idx="4896">
                  <c:v>5.098620213188287</c:v>
                </c:pt>
                <c:pt idx="4897">
                  <c:v>5.0206033545961581</c:v>
                </c:pt>
                <c:pt idx="4898">
                  <c:v>5.1117301155809809</c:v>
                </c:pt>
                <c:pt idx="4899">
                  <c:v>4.8761867520321962</c:v>
                </c:pt>
                <c:pt idx="4900">
                  <c:v>4.8940190605800371</c:v>
                </c:pt>
                <c:pt idx="4901">
                  <c:v>4.9517803624183268</c:v>
                </c:pt>
                <c:pt idx="4902">
                  <c:v>4.9971737917251691</c:v>
                </c:pt>
                <c:pt idx="4903">
                  <c:v>5.775671886986018</c:v>
                </c:pt>
                <c:pt idx="4904">
                  <c:v>5.0274182625618362</c:v>
                </c:pt>
                <c:pt idx="4905">
                  <c:v>5.2409062729559199</c:v>
                </c:pt>
                <c:pt idx="4906">
                  <c:v>7.1203772052773342</c:v>
                </c:pt>
                <c:pt idx="4907">
                  <c:v>7.1618207681544508</c:v>
                </c:pt>
                <c:pt idx="4908">
                  <c:v>5.0890874236356272</c:v>
                </c:pt>
                <c:pt idx="4909">
                  <c:v>5.1359917239546524</c:v>
                </c:pt>
                <c:pt idx="4910">
                  <c:v>6.8776437409297735</c:v>
                </c:pt>
                <c:pt idx="4911">
                  <c:v>5.0026620012758727</c:v>
                </c:pt>
                <c:pt idx="4912">
                  <c:v>6.8501098035981594</c:v>
                </c:pt>
                <c:pt idx="4913">
                  <c:v>6.9825881821777473</c:v>
                </c:pt>
                <c:pt idx="4914">
                  <c:v>4.9961147468467537</c:v>
                </c:pt>
                <c:pt idx="4915">
                  <c:v>5.1360971367484574</c:v>
                </c:pt>
                <c:pt idx="4916">
                  <c:v>7.0021881082186015</c:v>
                </c:pt>
                <c:pt idx="4917">
                  <c:v>7.1239904485459675</c:v>
                </c:pt>
                <c:pt idx="4918">
                  <c:v>5.1867291500258679</c:v>
                </c:pt>
                <c:pt idx="4919">
                  <c:v>7.0846459922260054</c:v>
                </c:pt>
                <c:pt idx="4920">
                  <c:v>6.9733899891254154</c:v>
                </c:pt>
                <c:pt idx="4921">
                  <c:v>7.1069277447918626</c:v>
                </c:pt>
                <c:pt idx="4922">
                  <c:v>4.9544045749616616</c:v>
                </c:pt>
                <c:pt idx="4923">
                  <c:v>6.9746170066564863</c:v>
                </c:pt>
                <c:pt idx="4924">
                  <c:v>4.8744403001346903</c:v>
                </c:pt>
                <c:pt idx="4925">
                  <c:v>7.1923735127019714</c:v>
                </c:pt>
                <c:pt idx="4926">
                  <c:v>4.9132486306401804</c:v>
                </c:pt>
                <c:pt idx="4927">
                  <c:v>5.0129196248476644</c:v>
                </c:pt>
                <c:pt idx="4928">
                  <c:v>5.0578194985364373</c:v>
                </c:pt>
                <c:pt idx="4929">
                  <c:v>7.0167338201798861</c:v>
                </c:pt>
                <c:pt idx="4930">
                  <c:v>6.1051710799684571</c:v>
                </c:pt>
                <c:pt idx="4931">
                  <c:v>5.0726431475399014</c:v>
                </c:pt>
                <c:pt idx="4932">
                  <c:v>6.1070785054559344</c:v>
                </c:pt>
                <c:pt idx="4933">
                  <c:v>6.1342247574966304</c:v>
                </c:pt>
                <c:pt idx="4934">
                  <c:v>6.0304875600014904</c:v>
                </c:pt>
                <c:pt idx="4935">
                  <c:v>5.9714237269532022</c:v>
                </c:pt>
                <c:pt idx="4936">
                  <c:v>5.9911766111256819</c:v>
                </c:pt>
                <c:pt idx="4937">
                  <c:v>6.068484098436806</c:v>
                </c:pt>
                <c:pt idx="4938">
                  <c:v>6.0440052511656139</c:v>
                </c:pt>
                <c:pt idx="4939">
                  <c:v>6.2484127562169967</c:v>
                </c:pt>
                <c:pt idx="4940">
                  <c:v>2.9956115445707994</c:v>
                </c:pt>
                <c:pt idx="4941">
                  <c:v>5.0490530030599023</c:v>
                </c:pt>
                <c:pt idx="4942">
                  <c:v>5.9214368591059605</c:v>
                </c:pt>
                <c:pt idx="4943">
                  <c:v>4.9829211504808564</c:v>
                </c:pt>
                <c:pt idx="4944">
                  <c:v>4.9733764254809643</c:v>
                </c:pt>
                <c:pt idx="4945">
                  <c:v>4.897401769793178</c:v>
                </c:pt>
                <c:pt idx="4946">
                  <c:v>6.0109331246191937</c:v>
                </c:pt>
                <c:pt idx="4947">
                  <c:v>4.9374987409347053</c:v>
                </c:pt>
                <c:pt idx="4948">
                  <c:v>4.8897929063285526</c:v>
                </c:pt>
                <c:pt idx="4949">
                  <c:v>5.9200144867667825</c:v>
                </c:pt>
                <c:pt idx="4950">
                  <c:v>4.9709230853889483</c:v>
                </c:pt>
                <c:pt idx="4951">
                  <c:v>6.0395322145610564</c:v>
                </c:pt>
                <c:pt idx="4952">
                  <c:v>5.947014749341915</c:v>
                </c:pt>
                <c:pt idx="4953">
                  <c:v>6.2108330150961528</c:v>
                </c:pt>
                <c:pt idx="4954">
                  <c:v>3.9363179513313145</c:v>
                </c:pt>
                <c:pt idx="4955">
                  <c:v>6.1521669055326944</c:v>
                </c:pt>
                <c:pt idx="4956">
                  <c:v>4.0556803931193848</c:v>
                </c:pt>
                <c:pt idx="4957">
                  <c:v>6.0331573368889009</c:v>
                </c:pt>
                <c:pt idx="4958">
                  <c:v>6.1096134591035147</c:v>
                </c:pt>
                <c:pt idx="4959">
                  <c:v>6.0520049687075375</c:v>
                </c:pt>
                <c:pt idx="4960">
                  <c:v>5.0602625019116303</c:v>
                </c:pt>
                <c:pt idx="4961">
                  <c:v>5.0449449309169978</c:v>
                </c:pt>
                <c:pt idx="4962">
                  <c:v>6.0783886969793626</c:v>
                </c:pt>
                <c:pt idx="4963">
                  <c:v>5.9480200200516222</c:v>
                </c:pt>
                <c:pt idx="4964">
                  <c:v>5.104176145375356</c:v>
                </c:pt>
                <c:pt idx="4965">
                  <c:v>4.9687570607046334</c:v>
                </c:pt>
                <c:pt idx="4966">
                  <c:v>5.1078203707442249</c:v>
                </c:pt>
                <c:pt idx="4967">
                  <c:v>6.1332995631905005</c:v>
                </c:pt>
                <c:pt idx="4968">
                  <c:v>5.0147712039340924</c:v>
                </c:pt>
                <c:pt idx="4969">
                  <c:v>7.1084734979424882</c:v>
                </c:pt>
                <c:pt idx="4970">
                  <c:v>5.9298224194350402</c:v>
                </c:pt>
                <c:pt idx="4971">
                  <c:v>6.04119553849746</c:v>
                </c:pt>
                <c:pt idx="4972">
                  <c:v>6.2047947795964413</c:v>
                </c:pt>
                <c:pt idx="4973">
                  <c:v>6.0668458325827146</c:v>
                </c:pt>
                <c:pt idx="4974">
                  <c:v>5.0480089822551957</c:v>
                </c:pt>
                <c:pt idx="4975">
                  <c:v>5.0069799528089742</c:v>
                </c:pt>
                <c:pt idx="4976">
                  <c:v>5.9178193222249105</c:v>
                </c:pt>
                <c:pt idx="4977">
                  <c:v>6.0687380368629302</c:v>
                </c:pt>
                <c:pt idx="4978">
                  <c:v>5.0196346800800331</c:v>
                </c:pt>
                <c:pt idx="4979">
                  <c:v>5.949392015025972</c:v>
                </c:pt>
                <c:pt idx="4980">
                  <c:v>6.0742287024083543</c:v>
                </c:pt>
                <c:pt idx="4981">
                  <c:v>6.0198111933180751</c:v>
                </c:pt>
                <c:pt idx="4982">
                  <c:v>4.9385315337034283</c:v>
                </c:pt>
                <c:pt idx="4983">
                  <c:v>6.0012190571661943</c:v>
                </c:pt>
                <c:pt idx="4984">
                  <c:v>5.0660141249195405</c:v>
                </c:pt>
                <c:pt idx="4985">
                  <c:v>6.0466642786930045</c:v>
                </c:pt>
                <c:pt idx="4986">
                  <c:v>5.8081879601445081</c:v>
                </c:pt>
                <c:pt idx="4987">
                  <c:v>5.7938534454397947</c:v>
                </c:pt>
                <c:pt idx="4988">
                  <c:v>6.1028960911498595</c:v>
                </c:pt>
                <c:pt idx="4989">
                  <c:v>5.993373595116636</c:v>
                </c:pt>
                <c:pt idx="4990">
                  <c:v>5.0818514243959072</c:v>
                </c:pt>
                <c:pt idx="4991">
                  <c:v>4.9407883843325529</c:v>
                </c:pt>
                <c:pt idx="4992">
                  <c:v>5.0404661019290504</c:v>
                </c:pt>
                <c:pt idx="4993">
                  <c:v>5.1084198280314439</c:v>
                </c:pt>
                <c:pt idx="4994">
                  <c:v>7.089676982685571</c:v>
                </c:pt>
                <c:pt idx="4995">
                  <c:v>6.1157804501538422</c:v>
                </c:pt>
                <c:pt idx="4996">
                  <c:v>4.9729840491265342</c:v>
                </c:pt>
                <c:pt idx="4997">
                  <c:v>5.134856975456116</c:v>
                </c:pt>
                <c:pt idx="4998">
                  <c:v>6.0119280802206045</c:v>
                </c:pt>
                <c:pt idx="4999">
                  <c:v>5.9910910414379366</c:v>
                </c:pt>
                <c:pt idx="5000">
                  <c:v>4.9545596400861305</c:v>
                </c:pt>
                <c:pt idx="5001">
                  <c:v>5.8651430845996551</c:v>
                </c:pt>
                <c:pt idx="5002">
                  <c:v>5.011249876337768</c:v>
                </c:pt>
                <c:pt idx="5003">
                  <c:v>6.0293446243366597</c:v>
                </c:pt>
                <c:pt idx="5004">
                  <c:v>5.9457184313325433</c:v>
                </c:pt>
                <c:pt idx="5005">
                  <c:v>5.0539993686834679</c:v>
                </c:pt>
                <c:pt idx="5006">
                  <c:v>4.9148020141253923</c:v>
                </c:pt>
                <c:pt idx="5007">
                  <c:v>6.9609395163065866</c:v>
                </c:pt>
                <c:pt idx="5008">
                  <c:v>6.0683318365021313</c:v>
                </c:pt>
                <c:pt idx="5009">
                  <c:v>5.0328386876135385</c:v>
                </c:pt>
                <c:pt idx="5010">
                  <c:v>6.0406635022997515</c:v>
                </c:pt>
                <c:pt idx="5011">
                  <c:v>6.0686979083783612</c:v>
                </c:pt>
                <c:pt idx="5012">
                  <c:v>6.0978993511118276</c:v>
                </c:pt>
                <c:pt idx="5013">
                  <c:v>3.8581762440208278</c:v>
                </c:pt>
                <c:pt idx="5014">
                  <c:v>5.9120115930726493</c:v>
                </c:pt>
                <c:pt idx="5015">
                  <c:v>5.9308429031283074</c:v>
                </c:pt>
                <c:pt idx="5016">
                  <c:v>5.0792510042345649</c:v>
                </c:pt>
                <c:pt idx="5017">
                  <c:v>6.0269228920082432</c:v>
                </c:pt>
                <c:pt idx="5018">
                  <c:v>5.0303823191177708</c:v>
                </c:pt>
                <c:pt idx="5019">
                  <c:v>4.9524370794350334</c:v>
                </c:pt>
                <c:pt idx="5020">
                  <c:v>6.071143199162246</c:v>
                </c:pt>
                <c:pt idx="5021">
                  <c:v>5.0468022959247358</c:v>
                </c:pt>
                <c:pt idx="5022">
                  <c:v>6.1811779681666223</c:v>
                </c:pt>
                <c:pt idx="5023">
                  <c:v>5.8653496159212102</c:v>
                </c:pt>
                <c:pt idx="5024">
                  <c:v>6.1298602470861905</c:v>
                </c:pt>
                <c:pt idx="5025">
                  <c:v>5.9850013650620912</c:v>
                </c:pt>
                <c:pt idx="5026">
                  <c:v>4.8465764400374791</c:v>
                </c:pt>
                <c:pt idx="5027">
                  <c:v>5.9946633144354973</c:v>
                </c:pt>
                <c:pt idx="5028">
                  <c:v>6.0960435182371846</c:v>
                </c:pt>
                <c:pt idx="5029">
                  <c:v>5.9648964344176099</c:v>
                </c:pt>
                <c:pt idx="5030">
                  <c:v>6.1116378857966982</c:v>
                </c:pt>
                <c:pt idx="5031">
                  <c:v>5.7070466395653714</c:v>
                </c:pt>
                <c:pt idx="5032">
                  <c:v>5.0199486436171279</c:v>
                </c:pt>
                <c:pt idx="5033">
                  <c:v>6.0786226353268278</c:v>
                </c:pt>
                <c:pt idx="5034">
                  <c:v>4.009445693148578</c:v>
                </c:pt>
                <c:pt idx="5035">
                  <c:v>5.9587795546441003</c:v>
                </c:pt>
                <c:pt idx="5036">
                  <c:v>5.9926271602356573</c:v>
                </c:pt>
                <c:pt idx="5037">
                  <c:v>6.0055593097644051</c:v>
                </c:pt>
                <c:pt idx="5038">
                  <c:v>6.2457191284954838</c:v>
                </c:pt>
                <c:pt idx="5039">
                  <c:v>5.922775525645136</c:v>
                </c:pt>
                <c:pt idx="5040">
                  <c:v>6.029530543759428</c:v>
                </c:pt>
                <c:pt idx="5041">
                  <c:v>5.0353378471504575</c:v>
                </c:pt>
                <c:pt idx="5042">
                  <c:v>5.9767835657256203</c:v>
                </c:pt>
                <c:pt idx="5043">
                  <c:v>5.9687695921866153</c:v>
                </c:pt>
                <c:pt idx="5044">
                  <c:v>5.9586945790745149</c:v>
                </c:pt>
                <c:pt idx="5045">
                  <c:v>5.0254555914876082</c:v>
                </c:pt>
                <c:pt idx="5046">
                  <c:v>5.7995000735265085</c:v>
                </c:pt>
                <c:pt idx="5047">
                  <c:v>5.9671937138107385</c:v>
                </c:pt>
                <c:pt idx="5048">
                  <c:v>5.9448547825255025</c:v>
                </c:pt>
                <c:pt idx="5049">
                  <c:v>4.9743068558988623</c:v>
                </c:pt>
                <c:pt idx="5050">
                  <c:v>6.066651614989345</c:v>
                </c:pt>
                <c:pt idx="5051">
                  <c:v>6.2610251606965415</c:v>
                </c:pt>
                <c:pt idx="5052">
                  <c:v>5.9403433391045457</c:v>
                </c:pt>
                <c:pt idx="5053">
                  <c:v>5.9155208078203811</c:v>
                </c:pt>
                <c:pt idx="5054">
                  <c:v>5.0462245729909201</c:v>
                </c:pt>
                <c:pt idx="5055">
                  <c:v>6.0123482450790959</c:v>
                </c:pt>
                <c:pt idx="5056">
                  <c:v>6.1946960969361182</c:v>
                </c:pt>
                <c:pt idx="5057">
                  <c:v>5.9730915289890234</c:v>
                </c:pt>
                <c:pt idx="5058">
                  <c:v>5.1150625101268945</c:v>
                </c:pt>
                <c:pt idx="5059">
                  <c:v>7.1754260668771961</c:v>
                </c:pt>
                <c:pt idx="5060">
                  <c:v>6.1068579299054218</c:v>
                </c:pt>
                <c:pt idx="5061">
                  <c:v>6.0216116697679158</c:v>
                </c:pt>
                <c:pt idx="5062">
                  <c:v>4.9005411630220541</c:v>
                </c:pt>
                <c:pt idx="5063">
                  <c:v>6.0334805543666032</c:v>
                </c:pt>
                <c:pt idx="5064">
                  <c:v>5.0938395637805867</c:v>
                </c:pt>
                <c:pt idx="5065">
                  <c:v>6.1112638698907045</c:v>
                </c:pt>
                <c:pt idx="5066">
                  <c:v>4.9996037305463528</c:v>
                </c:pt>
                <c:pt idx="5067">
                  <c:v>6.0088612974706264</c:v>
                </c:pt>
                <c:pt idx="5068">
                  <c:v>4.9947612645633352</c:v>
                </c:pt>
                <c:pt idx="5069">
                  <c:v>5.0334258579452653</c:v>
                </c:pt>
                <c:pt idx="5070">
                  <c:v>5.0317866196551462</c:v>
                </c:pt>
                <c:pt idx="5071">
                  <c:v>6.0341280056389053</c:v>
                </c:pt>
                <c:pt idx="5072">
                  <c:v>5.782085709291902</c:v>
                </c:pt>
                <c:pt idx="5073">
                  <c:v>6.0380662051118517</c:v>
                </c:pt>
                <c:pt idx="5074">
                  <c:v>5.9017333770187363</c:v>
                </c:pt>
                <c:pt idx="5075">
                  <c:v>4.7898342506174068</c:v>
                </c:pt>
                <c:pt idx="5076">
                  <c:v>4.9269076348188428</c:v>
                </c:pt>
                <c:pt idx="5077">
                  <c:v>6.9914972096573651</c:v>
                </c:pt>
                <c:pt idx="5078">
                  <c:v>5.0703580237584243</c:v>
                </c:pt>
                <c:pt idx="5079">
                  <c:v>5.1292516040849723</c:v>
                </c:pt>
                <c:pt idx="5080">
                  <c:v>4.8931463077257726</c:v>
                </c:pt>
                <c:pt idx="5081">
                  <c:v>5.0818820922180343</c:v>
                </c:pt>
                <c:pt idx="5082">
                  <c:v>6.1042319836226859</c:v>
                </c:pt>
                <c:pt idx="5083">
                  <c:v>6.0199152458218368</c:v>
                </c:pt>
                <c:pt idx="5084">
                  <c:v>4.826656477689192</c:v>
                </c:pt>
                <c:pt idx="5085">
                  <c:v>6.066430630762575</c:v>
                </c:pt>
                <c:pt idx="5086">
                  <c:v>5.0549607683646585</c:v>
                </c:pt>
                <c:pt idx="5087">
                  <c:v>4.9733892749220061</c:v>
                </c:pt>
                <c:pt idx="5088">
                  <c:v>6.1117537063086322</c:v>
                </c:pt>
                <c:pt idx="5089">
                  <c:v>4.9472201249815333</c:v>
                </c:pt>
                <c:pt idx="5090">
                  <c:v>5.0460753986650797</c:v>
                </c:pt>
                <c:pt idx="5091">
                  <c:v>5.0239507649505892</c:v>
                </c:pt>
                <c:pt idx="5092">
                  <c:v>6.0274999741101247</c:v>
                </c:pt>
                <c:pt idx="5093">
                  <c:v>6.1300299513877334</c:v>
                </c:pt>
                <c:pt idx="5094">
                  <c:v>5.0412891553466554</c:v>
                </c:pt>
                <c:pt idx="5095">
                  <c:v>6.0170324833944857</c:v>
                </c:pt>
                <c:pt idx="5096">
                  <c:v>5.9939003122523369</c:v>
                </c:pt>
                <c:pt idx="5097">
                  <c:v>7.0038650806501082</c:v>
                </c:pt>
                <c:pt idx="5098">
                  <c:v>5.8632789037366502</c:v>
                </c:pt>
                <c:pt idx="5099">
                  <c:v>5.9917140309642267</c:v>
                </c:pt>
                <c:pt idx="5100">
                  <c:v>5.0473478290165072</c:v>
                </c:pt>
                <c:pt idx="5101">
                  <c:v>6.0162140464903375</c:v>
                </c:pt>
                <c:pt idx="5102">
                  <c:v>6.0933354576975551</c:v>
                </c:pt>
                <c:pt idx="5103">
                  <c:v>4.9466471957646236</c:v>
                </c:pt>
                <c:pt idx="5104">
                  <c:v>6.0465112260220586</c:v>
                </c:pt>
                <c:pt idx="5105">
                  <c:v>5.9079277538397061</c:v>
                </c:pt>
                <c:pt idx="5106">
                  <c:v>3.9538270615622149</c:v>
                </c:pt>
                <c:pt idx="5107">
                  <c:v>5.9896402068368753</c:v>
                </c:pt>
                <c:pt idx="5108">
                  <c:v>5.9387109424058302</c:v>
                </c:pt>
                <c:pt idx="5109">
                  <c:v>5.85248117319082</c:v>
                </c:pt>
                <c:pt idx="5110">
                  <c:v>6.1527771022023749</c:v>
                </c:pt>
                <c:pt idx="5111">
                  <c:v>4.8801254268958401</c:v>
                </c:pt>
                <c:pt idx="5112">
                  <c:v>5.0200356159610529</c:v>
                </c:pt>
                <c:pt idx="5113">
                  <c:v>5.0581672189762816</c:v>
                </c:pt>
                <c:pt idx="5114">
                  <c:v>4.8687698729552613</c:v>
                </c:pt>
                <c:pt idx="5115">
                  <c:v>5.999787971862216</c:v>
                </c:pt>
                <c:pt idx="5116">
                  <c:v>5.9160466342968299</c:v>
                </c:pt>
                <c:pt idx="5117">
                  <c:v>4.7989531038114208</c:v>
                </c:pt>
                <c:pt idx="5118">
                  <c:v>6.0926435833180976</c:v>
                </c:pt>
                <c:pt idx="5119">
                  <c:v>4.9012023563519449</c:v>
                </c:pt>
                <c:pt idx="5120">
                  <c:v>5.8204219973444404</c:v>
                </c:pt>
                <c:pt idx="5121">
                  <c:v>4.9347872419895626</c:v>
                </c:pt>
                <c:pt idx="5122">
                  <c:v>4.8896076492874823</c:v>
                </c:pt>
                <c:pt idx="5123">
                  <c:v>6.006675992768332</c:v>
                </c:pt>
                <c:pt idx="5124">
                  <c:v>4.9369853246413911</c:v>
                </c:pt>
                <c:pt idx="5125">
                  <c:v>6.1718535451091876</c:v>
                </c:pt>
                <c:pt idx="5126">
                  <c:v>6.0757232062572664</c:v>
                </c:pt>
                <c:pt idx="5127">
                  <c:v>4.9228744779434495</c:v>
                </c:pt>
                <c:pt idx="5128">
                  <c:v>6.0277164892246935</c:v>
                </c:pt>
                <c:pt idx="5129">
                  <c:v>5.664308165974016</c:v>
                </c:pt>
                <c:pt idx="5130">
                  <c:v>5.9989362063205451</c:v>
                </c:pt>
                <c:pt idx="5131">
                  <c:v>5.8866111097588014</c:v>
                </c:pt>
                <c:pt idx="5132">
                  <c:v>5.9239664206985587</c:v>
                </c:pt>
                <c:pt idx="5133">
                  <c:v>5.9857735410680064</c:v>
                </c:pt>
                <c:pt idx="5134">
                  <c:v>6.0766917644952576</c:v>
                </c:pt>
                <c:pt idx="5135">
                  <c:v>6.8779320562401089</c:v>
                </c:pt>
                <c:pt idx="5136">
                  <c:v>6.0176334056244478</c:v>
                </c:pt>
                <c:pt idx="5137">
                  <c:v>4.9496323403470051</c:v>
                </c:pt>
                <c:pt idx="5138">
                  <c:v>5.9917926065346885</c:v>
                </c:pt>
                <c:pt idx="5139">
                  <c:v>5.9808122991383845</c:v>
                </c:pt>
                <c:pt idx="5140">
                  <c:v>6.0618480531901477</c:v>
                </c:pt>
                <c:pt idx="5141">
                  <c:v>6.239614251351731</c:v>
                </c:pt>
                <c:pt idx="5142">
                  <c:v>6.0134738867071631</c:v>
                </c:pt>
                <c:pt idx="5143">
                  <c:v>5.9903057897638288</c:v>
                </c:pt>
                <c:pt idx="5144">
                  <c:v>4.8571185814301909</c:v>
                </c:pt>
                <c:pt idx="5145">
                  <c:v>5.0602466201798659</c:v>
                </c:pt>
                <c:pt idx="5146">
                  <c:v>4.9291872161706554</c:v>
                </c:pt>
                <c:pt idx="5147">
                  <c:v>5.8902391176643283</c:v>
                </c:pt>
                <c:pt idx="5148">
                  <c:v>6.0848336253282636</c:v>
                </c:pt>
                <c:pt idx="5149">
                  <c:v>5.8999962530216656</c:v>
                </c:pt>
                <c:pt idx="5150">
                  <c:v>5.1230218998664547</c:v>
                </c:pt>
                <c:pt idx="5151">
                  <c:v>4.8956096339504844</c:v>
                </c:pt>
                <c:pt idx="5152">
                  <c:v>4.8672026121898524</c:v>
                </c:pt>
                <c:pt idx="5153">
                  <c:v>4.9132623765095742</c:v>
                </c:pt>
                <c:pt idx="5154">
                  <c:v>4.9584299658109225</c:v>
                </c:pt>
                <c:pt idx="5155">
                  <c:v>7.130795089282028</c:v>
                </c:pt>
                <c:pt idx="5156">
                  <c:v>5.8641807635881777</c:v>
                </c:pt>
                <c:pt idx="5157">
                  <c:v>7.1996113907797126</c:v>
                </c:pt>
                <c:pt idx="5158">
                  <c:v>6.0675442958716488</c:v>
                </c:pt>
                <c:pt idx="5159">
                  <c:v>4.8687530976572555</c:v>
                </c:pt>
                <c:pt idx="5160">
                  <c:v>5.0139161644279868</c:v>
                </c:pt>
                <c:pt idx="5161">
                  <c:v>7.1740097067463111</c:v>
                </c:pt>
                <c:pt idx="5162">
                  <c:v>5.8964871062099924</c:v>
                </c:pt>
                <c:pt idx="5163">
                  <c:v>5.9635854364075129</c:v>
                </c:pt>
                <c:pt idx="5164">
                  <c:v>5.9704150224467831</c:v>
                </c:pt>
                <c:pt idx="5165">
                  <c:v>5.1275015061909857</c:v>
                </c:pt>
                <c:pt idx="5166">
                  <c:v>5.9200326283155409</c:v>
                </c:pt>
                <c:pt idx="5167">
                  <c:v>5.0904006174463809</c:v>
                </c:pt>
                <c:pt idx="5168">
                  <c:v>5.0792353909760672</c:v>
                </c:pt>
                <c:pt idx="5169">
                  <c:v>5.9052558722250366</c:v>
                </c:pt>
                <c:pt idx="5170">
                  <c:v>6.0136956363715255</c:v>
                </c:pt>
                <c:pt idx="5171">
                  <c:v>6.0158106209435029</c:v>
                </c:pt>
                <c:pt idx="5172">
                  <c:v>4.973098919683677</c:v>
                </c:pt>
                <c:pt idx="5173">
                  <c:v>5.9114213061052707</c:v>
                </c:pt>
                <c:pt idx="5174">
                  <c:v>5.9440970855963284</c:v>
                </c:pt>
                <c:pt idx="5175">
                  <c:v>6.0349728196214389</c:v>
                </c:pt>
                <c:pt idx="5176">
                  <c:v>4.773845939079493</c:v>
                </c:pt>
                <c:pt idx="5177">
                  <c:v>5.0782429069832755</c:v>
                </c:pt>
                <c:pt idx="5178">
                  <c:v>7.1084116294002051</c:v>
                </c:pt>
                <c:pt idx="5179">
                  <c:v>6.0144316333672192</c:v>
                </c:pt>
                <c:pt idx="5180">
                  <c:v>5.880127585446794</c:v>
                </c:pt>
                <c:pt idx="5181">
                  <c:v>5.9766414053443517</c:v>
                </c:pt>
                <c:pt idx="5182">
                  <c:v>5.1481591340517419</c:v>
                </c:pt>
                <c:pt idx="5183">
                  <c:v>6.0348372674140451</c:v>
                </c:pt>
                <c:pt idx="5184">
                  <c:v>5.0587720693623668</c:v>
                </c:pt>
                <c:pt idx="5185">
                  <c:v>7.0463654103104201</c:v>
                </c:pt>
                <c:pt idx="5186">
                  <c:v>4.9335906739981699</c:v>
                </c:pt>
                <c:pt idx="5187">
                  <c:v>5.0937700239776564</c:v>
                </c:pt>
                <c:pt idx="5188">
                  <c:v>6.138180588132867</c:v>
                </c:pt>
                <c:pt idx="5189">
                  <c:v>6.0536367704915399</c:v>
                </c:pt>
                <c:pt idx="5190">
                  <c:v>5.0743062368042242</c:v>
                </c:pt>
                <c:pt idx="5191">
                  <c:v>5.7854911666910951</c:v>
                </c:pt>
                <c:pt idx="5192">
                  <c:v>5.9702884334705448</c:v>
                </c:pt>
                <c:pt idx="5193">
                  <c:v>6.0777189127895808</c:v>
                </c:pt>
                <c:pt idx="5194">
                  <c:v>4.0030294768847279</c:v>
                </c:pt>
                <c:pt idx="5195">
                  <c:v>5.0405785345729672</c:v>
                </c:pt>
                <c:pt idx="5196">
                  <c:v>4.947903662529904</c:v>
                </c:pt>
                <c:pt idx="5197">
                  <c:v>4.9130170070084178</c:v>
                </c:pt>
                <c:pt idx="5198">
                  <c:v>5.8947950314331514</c:v>
                </c:pt>
                <c:pt idx="5199">
                  <c:v>3.9380231014281724</c:v>
                </c:pt>
                <c:pt idx="5200">
                  <c:v>6.0603231202367596</c:v>
                </c:pt>
                <c:pt idx="5201">
                  <c:v>5.9234444459539679</c:v>
                </c:pt>
                <c:pt idx="5202">
                  <c:v>6.2970891259816328</c:v>
                </c:pt>
                <c:pt idx="5203">
                  <c:v>5.9388066202076661</c:v>
                </c:pt>
                <c:pt idx="5204">
                  <c:v>4.9388787106923457</c:v>
                </c:pt>
                <c:pt idx="5205">
                  <c:v>6.9342120765196924</c:v>
                </c:pt>
                <c:pt idx="5206">
                  <c:v>6.8287678241424734</c:v>
                </c:pt>
                <c:pt idx="5207">
                  <c:v>4.8729735209632938</c:v>
                </c:pt>
                <c:pt idx="5208">
                  <c:v>4.9227006546062491</c:v>
                </c:pt>
                <c:pt idx="5209">
                  <c:v>5.8318952028412152</c:v>
                </c:pt>
                <c:pt idx="5210">
                  <c:v>5.1301549607690227</c:v>
                </c:pt>
                <c:pt idx="5211">
                  <c:v>7.0914720928345423</c:v>
                </c:pt>
                <c:pt idx="5212">
                  <c:v>4.8370558974651274</c:v>
                </c:pt>
                <c:pt idx="5213">
                  <c:v>4.7477949236548538</c:v>
                </c:pt>
                <c:pt idx="5214">
                  <c:v>6.0719312492804542</c:v>
                </c:pt>
                <c:pt idx="5215">
                  <c:v>4.9862639172644787</c:v>
                </c:pt>
                <c:pt idx="5216">
                  <c:v>5.1517605266049387</c:v>
                </c:pt>
                <c:pt idx="5217">
                  <c:v>5.0625443591390047</c:v>
                </c:pt>
                <c:pt idx="5218">
                  <c:v>5.8589751611836238</c:v>
                </c:pt>
                <c:pt idx="5219">
                  <c:v>5.075707500149047</c:v>
                </c:pt>
                <c:pt idx="5220">
                  <c:v>5.9857411362610016</c:v>
                </c:pt>
                <c:pt idx="5221">
                  <c:v>5.0371369504301038</c:v>
                </c:pt>
                <c:pt idx="5222">
                  <c:v>6.2700115484357068</c:v>
                </c:pt>
                <c:pt idx="5223">
                  <c:v>5.9751024982147412</c:v>
                </c:pt>
                <c:pt idx="5224">
                  <c:v>5.9177390668868428</c:v>
                </c:pt>
                <c:pt idx="5225">
                  <c:v>4.9365143073001247</c:v>
                </c:pt>
                <c:pt idx="5226">
                  <c:v>3.8892702827380257</c:v>
                </c:pt>
                <c:pt idx="5227">
                  <c:v>5.0379013641784853</c:v>
                </c:pt>
                <c:pt idx="5228">
                  <c:v>4.8491301567015981</c:v>
                </c:pt>
                <c:pt idx="5229">
                  <c:v>7.0181827642634955</c:v>
                </c:pt>
                <c:pt idx="5230">
                  <c:v>5.8419430468054232</c:v>
                </c:pt>
                <c:pt idx="5231">
                  <c:v>6.0113222294631905</c:v>
                </c:pt>
                <c:pt idx="5232">
                  <c:v>5.9316522946597843</c:v>
                </c:pt>
                <c:pt idx="5233">
                  <c:v>4.9371900304106671</c:v>
                </c:pt>
                <c:pt idx="5234">
                  <c:v>4.9517437181291086</c:v>
                </c:pt>
                <c:pt idx="5235">
                  <c:v>6.8165998253512647</c:v>
                </c:pt>
                <c:pt idx="5236">
                  <c:v>5.8764986807469439</c:v>
                </c:pt>
                <c:pt idx="5237">
                  <c:v>5.0955313116468597</c:v>
                </c:pt>
                <c:pt idx="5238">
                  <c:v>4.0325038335422452</c:v>
                </c:pt>
                <c:pt idx="5239">
                  <c:v>5.9741467885034671</c:v>
                </c:pt>
                <c:pt idx="5240">
                  <c:v>4.820336681760188</c:v>
                </c:pt>
                <c:pt idx="5241">
                  <c:v>4.9692670772465446</c:v>
                </c:pt>
                <c:pt idx="5242">
                  <c:v>6.0828842402079477</c:v>
                </c:pt>
                <c:pt idx="5243">
                  <c:v>5.9431129049066476</c:v>
                </c:pt>
                <c:pt idx="5244">
                  <c:v>4.9478682031875083</c:v>
                </c:pt>
                <c:pt idx="5245">
                  <c:v>5.9875843342228601</c:v>
                </c:pt>
                <c:pt idx="5246">
                  <c:v>4.8380043203735852</c:v>
                </c:pt>
                <c:pt idx="5247">
                  <c:v>5.9353962346664524</c:v>
                </c:pt>
                <c:pt idx="5248">
                  <c:v>6.218913777489627</c:v>
                </c:pt>
                <c:pt idx="5249">
                  <c:v>4.9345986883722102</c:v>
                </c:pt>
                <c:pt idx="5250">
                  <c:v>6.1240646135835854</c:v>
                </c:pt>
                <c:pt idx="5251">
                  <c:v>7.042229608891013</c:v>
                </c:pt>
                <c:pt idx="5252">
                  <c:v>7.0008674930015706</c:v>
                </c:pt>
                <c:pt idx="5253">
                  <c:v>5.047447323546618</c:v>
                </c:pt>
                <c:pt idx="5254">
                  <c:v>4.9681001343189282</c:v>
                </c:pt>
                <c:pt idx="5255">
                  <c:v>6.9526674449822172</c:v>
                </c:pt>
                <c:pt idx="5256">
                  <c:v>5.7379902486278</c:v>
                </c:pt>
                <c:pt idx="5257">
                  <c:v>5.9962288801225716</c:v>
                </c:pt>
                <c:pt idx="5258">
                  <c:v>6.0323188386361659</c:v>
                </c:pt>
                <c:pt idx="5259">
                  <c:v>5.9186621059773454</c:v>
                </c:pt>
                <c:pt idx="5260">
                  <c:v>4.9148875595481876</c:v>
                </c:pt>
                <c:pt idx="5261">
                  <c:v>6.0194385254936043</c:v>
                </c:pt>
                <c:pt idx="5262">
                  <c:v>6.0285772762216698</c:v>
                </c:pt>
                <c:pt idx="5263">
                  <c:v>5.9798013096923919</c:v>
                </c:pt>
                <c:pt idx="5264">
                  <c:v>5.8156633073068207</c:v>
                </c:pt>
                <c:pt idx="5265">
                  <c:v>6.0065607457527488</c:v>
                </c:pt>
                <c:pt idx="5266">
                  <c:v>5.9959071485411641</c:v>
                </c:pt>
                <c:pt idx="5267">
                  <c:v>5.9985430576723395</c:v>
                </c:pt>
                <c:pt idx="5268">
                  <c:v>5.1173934853310437</c:v>
                </c:pt>
                <c:pt idx="5269">
                  <c:v>5.9249299039117922</c:v>
                </c:pt>
                <c:pt idx="5270">
                  <c:v>6.0439348171396494</c:v>
                </c:pt>
                <c:pt idx="5271">
                  <c:v>6.0258771133824203</c:v>
                </c:pt>
                <c:pt idx="5272">
                  <c:v>5.8895666784202136</c:v>
                </c:pt>
                <c:pt idx="5273">
                  <c:v>6.1088533166340904</c:v>
                </c:pt>
                <c:pt idx="5274">
                  <c:v>5.964337926174343</c:v>
                </c:pt>
                <c:pt idx="5275">
                  <c:v>6.9428298388517806</c:v>
                </c:pt>
                <c:pt idx="5276">
                  <c:v>5.0315391844030897</c:v>
                </c:pt>
                <c:pt idx="5277">
                  <c:v>4.8541252016955507</c:v>
                </c:pt>
                <c:pt idx="5278">
                  <c:v>5.8410835861028527</c:v>
                </c:pt>
                <c:pt idx="5279">
                  <c:v>5.8566046086370225</c:v>
                </c:pt>
                <c:pt idx="5280">
                  <c:v>5.1806883605131446</c:v>
                </c:pt>
                <c:pt idx="5281">
                  <c:v>6.0771954110583568</c:v>
                </c:pt>
                <c:pt idx="5282">
                  <c:v>5.0490977240680666</c:v>
                </c:pt>
                <c:pt idx="5283">
                  <c:v>4.9485142376711533</c:v>
                </c:pt>
                <c:pt idx="5284">
                  <c:v>3.949410526180174</c:v>
                </c:pt>
                <c:pt idx="5285">
                  <c:v>6.1094834011966999</c:v>
                </c:pt>
                <c:pt idx="5286">
                  <c:v>3.856612665488298</c:v>
                </c:pt>
                <c:pt idx="5287">
                  <c:v>5.0977555404269825</c:v>
                </c:pt>
                <c:pt idx="5288">
                  <c:v>5.8153765814496072</c:v>
                </c:pt>
                <c:pt idx="5289">
                  <c:v>4.8281448692005178</c:v>
                </c:pt>
                <c:pt idx="5290">
                  <c:v>6.9615634197140448</c:v>
                </c:pt>
                <c:pt idx="5291">
                  <c:v>4.9461831062472497</c:v>
                </c:pt>
                <c:pt idx="5292">
                  <c:v>4.8891523060889162</c:v>
                </c:pt>
                <c:pt idx="5293">
                  <c:v>5.0992469560163114</c:v>
                </c:pt>
                <c:pt idx="5294">
                  <c:v>4.9651272082521025</c:v>
                </c:pt>
                <c:pt idx="5295">
                  <c:v>5.8721203771357571</c:v>
                </c:pt>
                <c:pt idx="5296">
                  <c:v>4.8480627932121036</c:v>
                </c:pt>
                <c:pt idx="5297">
                  <c:v>6.0770748420084075</c:v>
                </c:pt>
                <c:pt idx="5298">
                  <c:v>6.8678147501605631</c:v>
                </c:pt>
                <c:pt idx="5299">
                  <c:v>6.2365673973886846</c:v>
                </c:pt>
                <c:pt idx="5300">
                  <c:v>6.097263166897628</c:v>
                </c:pt>
                <c:pt idx="5301">
                  <c:v>6.7128353520690291</c:v>
                </c:pt>
                <c:pt idx="5302">
                  <c:v>4.9965692530939245</c:v>
                </c:pt>
                <c:pt idx="5303">
                  <c:v>5.8783181553111685</c:v>
                </c:pt>
                <c:pt idx="5304">
                  <c:v>4.8282912640252915</c:v>
                </c:pt>
                <c:pt idx="5305">
                  <c:v>6.0126040102497207</c:v>
                </c:pt>
                <c:pt idx="5306">
                  <c:v>4.9491172005829789</c:v>
                </c:pt>
                <c:pt idx="5307">
                  <c:v>4.9563283125475142</c:v>
                </c:pt>
                <c:pt idx="5308">
                  <c:v>4.1725134141157394</c:v>
                </c:pt>
                <c:pt idx="5309">
                  <c:v>6.2288420913936564</c:v>
                </c:pt>
                <c:pt idx="5310">
                  <c:v>5.0477045824546432</c:v>
                </c:pt>
                <c:pt idx="5311">
                  <c:v>5.9105169272189979</c:v>
                </c:pt>
                <c:pt idx="5312">
                  <c:v>5.9768743948338949</c:v>
                </c:pt>
                <c:pt idx="5313">
                  <c:v>5.0729373821745467</c:v>
                </c:pt>
                <c:pt idx="5314">
                  <c:v>5.0657717316976134</c:v>
                </c:pt>
                <c:pt idx="5315">
                  <c:v>5.1413172895173949</c:v>
                </c:pt>
                <c:pt idx="5316">
                  <c:v>5.9094726975424248</c:v>
                </c:pt>
                <c:pt idx="5317">
                  <c:v>4.9318942577078611</c:v>
                </c:pt>
                <c:pt idx="5318">
                  <c:v>6.9545696227781519</c:v>
                </c:pt>
                <c:pt idx="5319">
                  <c:v>6.1405406985815789</c:v>
                </c:pt>
                <c:pt idx="5320">
                  <c:v>6.9199412110665177</c:v>
                </c:pt>
                <c:pt idx="5321">
                  <c:v>7.0213145892053994</c:v>
                </c:pt>
                <c:pt idx="5322">
                  <c:v>6.8879164145677247</c:v>
                </c:pt>
                <c:pt idx="5323">
                  <c:v>5.0090408745390134</c:v>
                </c:pt>
                <c:pt idx="5324">
                  <c:v>5.8505564896286213</c:v>
                </c:pt>
                <c:pt idx="5325">
                  <c:v>5.9885655975067875</c:v>
                </c:pt>
                <c:pt idx="5326">
                  <c:v>5.0007436131276588</c:v>
                </c:pt>
                <c:pt idx="5327">
                  <c:v>6.1650654377136691</c:v>
                </c:pt>
                <c:pt idx="5328">
                  <c:v>5.9614303841907148</c:v>
                </c:pt>
                <c:pt idx="5329">
                  <c:v>6.0888010610565333</c:v>
                </c:pt>
                <c:pt idx="5330">
                  <c:v>5.0221046675568735</c:v>
                </c:pt>
                <c:pt idx="5331">
                  <c:v>5.95619512488478</c:v>
                </c:pt>
                <c:pt idx="5332">
                  <c:v>5.9013187672926239</c:v>
                </c:pt>
                <c:pt idx="5333">
                  <c:v>5.867949752646747</c:v>
                </c:pt>
                <c:pt idx="5334">
                  <c:v>7.016411705981155</c:v>
                </c:pt>
                <c:pt idx="5335">
                  <c:v>6.3001182254213983</c:v>
                </c:pt>
                <c:pt idx="5336">
                  <c:v>5.8844425816874244</c:v>
                </c:pt>
                <c:pt idx="5337">
                  <c:v>5.0330582625823403</c:v>
                </c:pt>
                <c:pt idx="5338">
                  <c:v>7.0546116747822296</c:v>
                </c:pt>
                <c:pt idx="5339">
                  <c:v>6.0163484006126104</c:v>
                </c:pt>
                <c:pt idx="5340">
                  <c:v>4.9714123389785376</c:v>
                </c:pt>
                <c:pt idx="5341">
                  <c:v>5.055751812468503</c:v>
                </c:pt>
                <c:pt idx="5342">
                  <c:v>5.0069153438085685</c:v>
                </c:pt>
                <c:pt idx="5343">
                  <c:v>4.9560710835074691</c:v>
                </c:pt>
                <c:pt idx="5344">
                  <c:v>5.836499203523088</c:v>
                </c:pt>
                <c:pt idx="5345">
                  <c:v>5.064960880024473</c:v>
                </c:pt>
                <c:pt idx="5346">
                  <c:v>6.1331699533819224</c:v>
                </c:pt>
                <c:pt idx="5347">
                  <c:v>7.0581975164629984</c:v>
                </c:pt>
                <c:pt idx="5348">
                  <c:v>4.7911123766151613</c:v>
                </c:pt>
                <c:pt idx="5349">
                  <c:v>4.9168662334686148</c:v>
                </c:pt>
                <c:pt idx="5350">
                  <c:v>6.0340704033340149</c:v>
                </c:pt>
                <c:pt idx="5351">
                  <c:v>5.8929438045983122</c:v>
                </c:pt>
                <c:pt idx="5352">
                  <c:v>6.0383588594026723</c:v>
                </c:pt>
                <c:pt idx="5353">
                  <c:v>5.035192287588492</c:v>
                </c:pt>
                <c:pt idx="5354">
                  <c:v>4.991672592660386</c:v>
                </c:pt>
                <c:pt idx="5355">
                  <c:v>5.1156115111984173</c:v>
                </c:pt>
                <c:pt idx="5356">
                  <c:v>5.1605430865737425</c:v>
                </c:pt>
                <c:pt idx="5357">
                  <c:v>5.9180732475537177</c:v>
                </c:pt>
                <c:pt idx="5358">
                  <c:v>4.9955981289833131</c:v>
                </c:pt>
                <c:pt idx="5359">
                  <c:v>5.9662919027216379</c:v>
                </c:pt>
                <c:pt idx="5360">
                  <c:v>5.9636488212716943</c:v>
                </c:pt>
                <c:pt idx="5361">
                  <c:v>5.8540166467345278</c:v>
                </c:pt>
                <c:pt idx="5362">
                  <c:v>5.0116451159002837</c:v>
                </c:pt>
                <c:pt idx="5363">
                  <c:v>4.8813847120096376</c:v>
                </c:pt>
                <c:pt idx="5364">
                  <c:v>5.8481891101906589</c:v>
                </c:pt>
                <c:pt idx="5365">
                  <c:v>5.1864232819198302</c:v>
                </c:pt>
                <c:pt idx="5366">
                  <c:v>5.8917017089091477</c:v>
                </c:pt>
                <c:pt idx="5367">
                  <c:v>4.9875985283371067</c:v>
                </c:pt>
                <c:pt idx="5368">
                  <c:v>6.1835267613854201</c:v>
                </c:pt>
                <c:pt idx="5369">
                  <c:v>4.9450231809816678</c:v>
                </c:pt>
                <c:pt idx="5370">
                  <c:v>5.0474475307113265</c:v>
                </c:pt>
                <c:pt idx="5371">
                  <c:v>4.9855270293773666</c:v>
                </c:pt>
                <c:pt idx="5372">
                  <c:v>6.0103145347673239</c:v>
                </c:pt>
                <c:pt idx="5373">
                  <c:v>6.1306844428321812</c:v>
                </c:pt>
                <c:pt idx="5374">
                  <c:v>5.9377617096283553</c:v>
                </c:pt>
                <c:pt idx="5375">
                  <c:v>6.9336784881254765</c:v>
                </c:pt>
                <c:pt idx="5376">
                  <c:v>4.8543486504310289</c:v>
                </c:pt>
                <c:pt idx="5377">
                  <c:v>5.9745048318994476</c:v>
                </c:pt>
                <c:pt idx="5378">
                  <c:v>7.0843942484691729</c:v>
                </c:pt>
                <c:pt idx="5379">
                  <c:v>6.1138406867561077</c:v>
                </c:pt>
                <c:pt idx="5380">
                  <c:v>5.9321577165039496</c:v>
                </c:pt>
                <c:pt idx="5381">
                  <c:v>4.8901667399504376</c:v>
                </c:pt>
                <c:pt idx="5382">
                  <c:v>6.197984066048047</c:v>
                </c:pt>
                <c:pt idx="5383">
                  <c:v>6.0707346895007213</c:v>
                </c:pt>
                <c:pt idx="5384">
                  <c:v>6.1567074692034716</c:v>
                </c:pt>
                <c:pt idx="5385">
                  <c:v>6.0690642527614083</c:v>
                </c:pt>
                <c:pt idx="5386">
                  <c:v>6.2410486448122455</c:v>
                </c:pt>
                <c:pt idx="5387">
                  <c:v>5.9083003300716044</c:v>
                </c:pt>
                <c:pt idx="5388">
                  <c:v>4.9422560444275883</c:v>
                </c:pt>
                <c:pt idx="5389">
                  <c:v>4.9985475688279424</c:v>
                </c:pt>
                <c:pt idx="5390">
                  <c:v>5.0529402288456859</c:v>
                </c:pt>
                <c:pt idx="5391">
                  <c:v>6.083120600456601</c:v>
                </c:pt>
                <c:pt idx="5392">
                  <c:v>5.0686904314678047</c:v>
                </c:pt>
                <c:pt idx="5393">
                  <c:v>4.865473906579294</c:v>
                </c:pt>
                <c:pt idx="5394">
                  <c:v>6.1105433512768483</c:v>
                </c:pt>
                <c:pt idx="5395">
                  <c:v>5.7546325020666105</c:v>
                </c:pt>
                <c:pt idx="5396">
                  <c:v>6.0812679789206543</c:v>
                </c:pt>
                <c:pt idx="5397">
                  <c:v>5.983416379340162</c:v>
                </c:pt>
                <c:pt idx="5398">
                  <c:v>7.0269723144374501</c:v>
                </c:pt>
                <c:pt idx="5399">
                  <c:v>6.1197088502872541</c:v>
                </c:pt>
                <c:pt idx="5400">
                  <c:v>6.1737358667792028</c:v>
                </c:pt>
                <c:pt idx="5401">
                  <c:v>5.9045141743959828</c:v>
                </c:pt>
                <c:pt idx="5402">
                  <c:v>6.0659657350687324</c:v>
                </c:pt>
                <c:pt idx="5403">
                  <c:v>6.0149489075175762</c:v>
                </c:pt>
                <c:pt idx="5404">
                  <c:v>5.1208186528118738</c:v>
                </c:pt>
                <c:pt idx="5405">
                  <c:v>4.9815584265090447</c:v>
                </c:pt>
                <c:pt idx="5406">
                  <c:v>4.9863656314685443</c:v>
                </c:pt>
                <c:pt idx="5407">
                  <c:v>6.0966201306939789</c:v>
                </c:pt>
                <c:pt idx="5408">
                  <c:v>6.146936063348071</c:v>
                </c:pt>
                <c:pt idx="5409">
                  <c:v>6.0491144479605623</c:v>
                </c:pt>
                <c:pt idx="5410">
                  <c:v>6.1598366109444287</c:v>
                </c:pt>
                <c:pt idx="5411">
                  <c:v>4.9275698454986454</c:v>
                </c:pt>
                <c:pt idx="5412">
                  <c:v>6.0242586190481386</c:v>
                </c:pt>
                <c:pt idx="5413">
                  <c:v>6.0479383644996592</c:v>
                </c:pt>
                <c:pt idx="5414">
                  <c:v>5.985837725334842</c:v>
                </c:pt>
                <c:pt idx="5415">
                  <c:v>5.8562424091221885</c:v>
                </c:pt>
                <c:pt idx="5416">
                  <c:v>5.8305101245773807</c:v>
                </c:pt>
                <c:pt idx="5417">
                  <c:v>4.9981667294287071</c:v>
                </c:pt>
                <c:pt idx="5418">
                  <c:v>5.9797079149978511</c:v>
                </c:pt>
                <c:pt idx="5419">
                  <c:v>5.0595787076360601</c:v>
                </c:pt>
                <c:pt idx="5420">
                  <c:v>5.8849118230028612</c:v>
                </c:pt>
                <c:pt idx="5421">
                  <c:v>5.973557866136689</c:v>
                </c:pt>
                <c:pt idx="5422">
                  <c:v>6.0819651209454726</c:v>
                </c:pt>
                <c:pt idx="5423">
                  <c:v>6.026084479735041</c:v>
                </c:pt>
                <c:pt idx="5424">
                  <c:v>5.8396079573970416</c:v>
                </c:pt>
                <c:pt idx="5425">
                  <c:v>6.0693024991320739</c:v>
                </c:pt>
                <c:pt idx="5426">
                  <c:v>6.1749820856232418</c:v>
                </c:pt>
                <c:pt idx="5427">
                  <c:v>5.9992145578033336</c:v>
                </c:pt>
                <c:pt idx="5428">
                  <c:v>4.0210223347819234</c:v>
                </c:pt>
                <c:pt idx="5429">
                  <c:v>6.0281044027185766</c:v>
                </c:pt>
                <c:pt idx="5430">
                  <c:v>5.029319323094195</c:v>
                </c:pt>
                <c:pt idx="5431">
                  <c:v>5.9089447677373679</c:v>
                </c:pt>
                <c:pt idx="5432">
                  <c:v>6.8390882789395304</c:v>
                </c:pt>
                <c:pt idx="5433">
                  <c:v>5.92893139699044</c:v>
                </c:pt>
                <c:pt idx="5434">
                  <c:v>6.1674851872218017</c:v>
                </c:pt>
                <c:pt idx="5435">
                  <c:v>5.9070646749915863</c:v>
                </c:pt>
                <c:pt idx="5436">
                  <c:v>5.8773419010973873</c:v>
                </c:pt>
                <c:pt idx="5437">
                  <c:v>5.0321646375368232</c:v>
                </c:pt>
                <c:pt idx="5438">
                  <c:v>4.9117696393870593</c:v>
                </c:pt>
                <c:pt idx="5439">
                  <c:v>6.0698773608175864</c:v>
                </c:pt>
                <c:pt idx="5440">
                  <c:v>5.8573570610011787</c:v>
                </c:pt>
                <c:pt idx="5441">
                  <c:v>5.1657287220231565</c:v>
                </c:pt>
                <c:pt idx="5442">
                  <c:v>4.9584856937519222</c:v>
                </c:pt>
                <c:pt idx="5443">
                  <c:v>5.9700002070321831</c:v>
                </c:pt>
                <c:pt idx="5444">
                  <c:v>6.0873884475257238</c:v>
                </c:pt>
                <c:pt idx="5445">
                  <c:v>4.9541402851891458</c:v>
                </c:pt>
                <c:pt idx="5446">
                  <c:v>6.1109262819548364</c:v>
                </c:pt>
                <c:pt idx="5447">
                  <c:v>4.8647157045714646</c:v>
                </c:pt>
                <c:pt idx="5448">
                  <c:v>6.110748312349453</c:v>
                </c:pt>
                <c:pt idx="5449">
                  <c:v>6.0151377926626397</c:v>
                </c:pt>
                <c:pt idx="5450">
                  <c:v>4.9851215961858744</c:v>
                </c:pt>
                <c:pt idx="5451">
                  <c:v>6.067563182708926</c:v>
                </c:pt>
                <c:pt idx="5452">
                  <c:v>4.9752549009829989</c:v>
                </c:pt>
                <c:pt idx="5453">
                  <c:v>4.8977213088430203</c:v>
                </c:pt>
                <c:pt idx="5454">
                  <c:v>6.095914537334103</c:v>
                </c:pt>
                <c:pt idx="5455">
                  <c:v>4.9322168434090665</c:v>
                </c:pt>
                <c:pt idx="5456">
                  <c:v>5.9376019272185347</c:v>
                </c:pt>
                <c:pt idx="5457">
                  <c:v>6.0383223719023658</c:v>
                </c:pt>
                <c:pt idx="5458">
                  <c:v>5.8231605381482794</c:v>
                </c:pt>
                <c:pt idx="5459">
                  <c:v>5.937356374154044</c:v>
                </c:pt>
                <c:pt idx="5460">
                  <c:v>6.0469688760969706</c:v>
                </c:pt>
                <c:pt idx="5461">
                  <c:v>6.1509453053986034</c:v>
                </c:pt>
                <c:pt idx="5462">
                  <c:v>4.9676683936490411</c:v>
                </c:pt>
                <c:pt idx="5463">
                  <c:v>6.0089378437918199</c:v>
                </c:pt>
                <c:pt idx="5464">
                  <c:v>6.0597063381939682</c:v>
                </c:pt>
                <c:pt idx="5465">
                  <c:v>6.0479718878118289</c:v>
                </c:pt>
                <c:pt idx="5466">
                  <c:v>6.1113260366305404</c:v>
                </c:pt>
                <c:pt idx="5467">
                  <c:v>4.7481359355011348</c:v>
                </c:pt>
                <c:pt idx="5468">
                  <c:v>5.9897393588975616</c:v>
                </c:pt>
                <c:pt idx="5469">
                  <c:v>4.8965214281307876</c:v>
                </c:pt>
                <c:pt idx="5470">
                  <c:v>6.0900706610961137</c:v>
                </c:pt>
                <c:pt idx="5471">
                  <c:v>6.0552166679233723</c:v>
                </c:pt>
                <c:pt idx="5472">
                  <c:v>6.0332942394574998</c:v>
                </c:pt>
                <c:pt idx="5473">
                  <c:v>6.1060176972008806</c:v>
                </c:pt>
                <c:pt idx="5474">
                  <c:v>5.9718137913967899</c:v>
                </c:pt>
                <c:pt idx="5475">
                  <c:v>5.8661754544618168</c:v>
                </c:pt>
                <c:pt idx="5476">
                  <c:v>5.9875799383350703</c:v>
                </c:pt>
                <c:pt idx="5477">
                  <c:v>4.9483951991706183</c:v>
                </c:pt>
                <c:pt idx="5478">
                  <c:v>5.8410159012996443</c:v>
                </c:pt>
                <c:pt idx="5479">
                  <c:v>5.9773622053655329</c:v>
                </c:pt>
                <c:pt idx="5480">
                  <c:v>6.0268862127514424</c:v>
                </c:pt>
                <c:pt idx="5481">
                  <c:v>5.9931139909770765</c:v>
                </c:pt>
                <c:pt idx="5482">
                  <c:v>5.9760892809477459</c:v>
                </c:pt>
                <c:pt idx="5483">
                  <c:v>4.9247554322065179</c:v>
                </c:pt>
                <c:pt idx="5484">
                  <c:v>6.1061395493101065</c:v>
                </c:pt>
                <c:pt idx="5485">
                  <c:v>6.0116317986366026</c:v>
                </c:pt>
                <c:pt idx="5486">
                  <c:v>6.0830262838543891</c:v>
                </c:pt>
                <c:pt idx="5487">
                  <c:v>5.9184260026743178</c:v>
                </c:pt>
                <c:pt idx="5488">
                  <c:v>5.024028983842987</c:v>
                </c:pt>
                <c:pt idx="5489">
                  <c:v>5.9395479180400068</c:v>
                </c:pt>
                <c:pt idx="5490">
                  <c:v>6.1028302212514323</c:v>
                </c:pt>
                <c:pt idx="5491">
                  <c:v>6.0646760408150309</c:v>
                </c:pt>
                <c:pt idx="5492">
                  <c:v>6.028787655712474</c:v>
                </c:pt>
                <c:pt idx="5493">
                  <c:v>6.1132266924416827</c:v>
                </c:pt>
                <c:pt idx="5494">
                  <c:v>5.9450438615635424</c:v>
                </c:pt>
                <c:pt idx="5495">
                  <c:v>6.1494464361109333</c:v>
                </c:pt>
                <c:pt idx="5496">
                  <c:v>4.9127393225901876</c:v>
                </c:pt>
                <c:pt idx="5497">
                  <c:v>6.0775395539417749</c:v>
                </c:pt>
                <c:pt idx="5498">
                  <c:v>6.1026398483614006</c:v>
                </c:pt>
                <c:pt idx="5499">
                  <c:v>5.0805501863851079</c:v>
                </c:pt>
                <c:pt idx="5500">
                  <c:v>5.0605438465101544</c:v>
                </c:pt>
                <c:pt idx="5501">
                  <c:v>6.017708040040624</c:v>
                </c:pt>
                <c:pt idx="5502">
                  <c:v>6.1700722295591524</c:v>
                </c:pt>
                <c:pt idx="5503">
                  <c:v>5.1010839124379919</c:v>
                </c:pt>
                <c:pt idx="5504">
                  <c:v>6.0240416718655299</c:v>
                </c:pt>
                <c:pt idx="5505">
                  <c:v>4.8923834060261235</c:v>
                </c:pt>
                <c:pt idx="5506">
                  <c:v>4.9101624231448397</c:v>
                </c:pt>
                <c:pt idx="5507">
                  <c:v>5.8946827063704621</c:v>
                </c:pt>
                <c:pt idx="5508">
                  <c:v>6.1519770458758725</c:v>
                </c:pt>
                <c:pt idx="5509">
                  <c:v>6.1618457222612895</c:v>
                </c:pt>
                <c:pt idx="5510">
                  <c:v>5.0227504835077958</c:v>
                </c:pt>
                <c:pt idx="5511">
                  <c:v>5.1492077937066085</c:v>
                </c:pt>
                <c:pt idx="5512">
                  <c:v>5.8912278603952926</c:v>
                </c:pt>
                <c:pt idx="5513">
                  <c:v>5.0035950744940045</c:v>
                </c:pt>
                <c:pt idx="5514">
                  <c:v>5.9516419453612031</c:v>
                </c:pt>
                <c:pt idx="5515">
                  <c:v>5.9634776376679701</c:v>
                </c:pt>
                <c:pt idx="5516">
                  <c:v>6.0616543234033697</c:v>
                </c:pt>
                <c:pt idx="5517">
                  <c:v>6.0437683602465588</c:v>
                </c:pt>
                <c:pt idx="5518">
                  <c:v>5.9293920556318298</c:v>
                </c:pt>
                <c:pt idx="5519">
                  <c:v>5.8830285686256483</c:v>
                </c:pt>
                <c:pt idx="5520">
                  <c:v>5.0485486592824316</c:v>
                </c:pt>
                <c:pt idx="5521">
                  <c:v>6.0326479475387442</c:v>
                </c:pt>
                <c:pt idx="5522">
                  <c:v>6.1497670420261432</c:v>
                </c:pt>
                <c:pt idx="5523">
                  <c:v>6.2068201901051312</c:v>
                </c:pt>
                <c:pt idx="5524">
                  <c:v>6.0139009180014549</c:v>
                </c:pt>
                <c:pt idx="5525">
                  <c:v>5.8786785915800257</c:v>
                </c:pt>
                <c:pt idx="5526">
                  <c:v>4.9197975781458032</c:v>
                </c:pt>
                <c:pt idx="5527">
                  <c:v>5.0883031173702369</c:v>
                </c:pt>
                <c:pt idx="5528">
                  <c:v>5.9873526674113657</c:v>
                </c:pt>
                <c:pt idx="5529">
                  <c:v>6.1039803715873866</c:v>
                </c:pt>
                <c:pt idx="5530">
                  <c:v>5.1078437534877734</c:v>
                </c:pt>
                <c:pt idx="5531">
                  <c:v>5.9478960135098218</c:v>
                </c:pt>
                <c:pt idx="5532">
                  <c:v>5.9519463099001948</c:v>
                </c:pt>
                <c:pt idx="5533">
                  <c:v>6.0441752839202794</c:v>
                </c:pt>
                <c:pt idx="5534">
                  <c:v>4.9736071366133032</c:v>
                </c:pt>
                <c:pt idx="5535">
                  <c:v>5.9838992935093938</c:v>
                </c:pt>
                <c:pt idx="5536">
                  <c:v>5.0137483283879325</c:v>
                </c:pt>
                <c:pt idx="5537">
                  <c:v>4.9350815906498946</c:v>
                </c:pt>
                <c:pt idx="5538">
                  <c:v>6.0489761159104578</c:v>
                </c:pt>
                <c:pt idx="5539">
                  <c:v>5.853155735973071</c:v>
                </c:pt>
                <c:pt idx="5540">
                  <c:v>5.9105106703183488</c:v>
                </c:pt>
                <c:pt idx="5541">
                  <c:v>6.0040139218115298</c:v>
                </c:pt>
                <c:pt idx="5542">
                  <c:v>5.973309076509616</c:v>
                </c:pt>
                <c:pt idx="5543">
                  <c:v>5.9552014119177255</c:v>
                </c:pt>
                <c:pt idx="5544">
                  <c:v>6.0886230442168365</c:v>
                </c:pt>
                <c:pt idx="5545">
                  <c:v>5.9456222098267553</c:v>
                </c:pt>
                <c:pt idx="5546">
                  <c:v>4.7538752451241466</c:v>
                </c:pt>
                <c:pt idx="5547">
                  <c:v>5.0134165936420603</c:v>
                </c:pt>
                <c:pt idx="5548">
                  <c:v>5.0686931200219254</c:v>
                </c:pt>
                <c:pt idx="5549">
                  <c:v>6.8575696575373764</c:v>
                </c:pt>
                <c:pt idx="5550">
                  <c:v>6.0622296498225658</c:v>
                </c:pt>
                <c:pt idx="5551">
                  <c:v>4.9023909062843281</c:v>
                </c:pt>
                <c:pt idx="5552">
                  <c:v>6.1401741444404161</c:v>
                </c:pt>
                <c:pt idx="5553">
                  <c:v>6.1248925457643839</c:v>
                </c:pt>
                <c:pt idx="5554">
                  <c:v>5.8459361759228701</c:v>
                </c:pt>
                <c:pt idx="5555">
                  <c:v>5.1097095321861827</c:v>
                </c:pt>
                <c:pt idx="5556">
                  <c:v>7.1292678647545014</c:v>
                </c:pt>
                <c:pt idx="5557">
                  <c:v>5.9478846995045584</c:v>
                </c:pt>
                <c:pt idx="5558">
                  <c:v>5.8311256683597374</c:v>
                </c:pt>
                <c:pt idx="5559">
                  <c:v>4.8625983511605213</c:v>
                </c:pt>
                <c:pt idx="5560">
                  <c:v>5.9749336498405636</c:v>
                </c:pt>
                <c:pt idx="5561">
                  <c:v>7.0328222797708841</c:v>
                </c:pt>
                <c:pt idx="5562">
                  <c:v>5.0557443455852171</c:v>
                </c:pt>
                <c:pt idx="5563">
                  <c:v>4.9629859884599306</c:v>
                </c:pt>
                <c:pt idx="5564">
                  <c:v>6.8834312495455352</c:v>
                </c:pt>
                <c:pt idx="5565">
                  <c:v>4.9244566758709025</c:v>
                </c:pt>
                <c:pt idx="5566">
                  <c:v>5.0119215548537239</c:v>
                </c:pt>
                <c:pt idx="5567">
                  <c:v>4.9672696791449962</c:v>
                </c:pt>
                <c:pt idx="5568">
                  <c:v>4.9027273856792251</c:v>
                </c:pt>
                <c:pt idx="5569">
                  <c:v>5.9131354777629115</c:v>
                </c:pt>
                <c:pt idx="5570">
                  <c:v>5.993704146150785</c:v>
                </c:pt>
                <c:pt idx="5571">
                  <c:v>6.0984070022233752</c:v>
                </c:pt>
                <c:pt idx="5572">
                  <c:v>4.0615269329510237</c:v>
                </c:pt>
                <c:pt idx="5573">
                  <c:v>4.892917645686488</c:v>
                </c:pt>
                <c:pt idx="5574">
                  <c:v>5.872179762292868</c:v>
                </c:pt>
                <c:pt idx="5575">
                  <c:v>6.0424021994758537</c:v>
                </c:pt>
                <c:pt idx="5576">
                  <c:v>6.0052121451087048</c:v>
                </c:pt>
                <c:pt idx="5577">
                  <c:v>6.0525741743410926</c:v>
                </c:pt>
                <c:pt idx="5578">
                  <c:v>4.9326175603529601</c:v>
                </c:pt>
                <c:pt idx="5579">
                  <c:v>5.8498500699621419</c:v>
                </c:pt>
                <c:pt idx="5580">
                  <c:v>4.7578490890957879</c:v>
                </c:pt>
                <c:pt idx="5581">
                  <c:v>5.1559802601829885</c:v>
                </c:pt>
                <c:pt idx="5582">
                  <c:v>5.1041695339835158</c:v>
                </c:pt>
                <c:pt idx="5583">
                  <c:v>6.1703890180051095</c:v>
                </c:pt>
                <c:pt idx="5584">
                  <c:v>5.9818362665729641</c:v>
                </c:pt>
                <c:pt idx="5585">
                  <c:v>5.9979448915816826</c:v>
                </c:pt>
                <c:pt idx="5586">
                  <c:v>5.0420572012304179</c:v>
                </c:pt>
                <c:pt idx="5587">
                  <c:v>5.0596113347179354</c:v>
                </c:pt>
                <c:pt idx="5588">
                  <c:v>5.9901606287721609</c:v>
                </c:pt>
                <c:pt idx="5589">
                  <c:v>5.9198231475205851</c:v>
                </c:pt>
                <c:pt idx="5590">
                  <c:v>5.99661482772576</c:v>
                </c:pt>
                <c:pt idx="5591">
                  <c:v>6.0041171788978431</c:v>
                </c:pt>
                <c:pt idx="5592">
                  <c:v>5.9361924280968745</c:v>
                </c:pt>
                <c:pt idx="5593">
                  <c:v>5.0340141728303891</c:v>
                </c:pt>
                <c:pt idx="5594">
                  <c:v>6.102294110831477</c:v>
                </c:pt>
                <c:pt idx="5595">
                  <c:v>5.7899949823314234</c:v>
                </c:pt>
                <c:pt idx="5596">
                  <c:v>5.7222611549298339</c:v>
                </c:pt>
                <c:pt idx="5597">
                  <c:v>6.0164797044829292</c:v>
                </c:pt>
                <c:pt idx="5598">
                  <c:v>5.0458926361966734</c:v>
                </c:pt>
                <c:pt idx="5599">
                  <c:v>6.9794097789236984</c:v>
                </c:pt>
                <c:pt idx="5600">
                  <c:v>4.9043376414129218</c:v>
                </c:pt>
                <c:pt idx="5601">
                  <c:v>5.0203232754239044</c:v>
                </c:pt>
                <c:pt idx="5602">
                  <c:v>4.9223567304842888</c:v>
                </c:pt>
                <c:pt idx="5603">
                  <c:v>6.0654892911436598</c:v>
                </c:pt>
                <c:pt idx="5604">
                  <c:v>6.1254868119578463</c:v>
                </c:pt>
                <c:pt idx="5605">
                  <c:v>5.0070873245670215</c:v>
                </c:pt>
                <c:pt idx="5606">
                  <c:v>5.0245730609640118</c:v>
                </c:pt>
                <c:pt idx="5607">
                  <c:v>5.8894810440015721</c:v>
                </c:pt>
                <c:pt idx="5608">
                  <c:v>4.9523135326596774</c:v>
                </c:pt>
                <c:pt idx="5609">
                  <c:v>6.1185632466559543</c:v>
                </c:pt>
                <c:pt idx="5610">
                  <c:v>4.8025311200520155</c:v>
                </c:pt>
                <c:pt idx="5611">
                  <c:v>5.8492147088432329</c:v>
                </c:pt>
                <c:pt idx="5612">
                  <c:v>6.8963680233148592</c:v>
                </c:pt>
                <c:pt idx="5613">
                  <c:v>5.995184744823769</c:v>
                </c:pt>
                <c:pt idx="5614">
                  <c:v>4.89971070514913</c:v>
                </c:pt>
                <c:pt idx="5615">
                  <c:v>6.162815892619836</c:v>
                </c:pt>
                <c:pt idx="5616">
                  <c:v>6.0900153998787836</c:v>
                </c:pt>
                <c:pt idx="5617">
                  <c:v>6.9615384025868634</c:v>
                </c:pt>
                <c:pt idx="5618">
                  <c:v>7.219078313219522</c:v>
                </c:pt>
                <c:pt idx="5619">
                  <c:v>5.8936541564882656</c:v>
                </c:pt>
                <c:pt idx="5620">
                  <c:v>5.9889055221173262</c:v>
                </c:pt>
                <c:pt idx="5621">
                  <c:v>6.0092250180886282</c:v>
                </c:pt>
                <c:pt idx="5622">
                  <c:v>5.8829398577082239</c:v>
                </c:pt>
                <c:pt idx="5623">
                  <c:v>7.0151933488848481</c:v>
                </c:pt>
                <c:pt idx="5624">
                  <c:v>6.0679804770466284</c:v>
                </c:pt>
                <c:pt idx="5625">
                  <c:v>5.8659515770043926</c:v>
                </c:pt>
                <c:pt idx="5626">
                  <c:v>6.0791602219343215</c:v>
                </c:pt>
                <c:pt idx="5627">
                  <c:v>5.9750316819585549</c:v>
                </c:pt>
                <c:pt idx="5628">
                  <c:v>6.0147635502212085</c:v>
                </c:pt>
                <c:pt idx="5629">
                  <c:v>6.1943433987637615</c:v>
                </c:pt>
                <c:pt idx="5630">
                  <c:v>5.0312158812224057</c:v>
                </c:pt>
                <c:pt idx="5631">
                  <c:v>6.0328751020596627</c:v>
                </c:pt>
                <c:pt idx="5632">
                  <c:v>5.1251499329090802</c:v>
                </c:pt>
                <c:pt idx="5633">
                  <c:v>5.8989221708765873</c:v>
                </c:pt>
                <c:pt idx="5634">
                  <c:v>6.9469199019240886</c:v>
                </c:pt>
                <c:pt idx="5635">
                  <c:v>4.9048990998214022</c:v>
                </c:pt>
                <c:pt idx="5636">
                  <c:v>5.06972730670108</c:v>
                </c:pt>
                <c:pt idx="5637">
                  <c:v>5.84966039631753</c:v>
                </c:pt>
                <c:pt idx="5638">
                  <c:v>5.0422400778664764</c:v>
                </c:pt>
                <c:pt idx="5639">
                  <c:v>3.0175703574209796</c:v>
                </c:pt>
                <c:pt idx="5640">
                  <c:v>5.0026121795344443</c:v>
                </c:pt>
                <c:pt idx="5641">
                  <c:v>5.9200788711064956</c:v>
                </c:pt>
                <c:pt idx="5642">
                  <c:v>5.1531870433899902</c:v>
                </c:pt>
                <c:pt idx="5643">
                  <c:v>5.0617969239956455</c:v>
                </c:pt>
                <c:pt idx="5644">
                  <c:v>5.9917022726768128</c:v>
                </c:pt>
                <c:pt idx="5645">
                  <c:v>5.9499658291173168</c:v>
                </c:pt>
                <c:pt idx="5646">
                  <c:v>5.0107290879045197</c:v>
                </c:pt>
                <c:pt idx="5647">
                  <c:v>6.8640830706757026</c:v>
                </c:pt>
                <c:pt idx="5648">
                  <c:v>4.9885848558884556</c:v>
                </c:pt>
                <c:pt idx="5649">
                  <c:v>6.0217299370350315</c:v>
                </c:pt>
                <c:pt idx="5650">
                  <c:v>5.9705137531587935</c:v>
                </c:pt>
                <c:pt idx="5651">
                  <c:v>4.893715123119077</c:v>
                </c:pt>
                <c:pt idx="5652">
                  <c:v>7.1064289827383957</c:v>
                </c:pt>
                <c:pt idx="5653">
                  <c:v>5.0438969625882093</c:v>
                </c:pt>
                <c:pt idx="5654">
                  <c:v>6.9743070798408091</c:v>
                </c:pt>
                <c:pt idx="5655">
                  <c:v>4.9955500587194415</c:v>
                </c:pt>
                <c:pt idx="5656">
                  <c:v>5.0612670924030878</c:v>
                </c:pt>
                <c:pt idx="5657">
                  <c:v>6.0954710832605628</c:v>
                </c:pt>
                <c:pt idx="5658">
                  <c:v>6.0356007137053362</c:v>
                </c:pt>
                <c:pt idx="5659">
                  <c:v>6.8524452807194951</c:v>
                </c:pt>
                <c:pt idx="5660">
                  <c:v>7.1839254015376701</c:v>
                </c:pt>
                <c:pt idx="5661">
                  <c:v>5.9839173536892325</c:v>
                </c:pt>
                <c:pt idx="5662">
                  <c:v>5.2606687683219624</c:v>
                </c:pt>
                <c:pt idx="5663">
                  <c:v>5.2061785543739472</c:v>
                </c:pt>
                <c:pt idx="5664">
                  <c:v>6.0620599839296476</c:v>
                </c:pt>
                <c:pt idx="5665">
                  <c:v>5.9810435978576066</c:v>
                </c:pt>
                <c:pt idx="5666">
                  <c:v>7.1629915354775431</c:v>
                </c:pt>
                <c:pt idx="5667">
                  <c:v>5.9426519572710115</c:v>
                </c:pt>
                <c:pt idx="5668">
                  <c:v>4.9666205581149301</c:v>
                </c:pt>
                <c:pt idx="5669">
                  <c:v>5.2540758614563208</c:v>
                </c:pt>
                <c:pt idx="5670">
                  <c:v>5.8772318234097272</c:v>
                </c:pt>
                <c:pt idx="5671">
                  <c:v>5.9084005232021832</c:v>
                </c:pt>
                <c:pt idx="5672">
                  <c:v>6.1572897106634308</c:v>
                </c:pt>
                <c:pt idx="5673">
                  <c:v>6.8830341347676596</c:v>
                </c:pt>
                <c:pt idx="5674">
                  <c:v>6.0004323400522193</c:v>
                </c:pt>
                <c:pt idx="5675">
                  <c:v>5.0102661373188058</c:v>
                </c:pt>
                <c:pt idx="5676">
                  <c:v>5.0232184057586169</c:v>
                </c:pt>
                <c:pt idx="5677">
                  <c:v>5.9347542719745991</c:v>
                </c:pt>
                <c:pt idx="5678">
                  <c:v>7.009452975441163</c:v>
                </c:pt>
                <c:pt idx="5679">
                  <c:v>4.891067111203963</c:v>
                </c:pt>
                <c:pt idx="5680">
                  <c:v>6.0598963604989482</c:v>
                </c:pt>
                <c:pt idx="5681">
                  <c:v>6.1203879168370827</c:v>
                </c:pt>
                <c:pt idx="5682">
                  <c:v>6.0012189330366468</c:v>
                </c:pt>
                <c:pt idx="5683">
                  <c:v>5.982554619563782</c:v>
                </c:pt>
                <c:pt idx="5684">
                  <c:v>6.0044336557499918</c:v>
                </c:pt>
                <c:pt idx="5685">
                  <c:v>4.8817204654003161</c:v>
                </c:pt>
                <c:pt idx="5686">
                  <c:v>6.1273487991051629</c:v>
                </c:pt>
                <c:pt idx="5687">
                  <c:v>5.0975507589078264</c:v>
                </c:pt>
                <c:pt idx="5688">
                  <c:v>5.8926478998775833</c:v>
                </c:pt>
                <c:pt idx="5689">
                  <c:v>4.9416685532140949</c:v>
                </c:pt>
                <c:pt idx="5690">
                  <c:v>5.1011201634604495</c:v>
                </c:pt>
                <c:pt idx="5691">
                  <c:v>6.1076212356661808</c:v>
                </c:pt>
                <c:pt idx="5692">
                  <c:v>6.0968239842630796</c:v>
                </c:pt>
                <c:pt idx="5693">
                  <c:v>6.0281583754097259</c:v>
                </c:pt>
                <c:pt idx="5694">
                  <c:v>4.9286155754872105</c:v>
                </c:pt>
                <c:pt idx="5695">
                  <c:v>6.0200706597737286</c:v>
                </c:pt>
                <c:pt idx="5696">
                  <c:v>4.0155007614491804</c:v>
                </c:pt>
                <c:pt idx="5697">
                  <c:v>6.0635443072508517</c:v>
                </c:pt>
                <c:pt idx="5698">
                  <c:v>6.0270107170444422</c:v>
                </c:pt>
                <c:pt idx="5699">
                  <c:v>5.9615189615018593</c:v>
                </c:pt>
                <c:pt idx="5700">
                  <c:v>6.0388107073425044</c:v>
                </c:pt>
                <c:pt idx="5701">
                  <c:v>5.9886733295088561</c:v>
                </c:pt>
                <c:pt idx="5702">
                  <c:v>5.9399486250124438</c:v>
                </c:pt>
                <c:pt idx="5703">
                  <c:v>6.008360295295021</c:v>
                </c:pt>
                <c:pt idx="5704">
                  <c:v>4.9065106360008279</c:v>
                </c:pt>
                <c:pt idx="5705">
                  <c:v>4.9492091689825015</c:v>
                </c:pt>
                <c:pt idx="5706">
                  <c:v>5.8192642073452703</c:v>
                </c:pt>
                <c:pt idx="5707">
                  <c:v>4.9275261111759043</c:v>
                </c:pt>
                <c:pt idx="5708">
                  <c:v>6.0011872460416011</c:v>
                </c:pt>
                <c:pt idx="5709">
                  <c:v>6.0662742410787915</c:v>
                </c:pt>
                <c:pt idx="5710">
                  <c:v>4.9636817141146086</c:v>
                </c:pt>
                <c:pt idx="5711">
                  <c:v>5.8915019210302493</c:v>
                </c:pt>
                <c:pt idx="5712">
                  <c:v>6.0867480507498524</c:v>
                </c:pt>
                <c:pt idx="5713">
                  <c:v>5.0592543405723696</c:v>
                </c:pt>
                <c:pt idx="5714">
                  <c:v>6.042423318155266</c:v>
                </c:pt>
                <c:pt idx="5715">
                  <c:v>5.8869978519636401</c:v>
                </c:pt>
                <c:pt idx="5716">
                  <c:v>5.9898394251994658</c:v>
                </c:pt>
                <c:pt idx="5717">
                  <c:v>5.92140640090257</c:v>
                </c:pt>
                <c:pt idx="5718">
                  <c:v>6.1641728940766534</c:v>
                </c:pt>
                <c:pt idx="5719">
                  <c:v>4.8849363928859768</c:v>
                </c:pt>
                <c:pt idx="5720">
                  <c:v>5.8530849015889821</c:v>
                </c:pt>
                <c:pt idx="5721">
                  <c:v>5.8809163866226948</c:v>
                </c:pt>
                <c:pt idx="5722">
                  <c:v>4.9566764669844172</c:v>
                </c:pt>
                <c:pt idx="5723">
                  <c:v>6.0086730735082625</c:v>
                </c:pt>
                <c:pt idx="5724">
                  <c:v>6.0238612382353063</c:v>
                </c:pt>
                <c:pt idx="5725">
                  <c:v>5.0501546854347099</c:v>
                </c:pt>
                <c:pt idx="5726">
                  <c:v>4.9724413382432404</c:v>
                </c:pt>
                <c:pt idx="5727">
                  <c:v>6.0105348171152642</c:v>
                </c:pt>
                <c:pt idx="5728">
                  <c:v>6.0644785152158009</c:v>
                </c:pt>
                <c:pt idx="5729">
                  <c:v>6.0041802783091622</c:v>
                </c:pt>
                <c:pt idx="5730">
                  <c:v>5.9532938869663807</c:v>
                </c:pt>
                <c:pt idx="5731">
                  <c:v>5.8655962615860329</c:v>
                </c:pt>
                <c:pt idx="5732">
                  <c:v>6.9949716515596565</c:v>
                </c:pt>
                <c:pt idx="5733">
                  <c:v>6.927388602743525</c:v>
                </c:pt>
                <c:pt idx="5734">
                  <c:v>5.1666740685928652</c:v>
                </c:pt>
                <c:pt idx="5735">
                  <c:v>6.2729758511668861</c:v>
                </c:pt>
                <c:pt idx="5736">
                  <c:v>4.9856786470461589</c:v>
                </c:pt>
                <c:pt idx="5737">
                  <c:v>6.0372213889377777</c:v>
                </c:pt>
                <c:pt idx="5738">
                  <c:v>6.1761386181907731</c:v>
                </c:pt>
                <c:pt idx="5739">
                  <c:v>4.9836968506245203</c:v>
                </c:pt>
                <c:pt idx="5740">
                  <c:v>5.0139540153456572</c:v>
                </c:pt>
                <c:pt idx="5741">
                  <c:v>6.0469267618629452</c:v>
                </c:pt>
                <c:pt idx="5742">
                  <c:v>6.1948038737385458</c:v>
                </c:pt>
                <c:pt idx="5743">
                  <c:v>5.9996121854021025</c:v>
                </c:pt>
                <c:pt idx="5744">
                  <c:v>4.9001829268665977</c:v>
                </c:pt>
                <c:pt idx="5745">
                  <c:v>6.1161328310041805</c:v>
                </c:pt>
                <c:pt idx="5746">
                  <c:v>7.2085128009206256</c:v>
                </c:pt>
                <c:pt idx="5747">
                  <c:v>5.9806078884292511</c:v>
                </c:pt>
                <c:pt idx="5748">
                  <c:v>4.9280867963619626</c:v>
                </c:pt>
                <c:pt idx="5749">
                  <c:v>6.8547223303907163</c:v>
                </c:pt>
                <c:pt idx="5750">
                  <c:v>6.1108586408762866</c:v>
                </c:pt>
                <c:pt idx="5751">
                  <c:v>6.2210539306062316</c:v>
                </c:pt>
                <c:pt idx="5752">
                  <c:v>5.9863490842810343</c:v>
                </c:pt>
                <c:pt idx="5753">
                  <c:v>7.0936393176611308</c:v>
                </c:pt>
                <c:pt idx="5754">
                  <c:v>5.850501667451292</c:v>
                </c:pt>
                <c:pt idx="5755">
                  <c:v>6.0394620825123413</c:v>
                </c:pt>
                <c:pt idx="5756">
                  <c:v>4.9834965882636855</c:v>
                </c:pt>
                <c:pt idx="5757">
                  <c:v>5.0493900607464255</c:v>
                </c:pt>
                <c:pt idx="5758">
                  <c:v>6.9197409128662937</c:v>
                </c:pt>
                <c:pt idx="5759">
                  <c:v>4.9880889432431692</c:v>
                </c:pt>
                <c:pt idx="5760">
                  <c:v>4.9798849963614877</c:v>
                </c:pt>
                <c:pt idx="5761">
                  <c:v>5.9038338422937153</c:v>
                </c:pt>
                <c:pt idx="5762">
                  <c:v>4.9743799161651134</c:v>
                </c:pt>
                <c:pt idx="5763">
                  <c:v>4.9446874687970821</c:v>
                </c:pt>
                <c:pt idx="5764">
                  <c:v>6.0987798500547283</c:v>
                </c:pt>
                <c:pt idx="5765">
                  <c:v>6.077912872062873</c:v>
                </c:pt>
                <c:pt idx="5766">
                  <c:v>5.6869858282154198</c:v>
                </c:pt>
                <c:pt idx="5767">
                  <c:v>5.8912642378261157</c:v>
                </c:pt>
                <c:pt idx="5768">
                  <c:v>5.9682037285061558</c:v>
                </c:pt>
                <c:pt idx="5769">
                  <c:v>5.8535879075646902</c:v>
                </c:pt>
                <c:pt idx="5770">
                  <c:v>6.0405416879960931</c:v>
                </c:pt>
                <c:pt idx="5771">
                  <c:v>4.9032763482300066</c:v>
                </c:pt>
                <c:pt idx="5772">
                  <c:v>5.9882109630477185</c:v>
                </c:pt>
                <c:pt idx="5773">
                  <c:v>4.9342146772181197</c:v>
                </c:pt>
                <c:pt idx="5774">
                  <c:v>5.0475259700600317</c:v>
                </c:pt>
                <c:pt idx="5775">
                  <c:v>6.1960665835988218</c:v>
                </c:pt>
                <c:pt idx="5776">
                  <c:v>6.0839612961310676</c:v>
                </c:pt>
                <c:pt idx="5777">
                  <c:v>5.9751847740235888</c:v>
                </c:pt>
                <c:pt idx="5778">
                  <c:v>5.9958473570572579</c:v>
                </c:pt>
                <c:pt idx="5779">
                  <c:v>6.0476387922308401</c:v>
                </c:pt>
                <c:pt idx="5780">
                  <c:v>6.1065960093289871</c:v>
                </c:pt>
                <c:pt idx="5781">
                  <c:v>5.1082173683401741</c:v>
                </c:pt>
                <c:pt idx="5782">
                  <c:v>4.9594961623017992</c:v>
                </c:pt>
                <c:pt idx="5783">
                  <c:v>5.8770478478992842</c:v>
                </c:pt>
                <c:pt idx="5784">
                  <c:v>4.9595328860403471</c:v>
                </c:pt>
                <c:pt idx="5785">
                  <c:v>4.8719559816384406</c:v>
                </c:pt>
                <c:pt idx="5786">
                  <c:v>4.1582435324211025</c:v>
                </c:pt>
                <c:pt idx="5787">
                  <c:v>6.9442179069987384</c:v>
                </c:pt>
                <c:pt idx="5788">
                  <c:v>6.8714768441255174</c:v>
                </c:pt>
                <c:pt idx="5789">
                  <c:v>7.0545212589639945</c:v>
                </c:pt>
                <c:pt idx="5790">
                  <c:v>5.9542347291066644</c:v>
                </c:pt>
                <c:pt idx="5791">
                  <c:v>6.0862127675639632</c:v>
                </c:pt>
                <c:pt idx="5792">
                  <c:v>4.9652019054496117</c:v>
                </c:pt>
                <c:pt idx="5793">
                  <c:v>6.0618734917958026</c:v>
                </c:pt>
                <c:pt idx="5794">
                  <c:v>7.1607051178820242</c:v>
                </c:pt>
                <c:pt idx="5795">
                  <c:v>5.9285187257297842</c:v>
                </c:pt>
                <c:pt idx="5796">
                  <c:v>4.9820510835506386</c:v>
                </c:pt>
                <c:pt idx="5797">
                  <c:v>6.0380889233858461</c:v>
                </c:pt>
                <c:pt idx="5798">
                  <c:v>4.8615869887187584</c:v>
                </c:pt>
                <c:pt idx="5799">
                  <c:v>5.8822961233894491</c:v>
                </c:pt>
                <c:pt idx="5800">
                  <c:v>6.9639573941179167</c:v>
                </c:pt>
                <c:pt idx="5801">
                  <c:v>5.0233465828118931</c:v>
                </c:pt>
                <c:pt idx="5802">
                  <c:v>7.0191602871682877</c:v>
                </c:pt>
                <c:pt idx="5803">
                  <c:v>5.0098736702998607</c:v>
                </c:pt>
                <c:pt idx="5804">
                  <c:v>7.0883564847577007</c:v>
                </c:pt>
                <c:pt idx="5805">
                  <c:v>4.967457313444303</c:v>
                </c:pt>
                <c:pt idx="5806">
                  <c:v>4.8393307044827241</c:v>
                </c:pt>
                <c:pt idx="5807">
                  <c:v>5.8722745757800894</c:v>
                </c:pt>
                <c:pt idx="5808">
                  <c:v>5.9400125151387106</c:v>
                </c:pt>
                <c:pt idx="5809">
                  <c:v>4.8824724865913041</c:v>
                </c:pt>
                <c:pt idx="5810">
                  <c:v>5.9165881794963679</c:v>
                </c:pt>
                <c:pt idx="5811">
                  <c:v>6.0490197993063006</c:v>
                </c:pt>
                <c:pt idx="5812">
                  <c:v>4.9270879291538652</c:v>
                </c:pt>
                <c:pt idx="5813">
                  <c:v>5.0532613160518283</c:v>
                </c:pt>
                <c:pt idx="5814">
                  <c:v>6.1394504950059359</c:v>
                </c:pt>
                <c:pt idx="5815">
                  <c:v>5.0555871553989435</c:v>
                </c:pt>
                <c:pt idx="5816">
                  <c:v>5.8703345197724914</c:v>
                </c:pt>
                <c:pt idx="5817">
                  <c:v>5.997719362533565</c:v>
                </c:pt>
                <c:pt idx="5818">
                  <c:v>5.8887405839248528</c:v>
                </c:pt>
                <c:pt idx="5819">
                  <c:v>5.9808764980755678</c:v>
                </c:pt>
                <c:pt idx="5820">
                  <c:v>5.8904736406782003</c:v>
                </c:pt>
                <c:pt idx="5821">
                  <c:v>4.9923694462453936</c:v>
                </c:pt>
                <c:pt idx="5822">
                  <c:v>6.0852397541475041</c:v>
                </c:pt>
                <c:pt idx="5823">
                  <c:v>4.9556798320766156</c:v>
                </c:pt>
                <c:pt idx="5824">
                  <c:v>4.9873127366995522</c:v>
                </c:pt>
                <c:pt idx="5825">
                  <c:v>5.0242890678148351</c:v>
                </c:pt>
                <c:pt idx="5826">
                  <c:v>4.8179491301909811</c:v>
                </c:pt>
                <c:pt idx="5827">
                  <c:v>6.1413024422858555</c:v>
                </c:pt>
                <c:pt idx="5828">
                  <c:v>5.9811798104514686</c:v>
                </c:pt>
                <c:pt idx="5829">
                  <c:v>4.9128250049996076</c:v>
                </c:pt>
                <c:pt idx="5830">
                  <c:v>6.0659683809102711</c:v>
                </c:pt>
                <c:pt idx="5831">
                  <c:v>4.9022589113400903</c:v>
                </c:pt>
                <c:pt idx="5832">
                  <c:v>6.2139270631973131</c:v>
                </c:pt>
                <c:pt idx="5833">
                  <c:v>7.096576340930679</c:v>
                </c:pt>
                <c:pt idx="5834">
                  <c:v>5.9216681657407992</c:v>
                </c:pt>
                <c:pt idx="5835">
                  <c:v>6.0830749023396802</c:v>
                </c:pt>
                <c:pt idx="5836">
                  <c:v>5.88134950596677</c:v>
                </c:pt>
                <c:pt idx="5837">
                  <c:v>5.9545955199348821</c:v>
                </c:pt>
                <c:pt idx="5838">
                  <c:v>6.0413672060798733</c:v>
                </c:pt>
                <c:pt idx="5839">
                  <c:v>5.9016541599601409</c:v>
                </c:pt>
                <c:pt idx="5840">
                  <c:v>6.0176032335290133</c:v>
                </c:pt>
                <c:pt idx="5841">
                  <c:v>5.0906902401058858</c:v>
                </c:pt>
                <c:pt idx="5842">
                  <c:v>4.9326353132978848</c:v>
                </c:pt>
                <c:pt idx="5843">
                  <c:v>5.9644828336949409</c:v>
                </c:pt>
                <c:pt idx="5844">
                  <c:v>6.0578741926520836</c:v>
                </c:pt>
                <c:pt idx="5845">
                  <c:v>5.170961029897156</c:v>
                </c:pt>
                <c:pt idx="5846">
                  <c:v>4.9322380708867088</c:v>
                </c:pt>
                <c:pt idx="5847">
                  <c:v>5.0363927383604228</c:v>
                </c:pt>
                <c:pt idx="5848">
                  <c:v>6.1642176275078571</c:v>
                </c:pt>
                <c:pt idx="5849">
                  <c:v>5.0938389204866548</c:v>
                </c:pt>
                <c:pt idx="5850">
                  <c:v>6.0346959345105011</c:v>
                </c:pt>
                <c:pt idx="5851">
                  <c:v>5.1812971745902239</c:v>
                </c:pt>
                <c:pt idx="5852">
                  <c:v>5.1075065648958873</c:v>
                </c:pt>
                <c:pt idx="5853">
                  <c:v>6.0014172835695723</c:v>
                </c:pt>
                <c:pt idx="5854">
                  <c:v>5.0212670931338854</c:v>
                </c:pt>
                <c:pt idx="5855">
                  <c:v>4.9817625550536464</c:v>
                </c:pt>
                <c:pt idx="5856">
                  <c:v>4.855985063423228</c:v>
                </c:pt>
                <c:pt idx="5857">
                  <c:v>6.0474129496089022</c:v>
                </c:pt>
                <c:pt idx="5858">
                  <c:v>4.9216825011173624</c:v>
                </c:pt>
                <c:pt idx="5859">
                  <c:v>5.1911536342320446</c:v>
                </c:pt>
                <c:pt idx="5860">
                  <c:v>5.1106375109125679</c:v>
                </c:pt>
                <c:pt idx="5861">
                  <c:v>6.1076833270247191</c:v>
                </c:pt>
                <c:pt idx="5862">
                  <c:v>5.012807162358289</c:v>
                </c:pt>
                <c:pt idx="5863">
                  <c:v>5.0936060635098395</c:v>
                </c:pt>
                <c:pt idx="5864">
                  <c:v>6.149357633323981</c:v>
                </c:pt>
                <c:pt idx="5865">
                  <c:v>6.0835505855387879</c:v>
                </c:pt>
                <c:pt idx="5866">
                  <c:v>7.1327655794094529</c:v>
                </c:pt>
                <c:pt idx="5867">
                  <c:v>5.9429588643171547</c:v>
                </c:pt>
                <c:pt idx="5868">
                  <c:v>5.0309859786583901</c:v>
                </c:pt>
                <c:pt idx="5869">
                  <c:v>5.0375287637335049</c:v>
                </c:pt>
                <c:pt idx="5870">
                  <c:v>7.2606052056494645</c:v>
                </c:pt>
                <c:pt idx="5871">
                  <c:v>5.015992636593066</c:v>
                </c:pt>
                <c:pt idx="5872">
                  <c:v>4.8140027795585203</c:v>
                </c:pt>
                <c:pt idx="5873">
                  <c:v>6.0753570862487063</c:v>
                </c:pt>
                <c:pt idx="5874">
                  <c:v>4.9001305925295213</c:v>
                </c:pt>
                <c:pt idx="5875">
                  <c:v>6.0072726620754571</c:v>
                </c:pt>
                <c:pt idx="5876">
                  <c:v>6.0384375338234388</c:v>
                </c:pt>
                <c:pt idx="5877">
                  <c:v>5.0663304296821945</c:v>
                </c:pt>
                <c:pt idx="5878">
                  <c:v>5.8458418977774302</c:v>
                </c:pt>
                <c:pt idx="5879">
                  <c:v>5.9157779799163031</c:v>
                </c:pt>
                <c:pt idx="5880">
                  <c:v>6.0181139326708291</c:v>
                </c:pt>
                <c:pt idx="5881">
                  <c:v>5.1001353682217685</c:v>
                </c:pt>
                <c:pt idx="5882">
                  <c:v>4.9040164714233017</c:v>
                </c:pt>
                <c:pt idx="5883">
                  <c:v>5.0818686079781497</c:v>
                </c:pt>
                <c:pt idx="5884">
                  <c:v>5.9271009971323556</c:v>
                </c:pt>
                <c:pt idx="5885">
                  <c:v>4.9019817225156359</c:v>
                </c:pt>
                <c:pt idx="5886">
                  <c:v>6.9225371586633777</c:v>
                </c:pt>
                <c:pt idx="5887">
                  <c:v>5.077342920076326</c:v>
                </c:pt>
                <c:pt idx="5888">
                  <c:v>5.0466542332285469</c:v>
                </c:pt>
                <c:pt idx="5889">
                  <c:v>4.8871569397669168</c:v>
                </c:pt>
                <c:pt idx="5890">
                  <c:v>5.0906182520413257</c:v>
                </c:pt>
                <c:pt idx="5891">
                  <c:v>4.8953218597107213</c:v>
                </c:pt>
                <c:pt idx="5892">
                  <c:v>5.9418925360905828</c:v>
                </c:pt>
                <c:pt idx="5893">
                  <c:v>5.2369494478617806</c:v>
                </c:pt>
                <c:pt idx="5894">
                  <c:v>5.9793300923950987</c:v>
                </c:pt>
                <c:pt idx="5895">
                  <c:v>4.9948349461480586</c:v>
                </c:pt>
                <c:pt idx="5896">
                  <c:v>4.8828273286495323</c:v>
                </c:pt>
                <c:pt idx="5897">
                  <c:v>5.8240330270710725</c:v>
                </c:pt>
                <c:pt idx="5898">
                  <c:v>5.9711006819119889</c:v>
                </c:pt>
                <c:pt idx="5899">
                  <c:v>5.054619730624224</c:v>
                </c:pt>
                <c:pt idx="5900">
                  <c:v>5.9006270573430015</c:v>
                </c:pt>
                <c:pt idx="5901">
                  <c:v>5.181929713247964</c:v>
                </c:pt>
                <c:pt idx="5902">
                  <c:v>5.1065079639370961</c:v>
                </c:pt>
                <c:pt idx="5903">
                  <c:v>5.1499231154230527</c:v>
                </c:pt>
                <c:pt idx="5904">
                  <c:v>5.0526219492975954</c:v>
                </c:pt>
                <c:pt idx="5905">
                  <c:v>5.9571026580280391</c:v>
                </c:pt>
                <c:pt idx="5906">
                  <c:v>5.9362037076585503</c:v>
                </c:pt>
                <c:pt idx="5907">
                  <c:v>4.9497334022792359</c:v>
                </c:pt>
                <c:pt idx="5908">
                  <c:v>5.9158051717744096</c:v>
                </c:pt>
                <c:pt idx="5909">
                  <c:v>5.0057959941301844</c:v>
                </c:pt>
                <c:pt idx="5910">
                  <c:v>4.9524405514283139</c:v>
                </c:pt>
                <c:pt idx="5911">
                  <c:v>6.1538022984544334</c:v>
                </c:pt>
                <c:pt idx="5912">
                  <c:v>5.0581016540045702</c:v>
                </c:pt>
                <c:pt idx="5913">
                  <c:v>6.1361617731397438</c:v>
                </c:pt>
                <c:pt idx="5914">
                  <c:v>5.1040146944046274</c:v>
                </c:pt>
                <c:pt idx="5915">
                  <c:v>5.0979099881917938</c:v>
                </c:pt>
                <c:pt idx="5916">
                  <c:v>6.060135474264924</c:v>
                </c:pt>
                <c:pt idx="5917">
                  <c:v>5.126888766183253</c:v>
                </c:pt>
                <c:pt idx="5918">
                  <c:v>5.9535150369739309</c:v>
                </c:pt>
                <c:pt idx="5919">
                  <c:v>5.9923820615031342</c:v>
                </c:pt>
                <c:pt idx="5920">
                  <c:v>5.9969666163475024</c:v>
                </c:pt>
                <c:pt idx="5921">
                  <c:v>4.9954800989043067</c:v>
                </c:pt>
                <c:pt idx="5922">
                  <c:v>3.9705893270316492</c:v>
                </c:pt>
                <c:pt idx="5923">
                  <c:v>4.888434982575343</c:v>
                </c:pt>
                <c:pt idx="5924">
                  <c:v>4.9036325825607667</c:v>
                </c:pt>
                <c:pt idx="5925">
                  <c:v>6.0940434043371141</c:v>
                </c:pt>
                <c:pt idx="5926">
                  <c:v>5.0791710701368933</c:v>
                </c:pt>
                <c:pt idx="5927">
                  <c:v>6.0411756255557556</c:v>
                </c:pt>
                <c:pt idx="5928">
                  <c:v>6.1331008348633995</c:v>
                </c:pt>
                <c:pt idx="5929">
                  <c:v>6.2679350444192252</c:v>
                </c:pt>
                <c:pt idx="5930">
                  <c:v>3.0340737877839086</c:v>
                </c:pt>
                <c:pt idx="5931">
                  <c:v>5.1147983775140569</c:v>
                </c:pt>
                <c:pt idx="5932">
                  <c:v>5.84841881414967</c:v>
                </c:pt>
                <c:pt idx="5933">
                  <c:v>5.0363934000429973</c:v>
                </c:pt>
                <c:pt idx="5934">
                  <c:v>5.108217111249755</c:v>
                </c:pt>
                <c:pt idx="5935">
                  <c:v>5.9228823227321135</c:v>
                </c:pt>
                <c:pt idx="5936">
                  <c:v>4.972172692509063</c:v>
                </c:pt>
                <c:pt idx="5937">
                  <c:v>6.0892487797818449</c:v>
                </c:pt>
                <c:pt idx="5938">
                  <c:v>5.981524842671881</c:v>
                </c:pt>
                <c:pt idx="5939">
                  <c:v>5.8432838189187226</c:v>
                </c:pt>
                <c:pt idx="5940">
                  <c:v>5.0826773168127115</c:v>
                </c:pt>
                <c:pt idx="5941">
                  <c:v>5.150999361817826</c:v>
                </c:pt>
                <c:pt idx="5942">
                  <c:v>6.1265502797441886</c:v>
                </c:pt>
                <c:pt idx="5943">
                  <c:v>6.0862470560854813</c:v>
                </c:pt>
                <c:pt idx="5944">
                  <c:v>5.0471215474082962</c:v>
                </c:pt>
                <c:pt idx="5945">
                  <c:v>4.9505806354430657</c:v>
                </c:pt>
                <c:pt idx="5946">
                  <c:v>6.0904555781752192</c:v>
                </c:pt>
                <c:pt idx="5947">
                  <c:v>4.8747461880464948</c:v>
                </c:pt>
                <c:pt idx="5948">
                  <c:v>5.0381885064721672</c:v>
                </c:pt>
                <c:pt idx="5949">
                  <c:v>5.8717134973971108</c:v>
                </c:pt>
                <c:pt idx="5950">
                  <c:v>5.7747505961644219</c:v>
                </c:pt>
                <c:pt idx="5951">
                  <c:v>5.9155902455795495</c:v>
                </c:pt>
                <c:pt idx="5952">
                  <c:v>6.1864587667370987</c:v>
                </c:pt>
                <c:pt idx="5953">
                  <c:v>5.9821623409150702</c:v>
                </c:pt>
                <c:pt idx="5954">
                  <c:v>6.0116129726912666</c:v>
                </c:pt>
                <c:pt idx="5955">
                  <c:v>6.1167423669917333</c:v>
                </c:pt>
                <c:pt idx="5956">
                  <c:v>5.0530650513902264</c:v>
                </c:pt>
                <c:pt idx="5957">
                  <c:v>6.2734318417322212</c:v>
                </c:pt>
                <c:pt idx="5958">
                  <c:v>5.116751873410295</c:v>
                </c:pt>
                <c:pt idx="5959">
                  <c:v>6.018596638540104</c:v>
                </c:pt>
                <c:pt idx="5960">
                  <c:v>5.8727165462584106</c:v>
                </c:pt>
                <c:pt idx="5961">
                  <c:v>5.1080778912240143</c:v>
                </c:pt>
                <c:pt idx="5962">
                  <c:v>4.9609066836537092</c:v>
                </c:pt>
                <c:pt idx="5963">
                  <c:v>5.9723899121335844</c:v>
                </c:pt>
                <c:pt idx="5964">
                  <c:v>4.8705480773059211</c:v>
                </c:pt>
                <c:pt idx="5965">
                  <c:v>5.9504944816563716</c:v>
                </c:pt>
                <c:pt idx="5966">
                  <c:v>4.9630955519889204</c:v>
                </c:pt>
                <c:pt idx="5967">
                  <c:v>5.7885814464726391</c:v>
                </c:pt>
                <c:pt idx="5968">
                  <c:v>4.9938829965407319</c:v>
                </c:pt>
                <c:pt idx="5969">
                  <c:v>6.12167642223163</c:v>
                </c:pt>
                <c:pt idx="5970">
                  <c:v>5.0704329747903225</c:v>
                </c:pt>
                <c:pt idx="5971">
                  <c:v>6.0652333224548096</c:v>
                </c:pt>
                <c:pt idx="5972">
                  <c:v>5.9710838513148161</c:v>
                </c:pt>
                <c:pt idx="5973">
                  <c:v>5.8753901054246285</c:v>
                </c:pt>
                <c:pt idx="5974">
                  <c:v>6.0832465983788877</c:v>
                </c:pt>
                <c:pt idx="5975">
                  <c:v>5.9055794725594746</c:v>
                </c:pt>
                <c:pt idx="5976">
                  <c:v>5.1550927085006615</c:v>
                </c:pt>
                <c:pt idx="5977">
                  <c:v>4.9844826295915663</c:v>
                </c:pt>
                <c:pt idx="5978">
                  <c:v>5.9056673523765495</c:v>
                </c:pt>
                <c:pt idx="5979">
                  <c:v>5.0407237776735867</c:v>
                </c:pt>
                <c:pt idx="5980">
                  <c:v>5.1616177194306889</c:v>
                </c:pt>
                <c:pt idx="5981">
                  <c:v>5.9378410678149649</c:v>
                </c:pt>
                <c:pt idx="5982">
                  <c:v>5.9486948067098053</c:v>
                </c:pt>
                <c:pt idx="5983">
                  <c:v>6.1263997455304704</c:v>
                </c:pt>
                <c:pt idx="5984">
                  <c:v>4.8934009734528381</c:v>
                </c:pt>
                <c:pt idx="5985">
                  <c:v>5.0342534872675966</c:v>
                </c:pt>
                <c:pt idx="5986">
                  <c:v>4.9643626324704986</c:v>
                </c:pt>
                <c:pt idx="5987">
                  <c:v>4.88128027979878</c:v>
                </c:pt>
                <c:pt idx="5988">
                  <c:v>5.883182663738773</c:v>
                </c:pt>
                <c:pt idx="5989">
                  <c:v>6.1140232628248539</c:v>
                </c:pt>
                <c:pt idx="5990">
                  <c:v>6.0153952161881152</c:v>
                </c:pt>
                <c:pt idx="5991">
                  <c:v>4.9110151483676052</c:v>
                </c:pt>
                <c:pt idx="5992">
                  <c:v>6.0988474188281305</c:v>
                </c:pt>
                <c:pt idx="5993">
                  <c:v>5.0025231739855478</c:v>
                </c:pt>
                <c:pt idx="5994">
                  <c:v>6.0463618667994936</c:v>
                </c:pt>
                <c:pt idx="5995">
                  <c:v>6.0999062117870517</c:v>
                </c:pt>
                <c:pt idx="5996">
                  <c:v>5.0976580278379435</c:v>
                </c:pt>
                <c:pt idx="5997">
                  <c:v>5.9023155341411364</c:v>
                </c:pt>
                <c:pt idx="5998">
                  <c:v>5.091452561420386</c:v>
                </c:pt>
                <c:pt idx="5999">
                  <c:v>5.9236775027311008</c:v>
                </c:pt>
                <c:pt idx="6000">
                  <c:v>7.0702086144194762</c:v>
                </c:pt>
                <c:pt idx="6001">
                  <c:v>5.9090689003270018</c:v>
                </c:pt>
                <c:pt idx="6002">
                  <c:v>5.219422346918396</c:v>
                </c:pt>
                <c:pt idx="6003">
                  <c:v>5.9495228737808636</c:v>
                </c:pt>
                <c:pt idx="6004">
                  <c:v>4.9396257770304208</c:v>
                </c:pt>
                <c:pt idx="6005">
                  <c:v>5.1274676757753967</c:v>
                </c:pt>
                <c:pt idx="6006">
                  <c:v>6.045575281692015</c:v>
                </c:pt>
                <c:pt idx="6007">
                  <c:v>6.1794958804313209</c:v>
                </c:pt>
                <c:pt idx="6008">
                  <c:v>4.9288662789971776</c:v>
                </c:pt>
                <c:pt idx="6009">
                  <c:v>6.0266343381132907</c:v>
                </c:pt>
                <c:pt idx="6010">
                  <c:v>5.0491870648885344</c:v>
                </c:pt>
                <c:pt idx="6011">
                  <c:v>5.1017586665710972</c:v>
                </c:pt>
                <c:pt idx="6012">
                  <c:v>5.963258281021913</c:v>
                </c:pt>
                <c:pt idx="6013">
                  <c:v>5.1083231346518865</c:v>
                </c:pt>
                <c:pt idx="6014">
                  <c:v>5.0401540163709546</c:v>
                </c:pt>
                <c:pt idx="6015">
                  <c:v>5.9718062281307116</c:v>
                </c:pt>
                <c:pt idx="6016">
                  <c:v>5.1050276038387041</c:v>
                </c:pt>
                <c:pt idx="6017">
                  <c:v>6.0481677958733098</c:v>
                </c:pt>
                <c:pt idx="6018">
                  <c:v>6.066355837763254</c:v>
                </c:pt>
                <c:pt idx="6019">
                  <c:v>5.971395233934313</c:v>
                </c:pt>
                <c:pt idx="6020">
                  <c:v>5.9812483473483757</c:v>
                </c:pt>
                <c:pt idx="6021">
                  <c:v>4.9257060935047408</c:v>
                </c:pt>
                <c:pt idx="6022">
                  <c:v>5.1281637354048604</c:v>
                </c:pt>
                <c:pt idx="6023">
                  <c:v>6.0954283082594998</c:v>
                </c:pt>
                <c:pt idx="6024">
                  <c:v>6.117697475336219</c:v>
                </c:pt>
                <c:pt idx="6025">
                  <c:v>5.0095141462207833</c:v>
                </c:pt>
                <c:pt idx="6026">
                  <c:v>4.9999593185610482</c:v>
                </c:pt>
                <c:pt idx="6027">
                  <c:v>5.0321992502316846</c:v>
                </c:pt>
                <c:pt idx="6028">
                  <c:v>4.8566287563343788</c:v>
                </c:pt>
                <c:pt idx="6029">
                  <c:v>5.857613292200039</c:v>
                </c:pt>
                <c:pt idx="6030">
                  <c:v>6.010150210068792</c:v>
                </c:pt>
                <c:pt idx="6031">
                  <c:v>4.9244952268236268</c:v>
                </c:pt>
                <c:pt idx="6032">
                  <c:v>5.9422265475526723</c:v>
                </c:pt>
                <c:pt idx="6033">
                  <c:v>5.9679115812436132</c:v>
                </c:pt>
                <c:pt idx="6034">
                  <c:v>3.9383214708636562</c:v>
                </c:pt>
                <c:pt idx="6035">
                  <c:v>4.8034862448130324</c:v>
                </c:pt>
                <c:pt idx="6036">
                  <c:v>5.9207180623988469</c:v>
                </c:pt>
                <c:pt idx="6037">
                  <c:v>5.9184027944880775</c:v>
                </c:pt>
                <c:pt idx="6038">
                  <c:v>5.0598193270132255</c:v>
                </c:pt>
                <c:pt idx="6039">
                  <c:v>5.0821561189922884</c:v>
                </c:pt>
                <c:pt idx="6040">
                  <c:v>4.96861355528792</c:v>
                </c:pt>
                <c:pt idx="6041">
                  <c:v>6.9553751327616355</c:v>
                </c:pt>
                <c:pt idx="6042">
                  <c:v>4.1249300095322488</c:v>
                </c:pt>
                <c:pt idx="6043">
                  <c:v>7.0757704670974153</c:v>
                </c:pt>
                <c:pt idx="6044">
                  <c:v>7.0376212871673136</c:v>
                </c:pt>
                <c:pt idx="6045">
                  <c:v>5.0115134514662083</c:v>
                </c:pt>
                <c:pt idx="6046">
                  <c:v>5.0271905768423393</c:v>
                </c:pt>
                <c:pt idx="6047">
                  <c:v>6.0636173936582018</c:v>
                </c:pt>
                <c:pt idx="6048">
                  <c:v>5.1188971552009637</c:v>
                </c:pt>
                <c:pt idx="6049">
                  <c:v>4.8351631751985078</c:v>
                </c:pt>
                <c:pt idx="6050">
                  <c:v>6.0581884236368326</c:v>
                </c:pt>
                <c:pt idx="6051">
                  <c:v>6.0908735542849062</c:v>
                </c:pt>
                <c:pt idx="6052">
                  <c:v>5.9852327369990634</c:v>
                </c:pt>
                <c:pt idx="6053">
                  <c:v>5.1655788131961149</c:v>
                </c:pt>
                <c:pt idx="6054">
                  <c:v>5.9508370040227616</c:v>
                </c:pt>
                <c:pt idx="6055">
                  <c:v>4.981402448765837</c:v>
                </c:pt>
                <c:pt idx="6056">
                  <c:v>5.9538960368240126</c:v>
                </c:pt>
                <c:pt idx="6057">
                  <c:v>6.2680053523161074</c:v>
                </c:pt>
                <c:pt idx="6058">
                  <c:v>5.9618147488136728</c:v>
                </c:pt>
                <c:pt idx="6059">
                  <c:v>5.9220392266327497</c:v>
                </c:pt>
                <c:pt idx="6060">
                  <c:v>6.1124624854683391</c:v>
                </c:pt>
                <c:pt idx="6061">
                  <c:v>5.7685805453183052</c:v>
                </c:pt>
                <c:pt idx="6062">
                  <c:v>6.0758252167957068</c:v>
                </c:pt>
                <c:pt idx="6063">
                  <c:v>4.922451616744242</c:v>
                </c:pt>
                <c:pt idx="6064">
                  <c:v>6.0687708132296505</c:v>
                </c:pt>
                <c:pt idx="6065">
                  <c:v>5.1040797907875817</c:v>
                </c:pt>
                <c:pt idx="6066">
                  <c:v>5.9550970799621847</c:v>
                </c:pt>
                <c:pt idx="6067">
                  <c:v>6.146711035969779</c:v>
                </c:pt>
                <c:pt idx="6068">
                  <c:v>4.9673102195063938</c:v>
                </c:pt>
                <c:pt idx="6069">
                  <c:v>6.0586416231360571</c:v>
                </c:pt>
                <c:pt idx="6070">
                  <c:v>5.077020143972522</c:v>
                </c:pt>
                <c:pt idx="6071">
                  <c:v>5.0935521576078298</c:v>
                </c:pt>
                <c:pt idx="6072">
                  <c:v>5.8770465736397206</c:v>
                </c:pt>
                <c:pt idx="6073">
                  <c:v>4.9328209936431451</c:v>
                </c:pt>
                <c:pt idx="6074">
                  <c:v>4.9696589153946809</c:v>
                </c:pt>
                <c:pt idx="6075">
                  <c:v>7.0487307603688576</c:v>
                </c:pt>
                <c:pt idx="6076">
                  <c:v>4.7468030726164381</c:v>
                </c:pt>
                <c:pt idx="6077">
                  <c:v>5.9295633914333941</c:v>
                </c:pt>
                <c:pt idx="6078">
                  <c:v>5.9002315483842471</c:v>
                </c:pt>
                <c:pt idx="6079">
                  <c:v>6.0621434615107583</c:v>
                </c:pt>
                <c:pt idx="6080">
                  <c:v>6.1111488227670936</c:v>
                </c:pt>
                <c:pt idx="6081">
                  <c:v>4.9138159348919324</c:v>
                </c:pt>
                <c:pt idx="6082">
                  <c:v>5.9448119546951874</c:v>
                </c:pt>
                <c:pt idx="6083">
                  <c:v>4.9420798900471814</c:v>
                </c:pt>
                <c:pt idx="6084">
                  <c:v>5.053970842353686</c:v>
                </c:pt>
                <c:pt idx="6085">
                  <c:v>6.143424232746777</c:v>
                </c:pt>
                <c:pt idx="6086">
                  <c:v>6.033063624683372</c:v>
                </c:pt>
                <c:pt idx="6087">
                  <c:v>5.0309266357626896</c:v>
                </c:pt>
                <c:pt idx="6088">
                  <c:v>5.1018737222010362</c:v>
                </c:pt>
                <c:pt idx="6089">
                  <c:v>4.9760115600419121</c:v>
                </c:pt>
                <c:pt idx="6090">
                  <c:v>6.0590316173160605</c:v>
                </c:pt>
                <c:pt idx="6091">
                  <c:v>6.0939062796360215</c:v>
                </c:pt>
                <c:pt idx="6092">
                  <c:v>6.1015699743182807</c:v>
                </c:pt>
                <c:pt idx="6093">
                  <c:v>6.0627833770671673</c:v>
                </c:pt>
                <c:pt idx="6094">
                  <c:v>5.0500406649985337</c:v>
                </c:pt>
                <c:pt idx="6095">
                  <c:v>6.027946823737838</c:v>
                </c:pt>
                <c:pt idx="6096">
                  <c:v>4.7975317204533336</c:v>
                </c:pt>
                <c:pt idx="6097">
                  <c:v>5.0440446393471907</c:v>
                </c:pt>
                <c:pt idx="6098">
                  <c:v>5.8849520845780807</c:v>
                </c:pt>
                <c:pt idx="6099">
                  <c:v>6.1158029259058511</c:v>
                </c:pt>
                <c:pt idx="6100">
                  <c:v>5.9094299502614911</c:v>
                </c:pt>
                <c:pt idx="6101">
                  <c:v>4.8677487962849133</c:v>
                </c:pt>
                <c:pt idx="6102">
                  <c:v>4.9023967738560996</c:v>
                </c:pt>
                <c:pt idx="6103">
                  <c:v>5.0571592799239697</c:v>
                </c:pt>
                <c:pt idx="6104">
                  <c:v>4.8937814616281763</c:v>
                </c:pt>
                <c:pt idx="6105">
                  <c:v>6.0150231981307831</c:v>
                </c:pt>
                <c:pt idx="6106">
                  <c:v>4.958756003494261</c:v>
                </c:pt>
                <c:pt idx="6107">
                  <c:v>5.2225878254533882</c:v>
                </c:pt>
                <c:pt idx="6108">
                  <c:v>5.9213468340242388</c:v>
                </c:pt>
                <c:pt idx="6109">
                  <c:v>5.019513383033936</c:v>
                </c:pt>
                <c:pt idx="6110">
                  <c:v>5.1268229150228821</c:v>
                </c:pt>
                <c:pt idx="6111">
                  <c:v>5.1902272164136471</c:v>
                </c:pt>
                <c:pt idx="6112">
                  <c:v>5.9678419773520242</c:v>
                </c:pt>
                <c:pt idx="6113">
                  <c:v>4.9256789095060132</c:v>
                </c:pt>
                <c:pt idx="6114">
                  <c:v>5.9388586291694443</c:v>
                </c:pt>
                <c:pt idx="6115">
                  <c:v>7.063469774529513</c:v>
                </c:pt>
                <c:pt idx="6116">
                  <c:v>4.1330655998994814</c:v>
                </c:pt>
                <c:pt idx="6117">
                  <c:v>7.0570242458860211</c:v>
                </c:pt>
                <c:pt idx="6118">
                  <c:v>5.0519260853673744</c:v>
                </c:pt>
                <c:pt idx="6119">
                  <c:v>5.0976715984517602</c:v>
                </c:pt>
                <c:pt idx="6120">
                  <c:v>3.8801931557204341</c:v>
                </c:pt>
                <c:pt idx="6121">
                  <c:v>6.0998515661512753</c:v>
                </c:pt>
                <c:pt idx="6122">
                  <c:v>5.9517136443524663</c:v>
                </c:pt>
                <c:pt idx="6123">
                  <c:v>6.0498629130028876</c:v>
                </c:pt>
                <c:pt idx="6124">
                  <c:v>6.0251462019258044</c:v>
                </c:pt>
                <c:pt idx="6125">
                  <c:v>4.8477601103379815</c:v>
                </c:pt>
                <c:pt idx="6126">
                  <c:v>5.8668448712404553</c:v>
                </c:pt>
                <c:pt idx="6127">
                  <c:v>6.9330624459163177</c:v>
                </c:pt>
                <c:pt idx="6128">
                  <c:v>6.1955260239602916</c:v>
                </c:pt>
                <c:pt idx="6129">
                  <c:v>4.8017220494071697</c:v>
                </c:pt>
                <c:pt idx="6130">
                  <c:v>5.1283207453322817</c:v>
                </c:pt>
                <c:pt idx="6131">
                  <c:v>5.0328578843084504</c:v>
                </c:pt>
                <c:pt idx="6132">
                  <c:v>5.0509626149509383</c:v>
                </c:pt>
                <c:pt idx="6133">
                  <c:v>6.129889311717152</c:v>
                </c:pt>
                <c:pt idx="6134">
                  <c:v>5.115828614923009</c:v>
                </c:pt>
                <c:pt idx="6135">
                  <c:v>5.637432873390833</c:v>
                </c:pt>
                <c:pt idx="6136">
                  <c:v>4.9222861580085491</c:v>
                </c:pt>
                <c:pt idx="6137">
                  <c:v>5.9845863438070772</c:v>
                </c:pt>
                <c:pt idx="6138">
                  <c:v>5.0271198621907214</c:v>
                </c:pt>
                <c:pt idx="6139">
                  <c:v>4.9997248662482789</c:v>
                </c:pt>
                <c:pt idx="6140">
                  <c:v>5.1726490988273435</c:v>
                </c:pt>
                <c:pt idx="6141">
                  <c:v>4.9747943394275875</c:v>
                </c:pt>
                <c:pt idx="6142">
                  <c:v>4.8284373546013795</c:v>
                </c:pt>
                <c:pt idx="6143">
                  <c:v>5.0632626440735775</c:v>
                </c:pt>
                <c:pt idx="6144">
                  <c:v>5.8670608009145919</c:v>
                </c:pt>
                <c:pt idx="6145">
                  <c:v>5.1164520957690938</c:v>
                </c:pt>
                <c:pt idx="6146">
                  <c:v>5.9106434707223672</c:v>
                </c:pt>
                <c:pt idx="6147">
                  <c:v>5.0101301906734061</c:v>
                </c:pt>
                <c:pt idx="6148">
                  <c:v>5.9178082905911404</c:v>
                </c:pt>
                <c:pt idx="6149">
                  <c:v>5.9058236732681024</c:v>
                </c:pt>
                <c:pt idx="6150">
                  <c:v>6.9806321190926521</c:v>
                </c:pt>
                <c:pt idx="6151">
                  <c:v>5.891207553417102</c:v>
                </c:pt>
                <c:pt idx="6152">
                  <c:v>4.9002998532633173</c:v>
                </c:pt>
                <c:pt idx="6153">
                  <c:v>6.1126936979425563</c:v>
                </c:pt>
                <c:pt idx="6154">
                  <c:v>4.7952804640587532</c:v>
                </c:pt>
                <c:pt idx="6155">
                  <c:v>5.0421114953191841</c:v>
                </c:pt>
                <c:pt idx="6156">
                  <c:v>4.9495358645740302</c:v>
                </c:pt>
                <c:pt idx="6157">
                  <c:v>6.1440586699671789</c:v>
                </c:pt>
                <c:pt idx="6158">
                  <c:v>4.9676560771964065</c:v>
                </c:pt>
                <c:pt idx="6159">
                  <c:v>6.1159412329321716</c:v>
                </c:pt>
                <c:pt idx="6160">
                  <c:v>6.1012931909430428</c:v>
                </c:pt>
                <c:pt idx="6161">
                  <c:v>6.0030860517061662</c:v>
                </c:pt>
                <c:pt idx="6162">
                  <c:v>3.8684681056490473</c:v>
                </c:pt>
                <c:pt idx="6163">
                  <c:v>4.2073736056571498</c:v>
                </c:pt>
                <c:pt idx="6164">
                  <c:v>4.026706650340107</c:v>
                </c:pt>
                <c:pt idx="6165">
                  <c:v>3.9989636245729021</c:v>
                </c:pt>
                <c:pt idx="6166">
                  <c:v>4.2226648534822919</c:v>
                </c:pt>
                <c:pt idx="6167">
                  <c:v>3.9609821432971355</c:v>
                </c:pt>
                <c:pt idx="6168">
                  <c:v>4.0653711930672563</c:v>
                </c:pt>
                <c:pt idx="6169">
                  <c:v>4.0206366658446715</c:v>
                </c:pt>
                <c:pt idx="6170">
                  <c:v>4.0337487074522391</c:v>
                </c:pt>
                <c:pt idx="6171">
                  <c:v>5.9195759637923482</c:v>
                </c:pt>
                <c:pt idx="6172">
                  <c:v>4.9842248725485039</c:v>
                </c:pt>
                <c:pt idx="6173">
                  <c:v>4.9072332771557097</c:v>
                </c:pt>
                <c:pt idx="6174">
                  <c:v>6.1334527708271445</c:v>
                </c:pt>
                <c:pt idx="6175">
                  <c:v>4.9088073559503398</c:v>
                </c:pt>
                <c:pt idx="6176">
                  <c:v>5.9991818040221556</c:v>
                </c:pt>
                <c:pt idx="6177">
                  <c:v>6.012449658511791</c:v>
                </c:pt>
                <c:pt idx="6178">
                  <c:v>4.9054879187363589</c:v>
                </c:pt>
                <c:pt idx="6179">
                  <c:v>6.0233488046755017</c:v>
                </c:pt>
                <c:pt idx="6180">
                  <c:v>5.1015781567893139</c:v>
                </c:pt>
                <c:pt idx="6181">
                  <c:v>5.024396127190931</c:v>
                </c:pt>
                <c:pt idx="6182">
                  <c:v>4.9897254367728179</c:v>
                </c:pt>
                <c:pt idx="6183">
                  <c:v>4.0373280336677846</c:v>
                </c:pt>
                <c:pt idx="6184">
                  <c:v>7.2118648804306122</c:v>
                </c:pt>
                <c:pt idx="6185">
                  <c:v>5.1262274491286437</c:v>
                </c:pt>
                <c:pt idx="6186">
                  <c:v>3.7630555150273999</c:v>
                </c:pt>
                <c:pt idx="6187">
                  <c:v>5.0639770095021088</c:v>
                </c:pt>
                <c:pt idx="6188">
                  <c:v>5.0721177668812043</c:v>
                </c:pt>
                <c:pt idx="6189">
                  <c:v>6.9714242936424275</c:v>
                </c:pt>
                <c:pt idx="6190">
                  <c:v>4.9417988565292843</c:v>
                </c:pt>
                <c:pt idx="6191">
                  <c:v>5.0233958269208561</c:v>
                </c:pt>
                <c:pt idx="6192">
                  <c:v>4.9735033556275043</c:v>
                </c:pt>
                <c:pt idx="6193">
                  <c:v>4.815114257663117</c:v>
                </c:pt>
                <c:pt idx="6194">
                  <c:v>6.2000642552965415</c:v>
                </c:pt>
                <c:pt idx="6195">
                  <c:v>5.9251334147330015</c:v>
                </c:pt>
                <c:pt idx="6196">
                  <c:v>5.0145591127983478</c:v>
                </c:pt>
                <c:pt idx="6197">
                  <c:v>4.9249686244417452</c:v>
                </c:pt>
                <c:pt idx="6198">
                  <c:v>5.9895786518323364</c:v>
                </c:pt>
                <c:pt idx="6199">
                  <c:v>4.1532441317745095</c:v>
                </c:pt>
                <c:pt idx="6200">
                  <c:v>3.8530346076440432</c:v>
                </c:pt>
                <c:pt idx="6201">
                  <c:v>3.9677200535033874</c:v>
                </c:pt>
                <c:pt idx="6202">
                  <c:v>4.1956043817936406</c:v>
                </c:pt>
                <c:pt idx="6203">
                  <c:v>4.0816965191788688</c:v>
                </c:pt>
                <c:pt idx="6204">
                  <c:v>3.9751327219900201</c:v>
                </c:pt>
                <c:pt idx="6205">
                  <c:v>4.0420592606378758</c:v>
                </c:pt>
                <c:pt idx="6206">
                  <c:v>5.8351784829907229</c:v>
                </c:pt>
                <c:pt idx="6207">
                  <c:v>5.9442536724144315</c:v>
                </c:pt>
                <c:pt idx="6208">
                  <c:v>5.9337154887282306</c:v>
                </c:pt>
                <c:pt idx="6209">
                  <c:v>6.0943324425833003</c:v>
                </c:pt>
                <c:pt idx="6210">
                  <c:v>5.9345899848778751</c:v>
                </c:pt>
                <c:pt idx="6211">
                  <c:v>6.0244108457448382</c:v>
                </c:pt>
                <c:pt idx="6212">
                  <c:v>5.1258775370467635</c:v>
                </c:pt>
                <c:pt idx="6213">
                  <c:v>5.8433057570516986</c:v>
                </c:pt>
                <c:pt idx="6214">
                  <c:v>6.0901633133173672</c:v>
                </c:pt>
                <c:pt idx="6215">
                  <c:v>6.0539569159292217</c:v>
                </c:pt>
                <c:pt idx="6216">
                  <c:v>5.9888748063304504</c:v>
                </c:pt>
                <c:pt idx="6217">
                  <c:v>6.025882876837132</c:v>
                </c:pt>
                <c:pt idx="6218">
                  <c:v>5.9494208452629085</c:v>
                </c:pt>
                <c:pt idx="6219">
                  <c:v>4.0825141458911309</c:v>
                </c:pt>
                <c:pt idx="6220">
                  <c:v>5.9902725392759493</c:v>
                </c:pt>
                <c:pt idx="6221">
                  <c:v>5.9067642436875252</c:v>
                </c:pt>
                <c:pt idx="6222">
                  <c:v>4.9509101892153469</c:v>
                </c:pt>
                <c:pt idx="6223">
                  <c:v>4.9539368347233141</c:v>
                </c:pt>
                <c:pt idx="6224">
                  <c:v>4.0758542121907135</c:v>
                </c:pt>
                <c:pt idx="6225">
                  <c:v>5.9889076556776555</c:v>
                </c:pt>
                <c:pt idx="6226">
                  <c:v>4.9586505913114927</c:v>
                </c:pt>
                <c:pt idx="6227">
                  <c:v>6.016570111875378</c:v>
                </c:pt>
                <c:pt idx="6228">
                  <c:v>5.0567317311069573</c:v>
                </c:pt>
                <c:pt idx="6229">
                  <c:v>4.9903860912148268</c:v>
                </c:pt>
                <c:pt idx="6230">
                  <c:v>4.9294910793510587</c:v>
                </c:pt>
                <c:pt idx="6231">
                  <c:v>5.1068116195582913</c:v>
                </c:pt>
                <c:pt idx="6232">
                  <c:v>5.0214717180432631</c:v>
                </c:pt>
                <c:pt idx="6233">
                  <c:v>5.8663181298587963</c:v>
                </c:pt>
                <c:pt idx="6234">
                  <c:v>5.1004966606993234</c:v>
                </c:pt>
                <c:pt idx="6235">
                  <c:v>6.0115571848997664</c:v>
                </c:pt>
                <c:pt idx="6236">
                  <c:v>4.9536221177897035</c:v>
                </c:pt>
                <c:pt idx="6237">
                  <c:v>3.9821179527077342</c:v>
                </c:pt>
                <c:pt idx="6238">
                  <c:v>6.1225676967549703</c:v>
                </c:pt>
                <c:pt idx="6239">
                  <c:v>5.023716232334853</c:v>
                </c:pt>
                <c:pt idx="6240">
                  <c:v>4.9704841984303023</c:v>
                </c:pt>
                <c:pt idx="6241">
                  <c:v>6.0646643980102422</c:v>
                </c:pt>
                <c:pt idx="6242">
                  <c:v>5.0193555838656687</c:v>
                </c:pt>
                <c:pt idx="6243">
                  <c:v>4.9631017763417109</c:v>
                </c:pt>
                <c:pt idx="6244">
                  <c:v>4.9768688624224309</c:v>
                </c:pt>
                <c:pt idx="6245">
                  <c:v>4.8724347940980257</c:v>
                </c:pt>
                <c:pt idx="6246">
                  <c:v>5.8146674762285242</c:v>
                </c:pt>
                <c:pt idx="6247">
                  <c:v>6.1861407186380148</c:v>
                </c:pt>
                <c:pt idx="6248">
                  <c:v>4.7589744117221802</c:v>
                </c:pt>
                <c:pt idx="6249">
                  <c:v>4.988116723388198</c:v>
                </c:pt>
                <c:pt idx="6250">
                  <c:v>6.0434215889929259</c:v>
                </c:pt>
                <c:pt idx="6251">
                  <c:v>6.0429095453125967</c:v>
                </c:pt>
                <c:pt idx="6252">
                  <c:v>6.1521561978657546</c:v>
                </c:pt>
                <c:pt idx="6253">
                  <c:v>6.1538636084769571</c:v>
                </c:pt>
                <c:pt idx="6254">
                  <c:v>5.1552035330164365</c:v>
                </c:pt>
                <c:pt idx="6255">
                  <c:v>6.0171408116906493</c:v>
                </c:pt>
                <c:pt idx="6256">
                  <c:v>4.942561604545558</c:v>
                </c:pt>
                <c:pt idx="6257">
                  <c:v>5.9730620032351789</c:v>
                </c:pt>
                <c:pt idx="6258">
                  <c:v>5.8885261540559233</c:v>
                </c:pt>
                <c:pt idx="6259">
                  <c:v>5.9357504204321172</c:v>
                </c:pt>
                <c:pt idx="6260">
                  <c:v>4.804909926247853</c:v>
                </c:pt>
                <c:pt idx="6261">
                  <c:v>6.0094682184802526</c:v>
                </c:pt>
                <c:pt idx="6262">
                  <c:v>4.1083747777319255</c:v>
                </c:pt>
                <c:pt idx="6263">
                  <c:v>5.9336776837688294</c:v>
                </c:pt>
                <c:pt idx="6264">
                  <c:v>5.1637640024605442</c:v>
                </c:pt>
                <c:pt idx="6265">
                  <c:v>4.8161927955338832</c:v>
                </c:pt>
                <c:pt idx="6266">
                  <c:v>5.8455126638836763</c:v>
                </c:pt>
                <c:pt idx="6267">
                  <c:v>5.9538416618554324</c:v>
                </c:pt>
                <c:pt idx="6268">
                  <c:v>5.8649039614616587</c:v>
                </c:pt>
                <c:pt idx="6269">
                  <c:v>5.0120025972537521</c:v>
                </c:pt>
                <c:pt idx="6270">
                  <c:v>5.0867706036999945</c:v>
                </c:pt>
                <c:pt idx="6271">
                  <c:v>5.9384247682287477</c:v>
                </c:pt>
                <c:pt idx="6272">
                  <c:v>4.8266638471172385</c:v>
                </c:pt>
                <c:pt idx="6273">
                  <c:v>5.0595826311868688</c:v>
                </c:pt>
                <c:pt idx="6274">
                  <c:v>5.1280749700481225</c:v>
                </c:pt>
                <c:pt idx="6275">
                  <c:v>4.9662181795458062</c:v>
                </c:pt>
                <c:pt idx="6276">
                  <c:v>4.9002261012617501</c:v>
                </c:pt>
                <c:pt idx="6277">
                  <c:v>6.072456466011027</c:v>
                </c:pt>
                <c:pt idx="6278">
                  <c:v>5.9635710179896293</c:v>
                </c:pt>
                <c:pt idx="6279">
                  <c:v>6.0076814703479657</c:v>
                </c:pt>
                <c:pt idx="6280">
                  <c:v>5.8720119408371927</c:v>
                </c:pt>
                <c:pt idx="6281">
                  <c:v>5.9890697192480271</c:v>
                </c:pt>
                <c:pt idx="6282">
                  <c:v>5.8436496618763218</c:v>
                </c:pt>
                <c:pt idx="6283">
                  <c:v>5.9397960750669361</c:v>
                </c:pt>
                <c:pt idx="6284">
                  <c:v>6.0063838255138862</c:v>
                </c:pt>
                <c:pt idx="6285">
                  <c:v>6.0286610544700352</c:v>
                </c:pt>
                <c:pt idx="6286">
                  <c:v>6.0791215300974706</c:v>
                </c:pt>
                <c:pt idx="6287">
                  <c:v>5.8032901667697363</c:v>
                </c:pt>
                <c:pt idx="6288">
                  <c:v>5.9024758757551981</c:v>
                </c:pt>
                <c:pt idx="6289">
                  <c:v>6.0374555936240055</c:v>
                </c:pt>
                <c:pt idx="6290">
                  <c:v>6.0162278703420933</c:v>
                </c:pt>
                <c:pt idx="6291">
                  <c:v>5.9057246794966565</c:v>
                </c:pt>
                <c:pt idx="6292">
                  <c:v>6.8537226166537364</c:v>
                </c:pt>
                <c:pt idx="6293">
                  <c:v>5.9726659860971063</c:v>
                </c:pt>
                <c:pt idx="6294">
                  <c:v>5.9500511069713529</c:v>
                </c:pt>
                <c:pt idx="6295">
                  <c:v>4.0707245657932516</c:v>
                </c:pt>
                <c:pt idx="6296">
                  <c:v>4.018900031692116</c:v>
                </c:pt>
                <c:pt idx="6297">
                  <c:v>6.0820211291771393</c:v>
                </c:pt>
                <c:pt idx="6298">
                  <c:v>2.915693626310325</c:v>
                </c:pt>
                <c:pt idx="6299">
                  <c:v>6.0811680854894279</c:v>
                </c:pt>
                <c:pt idx="6300">
                  <c:v>5.9973394341795352</c:v>
                </c:pt>
                <c:pt idx="6301">
                  <c:v>4.9507154780239206</c:v>
                </c:pt>
                <c:pt idx="6302">
                  <c:v>5.9555607135623356</c:v>
                </c:pt>
                <c:pt idx="6303">
                  <c:v>6.0232418751220269</c:v>
                </c:pt>
                <c:pt idx="6304">
                  <c:v>4.9902701726696019</c:v>
                </c:pt>
                <c:pt idx="6305">
                  <c:v>2.7875662036916244</c:v>
                </c:pt>
                <c:pt idx="6306">
                  <c:v>6.0094458783516211</c:v>
                </c:pt>
                <c:pt idx="6307">
                  <c:v>6.232765298937756</c:v>
                </c:pt>
                <c:pt idx="6308">
                  <c:v>5.8652166244760586</c:v>
                </c:pt>
                <c:pt idx="6309">
                  <c:v>5.0537414483582284</c:v>
                </c:pt>
                <c:pt idx="6310">
                  <c:v>3.9907606551608468</c:v>
                </c:pt>
                <c:pt idx="6311">
                  <c:v>3.9445165453331472</c:v>
                </c:pt>
                <c:pt idx="6312">
                  <c:v>4.7595373010130722</c:v>
                </c:pt>
                <c:pt idx="6313">
                  <c:v>5.0942095757205124</c:v>
                </c:pt>
                <c:pt idx="6314">
                  <c:v>6.044465828148291</c:v>
                </c:pt>
                <c:pt idx="6315">
                  <c:v>6.06557789072499</c:v>
                </c:pt>
                <c:pt idx="6316">
                  <c:v>5.0857624471502803</c:v>
                </c:pt>
                <c:pt idx="6317">
                  <c:v>5.8604307574205139</c:v>
                </c:pt>
                <c:pt idx="6318">
                  <c:v>4.9741823875498019</c:v>
                </c:pt>
                <c:pt idx="6319">
                  <c:v>5.9615828976721126</c:v>
                </c:pt>
                <c:pt idx="6320">
                  <c:v>6.2220482108339219</c:v>
                </c:pt>
                <c:pt idx="6321">
                  <c:v>4.9530644929405803</c:v>
                </c:pt>
                <c:pt idx="6322">
                  <c:v>6.0582144657558503</c:v>
                </c:pt>
                <c:pt idx="6323">
                  <c:v>5.9354038764369168</c:v>
                </c:pt>
                <c:pt idx="6324">
                  <c:v>5.9702236159750646</c:v>
                </c:pt>
                <c:pt idx="6325">
                  <c:v>5.1012031828995141</c:v>
                </c:pt>
                <c:pt idx="6326">
                  <c:v>6.0846877590157264</c:v>
                </c:pt>
                <c:pt idx="6327">
                  <c:v>6.1682022743617662</c:v>
                </c:pt>
                <c:pt idx="6328">
                  <c:v>7.0468937331368542</c:v>
                </c:pt>
                <c:pt idx="6329">
                  <c:v>7.0054500586577122</c:v>
                </c:pt>
                <c:pt idx="6330">
                  <c:v>6.0066833339357855</c:v>
                </c:pt>
                <c:pt idx="6331">
                  <c:v>5.9958465455666268</c:v>
                </c:pt>
                <c:pt idx="6332">
                  <c:v>5.7868946821432763</c:v>
                </c:pt>
                <c:pt idx="6333">
                  <c:v>5.8451833239321047</c:v>
                </c:pt>
                <c:pt idx="6334">
                  <c:v>6.0850836021391048</c:v>
                </c:pt>
                <c:pt idx="6335">
                  <c:v>5.0769091371051545</c:v>
                </c:pt>
                <c:pt idx="6336">
                  <c:v>6.0087835187363092</c:v>
                </c:pt>
                <c:pt idx="6337">
                  <c:v>6.1100574963464025</c:v>
                </c:pt>
                <c:pt idx="6338">
                  <c:v>6.0769712699578537</c:v>
                </c:pt>
                <c:pt idx="6339">
                  <c:v>5.8716145283201104</c:v>
                </c:pt>
                <c:pt idx="6340">
                  <c:v>4.0050373541383237</c:v>
                </c:pt>
                <c:pt idx="6341">
                  <c:v>4.2008691106502072</c:v>
                </c:pt>
                <c:pt idx="6342">
                  <c:v>4.1618209934058124</c:v>
                </c:pt>
                <c:pt idx="6343">
                  <c:v>5.9817327476748492</c:v>
                </c:pt>
                <c:pt idx="6344">
                  <c:v>4.0188699745915466</c:v>
                </c:pt>
                <c:pt idx="6345">
                  <c:v>4.9117500175183251</c:v>
                </c:pt>
                <c:pt idx="6346">
                  <c:v>5.9851527815536443</c:v>
                </c:pt>
                <c:pt idx="6347">
                  <c:v>5.8444132140364902</c:v>
                </c:pt>
                <c:pt idx="6348">
                  <c:v>4.9701824444892715</c:v>
                </c:pt>
                <c:pt idx="6349">
                  <c:v>6.2092060043164707</c:v>
                </c:pt>
                <c:pt idx="6350">
                  <c:v>5.8808823122231777</c:v>
                </c:pt>
                <c:pt idx="6351">
                  <c:v>4.9583635434027737</c:v>
                </c:pt>
                <c:pt idx="6352">
                  <c:v>4.9868634656943778</c:v>
                </c:pt>
                <c:pt idx="6353">
                  <c:v>5.9422976301454487</c:v>
                </c:pt>
                <c:pt idx="6354">
                  <c:v>4.9980530798328555</c:v>
                </c:pt>
                <c:pt idx="6355">
                  <c:v>6.0839720353025903</c:v>
                </c:pt>
                <c:pt idx="6356">
                  <c:v>4.8791270914138503</c:v>
                </c:pt>
                <c:pt idx="6357">
                  <c:v>6.0080064458950435</c:v>
                </c:pt>
                <c:pt idx="6358">
                  <c:v>5.9640710755186106</c:v>
                </c:pt>
                <c:pt idx="6359">
                  <c:v>4.9243736147793351</c:v>
                </c:pt>
                <c:pt idx="6360">
                  <c:v>6.0777840121321933</c:v>
                </c:pt>
                <c:pt idx="6361">
                  <c:v>4.886345855807865</c:v>
                </c:pt>
                <c:pt idx="6362">
                  <c:v>5.1168096522460456</c:v>
                </c:pt>
                <c:pt idx="6363">
                  <c:v>5.0838962622546946</c:v>
                </c:pt>
                <c:pt idx="6364">
                  <c:v>4.9376553820125872</c:v>
                </c:pt>
                <c:pt idx="6365">
                  <c:v>4.9798137335741011</c:v>
                </c:pt>
                <c:pt idx="6366">
                  <c:v>4.9305624292534347</c:v>
                </c:pt>
                <c:pt idx="6367">
                  <c:v>5.9780163149726837</c:v>
                </c:pt>
                <c:pt idx="6368">
                  <c:v>5.7525670887336791</c:v>
                </c:pt>
                <c:pt idx="6369">
                  <c:v>4.053844564658732</c:v>
                </c:pt>
                <c:pt idx="6370">
                  <c:v>5.9913785549634158</c:v>
                </c:pt>
                <c:pt idx="6371">
                  <c:v>4.8223944398997025</c:v>
                </c:pt>
                <c:pt idx="6372">
                  <c:v>5.9684014316287888</c:v>
                </c:pt>
                <c:pt idx="6373">
                  <c:v>5.9117975034769144</c:v>
                </c:pt>
                <c:pt idx="6374">
                  <c:v>5.018732581930883</c:v>
                </c:pt>
                <c:pt idx="6375">
                  <c:v>6.1183793126396067</c:v>
                </c:pt>
                <c:pt idx="6376">
                  <c:v>6.9839873562745023</c:v>
                </c:pt>
                <c:pt idx="6377">
                  <c:v>6.0050868714428249</c:v>
                </c:pt>
                <c:pt idx="6378">
                  <c:v>5.1111507800720943</c:v>
                </c:pt>
                <c:pt idx="6379">
                  <c:v>6.166806345095714</c:v>
                </c:pt>
                <c:pt idx="6380">
                  <c:v>5.9051291557606405</c:v>
                </c:pt>
                <c:pt idx="6381">
                  <c:v>4.9098430649534777</c:v>
                </c:pt>
                <c:pt idx="6382">
                  <c:v>5.0203316918471153</c:v>
                </c:pt>
                <c:pt idx="6383">
                  <c:v>6.0815224554338769</c:v>
                </c:pt>
                <c:pt idx="6384">
                  <c:v>5.1170259256104131</c:v>
                </c:pt>
                <c:pt idx="6385">
                  <c:v>4.9618237678444892</c:v>
                </c:pt>
                <c:pt idx="6386">
                  <c:v>6.0747333178732656</c:v>
                </c:pt>
                <c:pt idx="6387">
                  <c:v>5.0396376555741034</c:v>
                </c:pt>
                <c:pt idx="6388">
                  <c:v>6.0376121224614376</c:v>
                </c:pt>
                <c:pt idx="6389">
                  <c:v>4.8958197090036331</c:v>
                </c:pt>
                <c:pt idx="6390">
                  <c:v>6.0010663375524533</c:v>
                </c:pt>
                <c:pt idx="6391">
                  <c:v>4.744648548829522</c:v>
                </c:pt>
                <c:pt idx="6392">
                  <c:v>4.9441478263800098</c:v>
                </c:pt>
                <c:pt idx="6393">
                  <c:v>6.0112337836545819</c:v>
                </c:pt>
                <c:pt idx="6394">
                  <c:v>4.860108834106331</c:v>
                </c:pt>
                <c:pt idx="6395">
                  <c:v>5.1852357715037733</c:v>
                </c:pt>
                <c:pt idx="6396">
                  <c:v>4.9813457088954864</c:v>
                </c:pt>
                <c:pt idx="6397">
                  <c:v>5.91896169903145</c:v>
                </c:pt>
                <c:pt idx="6398">
                  <c:v>5.0198224754858751</c:v>
                </c:pt>
                <c:pt idx="6399">
                  <c:v>5.0310069146053467</c:v>
                </c:pt>
                <c:pt idx="6400">
                  <c:v>5.9837422345888722</c:v>
                </c:pt>
                <c:pt idx="6401">
                  <c:v>5.9780304104196977</c:v>
                </c:pt>
                <c:pt idx="6402">
                  <c:v>6.0536111494359295</c:v>
                </c:pt>
                <c:pt idx="6403">
                  <c:v>5.0453378897128731</c:v>
                </c:pt>
                <c:pt idx="6404">
                  <c:v>4.9431444974109588</c:v>
                </c:pt>
                <c:pt idx="6405">
                  <c:v>4.9794205624868537</c:v>
                </c:pt>
                <c:pt idx="6406">
                  <c:v>6.1447658272447772</c:v>
                </c:pt>
                <c:pt idx="6407">
                  <c:v>5.8974603796936087</c:v>
                </c:pt>
                <c:pt idx="6408">
                  <c:v>5.8073023923528879</c:v>
                </c:pt>
                <c:pt idx="6409">
                  <c:v>5.9975904974883951</c:v>
                </c:pt>
                <c:pt idx="6410">
                  <c:v>6.0355829228541245</c:v>
                </c:pt>
                <c:pt idx="6411">
                  <c:v>6.1112563649264029</c:v>
                </c:pt>
                <c:pt idx="6412">
                  <c:v>5.0369467480516761</c:v>
                </c:pt>
                <c:pt idx="6413">
                  <c:v>5.0407612068964163</c:v>
                </c:pt>
                <c:pt idx="6414">
                  <c:v>4.9390966017618592</c:v>
                </c:pt>
                <c:pt idx="6415">
                  <c:v>6.099227759585875</c:v>
                </c:pt>
                <c:pt idx="6416">
                  <c:v>5.040872298021136</c:v>
                </c:pt>
                <c:pt idx="6417">
                  <c:v>4.941601264378467</c:v>
                </c:pt>
                <c:pt idx="6418">
                  <c:v>5.1447560191530579</c:v>
                </c:pt>
                <c:pt idx="6419">
                  <c:v>4.8883451599533725</c:v>
                </c:pt>
                <c:pt idx="6420">
                  <c:v>6.2719283664692451</c:v>
                </c:pt>
                <c:pt idx="6421">
                  <c:v>4.8766210711971807</c:v>
                </c:pt>
                <c:pt idx="6422">
                  <c:v>6.1236870993154255</c:v>
                </c:pt>
                <c:pt idx="6423">
                  <c:v>6.0323572778596741</c:v>
                </c:pt>
                <c:pt idx="6424">
                  <c:v>5.8989952825310095</c:v>
                </c:pt>
                <c:pt idx="6425">
                  <c:v>5.8170912983932936</c:v>
                </c:pt>
                <c:pt idx="6426">
                  <c:v>5.8668493913411446</c:v>
                </c:pt>
                <c:pt idx="6427">
                  <c:v>6.0267934081670136</c:v>
                </c:pt>
                <c:pt idx="6428">
                  <c:v>4.9430253311886752</c:v>
                </c:pt>
                <c:pt idx="6429">
                  <c:v>4.9424805398166596</c:v>
                </c:pt>
                <c:pt idx="6430">
                  <c:v>5.0909778062505602</c:v>
                </c:pt>
                <c:pt idx="6431">
                  <c:v>5.0369523742966331</c:v>
                </c:pt>
                <c:pt idx="6432">
                  <c:v>5.0704295508668373</c:v>
                </c:pt>
                <c:pt idx="6433">
                  <c:v>5.9677307653624698</c:v>
                </c:pt>
                <c:pt idx="6434">
                  <c:v>4.9155806918593656</c:v>
                </c:pt>
                <c:pt idx="6435">
                  <c:v>5.0126609649789566</c:v>
                </c:pt>
                <c:pt idx="6436">
                  <c:v>4.9727315006460202</c:v>
                </c:pt>
                <c:pt idx="6437">
                  <c:v>6.1002185482235118</c:v>
                </c:pt>
                <c:pt idx="6438">
                  <c:v>6.171819998149938</c:v>
                </c:pt>
                <c:pt idx="6439">
                  <c:v>4.8267760149512169</c:v>
                </c:pt>
                <c:pt idx="6440">
                  <c:v>4.9497720524952511</c:v>
                </c:pt>
                <c:pt idx="6441">
                  <c:v>5.9431874743960167</c:v>
                </c:pt>
                <c:pt idx="6442">
                  <c:v>6.0538052802799998</c:v>
                </c:pt>
                <c:pt idx="6443">
                  <c:v>5.1104550010650476</c:v>
                </c:pt>
                <c:pt idx="6444">
                  <c:v>5.06440718325047</c:v>
                </c:pt>
                <c:pt idx="6445">
                  <c:v>6.0247443221635795</c:v>
                </c:pt>
                <c:pt idx="6446">
                  <c:v>4.8147668992536907</c:v>
                </c:pt>
                <c:pt idx="6447">
                  <c:v>5.9191753379182961</c:v>
                </c:pt>
                <c:pt idx="6448">
                  <c:v>6.0453819854556121</c:v>
                </c:pt>
                <c:pt idx="6449">
                  <c:v>5.1586703078914606</c:v>
                </c:pt>
                <c:pt idx="6450">
                  <c:v>4.8696812678818846</c:v>
                </c:pt>
                <c:pt idx="6451">
                  <c:v>6.0157089141491333</c:v>
                </c:pt>
                <c:pt idx="6452">
                  <c:v>4.7882898444979034</c:v>
                </c:pt>
                <c:pt idx="6453">
                  <c:v>5.7080180870990764</c:v>
                </c:pt>
                <c:pt idx="6454">
                  <c:v>5.1678936182027151</c:v>
                </c:pt>
                <c:pt idx="6455">
                  <c:v>5.0673839812020098</c:v>
                </c:pt>
                <c:pt idx="6456">
                  <c:v>4.9579690717037019</c:v>
                </c:pt>
                <c:pt idx="6457">
                  <c:v>5.9172897645891682</c:v>
                </c:pt>
                <c:pt idx="6458">
                  <c:v>5.1287296769898951</c:v>
                </c:pt>
                <c:pt idx="6459">
                  <c:v>5.0411358073423145</c:v>
                </c:pt>
                <c:pt idx="6460">
                  <c:v>4.8594282667973827</c:v>
                </c:pt>
                <c:pt idx="6461">
                  <c:v>5.0049999238075387</c:v>
                </c:pt>
                <c:pt idx="6462">
                  <c:v>5.0894375229033253</c:v>
                </c:pt>
                <c:pt idx="6463">
                  <c:v>5.0461868343865746</c:v>
                </c:pt>
                <c:pt idx="6464">
                  <c:v>5.9392123878494738</c:v>
                </c:pt>
                <c:pt idx="6465">
                  <c:v>5.0363500236833554</c:v>
                </c:pt>
                <c:pt idx="6466">
                  <c:v>5.1022960283207777</c:v>
                </c:pt>
                <c:pt idx="6467">
                  <c:v>6.0308308094914613</c:v>
                </c:pt>
                <c:pt idx="6468">
                  <c:v>4.8752396384310765</c:v>
                </c:pt>
                <c:pt idx="6469">
                  <c:v>4.8787232497269644</c:v>
                </c:pt>
                <c:pt idx="6470">
                  <c:v>6.1155955503793535</c:v>
                </c:pt>
                <c:pt idx="6471">
                  <c:v>5.0294605059905191</c:v>
                </c:pt>
                <c:pt idx="6472">
                  <c:v>4.9050040975237668</c:v>
                </c:pt>
                <c:pt idx="6473">
                  <c:v>4.9067787172015134</c:v>
                </c:pt>
                <c:pt idx="6474">
                  <c:v>5.929261602113157</c:v>
                </c:pt>
                <c:pt idx="6475">
                  <c:v>6.9388593667392229</c:v>
                </c:pt>
                <c:pt idx="6476">
                  <c:v>7.1198251710421605</c:v>
                </c:pt>
                <c:pt idx="6477">
                  <c:v>5.8729750631081385</c:v>
                </c:pt>
                <c:pt idx="6478">
                  <c:v>6.0408368146100413</c:v>
                </c:pt>
                <c:pt idx="6479">
                  <c:v>4.9502486700657045</c:v>
                </c:pt>
                <c:pt idx="6480">
                  <c:v>6.9269531439357337</c:v>
                </c:pt>
                <c:pt idx="6481">
                  <c:v>6.8229402751348465</c:v>
                </c:pt>
                <c:pt idx="6482">
                  <c:v>5.9489658006602113</c:v>
                </c:pt>
                <c:pt idx="6483">
                  <c:v>6.1591153564608847</c:v>
                </c:pt>
                <c:pt idx="6484">
                  <c:v>5.0676382834491358</c:v>
                </c:pt>
                <c:pt idx="6485">
                  <c:v>4.9140884110133447</c:v>
                </c:pt>
                <c:pt idx="6486">
                  <c:v>6.168970021724963</c:v>
                </c:pt>
                <c:pt idx="6487">
                  <c:v>4.8993162526923451</c:v>
                </c:pt>
                <c:pt idx="6488">
                  <c:v>6.0007410712318974</c:v>
                </c:pt>
                <c:pt idx="6489">
                  <c:v>6.1023218188925519</c:v>
                </c:pt>
                <c:pt idx="6490">
                  <c:v>6.118399238105523</c:v>
                </c:pt>
                <c:pt idx="6491">
                  <c:v>5.9422356452669058</c:v>
                </c:pt>
                <c:pt idx="6492">
                  <c:v>4.9512964557234271</c:v>
                </c:pt>
                <c:pt idx="6493">
                  <c:v>5.851301559405778</c:v>
                </c:pt>
                <c:pt idx="6494">
                  <c:v>6.9962566500827323</c:v>
                </c:pt>
                <c:pt idx="6495">
                  <c:v>6.0252492005469982</c:v>
                </c:pt>
                <c:pt idx="6496">
                  <c:v>6.0187985872866783</c:v>
                </c:pt>
                <c:pt idx="6497">
                  <c:v>6.0397632815687201</c:v>
                </c:pt>
                <c:pt idx="6498">
                  <c:v>5.9166217583007246</c:v>
                </c:pt>
                <c:pt idx="6499">
                  <c:v>5.0768042320398417</c:v>
                </c:pt>
                <c:pt idx="6500">
                  <c:v>5.0338539252514272</c:v>
                </c:pt>
                <c:pt idx="6501">
                  <c:v>5.7135527938423438</c:v>
                </c:pt>
                <c:pt idx="6502">
                  <c:v>5.8427393398825203</c:v>
                </c:pt>
                <c:pt idx="6503">
                  <c:v>5.0152090328098309</c:v>
                </c:pt>
                <c:pt idx="6504">
                  <c:v>6.0480944685380411</c:v>
                </c:pt>
                <c:pt idx="6505">
                  <c:v>4.9437798079366617</c:v>
                </c:pt>
                <c:pt idx="6506">
                  <c:v>5.9670316631475639</c:v>
                </c:pt>
                <c:pt idx="6507">
                  <c:v>5.9153549598562076</c:v>
                </c:pt>
                <c:pt idx="6508">
                  <c:v>4.9415055845628233</c:v>
                </c:pt>
                <c:pt idx="6509">
                  <c:v>5.0437420271046687</c:v>
                </c:pt>
                <c:pt idx="6510">
                  <c:v>4.9657027729761918</c:v>
                </c:pt>
                <c:pt idx="6511">
                  <c:v>5.0951955842702796</c:v>
                </c:pt>
                <c:pt idx="6512">
                  <c:v>5.1404527074338597</c:v>
                </c:pt>
                <c:pt idx="6513">
                  <c:v>6.0125652459915697</c:v>
                </c:pt>
                <c:pt idx="6514">
                  <c:v>6.1301930535855931</c:v>
                </c:pt>
                <c:pt idx="6515">
                  <c:v>4.9476410608390955</c:v>
                </c:pt>
                <c:pt idx="6516">
                  <c:v>5.0127411425974602</c:v>
                </c:pt>
                <c:pt idx="6517">
                  <c:v>5.9734287463995113</c:v>
                </c:pt>
                <c:pt idx="6518">
                  <c:v>5.0502583161943422</c:v>
                </c:pt>
                <c:pt idx="6519">
                  <c:v>5.9464980647775354</c:v>
                </c:pt>
                <c:pt idx="6520">
                  <c:v>6.1570878958358666</c:v>
                </c:pt>
                <c:pt idx="6521">
                  <c:v>6.0476559278305748</c:v>
                </c:pt>
                <c:pt idx="6522">
                  <c:v>4.9547645835935743</c:v>
                </c:pt>
                <c:pt idx="6523">
                  <c:v>5.8809407457209293</c:v>
                </c:pt>
                <c:pt idx="6524">
                  <c:v>5.0294666690049503</c:v>
                </c:pt>
                <c:pt idx="6525">
                  <c:v>4.8998264578079631</c:v>
                </c:pt>
                <c:pt idx="6526">
                  <c:v>4.9904776733413421</c:v>
                </c:pt>
                <c:pt idx="6527">
                  <c:v>4.9471333091332168</c:v>
                </c:pt>
                <c:pt idx="6528">
                  <c:v>4.9932955506888064</c:v>
                </c:pt>
                <c:pt idx="6529">
                  <c:v>6.1145416177304828</c:v>
                </c:pt>
                <c:pt idx="6530">
                  <c:v>5.9673738976555155</c:v>
                </c:pt>
                <c:pt idx="6531">
                  <c:v>6.0506082183972918</c:v>
                </c:pt>
                <c:pt idx="6532">
                  <c:v>5.9857916385338958</c:v>
                </c:pt>
                <c:pt idx="6533">
                  <c:v>5.8857317697371059</c:v>
                </c:pt>
                <c:pt idx="6534">
                  <c:v>6.0965464612462315</c:v>
                </c:pt>
                <c:pt idx="6535">
                  <c:v>6.0089905595452784</c:v>
                </c:pt>
                <c:pt idx="6536">
                  <c:v>6.0895781537241556</c:v>
                </c:pt>
                <c:pt idx="6537">
                  <c:v>6.1293763698208599</c:v>
                </c:pt>
                <c:pt idx="6538">
                  <c:v>6.0530184939674712</c:v>
                </c:pt>
                <c:pt idx="6539">
                  <c:v>5.1133236467161076</c:v>
                </c:pt>
                <c:pt idx="6540">
                  <c:v>4.8148281094384178</c:v>
                </c:pt>
                <c:pt idx="6541">
                  <c:v>1.9958085607967389</c:v>
                </c:pt>
                <c:pt idx="6542">
                  <c:v>6.0443938200552481</c:v>
                </c:pt>
                <c:pt idx="6543">
                  <c:v>4.9444721409393182</c:v>
                </c:pt>
                <c:pt idx="6544">
                  <c:v>5.1324413704598602</c:v>
                </c:pt>
                <c:pt idx="6545">
                  <c:v>4.8682546791432912</c:v>
                </c:pt>
                <c:pt idx="6546">
                  <c:v>4.884980095293785</c:v>
                </c:pt>
                <c:pt idx="6547">
                  <c:v>5.0640324862388644</c:v>
                </c:pt>
                <c:pt idx="6548">
                  <c:v>4.9744527915673666</c:v>
                </c:pt>
                <c:pt idx="6549">
                  <c:v>5.0478771783450442</c:v>
                </c:pt>
                <c:pt idx="6550">
                  <c:v>5.9304782608756152</c:v>
                </c:pt>
                <c:pt idx="6551">
                  <c:v>4.8712738616494073</c:v>
                </c:pt>
                <c:pt idx="6552">
                  <c:v>6.0620832971289804</c:v>
                </c:pt>
                <c:pt idx="6553">
                  <c:v>6.0068059050906291</c:v>
                </c:pt>
                <c:pt idx="6554">
                  <c:v>6.1184542320748143</c:v>
                </c:pt>
                <c:pt idx="6555">
                  <c:v>4.8806680940803204</c:v>
                </c:pt>
                <c:pt idx="6556">
                  <c:v>6.0547635808049645</c:v>
                </c:pt>
                <c:pt idx="6557">
                  <c:v>5.0134097990649567</c:v>
                </c:pt>
                <c:pt idx="6558">
                  <c:v>5.0235535498307344</c:v>
                </c:pt>
                <c:pt idx="6559">
                  <c:v>4.7956626525019459</c:v>
                </c:pt>
                <c:pt idx="6560">
                  <c:v>6.0339388089685384</c:v>
                </c:pt>
                <c:pt idx="6561">
                  <c:v>5.8123555238286855</c:v>
                </c:pt>
                <c:pt idx="6562">
                  <c:v>6.1386834685090159</c:v>
                </c:pt>
                <c:pt idx="6563">
                  <c:v>4.9835622276889477</c:v>
                </c:pt>
                <c:pt idx="6564">
                  <c:v>5.0651956248151899</c:v>
                </c:pt>
                <c:pt idx="6565">
                  <c:v>5.0918341911753568</c:v>
                </c:pt>
                <c:pt idx="6566">
                  <c:v>4.9467148179184752</c:v>
                </c:pt>
                <c:pt idx="6567">
                  <c:v>5.159364330404653</c:v>
                </c:pt>
                <c:pt idx="6568">
                  <c:v>4.8626386143857063</c:v>
                </c:pt>
                <c:pt idx="6569">
                  <c:v>5.9081200066605382</c:v>
                </c:pt>
                <c:pt idx="6570">
                  <c:v>5.966630468749532</c:v>
                </c:pt>
                <c:pt idx="6571">
                  <c:v>4.9891409220143261</c:v>
                </c:pt>
                <c:pt idx="6572">
                  <c:v>4.8889154034140168</c:v>
                </c:pt>
                <c:pt idx="6573">
                  <c:v>5.846836110803066</c:v>
                </c:pt>
                <c:pt idx="6574">
                  <c:v>6.22938241427065</c:v>
                </c:pt>
                <c:pt idx="6575">
                  <c:v>5.9420649381572632</c:v>
                </c:pt>
                <c:pt idx="6576">
                  <c:v>5.993721814467535</c:v>
                </c:pt>
                <c:pt idx="6577">
                  <c:v>5.0589145097342909</c:v>
                </c:pt>
                <c:pt idx="6578">
                  <c:v>4.9813306636681851</c:v>
                </c:pt>
                <c:pt idx="6579">
                  <c:v>6.8852109073235059</c:v>
                </c:pt>
                <c:pt idx="6580">
                  <c:v>5.8380266544721042</c:v>
                </c:pt>
                <c:pt idx="6581">
                  <c:v>5.939274818954611</c:v>
                </c:pt>
                <c:pt idx="6582">
                  <c:v>4.8882486844166735</c:v>
                </c:pt>
                <c:pt idx="6583">
                  <c:v>5.1320585217637182</c:v>
                </c:pt>
                <c:pt idx="6584">
                  <c:v>6.0168046803528608</c:v>
                </c:pt>
                <c:pt idx="6585">
                  <c:v>5.0940746122721592</c:v>
                </c:pt>
                <c:pt idx="6586">
                  <c:v>5.1593387550880649</c:v>
                </c:pt>
                <c:pt idx="6587">
                  <c:v>6.8473032899083304</c:v>
                </c:pt>
                <c:pt idx="6588">
                  <c:v>6.8206137585727253</c:v>
                </c:pt>
                <c:pt idx="6589">
                  <c:v>5.9086784453649042</c:v>
                </c:pt>
                <c:pt idx="6590">
                  <c:v>3.9796925903691336</c:v>
                </c:pt>
                <c:pt idx="6591">
                  <c:v>5.0680327605886708</c:v>
                </c:pt>
                <c:pt idx="6592">
                  <c:v>6.0377413422192161</c:v>
                </c:pt>
                <c:pt idx="6593">
                  <c:v>4.8910375940696893</c:v>
                </c:pt>
                <c:pt idx="6594">
                  <c:v>5.9486634995755248</c:v>
                </c:pt>
                <c:pt idx="6595">
                  <c:v>4.8805354174257678</c:v>
                </c:pt>
                <c:pt idx="6596">
                  <c:v>5.0019519211877448</c:v>
                </c:pt>
                <c:pt idx="6597">
                  <c:v>5.0636168720052988</c:v>
                </c:pt>
                <c:pt idx="6598">
                  <c:v>5.0074216754367304</c:v>
                </c:pt>
                <c:pt idx="6599">
                  <c:v>4.8705473713325418</c:v>
                </c:pt>
                <c:pt idx="6600">
                  <c:v>7.0368484998723888</c:v>
                </c:pt>
                <c:pt idx="6601">
                  <c:v>5.8609473765569762</c:v>
                </c:pt>
                <c:pt idx="6602">
                  <c:v>5.1189008027829628</c:v>
                </c:pt>
                <c:pt idx="6603">
                  <c:v>6.1511010416788166</c:v>
                </c:pt>
                <c:pt idx="6604">
                  <c:v>4.9652750272050632</c:v>
                </c:pt>
                <c:pt idx="6605">
                  <c:v>5.9530086830674822</c:v>
                </c:pt>
                <c:pt idx="6606">
                  <c:v>4.9340306250771606</c:v>
                </c:pt>
                <c:pt idx="6607">
                  <c:v>5.0942818388345907</c:v>
                </c:pt>
                <c:pt idx="6608">
                  <c:v>4.8361062603200393</c:v>
                </c:pt>
                <c:pt idx="6609">
                  <c:v>5.1035079245938384</c:v>
                </c:pt>
                <c:pt idx="6610">
                  <c:v>5.7580782351050361</c:v>
                </c:pt>
                <c:pt idx="6611">
                  <c:v>5.015366658526581</c:v>
                </c:pt>
                <c:pt idx="6612">
                  <c:v>5.9402011438188582</c:v>
                </c:pt>
                <c:pt idx="6613">
                  <c:v>5.9443314199959207</c:v>
                </c:pt>
                <c:pt idx="6614">
                  <c:v>6.0306767288174967</c:v>
                </c:pt>
                <c:pt idx="6615">
                  <c:v>5.9891600443094317</c:v>
                </c:pt>
                <c:pt idx="6616">
                  <c:v>4.7592063007647045</c:v>
                </c:pt>
                <c:pt idx="6617">
                  <c:v>4.9459566279430849</c:v>
                </c:pt>
                <c:pt idx="6618">
                  <c:v>4.965493496310887</c:v>
                </c:pt>
                <c:pt idx="6619">
                  <c:v>5.0395618602556205</c:v>
                </c:pt>
                <c:pt idx="6620">
                  <c:v>6.0607441747263557</c:v>
                </c:pt>
                <c:pt idx="6621">
                  <c:v>4.8339959906189094</c:v>
                </c:pt>
                <c:pt idx="6622">
                  <c:v>5.9357609227921362</c:v>
                </c:pt>
                <c:pt idx="6623">
                  <c:v>5.9457072405764677</c:v>
                </c:pt>
                <c:pt idx="6624">
                  <c:v>4.8223713761667284</c:v>
                </c:pt>
                <c:pt idx="6625">
                  <c:v>5.0990935210529518</c:v>
                </c:pt>
                <c:pt idx="6626">
                  <c:v>7.0513723975431173</c:v>
                </c:pt>
                <c:pt idx="6627">
                  <c:v>5.9667728022942264</c:v>
                </c:pt>
                <c:pt idx="6628">
                  <c:v>5.8407871255230983</c:v>
                </c:pt>
                <c:pt idx="6629">
                  <c:v>5.0245162615554433</c:v>
                </c:pt>
                <c:pt idx="6630">
                  <c:v>5.2519942617544126</c:v>
                </c:pt>
                <c:pt idx="6631">
                  <c:v>6.0131678996554383</c:v>
                </c:pt>
                <c:pt idx="6632">
                  <c:v>5.9878739372862713</c:v>
                </c:pt>
                <c:pt idx="6633">
                  <c:v>7.0223614170562696</c:v>
                </c:pt>
                <c:pt idx="6634">
                  <c:v>4.9726660242186389</c:v>
                </c:pt>
                <c:pt idx="6635">
                  <c:v>5.9258982179161084</c:v>
                </c:pt>
                <c:pt idx="6636">
                  <c:v>3.9773787382832801</c:v>
                </c:pt>
                <c:pt idx="6637">
                  <c:v>6.0375886699846566</c:v>
                </c:pt>
                <c:pt idx="6638">
                  <c:v>6.1062005431804049</c:v>
                </c:pt>
                <c:pt idx="6639">
                  <c:v>5.0663580228257459</c:v>
                </c:pt>
                <c:pt idx="6640">
                  <c:v>5.0295930769941268</c:v>
                </c:pt>
                <c:pt idx="6641">
                  <c:v>6.0742223664043706</c:v>
                </c:pt>
                <c:pt idx="6642">
                  <c:v>6.0071552386170337</c:v>
                </c:pt>
                <c:pt idx="6643">
                  <c:v>6.0647081144690587</c:v>
                </c:pt>
                <c:pt idx="6644">
                  <c:v>7.2110902422445813</c:v>
                </c:pt>
                <c:pt idx="6645">
                  <c:v>6.1583325512989227</c:v>
                </c:pt>
                <c:pt idx="6646">
                  <c:v>5.9511876649527258</c:v>
                </c:pt>
                <c:pt idx="6647">
                  <c:v>4.8363226138281243</c:v>
                </c:pt>
                <c:pt idx="6648">
                  <c:v>4.9632028541910307</c:v>
                </c:pt>
                <c:pt idx="6649">
                  <c:v>5.9678485019091347</c:v>
                </c:pt>
                <c:pt idx="6650">
                  <c:v>5.1430415409894259</c:v>
                </c:pt>
                <c:pt idx="6651">
                  <c:v>6.0319186435290097</c:v>
                </c:pt>
                <c:pt idx="6652">
                  <c:v>5.8787460093953472</c:v>
                </c:pt>
                <c:pt idx="6653">
                  <c:v>4.9687659802847746</c:v>
                </c:pt>
                <c:pt idx="6654">
                  <c:v>4.9860543729895923</c:v>
                </c:pt>
                <c:pt idx="6655">
                  <c:v>5.9273652031841078</c:v>
                </c:pt>
                <c:pt idx="6656">
                  <c:v>5.0749432088833704</c:v>
                </c:pt>
                <c:pt idx="6657">
                  <c:v>4.9823748905810694</c:v>
                </c:pt>
                <c:pt idx="6658">
                  <c:v>5.9047449047128202</c:v>
                </c:pt>
                <c:pt idx="6659">
                  <c:v>5.9251539664878399</c:v>
                </c:pt>
                <c:pt idx="6660">
                  <c:v>5.9707190296358013</c:v>
                </c:pt>
                <c:pt idx="6661">
                  <c:v>7.0230090818938846</c:v>
                </c:pt>
                <c:pt idx="6662">
                  <c:v>8.898524100268725</c:v>
                </c:pt>
                <c:pt idx="6663">
                  <c:v>5.9845440782214689</c:v>
                </c:pt>
                <c:pt idx="6664">
                  <c:v>4.7806833404053304</c:v>
                </c:pt>
                <c:pt idx="6665">
                  <c:v>4.9982760398234936</c:v>
                </c:pt>
                <c:pt idx="6666">
                  <c:v>6.0842935611680398</c:v>
                </c:pt>
                <c:pt idx="6667">
                  <c:v>5.9776374655443538</c:v>
                </c:pt>
                <c:pt idx="6668">
                  <c:v>6.1070999786454481</c:v>
                </c:pt>
                <c:pt idx="6669">
                  <c:v>5.8841610173891494</c:v>
                </c:pt>
                <c:pt idx="6670">
                  <c:v>6.0706094567947346</c:v>
                </c:pt>
                <c:pt idx="6671">
                  <c:v>6.078375634466588</c:v>
                </c:pt>
                <c:pt idx="6672">
                  <c:v>5.8953740150956904</c:v>
                </c:pt>
                <c:pt idx="6673">
                  <c:v>4.8846115071910781</c:v>
                </c:pt>
                <c:pt idx="6674">
                  <c:v>5.8286371339088223</c:v>
                </c:pt>
                <c:pt idx="6675">
                  <c:v>5.8777633690777824</c:v>
                </c:pt>
                <c:pt idx="6676">
                  <c:v>5.8416161424964557</c:v>
                </c:pt>
                <c:pt idx="6677">
                  <c:v>4.9790118435975135</c:v>
                </c:pt>
                <c:pt idx="6678">
                  <c:v>3.8730405925483256</c:v>
                </c:pt>
                <c:pt idx="6679">
                  <c:v>6.0135040196458478</c:v>
                </c:pt>
                <c:pt idx="6680">
                  <c:v>5.2228277420126883</c:v>
                </c:pt>
                <c:pt idx="6681">
                  <c:v>6.1047259021786671</c:v>
                </c:pt>
                <c:pt idx="6682">
                  <c:v>5.1201952764953562</c:v>
                </c:pt>
                <c:pt idx="6683">
                  <c:v>5.0470775795696365</c:v>
                </c:pt>
                <c:pt idx="6684">
                  <c:v>4.8570584518881983</c:v>
                </c:pt>
                <c:pt idx="6685">
                  <c:v>6.1506712664730703</c:v>
                </c:pt>
                <c:pt idx="6686">
                  <c:v>5.9101748532239933</c:v>
                </c:pt>
                <c:pt idx="6687">
                  <c:v>4.9507252243310731</c:v>
                </c:pt>
                <c:pt idx="6688">
                  <c:v>6.157427147690786</c:v>
                </c:pt>
                <c:pt idx="6689">
                  <c:v>4.882875953661042</c:v>
                </c:pt>
                <c:pt idx="6690">
                  <c:v>4.8969966188790561</c:v>
                </c:pt>
                <c:pt idx="6691">
                  <c:v>4.8439968707308418</c:v>
                </c:pt>
                <c:pt idx="6692">
                  <c:v>5.9602037980659848</c:v>
                </c:pt>
                <c:pt idx="6693">
                  <c:v>5.9675960227628302</c:v>
                </c:pt>
                <c:pt idx="6694">
                  <c:v>6.0955380514020581</c:v>
                </c:pt>
                <c:pt idx="6695">
                  <c:v>6.0276709193532083</c:v>
                </c:pt>
                <c:pt idx="6696">
                  <c:v>5.0299121789210028</c:v>
                </c:pt>
                <c:pt idx="6697">
                  <c:v>5.0298738784295889</c:v>
                </c:pt>
                <c:pt idx="6698">
                  <c:v>5.0272067323040526</c:v>
                </c:pt>
                <c:pt idx="6699">
                  <c:v>4.920808142432687</c:v>
                </c:pt>
                <c:pt idx="6700">
                  <c:v>5.9633162009978538</c:v>
                </c:pt>
                <c:pt idx="6701">
                  <c:v>5.0828685820006427</c:v>
                </c:pt>
                <c:pt idx="6702">
                  <c:v>5.1426702581243919</c:v>
                </c:pt>
                <c:pt idx="6703">
                  <c:v>5.0592935951208666</c:v>
                </c:pt>
                <c:pt idx="6704">
                  <c:v>5.0997137988561141</c:v>
                </c:pt>
                <c:pt idx="6705">
                  <c:v>6.2110408720401491</c:v>
                </c:pt>
                <c:pt idx="6706">
                  <c:v>4.8505810288190734</c:v>
                </c:pt>
                <c:pt idx="6707">
                  <c:v>5.0106120720260678</c:v>
                </c:pt>
                <c:pt idx="6708">
                  <c:v>4.963809359524368</c:v>
                </c:pt>
                <c:pt idx="6709">
                  <c:v>4.7545731090775645</c:v>
                </c:pt>
                <c:pt idx="6710">
                  <c:v>6.0605954516950034</c:v>
                </c:pt>
                <c:pt idx="6711">
                  <c:v>6.066116813182008</c:v>
                </c:pt>
                <c:pt idx="6712">
                  <c:v>5.077012696551737</c:v>
                </c:pt>
                <c:pt idx="6713">
                  <c:v>5.0243341946068796</c:v>
                </c:pt>
                <c:pt idx="6714">
                  <c:v>4.9555763607224517</c:v>
                </c:pt>
                <c:pt idx="6715">
                  <c:v>4.9699894537116416</c:v>
                </c:pt>
                <c:pt idx="6716">
                  <c:v>5.0747437409443314</c:v>
                </c:pt>
                <c:pt idx="6717">
                  <c:v>5.8593770501547633</c:v>
                </c:pt>
                <c:pt idx="6718">
                  <c:v>5.9640184257500488</c:v>
                </c:pt>
                <c:pt idx="6719">
                  <c:v>7.0391966174293019</c:v>
                </c:pt>
                <c:pt idx="6720">
                  <c:v>5.9810152843539219</c:v>
                </c:pt>
                <c:pt idx="6721">
                  <c:v>5.9828149123098902</c:v>
                </c:pt>
                <c:pt idx="6722">
                  <c:v>4.956029453743124</c:v>
                </c:pt>
                <c:pt idx="6723">
                  <c:v>5.8295826043444787</c:v>
                </c:pt>
                <c:pt idx="6724">
                  <c:v>6.1074669538993103</c:v>
                </c:pt>
                <c:pt idx="6725">
                  <c:v>6.0213083604898294</c:v>
                </c:pt>
                <c:pt idx="6726">
                  <c:v>5.9697349712987577</c:v>
                </c:pt>
                <c:pt idx="6727">
                  <c:v>5.8505236820482063</c:v>
                </c:pt>
                <c:pt idx="6728">
                  <c:v>5.9326183244131157</c:v>
                </c:pt>
                <c:pt idx="6729">
                  <c:v>5.9228884978569507</c:v>
                </c:pt>
                <c:pt idx="6730">
                  <c:v>6.0089743796231163</c:v>
                </c:pt>
                <c:pt idx="6731">
                  <c:v>5.8841119245937987</c:v>
                </c:pt>
                <c:pt idx="6732">
                  <c:v>6.1112332058864993</c:v>
                </c:pt>
                <c:pt idx="6733">
                  <c:v>7.0356342895613917</c:v>
                </c:pt>
                <c:pt idx="6734">
                  <c:v>5.8524213124533784</c:v>
                </c:pt>
                <c:pt idx="6735">
                  <c:v>5.1051057218055185</c:v>
                </c:pt>
                <c:pt idx="6736">
                  <c:v>6.9473516626096634</c:v>
                </c:pt>
                <c:pt idx="6737">
                  <c:v>5.8787838169845736</c:v>
                </c:pt>
                <c:pt idx="6738">
                  <c:v>5.8637580402602625</c:v>
                </c:pt>
                <c:pt idx="6739">
                  <c:v>6.2533692537818384</c:v>
                </c:pt>
                <c:pt idx="6740">
                  <c:v>5.9995556603865134</c:v>
                </c:pt>
                <c:pt idx="6741">
                  <c:v>5.8352034410682689</c:v>
                </c:pt>
                <c:pt idx="6742">
                  <c:v>6.8901220862810781</c:v>
                </c:pt>
                <c:pt idx="6743">
                  <c:v>6.8932533131689055</c:v>
                </c:pt>
                <c:pt idx="6744">
                  <c:v>7.1108696817555543</c:v>
                </c:pt>
                <c:pt idx="6745">
                  <c:v>5.0952915676541375</c:v>
                </c:pt>
                <c:pt idx="6746">
                  <c:v>5.9475548453448983</c:v>
                </c:pt>
                <c:pt idx="6747">
                  <c:v>6.0680786957822281</c:v>
                </c:pt>
                <c:pt idx="6748">
                  <c:v>6.1566259802548347</c:v>
                </c:pt>
                <c:pt idx="6749">
                  <c:v>4.970481831929547</c:v>
                </c:pt>
                <c:pt idx="6750">
                  <c:v>4.9178789724683671</c:v>
                </c:pt>
                <c:pt idx="6751">
                  <c:v>6.056096012153561</c:v>
                </c:pt>
                <c:pt idx="6752">
                  <c:v>6.0431590904055525</c:v>
                </c:pt>
                <c:pt idx="6753">
                  <c:v>7.0720119132502113</c:v>
                </c:pt>
                <c:pt idx="6754">
                  <c:v>5.9810773507062933</c:v>
                </c:pt>
                <c:pt idx="6755">
                  <c:v>5.9497671440362456</c:v>
                </c:pt>
                <c:pt idx="6756">
                  <c:v>6.8305840761204264</c:v>
                </c:pt>
                <c:pt idx="6757">
                  <c:v>5.0296802850319029</c:v>
                </c:pt>
                <c:pt idx="6758">
                  <c:v>6.8549328967040468</c:v>
                </c:pt>
                <c:pt idx="6759">
                  <c:v>5.8931336440363458</c:v>
                </c:pt>
                <c:pt idx="6760">
                  <c:v>5.9902472500666288</c:v>
                </c:pt>
                <c:pt idx="6761">
                  <c:v>6.0869111708169656</c:v>
                </c:pt>
                <c:pt idx="6762">
                  <c:v>4.7981047175742964</c:v>
                </c:pt>
                <c:pt idx="6763">
                  <c:v>5.0075989294520076</c:v>
                </c:pt>
                <c:pt idx="6764">
                  <c:v>7.0209892465280888</c:v>
                </c:pt>
                <c:pt idx="6765">
                  <c:v>5.9870271594577282</c:v>
                </c:pt>
                <c:pt idx="6766">
                  <c:v>5.3175540759253881</c:v>
                </c:pt>
                <c:pt idx="6767">
                  <c:v>6.0950474619552644</c:v>
                </c:pt>
                <c:pt idx="6768">
                  <c:v>7.0937098220344401</c:v>
                </c:pt>
                <c:pt idx="6769">
                  <c:v>4.9003592530387641</c:v>
                </c:pt>
                <c:pt idx="6770">
                  <c:v>4.9888255590065693</c:v>
                </c:pt>
                <c:pt idx="6771">
                  <c:v>4.855062413246908</c:v>
                </c:pt>
                <c:pt idx="6772">
                  <c:v>4.9447176552909422</c:v>
                </c:pt>
                <c:pt idx="6773">
                  <c:v>4.8999203726746234</c:v>
                </c:pt>
                <c:pt idx="6774">
                  <c:v>4.8707732314772807</c:v>
                </c:pt>
                <c:pt idx="6775">
                  <c:v>5.9183973728850399</c:v>
                </c:pt>
                <c:pt idx="6776">
                  <c:v>4.8332563226818017</c:v>
                </c:pt>
                <c:pt idx="6777">
                  <c:v>4.8131249445064235</c:v>
                </c:pt>
                <c:pt idx="6778">
                  <c:v>5.9315191466869051</c:v>
                </c:pt>
                <c:pt idx="6779">
                  <c:v>6.9744784826003547</c:v>
                </c:pt>
                <c:pt idx="6780">
                  <c:v>4.8867435297148472</c:v>
                </c:pt>
                <c:pt idx="6781">
                  <c:v>5.0503954471298176</c:v>
                </c:pt>
                <c:pt idx="6782">
                  <c:v>6.1584212713337649</c:v>
                </c:pt>
                <c:pt idx="6783">
                  <c:v>4.9620695900387179</c:v>
                </c:pt>
                <c:pt idx="6784">
                  <c:v>4.9158999143243172</c:v>
                </c:pt>
                <c:pt idx="6785">
                  <c:v>4.91534346792122</c:v>
                </c:pt>
                <c:pt idx="6786">
                  <c:v>5.1840251277278711</c:v>
                </c:pt>
                <c:pt idx="6787">
                  <c:v>6.018297407948447</c:v>
                </c:pt>
                <c:pt idx="6788">
                  <c:v>5.0319596672658395</c:v>
                </c:pt>
                <c:pt idx="6789">
                  <c:v>5.0245935596723292</c:v>
                </c:pt>
                <c:pt idx="6790">
                  <c:v>5.1927329369215514</c:v>
                </c:pt>
                <c:pt idx="6791">
                  <c:v>6.031953080721566</c:v>
                </c:pt>
                <c:pt idx="6792">
                  <c:v>6.0320991690592436</c:v>
                </c:pt>
                <c:pt idx="6793">
                  <c:v>7.0844150844251459</c:v>
                </c:pt>
                <c:pt idx="6794">
                  <c:v>5.233030510155654</c:v>
                </c:pt>
                <c:pt idx="6795">
                  <c:v>5.9492054762171627</c:v>
                </c:pt>
                <c:pt idx="6796">
                  <c:v>5.0497561198979808</c:v>
                </c:pt>
                <c:pt idx="6797">
                  <c:v>5.9483390241036371</c:v>
                </c:pt>
                <c:pt idx="6798">
                  <c:v>6.1869081606317922</c:v>
                </c:pt>
                <c:pt idx="6799">
                  <c:v>6.0198840047762872</c:v>
                </c:pt>
                <c:pt idx="6800">
                  <c:v>6.038900049025326</c:v>
                </c:pt>
                <c:pt idx="6801">
                  <c:v>4.9559304407455302</c:v>
                </c:pt>
                <c:pt idx="6802">
                  <c:v>4.990559975021359</c:v>
                </c:pt>
                <c:pt idx="6803">
                  <c:v>5.9220762926997743</c:v>
                </c:pt>
                <c:pt idx="6804">
                  <c:v>5.0161868995691643</c:v>
                </c:pt>
                <c:pt idx="6805">
                  <c:v>4.9099958476027954</c:v>
                </c:pt>
                <c:pt idx="6806">
                  <c:v>6.2216863553008395</c:v>
                </c:pt>
                <c:pt idx="6807">
                  <c:v>5.9665950147335289</c:v>
                </c:pt>
                <c:pt idx="6808">
                  <c:v>6.0781934803167594</c:v>
                </c:pt>
                <c:pt idx="6809">
                  <c:v>6.9616986362954902</c:v>
                </c:pt>
                <c:pt idx="6810">
                  <c:v>5.9934214970051709</c:v>
                </c:pt>
                <c:pt idx="6811">
                  <c:v>5.1122205766889079</c:v>
                </c:pt>
                <c:pt idx="6812">
                  <c:v>4.933250564367202</c:v>
                </c:pt>
                <c:pt idx="6813">
                  <c:v>5.1664554508573692</c:v>
                </c:pt>
                <c:pt idx="6814">
                  <c:v>5.8426192812968258</c:v>
                </c:pt>
                <c:pt idx="6815">
                  <c:v>4.185691685592813</c:v>
                </c:pt>
                <c:pt idx="6816">
                  <c:v>5.1435360396348049</c:v>
                </c:pt>
                <c:pt idx="6817">
                  <c:v>4.9926781324324496</c:v>
                </c:pt>
                <c:pt idx="6818">
                  <c:v>4.8628037704852245</c:v>
                </c:pt>
                <c:pt idx="6819">
                  <c:v>4.8861782091126367</c:v>
                </c:pt>
                <c:pt idx="6820">
                  <c:v>6.0360127843720379</c:v>
                </c:pt>
                <c:pt idx="6821">
                  <c:v>5.0484905874749408</c:v>
                </c:pt>
                <c:pt idx="6822">
                  <c:v>5.1461606466388705</c:v>
                </c:pt>
                <c:pt idx="6823">
                  <c:v>5.1135479667273724</c:v>
                </c:pt>
                <c:pt idx="6824">
                  <c:v>6.111373906589578</c:v>
                </c:pt>
                <c:pt idx="6825">
                  <c:v>7.1480052994243</c:v>
                </c:pt>
                <c:pt idx="6826">
                  <c:v>5.1106251928571851</c:v>
                </c:pt>
                <c:pt idx="6827">
                  <c:v>5.0191017591632967</c:v>
                </c:pt>
                <c:pt idx="6828">
                  <c:v>7.0626132248137869</c:v>
                </c:pt>
                <c:pt idx="6829">
                  <c:v>5.9407685717724812</c:v>
                </c:pt>
                <c:pt idx="6830">
                  <c:v>5.1457978866633542</c:v>
                </c:pt>
                <c:pt idx="6831">
                  <c:v>6.1261127328142067</c:v>
                </c:pt>
                <c:pt idx="6832">
                  <c:v>6.1347237099876004</c:v>
                </c:pt>
                <c:pt idx="6833">
                  <c:v>4.9199225175237302</c:v>
                </c:pt>
                <c:pt idx="6834">
                  <c:v>5.0403114392315587</c:v>
                </c:pt>
                <c:pt idx="6835">
                  <c:v>6.0053206796871654</c:v>
                </c:pt>
                <c:pt idx="6836">
                  <c:v>6.0458091083437147</c:v>
                </c:pt>
                <c:pt idx="6837">
                  <c:v>6.1671593026878284</c:v>
                </c:pt>
                <c:pt idx="6838">
                  <c:v>5.1284827199106804</c:v>
                </c:pt>
                <c:pt idx="6839">
                  <c:v>4.9095260299039705</c:v>
                </c:pt>
                <c:pt idx="6840">
                  <c:v>4.8786526982685459</c:v>
                </c:pt>
                <c:pt idx="6841">
                  <c:v>4.9144256106634208</c:v>
                </c:pt>
                <c:pt idx="6842">
                  <c:v>6.1248408605964046</c:v>
                </c:pt>
                <c:pt idx="6843">
                  <c:v>4.7809113118848767</c:v>
                </c:pt>
                <c:pt idx="6844">
                  <c:v>5.0023128902777385</c:v>
                </c:pt>
                <c:pt idx="6845">
                  <c:v>6.8483766717986816</c:v>
                </c:pt>
                <c:pt idx="6846">
                  <c:v>6.0021620223097045</c:v>
                </c:pt>
                <c:pt idx="6847">
                  <c:v>5.0083530393267433</c:v>
                </c:pt>
                <c:pt idx="6848">
                  <c:v>4.8675850006360353</c:v>
                </c:pt>
                <c:pt idx="6849">
                  <c:v>5.0707442914879515</c:v>
                </c:pt>
                <c:pt idx="6850">
                  <c:v>5.9483922866659524</c:v>
                </c:pt>
                <c:pt idx="6851">
                  <c:v>6.0015190503524813</c:v>
                </c:pt>
                <c:pt idx="6852">
                  <c:v>6.0249399785238476</c:v>
                </c:pt>
                <c:pt idx="6853">
                  <c:v>6.0051979302415841</c:v>
                </c:pt>
                <c:pt idx="6854">
                  <c:v>4.9565750729091125</c:v>
                </c:pt>
                <c:pt idx="6855">
                  <c:v>4.8543583857689061</c:v>
                </c:pt>
                <c:pt idx="6856">
                  <c:v>5.9679396933368167</c:v>
                </c:pt>
                <c:pt idx="6857">
                  <c:v>6.9368382410995713</c:v>
                </c:pt>
                <c:pt idx="6858">
                  <c:v>5.9364690849420487</c:v>
                </c:pt>
                <c:pt idx="6859">
                  <c:v>6.0288174344651448</c:v>
                </c:pt>
                <c:pt idx="6860">
                  <c:v>5.9498270669234472</c:v>
                </c:pt>
                <c:pt idx="6861">
                  <c:v>5.0585324177576192</c:v>
                </c:pt>
                <c:pt idx="6862">
                  <c:v>4.9586085605219221</c:v>
                </c:pt>
                <c:pt idx="6863">
                  <c:v>5.9432180277915139</c:v>
                </c:pt>
                <c:pt idx="6864">
                  <c:v>6.0564275350388357</c:v>
                </c:pt>
                <c:pt idx="6865">
                  <c:v>5.9945448529601455</c:v>
                </c:pt>
                <c:pt idx="6866">
                  <c:v>5.0985412005492705</c:v>
                </c:pt>
                <c:pt idx="6867">
                  <c:v>5.053112140880196</c:v>
                </c:pt>
                <c:pt idx="6868">
                  <c:v>5.8727382922108227</c:v>
                </c:pt>
                <c:pt idx="6869">
                  <c:v>5.8782671956289425</c:v>
                </c:pt>
                <c:pt idx="6870">
                  <c:v>5.0488703518826687</c:v>
                </c:pt>
                <c:pt idx="6871">
                  <c:v>5.0447649785582831</c:v>
                </c:pt>
                <c:pt idx="6872">
                  <c:v>5.0496932932469258</c:v>
                </c:pt>
                <c:pt idx="6873">
                  <c:v>5.0207341984799259</c:v>
                </c:pt>
                <c:pt idx="6874">
                  <c:v>7.1029830264928311</c:v>
                </c:pt>
                <c:pt idx="6875">
                  <c:v>7.1507158904775538</c:v>
                </c:pt>
                <c:pt idx="6876">
                  <c:v>7.0524510210958553</c:v>
                </c:pt>
                <c:pt idx="6877">
                  <c:v>6.074639551378552</c:v>
                </c:pt>
                <c:pt idx="6878">
                  <c:v>4.9027090991899271</c:v>
                </c:pt>
                <c:pt idx="6879">
                  <c:v>4.8329135933532088</c:v>
                </c:pt>
                <c:pt idx="6880">
                  <c:v>5.1514935733856131</c:v>
                </c:pt>
                <c:pt idx="6881">
                  <c:v>6.0143372280259575</c:v>
                </c:pt>
                <c:pt idx="6882">
                  <c:v>5.8245252020494931</c:v>
                </c:pt>
                <c:pt idx="6883">
                  <c:v>6.9807070577274892</c:v>
                </c:pt>
                <c:pt idx="6884">
                  <c:v>4.9298103574654135</c:v>
                </c:pt>
                <c:pt idx="6885">
                  <c:v>6.8728518245639689</c:v>
                </c:pt>
                <c:pt idx="6886">
                  <c:v>4.9580426741732904</c:v>
                </c:pt>
                <c:pt idx="6887">
                  <c:v>6.0579184249701488</c:v>
                </c:pt>
                <c:pt idx="6888">
                  <c:v>5.1896422062345602</c:v>
                </c:pt>
                <c:pt idx="6889">
                  <c:v>5.9085275216369855</c:v>
                </c:pt>
                <c:pt idx="6890">
                  <c:v>6.0244266446879227</c:v>
                </c:pt>
                <c:pt idx="6891">
                  <c:v>6.08060728253965</c:v>
                </c:pt>
                <c:pt idx="6892">
                  <c:v>6.0101580760619209</c:v>
                </c:pt>
                <c:pt idx="6893">
                  <c:v>5.8527176058207635</c:v>
                </c:pt>
                <c:pt idx="6894">
                  <c:v>4.989858411486777</c:v>
                </c:pt>
                <c:pt idx="6895">
                  <c:v>5.1214449705628944</c:v>
                </c:pt>
                <c:pt idx="6896">
                  <c:v>6.023976408020439</c:v>
                </c:pt>
                <c:pt idx="6897">
                  <c:v>4.8651592238422161</c:v>
                </c:pt>
                <c:pt idx="6898">
                  <c:v>5.9813648101793877</c:v>
                </c:pt>
                <c:pt idx="6899">
                  <c:v>5.0833123369349407</c:v>
                </c:pt>
                <c:pt idx="6900">
                  <c:v>5.9551327553632856</c:v>
                </c:pt>
                <c:pt idx="6901">
                  <c:v>4.9068642652547156</c:v>
                </c:pt>
                <c:pt idx="6902">
                  <c:v>5.9533734616742038</c:v>
                </c:pt>
                <c:pt idx="6903">
                  <c:v>4.8382839997234726</c:v>
                </c:pt>
                <c:pt idx="6904">
                  <c:v>6.0092128019368731</c:v>
                </c:pt>
                <c:pt idx="6905">
                  <c:v>7.0779161510090987</c:v>
                </c:pt>
                <c:pt idx="6906">
                  <c:v>5.9745303368865406</c:v>
                </c:pt>
                <c:pt idx="6907">
                  <c:v>4.8819638943758932</c:v>
                </c:pt>
                <c:pt idx="6908">
                  <c:v>4.93547651518102</c:v>
                </c:pt>
                <c:pt idx="6909">
                  <c:v>5.1263066537160507</c:v>
                </c:pt>
                <c:pt idx="6910">
                  <c:v>6.1411738738956618</c:v>
                </c:pt>
                <c:pt idx="6911">
                  <c:v>5.0825128259723913</c:v>
                </c:pt>
                <c:pt idx="6912">
                  <c:v>4.9134428330458393</c:v>
                </c:pt>
                <c:pt idx="6913">
                  <c:v>5.9840005467926813</c:v>
                </c:pt>
                <c:pt idx="6914">
                  <c:v>6.179264687020674</c:v>
                </c:pt>
                <c:pt idx="6915">
                  <c:v>4.8879360048594025</c:v>
                </c:pt>
                <c:pt idx="6916">
                  <c:v>4.9165747382444271</c:v>
                </c:pt>
                <c:pt idx="6917">
                  <c:v>5.1383257665924456</c:v>
                </c:pt>
                <c:pt idx="6918">
                  <c:v>5.0481715121686701</c:v>
                </c:pt>
                <c:pt idx="6919">
                  <c:v>4.8848733664071773</c:v>
                </c:pt>
                <c:pt idx="6920">
                  <c:v>7.1560735061949767</c:v>
                </c:pt>
                <c:pt idx="6921">
                  <c:v>5.0192373099850807</c:v>
                </c:pt>
                <c:pt idx="6922">
                  <c:v>5.1810265051991129</c:v>
                </c:pt>
                <c:pt idx="6923">
                  <c:v>6.0034799162590682</c:v>
                </c:pt>
                <c:pt idx="6924">
                  <c:v>4.9356955667487235</c:v>
                </c:pt>
                <c:pt idx="6925">
                  <c:v>5.8972596024491866</c:v>
                </c:pt>
                <c:pt idx="6926">
                  <c:v>5.1279369406524973</c:v>
                </c:pt>
                <c:pt idx="6927">
                  <c:v>6.9972316119365781</c:v>
                </c:pt>
                <c:pt idx="6928">
                  <c:v>3.8433539455957595</c:v>
                </c:pt>
                <c:pt idx="6929">
                  <c:v>4.9972326642235316</c:v>
                </c:pt>
                <c:pt idx="6930">
                  <c:v>6.8952349181472439</c:v>
                </c:pt>
                <c:pt idx="6931">
                  <c:v>7.0126664993686916</c:v>
                </c:pt>
                <c:pt idx="6932">
                  <c:v>4.9696573628129528</c:v>
                </c:pt>
                <c:pt idx="6933">
                  <c:v>5.0326309855606368</c:v>
                </c:pt>
                <c:pt idx="6934">
                  <c:v>5.212833279049045</c:v>
                </c:pt>
                <c:pt idx="6935">
                  <c:v>4.972491409295265</c:v>
                </c:pt>
                <c:pt idx="6936">
                  <c:v>5.8658296863034138</c:v>
                </c:pt>
                <c:pt idx="6937">
                  <c:v>5.955368306635628</c:v>
                </c:pt>
                <c:pt idx="6938">
                  <c:v>5.034637157248306</c:v>
                </c:pt>
                <c:pt idx="6939">
                  <c:v>5.9591549151099317</c:v>
                </c:pt>
                <c:pt idx="6940">
                  <c:v>5.1148970513713188</c:v>
                </c:pt>
                <c:pt idx="6941">
                  <c:v>5.7805015348976001</c:v>
                </c:pt>
                <c:pt idx="6942">
                  <c:v>5.0457274842802278</c:v>
                </c:pt>
                <c:pt idx="6943">
                  <c:v>6.2549838287270623</c:v>
                </c:pt>
                <c:pt idx="6944">
                  <c:v>5.9619666199824932</c:v>
                </c:pt>
                <c:pt idx="6945">
                  <c:v>4.9186735019999581</c:v>
                </c:pt>
                <c:pt idx="6946">
                  <c:v>5.9066068650340044</c:v>
                </c:pt>
                <c:pt idx="6947">
                  <c:v>5.086850226291908</c:v>
                </c:pt>
                <c:pt idx="6948">
                  <c:v>5.9999185958601249</c:v>
                </c:pt>
                <c:pt idx="6949">
                  <c:v>4.9774552844511604</c:v>
                </c:pt>
                <c:pt idx="6950">
                  <c:v>5.9628391239928709</c:v>
                </c:pt>
                <c:pt idx="6951">
                  <c:v>4.9730835034771559</c:v>
                </c:pt>
                <c:pt idx="6952">
                  <c:v>4.9709859121475635</c:v>
                </c:pt>
                <c:pt idx="6953">
                  <c:v>4.9855866613192088</c:v>
                </c:pt>
                <c:pt idx="6954">
                  <c:v>4.8039916025189955</c:v>
                </c:pt>
                <c:pt idx="6955">
                  <c:v>5.894894046365863</c:v>
                </c:pt>
                <c:pt idx="6956">
                  <c:v>4.9229343806819639</c:v>
                </c:pt>
                <c:pt idx="6957">
                  <c:v>6.0503109493585985</c:v>
                </c:pt>
                <c:pt idx="6958">
                  <c:v>5.0075618525094185</c:v>
                </c:pt>
                <c:pt idx="6959">
                  <c:v>5.051139833908711</c:v>
                </c:pt>
                <c:pt idx="6960">
                  <c:v>6.1032082770429525</c:v>
                </c:pt>
                <c:pt idx="6961">
                  <c:v>6.0662516695164292</c:v>
                </c:pt>
                <c:pt idx="6962">
                  <c:v>4.8402266864972079</c:v>
                </c:pt>
                <c:pt idx="6963">
                  <c:v>5.8824277507078291</c:v>
                </c:pt>
                <c:pt idx="6964">
                  <c:v>5.8786395589879543</c:v>
                </c:pt>
                <c:pt idx="6965">
                  <c:v>5.9976051791158858</c:v>
                </c:pt>
                <c:pt idx="6966">
                  <c:v>6.2171287124122676</c:v>
                </c:pt>
                <c:pt idx="6967">
                  <c:v>5.04638988143072</c:v>
                </c:pt>
                <c:pt idx="6968">
                  <c:v>5.0606876626605262</c:v>
                </c:pt>
                <c:pt idx="6969">
                  <c:v>5.0797441594048216</c:v>
                </c:pt>
                <c:pt idx="6970">
                  <c:v>5.1203986547011802</c:v>
                </c:pt>
                <c:pt idx="6971">
                  <c:v>5.889911683434371</c:v>
                </c:pt>
                <c:pt idx="6972">
                  <c:v>4.8542289341993392</c:v>
                </c:pt>
                <c:pt idx="6973">
                  <c:v>4.7797798014772477</c:v>
                </c:pt>
                <c:pt idx="6974">
                  <c:v>5.131146854177552</c:v>
                </c:pt>
                <c:pt idx="6975">
                  <c:v>6.099873593910667</c:v>
                </c:pt>
                <c:pt idx="6976">
                  <c:v>5.0769482626972806</c:v>
                </c:pt>
                <c:pt idx="6977">
                  <c:v>5.14624466126849</c:v>
                </c:pt>
                <c:pt idx="6978">
                  <c:v>6.0957823505121862</c:v>
                </c:pt>
                <c:pt idx="6979">
                  <c:v>5.0018312637575058</c:v>
                </c:pt>
                <c:pt idx="6980">
                  <c:v>5.1450655270876355</c:v>
                </c:pt>
                <c:pt idx="6981">
                  <c:v>5.9711795754217407</c:v>
                </c:pt>
                <c:pt idx="6982">
                  <c:v>5.093665817826369</c:v>
                </c:pt>
                <c:pt idx="6983">
                  <c:v>5.0461378159522301</c:v>
                </c:pt>
                <c:pt idx="6984">
                  <c:v>6.0783777897337767</c:v>
                </c:pt>
                <c:pt idx="6985">
                  <c:v>4.8866922141564393</c:v>
                </c:pt>
                <c:pt idx="6986">
                  <c:v>6.0335807689082808</c:v>
                </c:pt>
                <c:pt idx="6987">
                  <c:v>7.1136925929440018</c:v>
                </c:pt>
                <c:pt idx="6988">
                  <c:v>4.9657408919383981</c:v>
                </c:pt>
                <c:pt idx="6989">
                  <c:v>4.9367589673153285</c:v>
                </c:pt>
                <c:pt idx="6990">
                  <c:v>4.9647361137116661</c:v>
                </c:pt>
                <c:pt idx="6991">
                  <c:v>4.8166203891265074</c:v>
                </c:pt>
                <c:pt idx="6992">
                  <c:v>6.2448718105539509</c:v>
                </c:pt>
                <c:pt idx="6993">
                  <c:v>5.169462378960147</c:v>
                </c:pt>
                <c:pt idx="6994">
                  <c:v>6.05375912052655</c:v>
                </c:pt>
                <c:pt idx="6995">
                  <c:v>5.9021266071587766</c:v>
                </c:pt>
                <c:pt idx="6996">
                  <c:v>6.0285159116563909</c:v>
                </c:pt>
                <c:pt idx="6997">
                  <c:v>5.8204116732949718</c:v>
                </c:pt>
                <c:pt idx="6998">
                  <c:v>5.0875975405963461</c:v>
                </c:pt>
                <c:pt idx="6999">
                  <c:v>5.8467471632763717</c:v>
                </c:pt>
                <c:pt idx="7000">
                  <c:v>5.1305958600261059</c:v>
                </c:pt>
                <c:pt idx="7001">
                  <c:v>5.0566425953527849</c:v>
                </c:pt>
                <c:pt idx="7002">
                  <c:v>6.1244155082368419</c:v>
                </c:pt>
                <c:pt idx="7003">
                  <c:v>6.0856811185534676</c:v>
                </c:pt>
                <c:pt idx="7004">
                  <c:v>6.0663583420365672</c:v>
                </c:pt>
                <c:pt idx="7005">
                  <c:v>5.8955592802533188</c:v>
                </c:pt>
                <c:pt idx="7006">
                  <c:v>5.9855985220442731</c:v>
                </c:pt>
                <c:pt idx="7007">
                  <c:v>5.9903098279848157</c:v>
                </c:pt>
                <c:pt idx="7008">
                  <c:v>5.9783584180310729</c:v>
                </c:pt>
                <c:pt idx="7009">
                  <c:v>4.9942399155096169</c:v>
                </c:pt>
                <c:pt idx="7010">
                  <c:v>4.9943124438988002</c:v>
                </c:pt>
                <c:pt idx="7011">
                  <c:v>5.0560216765398902</c:v>
                </c:pt>
                <c:pt idx="7012">
                  <c:v>4.9660698558073788</c:v>
                </c:pt>
                <c:pt idx="7013">
                  <c:v>5.7772765428091226</c:v>
                </c:pt>
                <c:pt idx="7014">
                  <c:v>6.1007976288438295</c:v>
                </c:pt>
                <c:pt idx="7015">
                  <c:v>6.0767047594900907</c:v>
                </c:pt>
                <c:pt idx="7016">
                  <c:v>6.0081555492431553</c:v>
                </c:pt>
                <c:pt idx="7017">
                  <c:v>4.9147222471292418</c:v>
                </c:pt>
                <c:pt idx="7018">
                  <c:v>4.8500888538130758</c:v>
                </c:pt>
                <c:pt idx="7019">
                  <c:v>5.0284902293957749</c:v>
                </c:pt>
                <c:pt idx="7020">
                  <c:v>5.0293377956478631</c:v>
                </c:pt>
                <c:pt idx="7021">
                  <c:v>5.9282207102835232</c:v>
                </c:pt>
                <c:pt idx="7022">
                  <c:v>6.0810765322991154</c:v>
                </c:pt>
                <c:pt idx="7023">
                  <c:v>4.8776815526985944</c:v>
                </c:pt>
                <c:pt idx="7024">
                  <c:v>5.0740216560617917</c:v>
                </c:pt>
                <c:pt idx="7025">
                  <c:v>5.95614295606733</c:v>
                </c:pt>
                <c:pt idx="7026">
                  <c:v>4.9835485857344128</c:v>
                </c:pt>
                <c:pt idx="7027">
                  <c:v>5.8778590117694955</c:v>
                </c:pt>
                <c:pt idx="7028">
                  <c:v>5.2771692601589741</c:v>
                </c:pt>
                <c:pt idx="7029">
                  <c:v>4.8574014932543088</c:v>
                </c:pt>
                <c:pt idx="7030">
                  <c:v>5.1386152339795776</c:v>
                </c:pt>
                <c:pt idx="7031">
                  <c:v>4.894977930022999</c:v>
                </c:pt>
                <c:pt idx="7032">
                  <c:v>5.9891444551319335</c:v>
                </c:pt>
                <c:pt idx="7033">
                  <c:v>5.973473461733434</c:v>
                </c:pt>
                <c:pt idx="7034">
                  <c:v>5.085328894891429</c:v>
                </c:pt>
                <c:pt idx="7035">
                  <c:v>5.9408257973220602</c:v>
                </c:pt>
                <c:pt idx="7036">
                  <c:v>6.9722861146436221</c:v>
                </c:pt>
                <c:pt idx="7037">
                  <c:v>4.988115455112287</c:v>
                </c:pt>
                <c:pt idx="7038">
                  <c:v>7.2484905792327261</c:v>
                </c:pt>
                <c:pt idx="7039">
                  <c:v>5.9268463660323718</c:v>
                </c:pt>
                <c:pt idx="7040">
                  <c:v>4.9703552751990738</c:v>
                </c:pt>
                <c:pt idx="7041">
                  <c:v>6.1027870584139299</c:v>
                </c:pt>
                <c:pt idx="7042">
                  <c:v>6.1777394092369056</c:v>
                </c:pt>
                <c:pt idx="7043">
                  <c:v>5.0046163155544043</c:v>
                </c:pt>
                <c:pt idx="7044">
                  <c:v>4.8816833982664285</c:v>
                </c:pt>
                <c:pt idx="7045">
                  <c:v>5.0049530323905946</c:v>
                </c:pt>
                <c:pt idx="7046">
                  <c:v>5.1033364808933177</c:v>
                </c:pt>
                <c:pt idx="7047">
                  <c:v>5.1509830013613884</c:v>
                </c:pt>
                <c:pt idx="7048">
                  <c:v>6.0606722243344429</c:v>
                </c:pt>
                <c:pt idx="7049">
                  <c:v>5.9973722447154776</c:v>
                </c:pt>
                <c:pt idx="7050">
                  <c:v>4.9904034327482032</c:v>
                </c:pt>
                <c:pt idx="7051">
                  <c:v>6.0324100447937061</c:v>
                </c:pt>
                <c:pt idx="7052">
                  <c:v>5.1351184515012216</c:v>
                </c:pt>
                <c:pt idx="7053">
                  <c:v>6.0761950688644122</c:v>
                </c:pt>
                <c:pt idx="7054">
                  <c:v>6.9862973005092597</c:v>
                </c:pt>
                <c:pt idx="7055">
                  <c:v>4.7606812128419467</c:v>
                </c:pt>
                <c:pt idx="7056">
                  <c:v>4.1215275396002324</c:v>
                </c:pt>
                <c:pt idx="7057">
                  <c:v>4.9290953692158359</c:v>
                </c:pt>
                <c:pt idx="7058">
                  <c:v>4.7133279422711896</c:v>
                </c:pt>
                <c:pt idx="7059">
                  <c:v>5.0490938879955811</c:v>
                </c:pt>
                <c:pt idx="7060">
                  <c:v>5.9789701823947787</c:v>
                </c:pt>
                <c:pt idx="7061">
                  <c:v>6.2093945347740247</c:v>
                </c:pt>
                <c:pt idx="7062">
                  <c:v>5.9553512136804709</c:v>
                </c:pt>
                <c:pt idx="7063">
                  <c:v>5.8560288051636542</c:v>
                </c:pt>
                <c:pt idx="7064">
                  <c:v>5.8559350594151995</c:v>
                </c:pt>
                <c:pt idx="7065">
                  <c:v>5.0295741234177989</c:v>
                </c:pt>
                <c:pt idx="7066">
                  <c:v>4.8460852900082054</c:v>
                </c:pt>
                <c:pt idx="7067">
                  <c:v>5.8955818992861957</c:v>
                </c:pt>
                <c:pt idx="7068">
                  <c:v>5.015952055079838</c:v>
                </c:pt>
                <c:pt idx="7069">
                  <c:v>5.0094267355835882</c:v>
                </c:pt>
                <c:pt idx="7070">
                  <c:v>5.8857649596113717</c:v>
                </c:pt>
                <c:pt idx="7071">
                  <c:v>5.1314730284102392</c:v>
                </c:pt>
                <c:pt idx="7072">
                  <c:v>5.0335291218235367</c:v>
                </c:pt>
                <c:pt idx="7073">
                  <c:v>4.9206170130846516</c:v>
                </c:pt>
                <c:pt idx="7074">
                  <c:v>5.8806341103125339</c:v>
                </c:pt>
                <c:pt idx="7075">
                  <c:v>4.9835609778582306</c:v>
                </c:pt>
                <c:pt idx="7076">
                  <c:v>6.148330771196524</c:v>
                </c:pt>
                <c:pt idx="7077">
                  <c:v>6.0308064441778599</c:v>
                </c:pt>
                <c:pt idx="7078">
                  <c:v>4.8985747387945162</c:v>
                </c:pt>
                <c:pt idx="7079">
                  <c:v>5.0115409417723953</c:v>
                </c:pt>
                <c:pt idx="7080">
                  <c:v>6.0340073887388739</c:v>
                </c:pt>
                <c:pt idx="7081">
                  <c:v>5.1487150408125277</c:v>
                </c:pt>
                <c:pt idx="7082">
                  <c:v>6.1296940752034521</c:v>
                </c:pt>
                <c:pt idx="7083">
                  <c:v>5.0876781890413785</c:v>
                </c:pt>
                <c:pt idx="7084">
                  <c:v>4.8938628797090038</c:v>
                </c:pt>
                <c:pt idx="7085">
                  <c:v>5.1693315481755446</c:v>
                </c:pt>
                <c:pt idx="7086">
                  <c:v>6.0140782508640154</c:v>
                </c:pt>
                <c:pt idx="7087">
                  <c:v>5.9730853836491544</c:v>
                </c:pt>
                <c:pt idx="7088">
                  <c:v>6.9663740161814953</c:v>
                </c:pt>
                <c:pt idx="7089">
                  <c:v>4.9248453212176173</c:v>
                </c:pt>
                <c:pt idx="7090">
                  <c:v>4.9810261192129808</c:v>
                </c:pt>
                <c:pt idx="7091">
                  <c:v>6.1071808313340723</c:v>
                </c:pt>
                <c:pt idx="7092">
                  <c:v>5.1229076964471378</c:v>
                </c:pt>
                <c:pt idx="7093">
                  <c:v>4.8332281876182552</c:v>
                </c:pt>
                <c:pt idx="7094">
                  <c:v>5.9740617237886529</c:v>
                </c:pt>
                <c:pt idx="7095">
                  <c:v>5.9573912397522193</c:v>
                </c:pt>
                <c:pt idx="7096">
                  <c:v>4.957567622275703</c:v>
                </c:pt>
                <c:pt idx="7097">
                  <c:v>6.0200801228264238</c:v>
                </c:pt>
                <c:pt idx="7098">
                  <c:v>6.0852588266106302</c:v>
                </c:pt>
                <c:pt idx="7099">
                  <c:v>6.1760057692913515</c:v>
                </c:pt>
                <c:pt idx="7100">
                  <c:v>4.9314637585488228</c:v>
                </c:pt>
                <c:pt idx="7101">
                  <c:v>5.7924399916087683</c:v>
                </c:pt>
                <c:pt idx="7102">
                  <c:v>5.1294670841874721</c:v>
                </c:pt>
                <c:pt idx="7103">
                  <c:v>4.8623779153843083</c:v>
                </c:pt>
                <c:pt idx="7104">
                  <c:v>5.9898160055304173</c:v>
                </c:pt>
                <c:pt idx="7105">
                  <c:v>5.198779459035797</c:v>
                </c:pt>
                <c:pt idx="7106">
                  <c:v>7.1816652446321845</c:v>
                </c:pt>
                <c:pt idx="7107">
                  <c:v>6.0987214077506611</c:v>
                </c:pt>
                <c:pt idx="7108">
                  <c:v>4.8489833457172642</c:v>
                </c:pt>
                <c:pt idx="7109">
                  <c:v>5.9414076950754495</c:v>
                </c:pt>
                <c:pt idx="7110">
                  <c:v>5.0869112239183414</c:v>
                </c:pt>
                <c:pt idx="7111">
                  <c:v>5.8926731621515724</c:v>
                </c:pt>
                <c:pt idx="7112">
                  <c:v>6.0019414107951246</c:v>
                </c:pt>
                <c:pt idx="7113">
                  <c:v>5.0133837319245309</c:v>
                </c:pt>
                <c:pt idx="7114">
                  <c:v>5.980495999092545</c:v>
                </c:pt>
                <c:pt idx="7115">
                  <c:v>4.888379120108028</c:v>
                </c:pt>
                <c:pt idx="7116">
                  <c:v>5.2502127117492909</c:v>
                </c:pt>
                <c:pt idx="7117">
                  <c:v>5.136976235179552</c:v>
                </c:pt>
                <c:pt idx="7118">
                  <c:v>6.1777907129740282</c:v>
                </c:pt>
                <c:pt idx="7119">
                  <c:v>5.9333630655325527</c:v>
                </c:pt>
                <c:pt idx="7120">
                  <c:v>4.9782295212706744</c:v>
                </c:pt>
                <c:pt idx="7121">
                  <c:v>5.9706003680023043</c:v>
                </c:pt>
                <c:pt idx="7122">
                  <c:v>4.8827923735318537</c:v>
                </c:pt>
                <c:pt idx="7123">
                  <c:v>5.9745520383327584</c:v>
                </c:pt>
                <c:pt idx="7124">
                  <c:v>5.1147193760289396</c:v>
                </c:pt>
                <c:pt idx="7125">
                  <c:v>4.7684561826809633</c:v>
                </c:pt>
                <c:pt idx="7126">
                  <c:v>4.8707458218867457</c:v>
                </c:pt>
                <c:pt idx="7127">
                  <c:v>4.8834263594244263</c:v>
                </c:pt>
                <c:pt idx="7128">
                  <c:v>4.9439623715838099</c:v>
                </c:pt>
                <c:pt idx="7129">
                  <c:v>5.1029806536957674</c:v>
                </c:pt>
                <c:pt idx="7130">
                  <c:v>5.1209675424406509</c:v>
                </c:pt>
                <c:pt idx="7131">
                  <c:v>5.937849727465327</c:v>
                </c:pt>
                <c:pt idx="7132">
                  <c:v>5.0479915493838767</c:v>
                </c:pt>
                <c:pt idx="7133">
                  <c:v>5.179825446677758</c:v>
                </c:pt>
                <c:pt idx="7134">
                  <c:v>4.9374517925551968</c:v>
                </c:pt>
                <c:pt idx="7135">
                  <c:v>6.1060830962473212</c:v>
                </c:pt>
                <c:pt idx="7136">
                  <c:v>5.9035952568519896</c:v>
                </c:pt>
                <c:pt idx="7137">
                  <c:v>5.0549204663938907</c:v>
                </c:pt>
                <c:pt idx="7138">
                  <c:v>5.9892935446079374</c:v>
                </c:pt>
                <c:pt idx="7139">
                  <c:v>6.0164889533350703</c:v>
                </c:pt>
                <c:pt idx="7140">
                  <c:v>6.0643114131572062</c:v>
                </c:pt>
                <c:pt idx="7141">
                  <c:v>6.0158981490805647</c:v>
                </c:pt>
                <c:pt idx="7142">
                  <c:v>5.0184827709394488</c:v>
                </c:pt>
                <c:pt idx="7143">
                  <c:v>5.0942921077013654</c:v>
                </c:pt>
                <c:pt idx="7144">
                  <c:v>5.9466741242332359</c:v>
                </c:pt>
                <c:pt idx="7145">
                  <c:v>6.0533851547884066</c:v>
                </c:pt>
                <c:pt idx="7146">
                  <c:v>5.9855942901029229</c:v>
                </c:pt>
                <c:pt idx="7147">
                  <c:v>4.8156036729096492</c:v>
                </c:pt>
                <c:pt idx="7148">
                  <c:v>5.1689517591036171</c:v>
                </c:pt>
                <c:pt idx="7149">
                  <c:v>6.0385581973813647</c:v>
                </c:pt>
                <c:pt idx="7150">
                  <c:v>6.0271091982815337</c:v>
                </c:pt>
                <c:pt idx="7151">
                  <c:v>5.021277698408614</c:v>
                </c:pt>
                <c:pt idx="7152">
                  <c:v>6.0455721286493116</c:v>
                </c:pt>
                <c:pt idx="7153">
                  <c:v>6.0394689786261084</c:v>
                </c:pt>
                <c:pt idx="7154">
                  <c:v>5.8704729636719808</c:v>
                </c:pt>
                <c:pt idx="7155">
                  <c:v>6.0162111221512671</c:v>
                </c:pt>
                <c:pt idx="7156">
                  <c:v>5.9808688955217235</c:v>
                </c:pt>
                <c:pt idx="7157">
                  <c:v>5.0081708056654897</c:v>
                </c:pt>
                <c:pt idx="7158">
                  <c:v>5.9522633757510555</c:v>
                </c:pt>
                <c:pt idx="7159">
                  <c:v>5.8866180123174354</c:v>
                </c:pt>
                <c:pt idx="7160">
                  <c:v>5.897895194230375</c:v>
                </c:pt>
                <c:pt idx="7161">
                  <c:v>5.067192426149445</c:v>
                </c:pt>
                <c:pt idx="7162">
                  <c:v>6.030011702619408</c:v>
                </c:pt>
                <c:pt idx="7163">
                  <c:v>6.0713207346789293</c:v>
                </c:pt>
                <c:pt idx="7164">
                  <c:v>5.1145373996129795</c:v>
                </c:pt>
                <c:pt idx="7165">
                  <c:v>5.1466710515666181</c:v>
                </c:pt>
                <c:pt idx="7166">
                  <c:v>4.9412508893516121</c:v>
                </c:pt>
                <c:pt idx="7167">
                  <c:v>5.0379520425363618</c:v>
                </c:pt>
                <c:pt idx="7168">
                  <c:v>5.0868141050110847</c:v>
                </c:pt>
                <c:pt idx="7169">
                  <c:v>6.1566529625535837</c:v>
                </c:pt>
                <c:pt idx="7170">
                  <c:v>5.1115976036177182</c:v>
                </c:pt>
                <c:pt idx="7171">
                  <c:v>4.9739569486408675</c:v>
                </c:pt>
                <c:pt idx="7172">
                  <c:v>6.1334070742309947</c:v>
                </c:pt>
                <c:pt idx="7173">
                  <c:v>5.9602650552129273</c:v>
                </c:pt>
                <c:pt idx="7174">
                  <c:v>6.1602035922723184</c:v>
                </c:pt>
                <c:pt idx="7175">
                  <c:v>6.2303508402984802</c:v>
                </c:pt>
                <c:pt idx="7176">
                  <c:v>5.9286559366907028</c:v>
                </c:pt>
                <c:pt idx="7177">
                  <c:v>5.9309375380439375</c:v>
                </c:pt>
                <c:pt idx="7178">
                  <c:v>6.1860930100198441</c:v>
                </c:pt>
                <c:pt idx="7179">
                  <c:v>6.0582835573147928</c:v>
                </c:pt>
                <c:pt idx="7180">
                  <c:v>6.0662927606220443</c:v>
                </c:pt>
                <c:pt idx="7181">
                  <c:v>5.97273497864406</c:v>
                </c:pt>
                <c:pt idx="7182">
                  <c:v>5.9177562792795158</c:v>
                </c:pt>
                <c:pt idx="7183">
                  <c:v>5.9803227464161184</c:v>
                </c:pt>
                <c:pt idx="7184">
                  <c:v>5.918893044401405</c:v>
                </c:pt>
                <c:pt idx="7185">
                  <c:v>5.8491641256844975</c:v>
                </c:pt>
                <c:pt idx="7186">
                  <c:v>6.0676728416292951</c:v>
                </c:pt>
                <c:pt idx="7187">
                  <c:v>6.0019783326266261</c:v>
                </c:pt>
                <c:pt idx="7188">
                  <c:v>6.0010239751324672</c:v>
                </c:pt>
                <c:pt idx="7189">
                  <c:v>6.1188205726204519</c:v>
                </c:pt>
                <c:pt idx="7190">
                  <c:v>6.0373385112678193</c:v>
                </c:pt>
                <c:pt idx="7191">
                  <c:v>5.8692256672763481</c:v>
                </c:pt>
                <c:pt idx="7192">
                  <c:v>5.995630953602098</c:v>
                </c:pt>
                <c:pt idx="7193">
                  <c:v>5.8505704604930493</c:v>
                </c:pt>
                <c:pt idx="7194">
                  <c:v>6.0298473115953746</c:v>
                </c:pt>
                <c:pt idx="7195">
                  <c:v>5.0958545115780307</c:v>
                </c:pt>
                <c:pt idx="7196">
                  <c:v>5.0600046832350829</c:v>
                </c:pt>
                <c:pt idx="7197">
                  <c:v>6.027141424929197</c:v>
                </c:pt>
                <c:pt idx="7198">
                  <c:v>6.0485960304782056</c:v>
                </c:pt>
                <c:pt idx="7199">
                  <c:v>4.8434122080291111</c:v>
                </c:pt>
                <c:pt idx="7200">
                  <c:v>6.0497886598347064</c:v>
                </c:pt>
                <c:pt idx="7201">
                  <c:v>4.8618487381520898</c:v>
                </c:pt>
                <c:pt idx="7202">
                  <c:v>4.9875713046419046</c:v>
                </c:pt>
                <c:pt idx="7203">
                  <c:v>4.9214073240911125</c:v>
                </c:pt>
                <c:pt idx="7204">
                  <c:v>4.923807586701197</c:v>
                </c:pt>
                <c:pt idx="7205">
                  <c:v>6.070074761189078</c:v>
                </c:pt>
                <c:pt idx="7206">
                  <c:v>5.0014519953775975</c:v>
                </c:pt>
                <c:pt idx="7207">
                  <c:v>4.9881849686132727</c:v>
                </c:pt>
                <c:pt idx="7208">
                  <c:v>6.0123809527299432</c:v>
                </c:pt>
                <c:pt idx="7209">
                  <c:v>5.0203472950136216</c:v>
                </c:pt>
                <c:pt idx="7210">
                  <c:v>4.9945606766219521</c:v>
                </c:pt>
                <c:pt idx="7211">
                  <c:v>6.1212912595085704</c:v>
                </c:pt>
                <c:pt idx="7212">
                  <c:v>6.2284057806197382</c:v>
                </c:pt>
                <c:pt idx="7213">
                  <c:v>4.9740766525256204</c:v>
                </c:pt>
                <c:pt idx="7214">
                  <c:v>4.9932610789627612</c:v>
                </c:pt>
                <c:pt idx="7215">
                  <c:v>6.0843059683672944</c:v>
                </c:pt>
                <c:pt idx="7216">
                  <c:v>5.0712945857359095</c:v>
                </c:pt>
                <c:pt idx="7217">
                  <c:v>6.0552554400189456</c:v>
                </c:pt>
                <c:pt idx="7218">
                  <c:v>6.1421805091260282</c:v>
                </c:pt>
                <c:pt idx="7219">
                  <c:v>5.0340677421397446</c:v>
                </c:pt>
                <c:pt idx="7220">
                  <c:v>5.8820215485065779</c:v>
                </c:pt>
                <c:pt idx="7221">
                  <c:v>5.0109046147729686</c:v>
                </c:pt>
                <c:pt idx="7222">
                  <c:v>4.9217503218272798</c:v>
                </c:pt>
                <c:pt idx="7223">
                  <c:v>4.8618595198231533</c:v>
                </c:pt>
                <c:pt idx="7224">
                  <c:v>4.9248109578833787</c:v>
                </c:pt>
                <c:pt idx="7225">
                  <c:v>6.0577212667650988</c:v>
                </c:pt>
                <c:pt idx="7226">
                  <c:v>6.0496215495019969</c:v>
                </c:pt>
                <c:pt idx="7227">
                  <c:v>4.9189420472543475</c:v>
                </c:pt>
                <c:pt idx="7228">
                  <c:v>5.1207755895429488</c:v>
                </c:pt>
                <c:pt idx="7229">
                  <c:v>5.9478317008333699</c:v>
                </c:pt>
                <c:pt idx="7230">
                  <c:v>6.0291519523486379</c:v>
                </c:pt>
                <c:pt idx="7231">
                  <c:v>4.9495874628689078</c:v>
                </c:pt>
                <c:pt idx="7232">
                  <c:v>6.0743648778023402</c:v>
                </c:pt>
                <c:pt idx="7233">
                  <c:v>5.0729403710891372</c:v>
                </c:pt>
                <c:pt idx="7234">
                  <c:v>5.1950787375571359</c:v>
                </c:pt>
                <c:pt idx="7235">
                  <c:v>4.8962805038627</c:v>
                </c:pt>
                <c:pt idx="7236">
                  <c:v>5.0941070903497883</c:v>
                </c:pt>
                <c:pt idx="7237">
                  <c:v>5.015721395891517</c:v>
                </c:pt>
                <c:pt idx="7238">
                  <c:v>5.9549696147353748</c:v>
                </c:pt>
                <c:pt idx="7239">
                  <c:v>5.9831103771846799</c:v>
                </c:pt>
                <c:pt idx="7240">
                  <c:v>5.0011135790459136</c:v>
                </c:pt>
                <c:pt idx="7241">
                  <c:v>4.8974976741593794</c:v>
                </c:pt>
                <c:pt idx="7242">
                  <c:v>5.993875066740082</c:v>
                </c:pt>
                <c:pt idx="7243">
                  <c:v>4.8996146515696575</c:v>
                </c:pt>
                <c:pt idx="7244">
                  <c:v>6.0674423451217399</c:v>
                </c:pt>
                <c:pt idx="7245">
                  <c:v>5.8295572895129091</c:v>
                </c:pt>
                <c:pt idx="7246">
                  <c:v>5.0142615925393352</c:v>
                </c:pt>
                <c:pt idx="7247">
                  <c:v>6.0091571716009629</c:v>
                </c:pt>
                <c:pt idx="7248">
                  <c:v>5.0156424421172527</c:v>
                </c:pt>
                <c:pt idx="7249">
                  <c:v>6.0870777301809547</c:v>
                </c:pt>
                <c:pt idx="7250">
                  <c:v>6.0818434568359194</c:v>
                </c:pt>
                <c:pt idx="7251">
                  <c:v>5.0679237835085891</c:v>
                </c:pt>
                <c:pt idx="7252">
                  <c:v>5.0401310691946613</c:v>
                </c:pt>
                <c:pt idx="7253">
                  <c:v>6.136368304586048</c:v>
                </c:pt>
                <c:pt idx="7254">
                  <c:v>6.0678936158953585</c:v>
                </c:pt>
                <c:pt idx="7255">
                  <c:v>4.9968063373614857</c:v>
                </c:pt>
                <c:pt idx="7256">
                  <c:v>4.9183007134223864</c:v>
                </c:pt>
                <c:pt idx="7257">
                  <c:v>4.9555186538315938</c:v>
                </c:pt>
                <c:pt idx="7258">
                  <c:v>4.9212725479080159</c:v>
                </c:pt>
                <c:pt idx="7259">
                  <c:v>4.9148386259936228</c:v>
                </c:pt>
                <c:pt idx="7260">
                  <c:v>5.134906053062072</c:v>
                </c:pt>
                <c:pt idx="7261">
                  <c:v>4.0913579774224571</c:v>
                </c:pt>
                <c:pt idx="7262">
                  <c:v>5.9741322260985212</c:v>
                </c:pt>
                <c:pt idx="7263">
                  <c:v>3.095693915263499</c:v>
                </c:pt>
                <c:pt idx="7264">
                  <c:v>6.0601862890570395</c:v>
                </c:pt>
                <c:pt idx="7265">
                  <c:v>4.9812999943946492</c:v>
                </c:pt>
                <c:pt idx="7266">
                  <c:v>5.8296871604660936</c:v>
                </c:pt>
                <c:pt idx="7267">
                  <c:v>4.909225884171736</c:v>
                </c:pt>
                <c:pt idx="7268">
                  <c:v>6.1736794574905112</c:v>
                </c:pt>
                <c:pt idx="7269">
                  <c:v>5.9014744674417479</c:v>
                </c:pt>
                <c:pt idx="7270">
                  <c:v>5.9157028687940301</c:v>
                </c:pt>
                <c:pt idx="7271">
                  <c:v>5.8890867649760104</c:v>
                </c:pt>
                <c:pt idx="7272">
                  <c:v>5.1235857540777152</c:v>
                </c:pt>
                <c:pt idx="7273">
                  <c:v>4.9863820141965505</c:v>
                </c:pt>
                <c:pt idx="7274">
                  <c:v>6.0476851209007565</c:v>
                </c:pt>
                <c:pt idx="7275">
                  <c:v>5.0796628075517587</c:v>
                </c:pt>
                <c:pt idx="7276">
                  <c:v>6.0493874829561864</c:v>
                </c:pt>
                <c:pt idx="7277">
                  <c:v>5.9342835158154204</c:v>
                </c:pt>
                <c:pt idx="7278">
                  <c:v>6.0600089325187563</c:v>
                </c:pt>
                <c:pt idx="7279">
                  <c:v>6.1193779347290089</c:v>
                </c:pt>
                <c:pt idx="7280">
                  <c:v>4.9758862584746595</c:v>
                </c:pt>
                <c:pt idx="7281">
                  <c:v>6.9200085541005425</c:v>
                </c:pt>
                <c:pt idx="7282">
                  <c:v>4.8276014155224614</c:v>
                </c:pt>
                <c:pt idx="7283">
                  <c:v>6.074042607177975</c:v>
                </c:pt>
                <c:pt idx="7284">
                  <c:v>4.9339881799255298</c:v>
                </c:pt>
                <c:pt idx="7285">
                  <c:v>6.1021627676570169</c:v>
                </c:pt>
                <c:pt idx="7286">
                  <c:v>6.039369070479653</c:v>
                </c:pt>
                <c:pt idx="7287">
                  <c:v>6.0262694358343492</c:v>
                </c:pt>
                <c:pt idx="7288">
                  <c:v>4.9644315145173197</c:v>
                </c:pt>
                <c:pt idx="7289">
                  <c:v>6.2166131910407962</c:v>
                </c:pt>
                <c:pt idx="7290">
                  <c:v>4.9836609094052502</c:v>
                </c:pt>
                <c:pt idx="7291">
                  <c:v>4.9181149285374932</c:v>
                </c:pt>
                <c:pt idx="7292">
                  <c:v>7.0771656673236185</c:v>
                </c:pt>
                <c:pt idx="7293">
                  <c:v>5.1168338916499465</c:v>
                </c:pt>
                <c:pt idx="7294">
                  <c:v>5.8641466881263788</c:v>
                </c:pt>
                <c:pt idx="7295">
                  <c:v>3.8692542376245123</c:v>
                </c:pt>
                <c:pt idx="7296">
                  <c:v>5.0465756566017062</c:v>
                </c:pt>
                <c:pt idx="7297">
                  <c:v>4.9164821221432931</c:v>
                </c:pt>
                <c:pt idx="7298">
                  <c:v>7.0211597424129621</c:v>
                </c:pt>
                <c:pt idx="7299">
                  <c:v>5.9361870832047128</c:v>
                </c:pt>
                <c:pt idx="7300">
                  <c:v>6.1107532888482625</c:v>
                </c:pt>
                <c:pt idx="7301">
                  <c:v>6.9657023209743816</c:v>
                </c:pt>
                <c:pt idx="7302">
                  <c:v>5.1053040901290361</c:v>
                </c:pt>
                <c:pt idx="7303">
                  <c:v>4.9574622108923183</c:v>
                </c:pt>
                <c:pt idx="7304">
                  <c:v>4.9913872837834132</c:v>
                </c:pt>
                <c:pt idx="7305">
                  <c:v>5.994472046680416</c:v>
                </c:pt>
                <c:pt idx="7306">
                  <c:v>5.9824531788305899</c:v>
                </c:pt>
                <c:pt idx="7307">
                  <c:v>4.9233780872965811</c:v>
                </c:pt>
                <c:pt idx="7308">
                  <c:v>6.0818058568405364</c:v>
                </c:pt>
                <c:pt idx="7309">
                  <c:v>5.0492915285109872</c:v>
                </c:pt>
                <c:pt idx="7310">
                  <c:v>5.0288217418957259</c:v>
                </c:pt>
                <c:pt idx="7311">
                  <c:v>4.7718408965745382</c:v>
                </c:pt>
                <c:pt idx="7312">
                  <c:v>5.8312786546495241</c:v>
                </c:pt>
                <c:pt idx="7313">
                  <c:v>5.001780403611928</c:v>
                </c:pt>
                <c:pt idx="7314">
                  <c:v>5.9138084161832829</c:v>
                </c:pt>
                <c:pt idx="7315">
                  <c:v>5.1441142713725041</c:v>
                </c:pt>
                <c:pt idx="7316">
                  <c:v>4.9953524059960781</c:v>
                </c:pt>
                <c:pt idx="7317">
                  <c:v>5.0550382743794788</c:v>
                </c:pt>
                <c:pt idx="7318">
                  <c:v>4.9929001910774682</c:v>
                </c:pt>
                <c:pt idx="7319">
                  <c:v>6.1683846170288055</c:v>
                </c:pt>
                <c:pt idx="7320">
                  <c:v>4.9381534430970264</c:v>
                </c:pt>
                <c:pt idx="7321">
                  <c:v>6.0167572625193104</c:v>
                </c:pt>
                <c:pt idx="7322">
                  <c:v>4.946154483835957</c:v>
                </c:pt>
                <c:pt idx="7323">
                  <c:v>5.8817727031777611</c:v>
                </c:pt>
                <c:pt idx="7324">
                  <c:v>6.0918346349848775</c:v>
                </c:pt>
                <c:pt idx="7325">
                  <c:v>5.1178212374890615</c:v>
                </c:pt>
                <c:pt idx="7326">
                  <c:v>5.1228323241071108</c:v>
                </c:pt>
                <c:pt idx="7327">
                  <c:v>5.9339979272349161</c:v>
                </c:pt>
                <c:pt idx="7328">
                  <c:v>6.0929622789569295</c:v>
                </c:pt>
                <c:pt idx="7329">
                  <c:v>4.9193906868449657</c:v>
                </c:pt>
                <c:pt idx="7330">
                  <c:v>6.0296291443654741</c:v>
                </c:pt>
                <c:pt idx="7331">
                  <c:v>6.1172401267177712</c:v>
                </c:pt>
                <c:pt idx="7332">
                  <c:v>6.1549091846020243</c:v>
                </c:pt>
                <c:pt idx="7333">
                  <c:v>5.1533724443572417</c:v>
                </c:pt>
                <c:pt idx="7334">
                  <c:v>4.92025726708283</c:v>
                </c:pt>
                <c:pt idx="7335">
                  <c:v>5.0919920394960059</c:v>
                </c:pt>
                <c:pt idx="7336">
                  <c:v>6.0323380736579209</c:v>
                </c:pt>
                <c:pt idx="7337">
                  <c:v>5.0307890212343924</c:v>
                </c:pt>
                <c:pt idx="7338">
                  <c:v>5.1081982142017797</c:v>
                </c:pt>
                <c:pt idx="7339">
                  <c:v>5.1581039994997679</c:v>
                </c:pt>
                <c:pt idx="7340">
                  <c:v>7.2101357975094906</c:v>
                </c:pt>
                <c:pt idx="7341">
                  <c:v>6.0286055852284726</c:v>
                </c:pt>
                <c:pt idx="7342">
                  <c:v>5.9339546246833494</c:v>
                </c:pt>
                <c:pt idx="7343">
                  <c:v>6.0347579708064911</c:v>
                </c:pt>
                <c:pt idx="7344">
                  <c:v>5.9822118922691825</c:v>
                </c:pt>
                <c:pt idx="7345">
                  <c:v>5.0467560538943461</c:v>
                </c:pt>
                <c:pt idx="7346">
                  <c:v>6.0750189477432706</c:v>
                </c:pt>
                <c:pt idx="7347">
                  <c:v>5.0852233723562428</c:v>
                </c:pt>
                <c:pt idx="7348">
                  <c:v>5.0628959008927978</c:v>
                </c:pt>
                <c:pt idx="7349">
                  <c:v>5.0024932416812362</c:v>
                </c:pt>
                <c:pt idx="7350">
                  <c:v>5.1048056654315879</c:v>
                </c:pt>
                <c:pt idx="7351">
                  <c:v>6.1075094568733546</c:v>
                </c:pt>
                <c:pt idx="7352">
                  <c:v>5.9998020867031938</c:v>
                </c:pt>
                <c:pt idx="7353">
                  <c:v>6.0535373666530523</c:v>
                </c:pt>
                <c:pt idx="7354">
                  <c:v>6.095176491684497</c:v>
                </c:pt>
                <c:pt idx="7355">
                  <c:v>5.0633274205422181</c:v>
                </c:pt>
                <c:pt idx="7356">
                  <c:v>5.9131151468944756</c:v>
                </c:pt>
                <c:pt idx="7357">
                  <c:v>4.8643633929700494</c:v>
                </c:pt>
                <c:pt idx="7358">
                  <c:v>6.0055981615132481</c:v>
                </c:pt>
                <c:pt idx="7359">
                  <c:v>4.9486083491206383</c:v>
                </c:pt>
                <c:pt idx="7360">
                  <c:v>5.9778121861159814</c:v>
                </c:pt>
                <c:pt idx="7361">
                  <c:v>5.0968987928285516</c:v>
                </c:pt>
                <c:pt idx="7362">
                  <c:v>4.9269958747698119</c:v>
                </c:pt>
                <c:pt idx="7363">
                  <c:v>6.0387068671629258</c:v>
                </c:pt>
                <c:pt idx="7364">
                  <c:v>4.9630098100906315</c:v>
                </c:pt>
                <c:pt idx="7365">
                  <c:v>4.9449746447384726</c:v>
                </c:pt>
                <c:pt idx="7366">
                  <c:v>5.9601408178277815</c:v>
                </c:pt>
                <c:pt idx="7367">
                  <c:v>5.8901101897090058</c:v>
                </c:pt>
                <c:pt idx="7368">
                  <c:v>5.000444262786961</c:v>
                </c:pt>
                <c:pt idx="7369">
                  <c:v>5.947754863799612</c:v>
                </c:pt>
                <c:pt idx="7370">
                  <c:v>5.900116999755161</c:v>
                </c:pt>
                <c:pt idx="7371">
                  <c:v>4.9368362155366112</c:v>
                </c:pt>
                <c:pt idx="7372">
                  <c:v>5.0208079847773828</c:v>
                </c:pt>
                <c:pt idx="7373">
                  <c:v>5.0749333453542667</c:v>
                </c:pt>
                <c:pt idx="7374">
                  <c:v>5.1386669578439292</c:v>
                </c:pt>
                <c:pt idx="7375">
                  <c:v>6.0756114030651753</c:v>
                </c:pt>
                <c:pt idx="7376">
                  <c:v>6.8450199469774047</c:v>
                </c:pt>
                <c:pt idx="7377">
                  <c:v>6.9456970250331382</c:v>
                </c:pt>
                <c:pt idx="7378">
                  <c:v>4.9785956885910316</c:v>
                </c:pt>
                <c:pt idx="7379">
                  <c:v>5.9906120395325582</c:v>
                </c:pt>
                <c:pt idx="7380">
                  <c:v>5.0099174426401207</c:v>
                </c:pt>
                <c:pt idx="7381">
                  <c:v>5.8650922522522748</c:v>
                </c:pt>
                <c:pt idx="7382">
                  <c:v>5.9838204068668741</c:v>
                </c:pt>
                <c:pt idx="7383">
                  <c:v>5.9017332299604135</c:v>
                </c:pt>
                <c:pt idx="7384">
                  <c:v>6.0552996912917338</c:v>
                </c:pt>
                <c:pt idx="7385">
                  <c:v>5.0514096618252031</c:v>
                </c:pt>
                <c:pt idx="7386">
                  <c:v>5.0734539641920673</c:v>
                </c:pt>
                <c:pt idx="7387">
                  <c:v>5.978819526896312</c:v>
                </c:pt>
                <c:pt idx="7388">
                  <c:v>7.0902673749241067</c:v>
                </c:pt>
                <c:pt idx="7389">
                  <c:v>7.036526800805996</c:v>
                </c:pt>
                <c:pt idx="7390">
                  <c:v>6.9858749049596094</c:v>
                </c:pt>
                <c:pt idx="7391">
                  <c:v>5.9492557193225171</c:v>
                </c:pt>
                <c:pt idx="7392">
                  <c:v>5.9681168482184201</c:v>
                </c:pt>
                <c:pt idx="7393">
                  <c:v>4.9416743583626443</c:v>
                </c:pt>
                <c:pt idx="7394">
                  <c:v>5.917945416979669</c:v>
                </c:pt>
                <c:pt idx="7395">
                  <c:v>5.0089787502965279</c:v>
                </c:pt>
                <c:pt idx="7396">
                  <c:v>5.9527701089469085</c:v>
                </c:pt>
                <c:pt idx="7397">
                  <c:v>6.1411088098446101</c:v>
                </c:pt>
                <c:pt idx="7398">
                  <c:v>5.8950702419383587</c:v>
                </c:pt>
                <c:pt idx="7399">
                  <c:v>5.883532839950254</c:v>
                </c:pt>
                <c:pt idx="7400">
                  <c:v>6.0386405162026247</c:v>
                </c:pt>
                <c:pt idx="7401">
                  <c:v>4.9644363667351747</c:v>
                </c:pt>
                <c:pt idx="7402">
                  <c:v>2.0148752027307926</c:v>
                </c:pt>
                <c:pt idx="7403">
                  <c:v>2.14393111083462</c:v>
                </c:pt>
                <c:pt idx="7404">
                  <c:v>6.0791219100464335</c:v>
                </c:pt>
                <c:pt idx="7405">
                  <c:v>5.1606749513478727</c:v>
                </c:pt>
                <c:pt idx="7406">
                  <c:v>5.0511916402700265</c:v>
                </c:pt>
                <c:pt idx="7407">
                  <c:v>4.9857821898441026</c:v>
                </c:pt>
                <c:pt idx="7408">
                  <c:v>6.1051026837728868</c:v>
                </c:pt>
                <c:pt idx="7409">
                  <c:v>5.1522197040911966</c:v>
                </c:pt>
                <c:pt idx="7410">
                  <c:v>4.8053347445549166</c:v>
                </c:pt>
                <c:pt idx="7411">
                  <c:v>5.0230164265245643</c:v>
                </c:pt>
                <c:pt idx="7412">
                  <c:v>5.9078241439070469</c:v>
                </c:pt>
                <c:pt idx="7413">
                  <c:v>6.868591304121515</c:v>
                </c:pt>
                <c:pt idx="7414">
                  <c:v>6.0478221110939954</c:v>
                </c:pt>
                <c:pt idx="7415">
                  <c:v>4.9431207697951294</c:v>
                </c:pt>
                <c:pt idx="7416">
                  <c:v>5.1337827509012275</c:v>
                </c:pt>
                <c:pt idx="7417">
                  <c:v>4.964205136656596</c:v>
                </c:pt>
                <c:pt idx="7418">
                  <c:v>5.1358095642854433</c:v>
                </c:pt>
                <c:pt idx="7419">
                  <c:v>4.9998990185192431</c:v>
                </c:pt>
                <c:pt idx="7420">
                  <c:v>6.0000983103135246</c:v>
                </c:pt>
                <c:pt idx="7421">
                  <c:v>4.9693878927523665</c:v>
                </c:pt>
                <c:pt idx="7422">
                  <c:v>5.9165762401400723</c:v>
                </c:pt>
                <c:pt idx="7423">
                  <c:v>5.1340974239070132</c:v>
                </c:pt>
                <c:pt idx="7424">
                  <c:v>4.942790138362672</c:v>
                </c:pt>
                <c:pt idx="7425">
                  <c:v>6.086133242280658</c:v>
                </c:pt>
                <c:pt idx="7426">
                  <c:v>6.0127965537790811</c:v>
                </c:pt>
                <c:pt idx="7427">
                  <c:v>6.9778932366066346</c:v>
                </c:pt>
                <c:pt idx="7428">
                  <c:v>5.9114794296437392</c:v>
                </c:pt>
                <c:pt idx="7429">
                  <c:v>5.8803641465250758</c:v>
                </c:pt>
                <c:pt idx="7430">
                  <c:v>1.8615805769193043</c:v>
                </c:pt>
                <c:pt idx="7431">
                  <c:v>4.0636306949692091</c:v>
                </c:pt>
                <c:pt idx="7432">
                  <c:v>4.9728594175456671</c:v>
                </c:pt>
                <c:pt idx="7433">
                  <c:v>4.8624564303098579</c:v>
                </c:pt>
                <c:pt idx="7434">
                  <c:v>6.1721734416767813</c:v>
                </c:pt>
                <c:pt idx="7435">
                  <c:v>4.9750411612200338</c:v>
                </c:pt>
                <c:pt idx="7436">
                  <c:v>5.8859841522441778</c:v>
                </c:pt>
                <c:pt idx="7437">
                  <c:v>5.9449072785481292</c:v>
                </c:pt>
                <c:pt idx="7438">
                  <c:v>6.0792748694407415</c:v>
                </c:pt>
                <c:pt idx="7439">
                  <c:v>6.0124927986042831</c:v>
                </c:pt>
                <c:pt idx="7440">
                  <c:v>5.0520219255325571</c:v>
                </c:pt>
                <c:pt idx="7441">
                  <c:v>5.0015098513399394</c:v>
                </c:pt>
                <c:pt idx="7442">
                  <c:v>4.8724468714060611</c:v>
                </c:pt>
                <c:pt idx="7443">
                  <c:v>5.9695124437441356</c:v>
                </c:pt>
                <c:pt idx="7444">
                  <c:v>5.7896921277709685</c:v>
                </c:pt>
                <c:pt idx="7445">
                  <c:v>5.0699282858586443</c:v>
                </c:pt>
                <c:pt idx="7446">
                  <c:v>5.9706295883426028</c:v>
                </c:pt>
                <c:pt idx="7447">
                  <c:v>5.8981436179345774</c:v>
                </c:pt>
                <c:pt idx="7448">
                  <c:v>5.0593646429652219</c:v>
                </c:pt>
                <c:pt idx="7449">
                  <c:v>5.1101652442102861</c:v>
                </c:pt>
                <c:pt idx="7450">
                  <c:v>5.1721650585511378</c:v>
                </c:pt>
                <c:pt idx="7451">
                  <c:v>5.0839708327622333</c:v>
                </c:pt>
                <c:pt idx="7452">
                  <c:v>6.0186499742773449</c:v>
                </c:pt>
                <c:pt idx="7453">
                  <c:v>4.9899898758749073</c:v>
                </c:pt>
                <c:pt idx="7454">
                  <c:v>6.0495041048969318</c:v>
                </c:pt>
                <c:pt idx="7455">
                  <c:v>5.9279253102874634</c:v>
                </c:pt>
                <c:pt idx="7456">
                  <c:v>4.9404360757922134</c:v>
                </c:pt>
                <c:pt idx="7457">
                  <c:v>4.7780764406999188</c:v>
                </c:pt>
                <c:pt idx="7458">
                  <c:v>5.0531968522333308</c:v>
                </c:pt>
                <c:pt idx="7459">
                  <c:v>5.1191084668217721</c:v>
                </c:pt>
                <c:pt idx="7460">
                  <c:v>5.0607068992203033</c:v>
                </c:pt>
                <c:pt idx="7461">
                  <c:v>5.014082662380015</c:v>
                </c:pt>
                <c:pt idx="7462">
                  <c:v>4.9591733070436348</c:v>
                </c:pt>
                <c:pt idx="7463">
                  <c:v>5.9903422425930763</c:v>
                </c:pt>
                <c:pt idx="7464">
                  <c:v>4.934327361169494</c:v>
                </c:pt>
                <c:pt idx="7465">
                  <c:v>3.9942240670242852</c:v>
                </c:pt>
                <c:pt idx="7466">
                  <c:v>4.1051835998653496</c:v>
                </c:pt>
                <c:pt idx="7467">
                  <c:v>3.9810780813122975</c:v>
                </c:pt>
                <c:pt idx="7468">
                  <c:v>4.9455292098689521</c:v>
                </c:pt>
                <c:pt idx="7469">
                  <c:v>5.1409692006815284</c:v>
                </c:pt>
                <c:pt idx="7470">
                  <c:v>5.9101421705226702</c:v>
                </c:pt>
                <c:pt idx="7471">
                  <c:v>6.129808018127231</c:v>
                </c:pt>
                <c:pt idx="7472">
                  <c:v>5.9965909729323537</c:v>
                </c:pt>
                <c:pt idx="7473">
                  <c:v>5.1295878795957162</c:v>
                </c:pt>
                <c:pt idx="7474">
                  <c:v>5.019612843700954</c:v>
                </c:pt>
                <c:pt idx="7475">
                  <c:v>6.0906230790191662</c:v>
                </c:pt>
                <c:pt idx="7476">
                  <c:v>6.0961506116085795</c:v>
                </c:pt>
                <c:pt idx="7477">
                  <c:v>6.0475157323457172</c:v>
                </c:pt>
                <c:pt idx="7478">
                  <c:v>4.9132942681767346</c:v>
                </c:pt>
                <c:pt idx="7479">
                  <c:v>5.9496304296085318</c:v>
                </c:pt>
                <c:pt idx="7480">
                  <c:v>4.9127059402164868</c:v>
                </c:pt>
                <c:pt idx="7481">
                  <c:v>6.8786094409070468</c:v>
                </c:pt>
                <c:pt idx="7482">
                  <c:v>4.0317422642313971</c:v>
                </c:pt>
                <c:pt idx="7483">
                  <c:v>6.0400921645591836</c:v>
                </c:pt>
                <c:pt idx="7484">
                  <c:v>5.9272342960087361</c:v>
                </c:pt>
                <c:pt idx="7485">
                  <c:v>4.9638001906715354</c:v>
                </c:pt>
                <c:pt idx="7486">
                  <c:v>5.0315494646580952</c:v>
                </c:pt>
                <c:pt idx="7487">
                  <c:v>4.8766738937505298</c:v>
                </c:pt>
                <c:pt idx="7488">
                  <c:v>4.7522004505824391</c:v>
                </c:pt>
                <c:pt idx="7489">
                  <c:v>6.0647668415688054</c:v>
                </c:pt>
                <c:pt idx="7490">
                  <c:v>4.1379582575138638</c:v>
                </c:pt>
                <c:pt idx="7491">
                  <c:v>1.998186738753071</c:v>
                </c:pt>
                <c:pt idx="7492">
                  <c:v>5.9697319800787927</c:v>
                </c:pt>
                <c:pt idx="7493">
                  <c:v>6.0736586643482511</c:v>
                </c:pt>
                <c:pt idx="7494">
                  <c:v>4.9738408169689823</c:v>
                </c:pt>
                <c:pt idx="7495">
                  <c:v>4.8933577795235319</c:v>
                </c:pt>
                <c:pt idx="7496">
                  <c:v>6.0800686126216537</c:v>
                </c:pt>
                <c:pt idx="7497">
                  <c:v>4.8021571169750441</c:v>
                </c:pt>
                <c:pt idx="7498">
                  <c:v>4.9459944544630279</c:v>
                </c:pt>
                <c:pt idx="7499">
                  <c:v>6.0214002705591465</c:v>
                </c:pt>
                <c:pt idx="7500">
                  <c:v>6.808107513680735</c:v>
                </c:pt>
                <c:pt idx="7501">
                  <c:v>5.9837908854131419</c:v>
                </c:pt>
                <c:pt idx="7502">
                  <c:v>4.9348636547531193</c:v>
                </c:pt>
                <c:pt idx="7503">
                  <c:v>5.0545116907831833</c:v>
                </c:pt>
                <c:pt idx="7504">
                  <c:v>6.1188361564370046</c:v>
                </c:pt>
                <c:pt idx="7505">
                  <c:v>5.8671917252632575</c:v>
                </c:pt>
                <c:pt idx="7506">
                  <c:v>6.1213341984496354</c:v>
                </c:pt>
                <c:pt idx="7507">
                  <c:v>5.9515766397076115</c:v>
                </c:pt>
                <c:pt idx="7508">
                  <c:v>6.1162437146025477</c:v>
                </c:pt>
                <c:pt idx="7509">
                  <c:v>5.7405611833695565</c:v>
                </c:pt>
                <c:pt idx="7510">
                  <c:v>5.0023363802823759</c:v>
                </c:pt>
                <c:pt idx="7511">
                  <c:v>5.0444970814132439</c:v>
                </c:pt>
                <c:pt idx="7512">
                  <c:v>5.8537630143240298</c:v>
                </c:pt>
                <c:pt idx="7513">
                  <c:v>6.0636807356758649</c:v>
                </c:pt>
                <c:pt idx="7514">
                  <c:v>5.0558049968333574</c:v>
                </c:pt>
                <c:pt idx="7515">
                  <c:v>6.9556835483741697</c:v>
                </c:pt>
                <c:pt idx="7516">
                  <c:v>6.0452176752808029</c:v>
                </c:pt>
                <c:pt idx="7517">
                  <c:v>5.9383304848969347</c:v>
                </c:pt>
                <c:pt idx="7518">
                  <c:v>4.9392443777526616</c:v>
                </c:pt>
                <c:pt idx="7519">
                  <c:v>6.0629583303506989</c:v>
                </c:pt>
                <c:pt idx="7520">
                  <c:v>5.0325979575963391</c:v>
                </c:pt>
                <c:pt idx="7521">
                  <c:v>4.993521620349533</c:v>
                </c:pt>
                <c:pt idx="7522">
                  <c:v>5.9944769717017294</c:v>
                </c:pt>
                <c:pt idx="7523">
                  <c:v>4.8606033801894855</c:v>
                </c:pt>
                <c:pt idx="7524">
                  <c:v>6.0365828399543089</c:v>
                </c:pt>
                <c:pt idx="7525">
                  <c:v>5.8225686653217634</c:v>
                </c:pt>
                <c:pt idx="7526">
                  <c:v>6.2121047703901331</c:v>
                </c:pt>
                <c:pt idx="7527">
                  <c:v>5.9040033562247549</c:v>
                </c:pt>
                <c:pt idx="7528">
                  <c:v>4.958316490037542</c:v>
                </c:pt>
                <c:pt idx="7529">
                  <c:v>6.0234871935169414</c:v>
                </c:pt>
                <c:pt idx="7530">
                  <c:v>6.1321111646063056</c:v>
                </c:pt>
                <c:pt idx="7531">
                  <c:v>5.9280891334073624</c:v>
                </c:pt>
                <c:pt idx="7532">
                  <c:v>6.1317816465051811</c:v>
                </c:pt>
                <c:pt idx="7533">
                  <c:v>5.9089517168201926</c:v>
                </c:pt>
                <c:pt idx="7534">
                  <c:v>4.9893931835240313</c:v>
                </c:pt>
                <c:pt idx="7535">
                  <c:v>7.079774785724636</c:v>
                </c:pt>
                <c:pt idx="7536">
                  <c:v>6.1237041580271745</c:v>
                </c:pt>
                <c:pt idx="7537">
                  <c:v>5.9062307462128683</c:v>
                </c:pt>
                <c:pt idx="7538">
                  <c:v>6.967992450628846</c:v>
                </c:pt>
                <c:pt idx="7539">
                  <c:v>6.0532798294657235</c:v>
                </c:pt>
                <c:pt idx="7540">
                  <c:v>5.1356110424983328</c:v>
                </c:pt>
                <c:pt idx="7541">
                  <c:v>5.9682524585422234</c:v>
                </c:pt>
                <c:pt idx="7542">
                  <c:v>6.0430605218905162</c:v>
                </c:pt>
                <c:pt idx="7543">
                  <c:v>4.8621479794151172</c:v>
                </c:pt>
                <c:pt idx="7544">
                  <c:v>5.0885558417599226</c:v>
                </c:pt>
                <c:pt idx="7545">
                  <c:v>5.8814780525836978</c:v>
                </c:pt>
                <c:pt idx="7546">
                  <c:v>6.0140287004211279</c:v>
                </c:pt>
                <c:pt idx="7547">
                  <c:v>6.0166904299423907</c:v>
                </c:pt>
                <c:pt idx="7548">
                  <c:v>5.7184363840463632</c:v>
                </c:pt>
                <c:pt idx="7549">
                  <c:v>5.0224318817378348</c:v>
                </c:pt>
                <c:pt idx="7550">
                  <c:v>5.8332467053390573</c:v>
                </c:pt>
                <c:pt idx="7551">
                  <c:v>6.0877638563220255</c:v>
                </c:pt>
                <c:pt idx="7552">
                  <c:v>4.9601188906130806</c:v>
                </c:pt>
                <c:pt idx="7553">
                  <c:v>6.0107199818438639</c:v>
                </c:pt>
                <c:pt idx="7554">
                  <c:v>5.9495077795859288</c:v>
                </c:pt>
                <c:pt idx="7555">
                  <c:v>5.7554710846768771</c:v>
                </c:pt>
                <c:pt idx="7556">
                  <c:v>5.1529356771549164</c:v>
                </c:pt>
                <c:pt idx="7557">
                  <c:v>5.9148267263634882</c:v>
                </c:pt>
                <c:pt idx="7558">
                  <c:v>5.9880694392785667</c:v>
                </c:pt>
                <c:pt idx="7559">
                  <c:v>6.258950275942853</c:v>
                </c:pt>
                <c:pt idx="7560">
                  <c:v>4.9689658990842611</c:v>
                </c:pt>
                <c:pt idx="7561">
                  <c:v>6.090019935435885</c:v>
                </c:pt>
                <c:pt idx="7562">
                  <c:v>6.0046524223514064</c:v>
                </c:pt>
                <c:pt idx="7563">
                  <c:v>6.0154667285839238</c:v>
                </c:pt>
                <c:pt idx="7564">
                  <c:v>5.8520159575547019</c:v>
                </c:pt>
                <c:pt idx="7565">
                  <c:v>6.1387188055662438</c:v>
                </c:pt>
                <c:pt idx="7566">
                  <c:v>5.9377632039964929</c:v>
                </c:pt>
                <c:pt idx="7567">
                  <c:v>5.9503832090209743</c:v>
                </c:pt>
                <c:pt idx="7568">
                  <c:v>6.0092212615647895</c:v>
                </c:pt>
                <c:pt idx="7569">
                  <c:v>4.9447470082188216</c:v>
                </c:pt>
                <c:pt idx="7570">
                  <c:v>6.8407532292554052</c:v>
                </c:pt>
                <c:pt idx="7571">
                  <c:v>7.1778729970879214</c:v>
                </c:pt>
                <c:pt idx="7572">
                  <c:v>7.0291022813246329</c:v>
                </c:pt>
                <c:pt idx="7573">
                  <c:v>7.0443756879439761</c:v>
                </c:pt>
                <c:pt idx="7574">
                  <c:v>5.0929859656827769</c:v>
                </c:pt>
                <c:pt idx="7575">
                  <c:v>6.142457910557547</c:v>
                </c:pt>
                <c:pt idx="7576">
                  <c:v>7.0017184778799084</c:v>
                </c:pt>
                <c:pt idx="7577">
                  <c:v>7.2167170928440711</c:v>
                </c:pt>
                <c:pt idx="7578">
                  <c:v>3.8744471043825546</c:v>
                </c:pt>
                <c:pt idx="7579">
                  <c:v>4.031733832378114</c:v>
                </c:pt>
                <c:pt idx="7580">
                  <c:v>4.927928596337285</c:v>
                </c:pt>
                <c:pt idx="7581">
                  <c:v>5.9024035686092651</c:v>
                </c:pt>
                <c:pt idx="7582">
                  <c:v>6.1096575925290137</c:v>
                </c:pt>
                <c:pt idx="7583">
                  <c:v>4.8744314725103841</c:v>
                </c:pt>
                <c:pt idx="7584">
                  <c:v>5.0073598871690708</c:v>
                </c:pt>
                <c:pt idx="7585">
                  <c:v>5.0483899009176989</c:v>
                </c:pt>
                <c:pt idx="7586">
                  <c:v>5.0717588329933783</c:v>
                </c:pt>
                <c:pt idx="7587">
                  <c:v>5.8247674504263749</c:v>
                </c:pt>
                <c:pt idx="7588">
                  <c:v>5.9820568185261145</c:v>
                </c:pt>
                <c:pt idx="7589">
                  <c:v>5.9552197487427359</c:v>
                </c:pt>
                <c:pt idx="7590">
                  <c:v>4.2409352529791615</c:v>
                </c:pt>
                <c:pt idx="7591">
                  <c:v>6.0509909427366386</c:v>
                </c:pt>
                <c:pt idx="7592">
                  <c:v>6.0959775144521666</c:v>
                </c:pt>
                <c:pt idx="7593">
                  <c:v>5.0079979960109791</c:v>
                </c:pt>
                <c:pt idx="7594">
                  <c:v>6.0114683014371018</c:v>
                </c:pt>
                <c:pt idx="7595">
                  <c:v>5.9692562579624031</c:v>
                </c:pt>
                <c:pt idx="7596">
                  <c:v>6.1345175451145453</c:v>
                </c:pt>
                <c:pt idx="7597">
                  <c:v>5.0488893867475708</c:v>
                </c:pt>
                <c:pt idx="7598">
                  <c:v>4.9912908388905448</c:v>
                </c:pt>
                <c:pt idx="7599">
                  <c:v>4.9048449185067913</c:v>
                </c:pt>
                <c:pt idx="7600">
                  <c:v>4.9568226917940912</c:v>
                </c:pt>
                <c:pt idx="7601">
                  <c:v>5.9501097126971745</c:v>
                </c:pt>
                <c:pt idx="7602">
                  <c:v>5.9671726236193692</c:v>
                </c:pt>
                <c:pt idx="7603">
                  <c:v>5.9323877917393446</c:v>
                </c:pt>
                <c:pt idx="7604">
                  <c:v>6.0133871436159438</c:v>
                </c:pt>
                <c:pt idx="7605">
                  <c:v>4.9706641314868154</c:v>
                </c:pt>
                <c:pt idx="7606">
                  <c:v>7.1139000152181522</c:v>
                </c:pt>
                <c:pt idx="7607">
                  <c:v>5.0950936179011332</c:v>
                </c:pt>
                <c:pt idx="7608">
                  <c:v>4.0264488075431162</c:v>
                </c:pt>
                <c:pt idx="7609">
                  <c:v>5.1839244094961572</c:v>
                </c:pt>
                <c:pt idx="7610">
                  <c:v>5.9701478604985505</c:v>
                </c:pt>
                <c:pt idx="7611">
                  <c:v>5.8385556860112269</c:v>
                </c:pt>
                <c:pt idx="7612">
                  <c:v>4.872927762075296</c:v>
                </c:pt>
                <c:pt idx="7613">
                  <c:v>5.0725087984838622</c:v>
                </c:pt>
                <c:pt idx="7614">
                  <c:v>5.8530386294352548</c:v>
                </c:pt>
                <c:pt idx="7615">
                  <c:v>4.8700820252239128</c:v>
                </c:pt>
                <c:pt idx="7616">
                  <c:v>4.8784323736538484</c:v>
                </c:pt>
                <c:pt idx="7617">
                  <c:v>4.9397682003642283</c:v>
                </c:pt>
                <c:pt idx="7618">
                  <c:v>7.0854798200889579</c:v>
                </c:pt>
                <c:pt idx="7619">
                  <c:v>5.8139662846841897</c:v>
                </c:pt>
                <c:pt idx="7620">
                  <c:v>6.1332356783381288</c:v>
                </c:pt>
                <c:pt idx="7621">
                  <c:v>5.9264275706862319</c:v>
                </c:pt>
                <c:pt idx="7622">
                  <c:v>5.8571924540066762</c:v>
                </c:pt>
                <c:pt idx="7623">
                  <c:v>6.0653503373584075</c:v>
                </c:pt>
                <c:pt idx="7624">
                  <c:v>5.8812415804293927</c:v>
                </c:pt>
                <c:pt idx="7625">
                  <c:v>5.0956795377021411</c:v>
                </c:pt>
                <c:pt idx="7626">
                  <c:v>5.0005567411010876</c:v>
                </c:pt>
                <c:pt idx="7627">
                  <c:v>6.0937375413660462</c:v>
                </c:pt>
                <c:pt idx="7628">
                  <c:v>4.9504586408807834</c:v>
                </c:pt>
                <c:pt idx="7629">
                  <c:v>5.7537544295744771</c:v>
                </c:pt>
                <c:pt idx="7630">
                  <c:v>6.201592533537025</c:v>
                </c:pt>
                <c:pt idx="7631">
                  <c:v>4.9208834100033867</c:v>
                </c:pt>
                <c:pt idx="7632">
                  <c:v>6.2418936662112179</c:v>
                </c:pt>
                <c:pt idx="7633">
                  <c:v>4.0259722270059939</c:v>
                </c:pt>
                <c:pt idx="7634">
                  <c:v>5.9175837142475567</c:v>
                </c:pt>
                <c:pt idx="7635">
                  <c:v>4.8415565440687125</c:v>
                </c:pt>
                <c:pt idx="7636">
                  <c:v>4.8655678043236499</c:v>
                </c:pt>
                <c:pt idx="7637">
                  <c:v>5.0204952811006915</c:v>
                </c:pt>
                <c:pt idx="7638">
                  <c:v>6.8170683144558399</c:v>
                </c:pt>
                <c:pt idx="7639">
                  <c:v>5.045429876704068</c:v>
                </c:pt>
                <c:pt idx="7640">
                  <c:v>5.095437059292478</c:v>
                </c:pt>
                <c:pt idx="7641">
                  <c:v>5.0073634255440291</c:v>
                </c:pt>
                <c:pt idx="7642">
                  <c:v>4.889116131977608</c:v>
                </c:pt>
                <c:pt idx="7643">
                  <c:v>3.984121395515035</c:v>
                </c:pt>
                <c:pt idx="7644">
                  <c:v>5.8918512329753243</c:v>
                </c:pt>
                <c:pt idx="7645">
                  <c:v>5.095784195585102</c:v>
                </c:pt>
                <c:pt idx="7646">
                  <c:v>4.8771020737221704</c:v>
                </c:pt>
                <c:pt idx="7647">
                  <c:v>5.9111927249770622</c:v>
                </c:pt>
                <c:pt idx="7648">
                  <c:v>5.9058177669267469</c:v>
                </c:pt>
                <c:pt idx="7649">
                  <c:v>3.9799012856611116</c:v>
                </c:pt>
                <c:pt idx="7650">
                  <c:v>5.1095289811819198</c:v>
                </c:pt>
                <c:pt idx="7651">
                  <c:v>6.0162750346345995</c:v>
                </c:pt>
                <c:pt idx="7652">
                  <c:v>5.9084918114648985</c:v>
                </c:pt>
                <c:pt idx="7653">
                  <c:v>4.986671908534734</c:v>
                </c:pt>
                <c:pt idx="7654">
                  <c:v>5.0658110590709162</c:v>
                </c:pt>
                <c:pt idx="7655">
                  <c:v>5.9094683984112049</c:v>
                </c:pt>
                <c:pt idx="7656">
                  <c:v>5.9016025635879013</c:v>
                </c:pt>
                <c:pt idx="7657">
                  <c:v>5.0491521429391364</c:v>
                </c:pt>
                <c:pt idx="7658">
                  <c:v>5.9709256117346303</c:v>
                </c:pt>
                <c:pt idx="7659">
                  <c:v>5.9552741825024622</c:v>
                </c:pt>
                <c:pt idx="7660">
                  <c:v>4.9287368269922807</c:v>
                </c:pt>
                <c:pt idx="7661">
                  <c:v>4.9003491986871808</c:v>
                </c:pt>
                <c:pt idx="7662">
                  <c:v>6.1326410222710477</c:v>
                </c:pt>
                <c:pt idx="7663">
                  <c:v>5.9644426178357577</c:v>
                </c:pt>
                <c:pt idx="7664">
                  <c:v>5.8914003572917881</c:v>
                </c:pt>
                <c:pt idx="7665">
                  <c:v>7.0688711474688892</c:v>
                </c:pt>
                <c:pt idx="7666">
                  <c:v>5.0277440333380961</c:v>
                </c:pt>
                <c:pt idx="7667">
                  <c:v>6.0284379217207427</c:v>
                </c:pt>
                <c:pt idx="7668">
                  <c:v>5.1367129335952075</c:v>
                </c:pt>
                <c:pt idx="7669">
                  <c:v>5.040873461297676</c:v>
                </c:pt>
                <c:pt idx="7670">
                  <c:v>5.8805781255790901</c:v>
                </c:pt>
                <c:pt idx="7671">
                  <c:v>4.9510561802192523</c:v>
                </c:pt>
                <c:pt idx="7672">
                  <c:v>6.1132744141376909</c:v>
                </c:pt>
                <c:pt idx="7673">
                  <c:v>4.9532585222829173</c:v>
                </c:pt>
                <c:pt idx="7674">
                  <c:v>4.9724727469356393</c:v>
                </c:pt>
                <c:pt idx="7675">
                  <c:v>6.207434071971047</c:v>
                </c:pt>
                <c:pt idx="7676">
                  <c:v>5.8828999526872803</c:v>
                </c:pt>
                <c:pt idx="7677">
                  <c:v>4.8058724154559425</c:v>
                </c:pt>
                <c:pt idx="7678">
                  <c:v>5.8572691906917305</c:v>
                </c:pt>
                <c:pt idx="7679">
                  <c:v>5.9114118378539313</c:v>
                </c:pt>
                <c:pt idx="7680">
                  <c:v>5.1154618736484716</c:v>
                </c:pt>
                <c:pt idx="7681">
                  <c:v>5.0764939715171504</c:v>
                </c:pt>
                <c:pt idx="7682">
                  <c:v>4.9916859672064433</c:v>
                </c:pt>
                <c:pt idx="7683">
                  <c:v>5.0980027853408805</c:v>
                </c:pt>
                <c:pt idx="7684">
                  <c:v>5.9870755349780822</c:v>
                </c:pt>
                <c:pt idx="7685">
                  <c:v>4.9847901826355967</c:v>
                </c:pt>
                <c:pt idx="7686">
                  <c:v>4.9252001102591079</c:v>
                </c:pt>
                <c:pt idx="7687">
                  <c:v>5.9980928780484799</c:v>
                </c:pt>
                <c:pt idx="7688">
                  <c:v>5.8609999306578713</c:v>
                </c:pt>
                <c:pt idx="7689">
                  <c:v>5.0252775560478335</c:v>
                </c:pt>
                <c:pt idx="7690">
                  <c:v>5.7889421455534791</c:v>
                </c:pt>
                <c:pt idx="7691">
                  <c:v>6.009664870398332</c:v>
                </c:pt>
                <c:pt idx="7692">
                  <c:v>4.8518983626533236</c:v>
                </c:pt>
                <c:pt idx="7693">
                  <c:v>5.074930337834628</c:v>
                </c:pt>
                <c:pt idx="7694">
                  <c:v>6.0565001970398997</c:v>
                </c:pt>
                <c:pt idx="7695">
                  <c:v>5.2724064266918766</c:v>
                </c:pt>
                <c:pt idx="7696">
                  <c:v>5.0208689330399388</c:v>
                </c:pt>
                <c:pt idx="7697">
                  <c:v>6.003667421494038</c:v>
                </c:pt>
                <c:pt idx="7698">
                  <c:v>5.228893189030333</c:v>
                </c:pt>
                <c:pt idx="7699">
                  <c:v>5.0333637353126868</c:v>
                </c:pt>
                <c:pt idx="7700">
                  <c:v>4.9852477179748975</c:v>
                </c:pt>
                <c:pt idx="7701">
                  <c:v>5.947464319075741</c:v>
                </c:pt>
                <c:pt idx="7702">
                  <c:v>4.9495270947472543</c:v>
                </c:pt>
                <c:pt idx="7703">
                  <c:v>4.9700726039326097</c:v>
                </c:pt>
                <c:pt idx="7704">
                  <c:v>6.041817282685086</c:v>
                </c:pt>
                <c:pt idx="7705">
                  <c:v>5.8523406952182286</c:v>
                </c:pt>
                <c:pt idx="7706">
                  <c:v>6.0064373713881203</c:v>
                </c:pt>
                <c:pt idx="7707">
                  <c:v>5.068888692279705</c:v>
                </c:pt>
                <c:pt idx="7708">
                  <c:v>6.0768915222117217</c:v>
                </c:pt>
                <c:pt idx="7709">
                  <c:v>5.0353373596156628</c:v>
                </c:pt>
                <c:pt idx="7710">
                  <c:v>4.8884925442222711</c:v>
                </c:pt>
                <c:pt idx="7711">
                  <c:v>5.8292339688850561</c:v>
                </c:pt>
                <c:pt idx="7712">
                  <c:v>6.0092405970066771</c:v>
                </c:pt>
                <c:pt idx="7713">
                  <c:v>5.027337961259188</c:v>
                </c:pt>
                <c:pt idx="7714">
                  <c:v>5.9883073979551931</c:v>
                </c:pt>
                <c:pt idx="7715">
                  <c:v>7.0760141818243651</c:v>
                </c:pt>
                <c:pt idx="7716">
                  <c:v>6.0601086005655365</c:v>
                </c:pt>
                <c:pt idx="7717">
                  <c:v>5.9364489501344009</c:v>
                </c:pt>
                <c:pt idx="7718">
                  <c:v>4.8040448752016021</c:v>
                </c:pt>
                <c:pt idx="7719">
                  <c:v>5.9076107834656097</c:v>
                </c:pt>
                <c:pt idx="7720">
                  <c:v>5.9440167328679712</c:v>
                </c:pt>
                <c:pt idx="7721">
                  <c:v>6.0164139301768502</c:v>
                </c:pt>
                <c:pt idx="7722">
                  <c:v>7.0390169683434642</c:v>
                </c:pt>
                <c:pt idx="7723">
                  <c:v>6.1285871668803358</c:v>
                </c:pt>
                <c:pt idx="7724">
                  <c:v>5.1463853361031084</c:v>
                </c:pt>
                <c:pt idx="7725">
                  <c:v>6.0113633168728899</c:v>
                </c:pt>
                <c:pt idx="7726">
                  <c:v>6.9766748319780394</c:v>
                </c:pt>
                <c:pt idx="7727">
                  <c:v>5.8436685139524851</c:v>
                </c:pt>
                <c:pt idx="7728">
                  <c:v>4.93224627272782</c:v>
                </c:pt>
                <c:pt idx="7729">
                  <c:v>6.1598839880522984</c:v>
                </c:pt>
                <c:pt idx="7730">
                  <c:v>6.0003756680603946</c:v>
                </c:pt>
                <c:pt idx="7731">
                  <c:v>4.1626373459756065</c:v>
                </c:pt>
                <c:pt idx="7732">
                  <c:v>7.0771092325505922</c:v>
                </c:pt>
                <c:pt idx="7733">
                  <c:v>3.8513860785924487</c:v>
                </c:pt>
                <c:pt idx="7734">
                  <c:v>3.9424707300451032</c:v>
                </c:pt>
                <c:pt idx="7735">
                  <c:v>5.0759831083047731</c:v>
                </c:pt>
                <c:pt idx="7736">
                  <c:v>5.1566390159296134</c:v>
                </c:pt>
                <c:pt idx="7737">
                  <c:v>4.9933370509196342</c:v>
                </c:pt>
                <c:pt idx="7738">
                  <c:v>5.0464382679218387</c:v>
                </c:pt>
                <c:pt idx="7739">
                  <c:v>6.0016678825908656</c:v>
                </c:pt>
                <c:pt idx="7740">
                  <c:v>6.028552408725905</c:v>
                </c:pt>
                <c:pt idx="7741">
                  <c:v>5.9264919484079117</c:v>
                </c:pt>
                <c:pt idx="7742">
                  <c:v>5.0729624896661498</c:v>
                </c:pt>
                <c:pt idx="7743">
                  <c:v>5.9943340357045631</c:v>
                </c:pt>
                <c:pt idx="7744">
                  <c:v>5.1156865405315397</c:v>
                </c:pt>
                <c:pt idx="7745">
                  <c:v>4.9164265578950035</c:v>
                </c:pt>
                <c:pt idx="7746">
                  <c:v>4.8575792187971887</c:v>
                </c:pt>
                <c:pt idx="7747">
                  <c:v>6.0013620633284797</c:v>
                </c:pt>
                <c:pt idx="7748">
                  <c:v>5.901115252837636</c:v>
                </c:pt>
                <c:pt idx="7749">
                  <c:v>5.8639806037469677</c:v>
                </c:pt>
                <c:pt idx="7750">
                  <c:v>4.9688870275928698</c:v>
                </c:pt>
                <c:pt idx="7751">
                  <c:v>5.8931925854263429</c:v>
                </c:pt>
                <c:pt idx="7752">
                  <c:v>5.9122812120514245</c:v>
                </c:pt>
                <c:pt idx="7753">
                  <c:v>5.9114671008525121</c:v>
                </c:pt>
                <c:pt idx="7754">
                  <c:v>6.1288248083715056</c:v>
                </c:pt>
                <c:pt idx="7755">
                  <c:v>4.1661232976625051</c:v>
                </c:pt>
                <c:pt idx="7756">
                  <c:v>6.0028460469137279</c:v>
                </c:pt>
                <c:pt idx="7757">
                  <c:v>4.890097596198907</c:v>
                </c:pt>
                <c:pt idx="7758">
                  <c:v>5.9611207614895587</c:v>
                </c:pt>
                <c:pt idx="7759">
                  <c:v>5.1414333111731061</c:v>
                </c:pt>
                <c:pt idx="7760">
                  <c:v>6.1083191310473115</c:v>
                </c:pt>
                <c:pt idx="7761">
                  <c:v>6.9947498963362644</c:v>
                </c:pt>
                <c:pt idx="7762">
                  <c:v>6.1078805427850833</c:v>
                </c:pt>
                <c:pt idx="7763">
                  <c:v>5.8108457281659236</c:v>
                </c:pt>
                <c:pt idx="7764">
                  <c:v>5.901250539409939</c:v>
                </c:pt>
                <c:pt idx="7765">
                  <c:v>4.9363439581039206</c:v>
                </c:pt>
                <c:pt idx="7766">
                  <c:v>6.0341060897604653</c:v>
                </c:pt>
                <c:pt idx="7767">
                  <c:v>5.9093974327132859</c:v>
                </c:pt>
                <c:pt idx="7768">
                  <c:v>5.0225449208220683</c:v>
                </c:pt>
                <c:pt idx="7769">
                  <c:v>4.987795878228547</c:v>
                </c:pt>
                <c:pt idx="7770">
                  <c:v>4.97900211204011</c:v>
                </c:pt>
                <c:pt idx="7771">
                  <c:v>4.95580505534934</c:v>
                </c:pt>
                <c:pt idx="7772">
                  <c:v>4.9225488558429769</c:v>
                </c:pt>
                <c:pt idx="7773">
                  <c:v>6.0446472038721195</c:v>
                </c:pt>
                <c:pt idx="7774">
                  <c:v>5.0489638973687017</c:v>
                </c:pt>
                <c:pt idx="7775">
                  <c:v>4.9001027147389662</c:v>
                </c:pt>
                <c:pt idx="7776">
                  <c:v>6.0100651634736071</c:v>
                </c:pt>
                <c:pt idx="7777">
                  <c:v>4.9177473576618658</c:v>
                </c:pt>
                <c:pt idx="7778">
                  <c:v>5.044808341576414</c:v>
                </c:pt>
                <c:pt idx="7779">
                  <c:v>5.1405423297199313</c:v>
                </c:pt>
                <c:pt idx="7780">
                  <c:v>5.1122316944996058</c:v>
                </c:pt>
                <c:pt idx="7781">
                  <c:v>4.8913334740236838</c:v>
                </c:pt>
                <c:pt idx="7782">
                  <c:v>5.972136279906989</c:v>
                </c:pt>
                <c:pt idx="7783">
                  <c:v>5.9996083573464292</c:v>
                </c:pt>
                <c:pt idx="7784">
                  <c:v>6.0501643251374277</c:v>
                </c:pt>
                <c:pt idx="7785">
                  <c:v>5.8603167793422628</c:v>
                </c:pt>
                <c:pt idx="7786">
                  <c:v>6.0617909931963911</c:v>
                </c:pt>
                <c:pt idx="7787">
                  <c:v>4.9166196073287347</c:v>
                </c:pt>
                <c:pt idx="7788">
                  <c:v>4.8623954219276238</c:v>
                </c:pt>
                <c:pt idx="7789">
                  <c:v>5.8514970968055815</c:v>
                </c:pt>
                <c:pt idx="7790">
                  <c:v>4.9901840544092071</c:v>
                </c:pt>
                <c:pt idx="7791">
                  <c:v>4.9064871054627819</c:v>
                </c:pt>
                <c:pt idx="7792">
                  <c:v>4.9613782586000452</c:v>
                </c:pt>
                <c:pt idx="7793">
                  <c:v>4.9860615150056926</c:v>
                </c:pt>
                <c:pt idx="7794">
                  <c:v>5.9755851644263966</c:v>
                </c:pt>
                <c:pt idx="7795">
                  <c:v>6.057699538676971</c:v>
                </c:pt>
                <c:pt idx="7796">
                  <c:v>5.0662985922086081</c:v>
                </c:pt>
                <c:pt idx="7797">
                  <c:v>5.0695179282497538</c:v>
                </c:pt>
                <c:pt idx="7798">
                  <c:v>5.9809374506957935</c:v>
                </c:pt>
                <c:pt idx="7799">
                  <c:v>4.944020527600741</c:v>
                </c:pt>
                <c:pt idx="7800">
                  <c:v>6.0122536926212824</c:v>
                </c:pt>
                <c:pt idx="7801">
                  <c:v>5.0159297901997189</c:v>
                </c:pt>
                <c:pt idx="7802">
                  <c:v>5.0894239709553686</c:v>
                </c:pt>
                <c:pt idx="7803">
                  <c:v>5.1000807958882888</c:v>
                </c:pt>
                <c:pt idx="7804">
                  <c:v>4.9788714458178047</c:v>
                </c:pt>
                <c:pt idx="7805">
                  <c:v>4.9700785902754365</c:v>
                </c:pt>
                <c:pt idx="7806">
                  <c:v>6.0606346727049454</c:v>
                </c:pt>
                <c:pt idx="7807">
                  <c:v>5.0893339774629975</c:v>
                </c:pt>
                <c:pt idx="7808">
                  <c:v>6.0917755720071751</c:v>
                </c:pt>
                <c:pt idx="7809">
                  <c:v>5.0536762029887567</c:v>
                </c:pt>
                <c:pt idx="7810">
                  <c:v>2.1887949865674656</c:v>
                </c:pt>
                <c:pt idx="7811">
                  <c:v>2.02648953155034</c:v>
                </c:pt>
                <c:pt idx="7812">
                  <c:v>5.0660094507316131</c:v>
                </c:pt>
                <c:pt idx="7813">
                  <c:v>6.0709491469659911</c:v>
                </c:pt>
                <c:pt idx="7814">
                  <c:v>6.0043794128538455</c:v>
                </c:pt>
                <c:pt idx="7815">
                  <c:v>5.0530668462587176</c:v>
                </c:pt>
                <c:pt idx="7816">
                  <c:v>7.0924914339178962</c:v>
                </c:pt>
                <c:pt idx="7817">
                  <c:v>4.9658265942900472</c:v>
                </c:pt>
                <c:pt idx="7818">
                  <c:v>3.946919024102518</c:v>
                </c:pt>
                <c:pt idx="7819">
                  <c:v>6.7200833989037072</c:v>
                </c:pt>
                <c:pt idx="7820">
                  <c:v>4.994200089831474</c:v>
                </c:pt>
                <c:pt idx="7821">
                  <c:v>5.0984864295849865</c:v>
                </c:pt>
                <c:pt idx="7822">
                  <c:v>6.039208474008511</c:v>
                </c:pt>
                <c:pt idx="7823">
                  <c:v>5.9318813587270585</c:v>
                </c:pt>
                <c:pt idx="7824">
                  <c:v>5.0575303790284867</c:v>
                </c:pt>
                <c:pt idx="7825">
                  <c:v>4.876621119547127</c:v>
                </c:pt>
                <c:pt idx="7826">
                  <c:v>6.1124507731648716</c:v>
                </c:pt>
                <c:pt idx="7827">
                  <c:v>6.0528804817148831</c:v>
                </c:pt>
                <c:pt idx="7828">
                  <c:v>5.0196286747548573</c:v>
                </c:pt>
                <c:pt idx="7829">
                  <c:v>4.8659147783225913</c:v>
                </c:pt>
                <c:pt idx="7830">
                  <c:v>6.0229136764550351</c:v>
                </c:pt>
                <c:pt idx="7831">
                  <c:v>5.0263751543857849</c:v>
                </c:pt>
                <c:pt idx="7832">
                  <c:v>6.1438727054426243</c:v>
                </c:pt>
                <c:pt idx="7833">
                  <c:v>5.0698984521867079</c:v>
                </c:pt>
                <c:pt idx="7834">
                  <c:v>5.9220181551029132</c:v>
                </c:pt>
                <c:pt idx="7835">
                  <c:v>5.9105493365181161</c:v>
                </c:pt>
                <c:pt idx="7836">
                  <c:v>5.8803211077693796</c:v>
                </c:pt>
                <c:pt idx="7837">
                  <c:v>6.0350432822772389</c:v>
                </c:pt>
                <c:pt idx="7838">
                  <c:v>5.9392435763297158</c:v>
                </c:pt>
                <c:pt idx="7839">
                  <c:v>5.9326056091804293</c:v>
                </c:pt>
                <c:pt idx="7840">
                  <c:v>6.0659573417088914</c:v>
                </c:pt>
                <c:pt idx="7841">
                  <c:v>6.0469811346501823</c:v>
                </c:pt>
                <c:pt idx="7842">
                  <c:v>5.8940859946372157</c:v>
                </c:pt>
                <c:pt idx="7843">
                  <c:v>5.9754602734928568</c:v>
                </c:pt>
                <c:pt idx="7844">
                  <c:v>5.2474674818829596</c:v>
                </c:pt>
                <c:pt idx="7845">
                  <c:v>5.1205288380963747</c:v>
                </c:pt>
                <c:pt idx="7846">
                  <c:v>6.0891392587765401</c:v>
                </c:pt>
                <c:pt idx="7847">
                  <c:v>5.0503084206452904</c:v>
                </c:pt>
                <c:pt idx="7848">
                  <c:v>5.9688329988891846</c:v>
                </c:pt>
                <c:pt idx="7849">
                  <c:v>5.0324535917543054</c:v>
                </c:pt>
                <c:pt idx="7850">
                  <c:v>6.0309324952205801</c:v>
                </c:pt>
                <c:pt idx="7851">
                  <c:v>4.9797749569351666</c:v>
                </c:pt>
                <c:pt idx="7852">
                  <c:v>5.9355681215368614</c:v>
                </c:pt>
                <c:pt idx="7853">
                  <c:v>5.9769262981736357</c:v>
                </c:pt>
                <c:pt idx="7854">
                  <c:v>5.0266203109251117</c:v>
                </c:pt>
                <c:pt idx="7855">
                  <c:v>6.031282735654778</c:v>
                </c:pt>
                <c:pt idx="7856">
                  <c:v>6.0866874406090874</c:v>
                </c:pt>
                <c:pt idx="7857">
                  <c:v>5.017219335378666</c:v>
                </c:pt>
                <c:pt idx="7858">
                  <c:v>4.9729332866859401</c:v>
                </c:pt>
                <c:pt idx="7859">
                  <c:v>6.0337190106332876</c:v>
                </c:pt>
                <c:pt idx="7860">
                  <c:v>4.9553291549970746</c:v>
                </c:pt>
                <c:pt idx="7861">
                  <c:v>4.955416502063982</c:v>
                </c:pt>
                <c:pt idx="7862">
                  <c:v>5.0328001698674418</c:v>
                </c:pt>
                <c:pt idx="7863">
                  <c:v>5.0392011960883609</c:v>
                </c:pt>
                <c:pt idx="7864">
                  <c:v>5.8895169112062495</c:v>
                </c:pt>
                <c:pt idx="7865">
                  <c:v>5.1504729233244317</c:v>
                </c:pt>
                <c:pt idx="7866">
                  <c:v>4.9575218435058694</c:v>
                </c:pt>
                <c:pt idx="7867">
                  <c:v>5.0301642638777162</c:v>
                </c:pt>
                <c:pt idx="7868">
                  <c:v>5.8931425022263388</c:v>
                </c:pt>
                <c:pt idx="7869">
                  <c:v>4.8729136394364509</c:v>
                </c:pt>
                <c:pt idx="7870">
                  <c:v>5.0031886042273346</c:v>
                </c:pt>
                <c:pt idx="7871">
                  <c:v>6.0094728331347067</c:v>
                </c:pt>
                <c:pt idx="7872">
                  <c:v>5.8234410332366906</c:v>
                </c:pt>
                <c:pt idx="7873">
                  <c:v>5.9546749409832724</c:v>
                </c:pt>
                <c:pt idx="7874">
                  <c:v>6.1532467053381259</c:v>
                </c:pt>
                <c:pt idx="7875">
                  <c:v>5.9376951505512796</c:v>
                </c:pt>
                <c:pt idx="7876">
                  <c:v>5.0157088254717479</c:v>
                </c:pt>
                <c:pt idx="7877">
                  <c:v>7.2070802371702785</c:v>
                </c:pt>
                <c:pt idx="7878">
                  <c:v>6.0064579491480439</c:v>
                </c:pt>
                <c:pt idx="7879">
                  <c:v>4.8918511927941948</c:v>
                </c:pt>
                <c:pt idx="7880">
                  <c:v>6.1852909536184608</c:v>
                </c:pt>
                <c:pt idx="7881">
                  <c:v>5.0787311301863136</c:v>
                </c:pt>
                <c:pt idx="7882">
                  <c:v>4.3025892268431774</c:v>
                </c:pt>
                <c:pt idx="7883">
                  <c:v>6.0792011422963057</c:v>
                </c:pt>
                <c:pt idx="7884">
                  <c:v>4.9267250537889158</c:v>
                </c:pt>
                <c:pt idx="7885">
                  <c:v>6.046229748999127</c:v>
                </c:pt>
                <c:pt idx="7886">
                  <c:v>4.8522047802192336</c:v>
                </c:pt>
                <c:pt idx="7887">
                  <c:v>5.931988743212675</c:v>
                </c:pt>
                <c:pt idx="7888">
                  <c:v>6.0525668052441128</c:v>
                </c:pt>
                <c:pt idx="7889">
                  <c:v>6.1641192784839998</c:v>
                </c:pt>
                <c:pt idx="7890">
                  <c:v>5.0668354728955398</c:v>
                </c:pt>
                <c:pt idx="7891">
                  <c:v>4.82255501078187</c:v>
                </c:pt>
                <c:pt idx="7892">
                  <c:v>5.9196802040371548</c:v>
                </c:pt>
                <c:pt idx="7893">
                  <c:v>6.9997622155394659</c:v>
                </c:pt>
                <c:pt idx="7894">
                  <c:v>6.0920121772449445</c:v>
                </c:pt>
                <c:pt idx="7895">
                  <c:v>6.1578136188712183</c:v>
                </c:pt>
                <c:pt idx="7896">
                  <c:v>4.8239476505692416</c:v>
                </c:pt>
                <c:pt idx="7897">
                  <c:v>6.2010051872697307</c:v>
                </c:pt>
                <c:pt idx="7898">
                  <c:v>5.0307604834223643</c:v>
                </c:pt>
                <c:pt idx="7899">
                  <c:v>5.9122386557064877</c:v>
                </c:pt>
                <c:pt idx="7900">
                  <c:v>5.9240212093870275</c:v>
                </c:pt>
                <c:pt idx="7901">
                  <c:v>6.1219165239397366</c:v>
                </c:pt>
                <c:pt idx="7902">
                  <c:v>4.9253642739561556</c:v>
                </c:pt>
                <c:pt idx="7903">
                  <c:v>6.0561085044643583</c:v>
                </c:pt>
                <c:pt idx="7904">
                  <c:v>5.1839217575013086</c:v>
                </c:pt>
                <c:pt idx="7905">
                  <c:v>5.9353125938197646</c:v>
                </c:pt>
                <c:pt idx="7906">
                  <c:v>5.8908894693835911</c:v>
                </c:pt>
                <c:pt idx="7907">
                  <c:v>5.8658826338157786</c:v>
                </c:pt>
                <c:pt idx="7908">
                  <c:v>5.9141595836505996</c:v>
                </c:pt>
                <c:pt idx="7909">
                  <c:v>5.0514275707983707</c:v>
                </c:pt>
                <c:pt idx="7910">
                  <c:v>4.7526147056469341</c:v>
                </c:pt>
                <c:pt idx="7911">
                  <c:v>5.0930196939406391</c:v>
                </c:pt>
                <c:pt idx="7912">
                  <c:v>5.0972533707469578</c:v>
                </c:pt>
                <c:pt idx="7913">
                  <c:v>6.0305641211513308</c:v>
                </c:pt>
                <c:pt idx="7914">
                  <c:v>6.0084712967257241</c:v>
                </c:pt>
                <c:pt idx="7915">
                  <c:v>6.0954197614983539</c:v>
                </c:pt>
                <c:pt idx="7916">
                  <c:v>4.9236710711547804</c:v>
                </c:pt>
                <c:pt idx="7917">
                  <c:v>5.1262994990666009</c:v>
                </c:pt>
                <c:pt idx="7918">
                  <c:v>5.984417692461018</c:v>
                </c:pt>
                <c:pt idx="7919">
                  <c:v>6.009866205307862</c:v>
                </c:pt>
                <c:pt idx="7920">
                  <c:v>6.0678361988988296</c:v>
                </c:pt>
                <c:pt idx="7921">
                  <c:v>5.9948440024179606</c:v>
                </c:pt>
                <c:pt idx="7922">
                  <c:v>6.002667132740247</c:v>
                </c:pt>
                <c:pt idx="7923">
                  <c:v>5.0235236937576762</c:v>
                </c:pt>
                <c:pt idx="7924">
                  <c:v>5.9465567859366546</c:v>
                </c:pt>
                <c:pt idx="7925">
                  <c:v>5.1001798209270346</c:v>
                </c:pt>
                <c:pt idx="7926">
                  <c:v>5.8541835300262415</c:v>
                </c:pt>
                <c:pt idx="7927">
                  <c:v>6.0279416119347911</c:v>
                </c:pt>
                <c:pt idx="7928">
                  <c:v>5.9296745270702944</c:v>
                </c:pt>
                <c:pt idx="7929">
                  <c:v>5.8901513896809838</c:v>
                </c:pt>
                <c:pt idx="7930">
                  <c:v>4.994591818501088</c:v>
                </c:pt>
                <c:pt idx="7931">
                  <c:v>5.0868617348172318</c:v>
                </c:pt>
                <c:pt idx="7932">
                  <c:v>5.9786987748692884</c:v>
                </c:pt>
                <c:pt idx="7933">
                  <c:v>5.021526870870165</c:v>
                </c:pt>
                <c:pt idx="7934">
                  <c:v>6.0336358970588568</c:v>
                </c:pt>
                <c:pt idx="7935">
                  <c:v>5.8905031478424217</c:v>
                </c:pt>
                <c:pt idx="7936">
                  <c:v>5.0721383351487068</c:v>
                </c:pt>
                <c:pt idx="7937">
                  <c:v>5.9664763844255386</c:v>
                </c:pt>
                <c:pt idx="7938">
                  <c:v>5.1211768335781551</c:v>
                </c:pt>
                <c:pt idx="7939">
                  <c:v>5.8259894686571077</c:v>
                </c:pt>
                <c:pt idx="7940">
                  <c:v>3.9917334237292441</c:v>
                </c:pt>
                <c:pt idx="7941">
                  <c:v>7.0483358839324239</c:v>
                </c:pt>
                <c:pt idx="7942">
                  <c:v>5.8656890086288147</c:v>
                </c:pt>
                <c:pt idx="7943">
                  <c:v>5.9375951932068789</c:v>
                </c:pt>
                <c:pt idx="7944">
                  <c:v>4.9824617394696213</c:v>
                </c:pt>
                <c:pt idx="7945">
                  <c:v>6.1733865199471758</c:v>
                </c:pt>
                <c:pt idx="7946">
                  <c:v>4.9934238778666842</c:v>
                </c:pt>
                <c:pt idx="7947">
                  <c:v>6.086120663145107</c:v>
                </c:pt>
                <c:pt idx="7948">
                  <c:v>5.8956445426312349</c:v>
                </c:pt>
                <c:pt idx="7949">
                  <c:v>5.0815225312706032</c:v>
                </c:pt>
                <c:pt idx="7950">
                  <c:v>4.8751372687247807</c:v>
                </c:pt>
                <c:pt idx="7951">
                  <c:v>6.1220457340021204</c:v>
                </c:pt>
                <c:pt idx="7952">
                  <c:v>4.9294038025915352</c:v>
                </c:pt>
                <c:pt idx="7953">
                  <c:v>5.1244096518005566</c:v>
                </c:pt>
                <c:pt idx="7954">
                  <c:v>5.9968579264865705</c:v>
                </c:pt>
                <c:pt idx="7955">
                  <c:v>6.0846849777218548</c:v>
                </c:pt>
                <c:pt idx="7956">
                  <c:v>5.9393444613072548</c:v>
                </c:pt>
                <c:pt idx="7957">
                  <c:v>5.9046493601658696</c:v>
                </c:pt>
                <c:pt idx="7958">
                  <c:v>5.9898027667718328</c:v>
                </c:pt>
                <c:pt idx="7959">
                  <c:v>6.055856930172415</c:v>
                </c:pt>
                <c:pt idx="7960">
                  <c:v>5.9956939484517546</c:v>
                </c:pt>
                <c:pt idx="7961">
                  <c:v>6.066821159055177</c:v>
                </c:pt>
                <c:pt idx="7962">
                  <c:v>5.0829316774933551</c:v>
                </c:pt>
                <c:pt idx="7963">
                  <c:v>5.9356556622815333</c:v>
                </c:pt>
                <c:pt idx="7964">
                  <c:v>4.9246902618746295</c:v>
                </c:pt>
                <c:pt idx="7965">
                  <c:v>5.8881295358624941</c:v>
                </c:pt>
                <c:pt idx="7966">
                  <c:v>5.9200455075118645</c:v>
                </c:pt>
                <c:pt idx="7967">
                  <c:v>5.8452011647928614</c:v>
                </c:pt>
                <c:pt idx="7968">
                  <c:v>6.021930646150917</c:v>
                </c:pt>
                <c:pt idx="7969">
                  <c:v>5.0233710389508754</c:v>
                </c:pt>
                <c:pt idx="7970">
                  <c:v>5.0225014407359136</c:v>
                </c:pt>
                <c:pt idx="7971">
                  <c:v>4.8868859567002927</c:v>
                </c:pt>
                <c:pt idx="7972">
                  <c:v>5.0235708758732098</c:v>
                </c:pt>
                <c:pt idx="7973">
                  <c:v>4.9718081304605084</c:v>
                </c:pt>
                <c:pt idx="7974">
                  <c:v>6.0016820866808338</c:v>
                </c:pt>
                <c:pt idx="7975">
                  <c:v>5.8061418420198265</c:v>
                </c:pt>
                <c:pt idx="7976">
                  <c:v>5.017812658895501</c:v>
                </c:pt>
                <c:pt idx="7977">
                  <c:v>6.0197395707629031</c:v>
                </c:pt>
                <c:pt idx="7978">
                  <c:v>5.8137140871631825</c:v>
                </c:pt>
                <c:pt idx="7979">
                  <c:v>5.0570378265327509</c:v>
                </c:pt>
                <c:pt idx="7980">
                  <c:v>4.8970479437452896</c:v>
                </c:pt>
                <c:pt idx="7981">
                  <c:v>4.9382452563340795</c:v>
                </c:pt>
                <c:pt idx="7982">
                  <c:v>4.9061342007580153</c:v>
                </c:pt>
                <c:pt idx="7983">
                  <c:v>4.9099168389694583</c:v>
                </c:pt>
                <c:pt idx="7984">
                  <c:v>5.9532334360248731</c:v>
                </c:pt>
                <c:pt idx="7985">
                  <c:v>6.0351679973722376</c:v>
                </c:pt>
                <c:pt idx="7986">
                  <c:v>6.0114420407913105</c:v>
                </c:pt>
                <c:pt idx="7987">
                  <c:v>5.862964588296002</c:v>
                </c:pt>
                <c:pt idx="7988">
                  <c:v>5.1579531002086991</c:v>
                </c:pt>
                <c:pt idx="7989">
                  <c:v>6.8696869870450685</c:v>
                </c:pt>
                <c:pt idx="7990">
                  <c:v>6.0323187624523333</c:v>
                </c:pt>
                <c:pt idx="7991">
                  <c:v>4.9705162384714887</c:v>
                </c:pt>
                <c:pt idx="7992">
                  <c:v>5.1080290167979507</c:v>
                </c:pt>
                <c:pt idx="7993">
                  <c:v>6.0125484162848304</c:v>
                </c:pt>
                <c:pt idx="7994">
                  <c:v>5.9920175289599573</c:v>
                </c:pt>
                <c:pt idx="7995">
                  <c:v>4.961480067409819</c:v>
                </c:pt>
                <c:pt idx="7996">
                  <c:v>4.7516068699934983</c:v>
                </c:pt>
                <c:pt idx="7997">
                  <c:v>5.0346298374668503</c:v>
                </c:pt>
                <c:pt idx="7998">
                  <c:v>4.7800294441976776</c:v>
                </c:pt>
                <c:pt idx="7999">
                  <c:v>5.024756249230844</c:v>
                </c:pt>
                <c:pt idx="8000">
                  <c:v>6.1316276751035748</c:v>
                </c:pt>
                <c:pt idx="8001">
                  <c:v>6.1268966424937146</c:v>
                </c:pt>
                <c:pt idx="8002">
                  <c:v>6.0078557544548117</c:v>
                </c:pt>
                <c:pt idx="8003">
                  <c:v>5.9652726944625138</c:v>
                </c:pt>
                <c:pt idx="8004">
                  <c:v>5.9651469522149601</c:v>
                </c:pt>
                <c:pt idx="8005">
                  <c:v>6.1002362830672308</c:v>
                </c:pt>
                <c:pt idx="8006">
                  <c:v>4.9769249589397022</c:v>
                </c:pt>
                <c:pt idx="8007">
                  <c:v>5.1848074867902403</c:v>
                </c:pt>
                <c:pt idx="8008">
                  <c:v>4.8501860619148376</c:v>
                </c:pt>
                <c:pt idx="8009">
                  <c:v>6.0850449181532253</c:v>
                </c:pt>
                <c:pt idx="8010">
                  <c:v>5.8354167816580365</c:v>
                </c:pt>
                <c:pt idx="8011">
                  <c:v>5.7632133302665798</c:v>
                </c:pt>
                <c:pt idx="8012">
                  <c:v>7.0039449396856348</c:v>
                </c:pt>
                <c:pt idx="8013">
                  <c:v>6.084332069437103</c:v>
                </c:pt>
                <c:pt idx="8014">
                  <c:v>5.103079844865146</c:v>
                </c:pt>
                <c:pt idx="8015">
                  <c:v>5.0584267144275152</c:v>
                </c:pt>
                <c:pt idx="8016">
                  <c:v>5.9692234350089697</c:v>
                </c:pt>
                <c:pt idx="8017">
                  <c:v>6.0716418965534151</c:v>
                </c:pt>
                <c:pt idx="8018">
                  <c:v>6.1083118590034067</c:v>
                </c:pt>
                <c:pt idx="8019">
                  <c:v>4.8828580073796299</c:v>
                </c:pt>
                <c:pt idx="8020">
                  <c:v>6.0646372463743283</c:v>
                </c:pt>
                <c:pt idx="8021">
                  <c:v>4.8413885241858736</c:v>
                </c:pt>
                <c:pt idx="8022">
                  <c:v>5.0843819039669986</c:v>
                </c:pt>
                <c:pt idx="8023">
                  <c:v>6.911538352173614</c:v>
                </c:pt>
                <c:pt idx="8024">
                  <c:v>6.0559805385839445</c:v>
                </c:pt>
                <c:pt idx="8025">
                  <c:v>5.091388213873687</c:v>
                </c:pt>
                <c:pt idx="8026">
                  <c:v>4.9864954751274322</c:v>
                </c:pt>
                <c:pt idx="8027">
                  <c:v>4.8562324768585974</c:v>
                </c:pt>
                <c:pt idx="8028">
                  <c:v>5.981932531698603</c:v>
                </c:pt>
                <c:pt idx="8029">
                  <c:v>5.7625797394375802</c:v>
                </c:pt>
                <c:pt idx="8030">
                  <c:v>6.056845064679365</c:v>
                </c:pt>
                <c:pt idx="8031">
                  <c:v>5.0874121237491217</c:v>
                </c:pt>
                <c:pt idx="8032">
                  <c:v>6.0551988651474904</c:v>
                </c:pt>
                <c:pt idx="8033">
                  <c:v>5.9390900191893419</c:v>
                </c:pt>
                <c:pt idx="8034">
                  <c:v>5.0698016868831735</c:v>
                </c:pt>
                <c:pt idx="8035">
                  <c:v>5.8731415040170774</c:v>
                </c:pt>
                <c:pt idx="8036">
                  <c:v>6.0805403078172064</c:v>
                </c:pt>
                <c:pt idx="8037">
                  <c:v>4.9802781187714489</c:v>
                </c:pt>
                <c:pt idx="8038">
                  <c:v>6.0736922617109022</c:v>
                </c:pt>
                <c:pt idx="8039">
                  <c:v>5.8981549232038279</c:v>
                </c:pt>
                <c:pt idx="8040">
                  <c:v>5.0662177212583401</c:v>
                </c:pt>
                <c:pt idx="8041">
                  <c:v>5.9006229044531846</c:v>
                </c:pt>
                <c:pt idx="8042">
                  <c:v>4.9476364149060439</c:v>
                </c:pt>
                <c:pt idx="8043">
                  <c:v>5.785019123785462</c:v>
                </c:pt>
                <c:pt idx="8044">
                  <c:v>6.1104813208576827</c:v>
                </c:pt>
                <c:pt idx="8045">
                  <c:v>5.1811687193346927</c:v>
                </c:pt>
                <c:pt idx="8046">
                  <c:v>5.9510789460950502</c:v>
                </c:pt>
                <c:pt idx="8047">
                  <c:v>5.873995963423841</c:v>
                </c:pt>
                <c:pt idx="8048">
                  <c:v>5.9433055650780426</c:v>
                </c:pt>
                <c:pt idx="8049">
                  <c:v>4.9790931170013097</c:v>
                </c:pt>
                <c:pt idx="8050">
                  <c:v>4.9627291955421855</c:v>
                </c:pt>
                <c:pt idx="8051">
                  <c:v>4.9290979969623505</c:v>
                </c:pt>
                <c:pt idx="8052">
                  <c:v>6.1829462956778309</c:v>
                </c:pt>
                <c:pt idx="8053">
                  <c:v>4.9970079259859643</c:v>
                </c:pt>
                <c:pt idx="8054">
                  <c:v>5.1736804121794115</c:v>
                </c:pt>
                <c:pt idx="8055">
                  <c:v>5.1653552512760621</c:v>
                </c:pt>
                <c:pt idx="8056">
                  <c:v>5.0697763168164593</c:v>
                </c:pt>
                <c:pt idx="8057">
                  <c:v>5.9525683683929387</c:v>
                </c:pt>
                <c:pt idx="8058">
                  <c:v>6.8900974337558321</c:v>
                </c:pt>
                <c:pt idx="8059">
                  <c:v>5.9306299168225127</c:v>
                </c:pt>
                <c:pt idx="8060">
                  <c:v>6.0526223510515109</c:v>
                </c:pt>
                <c:pt idx="8061">
                  <c:v>5.0174303364502268</c:v>
                </c:pt>
                <c:pt idx="8062">
                  <c:v>5.0440988715577628</c:v>
                </c:pt>
                <c:pt idx="8063">
                  <c:v>6.0561735986028076</c:v>
                </c:pt>
                <c:pt idx="8064">
                  <c:v>4.8686501780878499</c:v>
                </c:pt>
                <c:pt idx="8065">
                  <c:v>4.9210230170246323</c:v>
                </c:pt>
                <c:pt idx="8066">
                  <c:v>5.0262890985785553</c:v>
                </c:pt>
                <c:pt idx="8067">
                  <c:v>6.0231903296519489</c:v>
                </c:pt>
                <c:pt idx="8068">
                  <c:v>4.9869320468067855</c:v>
                </c:pt>
                <c:pt idx="8069">
                  <c:v>5.943971605678338</c:v>
                </c:pt>
                <c:pt idx="8070">
                  <c:v>5.0277701680220721</c:v>
                </c:pt>
                <c:pt idx="8071">
                  <c:v>4.7482727571163865</c:v>
                </c:pt>
                <c:pt idx="8072">
                  <c:v>5.7929895867802008</c:v>
                </c:pt>
                <c:pt idx="8073">
                  <c:v>5.0366173458810257</c:v>
                </c:pt>
                <c:pt idx="8074">
                  <c:v>4.9879780130788332</c:v>
                </c:pt>
                <c:pt idx="8075">
                  <c:v>4.9225597203933047</c:v>
                </c:pt>
                <c:pt idx="8076">
                  <c:v>5.0693232082882007</c:v>
                </c:pt>
                <c:pt idx="8077">
                  <c:v>6.1740943276171745</c:v>
                </c:pt>
                <c:pt idx="8078">
                  <c:v>5.1261202531162562</c:v>
                </c:pt>
                <c:pt idx="8079">
                  <c:v>5.901836035806034</c:v>
                </c:pt>
                <c:pt idx="8080">
                  <c:v>6.0774966254836089</c:v>
                </c:pt>
                <c:pt idx="8081">
                  <c:v>7.0074786639644238</c:v>
                </c:pt>
                <c:pt idx="8082">
                  <c:v>7.0583725781668569</c:v>
                </c:pt>
                <c:pt idx="8083">
                  <c:v>6.169812463768177</c:v>
                </c:pt>
                <c:pt idx="8084">
                  <c:v>6.1004739527649212</c:v>
                </c:pt>
                <c:pt idx="8085">
                  <c:v>6.0120122759066259</c:v>
                </c:pt>
                <c:pt idx="8086">
                  <c:v>6.1080845340961174</c:v>
                </c:pt>
                <c:pt idx="8087">
                  <c:v>6.0753458747503393</c:v>
                </c:pt>
                <c:pt idx="8088">
                  <c:v>5.0471592797503106</c:v>
                </c:pt>
                <c:pt idx="8089">
                  <c:v>4.9485833335980987</c:v>
                </c:pt>
                <c:pt idx="8090">
                  <c:v>6.1456700509337896</c:v>
                </c:pt>
                <c:pt idx="8091">
                  <c:v>5.925162598222478</c:v>
                </c:pt>
                <c:pt idx="8092">
                  <c:v>5.9316546185297101</c:v>
                </c:pt>
                <c:pt idx="8093">
                  <c:v>6.1246443613558803</c:v>
                </c:pt>
                <c:pt idx="8094">
                  <c:v>4.9722992757868631</c:v>
                </c:pt>
                <c:pt idx="8095">
                  <c:v>5.9608353315988598</c:v>
                </c:pt>
                <c:pt idx="8096">
                  <c:v>5.0365366517412395</c:v>
                </c:pt>
                <c:pt idx="8097">
                  <c:v>6.1253411966496216</c:v>
                </c:pt>
                <c:pt idx="8098">
                  <c:v>5.9890675002965006</c:v>
                </c:pt>
                <c:pt idx="8099">
                  <c:v>4.9615628225583102</c:v>
                </c:pt>
                <c:pt idx="8100">
                  <c:v>4.9465637586108366</c:v>
                </c:pt>
                <c:pt idx="8101">
                  <c:v>5.9877696698738587</c:v>
                </c:pt>
                <c:pt idx="8102">
                  <c:v>4.9851130597323419</c:v>
                </c:pt>
                <c:pt idx="8103">
                  <c:v>6.0620584887312523</c:v>
                </c:pt>
                <c:pt idx="8104">
                  <c:v>5.051013576053041</c:v>
                </c:pt>
                <c:pt idx="8105">
                  <c:v>5.7126026906509777</c:v>
                </c:pt>
                <c:pt idx="8106">
                  <c:v>5.0473035426048467</c:v>
                </c:pt>
                <c:pt idx="8107">
                  <c:v>6.9535113071973429</c:v>
                </c:pt>
                <c:pt idx="8108">
                  <c:v>5.9995186564980854</c:v>
                </c:pt>
                <c:pt idx="8109">
                  <c:v>5.1486394820688721</c:v>
                </c:pt>
                <c:pt idx="8110">
                  <c:v>6.004047427206995</c:v>
                </c:pt>
                <c:pt idx="8111">
                  <c:v>6.138553871564012</c:v>
                </c:pt>
                <c:pt idx="8112">
                  <c:v>6.0289678916492031</c:v>
                </c:pt>
                <c:pt idx="8113">
                  <c:v>4.9288858408629643</c:v>
                </c:pt>
                <c:pt idx="8114">
                  <c:v>6.0855949328983225</c:v>
                </c:pt>
                <c:pt idx="8115">
                  <c:v>6.1485486165247742</c:v>
                </c:pt>
                <c:pt idx="8116">
                  <c:v>6.0264656834752728</c:v>
                </c:pt>
                <c:pt idx="8117">
                  <c:v>6.0393311458646552</c:v>
                </c:pt>
                <c:pt idx="8118">
                  <c:v>5.8392683459424273</c:v>
                </c:pt>
                <c:pt idx="8119">
                  <c:v>4.9894650299025329</c:v>
                </c:pt>
                <c:pt idx="8120">
                  <c:v>6.1845316694779253</c:v>
                </c:pt>
                <c:pt idx="8121">
                  <c:v>6.014181155220359</c:v>
                </c:pt>
                <c:pt idx="8122">
                  <c:v>5.9595810692921987</c:v>
                </c:pt>
                <c:pt idx="8123">
                  <c:v>6.0508560676038146</c:v>
                </c:pt>
                <c:pt idx="8124">
                  <c:v>4.895732420216957</c:v>
                </c:pt>
                <c:pt idx="8125">
                  <c:v>5.9485453219604487</c:v>
                </c:pt>
                <c:pt idx="8126">
                  <c:v>4.9438978128928657</c:v>
                </c:pt>
                <c:pt idx="8127">
                  <c:v>5.9921581484006454</c:v>
                </c:pt>
                <c:pt idx="8128">
                  <c:v>5.8881775272504653</c:v>
                </c:pt>
                <c:pt idx="8129">
                  <c:v>5.7565987517722279</c:v>
                </c:pt>
                <c:pt idx="8130">
                  <c:v>5.9687435914089386</c:v>
                </c:pt>
                <c:pt idx="8131">
                  <c:v>6.0718310053774518</c:v>
                </c:pt>
                <c:pt idx="8132">
                  <c:v>6.1280884696196347</c:v>
                </c:pt>
                <c:pt idx="8133">
                  <c:v>6.1263775885283565</c:v>
                </c:pt>
                <c:pt idx="8134">
                  <c:v>6.0703187879096872</c:v>
                </c:pt>
                <c:pt idx="8135">
                  <c:v>6.1093937425442348</c:v>
                </c:pt>
                <c:pt idx="8136">
                  <c:v>6.9956888426024015</c:v>
                </c:pt>
                <c:pt idx="8137">
                  <c:v>4.9430146136187716</c:v>
                </c:pt>
                <c:pt idx="8138">
                  <c:v>5.9198378514994099</c:v>
                </c:pt>
                <c:pt idx="8139">
                  <c:v>4.8348883280200896</c:v>
                </c:pt>
                <c:pt idx="8140">
                  <c:v>4.9186771936798532</c:v>
                </c:pt>
                <c:pt idx="8141">
                  <c:v>5.9067330835475831</c:v>
                </c:pt>
                <c:pt idx="8142">
                  <c:v>5.9049656070770986</c:v>
                </c:pt>
                <c:pt idx="8143">
                  <c:v>6.106505499174844</c:v>
                </c:pt>
                <c:pt idx="8144">
                  <c:v>6.0992517848939922</c:v>
                </c:pt>
                <c:pt idx="8145">
                  <c:v>6.0061718248136833</c:v>
                </c:pt>
                <c:pt idx="8146">
                  <c:v>5.9786157391724197</c:v>
                </c:pt>
                <c:pt idx="8147">
                  <c:v>5.9906645249681132</c:v>
                </c:pt>
                <c:pt idx="8148">
                  <c:v>5.0460826980643931</c:v>
                </c:pt>
                <c:pt idx="8149">
                  <c:v>6.0829030847923917</c:v>
                </c:pt>
                <c:pt idx="8150">
                  <c:v>5.0006710585377512</c:v>
                </c:pt>
                <c:pt idx="8151">
                  <c:v>4.8269524801647874</c:v>
                </c:pt>
                <c:pt idx="8152">
                  <c:v>6.0321329107615291</c:v>
                </c:pt>
                <c:pt idx="8153">
                  <c:v>5.7547946016476033</c:v>
                </c:pt>
                <c:pt idx="8154">
                  <c:v>5.9598777331451753</c:v>
                </c:pt>
                <c:pt idx="8155">
                  <c:v>6.0083822047915083</c:v>
                </c:pt>
                <c:pt idx="8156">
                  <c:v>5.910227215066044</c:v>
                </c:pt>
                <c:pt idx="8157">
                  <c:v>6.0454450471810981</c:v>
                </c:pt>
                <c:pt idx="8158">
                  <c:v>5.9603582364644749</c:v>
                </c:pt>
                <c:pt idx="8159">
                  <c:v>5.0569843804955763</c:v>
                </c:pt>
                <c:pt idx="8160">
                  <c:v>5.9530248636761849</c:v>
                </c:pt>
                <c:pt idx="8161">
                  <c:v>5.9720746868879102</c:v>
                </c:pt>
                <c:pt idx="8162">
                  <c:v>5.8698050804659259</c:v>
                </c:pt>
                <c:pt idx="8163">
                  <c:v>6.0597227678078989</c:v>
                </c:pt>
                <c:pt idx="8164">
                  <c:v>5.8153738915140876</c:v>
                </c:pt>
                <c:pt idx="8165">
                  <c:v>4.9397735425159697</c:v>
                </c:pt>
                <c:pt idx="8166">
                  <c:v>4.8878707166319018</c:v>
                </c:pt>
                <c:pt idx="8167">
                  <c:v>6.2405933162851728</c:v>
                </c:pt>
                <c:pt idx="8168">
                  <c:v>5.9981596022624011</c:v>
                </c:pt>
                <c:pt idx="8169">
                  <c:v>4.8685066696453614</c:v>
                </c:pt>
                <c:pt idx="8170">
                  <c:v>6.0942565976855088</c:v>
                </c:pt>
                <c:pt idx="8171">
                  <c:v>5.8792153205149038</c:v>
                </c:pt>
                <c:pt idx="8172">
                  <c:v>4.9146353842264476</c:v>
                </c:pt>
                <c:pt idx="8173">
                  <c:v>5.9448421448270805</c:v>
                </c:pt>
                <c:pt idx="8174">
                  <c:v>5.8030432408994015</c:v>
                </c:pt>
                <c:pt idx="8175">
                  <c:v>5.032682683394512</c:v>
                </c:pt>
                <c:pt idx="8176">
                  <c:v>5.9124389741512688</c:v>
                </c:pt>
                <c:pt idx="8177">
                  <c:v>5.9391811530197938</c:v>
                </c:pt>
                <c:pt idx="8178">
                  <c:v>5.0860693967635848</c:v>
                </c:pt>
                <c:pt idx="8179">
                  <c:v>6.0398992304898655</c:v>
                </c:pt>
                <c:pt idx="8180">
                  <c:v>4.904608129289473</c:v>
                </c:pt>
                <c:pt idx="8181">
                  <c:v>4.764256673428318</c:v>
                </c:pt>
                <c:pt idx="8182">
                  <c:v>5.9100961959753597</c:v>
                </c:pt>
                <c:pt idx="8183">
                  <c:v>5.1220194517134949</c:v>
                </c:pt>
                <c:pt idx="8184">
                  <c:v>4.9909965544247381</c:v>
                </c:pt>
                <c:pt idx="8185">
                  <c:v>4.9295633798305065</c:v>
                </c:pt>
                <c:pt idx="8186">
                  <c:v>4.9907820531071216</c:v>
                </c:pt>
                <c:pt idx="8187">
                  <c:v>6.0325880747518177</c:v>
                </c:pt>
                <c:pt idx="8188">
                  <c:v>7.2179486944092215</c:v>
                </c:pt>
                <c:pt idx="8189">
                  <c:v>4.9740249075810459</c:v>
                </c:pt>
                <c:pt idx="8190">
                  <c:v>4.9662682628268273</c:v>
                </c:pt>
                <c:pt idx="8191">
                  <c:v>6.0098869349748911</c:v>
                </c:pt>
                <c:pt idx="8192">
                  <c:v>4.9865627725461943</c:v>
                </c:pt>
                <c:pt idx="8193">
                  <c:v>6.0467166554666933</c:v>
                </c:pt>
                <c:pt idx="8194">
                  <c:v>5.8968680098165107</c:v>
                </c:pt>
                <c:pt idx="8195">
                  <c:v>5.040402956007517</c:v>
                </c:pt>
                <c:pt idx="8196">
                  <c:v>6.0192905753027039</c:v>
                </c:pt>
                <c:pt idx="8197">
                  <c:v>5.097263537664479</c:v>
                </c:pt>
                <c:pt idx="8198">
                  <c:v>6.0690630351618378</c:v>
                </c:pt>
                <c:pt idx="8199">
                  <c:v>5.9812481415622161</c:v>
                </c:pt>
                <c:pt idx="8200">
                  <c:v>5.0781770557585011</c:v>
                </c:pt>
                <c:pt idx="8201">
                  <c:v>5.0495737649288062</c:v>
                </c:pt>
                <c:pt idx="8202">
                  <c:v>4.9907449616405017</c:v>
                </c:pt>
                <c:pt idx="8203">
                  <c:v>5.1507110521358399</c:v>
                </c:pt>
                <c:pt idx="8204">
                  <c:v>6.054537375681349</c:v>
                </c:pt>
                <c:pt idx="8205">
                  <c:v>5.9476702267007298</c:v>
                </c:pt>
                <c:pt idx="8206">
                  <c:v>5.100329931350597</c:v>
                </c:pt>
                <c:pt idx="8207">
                  <c:v>6.2328641441076353</c:v>
                </c:pt>
                <c:pt idx="8208">
                  <c:v>6.1263379078968789</c:v>
                </c:pt>
                <c:pt idx="8209">
                  <c:v>6.094725728786889</c:v>
                </c:pt>
                <c:pt idx="8210">
                  <c:v>6.0360472190682586</c:v>
                </c:pt>
                <c:pt idx="8211">
                  <c:v>5.0157754672527686</c:v>
                </c:pt>
                <c:pt idx="8212">
                  <c:v>5.9463681327948015</c:v>
                </c:pt>
                <c:pt idx="8213">
                  <c:v>6.1156956673155527</c:v>
                </c:pt>
                <c:pt idx="8214">
                  <c:v>5.1944726725525836</c:v>
                </c:pt>
                <c:pt idx="8215">
                  <c:v>5.0790797571933295</c:v>
                </c:pt>
                <c:pt idx="8216">
                  <c:v>4.9293368945884648</c:v>
                </c:pt>
                <c:pt idx="8217">
                  <c:v>5.9311707622414858</c:v>
                </c:pt>
                <c:pt idx="8218">
                  <c:v>5.0188787923512894</c:v>
                </c:pt>
                <c:pt idx="8219">
                  <c:v>6.0461678928232114</c:v>
                </c:pt>
                <c:pt idx="8220">
                  <c:v>5.9901284844169727</c:v>
                </c:pt>
                <c:pt idx="8221">
                  <c:v>4.9284237696646835</c:v>
                </c:pt>
                <c:pt idx="8222">
                  <c:v>6.0946572272494857</c:v>
                </c:pt>
                <c:pt idx="8223">
                  <c:v>6.0483821877249273</c:v>
                </c:pt>
                <c:pt idx="8224">
                  <c:v>5.9851741826499669</c:v>
                </c:pt>
                <c:pt idx="8225">
                  <c:v>5.9165015326469836</c:v>
                </c:pt>
                <c:pt idx="8226">
                  <c:v>6.0842123598315778</c:v>
                </c:pt>
                <c:pt idx="8227">
                  <c:v>6.0430405886248142</c:v>
                </c:pt>
                <c:pt idx="8228">
                  <c:v>4.911026440026629</c:v>
                </c:pt>
                <c:pt idx="8229">
                  <c:v>5.958895627314539</c:v>
                </c:pt>
                <c:pt idx="8230">
                  <c:v>5.1864645820328432</c:v>
                </c:pt>
                <c:pt idx="8231">
                  <c:v>6.0034487497914242</c:v>
                </c:pt>
                <c:pt idx="8232">
                  <c:v>6.0631553408018233</c:v>
                </c:pt>
                <c:pt idx="8233">
                  <c:v>5.8628831277313846</c:v>
                </c:pt>
                <c:pt idx="8234">
                  <c:v>5.0634113707084918</c:v>
                </c:pt>
                <c:pt idx="8235">
                  <c:v>5.0310102038034374</c:v>
                </c:pt>
                <c:pt idx="8236">
                  <c:v>6.1918128142829723</c:v>
                </c:pt>
                <c:pt idx="8237">
                  <c:v>4.8917310659648106</c:v>
                </c:pt>
                <c:pt idx="8238">
                  <c:v>6.0480474972863894</c:v>
                </c:pt>
                <c:pt idx="8239">
                  <c:v>5.946405341835467</c:v>
                </c:pt>
                <c:pt idx="8240">
                  <c:v>5.876500525274535</c:v>
                </c:pt>
                <c:pt idx="8241">
                  <c:v>5.9201680616259686</c:v>
                </c:pt>
                <c:pt idx="8242">
                  <c:v>5.0488812257157107</c:v>
                </c:pt>
                <c:pt idx="8243">
                  <c:v>4.7266201043418139</c:v>
                </c:pt>
                <c:pt idx="8244">
                  <c:v>5.8111155664205008</c:v>
                </c:pt>
                <c:pt idx="8245">
                  <c:v>4.1482514212975055</c:v>
                </c:pt>
                <c:pt idx="8246">
                  <c:v>4.0122261433336641</c:v>
                </c:pt>
                <c:pt idx="8247">
                  <c:v>6.003148236492355</c:v>
                </c:pt>
                <c:pt idx="8248">
                  <c:v>5.9691457972555533</c:v>
                </c:pt>
                <c:pt idx="8249">
                  <c:v>5.0501641303270093</c:v>
                </c:pt>
                <c:pt idx="8250">
                  <c:v>5.9520158963642986</c:v>
                </c:pt>
                <c:pt idx="8251">
                  <c:v>5.1849790241906062</c:v>
                </c:pt>
                <c:pt idx="8252">
                  <c:v>5.0115783071063618</c:v>
                </c:pt>
                <c:pt idx="8253">
                  <c:v>5.8678694281858039</c:v>
                </c:pt>
                <c:pt idx="8254">
                  <c:v>5.8720064276839814</c:v>
                </c:pt>
                <c:pt idx="8255">
                  <c:v>5.2137908156677826</c:v>
                </c:pt>
                <c:pt idx="8256">
                  <c:v>5.0350829384199942</c:v>
                </c:pt>
                <c:pt idx="8257">
                  <c:v>5.8636652601549653</c:v>
                </c:pt>
                <c:pt idx="8258">
                  <c:v>5.818695341745574</c:v>
                </c:pt>
                <c:pt idx="8259">
                  <c:v>4.9033782786807736</c:v>
                </c:pt>
                <c:pt idx="8260">
                  <c:v>4.0393971943777967</c:v>
                </c:pt>
                <c:pt idx="8261">
                  <c:v>6.0644225132040379</c:v>
                </c:pt>
                <c:pt idx="8262">
                  <c:v>6.1438933647748222</c:v>
                </c:pt>
                <c:pt idx="8263">
                  <c:v>6.0463823725751267</c:v>
                </c:pt>
                <c:pt idx="8264">
                  <c:v>5.8830659571901966</c:v>
                </c:pt>
                <c:pt idx="8265">
                  <c:v>5.8410328924676325</c:v>
                </c:pt>
                <c:pt idx="8266">
                  <c:v>5.96130281973526</c:v>
                </c:pt>
                <c:pt idx="8267">
                  <c:v>5.0415619082817633</c:v>
                </c:pt>
                <c:pt idx="8268">
                  <c:v>6.0494498827466971</c:v>
                </c:pt>
                <c:pt idx="8269">
                  <c:v>6.1677685535614559</c:v>
                </c:pt>
                <c:pt idx="8270">
                  <c:v>5.8535702375880794</c:v>
                </c:pt>
                <c:pt idx="8271">
                  <c:v>4.9673988421211019</c:v>
                </c:pt>
                <c:pt idx="8272">
                  <c:v>4.97133233384295</c:v>
                </c:pt>
                <c:pt idx="8273">
                  <c:v>6.1002739073194894</c:v>
                </c:pt>
                <c:pt idx="8274">
                  <c:v>5.0316711268377787</c:v>
                </c:pt>
                <c:pt idx="8275">
                  <c:v>6.1068385069814548</c:v>
                </c:pt>
                <c:pt idx="8276">
                  <c:v>5.9848925757840039</c:v>
                </c:pt>
                <c:pt idx="8277">
                  <c:v>5.0135651355036224</c:v>
                </c:pt>
                <c:pt idx="8278">
                  <c:v>5.024766194592841</c:v>
                </c:pt>
                <c:pt idx="8279">
                  <c:v>5.1050734958804513</c:v>
                </c:pt>
                <c:pt idx="8280">
                  <c:v>5.1609417593945359</c:v>
                </c:pt>
                <c:pt idx="8281">
                  <c:v>6.1166310828816224</c:v>
                </c:pt>
                <c:pt idx="8282">
                  <c:v>4.8626522355762463</c:v>
                </c:pt>
                <c:pt idx="8283">
                  <c:v>5.0715067121670909</c:v>
                </c:pt>
                <c:pt idx="8284">
                  <c:v>5.7789965030666961</c:v>
                </c:pt>
                <c:pt idx="8285">
                  <c:v>5.0989052283168448</c:v>
                </c:pt>
                <c:pt idx="8286">
                  <c:v>4.9170142902864304</c:v>
                </c:pt>
                <c:pt idx="8287">
                  <c:v>4.9577807065437698</c:v>
                </c:pt>
                <c:pt idx="8288">
                  <c:v>5.0242006413757743</c:v>
                </c:pt>
                <c:pt idx="8289">
                  <c:v>6.0213224184235425</c:v>
                </c:pt>
                <c:pt idx="8290">
                  <c:v>4.8825302067582372</c:v>
                </c:pt>
                <c:pt idx="8291">
                  <c:v>5.9030545433257684</c:v>
                </c:pt>
                <c:pt idx="8292">
                  <c:v>6.1234618066004822</c:v>
                </c:pt>
                <c:pt idx="8293">
                  <c:v>5.1799468447858414</c:v>
                </c:pt>
                <c:pt idx="8294">
                  <c:v>5.9844061091931913</c:v>
                </c:pt>
                <c:pt idx="8295">
                  <c:v>5.9582434234595372</c:v>
                </c:pt>
                <c:pt idx="8296">
                  <c:v>6.0015556070329552</c:v>
                </c:pt>
                <c:pt idx="8297">
                  <c:v>5.051658498888445</c:v>
                </c:pt>
                <c:pt idx="8298">
                  <c:v>6.0551983495171227</c:v>
                </c:pt>
                <c:pt idx="8299">
                  <c:v>5.9084901086752044</c:v>
                </c:pt>
                <c:pt idx="8300">
                  <c:v>6.013264889790146</c:v>
                </c:pt>
                <c:pt idx="8301">
                  <c:v>4.9672084245554924</c:v>
                </c:pt>
                <c:pt idx="8302">
                  <c:v>6.105318656117185</c:v>
                </c:pt>
                <c:pt idx="8303">
                  <c:v>4.8299799287929819</c:v>
                </c:pt>
                <c:pt idx="8304">
                  <c:v>5.9539672335043923</c:v>
                </c:pt>
                <c:pt idx="8305">
                  <c:v>5.9407180713997771</c:v>
                </c:pt>
                <c:pt idx="8306">
                  <c:v>5.967362267512474</c:v>
                </c:pt>
                <c:pt idx="8307">
                  <c:v>6.1073168377391482</c:v>
                </c:pt>
                <c:pt idx="8308">
                  <c:v>6.0439293800480671</c:v>
                </c:pt>
                <c:pt idx="8309">
                  <c:v>5.0856822302436955</c:v>
                </c:pt>
                <c:pt idx="8310">
                  <c:v>6.117597844525787</c:v>
                </c:pt>
                <c:pt idx="8311">
                  <c:v>6.0164310011198632</c:v>
                </c:pt>
                <c:pt idx="8312">
                  <c:v>5.8508676929645187</c:v>
                </c:pt>
                <c:pt idx="8313">
                  <c:v>5.8022920076577478</c:v>
                </c:pt>
                <c:pt idx="8314">
                  <c:v>5.931631699864389</c:v>
                </c:pt>
                <c:pt idx="8315">
                  <c:v>5.949405970956259</c:v>
                </c:pt>
                <c:pt idx="8316">
                  <c:v>5.9088711276544839</c:v>
                </c:pt>
                <c:pt idx="8317">
                  <c:v>6.0890816909857994</c:v>
                </c:pt>
                <c:pt idx="8318">
                  <c:v>5.9191895994764208</c:v>
                </c:pt>
                <c:pt idx="8319">
                  <c:v>6.0360569296687689</c:v>
                </c:pt>
                <c:pt idx="8320">
                  <c:v>5.1274816528701637</c:v>
                </c:pt>
                <c:pt idx="8321">
                  <c:v>6.1150311934382913</c:v>
                </c:pt>
                <c:pt idx="8322">
                  <c:v>5.9721212366262506</c:v>
                </c:pt>
                <c:pt idx="8323">
                  <c:v>6.0057748080642686</c:v>
                </c:pt>
                <c:pt idx="8324">
                  <c:v>4.9975830533018764</c:v>
                </c:pt>
                <c:pt idx="8325">
                  <c:v>6.0439514867112818</c:v>
                </c:pt>
                <c:pt idx="8326">
                  <c:v>5.0254827994075741</c:v>
                </c:pt>
                <c:pt idx="8327">
                  <c:v>4.956823509775349</c:v>
                </c:pt>
                <c:pt idx="8328">
                  <c:v>6.0628524548768352</c:v>
                </c:pt>
                <c:pt idx="8329">
                  <c:v>6.0775040631188748</c:v>
                </c:pt>
                <c:pt idx="8330">
                  <c:v>5.9807209211017591</c:v>
                </c:pt>
                <c:pt idx="8331">
                  <c:v>5.9421818775043906</c:v>
                </c:pt>
                <c:pt idx="8332">
                  <c:v>5.0383285633740353</c:v>
                </c:pt>
                <c:pt idx="8333">
                  <c:v>6.0695997423545762</c:v>
                </c:pt>
                <c:pt idx="8334">
                  <c:v>4.8745859031639442</c:v>
                </c:pt>
                <c:pt idx="8335">
                  <c:v>6.0604479351890008</c:v>
                </c:pt>
                <c:pt idx="8336">
                  <c:v>5.9977071601793321</c:v>
                </c:pt>
                <c:pt idx="8337">
                  <c:v>5.9722255779114812</c:v>
                </c:pt>
                <c:pt idx="8338">
                  <c:v>6.9024080080011263</c:v>
                </c:pt>
                <c:pt idx="8339">
                  <c:v>6.9969282137367692</c:v>
                </c:pt>
                <c:pt idx="8340">
                  <c:v>5.0854687191025079</c:v>
                </c:pt>
                <c:pt idx="8341">
                  <c:v>5.0836999098375966</c:v>
                </c:pt>
                <c:pt idx="8342">
                  <c:v>4.969528669710396</c:v>
                </c:pt>
                <c:pt idx="8343">
                  <c:v>6.0352003377394166</c:v>
                </c:pt>
                <c:pt idx="8344">
                  <c:v>6.0824570544468948</c:v>
                </c:pt>
                <c:pt idx="8345">
                  <c:v>5.8829840238564213</c:v>
                </c:pt>
                <c:pt idx="8346">
                  <c:v>4.9574405744097474</c:v>
                </c:pt>
                <c:pt idx="8347">
                  <c:v>5.0755658515817936</c:v>
                </c:pt>
                <c:pt idx="8348">
                  <c:v>4.855259562307503</c:v>
                </c:pt>
                <c:pt idx="8349">
                  <c:v>6.0217987549128207</c:v>
                </c:pt>
                <c:pt idx="8350">
                  <c:v>5.9988297856030526</c:v>
                </c:pt>
                <c:pt idx="8351">
                  <c:v>5.1563048799378297</c:v>
                </c:pt>
                <c:pt idx="8352">
                  <c:v>5.9433938649393978</c:v>
                </c:pt>
                <c:pt idx="8353">
                  <c:v>6.9076510770513284</c:v>
                </c:pt>
                <c:pt idx="8354">
                  <c:v>5.8075171840040998</c:v>
                </c:pt>
                <c:pt idx="8355">
                  <c:v>6.0315544958587406</c:v>
                </c:pt>
                <c:pt idx="8356">
                  <c:v>5.0145011329794205</c:v>
                </c:pt>
                <c:pt idx="8357">
                  <c:v>6.9039166881478806</c:v>
                </c:pt>
                <c:pt idx="8358">
                  <c:v>6.0250203006964869</c:v>
                </c:pt>
                <c:pt idx="8359">
                  <c:v>8.0161164405713379</c:v>
                </c:pt>
                <c:pt idx="8360">
                  <c:v>6.0818031036852167</c:v>
                </c:pt>
                <c:pt idx="8361">
                  <c:v>4.887499664302025</c:v>
                </c:pt>
                <c:pt idx="8362">
                  <c:v>6.9313795523005615</c:v>
                </c:pt>
                <c:pt idx="8363">
                  <c:v>6.0170371838727208</c:v>
                </c:pt>
                <c:pt idx="8364">
                  <c:v>7.0802126012999738</c:v>
                </c:pt>
                <c:pt idx="8365">
                  <c:v>6.9951577281652995</c:v>
                </c:pt>
                <c:pt idx="8366">
                  <c:v>6.071619013429034</c:v>
                </c:pt>
                <c:pt idx="8367">
                  <c:v>4.9997021008144129</c:v>
                </c:pt>
                <c:pt idx="8368">
                  <c:v>4.9358564833773855</c:v>
                </c:pt>
                <c:pt idx="8369">
                  <c:v>5.0085878066907243</c:v>
                </c:pt>
                <c:pt idx="8370">
                  <c:v>6.0573320435501712</c:v>
                </c:pt>
                <c:pt idx="8371">
                  <c:v>7.1684966737004334</c:v>
                </c:pt>
                <c:pt idx="8372">
                  <c:v>5.0361709448734029</c:v>
                </c:pt>
                <c:pt idx="8373">
                  <c:v>4.9571715278883284</c:v>
                </c:pt>
                <c:pt idx="8374">
                  <c:v>5.1010918992442944</c:v>
                </c:pt>
                <c:pt idx="8375">
                  <c:v>6.0700602808607513</c:v>
                </c:pt>
                <c:pt idx="8376">
                  <c:v>4.9655565332498925</c:v>
                </c:pt>
                <c:pt idx="8377">
                  <c:v>6.0193835910008016</c:v>
                </c:pt>
                <c:pt idx="8378">
                  <c:v>5.0684851902165144</c:v>
                </c:pt>
                <c:pt idx="8379">
                  <c:v>4.8966370182114938</c:v>
                </c:pt>
                <c:pt idx="8380">
                  <c:v>6.0697033374230216</c:v>
                </c:pt>
                <c:pt idx="8381">
                  <c:v>5.0883686542445483</c:v>
                </c:pt>
                <c:pt idx="8382">
                  <c:v>6.1399870846551057</c:v>
                </c:pt>
                <c:pt idx="8383">
                  <c:v>6.1251094145456584</c:v>
                </c:pt>
                <c:pt idx="8384">
                  <c:v>4.9048432884000013</c:v>
                </c:pt>
                <c:pt idx="8385">
                  <c:v>4.8555876780388694</c:v>
                </c:pt>
                <c:pt idx="8386">
                  <c:v>4.9647016245847926</c:v>
                </c:pt>
                <c:pt idx="8387">
                  <c:v>5.9248180438453373</c:v>
                </c:pt>
                <c:pt idx="8388">
                  <c:v>6.0888091189287605</c:v>
                </c:pt>
                <c:pt idx="8389">
                  <c:v>5.0133356290977638</c:v>
                </c:pt>
                <c:pt idx="8390">
                  <c:v>6.9417349596007876</c:v>
                </c:pt>
                <c:pt idx="8391">
                  <c:v>4.8515676300715755</c:v>
                </c:pt>
                <c:pt idx="8392">
                  <c:v>5.9272430818461261</c:v>
                </c:pt>
                <c:pt idx="8393">
                  <c:v>6.168473760751513</c:v>
                </c:pt>
                <c:pt idx="8394">
                  <c:v>6.0719374331200013</c:v>
                </c:pt>
                <c:pt idx="8395">
                  <c:v>4.8745712287886676</c:v>
                </c:pt>
                <c:pt idx="8396">
                  <c:v>6.0519987591805231</c:v>
                </c:pt>
                <c:pt idx="8397">
                  <c:v>5.8966476579568363</c:v>
                </c:pt>
                <c:pt idx="8398">
                  <c:v>5.0537601494910449</c:v>
                </c:pt>
                <c:pt idx="8399">
                  <c:v>5.869660044806853</c:v>
                </c:pt>
                <c:pt idx="8400">
                  <c:v>5.0476927604804533</c:v>
                </c:pt>
                <c:pt idx="8401">
                  <c:v>4.8925944082996526</c:v>
                </c:pt>
                <c:pt idx="8402">
                  <c:v>5.0608333113695778</c:v>
                </c:pt>
                <c:pt idx="8403">
                  <c:v>5.0720184712918002</c:v>
                </c:pt>
                <c:pt idx="8404">
                  <c:v>5.135206977691154</c:v>
                </c:pt>
                <c:pt idx="8405">
                  <c:v>4.8679321091712149</c:v>
                </c:pt>
                <c:pt idx="8406">
                  <c:v>5.9523994092156709</c:v>
                </c:pt>
                <c:pt idx="8407">
                  <c:v>6.9399706974514688</c:v>
                </c:pt>
                <c:pt idx="8408">
                  <c:v>4.8810406388235243</c:v>
                </c:pt>
                <c:pt idx="8409">
                  <c:v>4.0835238100977529</c:v>
                </c:pt>
                <c:pt idx="8410">
                  <c:v>6.1266137160839236</c:v>
                </c:pt>
                <c:pt idx="8411">
                  <c:v>4.8689226380245181</c:v>
                </c:pt>
                <c:pt idx="8412">
                  <c:v>5.1828659883277526</c:v>
                </c:pt>
                <c:pt idx="8413">
                  <c:v>6.0145644683084649</c:v>
                </c:pt>
                <c:pt idx="8414">
                  <c:v>4.950551457549258</c:v>
                </c:pt>
                <c:pt idx="8415">
                  <c:v>6.1397933507809963</c:v>
                </c:pt>
                <c:pt idx="8416">
                  <c:v>6.2964407290617856</c:v>
                </c:pt>
                <c:pt idx="8417">
                  <c:v>4.7992066709613272</c:v>
                </c:pt>
                <c:pt idx="8418">
                  <c:v>3.8900535100390088</c:v>
                </c:pt>
                <c:pt idx="8419">
                  <c:v>6.0262754214102596</c:v>
                </c:pt>
                <c:pt idx="8420">
                  <c:v>5.1181390666565934</c:v>
                </c:pt>
                <c:pt idx="8421">
                  <c:v>7.0463807044342603</c:v>
                </c:pt>
                <c:pt idx="8422">
                  <c:v>5.7584213857241373</c:v>
                </c:pt>
                <c:pt idx="8423">
                  <c:v>6.1694250196514204</c:v>
                </c:pt>
                <c:pt idx="8424">
                  <c:v>4.8148200524877822</c:v>
                </c:pt>
                <c:pt idx="8425">
                  <c:v>6.1179431868459977</c:v>
                </c:pt>
                <c:pt idx="8426">
                  <c:v>5.9915284794755772</c:v>
                </c:pt>
                <c:pt idx="8427">
                  <c:v>5.0375538454487296</c:v>
                </c:pt>
                <c:pt idx="8428">
                  <c:v>5.9969964335425425</c:v>
                </c:pt>
                <c:pt idx="8429">
                  <c:v>5.0200375829902484</c:v>
                </c:pt>
                <c:pt idx="8430">
                  <c:v>4.8271393110258751</c:v>
                </c:pt>
                <c:pt idx="8431">
                  <c:v>5.9000294575267445</c:v>
                </c:pt>
                <c:pt idx="8432">
                  <c:v>6.7260455885067945</c:v>
                </c:pt>
                <c:pt idx="8433">
                  <c:v>5.8692210628372976</c:v>
                </c:pt>
                <c:pt idx="8434">
                  <c:v>5.8629277314924177</c:v>
                </c:pt>
                <c:pt idx="8435">
                  <c:v>5.0863783258574067</c:v>
                </c:pt>
                <c:pt idx="8436">
                  <c:v>5.1573212273245135</c:v>
                </c:pt>
                <c:pt idx="8437">
                  <c:v>4.9844936186214701</c:v>
                </c:pt>
                <c:pt idx="8438">
                  <c:v>4.7816578483354952</c:v>
                </c:pt>
                <c:pt idx="8439">
                  <c:v>5.9539730228955516</c:v>
                </c:pt>
                <c:pt idx="8440">
                  <c:v>7.0280855185936204</c:v>
                </c:pt>
                <c:pt idx="8441">
                  <c:v>5.0759769188738488</c:v>
                </c:pt>
                <c:pt idx="8442">
                  <c:v>4.947753908883727</c:v>
                </c:pt>
                <c:pt idx="8443">
                  <c:v>5.9164175743795191</c:v>
                </c:pt>
                <c:pt idx="8444">
                  <c:v>7.199007151072661</c:v>
                </c:pt>
                <c:pt idx="8445">
                  <c:v>6.1028715367883128</c:v>
                </c:pt>
                <c:pt idx="8446">
                  <c:v>4.9955977220519605</c:v>
                </c:pt>
                <c:pt idx="8447">
                  <c:v>5.0222017825431138</c:v>
                </c:pt>
                <c:pt idx="8448">
                  <c:v>4.9746747784339789</c:v>
                </c:pt>
                <c:pt idx="8449">
                  <c:v>6.8755659079461298</c:v>
                </c:pt>
                <c:pt idx="8450">
                  <c:v>4.9794241876066163</c:v>
                </c:pt>
                <c:pt idx="8451">
                  <c:v>4.9478154039826565</c:v>
                </c:pt>
                <c:pt idx="8452">
                  <c:v>6.0380318387086884</c:v>
                </c:pt>
                <c:pt idx="8453">
                  <c:v>5.9862745519037572</c:v>
                </c:pt>
                <c:pt idx="8454">
                  <c:v>4.9972658301704822</c:v>
                </c:pt>
                <c:pt idx="8455">
                  <c:v>7.089927392172056</c:v>
                </c:pt>
                <c:pt idx="8456">
                  <c:v>6.0247190277757534</c:v>
                </c:pt>
                <c:pt idx="8457">
                  <c:v>4.9986548256221939</c:v>
                </c:pt>
                <c:pt idx="8458">
                  <c:v>4.8390491097120689</c:v>
                </c:pt>
                <c:pt idx="8459">
                  <c:v>6.035716122251011</c:v>
                </c:pt>
                <c:pt idx="8460">
                  <c:v>5.0861412904923373</c:v>
                </c:pt>
                <c:pt idx="8461">
                  <c:v>5.9174921500095747</c:v>
                </c:pt>
                <c:pt idx="8462">
                  <c:v>5.9056484856872711</c:v>
                </c:pt>
                <c:pt idx="8463">
                  <c:v>5.0112023051003574</c:v>
                </c:pt>
                <c:pt idx="8464">
                  <c:v>5.9220935369785703</c:v>
                </c:pt>
                <c:pt idx="8465">
                  <c:v>5.9411351653439173</c:v>
                </c:pt>
                <c:pt idx="8466">
                  <c:v>6.0728718591076642</c:v>
                </c:pt>
                <c:pt idx="8467">
                  <c:v>6.0901143526020851</c:v>
                </c:pt>
                <c:pt idx="8468">
                  <c:v>4.99477461420806</c:v>
                </c:pt>
                <c:pt idx="8469">
                  <c:v>6.9704571303990672</c:v>
                </c:pt>
                <c:pt idx="8470">
                  <c:v>4.8916165522427457</c:v>
                </c:pt>
                <c:pt idx="8471">
                  <c:v>5.957532193915867</c:v>
                </c:pt>
                <c:pt idx="8472">
                  <c:v>5.0945851061254164</c:v>
                </c:pt>
                <c:pt idx="8473">
                  <c:v>4.8957330816301399</c:v>
                </c:pt>
                <c:pt idx="8474">
                  <c:v>7.2480247429899567</c:v>
                </c:pt>
                <c:pt idx="8475">
                  <c:v>5.0032820114672205</c:v>
                </c:pt>
                <c:pt idx="8476">
                  <c:v>5.1760114915091036</c:v>
                </c:pt>
                <c:pt idx="8477">
                  <c:v>4.8531420505292697</c:v>
                </c:pt>
                <c:pt idx="8478">
                  <c:v>5.9059235605526563</c:v>
                </c:pt>
                <c:pt idx="8479">
                  <c:v>6.8915612739229202</c:v>
                </c:pt>
                <c:pt idx="8480">
                  <c:v>6.057426405132956</c:v>
                </c:pt>
                <c:pt idx="8481">
                  <c:v>5.9952644698700759</c:v>
                </c:pt>
                <c:pt idx="8482">
                  <c:v>6.0542105534794421</c:v>
                </c:pt>
                <c:pt idx="8483">
                  <c:v>5.0348997772733091</c:v>
                </c:pt>
                <c:pt idx="8484">
                  <c:v>5.0052852567145969</c:v>
                </c:pt>
                <c:pt idx="8485">
                  <c:v>4.955046867032725</c:v>
                </c:pt>
                <c:pt idx="8486">
                  <c:v>5.1044850954708707</c:v>
                </c:pt>
                <c:pt idx="8487">
                  <c:v>7.0354745272928536</c:v>
                </c:pt>
                <c:pt idx="8488">
                  <c:v>4.9882410729916522</c:v>
                </c:pt>
                <c:pt idx="8489">
                  <c:v>6.1301897235737721</c:v>
                </c:pt>
                <c:pt idx="8490">
                  <c:v>6.1321000812719682</c:v>
                </c:pt>
                <c:pt idx="8491">
                  <c:v>7.0631491197493759</c:v>
                </c:pt>
                <c:pt idx="8492">
                  <c:v>5.0071907716956581</c:v>
                </c:pt>
                <c:pt idx="8493">
                  <c:v>6.9550331322446617</c:v>
                </c:pt>
                <c:pt idx="8494">
                  <c:v>5.9509086869235883</c:v>
                </c:pt>
                <c:pt idx="8495">
                  <c:v>6.0276186071042925</c:v>
                </c:pt>
                <c:pt idx="8496">
                  <c:v>4.8626922835793449</c:v>
                </c:pt>
                <c:pt idx="8497">
                  <c:v>4.9196893040611211</c:v>
                </c:pt>
                <c:pt idx="8498">
                  <c:v>5.869682086466713</c:v>
                </c:pt>
                <c:pt idx="8499">
                  <c:v>5.8621610564127682</c:v>
                </c:pt>
                <c:pt idx="8500">
                  <c:v>6.065741953203756</c:v>
                </c:pt>
                <c:pt idx="8501">
                  <c:v>5.0894101952771997</c:v>
                </c:pt>
                <c:pt idx="8502">
                  <c:v>6.0100293631448665</c:v>
                </c:pt>
                <c:pt idx="8503">
                  <c:v>5.9338840230283223</c:v>
                </c:pt>
                <c:pt idx="8504">
                  <c:v>5.9480451451567413</c:v>
                </c:pt>
                <c:pt idx="8505">
                  <c:v>5.0253019955808664</c:v>
                </c:pt>
                <c:pt idx="8506">
                  <c:v>6.0494572754017053</c:v>
                </c:pt>
                <c:pt idx="8507">
                  <c:v>7.1222097946486871</c:v>
                </c:pt>
                <c:pt idx="8508">
                  <c:v>5.9829561160198166</c:v>
                </c:pt>
                <c:pt idx="8509">
                  <c:v>5.1580939563460904</c:v>
                </c:pt>
                <c:pt idx="8510">
                  <c:v>5.9887823372651461</c:v>
                </c:pt>
                <c:pt idx="8511">
                  <c:v>4.8725516509146294</c:v>
                </c:pt>
                <c:pt idx="8512">
                  <c:v>4.9569866934828175</c:v>
                </c:pt>
                <c:pt idx="8513">
                  <c:v>5.1396920501312273</c:v>
                </c:pt>
                <c:pt idx="8514">
                  <c:v>5.7491350238568799</c:v>
                </c:pt>
                <c:pt idx="8515">
                  <c:v>5.8316753543084872</c:v>
                </c:pt>
                <c:pt idx="8516">
                  <c:v>5.0139568398412244</c:v>
                </c:pt>
                <c:pt idx="8517">
                  <c:v>5.9483319156801349</c:v>
                </c:pt>
                <c:pt idx="8518">
                  <c:v>5.0520403027584102</c:v>
                </c:pt>
                <c:pt idx="8519">
                  <c:v>5.9394605026246916</c:v>
                </c:pt>
                <c:pt idx="8520">
                  <c:v>5.8122286082138315</c:v>
                </c:pt>
                <c:pt idx="8521">
                  <c:v>5.1053903529855784</c:v>
                </c:pt>
                <c:pt idx="8522">
                  <c:v>5.88093680910346</c:v>
                </c:pt>
                <c:pt idx="8523">
                  <c:v>5.9436708520492232</c:v>
                </c:pt>
                <c:pt idx="8524">
                  <c:v>5.0166028619299121</c:v>
                </c:pt>
                <c:pt idx="8525">
                  <c:v>6.0750062573110943</c:v>
                </c:pt>
                <c:pt idx="8526">
                  <c:v>6.2196592686157999</c:v>
                </c:pt>
                <c:pt idx="8527">
                  <c:v>4.9125818249519391</c:v>
                </c:pt>
                <c:pt idx="8528">
                  <c:v>5.7757698626418783</c:v>
                </c:pt>
                <c:pt idx="8529">
                  <c:v>6.0608404896367079</c:v>
                </c:pt>
                <c:pt idx="8530">
                  <c:v>4.7927533100535715</c:v>
                </c:pt>
                <c:pt idx="8531">
                  <c:v>5.9031604303762384</c:v>
                </c:pt>
                <c:pt idx="8532">
                  <c:v>5.9574479208324247</c:v>
                </c:pt>
                <c:pt idx="8533">
                  <c:v>6.1574503379014285</c:v>
                </c:pt>
                <c:pt idx="8534">
                  <c:v>6.0606048711841209</c:v>
                </c:pt>
                <c:pt idx="8535">
                  <c:v>4.9533925321028613</c:v>
                </c:pt>
                <c:pt idx="8536">
                  <c:v>6.1022201325218486</c:v>
                </c:pt>
                <c:pt idx="8537">
                  <c:v>5.9449770259181278</c:v>
                </c:pt>
                <c:pt idx="8538">
                  <c:v>5.9560696057632425</c:v>
                </c:pt>
                <c:pt idx="8539">
                  <c:v>6.0123837565117757</c:v>
                </c:pt>
                <c:pt idx="8540">
                  <c:v>6.0404503470295925</c:v>
                </c:pt>
                <c:pt idx="8541">
                  <c:v>5.0311850150327979</c:v>
                </c:pt>
                <c:pt idx="8542">
                  <c:v>4.8491887394080715</c:v>
                </c:pt>
                <c:pt idx="8543">
                  <c:v>4.8641093543547393</c:v>
                </c:pt>
                <c:pt idx="8544">
                  <c:v>5.0680399102313398</c:v>
                </c:pt>
                <c:pt idx="8545">
                  <c:v>5.0205058813279742</c:v>
                </c:pt>
                <c:pt idx="8546">
                  <c:v>5.1412044160518153</c:v>
                </c:pt>
                <c:pt idx="8547">
                  <c:v>6.9891059872612127</c:v>
                </c:pt>
                <c:pt idx="8548">
                  <c:v>4.7801500537714041</c:v>
                </c:pt>
                <c:pt idx="8549">
                  <c:v>5.9210586381306953</c:v>
                </c:pt>
                <c:pt idx="8550">
                  <c:v>4.8638144609490226</c:v>
                </c:pt>
                <c:pt idx="8551">
                  <c:v>6.0002482985687422</c:v>
                </c:pt>
                <c:pt idx="8552">
                  <c:v>4.8210883674399492</c:v>
                </c:pt>
                <c:pt idx="8553">
                  <c:v>5.9901104151713014</c:v>
                </c:pt>
                <c:pt idx="8554">
                  <c:v>5.9613952605016634</c:v>
                </c:pt>
                <c:pt idx="8555">
                  <c:v>5.9388808969937132</c:v>
                </c:pt>
                <c:pt idx="8556">
                  <c:v>6.0982607688891086</c:v>
                </c:pt>
                <c:pt idx="8557">
                  <c:v>5.0449442335643857</c:v>
                </c:pt>
                <c:pt idx="8558">
                  <c:v>6.0180041620698255</c:v>
                </c:pt>
                <c:pt idx="8559">
                  <c:v>6.929556398547299</c:v>
                </c:pt>
                <c:pt idx="8560">
                  <c:v>6.8875017197644999</c:v>
                </c:pt>
                <c:pt idx="8561">
                  <c:v>5.9047900510768034</c:v>
                </c:pt>
                <c:pt idx="8562">
                  <c:v>5.9487223407979677</c:v>
                </c:pt>
                <c:pt idx="8563">
                  <c:v>5.7826124510860231</c:v>
                </c:pt>
                <c:pt idx="8564">
                  <c:v>6.0989019644425948</c:v>
                </c:pt>
                <c:pt idx="8565">
                  <c:v>5.7743466377492929</c:v>
                </c:pt>
                <c:pt idx="8566">
                  <c:v>5.1585015571284378</c:v>
                </c:pt>
                <c:pt idx="8567">
                  <c:v>7.0375009328504845</c:v>
                </c:pt>
                <c:pt idx="8568">
                  <c:v>6.0289355628872823</c:v>
                </c:pt>
                <c:pt idx="8569">
                  <c:v>5.017452815858797</c:v>
                </c:pt>
                <c:pt idx="8570">
                  <c:v>6.9290530411709792</c:v>
                </c:pt>
                <c:pt idx="8571">
                  <c:v>5.8184739555928324</c:v>
                </c:pt>
                <c:pt idx="8572">
                  <c:v>5.9809417238868141</c:v>
                </c:pt>
                <c:pt idx="8573">
                  <c:v>6.992131138200353</c:v>
                </c:pt>
                <c:pt idx="8574">
                  <c:v>6.9407033552503181</c:v>
                </c:pt>
                <c:pt idx="8575">
                  <c:v>4.8624676122513586</c:v>
                </c:pt>
                <c:pt idx="8576">
                  <c:v>5.9378672015740301</c:v>
                </c:pt>
                <c:pt idx="8577">
                  <c:v>4.9511479679543617</c:v>
                </c:pt>
                <c:pt idx="8578">
                  <c:v>5.9286127924321299</c:v>
                </c:pt>
                <c:pt idx="8579">
                  <c:v>5.9710268131083311</c:v>
                </c:pt>
                <c:pt idx="8580">
                  <c:v>6.0184441062303442</c:v>
                </c:pt>
                <c:pt idx="8581">
                  <c:v>4.9185985105511421</c:v>
                </c:pt>
                <c:pt idx="8582">
                  <c:v>5.0014592926313179</c:v>
                </c:pt>
                <c:pt idx="8583">
                  <c:v>5.9964212121604978</c:v>
                </c:pt>
                <c:pt idx="8584">
                  <c:v>5.1077308589513892</c:v>
                </c:pt>
                <c:pt idx="8585">
                  <c:v>4.900700139080798</c:v>
                </c:pt>
                <c:pt idx="8586">
                  <c:v>5.9230946453366222</c:v>
                </c:pt>
                <c:pt idx="8587">
                  <c:v>4.9326291169248186</c:v>
                </c:pt>
                <c:pt idx="8588">
                  <c:v>5.9503585484285137</c:v>
                </c:pt>
                <c:pt idx="8589">
                  <c:v>4.9339476640000699</c:v>
                </c:pt>
                <c:pt idx="8590">
                  <c:v>4.8793195426325209</c:v>
                </c:pt>
                <c:pt idx="8591">
                  <c:v>4.8313362975865504</c:v>
                </c:pt>
                <c:pt idx="8592">
                  <c:v>6.0233387591728356</c:v>
                </c:pt>
                <c:pt idx="8593">
                  <c:v>5.9771513796506435</c:v>
                </c:pt>
                <c:pt idx="8594">
                  <c:v>6.1422134121900349</c:v>
                </c:pt>
                <c:pt idx="8595">
                  <c:v>6.0671391626813991</c:v>
                </c:pt>
                <c:pt idx="8596">
                  <c:v>5.8238988564443597</c:v>
                </c:pt>
                <c:pt idx="8597">
                  <c:v>5.9535872782915407</c:v>
                </c:pt>
                <c:pt idx="8598">
                  <c:v>4.8916242614744094</c:v>
                </c:pt>
                <c:pt idx="8599">
                  <c:v>5.0683839218903897</c:v>
                </c:pt>
                <c:pt idx="8600">
                  <c:v>5.0886610095048415</c:v>
                </c:pt>
                <c:pt idx="8601">
                  <c:v>5.868133008005251</c:v>
                </c:pt>
                <c:pt idx="8602">
                  <c:v>4.8752089656322797</c:v>
                </c:pt>
                <c:pt idx="8603">
                  <c:v>4.9801703881267514</c:v>
                </c:pt>
                <c:pt idx="8604">
                  <c:v>5.047379651504845</c:v>
                </c:pt>
                <c:pt idx="8605">
                  <c:v>5.9541885259007961</c:v>
                </c:pt>
                <c:pt idx="8606">
                  <c:v>6.0847925033940298</c:v>
                </c:pt>
                <c:pt idx="8607">
                  <c:v>6.1556174026480823</c:v>
                </c:pt>
                <c:pt idx="8608">
                  <c:v>5.9962602955619992</c:v>
                </c:pt>
                <c:pt idx="8609">
                  <c:v>4.7409337947665042</c:v>
                </c:pt>
                <c:pt idx="8610">
                  <c:v>5.0173343509421207</c:v>
                </c:pt>
                <c:pt idx="8611">
                  <c:v>5.9509534591893782</c:v>
                </c:pt>
                <c:pt idx="8612">
                  <c:v>6.0307781490331331</c:v>
                </c:pt>
                <c:pt idx="8613">
                  <c:v>6.1385520830172489</c:v>
                </c:pt>
                <c:pt idx="8614">
                  <c:v>6.0843995555632828</c:v>
                </c:pt>
                <c:pt idx="8615">
                  <c:v>4.9893033416304355</c:v>
                </c:pt>
                <c:pt idx="8616">
                  <c:v>5.993210090426266</c:v>
                </c:pt>
                <c:pt idx="8617">
                  <c:v>5.8275630116927291</c:v>
                </c:pt>
                <c:pt idx="8618">
                  <c:v>6.0822023407569867</c:v>
                </c:pt>
                <c:pt idx="8619">
                  <c:v>6.2093786217615614</c:v>
                </c:pt>
                <c:pt idx="8620">
                  <c:v>6.0873942007253579</c:v>
                </c:pt>
                <c:pt idx="8621">
                  <c:v>5.958363090853493</c:v>
                </c:pt>
                <c:pt idx="8622">
                  <c:v>6.1819297956984451</c:v>
                </c:pt>
                <c:pt idx="8623">
                  <c:v>5.1545246526787514</c:v>
                </c:pt>
                <c:pt idx="8624">
                  <c:v>6.1228947717505156</c:v>
                </c:pt>
                <c:pt idx="8625">
                  <c:v>3.8705533601701667</c:v>
                </c:pt>
                <c:pt idx="8626">
                  <c:v>5.8907487949490349</c:v>
                </c:pt>
                <c:pt idx="8627">
                  <c:v>3.9581518476929074</c:v>
                </c:pt>
                <c:pt idx="8628">
                  <c:v>4.9973305855970596</c:v>
                </c:pt>
                <c:pt idx="8629">
                  <c:v>4.8562839530065007</c:v>
                </c:pt>
                <c:pt idx="8630">
                  <c:v>6.0342497392589376</c:v>
                </c:pt>
                <c:pt idx="8631">
                  <c:v>5.1444344364263968</c:v>
                </c:pt>
                <c:pt idx="8632">
                  <c:v>5.0135507553576337</c:v>
                </c:pt>
                <c:pt idx="8633">
                  <c:v>5.0184820779842703</c:v>
                </c:pt>
                <c:pt idx="8634">
                  <c:v>5.95528005533897</c:v>
                </c:pt>
                <c:pt idx="8635">
                  <c:v>5.1872344375186108</c:v>
                </c:pt>
                <c:pt idx="8636">
                  <c:v>5.95584709534839</c:v>
                </c:pt>
                <c:pt idx="8637">
                  <c:v>5.9773375249643577</c:v>
                </c:pt>
                <c:pt idx="8638">
                  <c:v>4.9987895675907552</c:v>
                </c:pt>
                <c:pt idx="8639">
                  <c:v>5.0554859135195276</c:v>
                </c:pt>
                <c:pt idx="8640">
                  <c:v>5.1284486106839378</c:v>
                </c:pt>
                <c:pt idx="8641">
                  <c:v>5.9187635528354097</c:v>
                </c:pt>
                <c:pt idx="8642">
                  <c:v>6.0401102575647414</c:v>
                </c:pt>
                <c:pt idx="8643">
                  <c:v>6.2382700098573434</c:v>
                </c:pt>
                <c:pt idx="8644">
                  <c:v>5.9483781355933045</c:v>
                </c:pt>
                <c:pt idx="8645">
                  <c:v>5.92315099886223</c:v>
                </c:pt>
                <c:pt idx="8646">
                  <c:v>6.0536298071858869</c:v>
                </c:pt>
                <c:pt idx="8647">
                  <c:v>4.925184013996037</c:v>
                </c:pt>
                <c:pt idx="8648">
                  <c:v>6.1382335739421396</c:v>
                </c:pt>
                <c:pt idx="8649">
                  <c:v>5.9769882454314143</c:v>
                </c:pt>
                <c:pt idx="8650">
                  <c:v>5.2120347337745265</c:v>
                </c:pt>
                <c:pt idx="8651">
                  <c:v>5.7997625271751474</c:v>
                </c:pt>
                <c:pt idx="8652">
                  <c:v>6.1054279427430345</c:v>
                </c:pt>
                <c:pt idx="8653">
                  <c:v>5.9907758332111962</c:v>
                </c:pt>
                <c:pt idx="8654">
                  <c:v>5.019051008754766</c:v>
                </c:pt>
                <c:pt idx="8655">
                  <c:v>5.0440730930592315</c:v>
                </c:pt>
                <c:pt idx="8656">
                  <c:v>4.9065353737814483</c:v>
                </c:pt>
                <c:pt idx="8657">
                  <c:v>6.0416410880671947</c:v>
                </c:pt>
                <c:pt idx="8658">
                  <c:v>6.0350703922922149</c:v>
                </c:pt>
                <c:pt idx="8659">
                  <c:v>4.9333776203696651</c:v>
                </c:pt>
                <c:pt idx="8660">
                  <c:v>6.2218547562967386</c:v>
                </c:pt>
                <c:pt idx="8661">
                  <c:v>6.0414465260995218</c:v>
                </c:pt>
                <c:pt idx="8662">
                  <c:v>6.0488575517084575</c:v>
                </c:pt>
                <c:pt idx="8663">
                  <c:v>6.0075321424498371</c:v>
                </c:pt>
                <c:pt idx="8664">
                  <c:v>4.9850299860935241</c:v>
                </c:pt>
                <c:pt idx="8665">
                  <c:v>7.07876628249217</c:v>
                </c:pt>
                <c:pt idx="8666">
                  <c:v>5.8820148425571208</c:v>
                </c:pt>
                <c:pt idx="8667">
                  <c:v>6.0431323023552652</c:v>
                </c:pt>
                <c:pt idx="8668">
                  <c:v>5.9143244638126538</c:v>
                </c:pt>
                <c:pt idx="8669">
                  <c:v>6.9478175409705658</c:v>
                </c:pt>
                <c:pt idx="8670">
                  <c:v>6.0543076176858506</c:v>
                </c:pt>
                <c:pt idx="8671">
                  <c:v>5.8653789420236375</c:v>
                </c:pt>
                <c:pt idx="8672">
                  <c:v>5.0893853893104053</c:v>
                </c:pt>
                <c:pt idx="8673">
                  <c:v>5.9073699102402371</c:v>
                </c:pt>
                <c:pt idx="8674">
                  <c:v>4.953087101344833</c:v>
                </c:pt>
                <c:pt idx="8675">
                  <c:v>5.8887192381777806</c:v>
                </c:pt>
                <c:pt idx="8676">
                  <c:v>5.8742626206037682</c:v>
                </c:pt>
                <c:pt idx="8677">
                  <c:v>6.0596234434833969</c:v>
                </c:pt>
                <c:pt idx="8678">
                  <c:v>6.0926463908066228</c:v>
                </c:pt>
                <c:pt idx="8679">
                  <c:v>4.9139183759319272</c:v>
                </c:pt>
                <c:pt idx="8680">
                  <c:v>4.8092725837128043</c:v>
                </c:pt>
                <c:pt idx="8681">
                  <c:v>5.9250031964894827</c:v>
                </c:pt>
                <c:pt idx="8682">
                  <c:v>7.2536942339240156</c:v>
                </c:pt>
                <c:pt idx="8683">
                  <c:v>5.8946551710303803</c:v>
                </c:pt>
                <c:pt idx="8684">
                  <c:v>6.0057955267584582</c:v>
                </c:pt>
                <c:pt idx="8685">
                  <c:v>6.0374484794512151</c:v>
                </c:pt>
                <c:pt idx="8686">
                  <c:v>5.0164125271849951</c:v>
                </c:pt>
                <c:pt idx="8687">
                  <c:v>4.8747725650489082</c:v>
                </c:pt>
                <c:pt idx="8688">
                  <c:v>5.0111548548642428</c:v>
                </c:pt>
                <c:pt idx="8689">
                  <c:v>6.0677613747007477</c:v>
                </c:pt>
                <c:pt idx="8690">
                  <c:v>6.0849809899102691</c:v>
                </c:pt>
                <c:pt idx="8691">
                  <c:v>6.0138145481798766</c:v>
                </c:pt>
                <c:pt idx="8692">
                  <c:v>5.0262065874220339</c:v>
                </c:pt>
                <c:pt idx="8693">
                  <c:v>6.0483182215904439</c:v>
                </c:pt>
                <c:pt idx="8694">
                  <c:v>5.8648152414103825</c:v>
                </c:pt>
                <c:pt idx="8695">
                  <c:v>6.0426848768789707</c:v>
                </c:pt>
                <c:pt idx="8696">
                  <c:v>5.9911409596000977</c:v>
                </c:pt>
                <c:pt idx="8697">
                  <c:v>4.8909034080435969</c:v>
                </c:pt>
                <c:pt idx="8698">
                  <c:v>5.9474943011356602</c:v>
                </c:pt>
                <c:pt idx="8699">
                  <c:v>4.9930257470703516</c:v>
                </c:pt>
                <c:pt idx="8700">
                  <c:v>6.0156267277643183</c:v>
                </c:pt>
                <c:pt idx="8701">
                  <c:v>4.8875072912373918</c:v>
                </c:pt>
                <c:pt idx="8702">
                  <c:v>5.9779436582639915</c:v>
                </c:pt>
                <c:pt idx="8703">
                  <c:v>5.8418072274701096</c:v>
                </c:pt>
                <c:pt idx="8704">
                  <c:v>5.0669583857191967</c:v>
                </c:pt>
                <c:pt idx="8705">
                  <c:v>4.9924745732745981</c:v>
                </c:pt>
                <c:pt idx="8706">
                  <c:v>6.0969154508043495</c:v>
                </c:pt>
                <c:pt idx="8707">
                  <c:v>5.0988492490616215</c:v>
                </c:pt>
                <c:pt idx="8708">
                  <c:v>5.8918431829983273</c:v>
                </c:pt>
                <c:pt idx="8709">
                  <c:v>5.8337357658711886</c:v>
                </c:pt>
                <c:pt idx="8710">
                  <c:v>5.9424382532099731</c:v>
                </c:pt>
                <c:pt idx="8711">
                  <c:v>5.8910263641353255</c:v>
                </c:pt>
                <c:pt idx="8712">
                  <c:v>6.8254504818670556</c:v>
                </c:pt>
                <c:pt idx="8713">
                  <c:v>7.0788322979188747</c:v>
                </c:pt>
                <c:pt idx="8714">
                  <c:v>4.8840959805100219</c:v>
                </c:pt>
                <c:pt idx="8715">
                  <c:v>4.8771433669937148</c:v>
                </c:pt>
                <c:pt idx="8716">
                  <c:v>5.1111986753938536</c:v>
                </c:pt>
                <c:pt idx="8717">
                  <c:v>4.8296682959213983</c:v>
                </c:pt>
                <c:pt idx="8718">
                  <c:v>5.019887631716152</c:v>
                </c:pt>
                <c:pt idx="8719">
                  <c:v>5.862446686844585</c:v>
                </c:pt>
                <c:pt idx="8720">
                  <c:v>5.2247968901342245</c:v>
                </c:pt>
                <c:pt idx="8721">
                  <c:v>5.9803025499358462</c:v>
                </c:pt>
                <c:pt idx="8722">
                  <c:v>5.9979240286093365</c:v>
                </c:pt>
                <c:pt idx="8723">
                  <c:v>5.0025799080902074</c:v>
                </c:pt>
                <c:pt idx="8724">
                  <c:v>5.0287215180118991</c:v>
                </c:pt>
                <c:pt idx="8725">
                  <c:v>6.0740758187940278</c:v>
                </c:pt>
                <c:pt idx="8726">
                  <c:v>5.9899739486462433</c:v>
                </c:pt>
                <c:pt idx="8727">
                  <c:v>6.0811982517110525</c:v>
                </c:pt>
                <c:pt idx="8728">
                  <c:v>6.0828060194702402</c:v>
                </c:pt>
                <c:pt idx="8729">
                  <c:v>4.9520715600068401</c:v>
                </c:pt>
                <c:pt idx="8730">
                  <c:v>5.0866395580895656</c:v>
                </c:pt>
                <c:pt idx="8731">
                  <c:v>4.7938340760952682</c:v>
                </c:pt>
                <c:pt idx="8732">
                  <c:v>5.2833510162991093</c:v>
                </c:pt>
                <c:pt idx="8733">
                  <c:v>4.9470115734526239</c:v>
                </c:pt>
                <c:pt idx="8734">
                  <c:v>6.7908593530327686</c:v>
                </c:pt>
                <c:pt idx="8735">
                  <c:v>5.9405080109278892</c:v>
                </c:pt>
                <c:pt idx="8736">
                  <c:v>5.089007320914579</c:v>
                </c:pt>
                <c:pt idx="8737">
                  <c:v>6.0019491325629222</c:v>
                </c:pt>
                <c:pt idx="8738">
                  <c:v>4.989596858800553</c:v>
                </c:pt>
                <c:pt idx="8739">
                  <c:v>5.0301678715493656</c:v>
                </c:pt>
                <c:pt idx="8740">
                  <c:v>4.9767511993538145</c:v>
                </c:pt>
                <c:pt idx="8741">
                  <c:v>6.0474088616342714</c:v>
                </c:pt>
                <c:pt idx="8742">
                  <c:v>6.042191388702947</c:v>
                </c:pt>
                <c:pt idx="8743">
                  <c:v>5.9217643426612669</c:v>
                </c:pt>
                <c:pt idx="8744">
                  <c:v>6.1419457391407812</c:v>
                </c:pt>
                <c:pt idx="8745">
                  <c:v>5.0444963002974266</c:v>
                </c:pt>
                <c:pt idx="8746">
                  <c:v>5.9306631129215663</c:v>
                </c:pt>
                <c:pt idx="8747">
                  <c:v>5.9132623569798906</c:v>
                </c:pt>
                <c:pt idx="8748">
                  <c:v>4.9852756042166204</c:v>
                </c:pt>
                <c:pt idx="8749">
                  <c:v>5.8714622415564017</c:v>
                </c:pt>
                <c:pt idx="8750">
                  <c:v>6.2289211797650363</c:v>
                </c:pt>
                <c:pt idx="8751">
                  <c:v>5.9844654473586605</c:v>
                </c:pt>
                <c:pt idx="8752">
                  <c:v>5.9291255170167769</c:v>
                </c:pt>
                <c:pt idx="8753">
                  <c:v>5.8813900876621865</c:v>
                </c:pt>
                <c:pt idx="8754">
                  <c:v>5.1219609232308816</c:v>
                </c:pt>
                <c:pt idx="8755">
                  <c:v>4.9453285543364212</c:v>
                </c:pt>
                <c:pt idx="8756">
                  <c:v>6.0189080672336663</c:v>
                </c:pt>
                <c:pt idx="8757">
                  <c:v>5.9421789078271683</c:v>
                </c:pt>
                <c:pt idx="8758">
                  <c:v>4.8970356979421732</c:v>
                </c:pt>
                <c:pt idx="8759">
                  <c:v>6.8773255983059194</c:v>
                </c:pt>
                <c:pt idx="8760">
                  <c:v>5.9695040710112135</c:v>
                </c:pt>
                <c:pt idx="8761">
                  <c:v>6.14962817211428</c:v>
                </c:pt>
                <c:pt idx="8762">
                  <c:v>4.9819399076926256</c:v>
                </c:pt>
                <c:pt idx="8763">
                  <c:v>5.9652062325366852</c:v>
                </c:pt>
                <c:pt idx="8764">
                  <c:v>5.1624853106710216</c:v>
                </c:pt>
                <c:pt idx="8765">
                  <c:v>4.8096400088246662</c:v>
                </c:pt>
                <c:pt idx="8766">
                  <c:v>3.9514521768821487</c:v>
                </c:pt>
                <c:pt idx="8767">
                  <c:v>5.9764553667764062</c:v>
                </c:pt>
                <c:pt idx="8768">
                  <c:v>4.8735824614327798</c:v>
                </c:pt>
                <c:pt idx="8769">
                  <c:v>4.9811409956019279</c:v>
                </c:pt>
                <c:pt idx="8770">
                  <c:v>6.1105470334615504</c:v>
                </c:pt>
                <c:pt idx="8771">
                  <c:v>3.9865194874625054</c:v>
                </c:pt>
                <c:pt idx="8772">
                  <c:v>6.0771009281107959</c:v>
                </c:pt>
                <c:pt idx="8773">
                  <c:v>5.9516119829768446</c:v>
                </c:pt>
                <c:pt idx="8774">
                  <c:v>5.9055736914106527</c:v>
                </c:pt>
                <c:pt idx="8775">
                  <c:v>4.8780950864683756</c:v>
                </c:pt>
                <c:pt idx="8776">
                  <c:v>5.9083301562604822</c:v>
                </c:pt>
                <c:pt idx="8777">
                  <c:v>4.9785285323346633</c:v>
                </c:pt>
                <c:pt idx="8778">
                  <c:v>6.0024123375132055</c:v>
                </c:pt>
                <c:pt idx="8779">
                  <c:v>5.0007987432760297</c:v>
                </c:pt>
                <c:pt idx="8780">
                  <c:v>5.0235542967704463</c:v>
                </c:pt>
                <c:pt idx="8781">
                  <c:v>5.0163850502131515</c:v>
                </c:pt>
                <c:pt idx="8782">
                  <c:v>4.9655277212367244</c:v>
                </c:pt>
                <c:pt idx="8783">
                  <c:v>4.9767737484589576</c:v>
                </c:pt>
                <c:pt idx="8784">
                  <c:v>5.0433075986582923</c:v>
                </c:pt>
                <c:pt idx="8785">
                  <c:v>5.8762778967960312</c:v>
                </c:pt>
                <c:pt idx="8786">
                  <c:v>5.9488403023061478</c:v>
                </c:pt>
                <c:pt idx="8787">
                  <c:v>5.9338354125328818</c:v>
                </c:pt>
                <c:pt idx="8788">
                  <c:v>4.8764244429576964</c:v>
                </c:pt>
                <c:pt idx="8789">
                  <c:v>6.0174951945037423</c:v>
                </c:pt>
                <c:pt idx="8790">
                  <c:v>5.0000816012209848</c:v>
                </c:pt>
                <c:pt idx="8791">
                  <c:v>4.9472260941439004</c:v>
                </c:pt>
                <c:pt idx="8792">
                  <c:v>4.9847135017627426</c:v>
                </c:pt>
                <c:pt idx="8793">
                  <c:v>5.9794540487672752</c:v>
                </c:pt>
                <c:pt idx="8794">
                  <c:v>4.9555663833733785</c:v>
                </c:pt>
                <c:pt idx="8795">
                  <c:v>5.1570674385942503</c:v>
                </c:pt>
                <c:pt idx="8796">
                  <c:v>5.9055361495689134</c:v>
                </c:pt>
                <c:pt idx="8797">
                  <c:v>5.9442846102463056</c:v>
                </c:pt>
                <c:pt idx="8798">
                  <c:v>6.9097718034336326</c:v>
                </c:pt>
                <c:pt idx="8799">
                  <c:v>4.9738850458537387</c:v>
                </c:pt>
                <c:pt idx="8800">
                  <c:v>7.1488123260203196</c:v>
                </c:pt>
                <c:pt idx="8801">
                  <c:v>5.0148110286032859</c:v>
                </c:pt>
                <c:pt idx="8802">
                  <c:v>4.7627589891861382</c:v>
                </c:pt>
                <c:pt idx="8803">
                  <c:v>5.9389342226757691</c:v>
                </c:pt>
                <c:pt idx="8804">
                  <c:v>4.8427389233569231</c:v>
                </c:pt>
                <c:pt idx="8805">
                  <c:v>4.9874695707112124</c:v>
                </c:pt>
                <c:pt idx="8806">
                  <c:v>5.9324702887995802</c:v>
                </c:pt>
                <c:pt idx="8807">
                  <c:v>5.0338899394662651</c:v>
                </c:pt>
                <c:pt idx="8808">
                  <c:v>5.9986535814607365</c:v>
                </c:pt>
                <c:pt idx="8809">
                  <c:v>6.1318777859512812</c:v>
                </c:pt>
                <c:pt idx="8810">
                  <c:v>5.9113853998333861</c:v>
                </c:pt>
                <c:pt idx="8811">
                  <c:v>5.9756755897666007</c:v>
                </c:pt>
                <c:pt idx="8812">
                  <c:v>5.0792780832426736</c:v>
                </c:pt>
                <c:pt idx="8813">
                  <c:v>6.0417599916649998</c:v>
                </c:pt>
                <c:pt idx="8814">
                  <c:v>5.9030703183784317</c:v>
                </c:pt>
                <c:pt idx="8815">
                  <c:v>5.9503422492765594</c:v>
                </c:pt>
                <c:pt idx="8816">
                  <c:v>5.9384910991733841</c:v>
                </c:pt>
                <c:pt idx="8817">
                  <c:v>5.9851732681532752</c:v>
                </c:pt>
                <c:pt idx="8818">
                  <c:v>5.8637308186117476</c:v>
                </c:pt>
                <c:pt idx="8819">
                  <c:v>4.922462289270964</c:v>
                </c:pt>
                <c:pt idx="8820">
                  <c:v>5.9461232716342538</c:v>
                </c:pt>
                <c:pt idx="8821">
                  <c:v>5.9451500578962282</c:v>
                </c:pt>
                <c:pt idx="8822">
                  <c:v>5.7756854112952611</c:v>
                </c:pt>
                <c:pt idx="8823">
                  <c:v>6.0291624010067375</c:v>
                </c:pt>
                <c:pt idx="8824">
                  <c:v>4.9488761957890652</c:v>
                </c:pt>
                <c:pt idx="8825">
                  <c:v>5.0855262493617781</c:v>
                </c:pt>
                <c:pt idx="8826">
                  <c:v>5.0451390423789997</c:v>
                </c:pt>
                <c:pt idx="8827">
                  <c:v>6.0047467570540194</c:v>
                </c:pt>
                <c:pt idx="8828">
                  <c:v>6.9903749377734536</c:v>
                </c:pt>
                <c:pt idx="8829">
                  <c:v>5.8148885545374212</c:v>
                </c:pt>
                <c:pt idx="8830">
                  <c:v>6.0845163487578064</c:v>
                </c:pt>
                <c:pt idx="8831">
                  <c:v>7.1001252439315081</c:v>
                </c:pt>
                <c:pt idx="8832">
                  <c:v>6.0516677752430432</c:v>
                </c:pt>
                <c:pt idx="8833">
                  <c:v>6.1290077042783286</c:v>
                </c:pt>
                <c:pt idx="8834">
                  <c:v>4.9170744596975871</c:v>
                </c:pt>
                <c:pt idx="8835">
                  <c:v>6.9003431249069545</c:v>
                </c:pt>
                <c:pt idx="8836">
                  <c:v>6.1169456663574486</c:v>
                </c:pt>
                <c:pt idx="8837">
                  <c:v>6.1249253306071383</c:v>
                </c:pt>
                <c:pt idx="8838">
                  <c:v>7.0413649460190939</c:v>
                </c:pt>
                <c:pt idx="8839">
                  <c:v>5.9176359818301174</c:v>
                </c:pt>
                <c:pt idx="8840">
                  <c:v>6.089222413825742</c:v>
                </c:pt>
                <c:pt idx="8841">
                  <c:v>5.8516917490334928</c:v>
                </c:pt>
                <c:pt idx="8842">
                  <c:v>6.0952017437767987</c:v>
                </c:pt>
                <c:pt idx="8843">
                  <c:v>5.1423333258721833</c:v>
                </c:pt>
                <c:pt idx="8844">
                  <c:v>5.8512696556928345</c:v>
                </c:pt>
                <c:pt idx="8845">
                  <c:v>5.882040853108915</c:v>
                </c:pt>
                <c:pt idx="8846">
                  <c:v>6.0113743019529791</c:v>
                </c:pt>
                <c:pt idx="8847">
                  <c:v>7.1677972693278003</c:v>
                </c:pt>
                <c:pt idx="8848">
                  <c:v>6.0858193514792021</c:v>
                </c:pt>
                <c:pt idx="8849">
                  <c:v>5.9959371319028687</c:v>
                </c:pt>
                <c:pt idx="8850">
                  <c:v>6.1362992403759202</c:v>
                </c:pt>
                <c:pt idx="8851">
                  <c:v>6.0727792889163057</c:v>
                </c:pt>
                <c:pt idx="8852">
                  <c:v>6.0340127166132822</c:v>
                </c:pt>
                <c:pt idx="8853">
                  <c:v>5.0145953690920022</c:v>
                </c:pt>
                <c:pt idx="8854">
                  <c:v>5.9196259243851905</c:v>
                </c:pt>
                <c:pt idx="8855">
                  <c:v>6.0544734907731277</c:v>
                </c:pt>
                <c:pt idx="8856">
                  <c:v>5.124451745858984</c:v>
                </c:pt>
                <c:pt idx="8857">
                  <c:v>6.014734416683674</c:v>
                </c:pt>
                <c:pt idx="8858">
                  <c:v>4.9173580279498914</c:v>
                </c:pt>
                <c:pt idx="8859">
                  <c:v>6.0415012241262946</c:v>
                </c:pt>
                <c:pt idx="8860">
                  <c:v>4.9768691952928492</c:v>
                </c:pt>
                <c:pt idx="8861">
                  <c:v>7.1094124461742298</c:v>
                </c:pt>
                <c:pt idx="8862">
                  <c:v>6.0115464950537891</c:v>
                </c:pt>
                <c:pt idx="8863">
                  <c:v>5.9488530065759528</c:v>
                </c:pt>
                <c:pt idx="8864">
                  <c:v>5.9719063917193056</c:v>
                </c:pt>
                <c:pt idx="8865">
                  <c:v>6.0007478693205263</c:v>
                </c:pt>
                <c:pt idx="8866">
                  <c:v>6.0748896904432792</c:v>
                </c:pt>
                <c:pt idx="8867">
                  <c:v>5.0222456969876017</c:v>
                </c:pt>
                <c:pt idx="8868">
                  <c:v>6.8259541991913437</c:v>
                </c:pt>
                <c:pt idx="8869">
                  <c:v>6.0773187723593116</c:v>
                </c:pt>
                <c:pt idx="8870">
                  <c:v>4.9841907464099071</c:v>
                </c:pt>
                <c:pt idx="8871">
                  <c:v>6.0557252123173209</c:v>
                </c:pt>
                <c:pt idx="8872">
                  <c:v>6.1143733224437753</c:v>
                </c:pt>
                <c:pt idx="8873">
                  <c:v>4.8852015096540535</c:v>
                </c:pt>
                <c:pt idx="8874">
                  <c:v>4.9744113984696527</c:v>
                </c:pt>
                <c:pt idx="8875">
                  <c:v>5.0247380749300392</c:v>
                </c:pt>
                <c:pt idx="8876">
                  <c:v>5.9536660448212482</c:v>
                </c:pt>
                <c:pt idx="8877">
                  <c:v>3.7731593052021335</c:v>
                </c:pt>
                <c:pt idx="8878">
                  <c:v>4.9492856658062232</c:v>
                </c:pt>
                <c:pt idx="8879">
                  <c:v>5.884511727460505</c:v>
                </c:pt>
                <c:pt idx="8880">
                  <c:v>4.7732695634732556</c:v>
                </c:pt>
                <c:pt idx="8881">
                  <c:v>4.9495460049118289</c:v>
                </c:pt>
                <c:pt idx="8882">
                  <c:v>5.814169670771097</c:v>
                </c:pt>
                <c:pt idx="8883">
                  <c:v>5.9851635269746177</c:v>
                </c:pt>
                <c:pt idx="8884">
                  <c:v>4.970005070806347</c:v>
                </c:pt>
                <c:pt idx="8885">
                  <c:v>5.9119887568425469</c:v>
                </c:pt>
                <c:pt idx="8886">
                  <c:v>4.9879619844308252</c:v>
                </c:pt>
                <c:pt idx="8887">
                  <c:v>6.0527584674740016</c:v>
                </c:pt>
                <c:pt idx="8888">
                  <c:v>4.9205074383091683</c:v>
                </c:pt>
                <c:pt idx="8889">
                  <c:v>4.9759109246056052</c:v>
                </c:pt>
                <c:pt idx="8890">
                  <c:v>5.8594945212769058</c:v>
                </c:pt>
                <c:pt idx="8891">
                  <c:v>5.9117052231665994</c:v>
                </c:pt>
                <c:pt idx="8892">
                  <c:v>5.2553529260331162</c:v>
                </c:pt>
                <c:pt idx="8893">
                  <c:v>4.9295466371667898</c:v>
                </c:pt>
                <c:pt idx="8894">
                  <c:v>5.9730704102502115</c:v>
                </c:pt>
                <c:pt idx="8895">
                  <c:v>5.9826044478001572</c:v>
                </c:pt>
                <c:pt idx="8896">
                  <c:v>5.9517455366520293</c:v>
                </c:pt>
                <c:pt idx="8897">
                  <c:v>4.925274551524085</c:v>
                </c:pt>
                <c:pt idx="8898">
                  <c:v>4.9215410302816576</c:v>
                </c:pt>
                <c:pt idx="8899">
                  <c:v>4.9782052922835902</c:v>
                </c:pt>
                <c:pt idx="8900">
                  <c:v>4.9896483017292157</c:v>
                </c:pt>
                <c:pt idx="8901">
                  <c:v>5.9592144528115885</c:v>
                </c:pt>
                <c:pt idx="8902">
                  <c:v>6.035931663320584</c:v>
                </c:pt>
                <c:pt idx="8903">
                  <c:v>5.0228795905736101</c:v>
                </c:pt>
                <c:pt idx="8904">
                  <c:v>5.8966881716815447</c:v>
                </c:pt>
                <c:pt idx="8905">
                  <c:v>5.0178998583234646</c:v>
                </c:pt>
                <c:pt idx="8906">
                  <c:v>5.0627986192284027</c:v>
                </c:pt>
                <c:pt idx="8907">
                  <c:v>5.1012396160681384</c:v>
                </c:pt>
                <c:pt idx="8908">
                  <c:v>5.0463285239472269</c:v>
                </c:pt>
                <c:pt idx="8909">
                  <c:v>5.0445349397702639</c:v>
                </c:pt>
                <c:pt idx="8910">
                  <c:v>5.8944307538211484</c:v>
                </c:pt>
                <c:pt idx="8911">
                  <c:v>6.1581320380736431</c:v>
                </c:pt>
                <c:pt idx="8912">
                  <c:v>5.2511537652572819</c:v>
                </c:pt>
                <c:pt idx="8913">
                  <c:v>4.8242575522521296</c:v>
                </c:pt>
                <c:pt idx="8914">
                  <c:v>5.8844403282262912</c:v>
                </c:pt>
                <c:pt idx="8915">
                  <c:v>6.0948884255675333</c:v>
                </c:pt>
                <c:pt idx="8916">
                  <c:v>5.7591658185665198</c:v>
                </c:pt>
                <c:pt idx="8917">
                  <c:v>4.8849090525621168</c:v>
                </c:pt>
                <c:pt idx="8918">
                  <c:v>3.0417316075435705</c:v>
                </c:pt>
                <c:pt idx="8919">
                  <c:v>5.9155937964026037</c:v>
                </c:pt>
                <c:pt idx="8920">
                  <c:v>7.0560297629184454</c:v>
                </c:pt>
                <c:pt idx="8921">
                  <c:v>6.006894109819461</c:v>
                </c:pt>
                <c:pt idx="8922">
                  <c:v>5.9991079180186855</c:v>
                </c:pt>
                <c:pt idx="8923">
                  <c:v>6.8546107272963903</c:v>
                </c:pt>
                <c:pt idx="8924">
                  <c:v>5.9567277552288882</c:v>
                </c:pt>
                <c:pt idx="8925">
                  <c:v>4.9636753677941634</c:v>
                </c:pt>
                <c:pt idx="8926">
                  <c:v>4.953499612636624</c:v>
                </c:pt>
                <c:pt idx="8927">
                  <c:v>4.9335018957274865</c:v>
                </c:pt>
                <c:pt idx="8928">
                  <c:v>5.0489298055190321</c:v>
                </c:pt>
                <c:pt idx="8929">
                  <c:v>5.9308697973986915</c:v>
                </c:pt>
                <c:pt idx="8930">
                  <c:v>5.0141776845996597</c:v>
                </c:pt>
                <c:pt idx="8931">
                  <c:v>4.8832758697018877</c:v>
                </c:pt>
                <c:pt idx="8932">
                  <c:v>5.9573317958476819</c:v>
                </c:pt>
                <c:pt idx="8933">
                  <c:v>5.0916821519332673</c:v>
                </c:pt>
                <c:pt idx="8934">
                  <c:v>6.077790826378223</c:v>
                </c:pt>
                <c:pt idx="8935">
                  <c:v>6.088469353147727</c:v>
                </c:pt>
                <c:pt idx="8936">
                  <c:v>5.1312443981569595</c:v>
                </c:pt>
                <c:pt idx="8937">
                  <c:v>6.908360984075931</c:v>
                </c:pt>
                <c:pt idx="8938">
                  <c:v>6.9531523397983506</c:v>
                </c:pt>
                <c:pt idx="8939">
                  <c:v>7.031109680654378</c:v>
                </c:pt>
                <c:pt idx="8940">
                  <c:v>4.970705741918235</c:v>
                </c:pt>
                <c:pt idx="8941">
                  <c:v>5.925304502303673</c:v>
                </c:pt>
                <c:pt idx="8942">
                  <c:v>7.1378900332705477</c:v>
                </c:pt>
                <c:pt idx="8943">
                  <c:v>4.871879160956599</c:v>
                </c:pt>
                <c:pt idx="8944">
                  <c:v>5.7625875140566398</c:v>
                </c:pt>
                <c:pt idx="8945">
                  <c:v>5.0070813390570255</c:v>
                </c:pt>
                <c:pt idx="8946">
                  <c:v>6.0725648131232042</c:v>
                </c:pt>
                <c:pt idx="8947">
                  <c:v>6.1183700265981154</c:v>
                </c:pt>
                <c:pt idx="8948">
                  <c:v>5.9322675028883234</c:v>
                </c:pt>
                <c:pt idx="8949">
                  <c:v>4.9907387755483468</c:v>
                </c:pt>
                <c:pt idx="8950">
                  <c:v>4.9770265191051344</c:v>
                </c:pt>
                <c:pt idx="8951">
                  <c:v>4.9599199481932157</c:v>
                </c:pt>
                <c:pt idx="8952">
                  <c:v>6.0781585824865072</c:v>
                </c:pt>
                <c:pt idx="8953">
                  <c:v>5.9886525263207773</c:v>
                </c:pt>
                <c:pt idx="8954">
                  <c:v>5.0054920277589812</c:v>
                </c:pt>
                <c:pt idx="8955">
                  <c:v>4.9281136613426462</c:v>
                </c:pt>
                <c:pt idx="8956">
                  <c:v>7.0821504197658163</c:v>
                </c:pt>
                <c:pt idx="8957">
                  <c:v>4.966216283814199</c:v>
                </c:pt>
                <c:pt idx="8958">
                  <c:v>6.0128557944968781</c:v>
                </c:pt>
                <c:pt idx="8959">
                  <c:v>6.0674141852877455</c:v>
                </c:pt>
                <c:pt idx="8960">
                  <c:v>6.0513251425568271</c:v>
                </c:pt>
                <c:pt idx="8961">
                  <c:v>4.8671015293472628</c:v>
                </c:pt>
                <c:pt idx="8962">
                  <c:v>5.9464276931719198</c:v>
                </c:pt>
                <c:pt idx="8963">
                  <c:v>6.0368601487682714</c:v>
                </c:pt>
                <c:pt idx="8964">
                  <c:v>6.8832039055174983</c:v>
                </c:pt>
                <c:pt idx="8965">
                  <c:v>6.0159543404029563</c:v>
                </c:pt>
                <c:pt idx="8966">
                  <c:v>6.0140475133775464</c:v>
                </c:pt>
                <c:pt idx="8967">
                  <c:v>5.9888633133187623</c:v>
                </c:pt>
                <c:pt idx="8968">
                  <c:v>5.0715904250828094</c:v>
                </c:pt>
                <c:pt idx="8969">
                  <c:v>4.7838591717886541</c:v>
                </c:pt>
                <c:pt idx="8970">
                  <c:v>4.9851545340666847</c:v>
                </c:pt>
                <c:pt idx="8971">
                  <c:v>6.1115158433812891</c:v>
                </c:pt>
                <c:pt idx="8972">
                  <c:v>4.9679927744243342</c:v>
                </c:pt>
                <c:pt idx="8973">
                  <c:v>5.0658166108632496</c:v>
                </c:pt>
                <c:pt idx="8974">
                  <c:v>6.0549210265657107</c:v>
                </c:pt>
                <c:pt idx="8975">
                  <c:v>5.2183820477416072</c:v>
                </c:pt>
                <c:pt idx="8976">
                  <c:v>4.9688148387822553</c:v>
                </c:pt>
                <c:pt idx="8977">
                  <c:v>5.0146088687342187</c:v>
                </c:pt>
                <c:pt idx="8978">
                  <c:v>4.9268473372481898</c:v>
                </c:pt>
                <c:pt idx="8979">
                  <c:v>5.1842334780188404</c:v>
                </c:pt>
                <c:pt idx="8980">
                  <c:v>5.1669405561357902</c:v>
                </c:pt>
                <c:pt idx="8981">
                  <c:v>5.9047229703102442</c:v>
                </c:pt>
                <c:pt idx="8982">
                  <c:v>5.0368588159101018</c:v>
                </c:pt>
                <c:pt idx="8983">
                  <c:v>4.866310833770715</c:v>
                </c:pt>
                <c:pt idx="8984">
                  <c:v>4.9372099392479072</c:v>
                </c:pt>
                <c:pt idx="8985">
                  <c:v>5.9365202584549257</c:v>
                </c:pt>
                <c:pt idx="8986">
                  <c:v>4.9714217584653326</c:v>
                </c:pt>
                <c:pt idx="8987">
                  <c:v>5.8505629590717536</c:v>
                </c:pt>
                <c:pt idx="8988">
                  <c:v>5.7993490591359187</c:v>
                </c:pt>
                <c:pt idx="8989">
                  <c:v>5.0344144154934822</c:v>
                </c:pt>
                <c:pt idx="8990">
                  <c:v>5.1957573503055823</c:v>
                </c:pt>
                <c:pt idx="8991">
                  <c:v>4.9399661670928481</c:v>
                </c:pt>
                <c:pt idx="8992">
                  <c:v>4.8953702538380561</c:v>
                </c:pt>
                <c:pt idx="8993">
                  <c:v>4.6775585619286071</c:v>
                </c:pt>
                <c:pt idx="8994">
                  <c:v>4.9320172951500529</c:v>
                </c:pt>
                <c:pt idx="8995">
                  <c:v>4.802303891449915</c:v>
                </c:pt>
                <c:pt idx="8996">
                  <c:v>6.8009559177307848</c:v>
                </c:pt>
                <c:pt idx="8997">
                  <c:v>5.0163778197024298</c:v>
                </c:pt>
                <c:pt idx="8998">
                  <c:v>5.1460270807241573</c:v>
                </c:pt>
                <c:pt idx="8999">
                  <c:v>5.0056660372278987</c:v>
                </c:pt>
                <c:pt idx="9000">
                  <c:v>4.9334224068064279</c:v>
                </c:pt>
                <c:pt idx="9001">
                  <c:v>6.0135375786594389</c:v>
                </c:pt>
                <c:pt idx="9002">
                  <c:v>5.1038324170688378</c:v>
                </c:pt>
                <c:pt idx="9003">
                  <c:v>5.843749744533242</c:v>
                </c:pt>
                <c:pt idx="9004">
                  <c:v>5.0593684138652772</c:v>
                </c:pt>
                <c:pt idx="9005">
                  <c:v>5.0138448025433684</c:v>
                </c:pt>
                <c:pt idx="9006">
                  <c:v>5.0222467990364361</c:v>
                </c:pt>
                <c:pt idx="9007">
                  <c:v>5.0278446683251401</c:v>
                </c:pt>
                <c:pt idx="9008">
                  <c:v>4.8642642547152368</c:v>
                </c:pt>
                <c:pt idx="9009">
                  <c:v>5.126455350658973</c:v>
                </c:pt>
                <c:pt idx="9010">
                  <c:v>6.1348318419311143</c:v>
                </c:pt>
                <c:pt idx="9011">
                  <c:v>4.9308025172380754</c:v>
                </c:pt>
                <c:pt idx="9012">
                  <c:v>6.8756577081345363</c:v>
                </c:pt>
                <c:pt idx="9013">
                  <c:v>5.1872827418810195</c:v>
                </c:pt>
                <c:pt idx="9014">
                  <c:v>6.0149443642299003</c:v>
                </c:pt>
                <c:pt idx="9015">
                  <c:v>5.0438475982134987</c:v>
                </c:pt>
                <c:pt idx="9016">
                  <c:v>5.0538219235693722</c:v>
                </c:pt>
                <c:pt idx="9017">
                  <c:v>4.972951820749242</c:v>
                </c:pt>
                <c:pt idx="9018">
                  <c:v>5.0531168595450948</c:v>
                </c:pt>
                <c:pt idx="9019">
                  <c:v>5.113972343779519</c:v>
                </c:pt>
                <c:pt idx="9020">
                  <c:v>4.9418308381639724</c:v>
                </c:pt>
                <c:pt idx="9021">
                  <c:v>5.0444206134694003</c:v>
                </c:pt>
                <c:pt idx="9022">
                  <c:v>5.2286875612549863</c:v>
                </c:pt>
                <c:pt idx="9023">
                  <c:v>4.9662796145772559</c:v>
                </c:pt>
                <c:pt idx="9024">
                  <c:v>5.0700505712137804</c:v>
                </c:pt>
                <c:pt idx="9025">
                  <c:v>5.0740813838675054</c:v>
                </c:pt>
                <c:pt idx="9026">
                  <c:v>5.9120551457661854</c:v>
                </c:pt>
                <c:pt idx="9027">
                  <c:v>5.0125742331782179</c:v>
                </c:pt>
                <c:pt idx="9028">
                  <c:v>4.7846506853315818</c:v>
                </c:pt>
                <c:pt idx="9029">
                  <c:v>4.9877166534443615</c:v>
                </c:pt>
                <c:pt idx="9030">
                  <c:v>4.995518972837405</c:v>
                </c:pt>
                <c:pt idx="9031">
                  <c:v>4.8762032765782557</c:v>
                </c:pt>
                <c:pt idx="9032">
                  <c:v>5.985164294584882</c:v>
                </c:pt>
                <c:pt idx="9033">
                  <c:v>5.0062172228331763</c:v>
                </c:pt>
                <c:pt idx="9034">
                  <c:v>5.0913322377432761</c:v>
                </c:pt>
                <c:pt idx="9035">
                  <c:v>6.2546835679391179</c:v>
                </c:pt>
                <c:pt idx="9036">
                  <c:v>6.1320827950556671</c:v>
                </c:pt>
                <c:pt idx="9037">
                  <c:v>6.0648055256201712</c:v>
                </c:pt>
                <c:pt idx="9038">
                  <c:v>5.0011358926228304</c:v>
                </c:pt>
                <c:pt idx="9039">
                  <c:v>5.090930156361698</c:v>
                </c:pt>
                <c:pt idx="9040">
                  <c:v>5.8141814271804275</c:v>
                </c:pt>
                <c:pt idx="9041">
                  <c:v>5.9627561989716709</c:v>
                </c:pt>
                <c:pt idx="9042">
                  <c:v>4.9434419848715896</c:v>
                </c:pt>
                <c:pt idx="9043">
                  <c:v>4.9494354692197566</c:v>
                </c:pt>
                <c:pt idx="9044">
                  <c:v>5.1122014574526817</c:v>
                </c:pt>
                <c:pt idx="9045">
                  <c:v>4.8444645521952658</c:v>
                </c:pt>
                <c:pt idx="9046">
                  <c:v>4.82308773173565</c:v>
                </c:pt>
                <c:pt idx="9047">
                  <c:v>5.1114208028368591</c:v>
                </c:pt>
                <c:pt idx="9048">
                  <c:v>4.9512571886083059</c:v>
                </c:pt>
                <c:pt idx="9049">
                  <c:v>4.9708532253387991</c:v>
                </c:pt>
                <c:pt idx="9050">
                  <c:v>4.9186155783103587</c:v>
                </c:pt>
                <c:pt idx="9051">
                  <c:v>5.0621793921328049</c:v>
                </c:pt>
                <c:pt idx="9052">
                  <c:v>4.8449230744175598</c:v>
                </c:pt>
                <c:pt idx="9053">
                  <c:v>6.9863987734773056</c:v>
                </c:pt>
                <c:pt idx="9054">
                  <c:v>5.9107260202850815</c:v>
                </c:pt>
                <c:pt idx="9055">
                  <c:v>5.0504381579523514</c:v>
                </c:pt>
                <c:pt idx="9056">
                  <c:v>5.9370638802187283</c:v>
                </c:pt>
                <c:pt idx="9057">
                  <c:v>5.8175574540674493</c:v>
                </c:pt>
                <c:pt idx="9058">
                  <c:v>5.056170894139048</c:v>
                </c:pt>
                <c:pt idx="9059">
                  <c:v>6.1520483186118753</c:v>
                </c:pt>
                <c:pt idx="9060">
                  <c:v>4.952193307054638</c:v>
                </c:pt>
                <c:pt idx="9061">
                  <c:v>5.0775135616007798</c:v>
                </c:pt>
                <c:pt idx="9062">
                  <c:v>4.9708561112120249</c:v>
                </c:pt>
                <c:pt idx="9063">
                  <c:v>6.0553434519526981</c:v>
                </c:pt>
                <c:pt idx="9064">
                  <c:v>5.1421498147087759</c:v>
                </c:pt>
                <c:pt idx="9065">
                  <c:v>6.0127188651160184</c:v>
                </c:pt>
                <c:pt idx="9066">
                  <c:v>5.0310793888232412</c:v>
                </c:pt>
                <c:pt idx="9067">
                  <c:v>4.8932323340180996</c:v>
                </c:pt>
                <c:pt idx="9068">
                  <c:v>5.0085968412863613</c:v>
                </c:pt>
                <c:pt idx="9069">
                  <c:v>5.9812771971881453</c:v>
                </c:pt>
                <c:pt idx="9070">
                  <c:v>4.9923524632232805</c:v>
                </c:pt>
                <c:pt idx="9071">
                  <c:v>4.96072218856634</c:v>
                </c:pt>
                <c:pt idx="9072">
                  <c:v>4.914160248334797</c:v>
                </c:pt>
                <c:pt idx="9073">
                  <c:v>4.9534865665024173</c:v>
                </c:pt>
                <c:pt idx="9074">
                  <c:v>5.8048641592293695</c:v>
                </c:pt>
                <c:pt idx="9075">
                  <c:v>5.0309259672310791</c:v>
                </c:pt>
                <c:pt idx="9076">
                  <c:v>4.9833753179317908</c:v>
                </c:pt>
                <c:pt idx="9077">
                  <c:v>5.0799698937812723</c:v>
                </c:pt>
                <c:pt idx="9078">
                  <c:v>5.0734148681805431</c:v>
                </c:pt>
                <c:pt idx="9079">
                  <c:v>6.0132168659631438</c:v>
                </c:pt>
                <c:pt idx="9080">
                  <c:v>6.1210316809146574</c:v>
                </c:pt>
                <c:pt idx="9081">
                  <c:v>5.0015280122231136</c:v>
                </c:pt>
                <c:pt idx="9082">
                  <c:v>5.0506538132393546</c:v>
                </c:pt>
                <c:pt idx="9083">
                  <c:v>5.1641262276463573</c:v>
                </c:pt>
                <c:pt idx="9084">
                  <c:v>5.8292945680320836</c:v>
                </c:pt>
                <c:pt idx="9085">
                  <c:v>5.1780246043882894</c:v>
                </c:pt>
                <c:pt idx="9086">
                  <c:v>5.8533717881315726</c:v>
                </c:pt>
                <c:pt idx="9087">
                  <c:v>5.0902328997372397</c:v>
                </c:pt>
                <c:pt idx="9088">
                  <c:v>5.0045804096432009</c:v>
                </c:pt>
                <c:pt idx="9089">
                  <c:v>4.935289204451224</c:v>
                </c:pt>
                <c:pt idx="9090">
                  <c:v>5.0846843161435427</c:v>
                </c:pt>
                <c:pt idx="9091">
                  <c:v>4.8942804559051369</c:v>
                </c:pt>
                <c:pt idx="9092">
                  <c:v>7.0327068253092602</c:v>
                </c:pt>
                <c:pt idx="9093">
                  <c:v>4.7734727163345019</c:v>
                </c:pt>
                <c:pt idx="9094">
                  <c:v>5.0604883374296028</c:v>
                </c:pt>
                <c:pt idx="9095">
                  <c:v>5.0574523655353607</c:v>
                </c:pt>
                <c:pt idx="9096">
                  <c:v>4.9990918877053447</c:v>
                </c:pt>
                <c:pt idx="9097">
                  <c:v>6.0894869564088951</c:v>
                </c:pt>
                <c:pt idx="9098">
                  <c:v>4.9707311072177269</c:v>
                </c:pt>
                <c:pt idx="9099">
                  <c:v>5.0884044981790906</c:v>
                </c:pt>
                <c:pt idx="9100">
                  <c:v>5.0013721861734464</c:v>
                </c:pt>
                <c:pt idx="9101">
                  <c:v>4.9359515392109792</c:v>
                </c:pt>
                <c:pt idx="9102">
                  <c:v>4.9602377567926519</c:v>
                </c:pt>
                <c:pt idx="9103">
                  <c:v>1.9652324905492513</c:v>
                </c:pt>
                <c:pt idx="9104">
                  <c:v>5.1492463928666972</c:v>
                </c:pt>
                <c:pt idx="9105">
                  <c:v>4.8965504043605268</c:v>
                </c:pt>
                <c:pt idx="9106">
                  <c:v>4.841921163900305</c:v>
                </c:pt>
                <c:pt idx="9107">
                  <c:v>5.0523765311961881</c:v>
                </c:pt>
                <c:pt idx="9108">
                  <c:v>6.0069974876502883</c:v>
                </c:pt>
                <c:pt idx="9109">
                  <c:v>6.0897969628800865</c:v>
                </c:pt>
                <c:pt idx="9110">
                  <c:v>4.8954345403447048</c:v>
                </c:pt>
                <c:pt idx="9111">
                  <c:v>5.0281560771016212</c:v>
                </c:pt>
                <c:pt idx="9112">
                  <c:v>4.9753767388466228</c:v>
                </c:pt>
                <c:pt idx="9113">
                  <c:v>4.9207892369803767</c:v>
                </c:pt>
                <c:pt idx="9114">
                  <c:v>5.074798942273909</c:v>
                </c:pt>
                <c:pt idx="9115">
                  <c:v>5.0060972133688209</c:v>
                </c:pt>
                <c:pt idx="9116">
                  <c:v>6.977639197093449</c:v>
                </c:pt>
                <c:pt idx="9117">
                  <c:v>4.8575126087877631</c:v>
                </c:pt>
                <c:pt idx="9118">
                  <c:v>4.9052867594186056</c:v>
                </c:pt>
                <c:pt idx="9119">
                  <c:v>5.1983405559553111</c:v>
                </c:pt>
                <c:pt idx="9120">
                  <c:v>6.0502863015253983</c:v>
                </c:pt>
                <c:pt idx="9121">
                  <c:v>5.944601635701793</c:v>
                </c:pt>
                <c:pt idx="9122">
                  <c:v>5.0579272497359469</c:v>
                </c:pt>
                <c:pt idx="9123">
                  <c:v>5.0933023876333516</c:v>
                </c:pt>
                <c:pt idx="9124">
                  <c:v>5.8157698364019668</c:v>
                </c:pt>
                <c:pt idx="9125">
                  <c:v>5.8673176689382176</c:v>
                </c:pt>
                <c:pt idx="9126">
                  <c:v>6.0654129035411515</c:v>
                </c:pt>
                <c:pt idx="9127">
                  <c:v>4.9413663250039912</c:v>
                </c:pt>
                <c:pt idx="9128">
                  <c:v>5.760665379055796</c:v>
                </c:pt>
                <c:pt idx="9129">
                  <c:v>5.1137298849021207</c:v>
                </c:pt>
                <c:pt idx="9130">
                  <c:v>5.0264623851151002</c:v>
                </c:pt>
                <c:pt idx="9131">
                  <c:v>4.8083903968351889</c:v>
                </c:pt>
                <c:pt idx="9132">
                  <c:v>4.8286850546943674</c:v>
                </c:pt>
                <c:pt idx="9133">
                  <c:v>5.1116872800569535</c:v>
                </c:pt>
                <c:pt idx="9134">
                  <c:v>5.1846179459948738</c:v>
                </c:pt>
                <c:pt idx="9135">
                  <c:v>4.979039547728477</c:v>
                </c:pt>
                <c:pt idx="9136">
                  <c:v>5.0463275338221729</c:v>
                </c:pt>
                <c:pt idx="9137">
                  <c:v>4.8864945143453342</c:v>
                </c:pt>
                <c:pt idx="9138">
                  <c:v>4.9197428142090409</c:v>
                </c:pt>
                <c:pt idx="9139">
                  <c:v>4.907203483343678</c:v>
                </c:pt>
                <c:pt idx="9140">
                  <c:v>5.92474083414454</c:v>
                </c:pt>
                <c:pt idx="9141">
                  <c:v>4.8827660657244225</c:v>
                </c:pt>
                <c:pt idx="9142">
                  <c:v>5.0257380647780865</c:v>
                </c:pt>
                <c:pt idx="9143">
                  <c:v>5.0543116663814445</c:v>
                </c:pt>
                <c:pt idx="9144">
                  <c:v>4.9336444719230128</c:v>
                </c:pt>
                <c:pt idx="9145">
                  <c:v>5.0409888858238041</c:v>
                </c:pt>
                <c:pt idx="9146">
                  <c:v>5.0181683811498603</c:v>
                </c:pt>
                <c:pt idx="9147">
                  <c:v>4.9881011456871169</c:v>
                </c:pt>
                <c:pt idx="9148">
                  <c:v>5.84338472061917</c:v>
                </c:pt>
                <c:pt idx="9149">
                  <c:v>6.9053624408949004</c:v>
                </c:pt>
                <c:pt idx="9150">
                  <c:v>5.1521105505146565</c:v>
                </c:pt>
                <c:pt idx="9151">
                  <c:v>4.9743464365385472</c:v>
                </c:pt>
                <c:pt idx="9152">
                  <c:v>5.1758905144281577</c:v>
                </c:pt>
                <c:pt idx="9153">
                  <c:v>5.8768191125167961</c:v>
                </c:pt>
                <c:pt idx="9154">
                  <c:v>5.0629539412248885</c:v>
                </c:pt>
                <c:pt idx="9155">
                  <c:v>5.9201216911733523</c:v>
                </c:pt>
                <c:pt idx="9156">
                  <c:v>4.8696771751663874</c:v>
                </c:pt>
                <c:pt idx="9157">
                  <c:v>5.0352212334509927</c:v>
                </c:pt>
                <c:pt idx="9158">
                  <c:v>5.0132644302007563</c:v>
                </c:pt>
                <c:pt idx="9159">
                  <c:v>6.1984064753421535</c:v>
                </c:pt>
                <c:pt idx="9160">
                  <c:v>4.879153099411818</c:v>
                </c:pt>
                <c:pt idx="9161">
                  <c:v>6.0035390011039631</c:v>
                </c:pt>
                <c:pt idx="9162">
                  <c:v>4.9515427052223551</c:v>
                </c:pt>
                <c:pt idx="9163">
                  <c:v>5.9990862108375849</c:v>
                </c:pt>
                <c:pt idx="9164">
                  <c:v>5.2007991399967572</c:v>
                </c:pt>
                <c:pt idx="9165">
                  <c:v>5.9074067937875636</c:v>
                </c:pt>
                <c:pt idx="9166">
                  <c:v>4.9851560298913205</c:v>
                </c:pt>
                <c:pt idx="9167">
                  <c:v>4.94726079576317</c:v>
                </c:pt>
                <c:pt idx="9168">
                  <c:v>4.8950929397927521</c:v>
                </c:pt>
                <c:pt idx="9169">
                  <c:v>6.1149383055710604</c:v>
                </c:pt>
                <c:pt idx="9170">
                  <c:v>4.8913588059881867</c:v>
                </c:pt>
                <c:pt idx="9171">
                  <c:v>6.1748124125736359</c:v>
                </c:pt>
                <c:pt idx="9172">
                  <c:v>6.062689892108188</c:v>
                </c:pt>
                <c:pt idx="9173">
                  <c:v>5.0114209979104647</c:v>
                </c:pt>
                <c:pt idx="9174">
                  <c:v>5.0704786609995338</c:v>
                </c:pt>
                <c:pt idx="9175">
                  <c:v>4.9060871799719221</c:v>
                </c:pt>
                <c:pt idx="9176">
                  <c:v>5.9384727398874571</c:v>
                </c:pt>
                <c:pt idx="9177">
                  <c:v>5.0754239647808594</c:v>
                </c:pt>
                <c:pt idx="9178">
                  <c:v>5.0243823576799782</c:v>
                </c:pt>
                <c:pt idx="9179">
                  <c:v>6.0346073214375675</c:v>
                </c:pt>
                <c:pt idx="9180">
                  <c:v>4.7615624388540461</c:v>
                </c:pt>
                <c:pt idx="9181">
                  <c:v>5.0290265160631789</c:v>
                </c:pt>
                <c:pt idx="9182">
                  <c:v>5.1339793659797808</c:v>
                </c:pt>
                <c:pt idx="9183">
                  <c:v>4.7651943548694424</c:v>
                </c:pt>
                <c:pt idx="9184">
                  <c:v>5.1022664215451599</c:v>
                </c:pt>
                <c:pt idx="9185">
                  <c:v>4.9982969107851432</c:v>
                </c:pt>
                <c:pt idx="9186">
                  <c:v>4.9312089789805604</c:v>
                </c:pt>
                <c:pt idx="9187">
                  <c:v>4.9830559722730587</c:v>
                </c:pt>
                <c:pt idx="9188">
                  <c:v>5.9744943196736946</c:v>
                </c:pt>
                <c:pt idx="9189">
                  <c:v>5.0559170998016745</c:v>
                </c:pt>
                <c:pt idx="9190">
                  <c:v>5.0421694339940926</c:v>
                </c:pt>
                <c:pt idx="9191">
                  <c:v>5.9317977086735452</c:v>
                </c:pt>
                <c:pt idx="9192">
                  <c:v>5.126891680598761</c:v>
                </c:pt>
                <c:pt idx="9193">
                  <c:v>4.9558255811045244</c:v>
                </c:pt>
                <c:pt idx="9194">
                  <c:v>4.9534695957059149</c:v>
                </c:pt>
                <c:pt idx="9195">
                  <c:v>5.113319833569463</c:v>
                </c:pt>
                <c:pt idx="9196">
                  <c:v>5.0095782607350348</c:v>
                </c:pt>
                <c:pt idx="9197">
                  <c:v>5.1512414851574073</c:v>
                </c:pt>
                <c:pt idx="9198">
                  <c:v>5.8936674514187635</c:v>
                </c:pt>
                <c:pt idx="9199">
                  <c:v>4.8226268317207035</c:v>
                </c:pt>
                <c:pt idx="9200">
                  <c:v>6.0877862815040764</c:v>
                </c:pt>
                <c:pt idx="9201">
                  <c:v>5.0267086265376433</c:v>
                </c:pt>
                <c:pt idx="9202">
                  <c:v>5.9003344195845431</c:v>
                </c:pt>
                <c:pt idx="9203">
                  <c:v>5.1518422722197244</c:v>
                </c:pt>
                <c:pt idx="9204">
                  <c:v>4.9044825743566056</c:v>
                </c:pt>
                <c:pt idx="9205">
                  <c:v>5.0534883502141996</c:v>
                </c:pt>
                <c:pt idx="9206">
                  <c:v>4.9952376099281137</c:v>
                </c:pt>
                <c:pt idx="9207">
                  <c:v>4.8278242128620139</c:v>
                </c:pt>
                <c:pt idx="9208">
                  <c:v>5.9904413116034423</c:v>
                </c:pt>
                <c:pt idx="9209">
                  <c:v>5.9523237396859416</c:v>
                </c:pt>
                <c:pt idx="9210">
                  <c:v>4.9202484952031851</c:v>
                </c:pt>
                <c:pt idx="9211">
                  <c:v>4.9098074214841532</c:v>
                </c:pt>
                <c:pt idx="9212">
                  <c:v>4.995320640586951</c:v>
                </c:pt>
                <c:pt idx="9213">
                  <c:v>5.1953761932819473</c:v>
                </c:pt>
                <c:pt idx="9214">
                  <c:v>4.9551814937108647</c:v>
                </c:pt>
                <c:pt idx="9215">
                  <c:v>6.0959400523193095</c:v>
                </c:pt>
                <c:pt idx="9216">
                  <c:v>5.0505126156424298</c:v>
                </c:pt>
                <c:pt idx="9217">
                  <c:v>6.7982535747578767</c:v>
                </c:pt>
                <c:pt idx="9218">
                  <c:v>4.936130507289489</c:v>
                </c:pt>
                <c:pt idx="9219">
                  <c:v>4.9711533956331424</c:v>
                </c:pt>
                <c:pt idx="9220">
                  <c:v>5.8913825521629635</c:v>
                </c:pt>
                <c:pt idx="9221">
                  <c:v>6.123990644657197</c:v>
                </c:pt>
                <c:pt idx="9222">
                  <c:v>5.9430967567856507</c:v>
                </c:pt>
                <c:pt idx="9223">
                  <c:v>4.9159177774891889</c:v>
                </c:pt>
                <c:pt idx="9224">
                  <c:v>6.9783491697306932</c:v>
                </c:pt>
                <c:pt idx="9225">
                  <c:v>6.819923528556636</c:v>
                </c:pt>
                <c:pt idx="9226">
                  <c:v>7.0264837542498224</c:v>
                </c:pt>
                <c:pt idx="9227">
                  <c:v>7.2212306922641485</c:v>
                </c:pt>
                <c:pt idx="9228">
                  <c:v>7.1322964877669977</c:v>
                </c:pt>
                <c:pt idx="9229">
                  <c:v>4.8988286640818606</c:v>
                </c:pt>
                <c:pt idx="9230">
                  <c:v>5.965990876840519</c:v>
                </c:pt>
                <c:pt idx="9231">
                  <c:v>6.0824284241729822</c:v>
                </c:pt>
                <c:pt idx="9232">
                  <c:v>5.9609466760512833</c:v>
                </c:pt>
                <c:pt idx="9233">
                  <c:v>4.9358463559301686</c:v>
                </c:pt>
                <c:pt idx="9234">
                  <c:v>4.9217866956964205</c:v>
                </c:pt>
                <c:pt idx="9235">
                  <c:v>4.9910345686094129</c:v>
                </c:pt>
                <c:pt idx="9236">
                  <c:v>4.9351293307671256</c:v>
                </c:pt>
                <c:pt idx="9237">
                  <c:v>6.0525613689525581</c:v>
                </c:pt>
                <c:pt idx="9238">
                  <c:v>5.013396047052562</c:v>
                </c:pt>
                <c:pt idx="9239">
                  <c:v>5.9534417781258133</c:v>
                </c:pt>
                <c:pt idx="9240">
                  <c:v>6.0782418826407891</c:v>
                </c:pt>
                <c:pt idx="9241">
                  <c:v>7.0098061898427888</c:v>
                </c:pt>
                <c:pt idx="9242">
                  <c:v>5.0931413774104639</c:v>
                </c:pt>
                <c:pt idx="9243">
                  <c:v>5.9916275678218067</c:v>
                </c:pt>
                <c:pt idx="9244">
                  <c:v>5.8558648692676467</c:v>
                </c:pt>
                <c:pt idx="9245">
                  <c:v>6.9118542929523468</c:v>
                </c:pt>
                <c:pt idx="9246">
                  <c:v>6.9151547689088293</c:v>
                </c:pt>
                <c:pt idx="9247">
                  <c:v>5.9070295668716364</c:v>
                </c:pt>
                <c:pt idx="9248">
                  <c:v>5.0124381250185097</c:v>
                </c:pt>
                <c:pt idx="9249">
                  <c:v>4.9680217720442208</c:v>
                </c:pt>
                <c:pt idx="9250">
                  <c:v>6.0253115372761048</c:v>
                </c:pt>
                <c:pt idx="9251">
                  <c:v>4.8629252302789272</c:v>
                </c:pt>
                <c:pt idx="9252">
                  <c:v>6.0356097553294363</c:v>
                </c:pt>
                <c:pt idx="9253">
                  <c:v>5.0908928267038069</c:v>
                </c:pt>
                <c:pt idx="9254">
                  <c:v>6.072088852437366</c:v>
                </c:pt>
                <c:pt idx="9255">
                  <c:v>5.9960255142441632</c:v>
                </c:pt>
                <c:pt idx="9256">
                  <c:v>5.0631769648584868</c:v>
                </c:pt>
                <c:pt idx="9257">
                  <c:v>5.9947852361991023</c:v>
                </c:pt>
                <c:pt idx="9258">
                  <c:v>4.963343986983217</c:v>
                </c:pt>
                <c:pt idx="9259">
                  <c:v>5.9781614497780691</c:v>
                </c:pt>
                <c:pt idx="9260">
                  <c:v>5.9599792322023806</c:v>
                </c:pt>
                <c:pt idx="9261">
                  <c:v>5.0916873136110246</c:v>
                </c:pt>
                <c:pt idx="9262">
                  <c:v>6.0592801844267186</c:v>
                </c:pt>
                <c:pt idx="9263">
                  <c:v>4.9795048786606344</c:v>
                </c:pt>
                <c:pt idx="9264">
                  <c:v>4.936060745339506</c:v>
                </c:pt>
                <c:pt idx="9265">
                  <c:v>5.9842640098709321</c:v>
                </c:pt>
                <c:pt idx="9266">
                  <c:v>4.9561866085004649</c:v>
                </c:pt>
                <c:pt idx="9267">
                  <c:v>5.0068345151649769</c:v>
                </c:pt>
                <c:pt idx="9268">
                  <c:v>5.0698343379115398</c:v>
                </c:pt>
                <c:pt idx="9269">
                  <c:v>6.0475735499901253</c:v>
                </c:pt>
                <c:pt idx="9270">
                  <c:v>5.9195521539601765</c:v>
                </c:pt>
                <c:pt idx="9271">
                  <c:v>6.0678515603030245</c:v>
                </c:pt>
                <c:pt idx="9272">
                  <c:v>5.9659507944502748</c:v>
                </c:pt>
                <c:pt idx="9273">
                  <c:v>5.8113259909408503</c:v>
                </c:pt>
                <c:pt idx="9274">
                  <c:v>6.16223996310001</c:v>
                </c:pt>
                <c:pt idx="9275">
                  <c:v>6.1303773471199818</c:v>
                </c:pt>
                <c:pt idx="9276">
                  <c:v>4.8988540399343492</c:v>
                </c:pt>
                <c:pt idx="9277">
                  <c:v>6.0126380948792963</c:v>
                </c:pt>
                <c:pt idx="9278">
                  <c:v>5.9775322815971892</c:v>
                </c:pt>
                <c:pt idx="9279">
                  <c:v>6.0189517776498791</c:v>
                </c:pt>
                <c:pt idx="9280">
                  <c:v>6.0001003367741044</c:v>
                </c:pt>
                <c:pt idx="9281">
                  <c:v>6.091878978186763</c:v>
                </c:pt>
                <c:pt idx="9282">
                  <c:v>5.966725334998773</c:v>
                </c:pt>
                <c:pt idx="9283">
                  <c:v>5.8922503633546492</c:v>
                </c:pt>
                <c:pt idx="9284">
                  <c:v>5.1142940431340733</c:v>
                </c:pt>
                <c:pt idx="9285">
                  <c:v>5.9708040850066677</c:v>
                </c:pt>
                <c:pt idx="9286">
                  <c:v>5.932390177549383</c:v>
                </c:pt>
                <c:pt idx="9287">
                  <c:v>5.0478620677842221</c:v>
                </c:pt>
                <c:pt idx="9288">
                  <c:v>4.911727142565633</c:v>
                </c:pt>
                <c:pt idx="9289">
                  <c:v>4.7877877261274264</c:v>
                </c:pt>
                <c:pt idx="9290">
                  <c:v>3.0443314972664393</c:v>
                </c:pt>
                <c:pt idx="9291">
                  <c:v>4.9588591502023647</c:v>
                </c:pt>
                <c:pt idx="9292">
                  <c:v>6.0835641850051818</c:v>
                </c:pt>
                <c:pt idx="9293">
                  <c:v>6.0096906112777724</c:v>
                </c:pt>
                <c:pt idx="9294">
                  <c:v>5.0121563897600403</c:v>
                </c:pt>
                <c:pt idx="9295">
                  <c:v>5.0145371174536519</c:v>
                </c:pt>
                <c:pt idx="9296">
                  <c:v>4.9699383488170223</c:v>
                </c:pt>
                <c:pt idx="9297">
                  <c:v>5.9919446152186477</c:v>
                </c:pt>
                <c:pt idx="9298">
                  <c:v>5.0206349491492386</c:v>
                </c:pt>
                <c:pt idx="9299">
                  <c:v>6.16518012835727</c:v>
                </c:pt>
                <c:pt idx="9300">
                  <c:v>5.0438277438935604</c:v>
                </c:pt>
                <c:pt idx="9301">
                  <c:v>6.0467713359918793</c:v>
                </c:pt>
                <c:pt idx="9302">
                  <c:v>5.9937724442437128</c:v>
                </c:pt>
                <c:pt idx="9303">
                  <c:v>6.1409783950244954</c:v>
                </c:pt>
                <c:pt idx="9304">
                  <c:v>5.6491192386771996</c:v>
                </c:pt>
                <c:pt idx="9305">
                  <c:v>4.9796963064816291</c:v>
                </c:pt>
                <c:pt idx="9306">
                  <c:v>4.9712182293008924</c:v>
                </c:pt>
                <c:pt idx="9307">
                  <c:v>6.1097622266031415</c:v>
                </c:pt>
                <c:pt idx="9308">
                  <c:v>4.9880672713242848</c:v>
                </c:pt>
                <c:pt idx="9309">
                  <c:v>6.066688142145618</c:v>
                </c:pt>
                <c:pt idx="9310">
                  <c:v>6.0155734585662097</c:v>
                </c:pt>
                <c:pt idx="9311">
                  <c:v>4.974341323964528</c:v>
                </c:pt>
                <c:pt idx="9312">
                  <c:v>5.1110488558643299</c:v>
                </c:pt>
                <c:pt idx="9313">
                  <c:v>5.8734960506337037</c:v>
                </c:pt>
                <c:pt idx="9314">
                  <c:v>6.0590733059181536</c:v>
                </c:pt>
                <c:pt idx="9315">
                  <c:v>5.8781416755201166</c:v>
                </c:pt>
                <c:pt idx="9316">
                  <c:v>6.0775595411943337</c:v>
                </c:pt>
                <c:pt idx="9317">
                  <c:v>4.9817427254534259</c:v>
                </c:pt>
                <c:pt idx="9318">
                  <c:v>6.0850642948938019</c:v>
                </c:pt>
                <c:pt idx="9319">
                  <c:v>6.0222462006700068</c:v>
                </c:pt>
                <c:pt idx="9320">
                  <c:v>7.1687699124276172</c:v>
                </c:pt>
                <c:pt idx="9321">
                  <c:v>5.0180026259660941</c:v>
                </c:pt>
                <c:pt idx="9322">
                  <c:v>5.8997947166241573</c:v>
                </c:pt>
                <c:pt idx="9323">
                  <c:v>5.1592475641045077</c:v>
                </c:pt>
                <c:pt idx="9324">
                  <c:v>5.727322212867838</c:v>
                </c:pt>
                <c:pt idx="9325">
                  <c:v>5.8266527225218541</c:v>
                </c:pt>
                <c:pt idx="9326">
                  <c:v>5.962107935359402</c:v>
                </c:pt>
                <c:pt idx="9327">
                  <c:v>6.0301380242274298</c:v>
                </c:pt>
                <c:pt idx="9328">
                  <c:v>5.0383019303533771</c:v>
                </c:pt>
                <c:pt idx="9329">
                  <c:v>6.0006152040786045</c:v>
                </c:pt>
                <c:pt idx="9330">
                  <c:v>5.1640539197581772</c:v>
                </c:pt>
                <c:pt idx="9331">
                  <c:v>6.1230434043385014</c:v>
                </c:pt>
                <c:pt idx="9332">
                  <c:v>4.859172498576819</c:v>
                </c:pt>
                <c:pt idx="9333">
                  <c:v>5.043285583949638</c:v>
                </c:pt>
                <c:pt idx="9334">
                  <c:v>5.0609657403461457</c:v>
                </c:pt>
                <c:pt idx="9335">
                  <c:v>6.0029110910060881</c:v>
                </c:pt>
                <c:pt idx="9336">
                  <c:v>6.0484794124253849</c:v>
                </c:pt>
                <c:pt idx="9337">
                  <c:v>5.0251730416899161</c:v>
                </c:pt>
                <c:pt idx="9338">
                  <c:v>6.1497489374420784</c:v>
                </c:pt>
                <c:pt idx="9339">
                  <c:v>4.9762685987647854</c:v>
                </c:pt>
                <c:pt idx="9340">
                  <c:v>5.0460297381213683</c:v>
                </c:pt>
                <c:pt idx="9341">
                  <c:v>4.8542853845834495</c:v>
                </c:pt>
                <c:pt idx="9342">
                  <c:v>5.9186971137192748</c:v>
                </c:pt>
                <c:pt idx="9343">
                  <c:v>7.1483610124072907</c:v>
                </c:pt>
                <c:pt idx="9344">
                  <c:v>5.017957366621749</c:v>
                </c:pt>
                <c:pt idx="9345">
                  <c:v>4.7582987384084054</c:v>
                </c:pt>
                <c:pt idx="9346">
                  <c:v>6.0295654235924658</c:v>
                </c:pt>
                <c:pt idx="9347">
                  <c:v>5.7924074729920614</c:v>
                </c:pt>
                <c:pt idx="9348">
                  <c:v>5.9927749906925296</c:v>
                </c:pt>
                <c:pt idx="9349">
                  <c:v>5.8865165230790906</c:v>
                </c:pt>
                <c:pt idx="9350">
                  <c:v>4.94992660829468</c:v>
                </c:pt>
                <c:pt idx="9351">
                  <c:v>5.1197853878263286</c:v>
                </c:pt>
                <c:pt idx="9352">
                  <c:v>4.998841033835248</c:v>
                </c:pt>
                <c:pt idx="9353">
                  <c:v>5.0086743802374549</c:v>
                </c:pt>
                <c:pt idx="9354">
                  <c:v>6.1244157789363234</c:v>
                </c:pt>
                <c:pt idx="9355">
                  <c:v>5.1619185383863364</c:v>
                </c:pt>
                <c:pt idx="9356">
                  <c:v>5.9748696037015314</c:v>
                </c:pt>
                <c:pt idx="9357">
                  <c:v>4.8319114053278902</c:v>
                </c:pt>
                <c:pt idx="9358">
                  <c:v>5.9032899980647784</c:v>
                </c:pt>
                <c:pt idx="9359">
                  <c:v>5.8093534641060636</c:v>
                </c:pt>
                <c:pt idx="9360">
                  <c:v>4.944420542490926</c:v>
                </c:pt>
                <c:pt idx="9361">
                  <c:v>4.974677621236741</c:v>
                </c:pt>
                <c:pt idx="9362">
                  <c:v>4.8860908503037326</c:v>
                </c:pt>
                <c:pt idx="9363">
                  <c:v>6.0462331014621133</c:v>
                </c:pt>
                <c:pt idx="9364">
                  <c:v>5.0131079295283403</c:v>
                </c:pt>
                <c:pt idx="9365">
                  <c:v>6.0472718834396648</c:v>
                </c:pt>
                <c:pt idx="9366">
                  <c:v>6.0178916151250714</c:v>
                </c:pt>
                <c:pt idx="9367">
                  <c:v>6.0985532431870997</c:v>
                </c:pt>
                <c:pt idx="9368">
                  <c:v>4.8497371364222293</c:v>
                </c:pt>
                <c:pt idx="9369">
                  <c:v>6.0306701118930741</c:v>
                </c:pt>
                <c:pt idx="9370">
                  <c:v>5.9628739728676772</c:v>
                </c:pt>
                <c:pt idx="9371">
                  <c:v>6.0866893236125019</c:v>
                </c:pt>
                <c:pt idx="9372">
                  <c:v>5.9849181822143542</c:v>
                </c:pt>
                <c:pt idx="9373">
                  <c:v>4.9432408516162099</c:v>
                </c:pt>
                <c:pt idx="9374">
                  <c:v>6.0073377403504562</c:v>
                </c:pt>
                <c:pt idx="9375">
                  <c:v>6.0795396587704325</c:v>
                </c:pt>
                <c:pt idx="9376">
                  <c:v>6.1988770399375381</c:v>
                </c:pt>
                <c:pt idx="9377">
                  <c:v>6.0936963421642165</c:v>
                </c:pt>
                <c:pt idx="9378">
                  <c:v>4.8766912464783259</c:v>
                </c:pt>
                <c:pt idx="9379">
                  <c:v>5.9210685562259293</c:v>
                </c:pt>
                <c:pt idx="9380">
                  <c:v>5.1468580075658856</c:v>
                </c:pt>
                <c:pt idx="9381">
                  <c:v>5.965437065317408</c:v>
                </c:pt>
                <c:pt idx="9382">
                  <c:v>5.8618327808661093</c:v>
                </c:pt>
                <c:pt idx="9383">
                  <c:v>6.0497089474108074</c:v>
                </c:pt>
                <c:pt idx="9384">
                  <c:v>5.8650465033693004</c:v>
                </c:pt>
                <c:pt idx="9385">
                  <c:v>4.9683421827614431</c:v>
                </c:pt>
                <c:pt idx="9386">
                  <c:v>6.0728867447576418</c:v>
                </c:pt>
                <c:pt idx="9387">
                  <c:v>5.9356576243735297</c:v>
                </c:pt>
                <c:pt idx="9388">
                  <c:v>5.892678259132917</c:v>
                </c:pt>
                <c:pt idx="9389">
                  <c:v>5.8870703990364346</c:v>
                </c:pt>
                <c:pt idx="9390">
                  <c:v>5.9812977516656813</c:v>
                </c:pt>
                <c:pt idx="9391">
                  <c:v>5.901371914502092</c:v>
                </c:pt>
                <c:pt idx="9392">
                  <c:v>5.9681184937314509</c:v>
                </c:pt>
                <c:pt idx="9393">
                  <c:v>5.1186195165358841</c:v>
                </c:pt>
                <c:pt idx="9394">
                  <c:v>6.13898026270373</c:v>
                </c:pt>
                <c:pt idx="9395">
                  <c:v>4.7873028217763958</c:v>
                </c:pt>
                <c:pt idx="9396">
                  <c:v>6.2240051873877942</c:v>
                </c:pt>
                <c:pt idx="9397">
                  <c:v>5.8730968818372613</c:v>
                </c:pt>
                <c:pt idx="9398">
                  <c:v>5.0951585610164836</c:v>
                </c:pt>
                <c:pt idx="9399">
                  <c:v>5.8445149400155625</c:v>
                </c:pt>
                <c:pt idx="9400">
                  <c:v>6.0672876701054239</c:v>
                </c:pt>
                <c:pt idx="9401">
                  <c:v>5.0025126943448619</c:v>
                </c:pt>
                <c:pt idx="9402">
                  <c:v>4.9275183963600995</c:v>
                </c:pt>
                <c:pt idx="9403">
                  <c:v>4.8414837230563572</c:v>
                </c:pt>
                <c:pt idx="9404">
                  <c:v>6.0354399938147134</c:v>
                </c:pt>
                <c:pt idx="9405">
                  <c:v>4.9242730873797687</c:v>
                </c:pt>
                <c:pt idx="9406">
                  <c:v>5.9692869501716102</c:v>
                </c:pt>
                <c:pt idx="9407">
                  <c:v>5.9081937323020357</c:v>
                </c:pt>
                <c:pt idx="9408">
                  <c:v>5.9881026818480887</c:v>
                </c:pt>
                <c:pt idx="9409">
                  <c:v>5.8626028930436629</c:v>
                </c:pt>
                <c:pt idx="9410">
                  <c:v>6.0726634212009776</c:v>
                </c:pt>
                <c:pt idx="9411">
                  <c:v>6.1008279470899494</c:v>
                </c:pt>
                <c:pt idx="9412">
                  <c:v>4.0983157321662453</c:v>
                </c:pt>
                <c:pt idx="9413">
                  <c:v>5.9241351602033134</c:v>
                </c:pt>
                <c:pt idx="9414">
                  <c:v>5.8522406191495548</c:v>
                </c:pt>
                <c:pt idx="9415">
                  <c:v>5.9292274945862697</c:v>
                </c:pt>
                <c:pt idx="9416">
                  <c:v>6.02459365493156</c:v>
                </c:pt>
                <c:pt idx="9417">
                  <c:v>4.9998318882748789</c:v>
                </c:pt>
                <c:pt idx="9418">
                  <c:v>5.9548801623229517</c:v>
                </c:pt>
                <c:pt idx="9419">
                  <c:v>5.0523177803060886</c:v>
                </c:pt>
                <c:pt idx="9420">
                  <c:v>5.9862928999208602</c:v>
                </c:pt>
                <c:pt idx="9421">
                  <c:v>6.1331476221448185</c:v>
                </c:pt>
                <c:pt idx="9422">
                  <c:v>6.1735851685575733</c:v>
                </c:pt>
                <c:pt idx="9423">
                  <c:v>6.0271286245625406</c:v>
                </c:pt>
                <c:pt idx="9424">
                  <c:v>6.0155762882011059</c:v>
                </c:pt>
                <c:pt idx="9425">
                  <c:v>6.1017216095410927</c:v>
                </c:pt>
                <c:pt idx="9426">
                  <c:v>6.188951324438662</c:v>
                </c:pt>
                <c:pt idx="9427">
                  <c:v>6.0239966096851738</c:v>
                </c:pt>
                <c:pt idx="9428">
                  <c:v>5.9555689637590232</c:v>
                </c:pt>
                <c:pt idx="9429">
                  <c:v>5.8562496868889387</c:v>
                </c:pt>
                <c:pt idx="9430">
                  <c:v>6.0483466838639339</c:v>
                </c:pt>
                <c:pt idx="9431">
                  <c:v>6.0192772795212939</c:v>
                </c:pt>
                <c:pt idx="9432">
                  <c:v>4.9777883743836515</c:v>
                </c:pt>
                <c:pt idx="9433">
                  <c:v>5.9586354891367979</c:v>
                </c:pt>
                <c:pt idx="9434">
                  <c:v>4.8361223390696884</c:v>
                </c:pt>
                <c:pt idx="9435">
                  <c:v>6.084970608438236</c:v>
                </c:pt>
                <c:pt idx="9436">
                  <c:v>5.8865146361122456</c:v>
                </c:pt>
                <c:pt idx="9437">
                  <c:v>6.1051929144906421</c:v>
                </c:pt>
                <c:pt idx="9438">
                  <c:v>5.9919165395456293</c:v>
                </c:pt>
                <c:pt idx="9439">
                  <c:v>4.9418020001555263</c:v>
                </c:pt>
                <c:pt idx="9440">
                  <c:v>4.9934960320644031</c:v>
                </c:pt>
                <c:pt idx="9441">
                  <c:v>4.8294048293705547</c:v>
                </c:pt>
                <c:pt idx="9442">
                  <c:v>5.9986397389417094</c:v>
                </c:pt>
                <c:pt idx="9443">
                  <c:v>4.9224710384517003</c:v>
                </c:pt>
                <c:pt idx="9444">
                  <c:v>4.983526642317563</c:v>
                </c:pt>
                <c:pt idx="9445">
                  <c:v>5.9023068263653631</c:v>
                </c:pt>
                <c:pt idx="9446">
                  <c:v>4.9509595686726096</c:v>
                </c:pt>
                <c:pt idx="9447">
                  <c:v>5.0406878847988121</c:v>
                </c:pt>
                <c:pt idx="9448">
                  <c:v>3.944428474241636</c:v>
                </c:pt>
                <c:pt idx="9449">
                  <c:v>4.8772675652542263</c:v>
                </c:pt>
                <c:pt idx="9450">
                  <c:v>5.0295985202303886</c:v>
                </c:pt>
                <c:pt idx="9451">
                  <c:v>5.991222960522026</c:v>
                </c:pt>
                <c:pt idx="9452">
                  <c:v>5.0238572087070175</c:v>
                </c:pt>
                <c:pt idx="9453">
                  <c:v>5.0039022052323521</c:v>
                </c:pt>
                <c:pt idx="9454">
                  <c:v>4.9105575625197364</c:v>
                </c:pt>
                <c:pt idx="9455">
                  <c:v>5.8844446975979068</c:v>
                </c:pt>
                <c:pt idx="9456">
                  <c:v>4.8682911275439258</c:v>
                </c:pt>
                <c:pt idx="9457">
                  <c:v>5.9168272364416641</c:v>
                </c:pt>
                <c:pt idx="9458">
                  <c:v>4.9781474785323772</c:v>
                </c:pt>
                <c:pt idx="9459">
                  <c:v>5.9187901304447603</c:v>
                </c:pt>
                <c:pt idx="9460">
                  <c:v>6.0824664752011763</c:v>
                </c:pt>
                <c:pt idx="9461">
                  <c:v>5.9701615462900461</c:v>
                </c:pt>
                <c:pt idx="9462">
                  <c:v>5.0633526791567514</c:v>
                </c:pt>
                <c:pt idx="9463">
                  <c:v>5.9859817763603003</c:v>
                </c:pt>
                <c:pt idx="9464">
                  <c:v>5.9327644301687847</c:v>
                </c:pt>
                <c:pt idx="9465">
                  <c:v>6.0193959178871701</c:v>
                </c:pt>
                <c:pt idx="9466">
                  <c:v>6.0480152408495238</c:v>
                </c:pt>
                <c:pt idx="9467">
                  <c:v>5.892620758566526</c:v>
                </c:pt>
                <c:pt idx="9468">
                  <c:v>4.9593261160462561</c:v>
                </c:pt>
                <c:pt idx="9469">
                  <c:v>5.0339024383377788</c:v>
                </c:pt>
                <c:pt idx="9470">
                  <c:v>6.9747470096034236</c:v>
                </c:pt>
                <c:pt idx="9471">
                  <c:v>6.1797834135758647</c:v>
                </c:pt>
                <c:pt idx="9472">
                  <c:v>6.055744862128547</c:v>
                </c:pt>
                <c:pt idx="9473">
                  <c:v>6.0702325482102601</c:v>
                </c:pt>
                <c:pt idx="9474">
                  <c:v>5.8720201799542799</c:v>
                </c:pt>
                <c:pt idx="9475">
                  <c:v>4.9212887463236585</c:v>
                </c:pt>
                <c:pt idx="9476">
                  <c:v>6.017745833084013</c:v>
                </c:pt>
                <c:pt idx="9477">
                  <c:v>5.8728716965703809</c:v>
                </c:pt>
                <c:pt idx="9478">
                  <c:v>4.9279353180752077</c:v>
                </c:pt>
                <c:pt idx="9479">
                  <c:v>5.896823810916457</c:v>
                </c:pt>
                <c:pt idx="9480">
                  <c:v>6.0209592050873892</c:v>
                </c:pt>
                <c:pt idx="9481">
                  <c:v>5.9425130241092994</c:v>
                </c:pt>
                <c:pt idx="9482">
                  <c:v>5.9970219417556097</c:v>
                </c:pt>
                <c:pt idx="9483">
                  <c:v>5.902975406976962</c:v>
                </c:pt>
                <c:pt idx="9484">
                  <c:v>6.0990103927841703</c:v>
                </c:pt>
                <c:pt idx="9485">
                  <c:v>5.9441090785823079</c:v>
                </c:pt>
                <c:pt idx="9486">
                  <c:v>4.8407165206106928</c:v>
                </c:pt>
                <c:pt idx="9487">
                  <c:v>5.8464847263406474</c:v>
                </c:pt>
                <c:pt idx="9488">
                  <c:v>6.0594434816779108</c:v>
                </c:pt>
                <c:pt idx="9489">
                  <c:v>5.8783215463549947</c:v>
                </c:pt>
                <c:pt idx="9490">
                  <c:v>4.8961706261176055</c:v>
                </c:pt>
                <c:pt idx="9491">
                  <c:v>5.9057774491675739</c:v>
                </c:pt>
                <c:pt idx="9492">
                  <c:v>4.8025896814363724</c:v>
                </c:pt>
                <c:pt idx="9493">
                  <c:v>4.9605271352716533</c:v>
                </c:pt>
                <c:pt idx="9494">
                  <c:v>5.0511146312201767</c:v>
                </c:pt>
                <c:pt idx="9495">
                  <c:v>4.9346550413121095</c:v>
                </c:pt>
                <c:pt idx="9496">
                  <c:v>4.9327605489555388</c:v>
                </c:pt>
                <c:pt idx="9497">
                  <c:v>5.995718074989469</c:v>
                </c:pt>
                <c:pt idx="9498">
                  <c:v>4.8849067093701732</c:v>
                </c:pt>
                <c:pt idx="9499">
                  <c:v>6.0365754923650128</c:v>
                </c:pt>
                <c:pt idx="9500">
                  <c:v>6.036800925990633</c:v>
                </c:pt>
                <c:pt idx="9501">
                  <c:v>4.8747267807066983</c:v>
                </c:pt>
                <c:pt idx="9502">
                  <c:v>4.9687127977523851</c:v>
                </c:pt>
                <c:pt idx="9503">
                  <c:v>5.0656815788410166</c:v>
                </c:pt>
                <c:pt idx="9504">
                  <c:v>6.0707220437024736</c:v>
                </c:pt>
                <c:pt idx="9505">
                  <c:v>5.9145971954181391</c:v>
                </c:pt>
                <c:pt idx="9506">
                  <c:v>5.0557517526136913</c:v>
                </c:pt>
                <c:pt idx="9507">
                  <c:v>5.959431969825232</c:v>
                </c:pt>
                <c:pt idx="9508">
                  <c:v>6.1848700086664126</c:v>
                </c:pt>
                <c:pt idx="9509">
                  <c:v>5.8667082503699151</c:v>
                </c:pt>
                <c:pt idx="9510">
                  <c:v>5.9181852003688293</c:v>
                </c:pt>
                <c:pt idx="9511">
                  <c:v>6.029076446819098</c:v>
                </c:pt>
                <c:pt idx="9512">
                  <c:v>6.1525325908279527</c:v>
                </c:pt>
                <c:pt idx="9513">
                  <c:v>5.8120550246068374</c:v>
                </c:pt>
                <c:pt idx="9514">
                  <c:v>4.8883970020390972</c:v>
                </c:pt>
                <c:pt idx="9515">
                  <c:v>6.0520354051160901</c:v>
                </c:pt>
                <c:pt idx="9516">
                  <c:v>4.9525113715187654</c:v>
                </c:pt>
                <c:pt idx="9517">
                  <c:v>6.0195973518185513</c:v>
                </c:pt>
                <c:pt idx="9518">
                  <c:v>5.9278846115272668</c:v>
                </c:pt>
                <c:pt idx="9519">
                  <c:v>5.1073301320138889</c:v>
                </c:pt>
                <c:pt idx="9520">
                  <c:v>4.9514607373193558</c:v>
                </c:pt>
                <c:pt idx="9521">
                  <c:v>5.7958484302220246</c:v>
                </c:pt>
                <c:pt idx="9522">
                  <c:v>5.045074540983264</c:v>
                </c:pt>
                <c:pt idx="9523">
                  <c:v>5.9652220770019806</c:v>
                </c:pt>
                <c:pt idx="9524">
                  <c:v>6.8501535741504789</c:v>
                </c:pt>
                <c:pt idx="9525">
                  <c:v>4.9898074275078157</c:v>
                </c:pt>
                <c:pt idx="9526">
                  <c:v>5.7628364470026261</c:v>
                </c:pt>
                <c:pt idx="9527">
                  <c:v>6.1535345874946374</c:v>
                </c:pt>
                <c:pt idx="9528">
                  <c:v>6.0573829297901893</c:v>
                </c:pt>
                <c:pt idx="9529">
                  <c:v>4.9881826378371406</c:v>
                </c:pt>
                <c:pt idx="9530">
                  <c:v>5.8905518022422259</c:v>
                </c:pt>
                <c:pt idx="9531">
                  <c:v>5.0367077371156883</c:v>
                </c:pt>
                <c:pt idx="9532">
                  <c:v>7.0388162323667567</c:v>
                </c:pt>
                <c:pt idx="9533">
                  <c:v>5.0281821866617369</c:v>
                </c:pt>
                <c:pt idx="9534">
                  <c:v>5.9448166602648591</c:v>
                </c:pt>
                <c:pt idx="9535">
                  <c:v>5.9798737756582199</c:v>
                </c:pt>
                <c:pt idx="9536">
                  <c:v>5.9033784679259913</c:v>
                </c:pt>
                <c:pt idx="9537">
                  <c:v>5.096351254112875</c:v>
                </c:pt>
                <c:pt idx="9538">
                  <c:v>6.0933889978036397</c:v>
                </c:pt>
                <c:pt idx="9539">
                  <c:v>6.0084276076294509</c:v>
                </c:pt>
                <c:pt idx="9540">
                  <c:v>6.1027717353372566</c:v>
                </c:pt>
                <c:pt idx="9541">
                  <c:v>5.9182599619453331</c:v>
                </c:pt>
                <c:pt idx="9542">
                  <c:v>6.0926164225820596</c:v>
                </c:pt>
                <c:pt idx="9543">
                  <c:v>6.0553965528202784</c:v>
                </c:pt>
                <c:pt idx="9544">
                  <c:v>4.9478018430459301</c:v>
                </c:pt>
                <c:pt idx="9545">
                  <c:v>4.958013815038858</c:v>
                </c:pt>
                <c:pt idx="9546">
                  <c:v>6.0062655402069467</c:v>
                </c:pt>
                <c:pt idx="9547">
                  <c:v>5.0830315078096611</c:v>
                </c:pt>
                <c:pt idx="9548">
                  <c:v>5.0241491775903544</c:v>
                </c:pt>
                <c:pt idx="9549">
                  <c:v>5.1764396542500366</c:v>
                </c:pt>
                <c:pt idx="9550">
                  <c:v>4.9761973238424728</c:v>
                </c:pt>
                <c:pt idx="9551">
                  <c:v>5.9069100976152944</c:v>
                </c:pt>
                <c:pt idx="9552">
                  <c:v>5.9872119891897846</c:v>
                </c:pt>
                <c:pt idx="9553">
                  <c:v>5.9545142207918174</c:v>
                </c:pt>
                <c:pt idx="9554">
                  <c:v>4.9129931260762216</c:v>
                </c:pt>
                <c:pt idx="9555">
                  <c:v>6.1074368603974589</c:v>
                </c:pt>
                <c:pt idx="9556">
                  <c:v>5.9868174790355839</c:v>
                </c:pt>
                <c:pt idx="9557">
                  <c:v>5.0625852847246193</c:v>
                </c:pt>
                <c:pt idx="9558">
                  <c:v>5.7997029589732678</c:v>
                </c:pt>
                <c:pt idx="9559">
                  <c:v>6.2164413936191032</c:v>
                </c:pt>
                <c:pt idx="9560">
                  <c:v>5.9769658218791397</c:v>
                </c:pt>
                <c:pt idx="9561">
                  <c:v>5.9307619361838153</c:v>
                </c:pt>
                <c:pt idx="9562">
                  <c:v>4.9730491138721389</c:v>
                </c:pt>
                <c:pt idx="9563">
                  <c:v>4.9367022279817441</c:v>
                </c:pt>
                <c:pt idx="9564">
                  <c:v>5.0604217405147311</c:v>
                </c:pt>
                <c:pt idx="9565">
                  <c:v>5.0752902489179421</c:v>
                </c:pt>
                <c:pt idx="9566">
                  <c:v>5.1079800478202282</c:v>
                </c:pt>
                <c:pt idx="9567">
                  <c:v>5.89585502920177</c:v>
                </c:pt>
                <c:pt idx="9568">
                  <c:v>5.9695042476128801</c:v>
                </c:pt>
                <c:pt idx="9569">
                  <c:v>4.8964764606295352</c:v>
                </c:pt>
                <c:pt idx="9570">
                  <c:v>5.8916186481867463</c:v>
                </c:pt>
                <c:pt idx="9571">
                  <c:v>5.1131915397386347</c:v>
                </c:pt>
                <c:pt idx="9572">
                  <c:v>7.2229033074165399</c:v>
                </c:pt>
                <c:pt idx="9573">
                  <c:v>4.9106854274989482</c:v>
                </c:pt>
                <c:pt idx="9574">
                  <c:v>5.959324814907494</c:v>
                </c:pt>
                <c:pt idx="9575">
                  <c:v>4.9173301765921025</c:v>
                </c:pt>
                <c:pt idx="9576">
                  <c:v>4.9281158798215232</c:v>
                </c:pt>
                <c:pt idx="9577">
                  <c:v>4.909810509952</c:v>
                </c:pt>
                <c:pt idx="9578">
                  <c:v>7.0499919844381411</c:v>
                </c:pt>
                <c:pt idx="9579">
                  <c:v>5.0346564740789335</c:v>
                </c:pt>
                <c:pt idx="9580">
                  <c:v>6.1680101060219474</c:v>
                </c:pt>
                <c:pt idx="9581">
                  <c:v>5.9869562134549374</c:v>
                </c:pt>
                <c:pt idx="9582">
                  <c:v>6.0944634497838654</c:v>
                </c:pt>
                <c:pt idx="9583">
                  <c:v>6.9416236674722462</c:v>
                </c:pt>
                <c:pt idx="9584">
                  <c:v>4.97809365948733</c:v>
                </c:pt>
                <c:pt idx="9585">
                  <c:v>6.0954520406739379</c:v>
                </c:pt>
                <c:pt idx="9586">
                  <c:v>5.1100323107031294</c:v>
                </c:pt>
                <c:pt idx="9587">
                  <c:v>4.875755286559782</c:v>
                </c:pt>
                <c:pt idx="9588">
                  <c:v>5.8645507332857765</c:v>
                </c:pt>
                <c:pt idx="9589">
                  <c:v>5.01134876832859</c:v>
                </c:pt>
                <c:pt idx="9590">
                  <c:v>4.9742169755061223</c:v>
                </c:pt>
                <c:pt idx="9591">
                  <c:v>4.9620506980466565</c:v>
                </c:pt>
                <c:pt idx="9592">
                  <c:v>4.8840745922839881</c:v>
                </c:pt>
                <c:pt idx="9593">
                  <c:v>4.8623253758850637</c:v>
                </c:pt>
                <c:pt idx="9594">
                  <c:v>5.9833208523981991</c:v>
                </c:pt>
                <c:pt idx="9595">
                  <c:v>4.8695541658142636</c:v>
                </c:pt>
                <c:pt idx="9596">
                  <c:v>4.9914489563769466</c:v>
                </c:pt>
                <c:pt idx="9597">
                  <c:v>5.9811449277498223</c:v>
                </c:pt>
                <c:pt idx="9598">
                  <c:v>5.9081567296161142</c:v>
                </c:pt>
                <c:pt idx="9599">
                  <c:v>6.0175823616327779</c:v>
                </c:pt>
                <c:pt idx="9600">
                  <c:v>5.198288968779508</c:v>
                </c:pt>
                <c:pt idx="9601">
                  <c:v>5.9712063654737317</c:v>
                </c:pt>
                <c:pt idx="9602">
                  <c:v>4.874666919640207</c:v>
                </c:pt>
                <c:pt idx="9603">
                  <c:v>5.0032475080935175</c:v>
                </c:pt>
                <c:pt idx="9604">
                  <c:v>5.191302973350588</c:v>
                </c:pt>
                <c:pt idx="9605">
                  <c:v>5.0671235851823093</c:v>
                </c:pt>
                <c:pt idx="9606">
                  <c:v>4.9608257349717055</c:v>
                </c:pt>
                <c:pt idx="9607">
                  <c:v>5.0771694301651884</c:v>
                </c:pt>
                <c:pt idx="9608">
                  <c:v>4.8773849698088254</c:v>
                </c:pt>
                <c:pt idx="9609">
                  <c:v>4.9341681318047375</c:v>
                </c:pt>
                <c:pt idx="9610">
                  <c:v>5.0470357347558075</c:v>
                </c:pt>
                <c:pt idx="9611">
                  <c:v>4.8803171246007571</c:v>
                </c:pt>
                <c:pt idx="9612">
                  <c:v>5.112508657072194</c:v>
                </c:pt>
                <c:pt idx="9613">
                  <c:v>6.0291298731421072</c:v>
                </c:pt>
                <c:pt idx="9614">
                  <c:v>6.0241011098763098</c:v>
                </c:pt>
                <c:pt idx="9615">
                  <c:v>4.8495104004409519</c:v>
                </c:pt>
                <c:pt idx="9616">
                  <c:v>4.8871614835024308</c:v>
                </c:pt>
                <c:pt idx="9617">
                  <c:v>5.1776936437651377</c:v>
                </c:pt>
                <c:pt idx="9618">
                  <c:v>6.037606003225978</c:v>
                </c:pt>
                <c:pt idx="9619">
                  <c:v>4.8898458086883165</c:v>
                </c:pt>
                <c:pt idx="9620">
                  <c:v>4.9679402881939128</c:v>
                </c:pt>
                <c:pt idx="9621">
                  <c:v>5.0942904879141482</c:v>
                </c:pt>
                <c:pt idx="9622">
                  <c:v>4.9860132981996319</c:v>
                </c:pt>
                <c:pt idx="9623">
                  <c:v>5.0565758450491884</c:v>
                </c:pt>
                <c:pt idx="9624">
                  <c:v>6.1440686774613367</c:v>
                </c:pt>
                <c:pt idx="9625">
                  <c:v>5.1052179101774673</c:v>
                </c:pt>
                <c:pt idx="9626">
                  <c:v>5.0491589518300533</c:v>
                </c:pt>
                <c:pt idx="9627">
                  <c:v>6.0123750036703036</c:v>
                </c:pt>
                <c:pt idx="9628">
                  <c:v>5.9902753861395981</c:v>
                </c:pt>
                <c:pt idx="9629">
                  <c:v>5.0886321256411993</c:v>
                </c:pt>
                <c:pt idx="9630">
                  <c:v>5.0313347782381364</c:v>
                </c:pt>
                <c:pt idx="9631">
                  <c:v>4.9124803058950981</c:v>
                </c:pt>
                <c:pt idx="9632">
                  <c:v>5.8976866242423487</c:v>
                </c:pt>
                <c:pt idx="9633">
                  <c:v>4.84761627809341</c:v>
                </c:pt>
                <c:pt idx="9634">
                  <c:v>4.8368340005499189</c:v>
                </c:pt>
                <c:pt idx="9635">
                  <c:v>5.984731997634622</c:v>
                </c:pt>
                <c:pt idx="9636">
                  <c:v>5.027724739599571</c:v>
                </c:pt>
                <c:pt idx="9637">
                  <c:v>4.1744310563943348</c:v>
                </c:pt>
                <c:pt idx="9638">
                  <c:v>3.9577292662010719</c:v>
                </c:pt>
                <c:pt idx="9639">
                  <c:v>6.0538970922257382</c:v>
                </c:pt>
                <c:pt idx="9640">
                  <c:v>4.903450830490339</c:v>
                </c:pt>
                <c:pt idx="9641">
                  <c:v>4.994189037171644</c:v>
                </c:pt>
                <c:pt idx="9642">
                  <c:v>5.0419981816805945</c:v>
                </c:pt>
                <c:pt idx="9643">
                  <c:v>6.0184929020275142</c:v>
                </c:pt>
                <c:pt idx="9644">
                  <c:v>6.0637274459309394</c:v>
                </c:pt>
                <c:pt idx="9645">
                  <c:v>5.0896405031641239</c:v>
                </c:pt>
                <c:pt idx="9646">
                  <c:v>6.0233967340870986</c:v>
                </c:pt>
                <c:pt idx="9647">
                  <c:v>5.1479324297306404</c:v>
                </c:pt>
                <c:pt idx="9648">
                  <c:v>4.9212749323737688</c:v>
                </c:pt>
                <c:pt idx="9649">
                  <c:v>4.9469616738614901</c:v>
                </c:pt>
                <c:pt idx="9650">
                  <c:v>4.9782707544500981</c:v>
                </c:pt>
                <c:pt idx="9651">
                  <c:v>5.2141645271826125</c:v>
                </c:pt>
                <c:pt idx="9652">
                  <c:v>6.9150795760375052</c:v>
                </c:pt>
                <c:pt idx="9653">
                  <c:v>5.9233506948836965</c:v>
                </c:pt>
                <c:pt idx="9654">
                  <c:v>4.8308054961409264</c:v>
                </c:pt>
                <c:pt idx="9655">
                  <c:v>6.112296889014071</c:v>
                </c:pt>
                <c:pt idx="9656">
                  <c:v>5.1404447643174871</c:v>
                </c:pt>
                <c:pt idx="9657">
                  <c:v>5.9721518245532135</c:v>
                </c:pt>
                <c:pt idx="9658">
                  <c:v>6.0877577865688375</c:v>
                </c:pt>
                <c:pt idx="9659">
                  <c:v>4.9153412271179153</c:v>
                </c:pt>
                <c:pt idx="9660">
                  <c:v>5.9907629328919318</c:v>
                </c:pt>
                <c:pt idx="9661">
                  <c:v>6.1488159384079548</c:v>
                </c:pt>
                <c:pt idx="9662">
                  <c:v>5.1659263377292293</c:v>
                </c:pt>
                <c:pt idx="9663">
                  <c:v>6.0667229014591664</c:v>
                </c:pt>
                <c:pt idx="9664">
                  <c:v>6.0836614166439951</c:v>
                </c:pt>
                <c:pt idx="9665">
                  <c:v>4.9253316826150408</c:v>
                </c:pt>
                <c:pt idx="9666">
                  <c:v>5.0768624288872024</c:v>
                </c:pt>
                <c:pt idx="9667">
                  <c:v>5.0346494847623173</c:v>
                </c:pt>
                <c:pt idx="9668">
                  <c:v>5.9704368783994832</c:v>
                </c:pt>
                <c:pt idx="9669">
                  <c:v>4.8174365782958191</c:v>
                </c:pt>
                <c:pt idx="9670">
                  <c:v>5.212637437375089</c:v>
                </c:pt>
                <c:pt idx="9671">
                  <c:v>5.9046818436135906</c:v>
                </c:pt>
                <c:pt idx="9672">
                  <c:v>4.9884676219646504</c:v>
                </c:pt>
                <c:pt idx="9673">
                  <c:v>6.0268604177681304</c:v>
                </c:pt>
                <c:pt idx="9674">
                  <c:v>5.8700013399919868</c:v>
                </c:pt>
                <c:pt idx="9675">
                  <c:v>6.1494510769544801</c:v>
                </c:pt>
                <c:pt idx="9676">
                  <c:v>6.0549535218244337</c:v>
                </c:pt>
                <c:pt idx="9677">
                  <c:v>5.9608687769394839</c:v>
                </c:pt>
                <c:pt idx="9678">
                  <c:v>5.948865511527166</c:v>
                </c:pt>
                <c:pt idx="9679">
                  <c:v>6.0563991640296857</c:v>
                </c:pt>
                <c:pt idx="9680">
                  <c:v>5.0618195095464946</c:v>
                </c:pt>
                <c:pt idx="9681">
                  <c:v>5.895462981265621</c:v>
                </c:pt>
                <c:pt idx="9682">
                  <c:v>4.0023356133864905</c:v>
                </c:pt>
                <c:pt idx="9683">
                  <c:v>4.0195888370899899</c:v>
                </c:pt>
                <c:pt idx="9684">
                  <c:v>6.8932439663567182</c:v>
                </c:pt>
                <c:pt idx="9685">
                  <c:v>5.9319840812289222</c:v>
                </c:pt>
                <c:pt idx="9686">
                  <c:v>6.0106733027640455</c:v>
                </c:pt>
                <c:pt idx="9687">
                  <c:v>5.9732357913415415</c:v>
                </c:pt>
                <c:pt idx="9688">
                  <c:v>6.1314103404013949</c:v>
                </c:pt>
                <c:pt idx="9689">
                  <c:v>5.9153728966973906</c:v>
                </c:pt>
                <c:pt idx="9690">
                  <c:v>6.2025711188714698</c:v>
                </c:pt>
                <c:pt idx="9691">
                  <c:v>5.8519443906149879</c:v>
                </c:pt>
                <c:pt idx="9692">
                  <c:v>6.1657510797163253</c:v>
                </c:pt>
                <c:pt idx="9693">
                  <c:v>5.1447120220490348</c:v>
                </c:pt>
                <c:pt idx="9694">
                  <c:v>5.0017707735617076</c:v>
                </c:pt>
                <c:pt idx="9695">
                  <c:v>5.1266142085281796</c:v>
                </c:pt>
                <c:pt idx="9696">
                  <c:v>4.9671457049824514</c:v>
                </c:pt>
                <c:pt idx="9697">
                  <c:v>5.0594448625168651</c:v>
                </c:pt>
                <c:pt idx="9698">
                  <c:v>4.8632927151421601</c:v>
                </c:pt>
                <c:pt idx="9699">
                  <c:v>5.9010825379645961</c:v>
                </c:pt>
                <c:pt idx="9700">
                  <c:v>5.001750966358073</c:v>
                </c:pt>
                <c:pt idx="9701">
                  <c:v>6.0402284179155439</c:v>
                </c:pt>
                <c:pt idx="9702">
                  <c:v>5.9830160766646543</c:v>
                </c:pt>
                <c:pt idx="9703">
                  <c:v>5.8424753190606129</c:v>
                </c:pt>
                <c:pt idx="9704">
                  <c:v>6.069950807879736</c:v>
                </c:pt>
                <c:pt idx="9705">
                  <c:v>6.0391263157196171</c:v>
                </c:pt>
                <c:pt idx="9706">
                  <c:v>6.0564201690562127</c:v>
                </c:pt>
                <c:pt idx="9707">
                  <c:v>5.0321259255561213</c:v>
                </c:pt>
                <c:pt idx="9708">
                  <c:v>4.0307375105215568</c:v>
                </c:pt>
                <c:pt idx="9709">
                  <c:v>4.8137673704146149</c:v>
                </c:pt>
                <c:pt idx="9710">
                  <c:v>5.9062480380493172</c:v>
                </c:pt>
                <c:pt idx="9711">
                  <c:v>5.1590251931376132</c:v>
                </c:pt>
                <c:pt idx="9712">
                  <c:v>5.9915768043177611</c:v>
                </c:pt>
                <c:pt idx="9713">
                  <c:v>5.9535546918861106</c:v>
                </c:pt>
                <c:pt idx="9714">
                  <c:v>5.9741507033697818</c:v>
                </c:pt>
                <c:pt idx="9715">
                  <c:v>6.0071455592914047</c:v>
                </c:pt>
                <c:pt idx="9716">
                  <c:v>2.910928797674746</c:v>
                </c:pt>
                <c:pt idx="9717">
                  <c:v>5.8545744685034675</c:v>
                </c:pt>
                <c:pt idx="9718">
                  <c:v>5.9939939577005674</c:v>
                </c:pt>
                <c:pt idx="9719">
                  <c:v>2.9094285139093632</c:v>
                </c:pt>
                <c:pt idx="9720">
                  <c:v>5.1022514293502459</c:v>
                </c:pt>
                <c:pt idx="9721">
                  <c:v>2.9703911315938614</c:v>
                </c:pt>
                <c:pt idx="9722">
                  <c:v>5.0450301965538467</c:v>
                </c:pt>
                <c:pt idx="9723">
                  <c:v>5.9875685542552928</c:v>
                </c:pt>
                <c:pt idx="9724">
                  <c:v>5.9322766514047212</c:v>
                </c:pt>
                <c:pt idx="9725">
                  <c:v>5.9382197137468946</c:v>
                </c:pt>
                <c:pt idx="9726">
                  <c:v>4.9375824157219146</c:v>
                </c:pt>
                <c:pt idx="9727">
                  <c:v>4.8856599388567332</c:v>
                </c:pt>
                <c:pt idx="9728">
                  <c:v>5.9735814021808373</c:v>
                </c:pt>
                <c:pt idx="9729">
                  <c:v>6.0663845087494552</c:v>
                </c:pt>
                <c:pt idx="9730">
                  <c:v>6.9092863659930241</c:v>
                </c:pt>
                <c:pt idx="9731">
                  <c:v>5.9505231250166597</c:v>
                </c:pt>
                <c:pt idx="9732">
                  <c:v>5.9630228614957552</c:v>
                </c:pt>
                <c:pt idx="9733">
                  <c:v>4.9484497463167596</c:v>
                </c:pt>
                <c:pt idx="9734">
                  <c:v>5.1166721484342945</c:v>
                </c:pt>
                <c:pt idx="9735">
                  <c:v>6.24630205695372</c:v>
                </c:pt>
                <c:pt idx="9736">
                  <c:v>4.9571740434828504</c:v>
                </c:pt>
                <c:pt idx="9737">
                  <c:v>5.9670102431938732</c:v>
                </c:pt>
                <c:pt idx="9738">
                  <c:v>6.0629113960026375</c:v>
                </c:pt>
                <c:pt idx="9739">
                  <c:v>6.0154910043138257</c:v>
                </c:pt>
                <c:pt idx="9740">
                  <c:v>6.0621850351185094</c:v>
                </c:pt>
                <c:pt idx="9741">
                  <c:v>5.9293206374421992</c:v>
                </c:pt>
                <c:pt idx="9742">
                  <c:v>5.9942309630383832</c:v>
                </c:pt>
                <c:pt idx="9743">
                  <c:v>6.8795675695445606</c:v>
                </c:pt>
                <c:pt idx="9744">
                  <c:v>6.0254596542420078</c:v>
                </c:pt>
                <c:pt idx="9745">
                  <c:v>6.0277643444637219</c:v>
                </c:pt>
                <c:pt idx="9746">
                  <c:v>5.9505226522633841</c:v>
                </c:pt>
                <c:pt idx="9747">
                  <c:v>6.0401224733741383</c:v>
                </c:pt>
                <c:pt idx="9748">
                  <c:v>5.0256835848171102</c:v>
                </c:pt>
                <c:pt idx="9749">
                  <c:v>4.9072874591944631</c:v>
                </c:pt>
                <c:pt idx="9750">
                  <c:v>4.8281322478726798</c:v>
                </c:pt>
                <c:pt idx="9751">
                  <c:v>6.1047456188203046</c:v>
                </c:pt>
                <c:pt idx="9752">
                  <c:v>5.0662739683800462</c:v>
                </c:pt>
                <c:pt idx="9753">
                  <c:v>5.087634730296803</c:v>
                </c:pt>
                <c:pt idx="9754">
                  <c:v>1.9318062446772142</c:v>
                </c:pt>
                <c:pt idx="9755">
                  <c:v>1.9606230070228625</c:v>
                </c:pt>
                <c:pt idx="9756">
                  <c:v>6.0218019749832177</c:v>
                </c:pt>
                <c:pt idx="9757">
                  <c:v>5.0144398548965166</c:v>
                </c:pt>
                <c:pt idx="9758">
                  <c:v>5.0871416233646904</c:v>
                </c:pt>
                <c:pt idx="9759">
                  <c:v>5.0024939107788811</c:v>
                </c:pt>
                <c:pt idx="9760">
                  <c:v>5.0325478315521313</c:v>
                </c:pt>
                <c:pt idx="9761">
                  <c:v>6.1428066109479307</c:v>
                </c:pt>
                <c:pt idx="9762">
                  <c:v>5.8764656030808284</c:v>
                </c:pt>
                <c:pt idx="9763">
                  <c:v>4.8256747870335932</c:v>
                </c:pt>
                <c:pt idx="9764">
                  <c:v>5.8732703808195392</c:v>
                </c:pt>
                <c:pt idx="9765">
                  <c:v>6.0765664350321851</c:v>
                </c:pt>
                <c:pt idx="9766">
                  <c:v>6.9280002187633194</c:v>
                </c:pt>
                <c:pt idx="9767">
                  <c:v>5.9583949927576425</c:v>
                </c:pt>
                <c:pt idx="9768">
                  <c:v>5.0469478070828515</c:v>
                </c:pt>
                <c:pt idx="9769">
                  <c:v>6.0455423603405762</c:v>
                </c:pt>
                <c:pt idx="9770">
                  <c:v>5.931844452027188</c:v>
                </c:pt>
                <c:pt idx="9771">
                  <c:v>6.0635631804431753</c:v>
                </c:pt>
                <c:pt idx="9772">
                  <c:v>6.0921419761633739</c:v>
                </c:pt>
                <c:pt idx="9773">
                  <c:v>5.9314542139130557</c:v>
                </c:pt>
                <c:pt idx="9774">
                  <c:v>6.0511470707270858</c:v>
                </c:pt>
                <c:pt idx="9775">
                  <c:v>5.980303433427606</c:v>
                </c:pt>
                <c:pt idx="9776">
                  <c:v>6.2146487476230359</c:v>
                </c:pt>
                <c:pt idx="9777">
                  <c:v>5.9994325056539299</c:v>
                </c:pt>
                <c:pt idx="9778">
                  <c:v>4.8369598595527599</c:v>
                </c:pt>
                <c:pt idx="9779">
                  <c:v>3.0798320571685172</c:v>
                </c:pt>
                <c:pt idx="9780">
                  <c:v>6.1223342654138149</c:v>
                </c:pt>
                <c:pt idx="9781">
                  <c:v>6.0319020264165752</c:v>
                </c:pt>
                <c:pt idx="9782">
                  <c:v>5.9828905367394878</c:v>
                </c:pt>
                <c:pt idx="9783">
                  <c:v>5.0001101872250047</c:v>
                </c:pt>
                <c:pt idx="9784">
                  <c:v>5.023035920134828</c:v>
                </c:pt>
                <c:pt idx="9785">
                  <c:v>5.9090265810320286</c:v>
                </c:pt>
                <c:pt idx="9786">
                  <c:v>6.1523296822791345</c:v>
                </c:pt>
                <c:pt idx="9787">
                  <c:v>6.0188021656956554</c:v>
                </c:pt>
                <c:pt idx="9788">
                  <c:v>5.9596734903953781</c:v>
                </c:pt>
                <c:pt idx="9789">
                  <c:v>5.8996267807317402</c:v>
                </c:pt>
                <c:pt idx="9790">
                  <c:v>5.1008272776409074</c:v>
                </c:pt>
                <c:pt idx="9791">
                  <c:v>5.9922937094435316</c:v>
                </c:pt>
                <c:pt idx="9792">
                  <c:v>5.9749488014842767</c:v>
                </c:pt>
                <c:pt idx="9793">
                  <c:v>5.6959144752045718</c:v>
                </c:pt>
                <c:pt idx="9794">
                  <c:v>5.8755152082816249</c:v>
                </c:pt>
                <c:pt idx="9795">
                  <c:v>6.1311238247973012</c:v>
                </c:pt>
                <c:pt idx="9796">
                  <c:v>6.1733875071755699</c:v>
                </c:pt>
                <c:pt idx="9797">
                  <c:v>6.0888786413494458</c:v>
                </c:pt>
                <c:pt idx="9798">
                  <c:v>5.9360178171359212</c:v>
                </c:pt>
                <c:pt idx="9799">
                  <c:v>5.9857854339549865</c:v>
                </c:pt>
                <c:pt idx="9800">
                  <c:v>5.8215118859532851</c:v>
                </c:pt>
                <c:pt idx="9801">
                  <c:v>4.8976600751388748</c:v>
                </c:pt>
                <c:pt idx="9802">
                  <c:v>6.0775666525805008</c:v>
                </c:pt>
                <c:pt idx="9803">
                  <c:v>5.8794327093285021</c:v>
                </c:pt>
                <c:pt idx="9804">
                  <c:v>6.1230797876485319</c:v>
                </c:pt>
                <c:pt idx="9805">
                  <c:v>6.0898244579866381</c:v>
                </c:pt>
                <c:pt idx="9806">
                  <c:v>6.1292865334461153</c:v>
                </c:pt>
                <c:pt idx="9807">
                  <c:v>6.8912665204084602</c:v>
                </c:pt>
                <c:pt idx="9808">
                  <c:v>4.9953563705557782</c:v>
                </c:pt>
                <c:pt idx="9809">
                  <c:v>6.1182209975938511</c:v>
                </c:pt>
                <c:pt idx="9810">
                  <c:v>4.9081860045229933</c:v>
                </c:pt>
                <c:pt idx="9811">
                  <c:v>5.9255479884870734</c:v>
                </c:pt>
                <c:pt idx="9812">
                  <c:v>6.1390118427808602</c:v>
                </c:pt>
                <c:pt idx="9813">
                  <c:v>2.9826318074555243</c:v>
                </c:pt>
                <c:pt idx="9814">
                  <c:v>6.0547081412299466</c:v>
                </c:pt>
                <c:pt idx="9815">
                  <c:v>4.9572762579147689</c:v>
                </c:pt>
                <c:pt idx="9816">
                  <c:v>5.9239390985265521</c:v>
                </c:pt>
                <c:pt idx="9817">
                  <c:v>5.7519619650314375</c:v>
                </c:pt>
                <c:pt idx="9818">
                  <c:v>6.2028820949355854</c:v>
                </c:pt>
                <c:pt idx="9819">
                  <c:v>5.0341353079234468</c:v>
                </c:pt>
                <c:pt idx="9820">
                  <c:v>6.1165638239583835</c:v>
                </c:pt>
                <c:pt idx="9821">
                  <c:v>5.9158527929723279</c:v>
                </c:pt>
                <c:pt idx="9822">
                  <c:v>5.1532778430541644</c:v>
                </c:pt>
                <c:pt idx="9823">
                  <c:v>5.9132037800151194</c:v>
                </c:pt>
                <c:pt idx="9824">
                  <c:v>6.0577015148612752</c:v>
                </c:pt>
                <c:pt idx="9825">
                  <c:v>6.1453218422314411</c:v>
                </c:pt>
                <c:pt idx="9826">
                  <c:v>5.8780441119279692</c:v>
                </c:pt>
                <c:pt idx="9827">
                  <c:v>5.0898211600746697</c:v>
                </c:pt>
                <c:pt idx="9828">
                  <c:v>4.7578697175007987</c:v>
                </c:pt>
                <c:pt idx="9829">
                  <c:v>5.8773914584027871</c:v>
                </c:pt>
                <c:pt idx="9830">
                  <c:v>4.9777544546879096</c:v>
                </c:pt>
                <c:pt idx="9831">
                  <c:v>7.0603775218910076</c:v>
                </c:pt>
                <c:pt idx="9832">
                  <c:v>4.9617571172863748</c:v>
                </c:pt>
                <c:pt idx="9833">
                  <c:v>4.7690818886301356</c:v>
                </c:pt>
                <c:pt idx="9834">
                  <c:v>5.0639666662545793</c:v>
                </c:pt>
                <c:pt idx="9835">
                  <c:v>5.9103073297297062</c:v>
                </c:pt>
                <c:pt idx="9836">
                  <c:v>4.901511774064395</c:v>
                </c:pt>
                <c:pt idx="9837">
                  <c:v>7.0478195845428226</c:v>
                </c:pt>
                <c:pt idx="9838">
                  <c:v>4.930654162940038</c:v>
                </c:pt>
                <c:pt idx="9839">
                  <c:v>6.0668582663435471</c:v>
                </c:pt>
                <c:pt idx="9840">
                  <c:v>5.1105253233302355</c:v>
                </c:pt>
                <c:pt idx="9841">
                  <c:v>4.886845324659534</c:v>
                </c:pt>
                <c:pt idx="9842">
                  <c:v>6.0761143650216303</c:v>
                </c:pt>
                <c:pt idx="9843">
                  <c:v>5.0043806633124257</c:v>
                </c:pt>
                <c:pt idx="9844">
                  <c:v>5.9221493277888788</c:v>
                </c:pt>
                <c:pt idx="9845">
                  <c:v>6.0307008428962954</c:v>
                </c:pt>
                <c:pt idx="9846">
                  <c:v>5.8562687437954972</c:v>
                </c:pt>
                <c:pt idx="9847">
                  <c:v>6.0480594746899259</c:v>
                </c:pt>
                <c:pt idx="9848">
                  <c:v>4.9466330381816705</c:v>
                </c:pt>
                <c:pt idx="9849">
                  <c:v>4.9796149380853851</c:v>
                </c:pt>
                <c:pt idx="9850">
                  <c:v>7.1569132313230632</c:v>
                </c:pt>
                <c:pt idx="9851">
                  <c:v>6.1128923051166444</c:v>
                </c:pt>
                <c:pt idx="9852">
                  <c:v>5.9502125667408468</c:v>
                </c:pt>
                <c:pt idx="9853">
                  <c:v>6.9157423045193456</c:v>
                </c:pt>
                <c:pt idx="9854">
                  <c:v>6.9264494554276048</c:v>
                </c:pt>
                <c:pt idx="9855">
                  <c:v>6.9091649133176594</c:v>
                </c:pt>
                <c:pt idx="9856">
                  <c:v>6.9731635292180085</c:v>
                </c:pt>
                <c:pt idx="9857">
                  <c:v>5.9602560536960709</c:v>
                </c:pt>
                <c:pt idx="9858">
                  <c:v>5.8376070096843327</c:v>
                </c:pt>
                <c:pt idx="9859">
                  <c:v>5.8861478829984346</c:v>
                </c:pt>
                <c:pt idx="9860">
                  <c:v>5.0835980224713211</c:v>
                </c:pt>
                <c:pt idx="9861">
                  <c:v>5.1322022267834848</c:v>
                </c:pt>
                <c:pt idx="9862">
                  <c:v>6.0010725437122074</c:v>
                </c:pt>
                <c:pt idx="9863">
                  <c:v>5.9783307431523101</c:v>
                </c:pt>
                <c:pt idx="9864">
                  <c:v>5.9980960179940821</c:v>
                </c:pt>
                <c:pt idx="9865">
                  <c:v>4.9468422950320692</c:v>
                </c:pt>
                <c:pt idx="9866">
                  <c:v>6.0147770726931267</c:v>
                </c:pt>
                <c:pt idx="9867">
                  <c:v>4.9097460768546517</c:v>
                </c:pt>
                <c:pt idx="9868">
                  <c:v>5.9039257171991046</c:v>
                </c:pt>
                <c:pt idx="9869">
                  <c:v>4.9909912885026273</c:v>
                </c:pt>
                <c:pt idx="9870">
                  <c:v>5.0146535424597509</c:v>
                </c:pt>
                <c:pt idx="9871">
                  <c:v>4.8131717474255886</c:v>
                </c:pt>
                <c:pt idx="9872">
                  <c:v>4.9633790287625539</c:v>
                </c:pt>
                <c:pt idx="9873">
                  <c:v>6.1142431012842033</c:v>
                </c:pt>
                <c:pt idx="9874">
                  <c:v>5.8763244752015567</c:v>
                </c:pt>
                <c:pt idx="9875">
                  <c:v>5.8388364499165624</c:v>
                </c:pt>
                <c:pt idx="9876">
                  <c:v>7.1046301498941418</c:v>
                </c:pt>
                <c:pt idx="9877">
                  <c:v>5.972548886359677</c:v>
                </c:pt>
                <c:pt idx="9878">
                  <c:v>6.048342722955474</c:v>
                </c:pt>
                <c:pt idx="9879">
                  <c:v>4.952522066866865</c:v>
                </c:pt>
                <c:pt idx="9880">
                  <c:v>4.9826683350540755</c:v>
                </c:pt>
                <c:pt idx="9881">
                  <c:v>5.9652673508392766</c:v>
                </c:pt>
                <c:pt idx="9882">
                  <c:v>5.9038698168317065</c:v>
                </c:pt>
                <c:pt idx="9883">
                  <c:v>6.1661174485551102</c:v>
                </c:pt>
                <c:pt idx="9884">
                  <c:v>5.8415401171338734</c:v>
                </c:pt>
                <c:pt idx="9885">
                  <c:v>5.189513837903946</c:v>
                </c:pt>
                <c:pt idx="9886">
                  <c:v>4.9751596529537609</c:v>
                </c:pt>
                <c:pt idx="9887">
                  <c:v>4.9729990429220194</c:v>
                </c:pt>
                <c:pt idx="9888">
                  <c:v>6.033076171140495</c:v>
                </c:pt>
                <c:pt idx="9889">
                  <c:v>5.1867645153668782</c:v>
                </c:pt>
                <c:pt idx="9890">
                  <c:v>6.0933615467137585</c:v>
                </c:pt>
                <c:pt idx="9891">
                  <c:v>6.9854275616051389</c:v>
                </c:pt>
                <c:pt idx="9892">
                  <c:v>4.9292678848736813</c:v>
                </c:pt>
                <c:pt idx="9893">
                  <c:v>5.0570349784204716</c:v>
                </c:pt>
                <c:pt idx="9894">
                  <c:v>5.0815593482239043</c:v>
                </c:pt>
                <c:pt idx="9895">
                  <c:v>4.9745899041734241</c:v>
                </c:pt>
                <c:pt idx="9896">
                  <c:v>5.8484542620734272</c:v>
                </c:pt>
                <c:pt idx="9897">
                  <c:v>5.0704523026256743</c:v>
                </c:pt>
                <c:pt idx="9898">
                  <c:v>5.8501077406930158</c:v>
                </c:pt>
                <c:pt idx="9899">
                  <c:v>5.94381934475597</c:v>
                </c:pt>
                <c:pt idx="9900">
                  <c:v>5.8401427567092767</c:v>
                </c:pt>
                <c:pt idx="9901">
                  <c:v>5.9379981793782184</c:v>
                </c:pt>
                <c:pt idx="9902">
                  <c:v>5.0708863194891443</c:v>
                </c:pt>
                <c:pt idx="9903">
                  <c:v>7.0468587245942826</c:v>
                </c:pt>
                <c:pt idx="9904">
                  <c:v>6.1204474927619978</c:v>
                </c:pt>
                <c:pt idx="9905">
                  <c:v>5.1401935672982422</c:v>
                </c:pt>
                <c:pt idx="9906">
                  <c:v>6.0195897854286899</c:v>
                </c:pt>
                <c:pt idx="9907">
                  <c:v>6.1245479774535339</c:v>
                </c:pt>
                <c:pt idx="9908">
                  <c:v>6.0486172548601651</c:v>
                </c:pt>
                <c:pt idx="9909">
                  <c:v>5.9802819735128514</c:v>
                </c:pt>
                <c:pt idx="9910">
                  <c:v>5.9876721478100725</c:v>
                </c:pt>
                <c:pt idx="9911">
                  <c:v>5.1201448859329064</c:v>
                </c:pt>
                <c:pt idx="9912">
                  <c:v>6.0198362413420554</c:v>
                </c:pt>
                <c:pt idx="9913">
                  <c:v>4.8232398819467361</c:v>
                </c:pt>
                <c:pt idx="9914">
                  <c:v>5.1415626600558548</c:v>
                </c:pt>
                <c:pt idx="9915">
                  <c:v>5.9887194735764631</c:v>
                </c:pt>
                <c:pt idx="9916">
                  <c:v>6.0792648328848351</c:v>
                </c:pt>
                <c:pt idx="9917">
                  <c:v>5.0925233680534925</c:v>
                </c:pt>
                <c:pt idx="9918">
                  <c:v>6.0702390286045373</c:v>
                </c:pt>
                <c:pt idx="9919">
                  <c:v>5.091668885905074</c:v>
                </c:pt>
                <c:pt idx="9920">
                  <c:v>5.0533998866209799</c:v>
                </c:pt>
                <c:pt idx="9921">
                  <c:v>4.9228771326102292</c:v>
                </c:pt>
                <c:pt idx="9922">
                  <c:v>5.0348827184673581</c:v>
                </c:pt>
                <c:pt idx="9923">
                  <c:v>5.2065220017705176</c:v>
                </c:pt>
                <c:pt idx="9924">
                  <c:v>5.9837435915548545</c:v>
                </c:pt>
                <c:pt idx="9925">
                  <c:v>5.9591819017650929</c:v>
                </c:pt>
                <c:pt idx="9926">
                  <c:v>4.9813898059429418</c:v>
                </c:pt>
                <c:pt idx="9927">
                  <c:v>6.7686933016470752</c:v>
                </c:pt>
                <c:pt idx="9928">
                  <c:v>5.9704769121431402</c:v>
                </c:pt>
                <c:pt idx="9929">
                  <c:v>5.9113674201641144</c:v>
                </c:pt>
                <c:pt idx="9930">
                  <c:v>7.009221592286897</c:v>
                </c:pt>
                <c:pt idx="9931">
                  <c:v>5.9280901741758036</c:v>
                </c:pt>
                <c:pt idx="9932">
                  <c:v>5.9184490170138151</c:v>
                </c:pt>
                <c:pt idx="9933">
                  <c:v>2.9649255073497107</c:v>
                </c:pt>
                <c:pt idx="9934">
                  <c:v>4.8453341003813684</c:v>
                </c:pt>
                <c:pt idx="9935">
                  <c:v>7.0495626251881349</c:v>
                </c:pt>
                <c:pt idx="9936">
                  <c:v>6.0988111205618063</c:v>
                </c:pt>
                <c:pt idx="9937">
                  <c:v>5.0043633950320174</c:v>
                </c:pt>
                <c:pt idx="9938">
                  <c:v>6.0134680903197468</c:v>
                </c:pt>
                <c:pt idx="9939">
                  <c:v>6.06222635590371</c:v>
                </c:pt>
                <c:pt idx="9940">
                  <c:v>7.0287566569185556</c:v>
                </c:pt>
                <c:pt idx="9941">
                  <c:v>7.008107956215107</c:v>
                </c:pt>
                <c:pt idx="9942">
                  <c:v>6.0892440918914774</c:v>
                </c:pt>
                <c:pt idx="9943">
                  <c:v>6.9323446248942471</c:v>
                </c:pt>
                <c:pt idx="9944">
                  <c:v>7.0769539138889535</c:v>
                </c:pt>
                <c:pt idx="9945">
                  <c:v>7.0606503132671667</c:v>
                </c:pt>
                <c:pt idx="9946">
                  <c:v>5.8694864719419364</c:v>
                </c:pt>
                <c:pt idx="9947">
                  <c:v>7.0689149509979643</c:v>
                </c:pt>
                <c:pt idx="9948">
                  <c:v>5.9187280736941243</c:v>
                </c:pt>
                <c:pt idx="9949">
                  <c:v>6.2195795508622815</c:v>
                </c:pt>
                <c:pt idx="9950">
                  <c:v>6.1140034589582468</c:v>
                </c:pt>
                <c:pt idx="9951">
                  <c:v>5.9860451192893969</c:v>
                </c:pt>
                <c:pt idx="9952">
                  <c:v>7.2148351896278271</c:v>
                </c:pt>
                <c:pt idx="9953">
                  <c:v>5.9346359860952269</c:v>
                </c:pt>
                <c:pt idx="9954">
                  <c:v>6.0775195380544247</c:v>
                </c:pt>
                <c:pt idx="9955">
                  <c:v>6.0817824321797413</c:v>
                </c:pt>
                <c:pt idx="9956">
                  <c:v>4.985405455999615</c:v>
                </c:pt>
                <c:pt idx="9957">
                  <c:v>6.0558110974774078</c:v>
                </c:pt>
                <c:pt idx="9958">
                  <c:v>6.0640618032481148</c:v>
                </c:pt>
                <c:pt idx="9959">
                  <c:v>5.0327922233456084</c:v>
                </c:pt>
                <c:pt idx="9960">
                  <c:v>4.8799047712171983</c:v>
                </c:pt>
                <c:pt idx="9961">
                  <c:v>5.8827142839585873</c:v>
                </c:pt>
                <c:pt idx="9962">
                  <c:v>7.1667314834160321</c:v>
                </c:pt>
                <c:pt idx="9963">
                  <c:v>6.0379292017036938</c:v>
                </c:pt>
                <c:pt idx="9964">
                  <c:v>3.9866178189481358</c:v>
                </c:pt>
                <c:pt idx="9965">
                  <c:v>6.017945931698522</c:v>
                </c:pt>
                <c:pt idx="9966">
                  <c:v>4.7930521464638041</c:v>
                </c:pt>
                <c:pt idx="9967">
                  <c:v>5.0280860640985532</c:v>
                </c:pt>
                <c:pt idx="9968">
                  <c:v>5.9107031771321301</c:v>
                </c:pt>
                <c:pt idx="9969">
                  <c:v>5.8619317161076561</c:v>
                </c:pt>
                <c:pt idx="9970">
                  <c:v>5.9057238368453744</c:v>
                </c:pt>
                <c:pt idx="9971">
                  <c:v>5.0448960433264762</c:v>
                </c:pt>
                <c:pt idx="9972">
                  <c:v>5.9203921558111841</c:v>
                </c:pt>
                <c:pt idx="9973">
                  <c:v>5.0609740598687054</c:v>
                </c:pt>
                <c:pt idx="9974">
                  <c:v>4.8062870700343794</c:v>
                </c:pt>
                <c:pt idx="9975">
                  <c:v>6.1836530558304617</c:v>
                </c:pt>
                <c:pt idx="9976">
                  <c:v>5.945332464714471</c:v>
                </c:pt>
                <c:pt idx="9977">
                  <c:v>5.9826591401860973</c:v>
                </c:pt>
                <c:pt idx="9978">
                  <c:v>5.8208818503719391</c:v>
                </c:pt>
                <c:pt idx="9979">
                  <c:v>4.7935964672882463</c:v>
                </c:pt>
                <c:pt idx="9980">
                  <c:v>5.0166442628072607</c:v>
                </c:pt>
                <c:pt idx="9981">
                  <c:v>7.1083400936942862</c:v>
                </c:pt>
                <c:pt idx="9982">
                  <c:v>6.0119678026741337</c:v>
                </c:pt>
                <c:pt idx="9983">
                  <c:v>4.9376097970428035</c:v>
                </c:pt>
                <c:pt idx="9984">
                  <c:v>6.0155524599628301</c:v>
                </c:pt>
                <c:pt idx="9985">
                  <c:v>4.8479288065266495</c:v>
                </c:pt>
                <c:pt idx="9986">
                  <c:v>5.8362538804783473</c:v>
                </c:pt>
                <c:pt idx="9987">
                  <c:v>5.0259264632241303</c:v>
                </c:pt>
                <c:pt idx="9988">
                  <c:v>4.799564993284565</c:v>
                </c:pt>
                <c:pt idx="9989">
                  <c:v>6.1198152819650558</c:v>
                </c:pt>
                <c:pt idx="9990">
                  <c:v>5.6169416928589255</c:v>
                </c:pt>
                <c:pt idx="9991">
                  <c:v>5.8898736550241617</c:v>
                </c:pt>
                <c:pt idx="9992">
                  <c:v>6.0667497014022107</c:v>
                </c:pt>
                <c:pt idx="9993">
                  <c:v>6.1337927630409501</c:v>
                </c:pt>
                <c:pt idx="9994">
                  <c:v>6.0855696743894558</c:v>
                </c:pt>
                <c:pt idx="9995">
                  <c:v>3.1908145412575264</c:v>
                </c:pt>
                <c:pt idx="9996">
                  <c:v>6.1772623401370668</c:v>
                </c:pt>
                <c:pt idx="9997">
                  <c:v>5.0780316735745474</c:v>
                </c:pt>
                <c:pt idx="9998">
                  <c:v>5.8781182371865794</c:v>
                </c:pt>
                <c:pt idx="9999">
                  <c:v>5.9363665325225909</c:v>
                </c:pt>
                <c:pt idx="10000">
                  <c:v>5.0808584126229865</c:v>
                </c:pt>
                <c:pt idx="10001">
                  <c:v>7.0900745858192069</c:v>
                </c:pt>
                <c:pt idx="10002">
                  <c:v>5.0909051977990867</c:v>
                </c:pt>
                <c:pt idx="10003">
                  <c:v>4.9664969742296794</c:v>
                </c:pt>
                <c:pt idx="10004">
                  <c:v>4.9657386890544712</c:v>
                </c:pt>
                <c:pt idx="10005">
                  <c:v>5.8663040370734132</c:v>
                </c:pt>
                <c:pt idx="10006">
                  <c:v>5.967652696996316</c:v>
                </c:pt>
                <c:pt idx="10007">
                  <c:v>5.9048239936226539</c:v>
                </c:pt>
                <c:pt idx="10008">
                  <c:v>6.0021809300005247</c:v>
                </c:pt>
                <c:pt idx="10009">
                  <c:v>6.2491629465409284</c:v>
                </c:pt>
                <c:pt idx="10010">
                  <c:v>6.0481894575655071</c:v>
                </c:pt>
                <c:pt idx="10011">
                  <c:v>7.0462024036923241</c:v>
                </c:pt>
                <c:pt idx="10012">
                  <c:v>7.0801742120688074</c:v>
                </c:pt>
                <c:pt idx="10013">
                  <c:v>6.0418515068407137</c:v>
                </c:pt>
                <c:pt idx="10014">
                  <c:v>6.1603466346300229</c:v>
                </c:pt>
                <c:pt idx="10015">
                  <c:v>4.0371857045636466</c:v>
                </c:pt>
                <c:pt idx="10016">
                  <c:v>5.8747183908183418</c:v>
                </c:pt>
                <c:pt idx="10017">
                  <c:v>4.9976802208051305</c:v>
                </c:pt>
                <c:pt idx="10018">
                  <c:v>5.9745786101329825</c:v>
                </c:pt>
                <c:pt idx="10019">
                  <c:v>4.8849136884146462</c:v>
                </c:pt>
                <c:pt idx="10020">
                  <c:v>6.041522988335509</c:v>
                </c:pt>
                <c:pt idx="10021">
                  <c:v>4.9939188175227835</c:v>
                </c:pt>
                <c:pt idx="10022">
                  <c:v>5.9699367689240805</c:v>
                </c:pt>
                <c:pt idx="10023">
                  <c:v>6.1068128676914766</c:v>
                </c:pt>
                <c:pt idx="10024">
                  <c:v>4.9611362718870051</c:v>
                </c:pt>
                <c:pt idx="10025">
                  <c:v>5.9475661868546883</c:v>
                </c:pt>
                <c:pt idx="10026">
                  <c:v>5.0025560353984222</c:v>
                </c:pt>
                <c:pt idx="10027">
                  <c:v>4.9797826387936368</c:v>
                </c:pt>
                <c:pt idx="10028">
                  <c:v>4.8500792269550654</c:v>
                </c:pt>
                <c:pt idx="10029">
                  <c:v>4.9446624622398501</c:v>
                </c:pt>
                <c:pt idx="10030">
                  <c:v>4.961190834764067</c:v>
                </c:pt>
                <c:pt idx="10031">
                  <c:v>4.6982688529750058</c:v>
                </c:pt>
                <c:pt idx="10032">
                  <c:v>5.9288851994724237</c:v>
                </c:pt>
                <c:pt idx="10033">
                  <c:v>6.0346426285074468</c:v>
                </c:pt>
                <c:pt idx="10034">
                  <c:v>5.0123750830661731</c:v>
                </c:pt>
                <c:pt idx="10035">
                  <c:v>6.1360767193862875</c:v>
                </c:pt>
                <c:pt idx="10036">
                  <c:v>5.9108655702214152</c:v>
                </c:pt>
                <c:pt idx="10037">
                  <c:v>4.9299398154828804</c:v>
                </c:pt>
                <c:pt idx="10038">
                  <c:v>5.9767216348388761</c:v>
                </c:pt>
                <c:pt idx="10039">
                  <c:v>6.0568485612141965</c:v>
                </c:pt>
                <c:pt idx="10040">
                  <c:v>4.9968929148418235</c:v>
                </c:pt>
                <c:pt idx="10041">
                  <c:v>6.0298734770212725</c:v>
                </c:pt>
                <c:pt idx="10042">
                  <c:v>4.8902672578702955</c:v>
                </c:pt>
                <c:pt idx="10043">
                  <c:v>5.1149758862392227</c:v>
                </c:pt>
                <c:pt idx="10044">
                  <c:v>4.928225006967268</c:v>
                </c:pt>
                <c:pt idx="10045">
                  <c:v>6.0209236698992861</c:v>
                </c:pt>
                <c:pt idx="10046">
                  <c:v>5.9379944133785063</c:v>
                </c:pt>
                <c:pt idx="10047">
                  <c:v>6.0365841943326988</c:v>
                </c:pt>
                <c:pt idx="10048">
                  <c:v>5.9186748343334967</c:v>
                </c:pt>
                <c:pt idx="10049">
                  <c:v>5.9848749391547598</c:v>
                </c:pt>
                <c:pt idx="10050">
                  <c:v>5.9885297924196284</c:v>
                </c:pt>
                <c:pt idx="10051">
                  <c:v>6.1148583681292115</c:v>
                </c:pt>
                <c:pt idx="10052">
                  <c:v>6.0693591964010558</c:v>
                </c:pt>
                <c:pt idx="10053">
                  <c:v>5.9006643505720788</c:v>
                </c:pt>
                <c:pt idx="10054">
                  <c:v>3.9259055474764768</c:v>
                </c:pt>
                <c:pt idx="10055">
                  <c:v>4.0689298915164231</c:v>
                </c:pt>
                <c:pt idx="10056">
                  <c:v>6.0532288863690455</c:v>
                </c:pt>
                <c:pt idx="10057">
                  <c:v>6.1332404679317154</c:v>
                </c:pt>
                <c:pt idx="10058">
                  <c:v>6.1199311509648346</c:v>
                </c:pt>
                <c:pt idx="10059">
                  <c:v>5.0423651701493473</c:v>
                </c:pt>
                <c:pt idx="10060">
                  <c:v>6.07597657436785</c:v>
                </c:pt>
                <c:pt idx="10061">
                  <c:v>5.0668468002964602</c:v>
                </c:pt>
                <c:pt idx="10062">
                  <c:v>4.9140837931016765</c:v>
                </c:pt>
                <c:pt idx="10063">
                  <c:v>5.9787283185719673</c:v>
                </c:pt>
                <c:pt idx="10064">
                  <c:v>5.0919810068831968</c:v>
                </c:pt>
                <c:pt idx="10065">
                  <c:v>4.9348380251385979</c:v>
                </c:pt>
                <c:pt idx="10066">
                  <c:v>6.0543779076096076</c:v>
                </c:pt>
                <c:pt idx="10067">
                  <c:v>4.972040098009578</c:v>
                </c:pt>
                <c:pt idx="10068">
                  <c:v>5.9207265090099046</c:v>
                </c:pt>
                <c:pt idx="10069">
                  <c:v>5.027879570092721</c:v>
                </c:pt>
                <c:pt idx="10070">
                  <c:v>4.8971491212648326</c:v>
                </c:pt>
                <c:pt idx="10071">
                  <c:v>6.1660673677659013</c:v>
                </c:pt>
                <c:pt idx="10072">
                  <c:v>5.9350071483226206</c:v>
                </c:pt>
                <c:pt idx="10073">
                  <c:v>5.1052442974725931</c:v>
                </c:pt>
                <c:pt idx="10074">
                  <c:v>5.0441848900684052</c:v>
                </c:pt>
                <c:pt idx="10075">
                  <c:v>6.1432107087445393</c:v>
                </c:pt>
                <c:pt idx="10076">
                  <c:v>5.9421360488959971</c:v>
                </c:pt>
                <c:pt idx="10077">
                  <c:v>5.8787387936503563</c:v>
                </c:pt>
                <c:pt idx="10078">
                  <c:v>5.0446123925194097</c:v>
                </c:pt>
                <c:pt idx="10079">
                  <c:v>6.1027135646240289</c:v>
                </c:pt>
                <c:pt idx="10080">
                  <c:v>5.8795420982884261</c:v>
                </c:pt>
                <c:pt idx="10081">
                  <c:v>5.9998690137810424</c:v>
                </c:pt>
                <c:pt idx="10082">
                  <c:v>4.9835528313246042</c:v>
                </c:pt>
                <c:pt idx="10083">
                  <c:v>5.0209097646377066</c:v>
                </c:pt>
                <c:pt idx="10084">
                  <c:v>6.0757183237323691</c:v>
                </c:pt>
                <c:pt idx="10085">
                  <c:v>6.0739533209631151</c:v>
                </c:pt>
                <c:pt idx="10086">
                  <c:v>5.868763212145014</c:v>
                </c:pt>
                <c:pt idx="10087">
                  <c:v>5.068972030697136</c:v>
                </c:pt>
                <c:pt idx="10088">
                  <c:v>5.9211916022915592</c:v>
                </c:pt>
                <c:pt idx="10089">
                  <c:v>6.0761859552141582</c:v>
                </c:pt>
                <c:pt idx="10090">
                  <c:v>4.9992367477290607</c:v>
                </c:pt>
                <c:pt idx="10091">
                  <c:v>5.8278888914487386</c:v>
                </c:pt>
                <c:pt idx="10092">
                  <c:v>6.064147588857784</c:v>
                </c:pt>
                <c:pt idx="10093">
                  <c:v>6.1422954407554373</c:v>
                </c:pt>
                <c:pt idx="10094">
                  <c:v>5.9055344609716274</c:v>
                </c:pt>
                <c:pt idx="10095">
                  <c:v>6.0443335972853784</c:v>
                </c:pt>
                <c:pt idx="10096">
                  <c:v>6.0401693990254843</c:v>
                </c:pt>
                <c:pt idx="10097">
                  <c:v>6.0853397652750223</c:v>
                </c:pt>
                <c:pt idx="10098">
                  <c:v>5.1155617224670502</c:v>
                </c:pt>
                <c:pt idx="10099">
                  <c:v>4.9993178925560438</c:v>
                </c:pt>
                <c:pt idx="10100">
                  <c:v>5.9418381998127954</c:v>
                </c:pt>
                <c:pt idx="10101">
                  <c:v>4.8691569055930559</c:v>
                </c:pt>
                <c:pt idx="10102">
                  <c:v>5.9849547322042573</c:v>
                </c:pt>
                <c:pt idx="10103">
                  <c:v>6.1386142353364708</c:v>
                </c:pt>
                <c:pt idx="10104">
                  <c:v>4.8836180784508985</c:v>
                </c:pt>
                <c:pt idx="10105">
                  <c:v>4.0327561585699545</c:v>
                </c:pt>
                <c:pt idx="10106">
                  <c:v>4.9880608409691618</c:v>
                </c:pt>
                <c:pt idx="10107">
                  <c:v>5.9180698912400933</c:v>
                </c:pt>
                <c:pt idx="10108">
                  <c:v>4.8309438264072773</c:v>
                </c:pt>
                <c:pt idx="10109">
                  <c:v>5.0990927205565812</c:v>
                </c:pt>
                <c:pt idx="10110">
                  <c:v>6.0442465670798686</c:v>
                </c:pt>
                <c:pt idx="10111">
                  <c:v>4.9995841539464516</c:v>
                </c:pt>
                <c:pt idx="10112">
                  <c:v>5.210368752037418</c:v>
                </c:pt>
                <c:pt idx="10113">
                  <c:v>5.6384333350631746</c:v>
                </c:pt>
                <c:pt idx="10114">
                  <c:v>4.8888773609341794</c:v>
                </c:pt>
                <c:pt idx="10115">
                  <c:v>6.0995576478429356</c:v>
                </c:pt>
                <c:pt idx="10116">
                  <c:v>5.9060808610781255</c:v>
                </c:pt>
                <c:pt idx="10117">
                  <c:v>5.8934394399043137</c:v>
                </c:pt>
                <c:pt idx="10118">
                  <c:v>5.0488683989552054</c:v>
                </c:pt>
                <c:pt idx="10119">
                  <c:v>5.2658874384098553</c:v>
                </c:pt>
                <c:pt idx="10120">
                  <c:v>4.9979114000040701</c:v>
                </c:pt>
                <c:pt idx="10121">
                  <c:v>5.9441523592555745</c:v>
                </c:pt>
                <c:pt idx="10122">
                  <c:v>6.1440352572387873</c:v>
                </c:pt>
                <c:pt idx="10123">
                  <c:v>6.1165539147622203</c:v>
                </c:pt>
                <c:pt idx="10124">
                  <c:v>4.941962220291769</c:v>
                </c:pt>
                <c:pt idx="10125">
                  <c:v>6.3244007163582605</c:v>
                </c:pt>
                <c:pt idx="10126">
                  <c:v>5.0215981489326031</c:v>
                </c:pt>
                <c:pt idx="10127">
                  <c:v>6.1224859035968215</c:v>
                </c:pt>
                <c:pt idx="10128">
                  <c:v>5.9802940002695903</c:v>
                </c:pt>
                <c:pt idx="10129">
                  <c:v>5.8014143173258965</c:v>
                </c:pt>
                <c:pt idx="10130">
                  <c:v>5.0256106887663821</c:v>
                </c:pt>
                <c:pt idx="10131">
                  <c:v>6.0531735302495662</c:v>
                </c:pt>
                <c:pt idx="10132">
                  <c:v>5.9158917686411119</c:v>
                </c:pt>
                <c:pt idx="10133">
                  <c:v>6.1337849553678456</c:v>
                </c:pt>
                <c:pt idx="10134">
                  <c:v>5.8935300330179485</c:v>
                </c:pt>
                <c:pt idx="10135">
                  <c:v>5.1160238185528222</c:v>
                </c:pt>
                <c:pt idx="10136">
                  <c:v>5.962045090774347</c:v>
                </c:pt>
                <c:pt idx="10137">
                  <c:v>5.9295622471551344</c:v>
                </c:pt>
                <c:pt idx="10138">
                  <c:v>6.2111500737390859</c:v>
                </c:pt>
                <c:pt idx="10139">
                  <c:v>6.0773862602345901</c:v>
                </c:pt>
                <c:pt idx="10140">
                  <c:v>5.918305641261064</c:v>
                </c:pt>
                <c:pt idx="10141">
                  <c:v>4.8957833020101127</c:v>
                </c:pt>
                <c:pt idx="10142">
                  <c:v>5.958013805071559</c:v>
                </c:pt>
                <c:pt idx="10143">
                  <c:v>5.9620225815309231</c:v>
                </c:pt>
                <c:pt idx="10144">
                  <c:v>5.9054683282802483</c:v>
                </c:pt>
                <c:pt idx="10145">
                  <c:v>6.0652546616665948</c:v>
                </c:pt>
                <c:pt idx="10146">
                  <c:v>5.8996698600809889</c:v>
                </c:pt>
                <c:pt idx="10147">
                  <c:v>6.1212827265745622</c:v>
                </c:pt>
                <c:pt idx="10148">
                  <c:v>6.0562038288241222</c:v>
                </c:pt>
                <c:pt idx="10149">
                  <c:v>4.9659465362898603</c:v>
                </c:pt>
                <c:pt idx="10150">
                  <c:v>6.0496821983571287</c:v>
                </c:pt>
                <c:pt idx="10151">
                  <c:v>5.9385423671956099</c:v>
                </c:pt>
                <c:pt idx="10152">
                  <c:v>6.1573795976789469</c:v>
                </c:pt>
                <c:pt idx="10153">
                  <c:v>6.1445682376186443</c:v>
                </c:pt>
                <c:pt idx="10154">
                  <c:v>6.0002716569403365</c:v>
                </c:pt>
                <c:pt idx="10155">
                  <c:v>4.9710853291414727</c:v>
                </c:pt>
                <c:pt idx="10156">
                  <c:v>5.9314610847512066</c:v>
                </c:pt>
                <c:pt idx="10157">
                  <c:v>5.0184346583364823</c:v>
                </c:pt>
                <c:pt idx="10158">
                  <c:v>5.0987078992085619</c:v>
                </c:pt>
                <c:pt idx="10159">
                  <c:v>5.055862778961604</c:v>
                </c:pt>
                <c:pt idx="10160">
                  <c:v>6.1607777842427041</c:v>
                </c:pt>
                <c:pt idx="10161">
                  <c:v>5.8680124266265432</c:v>
                </c:pt>
                <c:pt idx="10162">
                  <c:v>6.1398683069933506</c:v>
                </c:pt>
                <c:pt idx="10163">
                  <c:v>5.1662092366552326</c:v>
                </c:pt>
                <c:pt idx="10164">
                  <c:v>5.0448941388171278</c:v>
                </c:pt>
                <c:pt idx="10165">
                  <c:v>5.0006592271257686</c:v>
                </c:pt>
                <c:pt idx="10166">
                  <c:v>6.0301260396347667</c:v>
                </c:pt>
                <c:pt idx="10167">
                  <c:v>5.9371318332332343</c:v>
                </c:pt>
                <c:pt idx="10168">
                  <c:v>5.9717171263116224</c:v>
                </c:pt>
                <c:pt idx="10169">
                  <c:v>5.0274691511528751</c:v>
                </c:pt>
                <c:pt idx="10170">
                  <c:v>5.9920671864962847</c:v>
                </c:pt>
                <c:pt idx="10171">
                  <c:v>4.9904828522559992</c:v>
                </c:pt>
                <c:pt idx="10172">
                  <c:v>5.8034074563484399</c:v>
                </c:pt>
                <c:pt idx="10173">
                  <c:v>5.1101708808010295</c:v>
                </c:pt>
                <c:pt idx="10174">
                  <c:v>5.9963627233780326</c:v>
                </c:pt>
                <c:pt idx="10175">
                  <c:v>5.9837595050144659</c:v>
                </c:pt>
                <c:pt idx="10176">
                  <c:v>6.0811610516497208</c:v>
                </c:pt>
                <c:pt idx="10177">
                  <c:v>4.8565088772922387</c:v>
                </c:pt>
                <c:pt idx="10178">
                  <c:v>6.0274145697273065</c:v>
                </c:pt>
                <c:pt idx="10179">
                  <c:v>5.0804442514435308</c:v>
                </c:pt>
                <c:pt idx="10180">
                  <c:v>5.935654983413218</c:v>
                </c:pt>
                <c:pt idx="10181">
                  <c:v>5.7941874828588205</c:v>
                </c:pt>
                <c:pt idx="10182">
                  <c:v>7.0698192426026507</c:v>
                </c:pt>
                <c:pt idx="10183">
                  <c:v>4.8154297932175938</c:v>
                </c:pt>
                <c:pt idx="10184">
                  <c:v>4.6961537118565984</c:v>
                </c:pt>
                <c:pt idx="10185">
                  <c:v>5.9248970021510452</c:v>
                </c:pt>
                <c:pt idx="10186">
                  <c:v>5.9236159621185136</c:v>
                </c:pt>
                <c:pt idx="10187">
                  <c:v>6.9097689617105305</c:v>
                </c:pt>
                <c:pt idx="10188">
                  <c:v>5.0774166238954495</c:v>
                </c:pt>
                <c:pt idx="10189">
                  <c:v>4.9977516506772783</c:v>
                </c:pt>
                <c:pt idx="10190">
                  <c:v>4.0103290929034134</c:v>
                </c:pt>
                <c:pt idx="10191">
                  <c:v>4.9746239165967756</c:v>
                </c:pt>
                <c:pt idx="10192">
                  <c:v>6.0662959307254365</c:v>
                </c:pt>
                <c:pt idx="10193">
                  <c:v>5.8478957258113029</c:v>
                </c:pt>
                <c:pt idx="10194">
                  <c:v>5.9010153404709023</c:v>
                </c:pt>
                <c:pt idx="10195">
                  <c:v>6.1207589262258155</c:v>
                </c:pt>
                <c:pt idx="10196">
                  <c:v>5.1374095274086651</c:v>
                </c:pt>
                <c:pt idx="10197">
                  <c:v>4.989471163755371</c:v>
                </c:pt>
                <c:pt idx="10198">
                  <c:v>6.0688812213537027</c:v>
                </c:pt>
                <c:pt idx="10199">
                  <c:v>5.0056524415571788</c:v>
                </c:pt>
                <c:pt idx="10200">
                  <c:v>5.9124834718967065</c:v>
                </c:pt>
                <c:pt idx="10201">
                  <c:v>4.8900015606792362</c:v>
                </c:pt>
                <c:pt idx="10202">
                  <c:v>5.976890317386947</c:v>
                </c:pt>
                <c:pt idx="10203">
                  <c:v>6.1130804645550674</c:v>
                </c:pt>
                <c:pt idx="10204">
                  <c:v>4.9657748506795372</c:v>
                </c:pt>
                <c:pt idx="10205">
                  <c:v>7.2008410679181223</c:v>
                </c:pt>
                <c:pt idx="10206">
                  <c:v>6.0339271992630508</c:v>
                </c:pt>
                <c:pt idx="10207">
                  <c:v>5.972515874447172</c:v>
                </c:pt>
                <c:pt idx="10208">
                  <c:v>6.187744962276561</c:v>
                </c:pt>
                <c:pt idx="10209">
                  <c:v>6.0271015822479121</c:v>
                </c:pt>
                <c:pt idx="10210">
                  <c:v>6.0463246662702597</c:v>
                </c:pt>
                <c:pt idx="10211">
                  <c:v>6.1458864633291936</c:v>
                </c:pt>
                <c:pt idx="10212">
                  <c:v>5.8023135512237074</c:v>
                </c:pt>
                <c:pt idx="10213">
                  <c:v>6.8707561496933387</c:v>
                </c:pt>
                <c:pt idx="10214">
                  <c:v>5.8397852631015557</c:v>
                </c:pt>
                <c:pt idx="10215">
                  <c:v>6.1349234434746274</c:v>
                </c:pt>
                <c:pt idx="10216">
                  <c:v>6.0187351435097174</c:v>
                </c:pt>
                <c:pt idx="10217">
                  <c:v>5.9110382573539413</c:v>
                </c:pt>
                <c:pt idx="10218">
                  <c:v>3.9827345155077634</c:v>
                </c:pt>
                <c:pt idx="10219">
                  <c:v>6.0054334487267411</c:v>
                </c:pt>
                <c:pt idx="10220">
                  <c:v>6.1070330454806854</c:v>
                </c:pt>
                <c:pt idx="10221">
                  <c:v>5.100749438150368</c:v>
                </c:pt>
                <c:pt idx="10222">
                  <c:v>6.9520114975030625</c:v>
                </c:pt>
                <c:pt idx="10223">
                  <c:v>5.9349986737564393</c:v>
                </c:pt>
                <c:pt idx="10224">
                  <c:v>4.9190802430513445</c:v>
                </c:pt>
                <c:pt idx="10225">
                  <c:v>5.9067757198227655</c:v>
                </c:pt>
                <c:pt idx="10226">
                  <c:v>4.9843450339489825</c:v>
                </c:pt>
                <c:pt idx="10227">
                  <c:v>5.9656274310523125</c:v>
                </c:pt>
                <c:pt idx="10228">
                  <c:v>4.9560425719428967</c:v>
                </c:pt>
                <c:pt idx="10229">
                  <c:v>5.9001390221489149</c:v>
                </c:pt>
                <c:pt idx="10230">
                  <c:v>6.0743573840674516</c:v>
                </c:pt>
                <c:pt idx="10231">
                  <c:v>4.997530314975295</c:v>
                </c:pt>
                <c:pt idx="10232">
                  <c:v>5.9008974804770862</c:v>
                </c:pt>
                <c:pt idx="10233">
                  <c:v>6.1989648477635688</c:v>
                </c:pt>
                <c:pt idx="10234">
                  <c:v>6.0591067211941185</c:v>
                </c:pt>
                <c:pt idx="10235">
                  <c:v>5.9332150254692122</c:v>
                </c:pt>
                <c:pt idx="10236">
                  <c:v>5.0861583237969308</c:v>
                </c:pt>
                <c:pt idx="10237">
                  <c:v>6.1284148883493499</c:v>
                </c:pt>
                <c:pt idx="10238">
                  <c:v>5.9330006567828706</c:v>
                </c:pt>
                <c:pt idx="10239">
                  <c:v>5.9500876516607955</c:v>
                </c:pt>
                <c:pt idx="10240">
                  <c:v>6.2873966502633749</c:v>
                </c:pt>
                <c:pt idx="10241">
                  <c:v>5.9432188613967067</c:v>
                </c:pt>
                <c:pt idx="10242">
                  <c:v>5.0266931197963949</c:v>
                </c:pt>
                <c:pt idx="10243">
                  <c:v>4.8834563549532115</c:v>
                </c:pt>
                <c:pt idx="10244">
                  <c:v>4.7720821696258335</c:v>
                </c:pt>
                <c:pt idx="10245">
                  <c:v>5.1087683900230703</c:v>
                </c:pt>
                <c:pt idx="10246">
                  <c:v>4.9724908887291974</c:v>
                </c:pt>
                <c:pt idx="10247">
                  <c:v>6.0316392069841918</c:v>
                </c:pt>
                <c:pt idx="10248">
                  <c:v>3.9859885773260171</c:v>
                </c:pt>
                <c:pt idx="10249">
                  <c:v>4.8780335806028985</c:v>
                </c:pt>
                <c:pt idx="10250">
                  <c:v>5.0660218222585289</c:v>
                </c:pt>
                <c:pt idx="10251">
                  <c:v>4.8981850802972788</c:v>
                </c:pt>
                <c:pt idx="10252">
                  <c:v>4.8833192969767598</c:v>
                </c:pt>
                <c:pt idx="10253">
                  <c:v>6.1217062249262639</c:v>
                </c:pt>
                <c:pt idx="10254">
                  <c:v>6.0586600883995798</c:v>
                </c:pt>
                <c:pt idx="10255">
                  <c:v>5.0540770129965535</c:v>
                </c:pt>
                <c:pt idx="10256">
                  <c:v>6.0226821743643848</c:v>
                </c:pt>
                <c:pt idx="10257">
                  <c:v>5.9837071891710645</c:v>
                </c:pt>
                <c:pt idx="10258">
                  <c:v>5.1078209702364381</c:v>
                </c:pt>
                <c:pt idx="10259">
                  <c:v>4.9962298029263472</c:v>
                </c:pt>
                <c:pt idx="10260">
                  <c:v>5.191400169893166</c:v>
                </c:pt>
                <c:pt idx="10261">
                  <c:v>7.0790732509587819</c:v>
                </c:pt>
                <c:pt idx="10262">
                  <c:v>6.1102951788814854</c:v>
                </c:pt>
                <c:pt idx="10263">
                  <c:v>6.3954622226750875</c:v>
                </c:pt>
                <c:pt idx="10264">
                  <c:v>5.9531627988705349</c:v>
                </c:pt>
                <c:pt idx="10265">
                  <c:v>4.9467246990184988</c:v>
                </c:pt>
                <c:pt idx="10266">
                  <c:v>4.8799653476445988</c:v>
                </c:pt>
                <c:pt idx="10267">
                  <c:v>4.9291799526117659</c:v>
                </c:pt>
                <c:pt idx="10268">
                  <c:v>4.935932715168005</c:v>
                </c:pt>
                <c:pt idx="10269">
                  <c:v>5.8851293763287309</c:v>
                </c:pt>
                <c:pt idx="10270">
                  <c:v>5.8881206191932733</c:v>
                </c:pt>
                <c:pt idx="10271">
                  <c:v>5.9853142163323954</c:v>
                </c:pt>
                <c:pt idx="10272">
                  <c:v>5.7949774213656031</c:v>
                </c:pt>
                <c:pt idx="10273">
                  <c:v>4.7938095140872958</c:v>
                </c:pt>
                <c:pt idx="10274">
                  <c:v>5.9016606672974108</c:v>
                </c:pt>
                <c:pt idx="10275">
                  <c:v>5.9181984325331687</c:v>
                </c:pt>
                <c:pt idx="10276">
                  <c:v>4.9541132836946611</c:v>
                </c:pt>
                <c:pt idx="10277">
                  <c:v>6.0410258815867488</c:v>
                </c:pt>
                <c:pt idx="10278">
                  <c:v>5.9153518122289555</c:v>
                </c:pt>
                <c:pt idx="10279">
                  <c:v>4.9741759102324936</c:v>
                </c:pt>
                <c:pt idx="10280">
                  <c:v>6.0357100736744682</c:v>
                </c:pt>
                <c:pt idx="10281">
                  <c:v>4.9476387868517957</c:v>
                </c:pt>
                <c:pt idx="10282">
                  <c:v>6.0323671252489435</c:v>
                </c:pt>
                <c:pt idx="10283">
                  <c:v>6.2213664307074206</c:v>
                </c:pt>
                <c:pt idx="10284">
                  <c:v>6.0958851446290083</c:v>
                </c:pt>
                <c:pt idx="10285">
                  <c:v>4.9887258036987392</c:v>
                </c:pt>
                <c:pt idx="10286">
                  <c:v>5.0855812098252891</c:v>
                </c:pt>
                <c:pt idx="10287">
                  <c:v>5.8816302887148844</c:v>
                </c:pt>
                <c:pt idx="10288">
                  <c:v>6.1219798455851642</c:v>
                </c:pt>
                <c:pt idx="10289">
                  <c:v>5.9638185104442671</c:v>
                </c:pt>
                <c:pt idx="10290">
                  <c:v>5.9080682932627884</c:v>
                </c:pt>
                <c:pt idx="10291">
                  <c:v>5.9680892295626942</c:v>
                </c:pt>
                <c:pt idx="10292">
                  <c:v>6.0138838878138019</c:v>
                </c:pt>
                <c:pt idx="10293">
                  <c:v>6.1428684006904417</c:v>
                </c:pt>
                <c:pt idx="10294">
                  <c:v>5.162718629816557</c:v>
                </c:pt>
                <c:pt idx="10295">
                  <c:v>6.082718812890902</c:v>
                </c:pt>
                <c:pt idx="10296">
                  <c:v>5.8829541276069941</c:v>
                </c:pt>
                <c:pt idx="10297">
                  <c:v>5.8666787338890574</c:v>
                </c:pt>
                <c:pt idx="10298">
                  <c:v>5.9887133337436413</c:v>
                </c:pt>
                <c:pt idx="10299">
                  <c:v>3.9708677954420137</c:v>
                </c:pt>
                <c:pt idx="10300">
                  <c:v>6.2409091505132093</c:v>
                </c:pt>
                <c:pt idx="10301">
                  <c:v>5.1909569067847539</c:v>
                </c:pt>
                <c:pt idx="10302">
                  <c:v>6.2880587353844319</c:v>
                </c:pt>
                <c:pt idx="10303">
                  <c:v>6.0400835960273431</c:v>
                </c:pt>
                <c:pt idx="10304">
                  <c:v>5.240898387532007</c:v>
                </c:pt>
                <c:pt idx="10305">
                  <c:v>5.0723751917454498</c:v>
                </c:pt>
                <c:pt idx="10306">
                  <c:v>4.9549087509496497</c:v>
                </c:pt>
                <c:pt idx="10307">
                  <c:v>6.0376964473713466</c:v>
                </c:pt>
                <c:pt idx="10308">
                  <c:v>4.9174513116330019</c:v>
                </c:pt>
                <c:pt idx="10309">
                  <c:v>5.9927882625194293</c:v>
                </c:pt>
                <c:pt idx="10310">
                  <c:v>5.9029027005469787</c:v>
                </c:pt>
                <c:pt idx="10311">
                  <c:v>5.0333448146088315</c:v>
                </c:pt>
                <c:pt idx="10312">
                  <c:v>5.8580084062297209</c:v>
                </c:pt>
                <c:pt idx="10313">
                  <c:v>6.0476240976564739</c:v>
                </c:pt>
                <c:pt idx="10314">
                  <c:v>5.8037952513060107</c:v>
                </c:pt>
                <c:pt idx="10315">
                  <c:v>3.1546531519755061</c:v>
                </c:pt>
                <c:pt idx="10316">
                  <c:v>3.0351372820323337</c:v>
                </c:pt>
                <c:pt idx="10317">
                  <c:v>5.9226737381753258</c:v>
                </c:pt>
                <c:pt idx="10318">
                  <c:v>2.967362238667314</c:v>
                </c:pt>
                <c:pt idx="10319">
                  <c:v>5.0530407340766734</c:v>
                </c:pt>
                <c:pt idx="10320">
                  <c:v>6.0405243773451724</c:v>
                </c:pt>
                <c:pt idx="10321">
                  <c:v>5.8980060144327195</c:v>
                </c:pt>
                <c:pt idx="10322">
                  <c:v>5.1357037191077115</c:v>
                </c:pt>
                <c:pt idx="10323">
                  <c:v>5.9773694703227411</c:v>
                </c:pt>
                <c:pt idx="10324">
                  <c:v>5.9839124862007722</c:v>
                </c:pt>
                <c:pt idx="10325">
                  <c:v>5.0489099198447818</c:v>
                </c:pt>
                <c:pt idx="10326">
                  <c:v>5.2192411853559966</c:v>
                </c:pt>
                <c:pt idx="10327">
                  <c:v>6.0499306038010126</c:v>
                </c:pt>
                <c:pt idx="10328">
                  <c:v>4.8498894376021919</c:v>
                </c:pt>
                <c:pt idx="10329">
                  <c:v>6.0957230187688829</c:v>
                </c:pt>
                <c:pt idx="10330">
                  <c:v>5.0622099033798733</c:v>
                </c:pt>
                <c:pt idx="10331">
                  <c:v>6.1154997518210061</c:v>
                </c:pt>
                <c:pt idx="10332">
                  <c:v>4.8571360421238818</c:v>
                </c:pt>
                <c:pt idx="10333">
                  <c:v>6.061045308305772</c:v>
                </c:pt>
                <c:pt idx="10334">
                  <c:v>6.1046707198439538</c:v>
                </c:pt>
                <c:pt idx="10335">
                  <c:v>6.1212828163103943</c:v>
                </c:pt>
                <c:pt idx="10336">
                  <c:v>5.075525307130123</c:v>
                </c:pt>
                <c:pt idx="10337">
                  <c:v>5.9070618535995632</c:v>
                </c:pt>
                <c:pt idx="10338">
                  <c:v>6.0937857379971563</c:v>
                </c:pt>
                <c:pt idx="10339">
                  <c:v>6.0701715123424602</c:v>
                </c:pt>
                <c:pt idx="10340">
                  <c:v>5.0893662971787439</c:v>
                </c:pt>
                <c:pt idx="10341">
                  <c:v>5.9901094851620993</c:v>
                </c:pt>
                <c:pt idx="10342">
                  <c:v>6.0545141364044941</c:v>
                </c:pt>
                <c:pt idx="10343">
                  <c:v>5.1920198596009763</c:v>
                </c:pt>
                <c:pt idx="10344">
                  <c:v>7.0699668935731861</c:v>
                </c:pt>
                <c:pt idx="10345">
                  <c:v>6.0262435478944392</c:v>
                </c:pt>
                <c:pt idx="10346">
                  <c:v>5.1308710542319345</c:v>
                </c:pt>
                <c:pt idx="10347">
                  <c:v>6.0018498002672267</c:v>
                </c:pt>
                <c:pt idx="10348">
                  <c:v>5.8544450814474613</c:v>
                </c:pt>
                <c:pt idx="10349">
                  <c:v>5.8636207572472996</c:v>
                </c:pt>
                <c:pt idx="10350">
                  <c:v>4.9858334720357158</c:v>
                </c:pt>
                <c:pt idx="10351">
                  <c:v>5.8619951874377199</c:v>
                </c:pt>
                <c:pt idx="10352">
                  <c:v>5.9067425901521329</c:v>
                </c:pt>
                <c:pt idx="10353">
                  <c:v>5.9433196794317027</c:v>
                </c:pt>
                <c:pt idx="10354">
                  <c:v>5.0093759730883081</c:v>
                </c:pt>
                <c:pt idx="10355">
                  <c:v>5.1170243619942806</c:v>
                </c:pt>
                <c:pt idx="10356">
                  <c:v>4.9519673574964207</c:v>
                </c:pt>
                <c:pt idx="10357">
                  <c:v>5.0428550588664809</c:v>
                </c:pt>
                <c:pt idx="10358">
                  <c:v>4.9764087715981518</c:v>
                </c:pt>
                <c:pt idx="10359">
                  <c:v>5.9614120534340032</c:v>
                </c:pt>
                <c:pt idx="10360">
                  <c:v>6.1363401392809713</c:v>
                </c:pt>
                <c:pt idx="10361">
                  <c:v>5.039232219175859</c:v>
                </c:pt>
                <c:pt idx="10362">
                  <c:v>7.1273820349781305</c:v>
                </c:pt>
                <c:pt idx="10363">
                  <c:v>5.0419055118160028</c:v>
                </c:pt>
                <c:pt idx="10364">
                  <c:v>4.8835320305985697</c:v>
                </c:pt>
                <c:pt idx="10365">
                  <c:v>6.0146435112399734</c:v>
                </c:pt>
                <c:pt idx="10366">
                  <c:v>7.1185472701633872</c:v>
                </c:pt>
                <c:pt idx="10367">
                  <c:v>4.9362379962183258</c:v>
                </c:pt>
                <c:pt idx="10368">
                  <c:v>6.0007888897492521</c:v>
                </c:pt>
                <c:pt idx="10369">
                  <c:v>6.1459060866363346</c:v>
                </c:pt>
                <c:pt idx="10370">
                  <c:v>6.0027647283859888</c:v>
                </c:pt>
                <c:pt idx="10371">
                  <c:v>3.9709692327323411</c:v>
                </c:pt>
                <c:pt idx="10372">
                  <c:v>4.001013342853839</c:v>
                </c:pt>
                <c:pt idx="10373">
                  <c:v>6.0452652708686569</c:v>
                </c:pt>
                <c:pt idx="10374">
                  <c:v>3.9174531511422188</c:v>
                </c:pt>
                <c:pt idx="10375">
                  <c:v>3.9726893817722528</c:v>
                </c:pt>
                <c:pt idx="10376">
                  <c:v>6.0635948011433296</c:v>
                </c:pt>
                <c:pt idx="10377">
                  <c:v>1.842097849600475</c:v>
                </c:pt>
                <c:pt idx="10378">
                  <c:v>6.01660735341967</c:v>
                </c:pt>
                <c:pt idx="10379">
                  <c:v>5.0869538039743309</c:v>
                </c:pt>
                <c:pt idx="10380">
                  <c:v>5.8969081777342662</c:v>
                </c:pt>
                <c:pt idx="10381">
                  <c:v>5.9943126800354971</c:v>
                </c:pt>
                <c:pt idx="10382">
                  <c:v>5.9564540208805816</c:v>
                </c:pt>
                <c:pt idx="10383">
                  <c:v>6.0240988302220044</c:v>
                </c:pt>
                <c:pt idx="10384">
                  <c:v>5.9789537190207618</c:v>
                </c:pt>
                <c:pt idx="10385">
                  <c:v>6.0011748841059909</c:v>
                </c:pt>
                <c:pt idx="10386">
                  <c:v>5.8569775198447669</c:v>
                </c:pt>
                <c:pt idx="10387">
                  <c:v>5.9273445014036268</c:v>
                </c:pt>
                <c:pt idx="10388">
                  <c:v>6.1239295791616861</c:v>
                </c:pt>
                <c:pt idx="10389">
                  <c:v>6.0837354918123721</c:v>
                </c:pt>
                <c:pt idx="10390">
                  <c:v>6.0623275508491172</c:v>
                </c:pt>
                <c:pt idx="10391">
                  <c:v>5.0351862301228092</c:v>
                </c:pt>
                <c:pt idx="10392">
                  <c:v>6.1276653953185365</c:v>
                </c:pt>
                <c:pt idx="10393">
                  <c:v>5.9362326729284041</c:v>
                </c:pt>
                <c:pt idx="10394">
                  <c:v>5.833532680553577</c:v>
                </c:pt>
                <c:pt idx="10395">
                  <c:v>5.8579446020835668</c:v>
                </c:pt>
                <c:pt idx="10396">
                  <c:v>5.0878474814776382</c:v>
                </c:pt>
                <c:pt idx="10397">
                  <c:v>6.044309815165243</c:v>
                </c:pt>
                <c:pt idx="10398">
                  <c:v>5.0012245636681065</c:v>
                </c:pt>
                <c:pt idx="10399">
                  <c:v>6.2841551130861895</c:v>
                </c:pt>
                <c:pt idx="10400">
                  <c:v>4.1623970912685557</c:v>
                </c:pt>
                <c:pt idx="10401">
                  <c:v>4.8937368108405668</c:v>
                </c:pt>
                <c:pt idx="10402">
                  <c:v>5.9968883674721249</c:v>
                </c:pt>
                <c:pt idx="10403">
                  <c:v>5.9409044013180434</c:v>
                </c:pt>
                <c:pt idx="10404">
                  <c:v>6.0137768762197874</c:v>
                </c:pt>
                <c:pt idx="10405">
                  <c:v>6.1554093404325414</c:v>
                </c:pt>
                <c:pt idx="10406">
                  <c:v>4.9826231293081173</c:v>
                </c:pt>
                <c:pt idx="10407">
                  <c:v>6.1315476540262166</c:v>
                </c:pt>
                <c:pt idx="10408">
                  <c:v>5.9175436894700075</c:v>
                </c:pt>
                <c:pt idx="10409">
                  <c:v>5.1068629789442967</c:v>
                </c:pt>
                <c:pt idx="10410">
                  <c:v>4.8154953910282963</c:v>
                </c:pt>
                <c:pt idx="10411">
                  <c:v>6.1155766177682054</c:v>
                </c:pt>
                <c:pt idx="10412">
                  <c:v>5.0264130601178403</c:v>
                </c:pt>
                <c:pt idx="10413">
                  <c:v>4.8138835441840211</c:v>
                </c:pt>
                <c:pt idx="10414">
                  <c:v>7.0748699597417328</c:v>
                </c:pt>
                <c:pt idx="10415">
                  <c:v>5.9589303811137659</c:v>
                </c:pt>
                <c:pt idx="10416">
                  <c:v>6.0584521781097793</c:v>
                </c:pt>
                <c:pt idx="10417">
                  <c:v>5.879940937127742</c:v>
                </c:pt>
                <c:pt idx="10418">
                  <c:v>5.9916511302686679</c:v>
                </c:pt>
                <c:pt idx="10419">
                  <c:v>6.9800062156431384</c:v>
                </c:pt>
                <c:pt idx="10420">
                  <c:v>6.0606402541913038</c:v>
                </c:pt>
                <c:pt idx="10421">
                  <c:v>5.0167566407244149</c:v>
                </c:pt>
                <c:pt idx="10422">
                  <c:v>4.9208530453408468</c:v>
                </c:pt>
                <c:pt idx="10423">
                  <c:v>6.1244537712042675</c:v>
                </c:pt>
                <c:pt idx="10424">
                  <c:v>5.9830188475384549</c:v>
                </c:pt>
                <c:pt idx="10425">
                  <c:v>4.9981413832262218</c:v>
                </c:pt>
                <c:pt idx="10426">
                  <c:v>5.9057373913458049</c:v>
                </c:pt>
                <c:pt idx="10427">
                  <c:v>6.0545796941393926</c:v>
                </c:pt>
                <c:pt idx="10428">
                  <c:v>5.9871777896163758</c:v>
                </c:pt>
                <c:pt idx="10429">
                  <c:v>6.1557562796657788</c:v>
                </c:pt>
                <c:pt idx="10430">
                  <c:v>6.0600198642240448</c:v>
                </c:pt>
                <c:pt idx="10431">
                  <c:v>6.1657451158973435</c:v>
                </c:pt>
                <c:pt idx="10432">
                  <c:v>6.0758782496498513</c:v>
                </c:pt>
                <c:pt idx="10433">
                  <c:v>5.0458071426033486</c:v>
                </c:pt>
                <c:pt idx="10434">
                  <c:v>6.1388181314009556</c:v>
                </c:pt>
                <c:pt idx="10435">
                  <c:v>5.9982160012644705</c:v>
                </c:pt>
                <c:pt idx="10436">
                  <c:v>5.9673610634824827</c:v>
                </c:pt>
                <c:pt idx="10437">
                  <c:v>6.0380606496511797</c:v>
                </c:pt>
                <c:pt idx="10438">
                  <c:v>5.1687925990355188</c:v>
                </c:pt>
                <c:pt idx="10439">
                  <c:v>5.9371132218123641</c:v>
                </c:pt>
                <c:pt idx="10440">
                  <c:v>6.0341072702099874</c:v>
                </c:pt>
                <c:pt idx="10441">
                  <c:v>6.9715420035289801</c:v>
                </c:pt>
                <c:pt idx="10442">
                  <c:v>4.9441062351032157</c:v>
                </c:pt>
                <c:pt idx="10443">
                  <c:v>5.9699874995167495</c:v>
                </c:pt>
                <c:pt idx="10444">
                  <c:v>5.1118498316878496</c:v>
                </c:pt>
                <c:pt idx="10445">
                  <c:v>5.0627730450827775</c:v>
                </c:pt>
                <c:pt idx="10446">
                  <c:v>4.961430605831568</c:v>
                </c:pt>
                <c:pt idx="10447">
                  <c:v>5.9976146631836675</c:v>
                </c:pt>
                <c:pt idx="10448">
                  <c:v>5.1352967443579889</c:v>
                </c:pt>
                <c:pt idx="10449">
                  <c:v>4.9331684072082931</c:v>
                </c:pt>
                <c:pt idx="10450">
                  <c:v>5.9196532502632477</c:v>
                </c:pt>
                <c:pt idx="10451">
                  <c:v>5.9881577925013802</c:v>
                </c:pt>
                <c:pt idx="10452">
                  <c:v>6.0197026145514334</c:v>
                </c:pt>
                <c:pt idx="10453">
                  <c:v>6.0566867849388668</c:v>
                </c:pt>
                <c:pt idx="10454">
                  <c:v>6.1230150582598313</c:v>
                </c:pt>
                <c:pt idx="10455">
                  <c:v>5.7555061661725437</c:v>
                </c:pt>
                <c:pt idx="10456">
                  <c:v>5.8687350514542453</c:v>
                </c:pt>
                <c:pt idx="10457">
                  <c:v>6.0132195811463811</c:v>
                </c:pt>
                <c:pt idx="10458">
                  <c:v>6.14248124701958</c:v>
                </c:pt>
                <c:pt idx="10459">
                  <c:v>5.9335615748880528</c:v>
                </c:pt>
                <c:pt idx="10460">
                  <c:v>5.9835357379734733</c:v>
                </c:pt>
                <c:pt idx="10461">
                  <c:v>5.9397542344662035</c:v>
                </c:pt>
                <c:pt idx="10462">
                  <c:v>6.0842756688598216</c:v>
                </c:pt>
                <c:pt idx="10463">
                  <c:v>5.9418391957177503</c:v>
                </c:pt>
                <c:pt idx="10464">
                  <c:v>5.9425444049818328</c:v>
                </c:pt>
                <c:pt idx="10465">
                  <c:v>4.8405389236858722</c:v>
                </c:pt>
                <c:pt idx="10466">
                  <c:v>7.1172580942021595</c:v>
                </c:pt>
                <c:pt idx="10467">
                  <c:v>6.0377211951503993</c:v>
                </c:pt>
                <c:pt idx="10468">
                  <c:v>4.8913321674274464</c:v>
                </c:pt>
                <c:pt idx="10469">
                  <c:v>6.0605966049688975</c:v>
                </c:pt>
                <c:pt idx="10470">
                  <c:v>5.868088443735461</c:v>
                </c:pt>
                <c:pt idx="10471">
                  <c:v>5.9573609283677804</c:v>
                </c:pt>
                <c:pt idx="10472">
                  <c:v>6.0885296219444669</c:v>
                </c:pt>
                <c:pt idx="10473">
                  <c:v>4.9221647789902478</c:v>
                </c:pt>
                <c:pt idx="10474">
                  <c:v>5.0248245523645938</c:v>
                </c:pt>
                <c:pt idx="10475">
                  <c:v>5.0886698329027311</c:v>
                </c:pt>
                <c:pt idx="10476">
                  <c:v>5.8736787931586996</c:v>
                </c:pt>
                <c:pt idx="10477">
                  <c:v>5.0379793810276698</c:v>
                </c:pt>
                <c:pt idx="10478">
                  <c:v>4.7865114781506808</c:v>
                </c:pt>
                <c:pt idx="10479">
                  <c:v>6.0428671056341212</c:v>
                </c:pt>
                <c:pt idx="10480">
                  <c:v>6.0232290726488449</c:v>
                </c:pt>
                <c:pt idx="10481">
                  <c:v>5.9085983373306119</c:v>
                </c:pt>
                <c:pt idx="10482">
                  <c:v>6.0723773496339284</c:v>
                </c:pt>
                <c:pt idx="10483">
                  <c:v>4.9363162968127794</c:v>
                </c:pt>
                <c:pt idx="10484">
                  <c:v>3.9486216246861336</c:v>
                </c:pt>
                <c:pt idx="10485">
                  <c:v>5.0247283716999345</c:v>
                </c:pt>
                <c:pt idx="10486">
                  <c:v>4.9045690172325651</c:v>
                </c:pt>
                <c:pt idx="10487">
                  <c:v>5.0453042186816388</c:v>
                </c:pt>
                <c:pt idx="10488">
                  <c:v>5.0424143137690685</c:v>
                </c:pt>
                <c:pt idx="10489">
                  <c:v>4.9151774897354992</c:v>
                </c:pt>
                <c:pt idx="10490">
                  <c:v>4.8839588260613835</c:v>
                </c:pt>
                <c:pt idx="10491">
                  <c:v>5.0880837680087598</c:v>
                </c:pt>
                <c:pt idx="10492">
                  <c:v>7.0485085728763961</c:v>
                </c:pt>
                <c:pt idx="10493">
                  <c:v>4.9380640632176895</c:v>
                </c:pt>
                <c:pt idx="10494">
                  <c:v>6.0739724150234062</c:v>
                </c:pt>
                <c:pt idx="10495">
                  <c:v>7.1225605232732594</c:v>
                </c:pt>
                <c:pt idx="10496">
                  <c:v>5.9189252846860283</c:v>
                </c:pt>
                <c:pt idx="10497">
                  <c:v>6.105613542937002</c:v>
                </c:pt>
                <c:pt idx="10498">
                  <c:v>6.0411243894897311</c:v>
                </c:pt>
                <c:pt idx="10499">
                  <c:v>5.006579423397608</c:v>
                </c:pt>
                <c:pt idx="10500">
                  <c:v>6.090556504607247</c:v>
                </c:pt>
                <c:pt idx="10501">
                  <c:v>4.9989661059783197</c:v>
                </c:pt>
                <c:pt idx="10502">
                  <c:v>6.0476052829754687</c:v>
                </c:pt>
                <c:pt idx="10503">
                  <c:v>5.2354110287026092</c:v>
                </c:pt>
                <c:pt idx="10504">
                  <c:v>5.9240705663199043</c:v>
                </c:pt>
                <c:pt idx="10505">
                  <c:v>5.1648896374110658</c:v>
                </c:pt>
                <c:pt idx="10506">
                  <c:v>6.0325985072084345</c:v>
                </c:pt>
                <c:pt idx="10507">
                  <c:v>6.0043534683325701</c:v>
                </c:pt>
                <c:pt idx="10508">
                  <c:v>6.2104388222473501</c:v>
                </c:pt>
                <c:pt idx="10509">
                  <c:v>5.0108983205983382</c:v>
                </c:pt>
                <c:pt idx="10510">
                  <c:v>4.9983798257494536</c:v>
                </c:pt>
                <c:pt idx="10511">
                  <c:v>6.1870594589888883</c:v>
                </c:pt>
                <c:pt idx="10512">
                  <c:v>5.2162317996041647</c:v>
                </c:pt>
                <c:pt idx="10513">
                  <c:v>5.9401254859045958</c:v>
                </c:pt>
                <c:pt idx="10514">
                  <c:v>5.0965983740880869</c:v>
                </c:pt>
                <c:pt idx="10515">
                  <c:v>4.9777972615748629</c:v>
                </c:pt>
                <c:pt idx="10516">
                  <c:v>5.1725324921697133</c:v>
                </c:pt>
                <c:pt idx="10517">
                  <c:v>5.953501933995093</c:v>
                </c:pt>
                <c:pt idx="10518">
                  <c:v>6.1042508864131229</c:v>
                </c:pt>
                <c:pt idx="10519">
                  <c:v>6.0479356275100589</c:v>
                </c:pt>
                <c:pt idx="10520">
                  <c:v>5.0426393803464586</c:v>
                </c:pt>
                <c:pt idx="10521">
                  <c:v>7.0699582207617189</c:v>
                </c:pt>
                <c:pt idx="10522">
                  <c:v>6.1123787846071922</c:v>
                </c:pt>
                <c:pt idx="10523">
                  <c:v>6.999536478317375</c:v>
                </c:pt>
                <c:pt idx="10524">
                  <c:v>4.9914616353629624</c:v>
                </c:pt>
                <c:pt idx="10525">
                  <c:v>6.0542949573861931</c:v>
                </c:pt>
                <c:pt idx="10526">
                  <c:v>5.9473189744689767</c:v>
                </c:pt>
                <c:pt idx="10527">
                  <c:v>6.0355550799329833</c:v>
                </c:pt>
                <c:pt idx="10528">
                  <c:v>6.1757598625156289</c:v>
                </c:pt>
                <c:pt idx="10529">
                  <c:v>5.8216658372869112</c:v>
                </c:pt>
                <c:pt idx="10530">
                  <c:v>6.0762564912353625</c:v>
                </c:pt>
                <c:pt idx="10531">
                  <c:v>6.1377156812982978</c:v>
                </c:pt>
                <c:pt idx="10532">
                  <c:v>6.1334315276681464</c:v>
                </c:pt>
                <c:pt idx="10533">
                  <c:v>5.9312051217140374</c:v>
                </c:pt>
                <c:pt idx="10534">
                  <c:v>5.9533003704130349</c:v>
                </c:pt>
                <c:pt idx="10535">
                  <c:v>6.0403646923084811</c:v>
                </c:pt>
                <c:pt idx="10536">
                  <c:v>5.9797093373598695</c:v>
                </c:pt>
                <c:pt idx="10537">
                  <c:v>5.9278799964221749</c:v>
                </c:pt>
                <c:pt idx="10538">
                  <c:v>6.1834191782905723</c:v>
                </c:pt>
                <c:pt idx="10539">
                  <c:v>6.2800139844826335</c:v>
                </c:pt>
                <c:pt idx="10540">
                  <c:v>4.9520013769325093</c:v>
                </c:pt>
                <c:pt idx="10541">
                  <c:v>7.1951437630022737</c:v>
                </c:pt>
                <c:pt idx="10542">
                  <c:v>6.1434192626576056</c:v>
                </c:pt>
                <c:pt idx="10543">
                  <c:v>5.0124907540432577</c:v>
                </c:pt>
                <c:pt idx="10544">
                  <c:v>5.0426252741863244</c:v>
                </c:pt>
                <c:pt idx="10545">
                  <c:v>6.065348819854556</c:v>
                </c:pt>
                <c:pt idx="10546">
                  <c:v>4.9572871274091455</c:v>
                </c:pt>
                <c:pt idx="10547">
                  <c:v>4.9986117991357162</c:v>
                </c:pt>
                <c:pt idx="10548">
                  <c:v>4.0947362339139142</c:v>
                </c:pt>
                <c:pt idx="10549">
                  <c:v>4.961102736520437</c:v>
                </c:pt>
                <c:pt idx="10550">
                  <c:v>6.0556784731047646</c:v>
                </c:pt>
                <c:pt idx="10551">
                  <c:v>5.0717918998425331</c:v>
                </c:pt>
                <c:pt idx="10552">
                  <c:v>4.90162616563632</c:v>
                </c:pt>
                <c:pt idx="10553">
                  <c:v>5.9969062147209975</c:v>
                </c:pt>
                <c:pt idx="10554">
                  <c:v>5.946511469856409</c:v>
                </c:pt>
                <c:pt idx="10555">
                  <c:v>5.1084301556876044</c:v>
                </c:pt>
                <c:pt idx="10556">
                  <c:v>5.9210134029018331</c:v>
                </c:pt>
                <c:pt idx="10557">
                  <c:v>6.1070958270494344</c:v>
                </c:pt>
                <c:pt idx="10558">
                  <c:v>6.9613427760838729</c:v>
                </c:pt>
                <c:pt idx="10559">
                  <c:v>6.0490099518472551</c:v>
                </c:pt>
                <c:pt idx="10560">
                  <c:v>4.9509839665998427</c:v>
                </c:pt>
                <c:pt idx="10561">
                  <c:v>6.0907432853277506</c:v>
                </c:pt>
                <c:pt idx="10562">
                  <c:v>5.9272298051246439</c:v>
                </c:pt>
                <c:pt idx="10563">
                  <c:v>4.9145204015084891</c:v>
                </c:pt>
                <c:pt idx="10564">
                  <c:v>5.1135484687685526</c:v>
                </c:pt>
                <c:pt idx="10565">
                  <c:v>5.9435904935021187</c:v>
                </c:pt>
                <c:pt idx="10566">
                  <c:v>5.9059843828608933</c:v>
                </c:pt>
                <c:pt idx="10567">
                  <c:v>5.1240615786628005</c:v>
                </c:pt>
                <c:pt idx="10568">
                  <c:v>4.9298641159387211</c:v>
                </c:pt>
                <c:pt idx="10569">
                  <c:v>4.9252570453359601</c:v>
                </c:pt>
                <c:pt idx="10570">
                  <c:v>5.9924077013492481</c:v>
                </c:pt>
                <c:pt idx="10571">
                  <c:v>6.9213444724072701</c:v>
                </c:pt>
                <c:pt idx="10572">
                  <c:v>6.0218611543448954</c:v>
                </c:pt>
                <c:pt idx="10573">
                  <c:v>5.9048635009007251</c:v>
                </c:pt>
                <c:pt idx="10574">
                  <c:v>5.9019222243040206</c:v>
                </c:pt>
                <c:pt idx="10575">
                  <c:v>5.9716324055296992</c:v>
                </c:pt>
                <c:pt idx="10576">
                  <c:v>5.9684481577951276</c:v>
                </c:pt>
                <c:pt idx="10577">
                  <c:v>4.9316633105260532</c:v>
                </c:pt>
                <c:pt idx="10578">
                  <c:v>6.1909350642411276</c:v>
                </c:pt>
                <c:pt idx="10579">
                  <c:v>7.0932670005970069</c:v>
                </c:pt>
                <c:pt idx="10580">
                  <c:v>6.2591697004001858</c:v>
                </c:pt>
                <c:pt idx="10581">
                  <c:v>7.0475104648861162</c:v>
                </c:pt>
                <c:pt idx="10582">
                  <c:v>6.9096807129347591</c:v>
                </c:pt>
                <c:pt idx="10583">
                  <c:v>6.1319146281729422</c:v>
                </c:pt>
                <c:pt idx="10584">
                  <c:v>6.8746522106946184</c:v>
                </c:pt>
                <c:pt idx="10585">
                  <c:v>3.8184611846911847</c:v>
                </c:pt>
                <c:pt idx="10586">
                  <c:v>6.0364890786615835</c:v>
                </c:pt>
                <c:pt idx="10587">
                  <c:v>7.210197237728635</c:v>
                </c:pt>
                <c:pt idx="10588">
                  <c:v>6.015816394061356</c:v>
                </c:pt>
                <c:pt idx="10589">
                  <c:v>5.9695549046577376</c:v>
                </c:pt>
                <c:pt idx="10590">
                  <c:v>5.0345129081093472</c:v>
                </c:pt>
                <c:pt idx="10591">
                  <c:v>5.7786856507105897</c:v>
                </c:pt>
                <c:pt idx="10592">
                  <c:v>6.1392907012419622</c:v>
                </c:pt>
                <c:pt idx="10593">
                  <c:v>4.1399151652882082</c:v>
                </c:pt>
                <c:pt idx="10594">
                  <c:v>6.1794577308838017</c:v>
                </c:pt>
                <c:pt idx="10595">
                  <c:v>5.9827460317608798</c:v>
                </c:pt>
                <c:pt idx="10596">
                  <c:v>6.043957131103892</c:v>
                </c:pt>
                <c:pt idx="10597">
                  <c:v>6.086530568717115</c:v>
                </c:pt>
                <c:pt idx="10598">
                  <c:v>6.072212751988558</c:v>
                </c:pt>
                <c:pt idx="10599">
                  <c:v>5.9887702479860945</c:v>
                </c:pt>
                <c:pt idx="10600">
                  <c:v>7.1980863359553826</c:v>
                </c:pt>
                <c:pt idx="10601">
                  <c:v>6.1228490667905859</c:v>
                </c:pt>
                <c:pt idx="10602">
                  <c:v>6.2987597345341264</c:v>
                </c:pt>
                <c:pt idx="10603">
                  <c:v>5.9229243083786596</c:v>
                </c:pt>
                <c:pt idx="10604">
                  <c:v>5.8096933745848229</c:v>
                </c:pt>
                <c:pt idx="10605">
                  <c:v>6.1192050915377809</c:v>
                </c:pt>
                <c:pt idx="10606">
                  <c:v>6.0327703881114596</c:v>
                </c:pt>
                <c:pt idx="10607">
                  <c:v>5.0222280247323825</c:v>
                </c:pt>
                <c:pt idx="10608">
                  <c:v>6.0667199583331319</c:v>
                </c:pt>
                <c:pt idx="10609">
                  <c:v>5.9428204202995767</c:v>
                </c:pt>
                <c:pt idx="10610">
                  <c:v>5.9305783289733114</c:v>
                </c:pt>
                <c:pt idx="10611">
                  <c:v>5.8334320468618444</c:v>
                </c:pt>
                <c:pt idx="10612">
                  <c:v>5.9172633756356099</c:v>
                </c:pt>
                <c:pt idx="10613">
                  <c:v>6.0119504346674919</c:v>
                </c:pt>
                <c:pt idx="10614">
                  <c:v>6.141912412121024</c:v>
                </c:pt>
                <c:pt idx="10615">
                  <c:v>5.9580289145368877</c:v>
                </c:pt>
                <c:pt idx="10616">
                  <c:v>7.0764797161909714</c:v>
                </c:pt>
                <c:pt idx="10617">
                  <c:v>4.9641455176723346</c:v>
                </c:pt>
                <c:pt idx="10618">
                  <c:v>6.1314533274194147</c:v>
                </c:pt>
                <c:pt idx="10619">
                  <c:v>6.0981719196615947</c:v>
                </c:pt>
                <c:pt idx="10620">
                  <c:v>6.1361937976411127</c:v>
                </c:pt>
                <c:pt idx="10621">
                  <c:v>5.8641912033328953</c:v>
                </c:pt>
                <c:pt idx="10622">
                  <c:v>6.112905039366094</c:v>
                </c:pt>
                <c:pt idx="10623">
                  <c:v>4.8858004036587959</c:v>
                </c:pt>
                <c:pt idx="10624">
                  <c:v>6.0071839489043555</c:v>
                </c:pt>
                <c:pt idx="10625">
                  <c:v>6.0744912100022033</c:v>
                </c:pt>
                <c:pt idx="10626">
                  <c:v>6.0353114717138663</c:v>
                </c:pt>
                <c:pt idx="10627">
                  <c:v>5.943288844279655</c:v>
                </c:pt>
                <c:pt idx="10628">
                  <c:v>5.9720031304577308</c:v>
                </c:pt>
                <c:pt idx="10629">
                  <c:v>5.9080299747713276</c:v>
                </c:pt>
                <c:pt idx="10630">
                  <c:v>5.9461737079604973</c:v>
                </c:pt>
                <c:pt idx="10631">
                  <c:v>6.1030113267924522</c:v>
                </c:pt>
                <c:pt idx="10632">
                  <c:v>6.0730477942629566</c:v>
                </c:pt>
                <c:pt idx="10633">
                  <c:v>7.0934938682185633</c:v>
                </c:pt>
                <c:pt idx="10634">
                  <c:v>4.9095724442374955</c:v>
                </c:pt>
                <c:pt idx="10635">
                  <c:v>6.1241561251015693</c:v>
                </c:pt>
                <c:pt idx="10636">
                  <c:v>5.8834161246500916</c:v>
                </c:pt>
                <c:pt idx="10637">
                  <c:v>6.0573048726692216</c:v>
                </c:pt>
                <c:pt idx="10638">
                  <c:v>5.9037643534095858</c:v>
                </c:pt>
                <c:pt idx="10639">
                  <c:v>5.9392713465030447</c:v>
                </c:pt>
                <c:pt idx="10640">
                  <c:v>6.9499185954348235</c:v>
                </c:pt>
                <c:pt idx="10641">
                  <c:v>5.8754828284694245</c:v>
                </c:pt>
                <c:pt idx="10642">
                  <c:v>5.9813044588384523</c:v>
                </c:pt>
                <c:pt idx="10643">
                  <c:v>5.959061281820607</c:v>
                </c:pt>
                <c:pt idx="10644">
                  <c:v>5.9640232455291109</c:v>
                </c:pt>
                <c:pt idx="10645">
                  <c:v>5.9331769209105545</c:v>
                </c:pt>
                <c:pt idx="10646">
                  <c:v>5.9399496807491756</c:v>
                </c:pt>
                <c:pt idx="10647">
                  <c:v>6.1434407407260681</c:v>
                </c:pt>
                <c:pt idx="10648">
                  <c:v>6.0950492792198014</c:v>
                </c:pt>
                <c:pt idx="10649">
                  <c:v>6.057108053595762</c:v>
                </c:pt>
                <c:pt idx="10650">
                  <c:v>5.0305609484533313</c:v>
                </c:pt>
                <c:pt idx="10651">
                  <c:v>6.09916028562506</c:v>
                </c:pt>
                <c:pt idx="10652">
                  <c:v>5.7980216893155179</c:v>
                </c:pt>
                <c:pt idx="10653">
                  <c:v>5.9480408428146765</c:v>
                </c:pt>
                <c:pt idx="10654">
                  <c:v>5.8940931004560868</c:v>
                </c:pt>
                <c:pt idx="10655">
                  <c:v>6.9732310927058982</c:v>
                </c:pt>
                <c:pt idx="10656">
                  <c:v>5.9585038628979383</c:v>
                </c:pt>
                <c:pt idx="10657">
                  <c:v>5.8746931589036988</c:v>
                </c:pt>
                <c:pt idx="10658">
                  <c:v>5.0678404639745507</c:v>
                </c:pt>
                <c:pt idx="10659">
                  <c:v>6.1210693009386858</c:v>
                </c:pt>
                <c:pt idx="10660">
                  <c:v>5.9490328597711812</c:v>
                </c:pt>
                <c:pt idx="10661">
                  <c:v>6.0902318727492055</c:v>
                </c:pt>
                <c:pt idx="10662">
                  <c:v>4.9658519721403138</c:v>
                </c:pt>
                <c:pt idx="10663">
                  <c:v>6.2060248896343282</c:v>
                </c:pt>
                <c:pt idx="10664">
                  <c:v>3.9826272924559514</c:v>
                </c:pt>
                <c:pt idx="10665">
                  <c:v>7.0061381111511123</c:v>
                </c:pt>
                <c:pt idx="10666">
                  <c:v>6.9660047535693437</c:v>
                </c:pt>
                <c:pt idx="10667">
                  <c:v>6.0579906081099884</c:v>
                </c:pt>
                <c:pt idx="10668">
                  <c:v>5.9678275509465335</c:v>
                </c:pt>
                <c:pt idx="10669">
                  <c:v>6.0178196411924469</c:v>
                </c:pt>
                <c:pt idx="10670">
                  <c:v>6.0793862430200285</c:v>
                </c:pt>
                <c:pt idx="10671">
                  <c:v>5.8967682214081405</c:v>
                </c:pt>
                <c:pt idx="10672">
                  <c:v>6.1505574848919782</c:v>
                </c:pt>
                <c:pt idx="10673">
                  <c:v>5.7619453734082633</c:v>
                </c:pt>
                <c:pt idx="10674">
                  <c:v>5.9778989679442756</c:v>
                </c:pt>
                <c:pt idx="10675">
                  <c:v>5.9051974222851138</c:v>
                </c:pt>
                <c:pt idx="10676">
                  <c:v>5.2044578094288756</c:v>
                </c:pt>
                <c:pt idx="10677">
                  <c:v>5.9251664963507178</c:v>
                </c:pt>
                <c:pt idx="10678">
                  <c:v>6.0214503665310337</c:v>
                </c:pt>
                <c:pt idx="10679">
                  <c:v>5.963094731619635</c:v>
                </c:pt>
                <c:pt idx="10680">
                  <c:v>5.9051404310543161</c:v>
                </c:pt>
                <c:pt idx="10681">
                  <c:v>6.1192501840841071</c:v>
                </c:pt>
                <c:pt idx="10682">
                  <c:v>6.0691075849577079</c:v>
                </c:pt>
                <c:pt idx="10683">
                  <c:v>5.8940889020076153</c:v>
                </c:pt>
                <c:pt idx="10684">
                  <c:v>5.2162913768589236</c:v>
                </c:pt>
                <c:pt idx="10685">
                  <c:v>5.9764940258823041</c:v>
                </c:pt>
                <c:pt idx="10686">
                  <c:v>6.0806766530123406</c:v>
                </c:pt>
                <c:pt idx="10687">
                  <c:v>5.9367202254450495</c:v>
                </c:pt>
                <c:pt idx="10688">
                  <c:v>5.7564363839923338</c:v>
                </c:pt>
                <c:pt idx="10689">
                  <c:v>6.1911875496259148</c:v>
                </c:pt>
                <c:pt idx="10690">
                  <c:v>5.7751930015944755</c:v>
                </c:pt>
                <c:pt idx="10691">
                  <c:v>6.0422442727265127</c:v>
                </c:pt>
                <c:pt idx="10692">
                  <c:v>5.8568248551340849</c:v>
                </c:pt>
                <c:pt idx="10693">
                  <c:v>6.0027603419108067</c:v>
                </c:pt>
                <c:pt idx="10694">
                  <c:v>6.0207294235945135</c:v>
                </c:pt>
                <c:pt idx="10695">
                  <c:v>6.0059172789479964</c:v>
                </c:pt>
                <c:pt idx="10696">
                  <c:v>5.9109199416115867</c:v>
                </c:pt>
                <c:pt idx="10697">
                  <c:v>5.9161020894620027</c:v>
                </c:pt>
                <c:pt idx="10698">
                  <c:v>5.9231171651892733</c:v>
                </c:pt>
                <c:pt idx="10699">
                  <c:v>6.1072557021270724</c:v>
                </c:pt>
                <c:pt idx="10700">
                  <c:v>5.0414440137616081</c:v>
                </c:pt>
                <c:pt idx="10701">
                  <c:v>5.911284838047294</c:v>
                </c:pt>
                <c:pt idx="10702">
                  <c:v>6.1133775921334816</c:v>
                </c:pt>
                <c:pt idx="10703">
                  <c:v>5.950883891208135</c:v>
                </c:pt>
                <c:pt idx="10704">
                  <c:v>6.0807812610818273</c:v>
                </c:pt>
                <c:pt idx="10705">
                  <c:v>4.9516644163116563</c:v>
                </c:pt>
                <c:pt idx="10706">
                  <c:v>5.9414961756580498</c:v>
                </c:pt>
                <c:pt idx="10707">
                  <c:v>5.0828192470106801</c:v>
                </c:pt>
                <c:pt idx="10708">
                  <c:v>5.1471920972558074</c:v>
                </c:pt>
                <c:pt idx="10709">
                  <c:v>5.820369093128809</c:v>
                </c:pt>
                <c:pt idx="10710">
                  <c:v>5.9743273178691947</c:v>
                </c:pt>
                <c:pt idx="10711">
                  <c:v>6.1599580851407962</c:v>
                </c:pt>
                <c:pt idx="10712">
                  <c:v>5.8762551973304742</c:v>
                </c:pt>
                <c:pt idx="10713">
                  <c:v>5.1233280782957396</c:v>
                </c:pt>
                <c:pt idx="10714">
                  <c:v>5.0904164108736927</c:v>
                </c:pt>
                <c:pt idx="10715">
                  <c:v>4.8575146434491883</c:v>
                </c:pt>
                <c:pt idx="10716">
                  <c:v>6.0315382939131181</c:v>
                </c:pt>
                <c:pt idx="10717">
                  <c:v>6.2109839730214365</c:v>
                </c:pt>
                <c:pt idx="10718">
                  <c:v>5.9516622285715481</c:v>
                </c:pt>
                <c:pt idx="10719">
                  <c:v>4.8159130177012068</c:v>
                </c:pt>
                <c:pt idx="10720">
                  <c:v>5.8948202367940166</c:v>
                </c:pt>
                <c:pt idx="10721">
                  <c:v>7.144895961794969</c:v>
                </c:pt>
                <c:pt idx="10722">
                  <c:v>5.912537525585611</c:v>
                </c:pt>
                <c:pt idx="10723">
                  <c:v>5.9449550842411636</c:v>
                </c:pt>
                <c:pt idx="10724">
                  <c:v>4.9679226191451464</c:v>
                </c:pt>
                <c:pt idx="10725">
                  <c:v>4.8192399950828388</c:v>
                </c:pt>
                <c:pt idx="10726">
                  <c:v>5.1170303524946537</c:v>
                </c:pt>
                <c:pt idx="10727">
                  <c:v>4.8427527434004833</c:v>
                </c:pt>
                <c:pt idx="10728">
                  <c:v>6.9855788294721339</c:v>
                </c:pt>
                <c:pt idx="10729">
                  <c:v>6.8943660671541904</c:v>
                </c:pt>
                <c:pt idx="10730">
                  <c:v>4.9354756758703591</c:v>
                </c:pt>
                <c:pt idx="10731">
                  <c:v>5.1359765373736899</c:v>
                </c:pt>
                <c:pt idx="10732">
                  <c:v>4.2387691433860777</c:v>
                </c:pt>
                <c:pt idx="10733">
                  <c:v>6.1887099112606592</c:v>
                </c:pt>
                <c:pt idx="10734">
                  <c:v>5.1052211297304595</c:v>
                </c:pt>
                <c:pt idx="10735">
                  <c:v>6.2141497623904716</c:v>
                </c:pt>
                <c:pt idx="10736">
                  <c:v>5.0376532054817327</c:v>
                </c:pt>
                <c:pt idx="10737">
                  <c:v>7.0924040209009585</c:v>
                </c:pt>
                <c:pt idx="10738">
                  <c:v>6.0608410806425166</c:v>
                </c:pt>
                <c:pt idx="10739">
                  <c:v>4.8983240974581967</c:v>
                </c:pt>
                <c:pt idx="10740">
                  <c:v>6.1036297156926906</c:v>
                </c:pt>
                <c:pt idx="10741">
                  <c:v>6.0128599085108112</c:v>
                </c:pt>
                <c:pt idx="10742">
                  <c:v>5.8587368857909583</c:v>
                </c:pt>
                <c:pt idx="10743">
                  <c:v>5.9554892328934894</c:v>
                </c:pt>
                <c:pt idx="10744">
                  <c:v>5.891547716903724</c:v>
                </c:pt>
                <c:pt idx="10745">
                  <c:v>5.9655465572984481</c:v>
                </c:pt>
                <c:pt idx="10746">
                  <c:v>6.1439857519175369</c:v>
                </c:pt>
                <c:pt idx="10747">
                  <c:v>4.9040896220763663</c:v>
                </c:pt>
                <c:pt idx="10748">
                  <c:v>4.9047786261943864</c:v>
                </c:pt>
                <c:pt idx="10749">
                  <c:v>6.0850422194796208</c:v>
                </c:pt>
                <c:pt idx="10750">
                  <c:v>5.8946662296475534</c:v>
                </c:pt>
                <c:pt idx="10751">
                  <c:v>5.8097268048912998</c:v>
                </c:pt>
                <c:pt idx="10752">
                  <c:v>5.2591817013474103</c:v>
                </c:pt>
                <c:pt idx="10753">
                  <c:v>5.8719481110332117</c:v>
                </c:pt>
                <c:pt idx="10754">
                  <c:v>6.1517976704977286</c:v>
                </c:pt>
                <c:pt idx="10755">
                  <c:v>3.8949335234146929</c:v>
                </c:pt>
                <c:pt idx="10756">
                  <c:v>5.9365672854001641</c:v>
                </c:pt>
                <c:pt idx="10757">
                  <c:v>5.0019171259007749</c:v>
                </c:pt>
                <c:pt idx="10758">
                  <c:v>6.0541603917199343</c:v>
                </c:pt>
                <c:pt idx="10759">
                  <c:v>4.9491173551649466</c:v>
                </c:pt>
                <c:pt idx="10760">
                  <c:v>5.0300944142030026</c:v>
                </c:pt>
                <c:pt idx="10761">
                  <c:v>6.0537337042540029</c:v>
                </c:pt>
                <c:pt idx="10762">
                  <c:v>5.9567896469839567</c:v>
                </c:pt>
                <c:pt idx="10763">
                  <c:v>5.8730185491408831</c:v>
                </c:pt>
                <c:pt idx="10764">
                  <c:v>6.1498181445179156</c:v>
                </c:pt>
                <c:pt idx="10765">
                  <c:v>6.0626402771362837</c:v>
                </c:pt>
                <c:pt idx="10766">
                  <c:v>5.1337028860644756</c:v>
                </c:pt>
                <c:pt idx="10767">
                  <c:v>5.0031115012522784</c:v>
                </c:pt>
                <c:pt idx="10768">
                  <c:v>6.1000965512804388</c:v>
                </c:pt>
                <c:pt idx="10769">
                  <c:v>4.9957638650343661</c:v>
                </c:pt>
                <c:pt idx="10770">
                  <c:v>6.0712615577121696</c:v>
                </c:pt>
                <c:pt idx="10771">
                  <c:v>4.0041919356863218</c:v>
                </c:pt>
                <c:pt idx="10772">
                  <c:v>4.1087253507865533</c:v>
                </c:pt>
                <c:pt idx="10773">
                  <c:v>4.9215676231966077</c:v>
                </c:pt>
                <c:pt idx="10774">
                  <c:v>5.8919585789779108</c:v>
                </c:pt>
                <c:pt idx="10775">
                  <c:v>6.062937512398622</c:v>
                </c:pt>
                <c:pt idx="10776">
                  <c:v>4.0665246551211922</c:v>
                </c:pt>
                <c:pt idx="10777">
                  <c:v>5.9604398087155701</c:v>
                </c:pt>
                <c:pt idx="10778">
                  <c:v>6.0715494296352359</c:v>
                </c:pt>
                <c:pt idx="10779">
                  <c:v>4.7939250422549247</c:v>
                </c:pt>
                <c:pt idx="10780">
                  <c:v>4.9749081706423066</c:v>
                </c:pt>
                <c:pt idx="10781">
                  <c:v>3.9201020046978892</c:v>
                </c:pt>
                <c:pt idx="10782">
                  <c:v>5.0775047172573222</c:v>
                </c:pt>
                <c:pt idx="10783">
                  <c:v>4.8735615442041942</c:v>
                </c:pt>
                <c:pt idx="10784">
                  <c:v>5.9852214889929707</c:v>
                </c:pt>
                <c:pt idx="10785">
                  <c:v>5.9123457370320001</c:v>
                </c:pt>
                <c:pt idx="10786">
                  <c:v>4.8274184212549072</c:v>
                </c:pt>
                <c:pt idx="10787">
                  <c:v>5.0268340188611873</c:v>
                </c:pt>
                <c:pt idx="10788">
                  <c:v>5.954347946153316</c:v>
                </c:pt>
                <c:pt idx="10789">
                  <c:v>4.843432627691894</c:v>
                </c:pt>
                <c:pt idx="10790">
                  <c:v>5.9740549664038198</c:v>
                </c:pt>
                <c:pt idx="10791">
                  <c:v>7.0918399366671263</c:v>
                </c:pt>
                <c:pt idx="10792">
                  <c:v>4.95670711263777</c:v>
                </c:pt>
                <c:pt idx="10793">
                  <c:v>7.1493092139444432</c:v>
                </c:pt>
                <c:pt idx="10794">
                  <c:v>7.076675625839921</c:v>
                </c:pt>
                <c:pt idx="10795">
                  <c:v>6.0940019864898431</c:v>
                </c:pt>
                <c:pt idx="10796">
                  <c:v>6.1224278946037405</c:v>
                </c:pt>
                <c:pt idx="10797">
                  <c:v>5.9859441093351426</c:v>
                </c:pt>
                <c:pt idx="10798">
                  <c:v>5.0972306794006057</c:v>
                </c:pt>
                <c:pt idx="10799">
                  <c:v>5.9290353552932338</c:v>
                </c:pt>
                <c:pt idx="10800">
                  <c:v>6.1042992490928611</c:v>
                </c:pt>
                <c:pt idx="10801">
                  <c:v>4.8491738005121015</c:v>
                </c:pt>
                <c:pt idx="10802">
                  <c:v>5.058477963097026</c:v>
                </c:pt>
                <c:pt idx="10803">
                  <c:v>4.8512469869335542</c:v>
                </c:pt>
                <c:pt idx="10804">
                  <c:v>5.9078080503493355</c:v>
                </c:pt>
                <c:pt idx="10805">
                  <c:v>5.961013076162013</c:v>
                </c:pt>
                <c:pt idx="10806">
                  <c:v>5.0464219700671551</c:v>
                </c:pt>
                <c:pt idx="10807">
                  <c:v>5.9101748623585335</c:v>
                </c:pt>
                <c:pt idx="10808">
                  <c:v>5.832002418792487</c:v>
                </c:pt>
                <c:pt idx="10809">
                  <c:v>5.0681394896302887</c:v>
                </c:pt>
                <c:pt idx="10810">
                  <c:v>4.8803715238401324</c:v>
                </c:pt>
                <c:pt idx="10811">
                  <c:v>5.9907289086432565</c:v>
                </c:pt>
                <c:pt idx="10812">
                  <c:v>3.9471634790893875</c:v>
                </c:pt>
                <c:pt idx="10813">
                  <c:v>5.0291510515634146</c:v>
                </c:pt>
                <c:pt idx="10814">
                  <c:v>6.1100959438094318</c:v>
                </c:pt>
                <c:pt idx="10815">
                  <c:v>5.8704908562830971</c:v>
                </c:pt>
                <c:pt idx="10816">
                  <c:v>6.8460412204095569</c:v>
                </c:pt>
                <c:pt idx="10817">
                  <c:v>5.0083143930327294</c:v>
                </c:pt>
                <c:pt idx="10818">
                  <c:v>7.0672561648723065</c:v>
                </c:pt>
                <c:pt idx="10819">
                  <c:v>4.9551955392303837</c:v>
                </c:pt>
                <c:pt idx="10820">
                  <c:v>6.0707897564560183</c:v>
                </c:pt>
                <c:pt idx="10821">
                  <c:v>5.084344049603887</c:v>
                </c:pt>
                <c:pt idx="10822">
                  <c:v>6.1074895664582014</c:v>
                </c:pt>
                <c:pt idx="10823">
                  <c:v>6.0185818257652128</c:v>
                </c:pt>
                <c:pt idx="10824">
                  <c:v>4.974412659013832</c:v>
                </c:pt>
                <c:pt idx="10825">
                  <c:v>5.0355943169983668</c:v>
                </c:pt>
                <c:pt idx="10826">
                  <c:v>5.9948966214843074</c:v>
                </c:pt>
                <c:pt idx="10827">
                  <c:v>6.9730110178379618</c:v>
                </c:pt>
                <c:pt idx="10828">
                  <c:v>5.2049435934799639</c:v>
                </c:pt>
                <c:pt idx="10829">
                  <c:v>5.0376162744865356</c:v>
                </c:pt>
                <c:pt idx="10830">
                  <c:v>4.9931294088286204</c:v>
                </c:pt>
                <c:pt idx="10831">
                  <c:v>4.8886329355568847</c:v>
                </c:pt>
                <c:pt idx="10832">
                  <c:v>6.0026455476462566</c:v>
                </c:pt>
                <c:pt idx="10833">
                  <c:v>5.1045571690279665</c:v>
                </c:pt>
                <c:pt idx="10834">
                  <c:v>5.944935334415101</c:v>
                </c:pt>
                <c:pt idx="10835">
                  <c:v>4.9002575382775895</c:v>
                </c:pt>
                <c:pt idx="10836">
                  <c:v>6.1203176930893397</c:v>
                </c:pt>
                <c:pt idx="10837">
                  <c:v>5.0002860794435735</c:v>
                </c:pt>
                <c:pt idx="10838">
                  <c:v>5.8890787467206174</c:v>
                </c:pt>
                <c:pt idx="10839">
                  <c:v>6.0697851695014782</c:v>
                </c:pt>
                <c:pt idx="10840">
                  <c:v>6.0338830805711785</c:v>
                </c:pt>
                <c:pt idx="10841">
                  <c:v>7.0875762248793972</c:v>
                </c:pt>
                <c:pt idx="10842">
                  <c:v>7.1200374769302615</c:v>
                </c:pt>
                <c:pt idx="10843">
                  <c:v>7.1196741613365662</c:v>
                </c:pt>
                <c:pt idx="10844">
                  <c:v>5.0804734034981172</c:v>
                </c:pt>
                <c:pt idx="10845">
                  <c:v>5.0956549490515695</c:v>
                </c:pt>
                <c:pt idx="10846">
                  <c:v>4.9227488875608918</c:v>
                </c:pt>
                <c:pt idx="10847">
                  <c:v>5.148601657352434</c:v>
                </c:pt>
                <c:pt idx="10848">
                  <c:v>5.0153879592108961</c:v>
                </c:pt>
                <c:pt idx="10849">
                  <c:v>4.6793480769077958</c:v>
                </c:pt>
                <c:pt idx="10850">
                  <c:v>4.8671093305779065</c:v>
                </c:pt>
                <c:pt idx="10851">
                  <c:v>5.1871442457638084</c:v>
                </c:pt>
                <c:pt idx="10852">
                  <c:v>4.9257397240820717</c:v>
                </c:pt>
                <c:pt idx="10853">
                  <c:v>5.0676171782749337</c:v>
                </c:pt>
                <c:pt idx="10854">
                  <c:v>5.9704337087680308</c:v>
                </c:pt>
                <c:pt idx="10855">
                  <c:v>4.8520649227548454</c:v>
                </c:pt>
                <c:pt idx="10856">
                  <c:v>5.0956712753843494</c:v>
                </c:pt>
                <c:pt idx="10857">
                  <c:v>6.9314248817719806</c:v>
                </c:pt>
                <c:pt idx="10858">
                  <c:v>5.9187451489613983</c:v>
                </c:pt>
                <c:pt idx="10859">
                  <c:v>4.8887271649869151</c:v>
                </c:pt>
                <c:pt idx="10860">
                  <c:v>5.0637877258467281</c:v>
                </c:pt>
                <c:pt idx="10861">
                  <c:v>5.0356347714520222</c:v>
                </c:pt>
                <c:pt idx="10862">
                  <c:v>5.9319184129052918</c:v>
                </c:pt>
                <c:pt idx="10863">
                  <c:v>4.965509422835062</c:v>
                </c:pt>
                <c:pt idx="10864">
                  <c:v>4.1579575083068141</c:v>
                </c:pt>
                <c:pt idx="10865">
                  <c:v>5.003728835153038</c:v>
                </c:pt>
                <c:pt idx="10866">
                  <c:v>6.971683125753505</c:v>
                </c:pt>
                <c:pt idx="10867">
                  <c:v>5.0772059403853262</c:v>
                </c:pt>
                <c:pt idx="10868">
                  <c:v>5.9312664308561338</c:v>
                </c:pt>
                <c:pt idx="10869">
                  <c:v>4.912967072844717</c:v>
                </c:pt>
                <c:pt idx="10870">
                  <c:v>5.9721474011569384</c:v>
                </c:pt>
                <c:pt idx="10871">
                  <c:v>4.9120142822135318</c:v>
                </c:pt>
                <c:pt idx="10872">
                  <c:v>4.8833406760582818</c:v>
                </c:pt>
                <c:pt idx="10873">
                  <c:v>4.9519081466733894</c:v>
                </c:pt>
                <c:pt idx="10874">
                  <c:v>5.8922715629527698</c:v>
                </c:pt>
                <c:pt idx="10875">
                  <c:v>5.0622854147388336</c:v>
                </c:pt>
                <c:pt idx="10876">
                  <c:v>5.1937535999523234</c:v>
                </c:pt>
                <c:pt idx="10877">
                  <c:v>4.9622265542545723</c:v>
                </c:pt>
                <c:pt idx="10878">
                  <c:v>7.0805717202273506</c:v>
                </c:pt>
                <c:pt idx="10879">
                  <c:v>5.0188270335075691</c:v>
                </c:pt>
                <c:pt idx="10880">
                  <c:v>5.0007517411429081</c:v>
                </c:pt>
                <c:pt idx="10881">
                  <c:v>6.0318518189279322</c:v>
                </c:pt>
                <c:pt idx="10882">
                  <c:v>6.0288700638380917</c:v>
                </c:pt>
                <c:pt idx="10883">
                  <c:v>6.1259923325440697</c:v>
                </c:pt>
                <c:pt idx="10884">
                  <c:v>4.9184762703544509</c:v>
                </c:pt>
                <c:pt idx="10885">
                  <c:v>5.9578388856339419</c:v>
                </c:pt>
                <c:pt idx="10886">
                  <c:v>5.9131021178346277</c:v>
                </c:pt>
                <c:pt idx="10887">
                  <c:v>4.8302998668265742</c:v>
                </c:pt>
                <c:pt idx="10888">
                  <c:v>6.1276413904201386</c:v>
                </c:pt>
                <c:pt idx="10889">
                  <c:v>4.9990398701243324</c:v>
                </c:pt>
                <c:pt idx="10890">
                  <c:v>4.8301257097097672</c:v>
                </c:pt>
                <c:pt idx="10891">
                  <c:v>5.1600957161188967</c:v>
                </c:pt>
                <c:pt idx="10892">
                  <c:v>6.0916617988251289</c:v>
                </c:pt>
                <c:pt idx="10893">
                  <c:v>6.0617802617226841</c:v>
                </c:pt>
                <c:pt idx="10894">
                  <c:v>4.9173669294420943</c:v>
                </c:pt>
                <c:pt idx="10895">
                  <c:v>6.0385062634450861</c:v>
                </c:pt>
                <c:pt idx="10896">
                  <c:v>6.1179626767254005</c:v>
                </c:pt>
                <c:pt idx="10897">
                  <c:v>5.0333886019025096</c:v>
                </c:pt>
                <c:pt idx="10898">
                  <c:v>5.8690874101068733</c:v>
                </c:pt>
                <c:pt idx="10899">
                  <c:v>5.1204963538487567</c:v>
                </c:pt>
                <c:pt idx="10900">
                  <c:v>6.0016720105286705</c:v>
                </c:pt>
                <c:pt idx="10901">
                  <c:v>5.1692737149678178</c:v>
                </c:pt>
                <c:pt idx="10902">
                  <c:v>5.9140618757220835</c:v>
                </c:pt>
                <c:pt idx="10903">
                  <c:v>5.0060739071989069</c:v>
                </c:pt>
                <c:pt idx="10904">
                  <c:v>5.9996844519911008</c:v>
                </c:pt>
                <c:pt idx="10905">
                  <c:v>5.9294421071846397</c:v>
                </c:pt>
                <c:pt idx="10906">
                  <c:v>5.9990224958337475</c:v>
                </c:pt>
                <c:pt idx="10907">
                  <c:v>6.0368175554371017</c:v>
                </c:pt>
                <c:pt idx="10908">
                  <c:v>5.9622943255450149</c:v>
                </c:pt>
                <c:pt idx="10909">
                  <c:v>4.8854890633020052</c:v>
                </c:pt>
                <c:pt idx="10910">
                  <c:v>5.0077114424402192</c:v>
                </c:pt>
                <c:pt idx="10911">
                  <c:v>5.2026563422022116</c:v>
                </c:pt>
                <c:pt idx="10912">
                  <c:v>6.0495692406507606</c:v>
                </c:pt>
                <c:pt idx="10913">
                  <c:v>6.1253513250142051</c:v>
                </c:pt>
                <c:pt idx="10914">
                  <c:v>5.9886620938858517</c:v>
                </c:pt>
                <c:pt idx="10915">
                  <c:v>6.0820557336281622</c:v>
                </c:pt>
                <c:pt idx="10916">
                  <c:v>4.8970190469725612</c:v>
                </c:pt>
                <c:pt idx="10917">
                  <c:v>5.0562363009425679</c:v>
                </c:pt>
                <c:pt idx="10918">
                  <c:v>5.9927377483311446</c:v>
                </c:pt>
                <c:pt idx="10919">
                  <c:v>5.0044687832800889</c:v>
                </c:pt>
                <c:pt idx="10920">
                  <c:v>5.1481382081015692</c:v>
                </c:pt>
                <c:pt idx="10921">
                  <c:v>6.048620691964409</c:v>
                </c:pt>
                <c:pt idx="10922">
                  <c:v>6.13930375962277</c:v>
                </c:pt>
                <c:pt idx="10923">
                  <c:v>6.0197349180876811</c:v>
                </c:pt>
                <c:pt idx="10924">
                  <c:v>5.9627874826274576</c:v>
                </c:pt>
                <c:pt idx="10925">
                  <c:v>4.9397731326441807</c:v>
                </c:pt>
                <c:pt idx="10926">
                  <c:v>5.1071277529811754</c:v>
                </c:pt>
                <c:pt idx="10927">
                  <c:v>4.8712420811380044</c:v>
                </c:pt>
                <c:pt idx="10928">
                  <c:v>5.9137146099874984</c:v>
                </c:pt>
                <c:pt idx="10929">
                  <c:v>5.9533432430520641</c:v>
                </c:pt>
                <c:pt idx="10930">
                  <c:v>5.9674589284173685</c:v>
                </c:pt>
                <c:pt idx="10931">
                  <c:v>5.0292149405233779</c:v>
                </c:pt>
                <c:pt idx="10932">
                  <c:v>5.9874158320367163</c:v>
                </c:pt>
                <c:pt idx="10933">
                  <c:v>5.1604415721099146</c:v>
                </c:pt>
                <c:pt idx="10934">
                  <c:v>5.0364999002710089</c:v>
                </c:pt>
                <c:pt idx="10935">
                  <c:v>4.9146359713584644</c:v>
                </c:pt>
                <c:pt idx="10936">
                  <c:v>5.0831010496584605</c:v>
                </c:pt>
                <c:pt idx="10937">
                  <c:v>5.8934203609390439</c:v>
                </c:pt>
                <c:pt idx="10938">
                  <c:v>6.0137331609210563</c:v>
                </c:pt>
                <c:pt idx="10939">
                  <c:v>5.0772401468211479</c:v>
                </c:pt>
                <c:pt idx="10940">
                  <c:v>4.8624419571623578</c:v>
                </c:pt>
                <c:pt idx="10941">
                  <c:v>6.0336198400639587</c:v>
                </c:pt>
                <c:pt idx="10942">
                  <c:v>5.0248651381664908</c:v>
                </c:pt>
                <c:pt idx="10943">
                  <c:v>6.1187425914971056</c:v>
                </c:pt>
                <c:pt idx="10944">
                  <c:v>5.9845830585461677</c:v>
                </c:pt>
                <c:pt idx="10945">
                  <c:v>5.0125367933133971</c:v>
                </c:pt>
                <c:pt idx="10946">
                  <c:v>5.9335537121137696</c:v>
                </c:pt>
                <c:pt idx="10947">
                  <c:v>4.9450106486557655</c:v>
                </c:pt>
                <c:pt idx="10948">
                  <c:v>6.0186693340316229</c:v>
                </c:pt>
                <c:pt idx="10949">
                  <c:v>5.8246258896823822</c:v>
                </c:pt>
                <c:pt idx="10950">
                  <c:v>6.0087160544135623</c:v>
                </c:pt>
                <c:pt idx="10951">
                  <c:v>6.0434784196568661</c:v>
                </c:pt>
                <c:pt idx="10952">
                  <c:v>5.8676247276837898</c:v>
                </c:pt>
                <c:pt idx="10953">
                  <c:v>5.9077554290511483</c:v>
                </c:pt>
                <c:pt idx="10954">
                  <c:v>5.9707107391980987</c:v>
                </c:pt>
                <c:pt idx="10955">
                  <c:v>5.0159939497665738</c:v>
                </c:pt>
                <c:pt idx="10956">
                  <c:v>6.1094446476445281</c:v>
                </c:pt>
                <c:pt idx="10957">
                  <c:v>5.8991191476686371</c:v>
                </c:pt>
                <c:pt idx="10958">
                  <c:v>3.9544182596572583</c:v>
                </c:pt>
                <c:pt idx="10959">
                  <c:v>4.9607381227519838</c:v>
                </c:pt>
                <c:pt idx="10960">
                  <c:v>5.8817780289333639</c:v>
                </c:pt>
                <c:pt idx="10961">
                  <c:v>6.0202561311380496</c:v>
                </c:pt>
                <c:pt idx="10962">
                  <c:v>4.988255505435566</c:v>
                </c:pt>
                <c:pt idx="10963">
                  <c:v>6.1677843924951157</c:v>
                </c:pt>
                <c:pt idx="10964">
                  <c:v>5.970436890028628</c:v>
                </c:pt>
                <c:pt idx="10965">
                  <c:v>2.9088993955288043</c:v>
                </c:pt>
                <c:pt idx="10966">
                  <c:v>2.9175281913896454</c:v>
                </c:pt>
                <c:pt idx="10967">
                  <c:v>3.100032174455996</c:v>
                </c:pt>
                <c:pt idx="10968">
                  <c:v>3.0073745956357976</c:v>
                </c:pt>
                <c:pt idx="10969">
                  <c:v>3.0276358807940742</c:v>
                </c:pt>
                <c:pt idx="10970">
                  <c:v>5.1295432475030687</c:v>
                </c:pt>
                <c:pt idx="10971">
                  <c:v>5.1008368079002961</c:v>
                </c:pt>
                <c:pt idx="10972">
                  <c:v>5.1060271759178324</c:v>
                </c:pt>
                <c:pt idx="10973">
                  <c:v>4.955573018375194</c:v>
                </c:pt>
                <c:pt idx="10974">
                  <c:v>4.9303325663065607</c:v>
                </c:pt>
                <c:pt idx="10975">
                  <c:v>4.9780475566909708</c:v>
                </c:pt>
                <c:pt idx="10976">
                  <c:v>5.0251498437826845</c:v>
                </c:pt>
                <c:pt idx="10977">
                  <c:v>6.0508164771304651</c:v>
                </c:pt>
                <c:pt idx="10978">
                  <c:v>5.8686304314954594</c:v>
                </c:pt>
                <c:pt idx="10979">
                  <c:v>6.0468653286490159</c:v>
                </c:pt>
                <c:pt idx="10980">
                  <c:v>6.0427664395687124</c:v>
                </c:pt>
                <c:pt idx="10981">
                  <c:v>6.944042280302904</c:v>
                </c:pt>
                <c:pt idx="10982">
                  <c:v>6.0705665961358273</c:v>
                </c:pt>
                <c:pt idx="10983">
                  <c:v>4.9979985979621047</c:v>
                </c:pt>
                <c:pt idx="10984">
                  <c:v>5.9816451017837524</c:v>
                </c:pt>
                <c:pt idx="10985">
                  <c:v>4.9599226432437034</c:v>
                </c:pt>
                <c:pt idx="10986">
                  <c:v>5.9695472649088188</c:v>
                </c:pt>
                <c:pt idx="10987">
                  <c:v>7.1261601602212057</c:v>
                </c:pt>
                <c:pt idx="10988">
                  <c:v>6.0996830791613972</c:v>
                </c:pt>
                <c:pt idx="10989">
                  <c:v>6.1563045471767959</c:v>
                </c:pt>
                <c:pt idx="10990">
                  <c:v>6.1104026590063878</c:v>
                </c:pt>
                <c:pt idx="10991">
                  <c:v>6.2257786553321459</c:v>
                </c:pt>
                <c:pt idx="10992">
                  <c:v>6.0730471065600105</c:v>
                </c:pt>
                <c:pt idx="10993">
                  <c:v>5.0655890912665118</c:v>
                </c:pt>
                <c:pt idx="10994">
                  <c:v>4.9893282559424765</c:v>
                </c:pt>
                <c:pt idx="10995">
                  <c:v>5.9542477531249514</c:v>
                </c:pt>
                <c:pt idx="10996">
                  <c:v>5.9688998564534002</c:v>
                </c:pt>
                <c:pt idx="10997">
                  <c:v>6.0426915132313175</c:v>
                </c:pt>
                <c:pt idx="10998">
                  <c:v>6.0691915527146092</c:v>
                </c:pt>
                <c:pt idx="10999">
                  <c:v>6.0248876144457784</c:v>
                </c:pt>
                <c:pt idx="11000">
                  <c:v>6.1893366206187563</c:v>
                </c:pt>
                <c:pt idx="11001">
                  <c:v>4.9265000975628848</c:v>
                </c:pt>
                <c:pt idx="11002">
                  <c:v>5.9047212940389286</c:v>
                </c:pt>
                <c:pt idx="11003">
                  <c:v>5.8184813808031262</c:v>
                </c:pt>
                <c:pt idx="11004">
                  <c:v>4.9148390959892891</c:v>
                </c:pt>
                <c:pt idx="11005">
                  <c:v>5.9410175188510532</c:v>
                </c:pt>
                <c:pt idx="11006">
                  <c:v>4.9076011422818286</c:v>
                </c:pt>
                <c:pt idx="11007">
                  <c:v>5.8915578679816258</c:v>
                </c:pt>
                <c:pt idx="11008">
                  <c:v>6.0754214640016118</c:v>
                </c:pt>
                <c:pt idx="11009">
                  <c:v>5.9887954710995341</c:v>
                </c:pt>
                <c:pt idx="11010">
                  <c:v>5.1046554277976988</c:v>
                </c:pt>
                <c:pt idx="11011">
                  <c:v>5.025191327273232</c:v>
                </c:pt>
                <c:pt idx="11012">
                  <c:v>4.9590163814434547</c:v>
                </c:pt>
                <c:pt idx="11013">
                  <c:v>6.0403457695099938</c:v>
                </c:pt>
                <c:pt idx="11014">
                  <c:v>5.0968459081941893</c:v>
                </c:pt>
                <c:pt idx="11015">
                  <c:v>5.9374790818343</c:v>
                </c:pt>
                <c:pt idx="11016">
                  <c:v>5.1239634816586657</c:v>
                </c:pt>
                <c:pt idx="11017">
                  <c:v>6.8529069821370516</c:v>
                </c:pt>
                <c:pt idx="11018">
                  <c:v>5.9935722072487616</c:v>
                </c:pt>
                <c:pt idx="11019">
                  <c:v>5.9379217648316098</c:v>
                </c:pt>
                <c:pt idx="11020">
                  <c:v>5.0879366796511896</c:v>
                </c:pt>
                <c:pt idx="11021">
                  <c:v>4.9738979430412229</c:v>
                </c:pt>
                <c:pt idx="11022">
                  <c:v>6.1479417434281212</c:v>
                </c:pt>
                <c:pt idx="11023">
                  <c:v>5.8559914358592939</c:v>
                </c:pt>
                <c:pt idx="11024">
                  <c:v>5.0344183522763579</c:v>
                </c:pt>
                <c:pt idx="11025">
                  <c:v>5.9424658817763447</c:v>
                </c:pt>
                <c:pt idx="11026">
                  <c:v>6.1245048267050217</c:v>
                </c:pt>
                <c:pt idx="11027">
                  <c:v>5.0792578039536211</c:v>
                </c:pt>
                <c:pt idx="11028">
                  <c:v>5.8825508148380292</c:v>
                </c:pt>
                <c:pt idx="11029">
                  <c:v>5.9326927754654815</c:v>
                </c:pt>
                <c:pt idx="11030">
                  <c:v>4.86680716506085</c:v>
                </c:pt>
                <c:pt idx="11031">
                  <c:v>6.0565897133526123</c:v>
                </c:pt>
                <c:pt idx="11032">
                  <c:v>6.013763171106028</c:v>
                </c:pt>
                <c:pt idx="11033">
                  <c:v>6.1618732206659388</c:v>
                </c:pt>
                <c:pt idx="11034">
                  <c:v>5.9507899631568915</c:v>
                </c:pt>
                <c:pt idx="11035">
                  <c:v>4.9710833934522114</c:v>
                </c:pt>
                <c:pt idx="11036">
                  <c:v>5.9537763173810534</c:v>
                </c:pt>
                <c:pt idx="11037">
                  <c:v>6.009927870144276</c:v>
                </c:pt>
                <c:pt idx="11038">
                  <c:v>5.9718076725246405</c:v>
                </c:pt>
                <c:pt idx="11039">
                  <c:v>6.0536620034666546</c:v>
                </c:pt>
                <c:pt idx="11040">
                  <c:v>5.9612822486270431</c:v>
                </c:pt>
                <c:pt idx="11041">
                  <c:v>5.9610728606100238</c:v>
                </c:pt>
                <c:pt idx="11042">
                  <c:v>5.9634767488744078</c:v>
                </c:pt>
                <c:pt idx="11043">
                  <c:v>5.9727003386730804</c:v>
                </c:pt>
                <c:pt idx="11044">
                  <c:v>6.015922055305496</c:v>
                </c:pt>
                <c:pt idx="11045">
                  <c:v>6.1263172989058301</c:v>
                </c:pt>
                <c:pt idx="11046">
                  <c:v>6.0516616940670547</c:v>
                </c:pt>
                <c:pt idx="11047">
                  <c:v>6.1570201813018866</c:v>
                </c:pt>
                <c:pt idx="11048">
                  <c:v>5.1470373511520044</c:v>
                </c:pt>
                <c:pt idx="11049">
                  <c:v>4.8923048131581526</c:v>
                </c:pt>
                <c:pt idx="11050">
                  <c:v>6.0248442897910151</c:v>
                </c:pt>
                <c:pt idx="11051">
                  <c:v>6.0023749231329875</c:v>
                </c:pt>
                <c:pt idx="11052">
                  <c:v>6.0222741615951403</c:v>
                </c:pt>
                <c:pt idx="11053">
                  <c:v>4.0496776296526162</c:v>
                </c:pt>
                <c:pt idx="11054">
                  <c:v>5.9378358259402884</c:v>
                </c:pt>
                <c:pt idx="11055">
                  <c:v>5.8927864775398344</c:v>
                </c:pt>
                <c:pt idx="11056">
                  <c:v>5.0188110825829977</c:v>
                </c:pt>
                <c:pt idx="11057">
                  <c:v>5.8165284627360059</c:v>
                </c:pt>
                <c:pt idx="11058">
                  <c:v>6.0502220282351038</c:v>
                </c:pt>
                <c:pt idx="11059">
                  <c:v>5.9953976499717285</c:v>
                </c:pt>
                <c:pt idx="11060">
                  <c:v>4.7403522116148578</c:v>
                </c:pt>
                <c:pt idx="11061">
                  <c:v>5.7473500847859942</c:v>
                </c:pt>
                <c:pt idx="11062">
                  <c:v>4.7279340106929899</c:v>
                </c:pt>
                <c:pt idx="11063">
                  <c:v>5.9935753710489621</c:v>
                </c:pt>
                <c:pt idx="11064">
                  <c:v>5.0709389761332693</c:v>
                </c:pt>
                <c:pt idx="11065">
                  <c:v>5.8780059055768472</c:v>
                </c:pt>
                <c:pt idx="11066">
                  <c:v>4.9503696983007472</c:v>
                </c:pt>
                <c:pt idx="11067">
                  <c:v>5.9267011600055577</c:v>
                </c:pt>
                <c:pt idx="11068">
                  <c:v>5.9011774163922226</c:v>
                </c:pt>
                <c:pt idx="11069">
                  <c:v>5.1943466541792978</c:v>
                </c:pt>
                <c:pt idx="11070">
                  <c:v>6.0313233966541233</c:v>
                </c:pt>
                <c:pt idx="11071">
                  <c:v>5.1844514553441181</c:v>
                </c:pt>
                <c:pt idx="11072">
                  <c:v>6.0618886089737627</c:v>
                </c:pt>
                <c:pt idx="11073">
                  <c:v>5.915017610184659</c:v>
                </c:pt>
                <c:pt idx="11074">
                  <c:v>5.1179126737311753</c:v>
                </c:pt>
                <c:pt idx="11075">
                  <c:v>5.8933942231650773</c:v>
                </c:pt>
                <c:pt idx="11076">
                  <c:v>5.9929363037606969</c:v>
                </c:pt>
                <c:pt idx="11077">
                  <c:v>5.7708445771730075</c:v>
                </c:pt>
                <c:pt idx="11078">
                  <c:v>4.9793121165313474</c:v>
                </c:pt>
                <c:pt idx="11079">
                  <c:v>5.9456366821758673</c:v>
                </c:pt>
                <c:pt idx="11080">
                  <c:v>6.2067846378393927</c:v>
                </c:pt>
                <c:pt idx="11081">
                  <c:v>4.8550700858805067</c:v>
                </c:pt>
                <c:pt idx="11082">
                  <c:v>5.9645746569018927</c:v>
                </c:pt>
                <c:pt idx="11083">
                  <c:v>5.1212552527145148</c:v>
                </c:pt>
                <c:pt idx="11084">
                  <c:v>6.0556227439035464</c:v>
                </c:pt>
                <c:pt idx="11085">
                  <c:v>5.9970780453026222</c:v>
                </c:pt>
                <c:pt idx="11086">
                  <c:v>5.0773194409942297</c:v>
                </c:pt>
                <c:pt idx="11087">
                  <c:v>5.8045643147175889</c:v>
                </c:pt>
                <c:pt idx="11088">
                  <c:v>5.9038807364388406</c:v>
                </c:pt>
                <c:pt idx="11089">
                  <c:v>6.0605868065617061</c:v>
                </c:pt>
                <c:pt idx="11090">
                  <c:v>5.8627191176056286</c:v>
                </c:pt>
                <c:pt idx="11091">
                  <c:v>5.9977722835774676</c:v>
                </c:pt>
                <c:pt idx="11092">
                  <c:v>6.051173382821454</c:v>
                </c:pt>
                <c:pt idx="11093">
                  <c:v>6.0488620766390779</c:v>
                </c:pt>
                <c:pt idx="11094">
                  <c:v>7.1568882657113422</c:v>
                </c:pt>
                <c:pt idx="11095">
                  <c:v>6.0046954358869238</c:v>
                </c:pt>
                <c:pt idx="11096">
                  <c:v>6.0959056032169121</c:v>
                </c:pt>
                <c:pt idx="11097">
                  <c:v>6.1506986452258925</c:v>
                </c:pt>
                <c:pt idx="11098">
                  <c:v>6.0016694023997266</c:v>
                </c:pt>
                <c:pt idx="11099">
                  <c:v>6.0444798846922483</c:v>
                </c:pt>
                <c:pt idx="11100">
                  <c:v>5.9423921405927498</c:v>
                </c:pt>
                <c:pt idx="11101">
                  <c:v>6.058687765333862</c:v>
                </c:pt>
                <c:pt idx="11102">
                  <c:v>6.1705790630748449</c:v>
                </c:pt>
                <c:pt idx="11103">
                  <c:v>6.1358548279600598</c:v>
                </c:pt>
                <c:pt idx="11104">
                  <c:v>5.8805079892220995</c:v>
                </c:pt>
                <c:pt idx="11105">
                  <c:v>6.0438623369477549</c:v>
                </c:pt>
                <c:pt idx="11106">
                  <c:v>5.880670968412165</c:v>
                </c:pt>
                <c:pt idx="11107">
                  <c:v>6.0134153392557481</c:v>
                </c:pt>
                <c:pt idx="11108">
                  <c:v>6.2519802089882743</c:v>
                </c:pt>
                <c:pt idx="11109">
                  <c:v>6.1369441793148551</c:v>
                </c:pt>
                <c:pt idx="11110">
                  <c:v>5.9297834548563202</c:v>
                </c:pt>
                <c:pt idx="11111">
                  <c:v>5.9905932928368815</c:v>
                </c:pt>
                <c:pt idx="11112">
                  <c:v>6.0582039852915059</c:v>
                </c:pt>
                <c:pt idx="11113">
                  <c:v>4.0851117410109499</c:v>
                </c:pt>
                <c:pt idx="11114">
                  <c:v>6.1190322981406489</c:v>
                </c:pt>
                <c:pt idx="11115">
                  <c:v>5.8103789934372667</c:v>
                </c:pt>
                <c:pt idx="11116">
                  <c:v>5.8894370388230577</c:v>
                </c:pt>
                <c:pt idx="11117">
                  <c:v>6.1008801749667994</c:v>
                </c:pt>
                <c:pt idx="11118">
                  <c:v>5.9700522875237976</c:v>
                </c:pt>
                <c:pt idx="11119">
                  <c:v>5.1399605698289728</c:v>
                </c:pt>
                <c:pt idx="11120">
                  <c:v>6.0250847401523151</c:v>
                </c:pt>
                <c:pt idx="11121">
                  <c:v>6.0766383969692397</c:v>
                </c:pt>
                <c:pt idx="11122">
                  <c:v>5.0937564367387367</c:v>
                </c:pt>
                <c:pt idx="11123">
                  <c:v>3.9248131211994473</c:v>
                </c:pt>
                <c:pt idx="11124">
                  <c:v>5.9357617038402486</c:v>
                </c:pt>
                <c:pt idx="11125">
                  <c:v>6.1627115224153926</c:v>
                </c:pt>
                <c:pt idx="11126">
                  <c:v>6.0806026410782499</c:v>
                </c:pt>
                <c:pt idx="11127">
                  <c:v>6.073905365544892</c:v>
                </c:pt>
                <c:pt idx="11128">
                  <c:v>5.0663337212722803</c:v>
                </c:pt>
                <c:pt idx="11129">
                  <c:v>5.9882138369100062</c:v>
                </c:pt>
                <c:pt idx="11130">
                  <c:v>6.0392941211558862</c:v>
                </c:pt>
                <c:pt idx="11131">
                  <c:v>6.9582472627432708</c:v>
                </c:pt>
                <c:pt idx="11132">
                  <c:v>6.9826008087131637</c:v>
                </c:pt>
                <c:pt idx="11133">
                  <c:v>6.2324841473118022</c:v>
                </c:pt>
                <c:pt idx="11134">
                  <c:v>5.9408962378866006</c:v>
                </c:pt>
                <c:pt idx="11135">
                  <c:v>6.0635665903695024</c:v>
                </c:pt>
                <c:pt idx="11136">
                  <c:v>6.9408243625404946</c:v>
                </c:pt>
                <c:pt idx="11137">
                  <c:v>6.0258558458307423</c:v>
                </c:pt>
                <c:pt idx="11138">
                  <c:v>1.8247528341917081</c:v>
                </c:pt>
                <c:pt idx="11139">
                  <c:v>2.0065941031787022</c:v>
                </c:pt>
                <c:pt idx="11140">
                  <c:v>6.0488690000426617</c:v>
                </c:pt>
                <c:pt idx="11141">
                  <c:v>1.897755836365451</c:v>
                </c:pt>
                <c:pt idx="11142">
                  <c:v>6.0846925134459271</c:v>
                </c:pt>
                <c:pt idx="11143">
                  <c:v>5.979802095878072</c:v>
                </c:pt>
                <c:pt idx="11144">
                  <c:v>5.9748740415616357</c:v>
                </c:pt>
                <c:pt idx="11145">
                  <c:v>5.9176444064964793</c:v>
                </c:pt>
                <c:pt idx="11146">
                  <c:v>6.0325951515336742</c:v>
                </c:pt>
                <c:pt idx="11147">
                  <c:v>5.8746829952560864</c:v>
                </c:pt>
                <c:pt idx="11148">
                  <c:v>6.2867535132379802</c:v>
                </c:pt>
                <c:pt idx="11149">
                  <c:v>6.0426905060754867</c:v>
                </c:pt>
                <c:pt idx="11150">
                  <c:v>5.9773730463430832</c:v>
                </c:pt>
                <c:pt idx="11151">
                  <c:v>5.9973797103363911</c:v>
                </c:pt>
                <c:pt idx="11152">
                  <c:v>5.95346989355492</c:v>
                </c:pt>
                <c:pt idx="11153">
                  <c:v>5.0310437499599159</c:v>
                </c:pt>
                <c:pt idx="11154">
                  <c:v>5.9432066958368761</c:v>
                </c:pt>
                <c:pt idx="11155">
                  <c:v>7.0229751048044431</c:v>
                </c:pt>
                <c:pt idx="11156">
                  <c:v>5.9869420151811781</c:v>
                </c:pt>
                <c:pt idx="11157">
                  <c:v>6.0535696406992248</c:v>
                </c:pt>
                <c:pt idx="11158">
                  <c:v>5.967825755512175</c:v>
                </c:pt>
                <c:pt idx="11159">
                  <c:v>5.9254979160878962</c:v>
                </c:pt>
                <c:pt idx="11160">
                  <c:v>4.9356012264057201</c:v>
                </c:pt>
                <c:pt idx="11161">
                  <c:v>4.8665565470430119</c:v>
                </c:pt>
                <c:pt idx="11162">
                  <c:v>6.0125073805477811</c:v>
                </c:pt>
                <c:pt idx="11163">
                  <c:v>4.9586263776176152</c:v>
                </c:pt>
                <c:pt idx="11164">
                  <c:v>6.0750828394978145</c:v>
                </c:pt>
                <c:pt idx="11165">
                  <c:v>5.8544647690106002</c:v>
                </c:pt>
                <c:pt idx="11166">
                  <c:v>5.0949828797038359</c:v>
                </c:pt>
                <c:pt idx="11167">
                  <c:v>5.8564756272642722</c:v>
                </c:pt>
                <c:pt idx="11168">
                  <c:v>6.9436191195629835</c:v>
                </c:pt>
                <c:pt idx="11169">
                  <c:v>5.8516846862828791</c:v>
                </c:pt>
                <c:pt idx="11170">
                  <c:v>5.8781760403432779</c:v>
                </c:pt>
                <c:pt idx="11171">
                  <c:v>6.0870410540308626</c:v>
                </c:pt>
                <c:pt idx="11172">
                  <c:v>6.2695637526182386</c:v>
                </c:pt>
                <c:pt idx="11173">
                  <c:v>6.2202258158513795</c:v>
                </c:pt>
                <c:pt idx="11174">
                  <c:v>6.0374835394667086</c:v>
                </c:pt>
                <c:pt idx="11175">
                  <c:v>5.85239938281783</c:v>
                </c:pt>
                <c:pt idx="11176">
                  <c:v>6.9454203728767938</c:v>
                </c:pt>
                <c:pt idx="11177">
                  <c:v>5.8608830692446201</c:v>
                </c:pt>
                <c:pt idx="11178">
                  <c:v>4.8722189594372116</c:v>
                </c:pt>
                <c:pt idx="11179">
                  <c:v>5.9918605223436741</c:v>
                </c:pt>
                <c:pt idx="11180">
                  <c:v>6.0173555856243954</c:v>
                </c:pt>
                <c:pt idx="11181">
                  <c:v>5.8554686681630548</c:v>
                </c:pt>
                <c:pt idx="11182">
                  <c:v>6.0261553117905438</c:v>
                </c:pt>
                <c:pt idx="11183">
                  <c:v>6.0899492981110201</c:v>
                </c:pt>
                <c:pt idx="11184">
                  <c:v>5.9986873561139999</c:v>
                </c:pt>
                <c:pt idx="11185">
                  <c:v>6.0454659640446646</c:v>
                </c:pt>
                <c:pt idx="11186">
                  <c:v>6.0775985832940025</c:v>
                </c:pt>
                <c:pt idx="11187">
                  <c:v>5.9169276553820662</c:v>
                </c:pt>
                <c:pt idx="11188">
                  <c:v>3.1965787535498125</c:v>
                </c:pt>
                <c:pt idx="11189">
                  <c:v>5.8592096721351856</c:v>
                </c:pt>
                <c:pt idx="11190">
                  <c:v>5.8983500432377625</c:v>
                </c:pt>
                <c:pt idx="11191">
                  <c:v>5.8580076212887118</c:v>
                </c:pt>
                <c:pt idx="11192">
                  <c:v>5.1191946003098563</c:v>
                </c:pt>
                <c:pt idx="11193">
                  <c:v>6.2328934988232065</c:v>
                </c:pt>
                <c:pt idx="11194">
                  <c:v>5.9625353361522375</c:v>
                </c:pt>
                <c:pt idx="11195">
                  <c:v>5.9509274603747233</c:v>
                </c:pt>
                <c:pt idx="11196">
                  <c:v>5.9949537933449291</c:v>
                </c:pt>
                <c:pt idx="11197">
                  <c:v>6.0459110878263704</c:v>
                </c:pt>
                <c:pt idx="11198">
                  <c:v>5.7903273600484395</c:v>
                </c:pt>
                <c:pt idx="11199">
                  <c:v>6.0234079850104179</c:v>
                </c:pt>
                <c:pt idx="11200">
                  <c:v>5.931037031608982</c:v>
                </c:pt>
                <c:pt idx="11201">
                  <c:v>5.9676379439787475</c:v>
                </c:pt>
                <c:pt idx="11202">
                  <c:v>6.222943591290111</c:v>
                </c:pt>
                <c:pt idx="11203">
                  <c:v>6.0322524279157728</c:v>
                </c:pt>
                <c:pt idx="11204">
                  <c:v>6.1327447403806135</c:v>
                </c:pt>
                <c:pt idx="11205">
                  <c:v>5.9767163441508702</c:v>
                </c:pt>
                <c:pt idx="11206">
                  <c:v>7.0169109623175414</c:v>
                </c:pt>
                <c:pt idx="11207">
                  <c:v>6.1250489856410395</c:v>
                </c:pt>
                <c:pt idx="11208">
                  <c:v>6.1288461319074035</c:v>
                </c:pt>
                <c:pt idx="11209">
                  <c:v>5.0341787941537683</c:v>
                </c:pt>
                <c:pt idx="11210">
                  <c:v>5.0279428342164403</c:v>
                </c:pt>
                <c:pt idx="11211">
                  <c:v>5.1363926632843677</c:v>
                </c:pt>
                <c:pt idx="11212">
                  <c:v>4.9836270454407572</c:v>
                </c:pt>
                <c:pt idx="11213">
                  <c:v>3.9356400033138574</c:v>
                </c:pt>
                <c:pt idx="11214">
                  <c:v>3.8727526330003634</c:v>
                </c:pt>
                <c:pt idx="11215">
                  <c:v>6.2082531715766658</c:v>
                </c:pt>
                <c:pt idx="11216">
                  <c:v>6.1352763724819139</c:v>
                </c:pt>
                <c:pt idx="11217">
                  <c:v>6.0347449144651382</c:v>
                </c:pt>
                <c:pt idx="11218">
                  <c:v>3.8534934010443673</c:v>
                </c:pt>
                <c:pt idx="11219">
                  <c:v>3.883101788286099</c:v>
                </c:pt>
                <c:pt idx="11220">
                  <c:v>4.1019260112272322</c:v>
                </c:pt>
                <c:pt idx="11221">
                  <c:v>6.00882170073357</c:v>
                </c:pt>
                <c:pt idx="11222">
                  <c:v>5.9688081158291242</c:v>
                </c:pt>
                <c:pt idx="11223">
                  <c:v>4.9799006543744273</c:v>
                </c:pt>
                <c:pt idx="11224">
                  <c:v>6.0178067468526848</c:v>
                </c:pt>
                <c:pt idx="11225">
                  <c:v>5.9916662090750501</c:v>
                </c:pt>
                <c:pt idx="11226">
                  <c:v>6.0094088695981061</c:v>
                </c:pt>
                <c:pt idx="11227">
                  <c:v>6.0389426155992574</c:v>
                </c:pt>
                <c:pt idx="11228">
                  <c:v>5.9868942136299177</c:v>
                </c:pt>
                <c:pt idx="11229">
                  <c:v>3.8580857035667533</c:v>
                </c:pt>
                <c:pt idx="11230">
                  <c:v>4.0006430429597808</c:v>
                </c:pt>
                <c:pt idx="11231">
                  <c:v>4.0026573522947064</c:v>
                </c:pt>
                <c:pt idx="11232">
                  <c:v>3.9887648554752646</c:v>
                </c:pt>
                <c:pt idx="11233">
                  <c:v>3.8925763804134448</c:v>
                </c:pt>
                <c:pt idx="11234">
                  <c:v>6.0108199747400386</c:v>
                </c:pt>
                <c:pt idx="11235">
                  <c:v>6.1688766388338099</c:v>
                </c:pt>
                <c:pt idx="11236">
                  <c:v>2.0375824134319735</c:v>
                </c:pt>
                <c:pt idx="11237">
                  <c:v>5.0609443627037027</c:v>
                </c:pt>
                <c:pt idx="11238">
                  <c:v>5.0775050080428139</c:v>
                </c:pt>
                <c:pt idx="11239">
                  <c:v>6.0324057881407347</c:v>
                </c:pt>
                <c:pt idx="11240">
                  <c:v>5.9279859585123038</c:v>
                </c:pt>
                <c:pt idx="11241">
                  <c:v>5.9233650757420113</c:v>
                </c:pt>
                <c:pt idx="11242">
                  <c:v>5.1089470933378029</c:v>
                </c:pt>
                <c:pt idx="11243">
                  <c:v>5.1423929827647097</c:v>
                </c:pt>
                <c:pt idx="11244">
                  <c:v>5.9235264552887097</c:v>
                </c:pt>
                <c:pt idx="11245">
                  <c:v>6.13231627906202</c:v>
                </c:pt>
                <c:pt idx="11246">
                  <c:v>5.9207363570648219</c:v>
                </c:pt>
                <c:pt idx="11247">
                  <c:v>6.8540074753443632</c:v>
                </c:pt>
                <c:pt idx="11248">
                  <c:v>5.9081949898126886</c:v>
                </c:pt>
                <c:pt idx="11249">
                  <c:v>5.09281754164991</c:v>
                </c:pt>
                <c:pt idx="11250">
                  <c:v>4.9894777122237954</c:v>
                </c:pt>
                <c:pt idx="11251">
                  <c:v>6.0270135475783135</c:v>
                </c:pt>
                <c:pt idx="11252">
                  <c:v>4.9297638180803949</c:v>
                </c:pt>
                <c:pt idx="11253">
                  <c:v>6.0163615908002317</c:v>
                </c:pt>
                <c:pt idx="11254">
                  <c:v>5.0713557909543647</c:v>
                </c:pt>
                <c:pt idx="11255">
                  <c:v>5.9364264983664583</c:v>
                </c:pt>
                <c:pt idx="11256">
                  <c:v>6.0068321403309826</c:v>
                </c:pt>
                <c:pt idx="11257">
                  <c:v>6.0153232298018358</c:v>
                </c:pt>
                <c:pt idx="11258">
                  <c:v>4.9612789862749951</c:v>
                </c:pt>
                <c:pt idx="11259">
                  <c:v>6.0248399411210247</c:v>
                </c:pt>
                <c:pt idx="11260">
                  <c:v>6.0138837653716948</c:v>
                </c:pt>
                <c:pt idx="11261">
                  <c:v>6.0410206460391578</c:v>
                </c:pt>
                <c:pt idx="11262">
                  <c:v>4.9104555691165404</c:v>
                </c:pt>
                <c:pt idx="11263">
                  <c:v>7.108884191419147</c:v>
                </c:pt>
                <c:pt idx="11264">
                  <c:v>5.8384128713165975</c:v>
                </c:pt>
                <c:pt idx="11265">
                  <c:v>4.9471659967916102</c:v>
                </c:pt>
                <c:pt idx="11266">
                  <c:v>5.9907807180979313</c:v>
                </c:pt>
                <c:pt idx="11267">
                  <c:v>4.8330222078268585</c:v>
                </c:pt>
                <c:pt idx="11268">
                  <c:v>5.9038585937272412</c:v>
                </c:pt>
                <c:pt idx="11269">
                  <c:v>5.9360741177339333</c:v>
                </c:pt>
                <c:pt idx="11270">
                  <c:v>6.1325806459039445</c:v>
                </c:pt>
                <c:pt idx="11271">
                  <c:v>5.8385611144080194</c:v>
                </c:pt>
                <c:pt idx="11272">
                  <c:v>5.9575576606921228</c:v>
                </c:pt>
                <c:pt idx="11273">
                  <c:v>5.0162444794377361</c:v>
                </c:pt>
                <c:pt idx="11274">
                  <c:v>5.0674212754148815</c:v>
                </c:pt>
                <c:pt idx="11275">
                  <c:v>5.0662891966861086</c:v>
                </c:pt>
                <c:pt idx="11276">
                  <c:v>4.8572613659248676</c:v>
                </c:pt>
                <c:pt idx="11277">
                  <c:v>6.0609011389087897</c:v>
                </c:pt>
                <c:pt idx="11278">
                  <c:v>4.8161206365992317</c:v>
                </c:pt>
                <c:pt idx="11279">
                  <c:v>5.7781277982619832</c:v>
                </c:pt>
                <c:pt idx="11280">
                  <c:v>6.0033071318896996</c:v>
                </c:pt>
                <c:pt idx="11281">
                  <c:v>6.1186607962474433</c:v>
                </c:pt>
                <c:pt idx="11282">
                  <c:v>5.9573837001886778</c:v>
                </c:pt>
                <c:pt idx="11283">
                  <c:v>6.0276270385645354</c:v>
                </c:pt>
                <c:pt idx="11284">
                  <c:v>6.0337131994912019</c:v>
                </c:pt>
                <c:pt idx="11285">
                  <c:v>6.0967316821726376</c:v>
                </c:pt>
                <c:pt idx="11286">
                  <c:v>4.8646265739298657</c:v>
                </c:pt>
                <c:pt idx="11287">
                  <c:v>5.1881041327507429</c:v>
                </c:pt>
                <c:pt idx="11288">
                  <c:v>5.1424424778771609</c:v>
                </c:pt>
                <c:pt idx="11289">
                  <c:v>5.9656457783207761</c:v>
                </c:pt>
                <c:pt idx="11290">
                  <c:v>4.7971288715426503</c:v>
                </c:pt>
                <c:pt idx="11291">
                  <c:v>6.0334229548921172</c:v>
                </c:pt>
                <c:pt idx="11292">
                  <c:v>6.0517016685062393</c:v>
                </c:pt>
                <c:pt idx="11293">
                  <c:v>5.9807727426684529</c:v>
                </c:pt>
                <c:pt idx="11294">
                  <c:v>5.0863721240743942</c:v>
                </c:pt>
                <c:pt idx="11295">
                  <c:v>5.9521234139243768</c:v>
                </c:pt>
                <c:pt idx="11296">
                  <c:v>6.2191274855971495</c:v>
                </c:pt>
                <c:pt idx="11297">
                  <c:v>6.004853503288933</c:v>
                </c:pt>
                <c:pt idx="11298">
                  <c:v>6.0783860133156749</c:v>
                </c:pt>
                <c:pt idx="11299">
                  <c:v>6.0151206950381733</c:v>
                </c:pt>
                <c:pt idx="11300">
                  <c:v>5.8771753823361923</c:v>
                </c:pt>
                <c:pt idx="11301">
                  <c:v>5.9290741288728119</c:v>
                </c:pt>
                <c:pt idx="11302">
                  <c:v>6.0026462735721182</c:v>
                </c:pt>
                <c:pt idx="11303">
                  <c:v>5.961697027718099</c:v>
                </c:pt>
                <c:pt idx="11304">
                  <c:v>5.008719660948028</c:v>
                </c:pt>
                <c:pt idx="11305">
                  <c:v>5.0107429139534609</c:v>
                </c:pt>
                <c:pt idx="11306">
                  <c:v>5.8952368612422097</c:v>
                </c:pt>
                <c:pt idx="11307">
                  <c:v>4.8649378453050893</c:v>
                </c:pt>
                <c:pt idx="11308">
                  <c:v>5.2267341074732236</c:v>
                </c:pt>
                <c:pt idx="11309">
                  <c:v>4.9760056777301145</c:v>
                </c:pt>
                <c:pt idx="11310">
                  <c:v>5.1330339593868226</c:v>
                </c:pt>
                <c:pt idx="11311">
                  <c:v>5.8021395231295854</c:v>
                </c:pt>
                <c:pt idx="11312">
                  <c:v>5.9189552962361782</c:v>
                </c:pt>
                <c:pt idx="11313">
                  <c:v>5.9416668529187548</c:v>
                </c:pt>
                <c:pt idx="11314">
                  <c:v>4.9941912225523124</c:v>
                </c:pt>
                <c:pt idx="11315">
                  <c:v>4.9681747733462673</c:v>
                </c:pt>
                <c:pt idx="11316">
                  <c:v>6.0253406864444932</c:v>
                </c:pt>
                <c:pt idx="11317">
                  <c:v>5.8936281460963897</c:v>
                </c:pt>
                <c:pt idx="11318">
                  <c:v>5.7931529541285265</c:v>
                </c:pt>
                <c:pt idx="11319">
                  <c:v>5.0671365179603987</c:v>
                </c:pt>
                <c:pt idx="11320">
                  <c:v>4.9414967049650329</c:v>
                </c:pt>
                <c:pt idx="11321">
                  <c:v>5.0262875813813057</c:v>
                </c:pt>
                <c:pt idx="11322">
                  <c:v>4.9866531318582457</c:v>
                </c:pt>
                <c:pt idx="11323">
                  <c:v>6.1053682958239026</c:v>
                </c:pt>
                <c:pt idx="11324">
                  <c:v>5.8179070418145731</c:v>
                </c:pt>
                <c:pt idx="11325">
                  <c:v>6.0947276630156217</c:v>
                </c:pt>
                <c:pt idx="11326">
                  <c:v>5.1363252007178399</c:v>
                </c:pt>
                <c:pt idx="11327">
                  <c:v>4.9682763596492512</c:v>
                </c:pt>
                <c:pt idx="11328">
                  <c:v>5.0471280062908015</c:v>
                </c:pt>
                <c:pt idx="11329">
                  <c:v>6.0315759703822431</c:v>
                </c:pt>
                <c:pt idx="11330">
                  <c:v>5.8926273169250116</c:v>
                </c:pt>
                <c:pt idx="11331">
                  <c:v>5.9772271971175321</c:v>
                </c:pt>
                <c:pt idx="11332">
                  <c:v>5.0917250684261903</c:v>
                </c:pt>
                <c:pt idx="11333">
                  <c:v>5.0077773920559991</c:v>
                </c:pt>
                <c:pt idx="11334">
                  <c:v>6.1061949390772012</c:v>
                </c:pt>
                <c:pt idx="11335">
                  <c:v>4.9755112495880223</c:v>
                </c:pt>
                <c:pt idx="11336">
                  <c:v>5.979652224453865</c:v>
                </c:pt>
                <c:pt idx="11337">
                  <c:v>2.85179803421281</c:v>
                </c:pt>
                <c:pt idx="11338">
                  <c:v>4.8984522458386888</c:v>
                </c:pt>
                <c:pt idx="11339">
                  <c:v>6.0610034717507384</c:v>
                </c:pt>
                <c:pt idx="11340">
                  <c:v>5.0201921776637484</c:v>
                </c:pt>
                <c:pt idx="11341">
                  <c:v>5.8505119488147246</c:v>
                </c:pt>
                <c:pt idx="11342">
                  <c:v>5.7940135438558382</c:v>
                </c:pt>
                <c:pt idx="11343">
                  <c:v>4.8993286992579836</c:v>
                </c:pt>
                <c:pt idx="11344">
                  <c:v>4.9665225010104992</c:v>
                </c:pt>
                <c:pt idx="11345">
                  <c:v>6.0906612626158028</c:v>
                </c:pt>
                <c:pt idx="11346">
                  <c:v>6.1690883361250863</c:v>
                </c:pt>
                <c:pt idx="11347">
                  <c:v>5.9033160669335984</c:v>
                </c:pt>
                <c:pt idx="11348">
                  <c:v>4.8689137872865569</c:v>
                </c:pt>
                <c:pt idx="11349">
                  <c:v>5.0918555614001191</c:v>
                </c:pt>
                <c:pt idx="11350">
                  <c:v>5.9912073556886325</c:v>
                </c:pt>
                <c:pt idx="11351">
                  <c:v>5.8295808978585431</c:v>
                </c:pt>
                <c:pt idx="11352">
                  <c:v>6.1146854320173389</c:v>
                </c:pt>
                <c:pt idx="11353">
                  <c:v>6.2277765737102015</c:v>
                </c:pt>
                <c:pt idx="11354">
                  <c:v>6.0449001478406856</c:v>
                </c:pt>
                <c:pt idx="11355">
                  <c:v>4.9850006017294239</c:v>
                </c:pt>
                <c:pt idx="11356">
                  <c:v>5.915587452957257</c:v>
                </c:pt>
                <c:pt idx="11357">
                  <c:v>5.0457567332550326</c:v>
                </c:pt>
                <c:pt idx="11358">
                  <c:v>6.1382431383586002</c:v>
                </c:pt>
                <c:pt idx="11359">
                  <c:v>6.0259662541290293</c:v>
                </c:pt>
                <c:pt idx="11360">
                  <c:v>6.1788637775147421</c:v>
                </c:pt>
                <c:pt idx="11361">
                  <c:v>3.9849819246345208</c:v>
                </c:pt>
                <c:pt idx="11362">
                  <c:v>4.0566634509001052</c:v>
                </c:pt>
                <c:pt idx="11363">
                  <c:v>4.9780747577794973</c:v>
                </c:pt>
                <c:pt idx="11364">
                  <c:v>5.8404271311878091</c:v>
                </c:pt>
                <c:pt idx="11365">
                  <c:v>6.0142255434640273</c:v>
                </c:pt>
                <c:pt idx="11366">
                  <c:v>6.1037990509460673</c:v>
                </c:pt>
                <c:pt idx="11367">
                  <c:v>5.1349878151088264</c:v>
                </c:pt>
                <c:pt idx="11368">
                  <c:v>6.0495857111385352</c:v>
                </c:pt>
                <c:pt idx="11369">
                  <c:v>6.0813537229103751</c:v>
                </c:pt>
                <c:pt idx="11370">
                  <c:v>6.0448069233767594</c:v>
                </c:pt>
                <c:pt idx="11371">
                  <c:v>6.0234391854941327</c:v>
                </c:pt>
                <c:pt idx="11372">
                  <c:v>4.8243250481615387</c:v>
                </c:pt>
                <c:pt idx="11373">
                  <c:v>5.0427691181696099</c:v>
                </c:pt>
                <c:pt idx="11374">
                  <c:v>5.9942093191773358</c:v>
                </c:pt>
                <c:pt idx="11375">
                  <c:v>6.0404423928649198</c:v>
                </c:pt>
                <c:pt idx="11376">
                  <c:v>5.8565913504114357</c:v>
                </c:pt>
                <c:pt idx="11377">
                  <c:v>6.0850442065905881</c:v>
                </c:pt>
                <c:pt idx="11378">
                  <c:v>5.7546833171635363</c:v>
                </c:pt>
                <c:pt idx="11379">
                  <c:v>6.9014195472276194</c:v>
                </c:pt>
                <c:pt idx="11380">
                  <c:v>5.1324029635427024</c:v>
                </c:pt>
                <c:pt idx="11381">
                  <c:v>6.9337104209365714</c:v>
                </c:pt>
                <c:pt idx="11382">
                  <c:v>5.7715715787923436</c:v>
                </c:pt>
                <c:pt idx="11383">
                  <c:v>6.0898920969382164</c:v>
                </c:pt>
                <c:pt idx="11384">
                  <c:v>5.8969566724229106</c:v>
                </c:pt>
                <c:pt idx="11385">
                  <c:v>5.7835374264981096</c:v>
                </c:pt>
                <c:pt idx="11386">
                  <c:v>6.9809473975315948</c:v>
                </c:pt>
                <c:pt idx="11387">
                  <c:v>6.0118867857363965</c:v>
                </c:pt>
                <c:pt idx="11388">
                  <c:v>7.0300569578226364</c:v>
                </c:pt>
                <c:pt idx="11389">
                  <c:v>7.1609822480270724</c:v>
                </c:pt>
                <c:pt idx="11390">
                  <c:v>6.1595782246967161</c:v>
                </c:pt>
                <c:pt idx="11391">
                  <c:v>5.9495210865104395</c:v>
                </c:pt>
                <c:pt idx="11392">
                  <c:v>4.862754410356616</c:v>
                </c:pt>
                <c:pt idx="11393">
                  <c:v>6.0866392360210551</c:v>
                </c:pt>
                <c:pt idx="11394">
                  <c:v>5.9956387534751316</c:v>
                </c:pt>
                <c:pt idx="11395">
                  <c:v>6.1929776947942647</c:v>
                </c:pt>
                <c:pt idx="11396">
                  <c:v>4.9601757406434261</c:v>
                </c:pt>
                <c:pt idx="11397">
                  <c:v>4.9215026394678958</c:v>
                </c:pt>
                <c:pt idx="11398">
                  <c:v>5.7550289128996166</c:v>
                </c:pt>
                <c:pt idx="11399">
                  <c:v>6.0568041675700668</c:v>
                </c:pt>
                <c:pt idx="11400">
                  <c:v>6.1542785838057839</c:v>
                </c:pt>
                <c:pt idx="11401">
                  <c:v>6.024072513822011</c:v>
                </c:pt>
                <c:pt idx="11402">
                  <c:v>5.1056471056355912</c:v>
                </c:pt>
                <c:pt idx="11403">
                  <c:v>5.8846132065346994</c:v>
                </c:pt>
                <c:pt idx="11404">
                  <c:v>6.0070042539284936</c:v>
                </c:pt>
                <c:pt idx="11405">
                  <c:v>6.0054666794517342</c:v>
                </c:pt>
                <c:pt idx="11406">
                  <c:v>5.036652471601081</c:v>
                </c:pt>
                <c:pt idx="11407">
                  <c:v>5.0575992125294604</c:v>
                </c:pt>
                <c:pt idx="11408">
                  <c:v>5.8808308752694636</c:v>
                </c:pt>
                <c:pt idx="11409">
                  <c:v>6.1062082445614116</c:v>
                </c:pt>
                <c:pt idx="11410">
                  <c:v>5.8291801395844853</c:v>
                </c:pt>
                <c:pt idx="11411">
                  <c:v>6.0246339036365102</c:v>
                </c:pt>
                <c:pt idx="11412">
                  <c:v>5.1137556780073341</c:v>
                </c:pt>
                <c:pt idx="11413">
                  <c:v>5.8460612194199593</c:v>
                </c:pt>
                <c:pt idx="11414">
                  <c:v>4.9864000605049128</c:v>
                </c:pt>
                <c:pt idx="11415">
                  <c:v>5.9643419861995639</c:v>
                </c:pt>
                <c:pt idx="11416">
                  <c:v>7.0485521729279954</c:v>
                </c:pt>
                <c:pt idx="11417">
                  <c:v>5.0618894132682</c:v>
                </c:pt>
                <c:pt idx="11418">
                  <c:v>6.1121622369719786</c:v>
                </c:pt>
                <c:pt idx="11419">
                  <c:v>5.9541570911462092</c:v>
                </c:pt>
                <c:pt idx="11420">
                  <c:v>5.9687931816030613</c:v>
                </c:pt>
                <c:pt idx="11421">
                  <c:v>6.0282191172608375</c:v>
                </c:pt>
                <c:pt idx="11422">
                  <c:v>6.1181376018041913</c:v>
                </c:pt>
                <c:pt idx="11423">
                  <c:v>5.0276177115732086</c:v>
                </c:pt>
                <c:pt idx="11424">
                  <c:v>7.1166395507755809</c:v>
                </c:pt>
                <c:pt idx="11425">
                  <c:v>5.954834887937583</c:v>
                </c:pt>
                <c:pt idx="11426">
                  <c:v>6.2386799338909631</c:v>
                </c:pt>
                <c:pt idx="11427">
                  <c:v>5.0022273852146002</c:v>
                </c:pt>
                <c:pt idx="11428">
                  <c:v>7.0364433507777058</c:v>
                </c:pt>
                <c:pt idx="11429">
                  <c:v>5.8672252692074203</c:v>
                </c:pt>
                <c:pt idx="11430">
                  <c:v>5.7510997237962584</c:v>
                </c:pt>
                <c:pt idx="11431">
                  <c:v>5.0903674194199242</c:v>
                </c:pt>
                <c:pt idx="11432">
                  <c:v>6.9557531082725443</c:v>
                </c:pt>
                <c:pt idx="11433">
                  <c:v>6.8199208317325821</c:v>
                </c:pt>
                <c:pt idx="11434">
                  <c:v>5.940961033154359</c:v>
                </c:pt>
                <c:pt idx="11435">
                  <c:v>7.2162224045766816</c:v>
                </c:pt>
                <c:pt idx="11436">
                  <c:v>7.0104314543823492</c:v>
                </c:pt>
                <c:pt idx="11437">
                  <c:v>5.0098021720874462</c:v>
                </c:pt>
                <c:pt idx="11438">
                  <c:v>5.9056875508225382</c:v>
                </c:pt>
                <c:pt idx="11439">
                  <c:v>5.8584410366061199</c:v>
                </c:pt>
                <c:pt idx="11440">
                  <c:v>5.9031425331936891</c:v>
                </c:pt>
                <c:pt idx="11441">
                  <c:v>5.9645005897390186</c:v>
                </c:pt>
                <c:pt idx="11442">
                  <c:v>5.9211840745291742</c:v>
                </c:pt>
                <c:pt idx="11443">
                  <c:v>5.8938443372735865</c:v>
                </c:pt>
                <c:pt idx="11444">
                  <c:v>5.0871222300186965</c:v>
                </c:pt>
                <c:pt idx="11445">
                  <c:v>6.081471970536672</c:v>
                </c:pt>
                <c:pt idx="11446">
                  <c:v>6.0480796175381837</c:v>
                </c:pt>
                <c:pt idx="11447">
                  <c:v>5.0824710779731594</c:v>
                </c:pt>
                <c:pt idx="11448">
                  <c:v>5.8155546264448992</c:v>
                </c:pt>
                <c:pt idx="11449">
                  <c:v>5.9554660080270683</c:v>
                </c:pt>
                <c:pt idx="11450">
                  <c:v>5.8632378750005154</c:v>
                </c:pt>
                <c:pt idx="11451">
                  <c:v>6.1085342506797957</c:v>
                </c:pt>
                <c:pt idx="11452">
                  <c:v>5.0049822425977002</c:v>
                </c:pt>
                <c:pt idx="11453">
                  <c:v>6.1083438660830129</c:v>
                </c:pt>
                <c:pt idx="11454">
                  <c:v>5.0395263797784215</c:v>
                </c:pt>
                <c:pt idx="11455">
                  <c:v>4.9713648696071964</c:v>
                </c:pt>
                <c:pt idx="11456">
                  <c:v>5.010771743962664</c:v>
                </c:pt>
                <c:pt idx="11457">
                  <c:v>5.8437609057331841</c:v>
                </c:pt>
                <c:pt idx="11458">
                  <c:v>3.8865077689159628</c:v>
                </c:pt>
                <c:pt idx="11459">
                  <c:v>3.9821982049454352</c:v>
                </c:pt>
                <c:pt idx="11460">
                  <c:v>5.9522427362332744</c:v>
                </c:pt>
                <c:pt idx="11461">
                  <c:v>6.7544310473430533</c:v>
                </c:pt>
                <c:pt idx="11462">
                  <c:v>6.8807851618339111</c:v>
                </c:pt>
                <c:pt idx="11463">
                  <c:v>6.9841653228196732</c:v>
                </c:pt>
                <c:pt idx="11464">
                  <c:v>6.0397795282492863</c:v>
                </c:pt>
                <c:pt idx="11465">
                  <c:v>5.8505572272123159</c:v>
                </c:pt>
                <c:pt idx="11466">
                  <c:v>6.0103071240481549</c:v>
                </c:pt>
                <c:pt idx="11467">
                  <c:v>6.0484968142871187</c:v>
                </c:pt>
                <c:pt idx="11468">
                  <c:v>4.9716868612648577</c:v>
                </c:pt>
                <c:pt idx="11469">
                  <c:v>5.1710274153451836</c:v>
                </c:pt>
                <c:pt idx="11470">
                  <c:v>5.88153399605239</c:v>
                </c:pt>
                <c:pt idx="11471">
                  <c:v>6.0422626770568391</c:v>
                </c:pt>
                <c:pt idx="11472">
                  <c:v>4.942307348809301</c:v>
                </c:pt>
                <c:pt idx="11473">
                  <c:v>5.9689822752993287</c:v>
                </c:pt>
                <c:pt idx="11474">
                  <c:v>4.0961652663540802</c:v>
                </c:pt>
                <c:pt idx="11475">
                  <c:v>5.9823678234371203</c:v>
                </c:pt>
                <c:pt idx="11476">
                  <c:v>5.0877351527750045</c:v>
                </c:pt>
                <c:pt idx="11477">
                  <c:v>5.9743415804383471</c:v>
                </c:pt>
                <c:pt idx="11478">
                  <c:v>5.7766832399895272</c:v>
                </c:pt>
                <c:pt idx="11479">
                  <c:v>4.9715614820466776</c:v>
                </c:pt>
                <c:pt idx="11480">
                  <c:v>6.9159454451422189</c:v>
                </c:pt>
                <c:pt idx="11481">
                  <c:v>4.903965990803794</c:v>
                </c:pt>
                <c:pt idx="11482">
                  <c:v>5.8368733981787431</c:v>
                </c:pt>
                <c:pt idx="11483">
                  <c:v>4.9469785464837095</c:v>
                </c:pt>
                <c:pt idx="11484">
                  <c:v>5.1611255610512012</c:v>
                </c:pt>
                <c:pt idx="11485">
                  <c:v>6.0979382751205105</c:v>
                </c:pt>
                <c:pt idx="11486">
                  <c:v>6.0982083164683747</c:v>
                </c:pt>
                <c:pt idx="11487">
                  <c:v>5.1186812313758958</c:v>
                </c:pt>
                <c:pt idx="11488">
                  <c:v>4.9775514791276754</c:v>
                </c:pt>
                <c:pt idx="11489">
                  <c:v>5.9714148296756084</c:v>
                </c:pt>
                <c:pt idx="11490">
                  <c:v>6.0618707532095311</c:v>
                </c:pt>
                <c:pt idx="11491">
                  <c:v>6.0919092980391794</c:v>
                </c:pt>
                <c:pt idx="11492">
                  <c:v>6.0193590945963038</c:v>
                </c:pt>
                <c:pt idx="11493">
                  <c:v>5.921766038555746</c:v>
                </c:pt>
                <c:pt idx="11494">
                  <c:v>5.987524462433135</c:v>
                </c:pt>
                <c:pt idx="11495">
                  <c:v>5.8832821103273503</c:v>
                </c:pt>
                <c:pt idx="11496">
                  <c:v>5.8428313196912107</c:v>
                </c:pt>
                <c:pt idx="11497">
                  <c:v>6.0020817798302879</c:v>
                </c:pt>
                <c:pt idx="11498">
                  <c:v>5.0024090118100268</c:v>
                </c:pt>
                <c:pt idx="11499">
                  <c:v>5.9139638411496804</c:v>
                </c:pt>
                <c:pt idx="11500">
                  <c:v>7.0450348435591117</c:v>
                </c:pt>
                <c:pt idx="11501">
                  <c:v>5.8164065305261632</c:v>
                </c:pt>
                <c:pt idx="11502">
                  <c:v>6.837134050232045</c:v>
                </c:pt>
                <c:pt idx="11503">
                  <c:v>6.0770158361078295</c:v>
                </c:pt>
                <c:pt idx="11504">
                  <c:v>4.8884400699774302</c:v>
                </c:pt>
                <c:pt idx="11505">
                  <c:v>5.9034172458415659</c:v>
                </c:pt>
                <c:pt idx="11506">
                  <c:v>4.907967367838034</c:v>
                </c:pt>
                <c:pt idx="11507">
                  <c:v>5.9032611925079079</c:v>
                </c:pt>
                <c:pt idx="11508">
                  <c:v>6.0283326453340802</c:v>
                </c:pt>
                <c:pt idx="11509">
                  <c:v>5.9665957616617531</c:v>
                </c:pt>
                <c:pt idx="11510">
                  <c:v>5.8360512629653032</c:v>
                </c:pt>
                <c:pt idx="11511">
                  <c:v>4.0551179615859629</c:v>
                </c:pt>
                <c:pt idx="11512">
                  <c:v>4.079556135186114</c:v>
                </c:pt>
                <c:pt idx="11513">
                  <c:v>5.1626137199463145</c:v>
                </c:pt>
                <c:pt idx="11514">
                  <c:v>5.9910011534032206</c:v>
                </c:pt>
                <c:pt idx="11515">
                  <c:v>5.1771000709585238</c:v>
                </c:pt>
                <c:pt idx="11516">
                  <c:v>6.0753505994591732</c:v>
                </c:pt>
                <c:pt idx="11517">
                  <c:v>4.9254909011807539</c:v>
                </c:pt>
                <c:pt idx="11518">
                  <c:v>6.1235055021924216</c:v>
                </c:pt>
                <c:pt idx="11519">
                  <c:v>6.1148654545722954</c:v>
                </c:pt>
                <c:pt idx="11520">
                  <c:v>5.9800604687100609</c:v>
                </c:pt>
                <c:pt idx="11521">
                  <c:v>5.0625568972295252</c:v>
                </c:pt>
                <c:pt idx="11522">
                  <c:v>5.0875857485413762</c:v>
                </c:pt>
                <c:pt idx="11523">
                  <c:v>5.9636362830360827</c:v>
                </c:pt>
                <c:pt idx="11524">
                  <c:v>5.9030348167345847</c:v>
                </c:pt>
                <c:pt idx="11525">
                  <c:v>6.0927203586265701</c:v>
                </c:pt>
                <c:pt idx="11526">
                  <c:v>5.9084569461267735</c:v>
                </c:pt>
                <c:pt idx="11527">
                  <c:v>5.0179915411218667</c:v>
                </c:pt>
                <c:pt idx="11528">
                  <c:v>4.8803949912643105</c:v>
                </c:pt>
                <c:pt idx="11529">
                  <c:v>5.9508678867749234</c:v>
                </c:pt>
                <c:pt idx="11530">
                  <c:v>4.9398054700682339</c:v>
                </c:pt>
                <c:pt idx="11531">
                  <c:v>6.19098811676424</c:v>
                </c:pt>
                <c:pt idx="11532">
                  <c:v>6.0121087411503433</c:v>
                </c:pt>
                <c:pt idx="11533">
                  <c:v>5.9338217457659663</c:v>
                </c:pt>
                <c:pt idx="11534">
                  <c:v>6.1099848320759778</c:v>
                </c:pt>
                <c:pt idx="11535">
                  <c:v>6.1457296238074717</c:v>
                </c:pt>
                <c:pt idx="11536">
                  <c:v>5.8466429391234822</c:v>
                </c:pt>
                <c:pt idx="11537">
                  <c:v>5.8742946187325611</c:v>
                </c:pt>
                <c:pt idx="11538">
                  <c:v>8.0671490381665212</c:v>
                </c:pt>
                <c:pt idx="11539">
                  <c:v>6.2368120651856618</c:v>
                </c:pt>
                <c:pt idx="11540">
                  <c:v>6.0024994402253595</c:v>
                </c:pt>
                <c:pt idx="11541">
                  <c:v>6.099361554944581</c:v>
                </c:pt>
                <c:pt idx="11542">
                  <c:v>6.0234575069366478</c:v>
                </c:pt>
                <c:pt idx="11543">
                  <c:v>6.1148799124800099</c:v>
                </c:pt>
                <c:pt idx="11544">
                  <c:v>5.9096101415297531</c:v>
                </c:pt>
                <c:pt idx="11545">
                  <c:v>5.0338761527177489</c:v>
                </c:pt>
                <c:pt idx="11546">
                  <c:v>5.1427598099884948</c:v>
                </c:pt>
                <c:pt idx="11547">
                  <c:v>5.9277713037250104</c:v>
                </c:pt>
                <c:pt idx="11548">
                  <c:v>6.1494391212189203</c:v>
                </c:pt>
                <c:pt idx="11549">
                  <c:v>7.1025231015718973</c:v>
                </c:pt>
                <c:pt idx="11550">
                  <c:v>6.1380291879897735</c:v>
                </c:pt>
                <c:pt idx="11551">
                  <c:v>5.9680937116729416</c:v>
                </c:pt>
                <c:pt idx="11552">
                  <c:v>5.9699899200498159</c:v>
                </c:pt>
                <c:pt idx="11553">
                  <c:v>7.0341170516461355</c:v>
                </c:pt>
                <c:pt idx="11554">
                  <c:v>4.9950314577155295</c:v>
                </c:pt>
                <c:pt idx="11555">
                  <c:v>6.9263637467098276</c:v>
                </c:pt>
                <c:pt idx="11556">
                  <c:v>4.8739156136099062</c:v>
                </c:pt>
                <c:pt idx="11557">
                  <c:v>7.0012082534932274</c:v>
                </c:pt>
                <c:pt idx="11558">
                  <c:v>6.91656437770515</c:v>
                </c:pt>
                <c:pt idx="11559">
                  <c:v>6.9333788585170826</c:v>
                </c:pt>
                <c:pt idx="11560">
                  <c:v>7.0615502123854768</c:v>
                </c:pt>
                <c:pt idx="11561">
                  <c:v>6.8606770403212884</c:v>
                </c:pt>
                <c:pt idx="11562">
                  <c:v>5.9550840568579568</c:v>
                </c:pt>
                <c:pt idx="11563">
                  <c:v>4.9705194906820145</c:v>
                </c:pt>
                <c:pt idx="11564">
                  <c:v>5.971629171657538</c:v>
                </c:pt>
                <c:pt idx="11565">
                  <c:v>4.8336488087836189</c:v>
                </c:pt>
                <c:pt idx="11566">
                  <c:v>6.2438331760521528</c:v>
                </c:pt>
                <c:pt idx="11567">
                  <c:v>6.0226480626421113</c:v>
                </c:pt>
                <c:pt idx="11568">
                  <c:v>4.871932862736128</c:v>
                </c:pt>
                <c:pt idx="11569">
                  <c:v>5.0049181335023851</c:v>
                </c:pt>
                <c:pt idx="11570">
                  <c:v>5.9938868961564022</c:v>
                </c:pt>
                <c:pt idx="11571">
                  <c:v>6.0313483334258491</c:v>
                </c:pt>
                <c:pt idx="11572">
                  <c:v>5.9290036160229347</c:v>
                </c:pt>
                <c:pt idx="11573">
                  <c:v>5.9708003314469025</c:v>
                </c:pt>
                <c:pt idx="11574">
                  <c:v>5.8425845417899742</c:v>
                </c:pt>
                <c:pt idx="11575">
                  <c:v>5.9769244397609969</c:v>
                </c:pt>
                <c:pt idx="11576">
                  <c:v>6.0526317648870958</c:v>
                </c:pt>
                <c:pt idx="11577">
                  <c:v>7.1575795978619174</c:v>
                </c:pt>
                <c:pt idx="11578">
                  <c:v>5.9043463891489498</c:v>
                </c:pt>
                <c:pt idx="11579">
                  <c:v>5.9066904910768248</c:v>
                </c:pt>
                <c:pt idx="11580">
                  <c:v>5.8470900258690035</c:v>
                </c:pt>
                <c:pt idx="11581">
                  <c:v>5.7990048890768788</c:v>
                </c:pt>
                <c:pt idx="11582">
                  <c:v>5.8081035792494671</c:v>
                </c:pt>
                <c:pt idx="11583">
                  <c:v>6.9676677131520766</c:v>
                </c:pt>
                <c:pt idx="11584">
                  <c:v>5.0322286816737298</c:v>
                </c:pt>
                <c:pt idx="11585">
                  <c:v>6.0366266249508307</c:v>
                </c:pt>
                <c:pt idx="11586">
                  <c:v>6.0034942190016798</c:v>
                </c:pt>
                <c:pt idx="11587">
                  <c:v>6.1972998760972873</c:v>
                </c:pt>
                <c:pt idx="11588">
                  <c:v>6.0107210893026366</c:v>
                </c:pt>
                <c:pt idx="11589">
                  <c:v>5.9552417459818123</c:v>
                </c:pt>
                <c:pt idx="11590">
                  <c:v>6.0169595003365144</c:v>
                </c:pt>
                <c:pt idx="11591">
                  <c:v>5.8645661876867505</c:v>
                </c:pt>
                <c:pt idx="11592">
                  <c:v>6.0404655065782986</c:v>
                </c:pt>
                <c:pt idx="11593">
                  <c:v>5.9441838570188033</c:v>
                </c:pt>
                <c:pt idx="11594">
                  <c:v>5.8816936567833684</c:v>
                </c:pt>
                <c:pt idx="11595">
                  <c:v>4.8438569123253723</c:v>
                </c:pt>
                <c:pt idx="11596">
                  <c:v>5.959397635995729</c:v>
                </c:pt>
                <c:pt idx="11597">
                  <c:v>5.9945068909918282</c:v>
                </c:pt>
                <c:pt idx="11598">
                  <c:v>4.9750725896783905</c:v>
                </c:pt>
                <c:pt idx="11599">
                  <c:v>5.2343511771446414</c:v>
                </c:pt>
                <c:pt idx="11600">
                  <c:v>5.8948964305829987</c:v>
                </c:pt>
                <c:pt idx="11601">
                  <c:v>6.0811958068306451</c:v>
                </c:pt>
                <c:pt idx="11602">
                  <c:v>6.0339110402502483</c:v>
                </c:pt>
                <c:pt idx="11603">
                  <c:v>4.9310437831026501</c:v>
                </c:pt>
                <c:pt idx="11604">
                  <c:v>6.0673699924056272</c:v>
                </c:pt>
                <c:pt idx="11605">
                  <c:v>4.7926934290176488</c:v>
                </c:pt>
                <c:pt idx="11606">
                  <c:v>5.0306991146636388</c:v>
                </c:pt>
                <c:pt idx="11607">
                  <c:v>3.9474748804788837</c:v>
                </c:pt>
                <c:pt idx="11608">
                  <c:v>4.8516605973192819</c:v>
                </c:pt>
                <c:pt idx="11609">
                  <c:v>5.9501376574829337</c:v>
                </c:pt>
                <c:pt idx="11610">
                  <c:v>5.1406797971544194</c:v>
                </c:pt>
                <c:pt idx="11611">
                  <c:v>4.9063647199576064</c:v>
                </c:pt>
                <c:pt idx="11612">
                  <c:v>5.9643473918149548</c:v>
                </c:pt>
                <c:pt idx="11613">
                  <c:v>6.0030758804715116</c:v>
                </c:pt>
                <c:pt idx="11614">
                  <c:v>6.0144188390744411</c:v>
                </c:pt>
                <c:pt idx="11615">
                  <c:v>6.0022002828743304</c:v>
                </c:pt>
                <c:pt idx="11616">
                  <c:v>5.9927345811502004</c:v>
                </c:pt>
                <c:pt idx="11617">
                  <c:v>5.8544236796879137</c:v>
                </c:pt>
                <c:pt idx="11618">
                  <c:v>4.9080374922952856</c:v>
                </c:pt>
                <c:pt idx="11619">
                  <c:v>5.9689669792204612</c:v>
                </c:pt>
                <c:pt idx="11620">
                  <c:v>6.063498431681567</c:v>
                </c:pt>
                <c:pt idx="11621">
                  <c:v>5.0746811804703915</c:v>
                </c:pt>
                <c:pt idx="11622">
                  <c:v>6.0122888106929899</c:v>
                </c:pt>
                <c:pt idx="11623">
                  <c:v>5.1411296141951901</c:v>
                </c:pt>
                <c:pt idx="11624">
                  <c:v>5.0004015473407559</c:v>
                </c:pt>
                <c:pt idx="11625">
                  <c:v>4.9265559849516487</c:v>
                </c:pt>
                <c:pt idx="11626">
                  <c:v>5.9420680778853701</c:v>
                </c:pt>
                <c:pt idx="11627">
                  <c:v>7.0488880518661947</c:v>
                </c:pt>
                <c:pt idx="11628">
                  <c:v>5.097736651582272</c:v>
                </c:pt>
                <c:pt idx="11629">
                  <c:v>5.88573920579391</c:v>
                </c:pt>
                <c:pt idx="11630">
                  <c:v>7.1177986430085003</c:v>
                </c:pt>
                <c:pt idx="11631">
                  <c:v>6.138146740079832</c:v>
                </c:pt>
                <c:pt idx="11632">
                  <c:v>5.0355497050629756</c:v>
                </c:pt>
                <c:pt idx="11633">
                  <c:v>5.0312424038456527</c:v>
                </c:pt>
                <c:pt idx="11634">
                  <c:v>6.0758603269342544</c:v>
                </c:pt>
                <c:pt idx="11635">
                  <c:v>6.1676655428018012</c:v>
                </c:pt>
                <c:pt idx="11636">
                  <c:v>6.0905933590951173</c:v>
                </c:pt>
                <c:pt idx="11637">
                  <c:v>5.8342106020437754</c:v>
                </c:pt>
                <c:pt idx="11638">
                  <c:v>5.0233023330679529</c:v>
                </c:pt>
                <c:pt idx="11639">
                  <c:v>6.0381484370849074</c:v>
                </c:pt>
                <c:pt idx="11640">
                  <c:v>6.0815932435044839</c:v>
                </c:pt>
                <c:pt idx="11641">
                  <c:v>6.0883921509660901</c:v>
                </c:pt>
                <c:pt idx="11642">
                  <c:v>5.0858741436843014</c:v>
                </c:pt>
                <c:pt idx="11643">
                  <c:v>4.9235049077960253</c:v>
                </c:pt>
                <c:pt idx="11644">
                  <c:v>6.0283244619495955</c:v>
                </c:pt>
                <c:pt idx="11645">
                  <c:v>6.1994150378681896</c:v>
                </c:pt>
                <c:pt idx="11646">
                  <c:v>5.985078265288962</c:v>
                </c:pt>
                <c:pt idx="11647">
                  <c:v>5.9132768723833466</c:v>
                </c:pt>
                <c:pt idx="11648">
                  <c:v>6.0935184699602187</c:v>
                </c:pt>
                <c:pt idx="11649">
                  <c:v>5.921979662267316</c:v>
                </c:pt>
                <c:pt idx="11650">
                  <c:v>6.0526727073340512</c:v>
                </c:pt>
                <c:pt idx="11651">
                  <c:v>5.0452731578178271</c:v>
                </c:pt>
                <c:pt idx="11652">
                  <c:v>5.9232864695637586</c:v>
                </c:pt>
                <c:pt idx="11653">
                  <c:v>5.9106933615731307</c:v>
                </c:pt>
                <c:pt idx="11654">
                  <c:v>4.6752069447082141</c:v>
                </c:pt>
                <c:pt idx="11655">
                  <c:v>5.0686532070868919</c:v>
                </c:pt>
                <c:pt idx="11656">
                  <c:v>5.918652535153047</c:v>
                </c:pt>
                <c:pt idx="11657">
                  <c:v>5.8893473577148123</c:v>
                </c:pt>
                <c:pt idx="11658">
                  <c:v>6.1067520426721513</c:v>
                </c:pt>
                <c:pt idx="11659">
                  <c:v>7.0395590517741597</c:v>
                </c:pt>
                <c:pt idx="11660">
                  <c:v>4.9110626561405395</c:v>
                </c:pt>
                <c:pt idx="11661">
                  <c:v>6.0169768319672059</c:v>
                </c:pt>
                <c:pt idx="11662">
                  <c:v>5.00540269418227</c:v>
                </c:pt>
                <c:pt idx="11663">
                  <c:v>5.132106509706575</c:v>
                </c:pt>
                <c:pt idx="11664">
                  <c:v>5.0847900268495128</c:v>
                </c:pt>
                <c:pt idx="11665">
                  <c:v>4.9311211876147567</c:v>
                </c:pt>
                <c:pt idx="11666">
                  <c:v>5.935573339763363</c:v>
                </c:pt>
                <c:pt idx="11667">
                  <c:v>6.0564185475891925</c:v>
                </c:pt>
                <c:pt idx="11668">
                  <c:v>6.0493526651155252</c:v>
                </c:pt>
                <c:pt idx="11669">
                  <c:v>4.8849135532144849</c:v>
                </c:pt>
                <c:pt idx="11670">
                  <c:v>5.8400129483729879</c:v>
                </c:pt>
                <c:pt idx="11671">
                  <c:v>6.0676669804447156</c:v>
                </c:pt>
                <c:pt idx="11672">
                  <c:v>5.0232603609186537</c:v>
                </c:pt>
                <c:pt idx="11673">
                  <c:v>5.9811532717759572</c:v>
                </c:pt>
                <c:pt idx="11674">
                  <c:v>4.8778653769156612</c:v>
                </c:pt>
                <c:pt idx="11675">
                  <c:v>5.961589805803948</c:v>
                </c:pt>
                <c:pt idx="11676">
                  <c:v>6.0387356895596485</c:v>
                </c:pt>
                <c:pt idx="11677">
                  <c:v>5.8977668681432602</c:v>
                </c:pt>
                <c:pt idx="11678">
                  <c:v>7.1029430993006102</c:v>
                </c:pt>
                <c:pt idx="11679">
                  <c:v>5.8702111653156743</c:v>
                </c:pt>
                <c:pt idx="11680">
                  <c:v>6.0009257935944929</c:v>
                </c:pt>
                <c:pt idx="11681">
                  <c:v>6.0080314039235816</c:v>
                </c:pt>
                <c:pt idx="11682">
                  <c:v>5.8103952325879487</c:v>
                </c:pt>
                <c:pt idx="11683">
                  <c:v>6.0237581537772229</c:v>
                </c:pt>
                <c:pt idx="11684">
                  <c:v>6.1004099963191445</c:v>
                </c:pt>
                <c:pt idx="11685">
                  <c:v>4.9200333981708555</c:v>
                </c:pt>
                <c:pt idx="11686">
                  <c:v>5.9333738945618695</c:v>
                </c:pt>
                <c:pt idx="11687">
                  <c:v>6.1461945536658975</c:v>
                </c:pt>
                <c:pt idx="11688">
                  <c:v>6.0534703884257626</c:v>
                </c:pt>
                <c:pt idx="11689">
                  <c:v>6.0025765543822267</c:v>
                </c:pt>
                <c:pt idx="11690">
                  <c:v>6.1323417698094662</c:v>
                </c:pt>
                <c:pt idx="11691">
                  <c:v>7.0960828972569905</c:v>
                </c:pt>
                <c:pt idx="11692">
                  <c:v>6.0609425680776434</c:v>
                </c:pt>
                <c:pt idx="11693">
                  <c:v>6.0199197485055933</c:v>
                </c:pt>
                <c:pt idx="11694">
                  <c:v>5.9640336802447891</c:v>
                </c:pt>
                <c:pt idx="11695">
                  <c:v>5.9512937421522132</c:v>
                </c:pt>
                <c:pt idx="11696">
                  <c:v>6.0539480278966877</c:v>
                </c:pt>
                <c:pt idx="11697">
                  <c:v>5.0524704350076703</c:v>
                </c:pt>
                <c:pt idx="11698">
                  <c:v>6.0169060725468864</c:v>
                </c:pt>
                <c:pt idx="11699">
                  <c:v>6.0486824858459558</c:v>
                </c:pt>
                <c:pt idx="11700">
                  <c:v>5.9939199466646675</c:v>
                </c:pt>
                <c:pt idx="11701">
                  <c:v>5.9602998537823959</c:v>
                </c:pt>
                <c:pt idx="11702">
                  <c:v>5.913195710981733</c:v>
                </c:pt>
                <c:pt idx="11703">
                  <c:v>6.0494843427374416</c:v>
                </c:pt>
                <c:pt idx="11704">
                  <c:v>4.9842264182091984</c:v>
                </c:pt>
                <c:pt idx="11705">
                  <c:v>6.0015826217702228</c:v>
                </c:pt>
                <c:pt idx="11706">
                  <c:v>5.0323755244207513</c:v>
                </c:pt>
                <c:pt idx="11707">
                  <c:v>6.0749895945802308</c:v>
                </c:pt>
                <c:pt idx="11708">
                  <c:v>6.0903450133667114</c:v>
                </c:pt>
                <c:pt idx="11709">
                  <c:v>5.8617648919937961</c:v>
                </c:pt>
                <c:pt idx="11710">
                  <c:v>6.0274757662482212</c:v>
                </c:pt>
                <c:pt idx="11711">
                  <c:v>5.8980713691989175</c:v>
                </c:pt>
                <c:pt idx="11712">
                  <c:v>4.8746140986595377</c:v>
                </c:pt>
                <c:pt idx="11713">
                  <c:v>5.9983558544930053</c:v>
                </c:pt>
                <c:pt idx="11714">
                  <c:v>5.9283092560920023</c:v>
                </c:pt>
                <c:pt idx="11715">
                  <c:v>4.8306087697629039</c:v>
                </c:pt>
                <c:pt idx="11716">
                  <c:v>5.8621898490075219</c:v>
                </c:pt>
                <c:pt idx="11717">
                  <c:v>5.8760118181436081</c:v>
                </c:pt>
                <c:pt idx="11718">
                  <c:v>6.0890355761592438</c:v>
                </c:pt>
                <c:pt idx="11719">
                  <c:v>6.0417538443130452</c:v>
                </c:pt>
                <c:pt idx="11720">
                  <c:v>6.0075811122173004</c:v>
                </c:pt>
                <c:pt idx="11721">
                  <c:v>6.1185367654822151</c:v>
                </c:pt>
                <c:pt idx="11722">
                  <c:v>5.9773407785579611</c:v>
                </c:pt>
                <c:pt idx="11723">
                  <c:v>6.1128591470766835</c:v>
                </c:pt>
                <c:pt idx="11724">
                  <c:v>5.9002899384714933</c:v>
                </c:pt>
                <c:pt idx="11725">
                  <c:v>6.03363749252585</c:v>
                </c:pt>
                <c:pt idx="11726">
                  <c:v>6.0452517991566035</c:v>
                </c:pt>
                <c:pt idx="11727">
                  <c:v>4.0369391271770514</c:v>
                </c:pt>
                <c:pt idx="11728">
                  <c:v>6.016734544393656</c:v>
                </c:pt>
                <c:pt idx="11729">
                  <c:v>6.1357075858394259</c:v>
                </c:pt>
                <c:pt idx="11730">
                  <c:v>5.0440982888165751</c:v>
                </c:pt>
                <c:pt idx="11731">
                  <c:v>5.823721945418983</c:v>
                </c:pt>
                <c:pt idx="11732">
                  <c:v>6.8225580976905551</c:v>
                </c:pt>
                <c:pt idx="11733">
                  <c:v>5.8833305512161944</c:v>
                </c:pt>
                <c:pt idx="11734">
                  <c:v>6.8293695460634307</c:v>
                </c:pt>
                <c:pt idx="11735">
                  <c:v>6.0218570331141699</c:v>
                </c:pt>
                <c:pt idx="11736">
                  <c:v>7.0940080499011353</c:v>
                </c:pt>
                <c:pt idx="11737">
                  <c:v>5.9290637184067645</c:v>
                </c:pt>
                <c:pt idx="11738">
                  <c:v>5.9635318794872436</c:v>
                </c:pt>
                <c:pt idx="11739">
                  <c:v>5.0635677462407989</c:v>
                </c:pt>
                <c:pt idx="11740">
                  <c:v>4.8492897186639388</c:v>
                </c:pt>
                <c:pt idx="11741">
                  <c:v>4.9689432225064785</c:v>
                </c:pt>
                <c:pt idx="11742">
                  <c:v>5.9877212192193792</c:v>
                </c:pt>
                <c:pt idx="11743">
                  <c:v>5.861921647785822</c:v>
                </c:pt>
                <c:pt idx="11744">
                  <c:v>5.1032814436699407</c:v>
                </c:pt>
                <c:pt idx="11745">
                  <c:v>6.9836778404395083</c:v>
                </c:pt>
                <c:pt idx="11746">
                  <c:v>7.0675159176212796</c:v>
                </c:pt>
                <c:pt idx="11747">
                  <c:v>7.0047830930425752</c:v>
                </c:pt>
                <c:pt idx="11748">
                  <c:v>6.0456282114885598</c:v>
                </c:pt>
                <c:pt idx="11749">
                  <c:v>5.9316260593122463</c:v>
                </c:pt>
                <c:pt idx="11750">
                  <c:v>5.9361498796416265</c:v>
                </c:pt>
                <c:pt idx="11751">
                  <c:v>5.9488576210378437</c:v>
                </c:pt>
                <c:pt idx="11752">
                  <c:v>5.9619289463681993</c:v>
                </c:pt>
                <c:pt idx="11753">
                  <c:v>4.9490488747344079</c:v>
                </c:pt>
                <c:pt idx="11754">
                  <c:v>7.0337467307061967</c:v>
                </c:pt>
                <c:pt idx="11755">
                  <c:v>5.9189730631435413</c:v>
                </c:pt>
                <c:pt idx="11756">
                  <c:v>5.9093732516236184</c:v>
                </c:pt>
                <c:pt idx="11757">
                  <c:v>5.933987136680118</c:v>
                </c:pt>
                <c:pt idx="11758">
                  <c:v>5.8851624877856388</c:v>
                </c:pt>
                <c:pt idx="11759">
                  <c:v>6.1013720173907968</c:v>
                </c:pt>
                <c:pt idx="11760">
                  <c:v>6.9754013882631014</c:v>
                </c:pt>
                <c:pt idx="11761">
                  <c:v>6.1048867797480399</c:v>
                </c:pt>
                <c:pt idx="11762">
                  <c:v>4.0951744828579013</c:v>
                </c:pt>
                <c:pt idx="11763">
                  <c:v>5.9858506424292957</c:v>
                </c:pt>
                <c:pt idx="11764">
                  <c:v>7.0395322628906385</c:v>
                </c:pt>
                <c:pt idx="11765">
                  <c:v>5.8832034104166135</c:v>
                </c:pt>
                <c:pt idx="11766">
                  <c:v>5.8915464328212561</c:v>
                </c:pt>
                <c:pt idx="11767">
                  <c:v>3.864761295197773</c:v>
                </c:pt>
                <c:pt idx="11768">
                  <c:v>6.0795786278703678</c:v>
                </c:pt>
                <c:pt idx="11769">
                  <c:v>5.9873840687788489</c:v>
                </c:pt>
                <c:pt idx="11770">
                  <c:v>6.0717293977340834</c:v>
                </c:pt>
                <c:pt idx="11771">
                  <c:v>3.0394526699067814</c:v>
                </c:pt>
                <c:pt idx="11772">
                  <c:v>5.8631776640274378</c:v>
                </c:pt>
                <c:pt idx="11773">
                  <c:v>6.0211326615040335</c:v>
                </c:pt>
                <c:pt idx="11774">
                  <c:v>5.9593817912284752</c:v>
                </c:pt>
                <c:pt idx="11775">
                  <c:v>5.9812355677677331</c:v>
                </c:pt>
                <c:pt idx="11776">
                  <c:v>5.943920759891081</c:v>
                </c:pt>
                <c:pt idx="11777">
                  <c:v>5.9709205104207772</c:v>
                </c:pt>
                <c:pt idx="11778">
                  <c:v>6.1801679413014181</c:v>
                </c:pt>
                <c:pt idx="11779">
                  <c:v>6.2488609942084929</c:v>
                </c:pt>
                <c:pt idx="11780">
                  <c:v>6.2288075289979528</c:v>
                </c:pt>
                <c:pt idx="11781">
                  <c:v>6.0160281738495636</c:v>
                </c:pt>
                <c:pt idx="11782">
                  <c:v>5.1380874537106429</c:v>
                </c:pt>
                <c:pt idx="11783">
                  <c:v>5.900294578149393</c:v>
                </c:pt>
                <c:pt idx="11784">
                  <c:v>4.9044963132413839</c:v>
                </c:pt>
                <c:pt idx="11785">
                  <c:v>5.8102399748891989</c:v>
                </c:pt>
                <c:pt idx="11786">
                  <c:v>5.8778650993304726</c:v>
                </c:pt>
                <c:pt idx="11787">
                  <c:v>6.9057126324550371</c:v>
                </c:pt>
                <c:pt idx="11788">
                  <c:v>5.0416648542077453</c:v>
                </c:pt>
                <c:pt idx="11789">
                  <c:v>5.0169609172649867</c:v>
                </c:pt>
                <c:pt idx="11790">
                  <c:v>4.8754765369874633</c:v>
                </c:pt>
                <c:pt idx="11791">
                  <c:v>6.0768638416031253</c:v>
                </c:pt>
                <c:pt idx="11792">
                  <c:v>6.0821766501879395</c:v>
                </c:pt>
                <c:pt idx="11793">
                  <c:v>5.8642058172550966</c:v>
                </c:pt>
                <c:pt idx="11794">
                  <c:v>6.9370818800050857</c:v>
                </c:pt>
                <c:pt idx="11795">
                  <c:v>6.1169356010702192</c:v>
                </c:pt>
                <c:pt idx="11796">
                  <c:v>5.9448735833180644</c:v>
                </c:pt>
                <c:pt idx="11797">
                  <c:v>3.9644924522792784</c:v>
                </c:pt>
                <c:pt idx="11798">
                  <c:v>4.9051491491585972</c:v>
                </c:pt>
                <c:pt idx="11799">
                  <c:v>4.9944203506390128</c:v>
                </c:pt>
                <c:pt idx="11800">
                  <c:v>3.9879414160667119</c:v>
                </c:pt>
                <c:pt idx="11801">
                  <c:v>4.0772846325811205</c:v>
                </c:pt>
                <c:pt idx="11802">
                  <c:v>6.1627804349425359</c:v>
                </c:pt>
                <c:pt idx="11803">
                  <c:v>4.9638953631423552</c:v>
                </c:pt>
                <c:pt idx="11804">
                  <c:v>6.8062294813483586</c:v>
                </c:pt>
                <c:pt idx="11805">
                  <c:v>6.1113968565130738</c:v>
                </c:pt>
                <c:pt idx="11806">
                  <c:v>6.9337891400156124</c:v>
                </c:pt>
                <c:pt idx="11807">
                  <c:v>5.1906490985326998</c:v>
                </c:pt>
                <c:pt idx="11808">
                  <c:v>4.9428238739645796</c:v>
                </c:pt>
                <c:pt idx="11809">
                  <c:v>6.1242336033744218</c:v>
                </c:pt>
                <c:pt idx="11810">
                  <c:v>5.9937534500813445</c:v>
                </c:pt>
                <c:pt idx="11811">
                  <c:v>4.9715210184430791</c:v>
                </c:pt>
                <c:pt idx="11812">
                  <c:v>5.9812122578139792</c:v>
                </c:pt>
                <c:pt idx="11813">
                  <c:v>5.9082527863359182</c:v>
                </c:pt>
                <c:pt idx="11814">
                  <c:v>6.0612433670377559</c:v>
                </c:pt>
                <c:pt idx="11815">
                  <c:v>5.9898244109300904</c:v>
                </c:pt>
                <c:pt idx="11816">
                  <c:v>5.8848106458182921</c:v>
                </c:pt>
                <c:pt idx="11817">
                  <c:v>5.9518253132866761</c:v>
                </c:pt>
                <c:pt idx="11818">
                  <c:v>5.046317311654116</c:v>
                </c:pt>
                <c:pt idx="11819">
                  <c:v>4.9731108248138067</c:v>
                </c:pt>
                <c:pt idx="11820">
                  <c:v>5.8515485327518908</c:v>
                </c:pt>
                <c:pt idx="11821">
                  <c:v>5.0892276644754739</c:v>
                </c:pt>
                <c:pt idx="11822">
                  <c:v>4.9473803099097378</c:v>
                </c:pt>
                <c:pt idx="11823">
                  <c:v>5.1458859667952046</c:v>
                </c:pt>
                <c:pt idx="11824">
                  <c:v>5.9571969195418131</c:v>
                </c:pt>
                <c:pt idx="11825">
                  <c:v>4.9887096739877768</c:v>
                </c:pt>
                <c:pt idx="11826">
                  <c:v>6.01544616709712</c:v>
                </c:pt>
                <c:pt idx="11827">
                  <c:v>5.846677430356654</c:v>
                </c:pt>
                <c:pt idx="11828">
                  <c:v>6.0447224888368023</c:v>
                </c:pt>
                <c:pt idx="11829">
                  <c:v>5.0174033313515762</c:v>
                </c:pt>
                <c:pt idx="11830">
                  <c:v>4.9246695271645118</c:v>
                </c:pt>
                <c:pt idx="11831">
                  <c:v>5.1786369717866059</c:v>
                </c:pt>
                <c:pt idx="11832">
                  <c:v>5.9403229613190014</c:v>
                </c:pt>
                <c:pt idx="11833">
                  <c:v>5.1697949703118589</c:v>
                </c:pt>
                <c:pt idx="11834">
                  <c:v>5.0592223504700566</c:v>
                </c:pt>
                <c:pt idx="11835">
                  <c:v>4.9209687970041287</c:v>
                </c:pt>
                <c:pt idx="11836">
                  <c:v>5.88294122878421</c:v>
                </c:pt>
                <c:pt idx="11837">
                  <c:v>4.8964871505008176</c:v>
                </c:pt>
                <c:pt idx="11838">
                  <c:v>6.1952984310198023</c:v>
                </c:pt>
                <c:pt idx="11839">
                  <c:v>5.1445084973261146</c:v>
                </c:pt>
                <c:pt idx="11840">
                  <c:v>5.0678663146292227</c:v>
                </c:pt>
                <c:pt idx="11841">
                  <c:v>6.09935941708709</c:v>
                </c:pt>
                <c:pt idx="11842">
                  <c:v>5.0701272483432955</c:v>
                </c:pt>
                <c:pt idx="11843">
                  <c:v>4.904073460991861</c:v>
                </c:pt>
                <c:pt idx="11844">
                  <c:v>5.0088184993115306</c:v>
                </c:pt>
                <c:pt idx="11845">
                  <c:v>4.7252032513158868</c:v>
                </c:pt>
                <c:pt idx="11846">
                  <c:v>6.8932110189089704</c:v>
                </c:pt>
                <c:pt idx="11847">
                  <c:v>6.1289584015906566</c:v>
                </c:pt>
                <c:pt idx="11848">
                  <c:v>4.9919373294005762</c:v>
                </c:pt>
                <c:pt idx="11849">
                  <c:v>5.1051916105851687</c:v>
                </c:pt>
                <c:pt idx="11850">
                  <c:v>4.9936646897755645</c:v>
                </c:pt>
                <c:pt idx="11851">
                  <c:v>4.9809082456924774</c:v>
                </c:pt>
                <c:pt idx="11852">
                  <c:v>5.0840201248744163</c:v>
                </c:pt>
                <c:pt idx="11853">
                  <c:v>5.0560125425706834</c:v>
                </c:pt>
                <c:pt idx="11854">
                  <c:v>5.0250767905360361</c:v>
                </c:pt>
                <c:pt idx="11855">
                  <c:v>5.1677609802728508</c:v>
                </c:pt>
                <c:pt idx="11856">
                  <c:v>4.7708661101847589</c:v>
                </c:pt>
                <c:pt idx="11857">
                  <c:v>5.0701873667091695</c:v>
                </c:pt>
                <c:pt idx="11858">
                  <c:v>4.8263373867640063</c:v>
                </c:pt>
                <c:pt idx="11859">
                  <c:v>6.0627246409508597</c:v>
                </c:pt>
                <c:pt idx="11860">
                  <c:v>5.2234091810808536</c:v>
                </c:pt>
                <c:pt idx="11861">
                  <c:v>5.1087605325441077</c:v>
                </c:pt>
                <c:pt idx="11862">
                  <c:v>5.0422714326529521</c:v>
                </c:pt>
                <c:pt idx="11863">
                  <c:v>5.0401049466740657</c:v>
                </c:pt>
                <c:pt idx="11864">
                  <c:v>6.0431774061634105</c:v>
                </c:pt>
                <c:pt idx="11865">
                  <c:v>5.9829632780530142</c:v>
                </c:pt>
                <c:pt idx="11866">
                  <c:v>4.9469192064528436</c:v>
                </c:pt>
                <c:pt idx="11867">
                  <c:v>4.744913409428543</c:v>
                </c:pt>
                <c:pt idx="11868">
                  <c:v>6.0266226250270218</c:v>
                </c:pt>
                <c:pt idx="11869">
                  <c:v>4.928702665841592</c:v>
                </c:pt>
                <c:pt idx="11870">
                  <c:v>5.9665215261232252</c:v>
                </c:pt>
                <c:pt idx="11871">
                  <c:v>4.9793222964663615</c:v>
                </c:pt>
                <c:pt idx="11872">
                  <c:v>3.9877048630674206</c:v>
                </c:pt>
                <c:pt idx="11873">
                  <c:v>6.8868136501610913</c:v>
                </c:pt>
                <c:pt idx="11874">
                  <c:v>6.0028824103922149</c:v>
                </c:pt>
                <c:pt idx="11875">
                  <c:v>4.9223626779284206</c:v>
                </c:pt>
                <c:pt idx="11876">
                  <c:v>5.094847024427331</c:v>
                </c:pt>
                <c:pt idx="11877">
                  <c:v>5.26715547008763</c:v>
                </c:pt>
                <c:pt idx="11878">
                  <c:v>4.9214410243181259</c:v>
                </c:pt>
                <c:pt idx="11879">
                  <c:v>4.9618157566666854</c:v>
                </c:pt>
                <c:pt idx="11880">
                  <c:v>6.0693690250935521</c:v>
                </c:pt>
                <c:pt idx="11881">
                  <c:v>5.8601634049911295</c:v>
                </c:pt>
                <c:pt idx="11882">
                  <c:v>5.8738296531210414</c:v>
                </c:pt>
                <c:pt idx="11883">
                  <c:v>5.1637537427800355</c:v>
                </c:pt>
                <c:pt idx="11884">
                  <c:v>4.9233460932104771</c:v>
                </c:pt>
                <c:pt idx="11885">
                  <c:v>5.9926525644936763</c:v>
                </c:pt>
                <c:pt idx="11886">
                  <c:v>5.0371892596210266</c:v>
                </c:pt>
                <c:pt idx="11887">
                  <c:v>6.1153115069979433</c:v>
                </c:pt>
                <c:pt idx="11888">
                  <c:v>6.0951532609762387</c:v>
                </c:pt>
                <c:pt idx="11889">
                  <c:v>6.034040314717604</c:v>
                </c:pt>
                <c:pt idx="11890">
                  <c:v>5.0226774144529163</c:v>
                </c:pt>
                <c:pt idx="11891">
                  <c:v>7.0330189980257725</c:v>
                </c:pt>
                <c:pt idx="11892">
                  <c:v>6.1439958218088089</c:v>
                </c:pt>
                <c:pt idx="11893">
                  <c:v>5.8171631695098469</c:v>
                </c:pt>
                <c:pt idx="11894">
                  <c:v>5.1183948310710097</c:v>
                </c:pt>
                <c:pt idx="11895">
                  <c:v>5.9062145185027086</c:v>
                </c:pt>
                <c:pt idx="11896">
                  <c:v>5.9829192177929755</c:v>
                </c:pt>
                <c:pt idx="11897">
                  <c:v>5.968078030054226</c:v>
                </c:pt>
                <c:pt idx="11898">
                  <c:v>5.9709161424629595</c:v>
                </c:pt>
                <c:pt idx="11899">
                  <c:v>6.1026559571691585</c:v>
                </c:pt>
                <c:pt idx="11900">
                  <c:v>4.9182654079452153</c:v>
                </c:pt>
                <c:pt idx="11901">
                  <c:v>4.9495862786819194</c:v>
                </c:pt>
                <c:pt idx="11902">
                  <c:v>6.0821164850874849</c:v>
                </c:pt>
                <c:pt idx="11903">
                  <c:v>5.0818770685303249</c:v>
                </c:pt>
                <c:pt idx="11904">
                  <c:v>5.9774122059917509</c:v>
                </c:pt>
                <c:pt idx="11905">
                  <c:v>6.9434267330297708</c:v>
                </c:pt>
                <c:pt idx="11906">
                  <c:v>6.058791506234428</c:v>
                </c:pt>
                <c:pt idx="11907">
                  <c:v>5.0910253731319939</c:v>
                </c:pt>
                <c:pt idx="11908">
                  <c:v>5.1122013242810915</c:v>
                </c:pt>
                <c:pt idx="11909">
                  <c:v>5.9544249278013703</c:v>
                </c:pt>
                <c:pt idx="11910">
                  <c:v>7.0390936968643913</c:v>
                </c:pt>
                <c:pt idx="11911">
                  <c:v>5.9992044069181478</c:v>
                </c:pt>
                <c:pt idx="11912">
                  <c:v>5.8854678112709582</c:v>
                </c:pt>
                <c:pt idx="11913">
                  <c:v>5.9464011671217385</c:v>
                </c:pt>
                <c:pt idx="11914">
                  <c:v>5.8874213045628112</c:v>
                </c:pt>
                <c:pt idx="11915">
                  <c:v>6.1269789985233256</c:v>
                </c:pt>
                <c:pt idx="11916">
                  <c:v>6.1921780394753236</c:v>
                </c:pt>
                <c:pt idx="11917">
                  <c:v>7.1007951323187743</c:v>
                </c:pt>
                <c:pt idx="11918">
                  <c:v>6.1388443722984833</c:v>
                </c:pt>
                <c:pt idx="11919">
                  <c:v>4.9946491485265634</c:v>
                </c:pt>
                <c:pt idx="11920">
                  <c:v>6.0232184549068721</c:v>
                </c:pt>
                <c:pt idx="11921">
                  <c:v>6.1222009246743294</c:v>
                </c:pt>
                <c:pt idx="11922">
                  <c:v>5.0387691724524677</c:v>
                </c:pt>
                <c:pt idx="11923">
                  <c:v>5.975378521538965</c:v>
                </c:pt>
                <c:pt idx="11924">
                  <c:v>4.9301167181864107</c:v>
                </c:pt>
                <c:pt idx="11925">
                  <c:v>6.8751539317845358</c:v>
                </c:pt>
                <c:pt idx="11926">
                  <c:v>6.0245093303076303</c:v>
                </c:pt>
                <c:pt idx="11927">
                  <c:v>7.0866984401186395</c:v>
                </c:pt>
                <c:pt idx="11928">
                  <c:v>6.9934250036907608</c:v>
                </c:pt>
                <c:pt idx="11929">
                  <c:v>5.9424825419820424</c:v>
                </c:pt>
                <c:pt idx="11930">
                  <c:v>6.0251870738451787</c:v>
                </c:pt>
                <c:pt idx="11931">
                  <c:v>6.0838994648832418</c:v>
                </c:pt>
                <c:pt idx="11932">
                  <c:v>4.981423155387156</c:v>
                </c:pt>
                <c:pt idx="11933">
                  <c:v>6.1533633242673496</c:v>
                </c:pt>
                <c:pt idx="11934">
                  <c:v>5.9608792437049569</c:v>
                </c:pt>
                <c:pt idx="11935">
                  <c:v>6.0254847284058473</c:v>
                </c:pt>
                <c:pt idx="11936">
                  <c:v>5.9764691209112009</c:v>
                </c:pt>
                <c:pt idx="11937">
                  <c:v>5.0286030249430489</c:v>
                </c:pt>
                <c:pt idx="11938">
                  <c:v>5.9547814295757542</c:v>
                </c:pt>
                <c:pt idx="11939">
                  <c:v>6.1623339247015538</c:v>
                </c:pt>
                <c:pt idx="11940">
                  <c:v>6.1838989473385526</c:v>
                </c:pt>
                <c:pt idx="11941">
                  <c:v>5.0770319307837983</c:v>
                </c:pt>
                <c:pt idx="11942">
                  <c:v>4.9196948101657298</c:v>
                </c:pt>
                <c:pt idx="11943">
                  <c:v>6.0480578845933879</c:v>
                </c:pt>
                <c:pt idx="11944">
                  <c:v>6.0234622948571159</c:v>
                </c:pt>
                <c:pt idx="11945">
                  <c:v>5.9711267094927303</c:v>
                </c:pt>
                <c:pt idx="11946">
                  <c:v>6.1783026493445696</c:v>
                </c:pt>
                <c:pt idx="11947">
                  <c:v>6.0926319320108719</c:v>
                </c:pt>
                <c:pt idx="11948">
                  <c:v>4.9221042167405464</c:v>
                </c:pt>
                <c:pt idx="11949">
                  <c:v>6.9465226428781</c:v>
                </c:pt>
                <c:pt idx="11950">
                  <c:v>5.9058796466818295</c:v>
                </c:pt>
                <c:pt idx="11951">
                  <c:v>5.9956696521193704</c:v>
                </c:pt>
                <c:pt idx="11952">
                  <c:v>5.9379686216746634</c:v>
                </c:pt>
                <c:pt idx="11953">
                  <c:v>5.9574778413855576</c:v>
                </c:pt>
                <c:pt idx="11954">
                  <c:v>6.1857731915567653</c:v>
                </c:pt>
                <c:pt idx="11955">
                  <c:v>4.8718196579695405</c:v>
                </c:pt>
                <c:pt idx="11956">
                  <c:v>5.8352806428637765</c:v>
                </c:pt>
                <c:pt idx="11957">
                  <c:v>5.9893983885304491</c:v>
                </c:pt>
                <c:pt idx="11958">
                  <c:v>6.0381073447044926</c:v>
                </c:pt>
                <c:pt idx="11959">
                  <c:v>6.0828689585788638</c:v>
                </c:pt>
                <c:pt idx="11960">
                  <c:v>5.9272371246942068</c:v>
                </c:pt>
                <c:pt idx="11961">
                  <c:v>6.0265849767184987</c:v>
                </c:pt>
                <c:pt idx="11962">
                  <c:v>5.8775676435572892</c:v>
                </c:pt>
                <c:pt idx="11963">
                  <c:v>6.1941081878993698</c:v>
                </c:pt>
                <c:pt idx="11964">
                  <c:v>5.9684391108953401</c:v>
                </c:pt>
                <c:pt idx="11965">
                  <c:v>5.9383571306051071</c:v>
                </c:pt>
                <c:pt idx="11966">
                  <c:v>6.0981326494281731</c:v>
                </c:pt>
                <c:pt idx="11967">
                  <c:v>6.0613206089880434</c:v>
                </c:pt>
                <c:pt idx="11968">
                  <c:v>5.9011820898922744</c:v>
                </c:pt>
                <c:pt idx="11969">
                  <c:v>6.1653980075441348</c:v>
                </c:pt>
                <c:pt idx="11970">
                  <c:v>5.9306624735158069</c:v>
                </c:pt>
                <c:pt idx="11971">
                  <c:v>5.6423887198257496</c:v>
                </c:pt>
                <c:pt idx="11972">
                  <c:v>6.0418629012668079</c:v>
                </c:pt>
                <c:pt idx="11973">
                  <c:v>5.0392407680635163</c:v>
                </c:pt>
                <c:pt idx="11974">
                  <c:v>5.9719820596293118</c:v>
                </c:pt>
                <c:pt idx="11975">
                  <c:v>7.1302799666098737</c:v>
                </c:pt>
                <c:pt idx="11976">
                  <c:v>4.8784414309716562</c:v>
                </c:pt>
                <c:pt idx="11977">
                  <c:v>3.2056488128511993</c:v>
                </c:pt>
                <c:pt idx="11978">
                  <c:v>7.0735102699908827</c:v>
                </c:pt>
                <c:pt idx="11979">
                  <c:v>5.0482164209719977</c:v>
                </c:pt>
                <c:pt idx="11980">
                  <c:v>6.1077738150992262</c:v>
                </c:pt>
                <c:pt idx="11981">
                  <c:v>5.920326071253581</c:v>
                </c:pt>
                <c:pt idx="11982">
                  <c:v>6.0026733374430217</c:v>
                </c:pt>
                <c:pt idx="11983">
                  <c:v>5.0821092363698401</c:v>
                </c:pt>
                <c:pt idx="11984">
                  <c:v>5.8970118798578479</c:v>
                </c:pt>
                <c:pt idx="11985">
                  <c:v>6.1388124417337453</c:v>
                </c:pt>
                <c:pt idx="11986">
                  <c:v>4.8778782694720064</c:v>
                </c:pt>
                <c:pt idx="11987">
                  <c:v>6.1720114863657427</c:v>
                </c:pt>
                <c:pt idx="11988">
                  <c:v>5.1043398995126577</c:v>
                </c:pt>
                <c:pt idx="11989">
                  <c:v>5.972300737826842</c:v>
                </c:pt>
                <c:pt idx="11990">
                  <c:v>6.0850746657490165</c:v>
                </c:pt>
                <c:pt idx="11991">
                  <c:v>6.001401721180482</c:v>
                </c:pt>
                <c:pt idx="11992">
                  <c:v>5.9100146183902629</c:v>
                </c:pt>
                <c:pt idx="11993">
                  <c:v>5.9026301804207222</c:v>
                </c:pt>
                <c:pt idx="11994">
                  <c:v>6.1157524747792067</c:v>
                </c:pt>
                <c:pt idx="11995">
                  <c:v>7.2235029835414286</c:v>
                </c:pt>
                <c:pt idx="11996">
                  <c:v>5.8981497915216172</c:v>
                </c:pt>
                <c:pt idx="11997">
                  <c:v>5.8240288641997573</c:v>
                </c:pt>
                <c:pt idx="11998">
                  <c:v>6.0071681004163535</c:v>
                </c:pt>
                <c:pt idx="11999">
                  <c:v>4.7117547192954818</c:v>
                </c:pt>
                <c:pt idx="12000">
                  <c:v>5.8237453736400688</c:v>
                </c:pt>
                <c:pt idx="12001">
                  <c:v>6.0290330549312818</c:v>
                </c:pt>
                <c:pt idx="12002">
                  <c:v>6.0968292666082773</c:v>
                </c:pt>
                <c:pt idx="12003">
                  <c:v>3.0612001731802465</c:v>
                </c:pt>
                <c:pt idx="12004">
                  <c:v>6.2388374261448796</c:v>
                </c:pt>
                <c:pt idx="12005">
                  <c:v>5.9152589825257404</c:v>
                </c:pt>
                <c:pt idx="12006">
                  <c:v>5.2108171971378434</c:v>
                </c:pt>
                <c:pt idx="12007">
                  <c:v>7.1338780613975548</c:v>
                </c:pt>
                <c:pt idx="12008">
                  <c:v>6.9338223143742717</c:v>
                </c:pt>
                <c:pt idx="12009">
                  <c:v>5.9349019445733173</c:v>
                </c:pt>
                <c:pt idx="12010">
                  <c:v>7.0563272978206859</c:v>
                </c:pt>
                <c:pt idx="12011">
                  <c:v>5.984983486760667</c:v>
                </c:pt>
                <c:pt idx="12012">
                  <c:v>7.0314776789303215</c:v>
                </c:pt>
                <c:pt idx="12013">
                  <c:v>5.9918981044529867</c:v>
                </c:pt>
                <c:pt idx="12014">
                  <c:v>5.9325666942531194</c:v>
                </c:pt>
                <c:pt idx="12015">
                  <c:v>5.9283099450392429</c:v>
                </c:pt>
                <c:pt idx="12016">
                  <c:v>5.859877163496038</c:v>
                </c:pt>
                <c:pt idx="12017">
                  <c:v>6.9684830551554366</c:v>
                </c:pt>
                <c:pt idx="12018">
                  <c:v>6.0065609868179575</c:v>
                </c:pt>
                <c:pt idx="12019">
                  <c:v>7.1049650146513121</c:v>
                </c:pt>
                <c:pt idx="12020">
                  <c:v>4.953307977356574</c:v>
                </c:pt>
                <c:pt idx="12021">
                  <c:v>5.134874223753326</c:v>
                </c:pt>
                <c:pt idx="12022">
                  <c:v>6.0572654883080643</c:v>
                </c:pt>
                <c:pt idx="12023">
                  <c:v>6.2014186741411654</c:v>
                </c:pt>
                <c:pt idx="12024">
                  <c:v>6.0719317493123546</c:v>
                </c:pt>
                <c:pt idx="12025">
                  <c:v>5.9481853530996647</c:v>
                </c:pt>
                <c:pt idx="12026">
                  <c:v>6.1018185533904203</c:v>
                </c:pt>
                <c:pt idx="12027">
                  <c:v>5.862418068814419</c:v>
                </c:pt>
                <c:pt idx="12028">
                  <c:v>5.062541742905716</c:v>
                </c:pt>
                <c:pt idx="12029">
                  <c:v>6.0936446177676249</c:v>
                </c:pt>
                <c:pt idx="12030">
                  <c:v>5.041216021333601</c:v>
                </c:pt>
                <c:pt idx="12031">
                  <c:v>5.7991153956858206</c:v>
                </c:pt>
                <c:pt idx="12032">
                  <c:v>5.9754834142788527</c:v>
                </c:pt>
                <c:pt idx="12033">
                  <c:v>6.0194474837181353</c:v>
                </c:pt>
                <c:pt idx="12034">
                  <c:v>5.9783965111405983</c:v>
                </c:pt>
                <c:pt idx="12035">
                  <c:v>5.782659177811138</c:v>
                </c:pt>
                <c:pt idx="12036">
                  <c:v>5.9680151835334074</c:v>
                </c:pt>
                <c:pt idx="12037">
                  <c:v>5.9088423430950217</c:v>
                </c:pt>
                <c:pt idx="12038">
                  <c:v>6.0337988136785627</c:v>
                </c:pt>
                <c:pt idx="12039">
                  <c:v>6.0897474676878849</c:v>
                </c:pt>
                <c:pt idx="12040">
                  <c:v>6.2358088102235465</c:v>
                </c:pt>
                <c:pt idx="12041">
                  <c:v>6.0013352194369416</c:v>
                </c:pt>
                <c:pt idx="12042">
                  <c:v>6.1722247593325648</c:v>
                </c:pt>
                <c:pt idx="12043">
                  <c:v>5.0108240608732029</c:v>
                </c:pt>
                <c:pt idx="12044">
                  <c:v>5.8477728623704941</c:v>
                </c:pt>
                <c:pt idx="12045">
                  <c:v>6.033973707887899</c:v>
                </c:pt>
                <c:pt idx="12046">
                  <c:v>5.968987610330009</c:v>
                </c:pt>
                <c:pt idx="12047">
                  <c:v>6.0943615905025679</c:v>
                </c:pt>
                <c:pt idx="12048">
                  <c:v>6.0131560593084608</c:v>
                </c:pt>
                <c:pt idx="12049">
                  <c:v>5.034520410168188</c:v>
                </c:pt>
                <c:pt idx="12050">
                  <c:v>5.1236426579655543</c:v>
                </c:pt>
                <c:pt idx="12051">
                  <c:v>4.9058884743159901</c:v>
                </c:pt>
                <c:pt idx="12052">
                  <c:v>7.0875429860371737</c:v>
                </c:pt>
                <c:pt idx="12053">
                  <c:v>5.0944119813432618</c:v>
                </c:pt>
                <c:pt idx="12054">
                  <c:v>6.0685433750809237</c:v>
                </c:pt>
                <c:pt idx="12055">
                  <c:v>4.9280869059848822</c:v>
                </c:pt>
                <c:pt idx="12056">
                  <c:v>7.0274243615303957</c:v>
                </c:pt>
                <c:pt idx="12057">
                  <c:v>6.1369904227805847</c:v>
                </c:pt>
                <c:pt idx="12058">
                  <c:v>5.8728888118351517</c:v>
                </c:pt>
                <c:pt idx="12059">
                  <c:v>5.0373496865055314</c:v>
                </c:pt>
                <c:pt idx="12060">
                  <c:v>6.9273050929930644</c:v>
                </c:pt>
                <c:pt idx="12061">
                  <c:v>5.0956083162759276</c:v>
                </c:pt>
                <c:pt idx="12062">
                  <c:v>5.9771853977931286</c:v>
                </c:pt>
                <c:pt idx="12063">
                  <c:v>5.1277845177703583</c:v>
                </c:pt>
                <c:pt idx="12064">
                  <c:v>4.9785517023397921</c:v>
                </c:pt>
                <c:pt idx="12065">
                  <c:v>5.9424137616192354</c:v>
                </c:pt>
                <c:pt idx="12066">
                  <c:v>5.1401494773193797</c:v>
                </c:pt>
                <c:pt idx="12067">
                  <c:v>5.9752120009392158</c:v>
                </c:pt>
                <c:pt idx="12068">
                  <c:v>5.9053902100213538</c:v>
                </c:pt>
                <c:pt idx="12069">
                  <c:v>6.9356591408166244</c:v>
                </c:pt>
                <c:pt idx="12070">
                  <c:v>7.0319915222511922</c:v>
                </c:pt>
                <c:pt idx="12071">
                  <c:v>6.9536920153852151</c:v>
                </c:pt>
                <c:pt idx="12072">
                  <c:v>6.1185947864887016</c:v>
                </c:pt>
                <c:pt idx="12073">
                  <c:v>5.9671223951837975</c:v>
                </c:pt>
                <c:pt idx="12074">
                  <c:v>6.0261657016969394</c:v>
                </c:pt>
                <c:pt idx="12075">
                  <c:v>6.0071066501963832</c:v>
                </c:pt>
                <c:pt idx="12076">
                  <c:v>6.060194920394756</c:v>
                </c:pt>
                <c:pt idx="12077">
                  <c:v>6.0552780411152076</c:v>
                </c:pt>
                <c:pt idx="12078">
                  <c:v>5.9259826128666422</c:v>
                </c:pt>
                <c:pt idx="12079">
                  <c:v>5.9374614455192969</c:v>
                </c:pt>
                <c:pt idx="12080">
                  <c:v>6.0261078515854676</c:v>
                </c:pt>
                <c:pt idx="12081">
                  <c:v>5.9963807248542036</c:v>
                </c:pt>
                <c:pt idx="12082">
                  <c:v>6.9220029052454226</c:v>
                </c:pt>
                <c:pt idx="12083">
                  <c:v>5.9666729831386522</c:v>
                </c:pt>
                <c:pt idx="12084">
                  <c:v>4.856821228900551</c:v>
                </c:pt>
                <c:pt idx="12085">
                  <c:v>5.1033182123943046</c:v>
                </c:pt>
                <c:pt idx="12086">
                  <c:v>5.9930364987094826</c:v>
                </c:pt>
                <c:pt idx="12087">
                  <c:v>5.9547135806765548</c:v>
                </c:pt>
                <c:pt idx="12088">
                  <c:v>5.9213347125572575</c:v>
                </c:pt>
                <c:pt idx="12089">
                  <c:v>6.1654705021909662</c:v>
                </c:pt>
                <c:pt idx="12090">
                  <c:v>6.0077268422909018</c:v>
                </c:pt>
                <c:pt idx="12091">
                  <c:v>4.9873468131750274</c:v>
                </c:pt>
                <c:pt idx="12092">
                  <c:v>5.9990060079947165</c:v>
                </c:pt>
                <c:pt idx="12093">
                  <c:v>6.0200892116655194</c:v>
                </c:pt>
                <c:pt idx="12094">
                  <c:v>6.9914388719208711</c:v>
                </c:pt>
                <c:pt idx="12095">
                  <c:v>5.9287008236703436</c:v>
                </c:pt>
                <c:pt idx="12096">
                  <c:v>5.8227754079807665</c:v>
                </c:pt>
                <c:pt idx="12097">
                  <c:v>5.9721772576576981</c:v>
                </c:pt>
                <c:pt idx="12098">
                  <c:v>6.1472192987334964</c:v>
                </c:pt>
                <c:pt idx="12099">
                  <c:v>5.1131851432621982</c:v>
                </c:pt>
                <c:pt idx="12100">
                  <c:v>6.0091487571411042</c:v>
                </c:pt>
                <c:pt idx="12101">
                  <c:v>7.0349079037341786</c:v>
                </c:pt>
                <c:pt idx="12102">
                  <c:v>5.1506686929571011</c:v>
                </c:pt>
                <c:pt idx="12103">
                  <c:v>6.1255707738025631</c:v>
                </c:pt>
                <c:pt idx="12104">
                  <c:v>7.0273533593743656</c:v>
                </c:pt>
                <c:pt idx="12105">
                  <c:v>7.1091703171752432</c:v>
                </c:pt>
                <c:pt idx="12106">
                  <c:v>4.9279437033442202</c:v>
                </c:pt>
                <c:pt idx="12107">
                  <c:v>6.0684595008856661</c:v>
                </c:pt>
                <c:pt idx="12108">
                  <c:v>6.0624748518993776</c:v>
                </c:pt>
                <c:pt idx="12109">
                  <c:v>6.0366811457622571</c:v>
                </c:pt>
                <c:pt idx="12110">
                  <c:v>4.8707610775286696</c:v>
                </c:pt>
                <c:pt idx="12111">
                  <c:v>5.9280631105982087</c:v>
                </c:pt>
                <c:pt idx="12112">
                  <c:v>5.9331301946488333</c:v>
                </c:pt>
                <c:pt idx="12113">
                  <c:v>6.0572968566455492</c:v>
                </c:pt>
                <c:pt idx="12114">
                  <c:v>6.0717429024552327</c:v>
                </c:pt>
                <c:pt idx="12115">
                  <c:v>6.0230024832961302</c:v>
                </c:pt>
                <c:pt idx="12116">
                  <c:v>7.0582311723573765</c:v>
                </c:pt>
                <c:pt idx="12117">
                  <c:v>7.1627096391531362</c:v>
                </c:pt>
                <c:pt idx="12118">
                  <c:v>7.083016924554995</c:v>
                </c:pt>
                <c:pt idx="12119">
                  <c:v>5.8584393566432382</c:v>
                </c:pt>
                <c:pt idx="12120">
                  <c:v>7.0836208245624936</c:v>
                </c:pt>
                <c:pt idx="12121">
                  <c:v>6.0598265711310439</c:v>
                </c:pt>
                <c:pt idx="12122">
                  <c:v>5.9977577619792823</c:v>
                </c:pt>
                <c:pt idx="12123">
                  <c:v>6.0416049957485276</c:v>
                </c:pt>
                <c:pt idx="12124">
                  <c:v>5.9489305738931701</c:v>
                </c:pt>
                <c:pt idx="12125">
                  <c:v>7.0818273852954938</c:v>
                </c:pt>
                <c:pt idx="12126">
                  <c:v>7.1709392438869664</c:v>
                </c:pt>
                <c:pt idx="12127">
                  <c:v>6.006271093577916</c:v>
                </c:pt>
                <c:pt idx="12128">
                  <c:v>5.8858093229324497</c:v>
                </c:pt>
                <c:pt idx="12129">
                  <c:v>5.9515586650893573</c:v>
                </c:pt>
                <c:pt idx="12130">
                  <c:v>6.9389297696731482</c:v>
                </c:pt>
                <c:pt idx="12131">
                  <c:v>7.0399650472137116</c:v>
                </c:pt>
                <c:pt idx="12132">
                  <c:v>7.0045944697896818</c:v>
                </c:pt>
                <c:pt idx="12133">
                  <c:v>4.9717533706563675</c:v>
                </c:pt>
                <c:pt idx="12134">
                  <c:v>4.8266781759010735</c:v>
                </c:pt>
                <c:pt idx="12135">
                  <c:v>6.8653263019624768</c:v>
                </c:pt>
                <c:pt idx="12136">
                  <c:v>5.9234300153551942</c:v>
                </c:pt>
                <c:pt idx="12137">
                  <c:v>7.0220160732790875</c:v>
                </c:pt>
                <c:pt idx="12138">
                  <c:v>6.9258392537881308</c:v>
                </c:pt>
                <c:pt idx="12139">
                  <c:v>5.9617096975468122</c:v>
                </c:pt>
                <c:pt idx="12140">
                  <c:v>6.007346684444105</c:v>
                </c:pt>
                <c:pt idx="12141">
                  <c:v>6.0005631270799631</c:v>
                </c:pt>
                <c:pt idx="12142">
                  <c:v>6.0703275303930679</c:v>
                </c:pt>
                <c:pt idx="12143">
                  <c:v>4.8928095342699889</c:v>
                </c:pt>
                <c:pt idx="12144">
                  <c:v>7.0545431098550395</c:v>
                </c:pt>
                <c:pt idx="12145">
                  <c:v>6.8647288847669694</c:v>
                </c:pt>
                <c:pt idx="12146">
                  <c:v>5.9072216036479723</c:v>
                </c:pt>
                <c:pt idx="12147">
                  <c:v>4.756835356098871</c:v>
                </c:pt>
                <c:pt idx="12148">
                  <c:v>6.0789303393379654</c:v>
                </c:pt>
                <c:pt idx="12149">
                  <c:v>5.8986208039834143</c:v>
                </c:pt>
                <c:pt idx="12150">
                  <c:v>5.2578150035793216</c:v>
                </c:pt>
                <c:pt idx="12151">
                  <c:v>5.9795868003761061</c:v>
                </c:pt>
                <c:pt idx="12152">
                  <c:v>5.06265289602098</c:v>
                </c:pt>
                <c:pt idx="12153">
                  <c:v>5.0802536836443073</c:v>
                </c:pt>
                <c:pt idx="12154">
                  <c:v>5.0865245572315461</c:v>
                </c:pt>
                <c:pt idx="12155">
                  <c:v>6.9649097608412323</c:v>
                </c:pt>
                <c:pt idx="12156">
                  <c:v>4.9000874973498583</c:v>
                </c:pt>
                <c:pt idx="12157">
                  <c:v>6.0663056705024712</c:v>
                </c:pt>
                <c:pt idx="12158">
                  <c:v>4.0380600015376755</c:v>
                </c:pt>
                <c:pt idx="12159">
                  <c:v>6.0301616068637998</c:v>
                </c:pt>
                <c:pt idx="12160">
                  <c:v>5.0476529779410173</c:v>
                </c:pt>
                <c:pt idx="12161">
                  <c:v>5.9805904111383157</c:v>
                </c:pt>
                <c:pt idx="12162">
                  <c:v>5.1518558981566507</c:v>
                </c:pt>
                <c:pt idx="12163">
                  <c:v>7.0464825634439947</c:v>
                </c:pt>
                <c:pt idx="12164">
                  <c:v>7.0022287306241457</c:v>
                </c:pt>
                <c:pt idx="12165">
                  <c:v>6.1544173204461998</c:v>
                </c:pt>
                <c:pt idx="12166">
                  <c:v>5.9225070891825027</c:v>
                </c:pt>
                <c:pt idx="12167">
                  <c:v>4.9719455190931408</c:v>
                </c:pt>
                <c:pt idx="12168">
                  <c:v>5.0158075896739911</c:v>
                </c:pt>
                <c:pt idx="12169">
                  <c:v>5.8457708367660777</c:v>
                </c:pt>
                <c:pt idx="12170">
                  <c:v>5.0229849062921836</c:v>
                </c:pt>
                <c:pt idx="12171">
                  <c:v>6.1658900191277652</c:v>
                </c:pt>
                <c:pt idx="12172">
                  <c:v>6.068294300377346</c:v>
                </c:pt>
                <c:pt idx="12173">
                  <c:v>5.9350513361815578</c:v>
                </c:pt>
                <c:pt idx="12174">
                  <c:v>6.06487195733704</c:v>
                </c:pt>
                <c:pt idx="12175">
                  <c:v>6.0828843662380869</c:v>
                </c:pt>
                <c:pt idx="12176">
                  <c:v>5.8558115739462924</c:v>
                </c:pt>
                <c:pt idx="12177">
                  <c:v>5.8208616558469624</c:v>
                </c:pt>
                <c:pt idx="12178">
                  <c:v>5.9887129395078817</c:v>
                </c:pt>
                <c:pt idx="12179">
                  <c:v>5.9382598813551972</c:v>
                </c:pt>
                <c:pt idx="12180">
                  <c:v>6.2735380154101579</c:v>
                </c:pt>
                <c:pt idx="12181">
                  <c:v>6.1110473898783058</c:v>
                </c:pt>
                <c:pt idx="12182">
                  <c:v>6.8547814299125802</c:v>
                </c:pt>
                <c:pt idx="12183">
                  <c:v>5.9619548887966083</c:v>
                </c:pt>
                <c:pt idx="12184">
                  <c:v>4.9590690606576926</c:v>
                </c:pt>
                <c:pt idx="12185">
                  <c:v>6.8411327959807995</c:v>
                </c:pt>
                <c:pt idx="12186">
                  <c:v>5.9651089214994073</c:v>
                </c:pt>
                <c:pt idx="12187">
                  <c:v>6.0836778017369202</c:v>
                </c:pt>
                <c:pt idx="12188">
                  <c:v>5.8298022570921733</c:v>
                </c:pt>
                <c:pt idx="12189">
                  <c:v>5.0285769389498176</c:v>
                </c:pt>
                <c:pt idx="12190">
                  <c:v>5.9445962736503812</c:v>
                </c:pt>
                <c:pt idx="12191">
                  <c:v>6.790209606505929</c:v>
                </c:pt>
                <c:pt idx="12192">
                  <c:v>5.9255813859419337</c:v>
                </c:pt>
                <c:pt idx="12193">
                  <c:v>5.9618576129097409</c:v>
                </c:pt>
                <c:pt idx="12194">
                  <c:v>4.9519507716256479</c:v>
                </c:pt>
                <c:pt idx="12195">
                  <c:v>6.8849222671967576</c:v>
                </c:pt>
                <c:pt idx="12196">
                  <c:v>7.0931838932246505</c:v>
                </c:pt>
                <c:pt idx="12197">
                  <c:v>7.1011894664230226</c:v>
                </c:pt>
                <c:pt idx="12198">
                  <c:v>7.0650566523176437</c:v>
                </c:pt>
                <c:pt idx="12199">
                  <c:v>4.9812594205417744</c:v>
                </c:pt>
                <c:pt idx="12200">
                  <c:v>6.0334350313176577</c:v>
                </c:pt>
                <c:pt idx="12201">
                  <c:v>7.1600899736422354</c:v>
                </c:pt>
                <c:pt idx="12202">
                  <c:v>6.0395099695633139</c:v>
                </c:pt>
                <c:pt idx="12203">
                  <c:v>6.8897853237426974</c:v>
                </c:pt>
                <c:pt idx="12204">
                  <c:v>5.8080294341256709</c:v>
                </c:pt>
                <c:pt idx="12205">
                  <c:v>6.0118704528749909</c:v>
                </c:pt>
                <c:pt idx="12206">
                  <c:v>7.0416620399758383</c:v>
                </c:pt>
                <c:pt idx="12207">
                  <c:v>5.9253958675578762</c:v>
                </c:pt>
                <c:pt idx="12208">
                  <c:v>5.1237255274681752</c:v>
                </c:pt>
                <c:pt idx="12209">
                  <c:v>5.8149123851302811</c:v>
                </c:pt>
                <c:pt idx="12210">
                  <c:v>5.9970127225548415</c:v>
                </c:pt>
                <c:pt idx="12211">
                  <c:v>6.0190919543447245</c:v>
                </c:pt>
                <c:pt idx="12212">
                  <c:v>6.1170856655289896</c:v>
                </c:pt>
                <c:pt idx="12213">
                  <c:v>5.0344039695338392</c:v>
                </c:pt>
                <c:pt idx="12214">
                  <c:v>6.1248631170081422</c:v>
                </c:pt>
                <c:pt idx="12215">
                  <c:v>5.973847719925093</c:v>
                </c:pt>
                <c:pt idx="12216">
                  <c:v>6.137588000459294</c:v>
                </c:pt>
                <c:pt idx="12217">
                  <c:v>5.0524407744595186</c:v>
                </c:pt>
                <c:pt idx="12218">
                  <c:v>5.9476563897725425</c:v>
                </c:pt>
                <c:pt idx="12219">
                  <c:v>5.9340087127915888</c:v>
                </c:pt>
                <c:pt idx="12220">
                  <c:v>5.8408091894548013</c:v>
                </c:pt>
                <c:pt idx="12221">
                  <c:v>7.0477661089771688</c:v>
                </c:pt>
                <c:pt idx="12222">
                  <c:v>6.8474648660088784</c:v>
                </c:pt>
                <c:pt idx="12223">
                  <c:v>6.9999192637103693</c:v>
                </c:pt>
                <c:pt idx="12224">
                  <c:v>5.8619270726835326</c:v>
                </c:pt>
                <c:pt idx="12225">
                  <c:v>6.0137603000596824</c:v>
                </c:pt>
                <c:pt idx="12226">
                  <c:v>6.0880839553415083</c:v>
                </c:pt>
                <c:pt idx="12227">
                  <c:v>5.0475194725414312</c:v>
                </c:pt>
                <c:pt idx="12228">
                  <c:v>6.0215633115545248</c:v>
                </c:pt>
                <c:pt idx="12229">
                  <c:v>5.1581631193681261</c:v>
                </c:pt>
                <c:pt idx="12230">
                  <c:v>5.9474107259923139</c:v>
                </c:pt>
                <c:pt idx="12231">
                  <c:v>5.790091181325665</c:v>
                </c:pt>
                <c:pt idx="12232">
                  <c:v>6.1969049921523851</c:v>
                </c:pt>
                <c:pt idx="12233">
                  <c:v>6.077067682413988</c:v>
                </c:pt>
                <c:pt idx="12234">
                  <c:v>6.1015485071795146</c:v>
                </c:pt>
                <c:pt idx="12235">
                  <c:v>5.143368878094587</c:v>
                </c:pt>
                <c:pt idx="12236">
                  <c:v>5.9947932967870683</c:v>
                </c:pt>
                <c:pt idx="12237">
                  <c:v>6.0061142729267365</c:v>
                </c:pt>
                <c:pt idx="12238">
                  <c:v>5.991223825983603</c:v>
                </c:pt>
                <c:pt idx="12239">
                  <c:v>5.015402848136806</c:v>
                </c:pt>
                <c:pt idx="12240">
                  <c:v>5.8041557541726903</c:v>
                </c:pt>
                <c:pt idx="12241">
                  <c:v>5.0959153502629793</c:v>
                </c:pt>
                <c:pt idx="12242">
                  <c:v>5.8039082378063647</c:v>
                </c:pt>
                <c:pt idx="12243">
                  <c:v>5.9544259196827198</c:v>
                </c:pt>
                <c:pt idx="12244">
                  <c:v>8.9697964181873981</c:v>
                </c:pt>
                <c:pt idx="12245">
                  <c:v>8.0327085564418592</c:v>
                </c:pt>
                <c:pt idx="12246">
                  <c:v>4.9344589320427339</c:v>
                </c:pt>
                <c:pt idx="12247">
                  <c:v>6.0593985968063633</c:v>
                </c:pt>
                <c:pt idx="12248">
                  <c:v>1.9369471503582578</c:v>
                </c:pt>
                <c:pt idx="12249">
                  <c:v>5.8785046067998685</c:v>
                </c:pt>
                <c:pt idx="12250">
                  <c:v>5.8559691373964373</c:v>
                </c:pt>
                <c:pt idx="12251">
                  <c:v>5.9853679929706161</c:v>
                </c:pt>
                <c:pt idx="12252">
                  <c:v>5.8321638481219917</c:v>
                </c:pt>
                <c:pt idx="12253">
                  <c:v>5.9787339113470654</c:v>
                </c:pt>
                <c:pt idx="12254">
                  <c:v>6.0571547129514069</c:v>
                </c:pt>
                <c:pt idx="12255">
                  <c:v>6.0850660221061164</c:v>
                </c:pt>
                <c:pt idx="12256">
                  <c:v>5.7494972888722629</c:v>
                </c:pt>
                <c:pt idx="12257">
                  <c:v>5.0051082241391089</c:v>
                </c:pt>
                <c:pt idx="12258">
                  <c:v>6.9878823571347368</c:v>
                </c:pt>
                <c:pt idx="12259">
                  <c:v>5.975148670319725</c:v>
                </c:pt>
                <c:pt idx="12260">
                  <c:v>6.9835031546415749</c:v>
                </c:pt>
                <c:pt idx="12261">
                  <c:v>6.1097537775329229</c:v>
                </c:pt>
                <c:pt idx="12262">
                  <c:v>3.0978333897477532</c:v>
                </c:pt>
                <c:pt idx="12263">
                  <c:v>6.0493386463201162</c:v>
                </c:pt>
                <c:pt idx="12264">
                  <c:v>5.7684594748408919</c:v>
                </c:pt>
                <c:pt idx="12265">
                  <c:v>4.8620110512472507</c:v>
                </c:pt>
                <c:pt idx="12266">
                  <c:v>6.1171974212552689</c:v>
                </c:pt>
                <c:pt idx="12267">
                  <c:v>5.958866779336863</c:v>
                </c:pt>
                <c:pt idx="12268">
                  <c:v>4.8732561734563102</c:v>
                </c:pt>
                <c:pt idx="12269">
                  <c:v>5.0612767937649661</c:v>
                </c:pt>
                <c:pt idx="12270">
                  <c:v>5.9998241432845481</c:v>
                </c:pt>
                <c:pt idx="12271">
                  <c:v>4.8625736123723309</c:v>
                </c:pt>
                <c:pt idx="12272">
                  <c:v>6.020248583097537</c:v>
                </c:pt>
                <c:pt idx="12273">
                  <c:v>5.1194927266030756</c:v>
                </c:pt>
                <c:pt idx="12274">
                  <c:v>6.219820283232778</c:v>
                </c:pt>
                <c:pt idx="12275">
                  <c:v>5.0962522731779023</c:v>
                </c:pt>
                <c:pt idx="12276">
                  <c:v>4.8870757107827867</c:v>
                </c:pt>
                <c:pt idx="12277">
                  <c:v>6.0922160434778014</c:v>
                </c:pt>
                <c:pt idx="12278">
                  <c:v>5.0228766643857705</c:v>
                </c:pt>
                <c:pt idx="12279">
                  <c:v>5.9596683633989542</c:v>
                </c:pt>
                <c:pt idx="12280">
                  <c:v>5.9391291095543375</c:v>
                </c:pt>
                <c:pt idx="12281">
                  <c:v>5.0634108391916612</c:v>
                </c:pt>
                <c:pt idx="12282">
                  <c:v>7.1116165130467053</c:v>
                </c:pt>
                <c:pt idx="12283">
                  <c:v>5.0018967508273144</c:v>
                </c:pt>
                <c:pt idx="12284">
                  <c:v>5.9711941704912741</c:v>
                </c:pt>
                <c:pt idx="12285">
                  <c:v>5.0275657494490078</c:v>
                </c:pt>
                <c:pt idx="12286">
                  <c:v>6.1757670756444565</c:v>
                </c:pt>
                <c:pt idx="12287">
                  <c:v>6.0466869087593986</c:v>
                </c:pt>
                <c:pt idx="12288">
                  <c:v>6.090300167919815</c:v>
                </c:pt>
                <c:pt idx="12289">
                  <c:v>4.9686644158087194</c:v>
                </c:pt>
                <c:pt idx="12290">
                  <c:v>5.8893347966009637</c:v>
                </c:pt>
                <c:pt idx="12291">
                  <c:v>5.9936170845282124</c:v>
                </c:pt>
                <c:pt idx="12292">
                  <c:v>6.9091013117841031</c:v>
                </c:pt>
                <c:pt idx="12293">
                  <c:v>6.7417075635927315</c:v>
                </c:pt>
                <c:pt idx="12294">
                  <c:v>6.0174852280666347</c:v>
                </c:pt>
                <c:pt idx="12295">
                  <c:v>7.1062044201979795</c:v>
                </c:pt>
                <c:pt idx="12296">
                  <c:v>5.9933992272838559</c:v>
                </c:pt>
                <c:pt idx="12297">
                  <c:v>4.777302052541021</c:v>
                </c:pt>
                <c:pt idx="12298">
                  <c:v>5.8681049069772966</c:v>
                </c:pt>
                <c:pt idx="12299">
                  <c:v>5.9673711290265965</c:v>
                </c:pt>
                <c:pt idx="12300">
                  <c:v>5.897958969271536</c:v>
                </c:pt>
                <c:pt idx="12301">
                  <c:v>5.0828388867958854</c:v>
                </c:pt>
                <c:pt idx="12302">
                  <c:v>5.9071168700511167</c:v>
                </c:pt>
                <c:pt idx="12303">
                  <c:v>6.9200953484680845</c:v>
                </c:pt>
                <c:pt idx="12304">
                  <c:v>6.9751928856479282</c:v>
                </c:pt>
                <c:pt idx="12305">
                  <c:v>4.9922789810519621</c:v>
                </c:pt>
                <c:pt idx="12306">
                  <c:v>4.9559688136118787</c:v>
                </c:pt>
                <c:pt idx="12307">
                  <c:v>7.1414785011041788</c:v>
                </c:pt>
                <c:pt idx="12308">
                  <c:v>3.8186399037625778</c:v>
                </c:pt>
                <c:pt idx="12309">
                  <c:v>6.2083630930905498</c:v>
                </c:pt>
                <c:pt idx="12310">
                  <c:v>7.0192547137384711</c:v>
                </c:pt>
                <c:pt idx="12311">
                  <c:v>6.9891707276067487</c:v>
                </c:pt>
                <c:pt idx="12312">
                  <c:v>5.8570218525886162</c:v>
                </c:pt>
                <c:pt idx="12313">
                  <c:v>5.0634564150630457</c:v>
                </c:pt>
                <c:pt idx="12314">
                  <c:v>5.8789527817448972</c:v>
                </c:pt>
                <c:pt idx="12315">
                  <c:v>5.9339788885420468</c:v>
                </c:pt>
                <c:pt idx="12316">
                  <c:v>5.0393853381827913</c:v>
                </c:pt>
                <c:pt idx="12317">
                  <c:v>5.9592633245556073</c:v>
                </c:pt>
                <c:pt idx="12318">
                  <c:v>5.1202836796287245</c:v>
                </c:pt>
                <c:pt idx="12319">
                  <c:v>6.0479919437258411</c:v>
                </c:pt>
                <c:pt idx="12320">
                  <c:v>5.0075060588772544</c:v>
                </c:pt>
                <c:pt idx="12321">
                  <c:v>5.1848955912170576</c:v>
                </c:pt>
                <c:pt idx="12322">
                  <c:v>5.0642954412111845</c:v>
                </c:pt>
                <c:pt idx="12323">
                  <c:v>6.8987887664402834</c:v>
                </c:pt>
                <c:pt idx="12324">
                  <c:v>4.9116047575540396</c:v>
                </c:pt>
                <c:pt idx="12325">
                  <c:v>5.002423110305287</c:v>
                </c:pt>
                <c:pt idx="12326">
                  <c:v>5.1399859180145739</c:v>
                </c:pt>
                <c:pt idx="12327">
                  <c:v>5.0858363155121165</c:v>
                </c:pt>
                <c:pt idx="12328">
                  <c:v>6.0135189843913812</c:v>
                </c:pt>
                <c:pt idx="12329">
                  <c:v>4.9959232005116485</c:v>
                </c:pt>
                <c:pt idx="12330">
                  <c:v>5.9280280264670973</c:v>
                </c:pt>
                <c:pt idx="12331">
                  <c:v>4.8683197736206862</c:v>
                </c:pt>
                <c:pt idx="12332">
                  <c:v>5.0242818941648153</c:v>
                </c:pt>
                <c:pt idx="12333">
                  <c:v>5.0033055123421146</c:v>
                </c:pt>
                <c:pt idx="12334">
                  <c:v>6.0268423260209758</c:v>
                </c:pt>
                <c:pt idx="12335">
                  <c:v>5.0280330247633929</c:v>
                </c:pt>
                <c:pt idx="12336">
                  <c:v>5.3183378979566474</c:v>
                </c:pt>
                <c:pt idx="12337">
                  <c:v>4.9082061476020336</c:v>
                </c:pt>
                <c:pt idx="12338">
                  <c:v>4.851402618837759</c:v>
                </c:pt>
                <c:pt idx="12339">
                  <c:v>5.8912917542920376</c:v>
                </c:pt>
                <c:pt idx="12340">
                  <c:v>4.9523704473599066</c:v>
                </c:pt>
                <c:pt idx="12341">
                  <c:v>6.0170897304388857</c:v>
                </c:pt>
                <c:pt idx="12342">
                  <c:v>4.804206151904963</c:v>
                </c:pt>
                <c:pt idx="12343">
                  <c:v>6.0129499545422478</c:v>
                </c:pt>
                <c:pt idx="12344">
                  <c:v>4.9883721754583448</c:v>
                </c:pt>
                <c:pt idx="12345">
                  <c:v>7.0996820051636913</c:v>
                </c:pt>
                <c:pt idx="12346">
                  <c:v>5.9746314472981119</c:v>
                </c:pt>
                <c:pt idx="12347">
                  <c:v>5.0017324470976279</c:v>
                </c:pt>
                <c:pt idx="12348">
                  <c:v>4.1981168016853925</c:v>
                </c:pt>
                <c:pt idx="12349">
                  <c:v>6.124653731773587</c:v>
                </c:pt>
                <c:pt idx="12350">
                  <c:v>6.0140874550958934</c:v>
                </c:pt>
                <c:pt idx="12351">
                  <c:v>5.0166976553968752</c:v>
                </c:pt>
                <c:pt idx="12352">
                  <c:v>6.0975407928351375</c:v>
                </c:pt>
                <c:pt idx="12353">
                  <c:v>5.879272019711931</c:v>
                </c:pt>
                <c:pt idx="12354">
                  <c:v>6.2479484844326443</c:v>
                </c:pt>
                <c:pt idx="12355">
                  <c:v>6.0033623575380215</c:v>
                </c:pt>
                <c:pt idx="12356">
                  <c:v>6.0974092693720481</c:v>
                </c:pt>
                <c:pt idx="12357">
                  <c:v>6.0327838525557373</c:v>
                </c:pt>
                <c:pt idx="12358">
                  <c:v>6.0225066501306985</c:v>
                </c:pt>
                <c:pt idx="12359">
                  <c:v>5.1058538524096271</c:v>
                </c:pt>
                <c:pt idx="12360">
                  <c:v>4.9208119564868031</c:v>
                </c:pt>
                <c:pt idx="12361">
                  <c:v>5.1981074837677141</c:v>
                </c:pt>
                <c:pt idx="12362">
                  <c:v>5.0199067993409399</c:v>
                </c:pt>
                <c:pt idx="12363">
                  <c:v>5.0778023718654683</c:v>
                </c:pt>
                <c:pt idx="12364">
                  <c:v>6.0024932440738095</c:v>
                </c:pt>
                <c:pt idx="12365">
                  <c:v>5.0180238004589466</c:v>
                </c:pt>
                <c:pt idx="12366">
                  <c:v>6.0431528106325212</c:v>
                </c:pt>
                <c:pt idx="12367">
                  <c:v>6.0272941587928335</c:v>
                </c:pt>
                <c:pt idx="12368">
                  <c:v>5.8850185161792385</c:v>
                </c:pt>
                <c:pt idx="12369">
                  <c:v>5.9963141522678978</c:v>
                </c:pt>
                <c:pt idx="12370">
                  <c:v>6.0386362091673176</c:v>
                </c:pt>
                <c:pt idx="12371">
                  <c:v>5.9051101448748344</c:v>
                </c:pt>
                <c:pt idx="12372">
                  <c:v>5.1526174079907516</c:v>
                </c:pt>
                <c:pt idx="12373">
                  <c:v>6.1465264522958822</c:v>
                </c:pt>
                <c:pt idx="12374">
                  <c:v>5.9603325241000116</c:v>
                </c:pt>
                <c:pt idx="12375">
                  <c:v>4.9957224428232783</c:v>
                </c:pt>
                <c:pt idx="12376">
                  <c:v>5.8482790120143004</c:v>
                </c:pt>
                <c:pt idx="12377">
                  <c:v>4.9385480652099689</c:v>
                </c:pt>
                <c:pt idx="12378">
                  <c:v>5.9763986325793859</c:v>
                </c:pt>
                <c:pt idx="12379">
                  <c:v>6.0520601196750654</c:v>
                </c:pt>
                <c:pt idx="12380">
                  <c:v>7.1069613757301626</c:v>
                </c:pt>
                <c:pt idx="12381">
                  <c:v>5.0068926707346142</c:v>
                </c:pt>
                <c:pt idx="12382">
                  <c:v>6.0263142831136882</c:v>
                </c:pt>
                <c:pt idx="12383">
                  <c:v>5.984989434329461</c:v>
                </c:pt>
                <c:pt idx="12384">
                  <c:v>6.0236589831550624</c:v>
                </c:pt>
                <c:pt idx="12385">
                  <c:v>6.0655918780057654</c:v>
                </c:pt>
                <c:pt idx="12386">
                  <c:v>6.9578662324070537</c:v>
                </c:pt>
                <c:pt idx="12387">
                  <c:v>5.9981034745063795</c:v>
                </c:pt>
                <c:pt idx="12388">
                  <c:v>6.9445883179823813</c:v>
                </c:pt>
                <c:pt idx="12389">
                  <c:v>5.8698540800718861</c:v>
                </c:pt>
                <c:pt idx="12390">
                  <c:v>6.1359989570357962</c:v>
                </c:pt>
                <c:pt idx="12391">
                  <c:v>5.9567679891124659</c:v>
                </c:pt>
                <c:pt idx="12392">
                  <c:v>4.8334318355260599</c:v>
                </c:pt>
                <c:pt idx="12393">
                  <c:v>6.8444216249541112</c:v>
                </c:pt>
                <c:pt idx="12394">
                  <c:v>6.018963244347054</c:v>
                </c:pt>
                <c:pt idx="12395">
                  <c:v>6.0380304480649389</c:v>
                </c:pt>
                <c:pt idx="12396">
                  <c:v>6.9213604863486333</c:v>
                </c:pt>
                <c:pt idx="12397">
                  <c:v>5.9584260901135968</c:v>
                </c:pt>
                <c:pt idx="12398">
                  <c:v>6.0111142396596948</c:v>
                </c:pt>
                <c:pt idx="12399">
                  <c:v>4.8435305267248392</c:v>
                </c:pt>
                <c:pt idx="12400">
                  <c:v>5.9883404000983287</c:v>
                </c:pt>
                <c:pt idx="12401">
                  <c:v>5.8247419149032584</c:v>
                </c:pt>
                <c:pt idx="12402">
                  <c:v>5.9082399799507304</c:v>
                </c:pt>
                <c:pt idx="12403">
                  <c:v>5.9660905013998855</c:v>
                </c:pt>
                <c:pt idx="12404">
                  <c:v>7.032496402379194</c:v>
                </c:pt>
                <c:pt idx="12405">
                  <c:v>5.9735864064307949</c:v>
                </c:pt>
                <c:pt idx="12406">
                  <c:v>6.9715724023164336</c:v>
                </c:pt>
                <c:pt idx="12407">
                  <c:v>6.0764756371132718</c:v>
                </c:pt>
                <c:pt idx="12408">
                  <c:v>6.0215945279159522</c:v>
                </c:pt>
                <c:pt idx="12409">
                  <c:v>4.9493748356535701</c:v>
                </c:pt>
                <c:pt idx="12410">
                  <c:v>5.8941440970709902</c:v>
                </c:pt>
                <c:pt idx="12411">
                  <c:v>6.1437097792289865</c:v>
                </c:pt>
                <c:pt idx="12412">
                  <c:v>6.1426867924105819</c:v>
                </c:pt>
                <c:pt idx="12413">
                  <c:v>6.0168249700843175</c:v>
                </c:pt>
                <c:pt idx="12414">
                  <c:v>6.0629232743246844</c:v>
                </c:pt>
                <c:pt idx="12415">
                  <c:v>6.0535033744676321</c:v>
                </c:pt>
                <c:pt idx="12416">
                  <c:v>6.0580487112256129</c:v>
                </c:pt>
                <c:pt idx="12417">
                  <c:v>5.7662145259117024</c:v>
                </c:pt>
                <c:pt idx="12418">
                  <c:v>6.131084846700622</c:v>
                </c:pt>
                <c:pt idx="12419">
                  <c:v>5.8711834840976111</c:v>
                </c:pt>
                <c:pt idx="12420">
                  <c:v>7.0677205881458347</c:v>
                </c:pt>
                <c:pt idx="12421">
                  <c:v>6.0259738804093725</c:v>
                </c:pt>
                <c:pt idx="12422">
                  <c:v>5.9094912257137695</c:v>
                </c:pt>
                <c:pt idx="12423">
                  <c:v>5.8567226232068794</c:v>
                </c:pt>
                <c:pt idx="12424">
                  <c:v>6.1275615223941138</c:v>
                </c:pt>
                <c:pt idx="12425">
                  <c:v>5.9700291983964489</c:v>
                </c:pt>
                <c:pt idx="12426">
                  <c:v>5.8757550733487349</c:v>
                </c:pt>
                <c:pt idx="12427">
                  <c:v>6.0238955785364254</c:v>
                </c:pt>
                <c:pt idx="12428">
                  <c:v>6.8593787374901227</c:v>
                </c:pt>
                <c:pt idx="12429">
                  <c:v>6.0022244570501631</c:v>
                </c:pt>
                <c:pt idx="12430">
                  <c:v>7.1869129293068728</c:v>
                </c:pt>
                <c:pt idx="12431">
                  <c:v>5.8958324824606558</c:v>
                </c:pt>
                <c:pt idx="12432">
                  <c:v>6.0741282445414519</c:v>
                </c:pt>
                <c:pt idx="12433">
                  <c:v>5.825252297726685</c:v>
                </c:pt>
                <c:pt idx="12434">
                  <c:v>5.0855530740869481</c:v>
                </c:pt>
                <c:pt idx="12435">
                  <c:v>3.8269730225027225</c:v>
                </c:pt>
                <c:pt idx="12436">
                  <c:v>6.0678095234678739</c:v>
                </c:pt>
                <c:pt idx="12437">
                  <c:v>4.1756300779893341</c:v>
                </c:pt>
                <c:pt idx="12438">
                  <c:v>5.9112141512277709</c:v>
                </c:pt>
                <c:pt idx="12439">
                  <c:v>6.0948923086311195</c:v>
                </c:pt>
                <c:pt idx="12440">
                  <c:v>5.1256538909121234</c:v>
                </c:pt>
                <c:pt idx="12441">
                  <c:v>6.0810546802003671</c:v>
                </c:pt>
                <c:pt idx="12442">
                  <c:v>4.0795317467708765</c:v>
                </c:pt>
                <c:pt idx="12443">
                  <c:v>6.050066713136248</c:v>
                </c:pt>
                <c:pt idx="12444">
                  <c:v>6.0775429022280676</c:v>
                </c:pt>
                <c:pt idx="12445">
                  <c:v>6.0220228506930287</c:v>
                </c:pt>
                <c:pt idx="12446">
                  <c:v>6.1116734405239468</c:v>
                </c:pt>
                <c:pt idx="12447">
                  <c:v>7.0359037564182092</c:v>
                </c:pt>
                <c:pt idx="12448">
                  <c:v>4.8417474555848914</c:v>
                </c:pt>
                <c:pt idx="12449">
                  <c:v>6.205809831771707</c:v>
                </c:pt>
                <c:pt idx="12450">
                  <c:v>7.0677875264616583</c:v>
                </c:pt>
                <c:pt idx="12451">
                  <c:v>5.9346433587132399</c:v>
                </c:pt>
                <c:pt idx="12452">
                  <c:v>5.018100837800926</c:v>
                </c:pt>
                <c:pt idx="12453">
                  <c:v>6.0757487553870879</c:v>
                </c:pt>
                <c:pt idx="12454">
                  <c:v>6.06170407715544</c:v>
                </c:pt>
                <c:pt idx="12455">
                  <c:v>6.0500880466007665</c:v>
                </c:pt>
                <c:pt idx="12456">
                  <c:v>5.990543945346559</c:v>
                </c:pt>
                <c:pt idx="12457">
                  <c:v>3.8404232916354863</c:v>
                </c:pt>
                <c:pt idx="12458">
                  <c:v>6.9079131313399573</c:v>
                </c:pt>
                <c:pt idx="12459">
                  <c:v>5.9970751259004258</c:v>
                </c:pt>
                <c:pt idx="12460">
                  <c:v>6.9595786925820962</c:v>
                </c:pt>
                <c:pt idx="12461">
                  <c:v>6.1267719536005405</c:v>
                </c:pt>
                <c:pt idx="12462">
                  <c:v>4.8655516512264008</c:v>
                </c:pt>
                <c:pt idx="12463">
                  <c:v>5.9854568875558831</c:v>
                </c:pt>
                <c:pt idx="12464">
                  <c:v>5.9192379401195394</c:v>
                </c:pt>
                <c:pt idx="12465">
                  <c:v>5.9642565371848901</c:v>
                </c:pt>
                <c:pt idx="12466">
                  <c:v>7.2506500577139015</c:v>
                </c:pt>
                <c:pt idx="12467">
                  <c:v>5.981351942958776</c:v>
                </c:pt>
                <c:pt idx="12468">
                  <c:v>5.0143956607034035</c:v>
                </c:pt>
                <c:pt idx="12469">
                  <c:v>6.9843231967671464</c:v>
                </c:pt>
                <c:pt idx="12470">
                  <c:v>5.0503812545813958</c:v>
                </c:pt>
                <c:pt idx="12471">
                  <c:v>4.9370131918513929</c:v>
                </c:pt>
                <c:pt idx="12472">
                  <c:v>5.9315808380246819</c:v>
                </c:pt>
                <c:pt idx="12473">
                  <c:v>5.9450560557607037</c:v>
                </c:pt>
                <c:pt idx="12474">
                  <c:v>6.9842800642512426</c:v>
                </c:pt>
                <c:pt idx="12475">
                  <c:v>6.9620292719386994</c:v>
                </c:pt>
                <c:pt idx="12476">
                  <c:v>6.0870061011120562</c:v>
                </c:pt>
                <c:pt idx="12477">
                  <c:v>4.9536406278191745</c:v>
                </c:pt>
                <c:pt idx="12478">
                  <c:v>5.9772186023648741</c:v>
                </c:pt>
                <c:pt idx="12479">
                  <c:v>6.9315125071804111</c:v>
                </c:pt>
                <c:pt idx="12480">
                  <c:v>6.0847438775694824</c:v>
                </c:pt>
                <c:pt idx="12481">
                  <c:v>5.9726849031352156</c:v>
                </c:pt>
                <c:pt idx="12482">
                  <c:v>7.0942791212587295</c:v>
                </c:pt>
                <c:pt idx="12483">
                  <c:v>6.9301045142268096</c:v>
                </c:pt>
                <c:pt idx="12484">
                  <c:v>4.9603410520520992</c:v>
                </c:pt>
                <c:pt idx="12485">
                  <c:v>5.9159489532764189</c:v>
                </c:pt>
                <c:pt idx="12486">
                  <c:v>7.0573888721046574</c:v>
                </c:pt>
                <c:pt idx="12487">
                  <c:v>5.9069732564007253</c:v>
                </c:pt>
                <c:pt idx="12488">
                  <c:v>4.9909118611068637</c:v>
                </c:pt>
                <c:pt idx="12489">
                  <c:v>4.8657084333300729</c:v>
                </c:pt>
                <c:pt idx="12490">
                  <c:v>7.1383629276669502</c:v>
                </c:pt>
                <c:pt idx="12491">
                  <c:v>5.9700854820467173</c:v>
                </c:pt>
                <c:pt idx="12492">
                  <c:v>5.9333495261469427</c:v>
                </c:pt>
                <c:pt idx="12493">
                  <c:v>6.9836965705761784</c:v>
                </c:pt>
                <c:pt idx="12494">
                  <c:v>6.0201124368195789</c:v>
                </c:pt>
                <c:pt idx="12495">
                  <c:v>7.0187883969785014</c:v>
                </c:pt>
                <c:pt idx="12496">
                  <c:v>6.1348928208380489</c:v>
                </c:pt>
                <c:pt idx="12497">
                  <c:v>5.8162807930870599</c:v>
                </c:pt>
                <c:pt idx="12498">
                  <c:v>7.0977451739077448</c:v>
                </c:pt>
                <c:pt idx="12499">
                  <c:v>6.1112436907175089</c:v>
                </c:pt>
                <c:pt idx="12500">
                  <c:v>7.0341902754338372</c:v>
                </c:pt>
                <c:pt idx="12501">
                  <c:v>7.0717192205019526</c:v>
                </c:pt>
                <c:pt idx="12502">
                  <c:v>6.9888494295636141</c:v>
                </c:pt>
                <c:pt idx="12503">
                  <c:v>5.9488457455572936</c:v>
                </c:pt>
                <c:pt idx="12504">
                  <c:v>6.8926288128118705</c:v>
                </c:pt>
                <c:pt idx="12505">
                  <c:v>6.7914553202174535</c:v>
                </c:pt>
                <c:pt idx="12506">
                  <c:v>6.9291520150946821</c:v>
                </c:pt>
                <c:pt idx="12507">
                  <c:v>5.9970985038957636</c:v>
                </c:pt>
                <c:pt idx="12508">
                  <c:v>6.1049183312270401</c:v>
                </c:pt>
                <c:pt idx="12509">
                  <c:v>3.9263915675200498</c:v>
                </c:pt>
                <c:pt idx="12510">
                  <c:v>6.0337959120350781</c:v>
                </c:pt>
                <c:pt idx="12511">
                  <c:v>6.8895703700418647</c:v>
                </c:pt>
                <c:pt idx="12512">
                  <c:v>7.1621296140667488</c:v>
                </c:pt>
                <c:pt idx="12513">
                  <c:v>6.9996457502806342</c:v>
                </c:pt>
                <c:pt idx="12514">
                  <c:v>3.0533032506038471</c:v>
                </c:pt>
                <c:pt idx="12515">
                  <c:v>6.1417582254162131</c:v>
                </c:pt>
                <c:pt idx="12516">
                  <c:v>7.0449373209042241</c:v>
                </c:pt>
                <c:pt idx="12517">
                  <c:v>6.9521504808440655</c:v>
                </c:pt>
                <c:pt idx="12518">
                  <c:v>5.0183721449420862</c:v>
                </c:pt>
                <c:pt idx="12519">
                  <c:v>6.0781998100523777</c:v>
                </c:pt>
                <c:pt idx="12520">
                  <c:v>5.951734599251929</c:v>
                </c:pt>
                <c:pt idx="12521">
                  <c:v>6.0560543707897958</c:v>
                </c:pt>
                <c:pt idx="12522">
                  <c:v>4.8561330856166993</c:v>
                </c:pt>
                <c:pt idx="12523">
                  <c:v>5.9345603951306929</c:v>
                </c:pt>
                <c:pt idx="12524">
                  <c:v>6.7978689691471468</c:v>
                </c:pt>
                <c:pt idx="12525">
                  <c:v>6.0625436628862897</c:v>
                </c:pt>
                <c:pt idx="12526">
                  <c:v>4.9827217773634604</c:v>
                </c:pt>
                <c:pt idx="12527">
                  <c:v>6.0304847131003747</c:v>
                </c:pt>
                <c:pt idx="12528">
                  <c:v>5.8650973291304567</c:v>
                </c:pt>
                <c:pt idx="12529">
                  <c:v>5.0700090580334694</c:v>
                </c:pt>
                <c:pt idx="12530">
                  <c:v>5.8726949925297216</c:v>
                </c:pt>
                <c:pt idx="12531">
                  <c:v>5.0330976817454465</c:v>
                </c:pt>
                <c:pt idx="12532">
                  <c:v>5.0407771863918605</c:v>
                </c:pt>
                <c:pt idx="12533">
                  <c:v>6.1104729271173044</c:v>
                </c:pt>
                <c:pt idx="12534">
                  <c:v>5.9106466146923822</c:v>
                </c:pt>
                <c:pt idx="12535">
                  <c:v>6.1608241847917808</c:v>
                </c:pt>
                <c:pt idx="12536">
                  <c:v>6.053590674879036</c:v>
                </c:pt>
                <c:pt idx="12537">
                  <c:v>6.9282250794592386</c:v>
                </c:pt>
                <c:pt idx="12538">
                  <c:v>6.0769938977058642</c:v>
                </c:pt>
                <c:pt idx="12539">
                  <c:v>5.8905298693693116</c:v>
                </c:pt>
                <c:pt idx="12540">
                  <c:v>6.0059675197137379</c:v>
                </c:pt>
                <c:pt idx="12541">
                  <c:v>6.0945529847674083</c:v>
                </c:pt>
                <c:pt idx="12542">
                  <c:v>1.9444771351321299</c:v>
                </c:pt>
                <c:pt idx="12543">
                  <c:v>5.8366687187289923</c:v>
                </c:pt>
                <c:pt idx="12544">
                  <c:v>6.3239402387660668</c:v>
                </c:pt>
                <c:pt idx="12545">
                  <c:v>6.9774121344182944</c:v>
                </c:pt>
                <c:pt idx="12546">
                  <c:v>5.0667000266821436</c:v>
                </c:pt>
                <c:pt idx="12547">
                  <c:v>5.9626460912327595</c:v>
                </c:pt>
                <c:pt idx="12548">
                  <c:v>7.1693857186145395</c:v>
                </c:pt>
                <c:pt idx="12549">
                  <c:v>6.0277078134265585</c:v>
                </c:pt>
                <c:pt idx="12550">
                  <c:v>6.0962296961757048</c:v>
                </c:pt>
                <c:pt idx="12551">
                  <c:v>5.8800630745036582</c:v>
                </c:pt>
                <c:pt idx="12552">
                  <c:v>6.1372102193592921</c:v>
                </c:pt>
                <c:pt idx="12553">
                  <c:v>6.8764704747095093</c:v>
                </c:pt>
                <c:pt idx="12554">
                  <c:v>2.1861048549222044</c:v>
                </c:pt>
                <c:pt idx="12555">
                  <c:v>5.9952060671323588</c:v>
                </c:pt>
                <c:pt idx="12556">
                  <c:v>6.0193470672033076</c:v>
                </c:pt>
                <c:pt idx="12557">
                  <c:v>4.9791072779773966</c:v>
                </c:pt>
                <c:pt idx="12558">
                  <c:v>5.9737174766364207</c:v>
                </c:pt>
                <c:pt idx="12559">
                  <c:v>6.1195493719708294</c:v>
                </c:pt>
                <c:pt idx="12560">
                  <c:v>5.8956641511202061</c:v>
                </c:pt>
                <c:pt idx="12561">
                  <c:v>5.8325529377932384</c:v>
                </c:pt>
                <c:pt idx="12562">
                  <c:v>6.0621872556309091</c:v>
                </c:pt>
                <c:pt idx="12563">
                  <c:v>5.8561129542094719</c:v>
                </c:pt>
                <c:pt idx="12564">
                  <c:v>6.2943603292040136</c:v>
                </c:pt>
                <c:pt idx="12565">
                  <c:v>6.0034051585482171</c:v>
                </c:pt>
                <c:pt idx="12566">
                  <c:v>6.1559974934685027</c:v>
                </c:pt>
                <c:pt idx="12567">
                  <c:v>5.8672310118208362</c:v>
                </c:pt>
                <c:pt idx="12568">
                  <c:v>5.9401591770838706</c:v>
                </c:pt>
                <c:pt idx="12569">
                  <c:v>5.963079742083278</c:v>
                </c:pt>
                <c:pt idx="12570">
                  <c:v>5.0078945950724485</c:v>
                </c:pt>
                <c:pt idx="12571">
                  <c:v>6.0177430336588911</c:v>
                </c:pt>
                <c:pt idx="12572">
                  <c:v>4.880816111180037</c:v>
                </c:pt>
                <c:pt idx="12573">
                  <c:v>6.0248796949304477</c:v>
                </c:pt>
                <c:pt idx="12574">
                  <c:v>5.0280860738682147</c:v>
                </c:pt>
                <c:pt idx="12575">
                  <c:v>6.9729959159643364</c:v>
                </c:pt>
                <c:pt idx="12576">
                  <c:v>5.9896893789371788</c:v>
                </c:pt>
                <c:pt idx="12577">
                  <c:v>6.0906777505212988</c:v>
                </c:pt>
                <c:pt idx="12578">
                  <c:v>6.7371432976861314</c:v>
                </c:pt>
                <c:pt idx="12579">
                  <c:v>5.9307173656251528</c:v>
                </c:pt>
                <c:pt idx="12580">
                  <c:v>6.1708736857354864</c:v>
                </c:pt>
                <c:pt idx="12581">
                  <c:v>5.886813209769536</c:v>
                </c:pt>
                <c:pt idx="12582">
                  <c:v>5.9363015073802483</c:v>
                </c:pt>
                <c:pt idx="12583">
                  <c:v>6.0676692180464959</c:v>
                </c:pt>
                <c:pt idx="12584">
                  <c:v>5.9195732702292894</c:v>
                </c:pt>
                <c:pt idx="12585">
                  <c:v>5.8612206181971001</c:v>
                </c:pt>
                <c:pt idx="12586">
                  <c:v>5.8386580435757454</c:v>
                </c:pt>
                <c:pt idx="12587">
                  <c:v>6.0149330780596779</c:v>
                </c:pt>
                <c:pt idx="12588">
                  <c:v>6.0162980490043898</c:v>
                </c:pt>
                <c:pt idx="12589">
                  <c:v>6.0559946862119078</c:v>
                </c:pt>
                <c:pt idx="12590">
                  <c:v>5.7993783812223958</c:v>
                </c:pt>
                <c:pt idx="12591">
                  <c:v>6.9525935120704085</c:v>
                </c:pt>
                <c:pt idx="12592">
                  <c:v>4.0752358930515822</c:v>
                </c:pt>
                <c:pt idx="12593">
                  <c:v>5.8467269325469031</c:v>
                </c:pt>
                <c:pt idx="12594">
                  <c:v>5.9021736357879888</c:v>
                </c:pt>
                <c:pt idx="12595">
                  <c:v>6.0787814333319101</c:v>
                </c:pt>
                <c:pt idx="12596">
                  <c:v>6.1103340432458522</c:v>
                </c:pt>
                <c:pt idx="12597">
                  <c:v>6.1158979986223452</c:v>
                </c:pt>
                <c:pt idx="12598">
                  <c:v>5.9546514695331938</c:v>
                </c:pt>
                <c:pt idx="12599">
                  <c:v>5.9387889620214356</c:v>
                </c:pt>
                <c:pt idx="12600">
                  <c:v>5.8591793943855697</c:v>
                </c:pt>
                <c:pt idx="12601">
                  <c:v>5.9755095795865341</c:v>
                </c:pt>
                <c:pt idx="12602">
                  <c:v>5.8776707030901427</c:v>
                </c:pt>
                <c:pt idx="12603">
                  <c:v>6.139659592453194</c:v>
                </c:pt>
                <c:pt idx="12604">
                  <c:v>6.9618562786093001</c:v>
                </c:pt>
                <c:pt idx="12605">
                  <c:v>5.9980262127018298</c:v>
                </c:pt>
                <c:pt idx="12606">
                  <c:v>6.0449834867042682</c:v>
                </c:pt>
                <c:pt idx="12607">
                  <c:v>6.9241699756238244</c:v>
                </c:pt>
                <c:pt idx="12608">
                  <c:v>6.0626676041726437</c:v>
                </c:pt>
                <c:pt idx="12609">
                  <c:v>5.8310983186727077</c:v>
                </c:pt>
                <c:pt idx="12610">
                  <c:v>5.8499801302425558</c:v>
                </c:pt>
                <c:pt idx="12611">
                  <c:v>5.8863490289588665</c:v>
                </c:pt>
                <c:pt idx="12612">
                  <c:v>6.1936783741300587</c:v>
                </c:pt>
                <c:pt idx="12613">
                  <c:v>5.9932773660295178</c:v>
                </c:pt>
                <c:pt idx="12614">
                  <c:v>6.0080804099803986</c:v>
                </c:pt>
                <c:pt idx="12615">
                  <c:v>6.0561149795766509</c:v>
                </c:pt>
                <c:pt idx="12616">
                  <c:v>6.1358861914006777</c:v>
                </c:pt>
                <c:pt idx="12617">
                  <c:v>5.8826563055667709</c:v>
                </c:pt>
                <c:pt idx="12618">
                  <c:v>6.0204089434773467</c:v>
                </c:pt>
                <c:pt idx="12619">
                  <c:v>6.1203960890602129</c:v>
                </c:pt>
                <c:pt idx="12620">
                  <c:v>6.6696032514314787</c:v>
                </c:pt>
                <c:pt idx="12621">
                  <c:v>6.0822771785007106</c:v>
                </c:pt>
                <c:pt idx="12622">
                  <c:v>6.1773772275438308</c:v>
                </c:pt>
                <c:pt idx="12623">
                  <c:v>6.7976880761366356</c:v>
                </c:pt>
                <c:pt idx="12624">
                  <c:v>3.0269737410496664</c:v>
                </c:pt>
                <c:pt idx="12625">
                  <c:v>7.0786278353117726</c:v>
                </c:pt>
                <c:pt idx="12626">
                  <c:v>6.1515952184995637</c:v>
                </c:pt>
                <c:pt idx="12627">
                  <c:v>7.0265679740663947</c:v>
                </c:pt>
                <c:pt idx="12628">
                  <c:v>5.997413032325615</c:v>
                </c:pt>
                <c:pt idx="12629">
                  <c:v>5.8477492433427978</c:v>
                </c:pt>
                <c:pt idx="12630">
                  <c:v>6.0285402314796848</c:v>
                </c:pt>
                <c:pt idx="12631">
                  <c:v>5.8869408892892601</c:v>
                </c:pt>
                <c:pt idx="12632">
                  <c:v>6.0192069697734629</c:v>
                </c:pt>
                <c:pt idx="12633">
                  <c:v>6.0950656526248608</c:v>
                </c:pt>
                <c:pt idx="12634">
                  <c:v>5.8895283755333745</c:v>
                </c:pt>
                <c:pt idx="12635">
                  <c:v>6.1067655015510747</c:v>
                </c:pt>
                <c:pt idx="12636">
                  <c:v>6.0438264812721165</c:v>
                </c:pt>
                <c:pt idx="12637">
                  <c:v>6.0919549088735314</c:v>
                </c:pt>
                <c:pt idx="12638">
                  <c:v>6.1128436437886009</c:v>
                </c:pt>
                <c:pt idx="12639">
                  <c:v>6.0371399707814559</c:v>
                </c:pt>
                <c:pt idx="12640">
                  <c:v>6.154492464412364</c:v>
                </c:pt>
                <c:pt idx="12641">
                  <c:v>5.9552051720499311</c:v>
                </c:pt>
                <c:pt idx="12642">
                  <c:v>6.0676362667105428</c:v>
                </c:pt>
                <c:pt idx="12643">
                  <c:v>5.9802761376342213</c:v>
                </c:pt>
                <c:pt idx="12644">
                  <c:v>5.0629710207567724</c:v>
                </c:pt>
                <c:pt idx="12645">
                  <c:v>6.1565268765005046</c:v>
                </c:pt>
                <c:pt idx="12646">
                  <c:v>6.0303720260529543</c:v>
                </c:pt>
                <c:pt idx="12647">
                  <c:v>6.9732326524726664</c:v>
                </c:pt>
                <c:pt idx="12648">
                  <c:v>6.9356138594164145</c:v>
                </c:pt>
                <c:pt idx="12649">
                  <c:v>5.8663647406681454</c:v>
                </c:pt>
                <c:pt idx="12650">
                  <c:v>6.1123683699984701</c:v>
                </c:pt>
                <c:pt idx="12651">
                  <c:v>5.0002850993163523</c:v>
                </c:pt>
                <c:pt idx="12652">
                  <c:v>4.017703542072744</c:v>
                </c:pt>
                <c:pt idx="12653">
                  <c:v>3.9222297218111644</c:v>
                </c:pt>
                <c:pt idx="12654">
                  <c:v>5.897116104167238</c:v>
                </c:pt>
                <c:pt idx="12655">
                  <c:v>7.1644864234994179</c:v>
                </c:pt>
                <c:pt idx="12656">
                  <c:v>5.0736765198485765</c:v>
                </c:pt>
                <c:pt idx="12657">
                  <c:v>6.0452188367573312</c:v>
                </c:pt>
                <c:pt idx="12658">
                  <c:v>6.0642173820719432</c:v>
                </c:pt>
                <c:pt idx="12659">
                  <c:v>5.004812211522875</c:v>
                </c:pt>
                <c:pt idx="12660">
                  <c:v>5.0918384348814021</c:v>
                </c:pt>
                <c:pt idx="12661">
                  <c:v>5.9177658302905156</c:v>
                </c:pt>
                <c:pt idx="12662">
                  <c:v>4.9452411259560112</c:v>
                </c:pt>
                <c:pt idx="12663">
                  <c:v>6.1157249052648259</c:v>
                </c:pt>
                <c:pt idx="12664">
                  <c:v>6.0320558279728518</c:v>
                </c:pt>
                <c:pt idx="12665">
                  <c:v>4.9386415199736415</c:v>
                </c:pt>
                <c:pt idx="12666">
                  <c:v>5.943723422475558</c:v>
                </c:pt>
                <c:pt idx="12667">
                  <c:v>7.0692576016358393</c:v>
                </c:pt>
                <c:pt idx="12668">
                  <c:v>5.9673659061460951</c:v>
                </c:pt>
                <c:pt idx="12669">
                  <c:v>6.9755155566703078</c:v>
                </c:pt>
                <c:pt idx="12670">
                  <c:v>4.872169731235295</c:v>
                </c:pt>
                <c:pt idx="12671">
                  <c:v>4.9348931735159116</c:v>
                </c:pt>
                <c:pt idx="12672">
                  <c:v>5.98026771911948</c:v>
                </c:pt>
                <c:pt idx="12673">
                  <c:v>6.0657782694687015</c:v>
                </c:pt>
                <c:pt idx="12674">
                  <c:v>5.1181897551515405</c:v>
                </c:pt>
                <c:pt idx="12675">
                  <c:v>6.0734669709654598</c:v>
                </c:pt>
                <c:pt idx="12676">
                  <c:v>6.122984246826654</c:v>
                </c:pt>
                <c:pt idx="12677">
                  <c:v>5.9095423077091827</c:v>
                </c:pt>
                <c:pt idx="12678">
                  <c:v>5.8793470802112244</c:v>
                </c:pt>
                <c:pt idx="12679">
                  <c:v>7.0437350373457059</c:v>
                </c:pt>
                <c:pt idx="12680">
                  <c:v>7.0381617188990084</c:v>
                </c:pt>
                <c:pt idx="12681">
                  <c:v>7.0991960712011331</c:v>
                </c:pt>
                <c:pt idx="12682">
                  <c:v>6.9624281280167439</c:v>
                </c:pt>
                <c:pt idx="12683">
                  <c:v>5.9278897500334917</c:v>
                </c:pt>
                <c:pt idx="12684">
                  <c:v>7.0345319739540066</c:v>
                </c:pt>
                <c:pt idx="12685">
                  <c:v>5.8477395404025527</c:v>
                </c:pt>
                <c:pt idx="12686">
                  <c:v>6.045866667913141</c:v>
                </c:pt>
                <c:pt idx="12687">
                  <c:v>6.1226534169492286</c:v>
                </c:pt>
                <c:pt idx="12688">
                  <c:v>6.0669669113346716</c:v>
                </c:pt>
                <c:pt idx="12689">
                  <c:v>6.0147184640897402</c:v>
                </c:pt>
                <c:pt idx="12690">
                  <c:v>5.9301001082011844</c:v>
                </c:pt>
                <c:pt idx="12691">
                  <c:v>4.9953426413430577</c:v>
                </c:pt>
                <c:pt idx="12692">
                  <c:v>6.0414879231445004</c:v>
                </c:pt>
                <c:pt idx="12693">
                  <c:v>5.8123329304592035</c:v>
                </c:pt>
                <c:pt idx="12694">
                  <c:v>5.8971475962533715</c:v>
                </c:pt>
                <c:pt idx="12695">
                  <c:v>6.0662297363024829</c:v>
                </c:pt>
                <c:pt idx="12696">
                  <c:v>6.1654970849832829</c:v>
                </c:pt>
                <c:pt idx="12697">
                  <c:v>5.9447833852030838</c:v>
                </c:pt>
                <c:pt idx="12698">
                  <c:v>5.8826305017787091</c:v>
                </c:pt>
                <c:pt idx="12699">
                  <c:v>6.0269533795047847</c:v>
                </c:pt>
                <c:pt idx="12700">
                  <c:v>5.0018401228886198</c:v>
                </c:pt>
                <c:pt idx="12701">
                  <c:v>5.9782955394904276</c:v>
                </c:pt>
                <c:pt idx="12702">
                  <c:v>7.0073104870721847</c:v>
                </c:pt>
                <c:pt idx="12703">
                  <c:v>5.9278119851193658</c:v>
                </c:pt>
                <c:pt idx="12704">
                  <c:v>5.9665642055665602</c:v>
                </c:pt>
                <c:pt idx="12705">
                  <c:v>4.9075114761661673</c:v>
                </c:pt>
                <c:pt idx="12706">
                  <c:v>5.909836848397406</c:v>
                </c:pt>
                <c:pt idx="12707">
                  <c:v>6.0658854310799306</c:v>
                </c:pt>
                <c:pt idx="12708">
                  <c:v>5.92431434971689</c:v>
                </c:pt>
                <c:pt idx="12709">
                  <c:v>6.9600979619186019</c:v>
                </c:pt>
                <c:pt idx="12710">
                  <c:v>6.0032700582475407</c:v>
                </c:pt>
                <c:pt idx="12711">
                  <c:v>6.0032907406223925</c:v>
                </c:pt>
                <c:pt idx="12712">
                  <c:v>5.981100064189766</c:v>
                </c:pt>
                <c:pt idx="12713">
                  <c:v>6.1168398569443081</c:v>
                </c:pt>
                <c:pt idx="12714">
                  <c:v>6.1409091196987982</c:v>
                </c:pt>
                <c:pt idx="12715">
                  <c:v>5.0956300513233641</c:v>
                </c:pt>
                <c:pt idx="12716">
                  <c:v>5.9069240284394722</c:v>
                </c:pt>
                <c:pt idx="12717">
                  <c:v>5.9178110068597336</c:v>
                </c:pt>
                <c:pt idx="12718">
                  <c:v>6.1184839803740774</c:v>
                </c:pt>
                <c:pt idx="12719">
                  <c:v>4.9602749504803603</c:v>
                </c:pt>
                <c:pt idx="12720">
                  <c:v>6.0513757172422222</c:v>
                </c:pt>
                <c:pt idx="12721">
                  <c:v>7.0095139871802559</c:v>
                </c:pt>
                <c:pt idx="12722">
                  <c:v>6.1212141911846141</c:v>
                </c:pt>
                <c:pt idx="12723">
                  <c:v>6.0434613865304279</c:v>
                </c:pt>
                <c:pt idx="12724">
                  <c:v>6.2425671952820636</c:v>
                </c:pt>
                <c:pt idx="12725">
                  <c:v>5.9933474644265274</c:v>
                </c:pt>
                <c:pt idx="12726">
                  <c:v>6.1564388002791191</c:v>
                </c:pt>
                <c:pt idx="12727">
                  <c:v>5.9765162997110437</c:v>
                </c:pt>
                <c:pt idx="12728">
                  <c:v>5.8855668449705689</c:v>
                </c:pt>
                <c:pt idx="12729">
                  <c:v>4.9642499126818933</c:v>
                </c:pt>
                <c:pt idx="12730">
                  <c:v>5.9558573667155343</c:v>
                </c:pt>
                <c:pt idx="12731">
                  <c:v>4.98092200326158</c:v>
                </c:pt>
                <c:pt idx="12732">
                  <c:v>5.966704583612791</c:v>
                </c:pt>
                <c:pt idx="12733">
                  <c:v>5.9901220799074322</c:v>
                </c:pt>
                <c:pt idx="12734">
                  <c:v>6.8212082305006057</c:v>
                </c:pt>
                <c:pt idx="12735">
                  <c:v>7.0856398215784262</c:v>
                </c:pt>
                <c:pt idx="12736">
                  <c:v>6.0785845575424737</c:v>
                </c:pt>
                <c:pt idx="12737">
                  <c:v>5.9205312248677311</c:v>
                </c:pt>
                <c:pt idx="12738">
                  <c:v>5.9144728955654369</c:v>
                </c:pt>
                <c:pt idx="12739">
                  <c:v>5.1557007073720289</c:v>
                </c:pt>
                <c:pt idx="12740">
                  <c:v>5.9381023629031215</c:v>
                </c:pt>
                <c:pt idx="12741">
                  <c:v>4.950810167906849</c:v>
                </c:pt>
                <c:pt idx="12742">
                  <c:v>5.0714360400085674</c:v>
                </c:pt>
                <c:pt idx="12743">
                  <c:v>7.0220584742693983</c:v>
                </c:pt>
                <c:pt idx="12744">
                  <c:v>6.9980034800454467</c:v>
                </c:pt>
                <c:pt idx="12745">
                  <c:v>6.02117315151611</c:v>
                </c:pt>
                <c:pt idx="12746">
                  <c:v>6.9796919597653488</c:v>
                </c:pt>
                <c:pt idx="12747">
                  <c:v>7.1336064069370462</c:v>
                </c:pt>
                <c:pt idx="12748">
                  <c:v>6.8884272099769541</c:v>
                </c:pt>
                <c:pt idx="12749">
                  <c:v>6.9515230876181731</c:v>
                </c:pt>
                <c:pt idx="12750">
                  <c:v>6.9698944480456761</c:v>
                </c:pt>
                <c:pt idx="12751">
                  <c:v>7.0686429074129187</c:v>
                </c:pt>
                <c:pt idx="12752">
                  <c:v>7.0092899210714075</c:v>
                </c:pt>
                <c:pt idx="12753">
                  <c:v>7.2744873771048759</c:v>
                </c:pt>
                <c:pt idx="12754">
                  <c:v>6.8842889263865077</c:v>
                </c:pt>
                <c:pt idx="12755">
                  <c:v>5.8529685288440945</c:v>
                </c:pt>
                <c:pt idx="12756">
                  <c:v>6.9517086587037884</c:v>
                </c:pt>
                <c:pt idx="12757">
                  <c:v>7.0469805339227705</c:v>
                </c:pt>
                <c:pt idx="12758">
                  <c:v>7.114554895741497</c:v>
                </c:pt>
                <c:pt idx="12759">
                  <c:v>5.8752798840788447</c:v>
                </c:pt>
                <c:pt idx="12760">
                  <c:v>6.0288352178063462</c:v>
                </c:pt>
                <c:pt idx="12761">
                  <c:v>5.9992018317878841</c:v>
                </c:pt>
                <c:pt idx="12762">
                  <c:v>6.0266974342793471</c:v>
                </c:pt>
                <c:pt idx="12763">
                  <c:v>5.9108510877631417</c:v>
                </c:pt>
                <c:pt idx="12764">
                  <c:v>5.9662823117987296</c:v>
                </c:pt>
                <c:pt idx="12765">
                  <c:v>6.0915908222989721</c:v>
                </c:pt>
                <c:pt idx="12766">
                  <c:v>6.9781544671389684</c:v>
                </c:pt>
                <c:pt idx="12767">
                  <c:v>6.1798004408642448</c:v>
                </c:pt>
                <c:pt idx="12768">
                  <c:v>6.0951969260187884</c:v>
                </c:pt>
                <c:pt idx="12769">
                  <c:v>7.1103645483307236</c:v>
                </c:pt>
                <c:pt idx="12770">
                  <c:v>7.0324330885037156</c:v>
                </c:pt>
                <c:pt idx="12771">
                  <c:v>7.0302636432224537</c:v>
                </c:pt>
                <c:pt idx="12772">
                  <c:v>6.0654251960924208</c:v>
                </c:pt>
                <c:pt idx="12773">
                  <c:v>6.0363187141294112</c:v>
                </c:pt>
                <c:pt idx="12774">
                  <c:v>6.1054469097795243</c:v>
                </c:pt>
                <c:pt idx="12775">
                  <c:v>6.031885339559107</c:v>
                </c:pt>
                <c:pt idx="12776">
                  <c:v>5.881049122110805</c:v>
                </c:pt>
                <c:pt idx="12777">
                  <c:v>5.8887265747529591</c:v>
                </c:pt>
                <c:pt idx="12778">
                  <c:v>6.0476084896886757</c:v>
                </c:pt>
                <c:pt idx="12779">
                  <c:v>5.8720614776830313</c:v>
                </c:pt>
                <c:pt idx="12780">
                  <c:v>5.9093272371334447</c:v>
                </c:pt>
                <c:pt idx="12781">
                  <c:v>6.1441252723004611</c:v>
                </c:pt>
                <c:pt idx="12782">
                  <c:v>6.1099758532925206</c:v>
                </c:pt>
                <c:pt idx="12783">
                  <c:v>2.0411116702457424</c:v>
                </c:pt>
                <c:pt idx="12784">
                  <c:v>6.0500886304544634</c:v>
                </c:pt>
                <c:pt idx="12785">
                  <c:v>5.1031398678356998</c:v>
                </c:pt>
                <c:pt idx="12786">
                  <c:v>5.9119358251722085</c:v>
                </c:pt>
                <c:pt idx="12787">
                  <c:v>6.1012497036310167</c:v>
                </c:pt>
                <c:pt idx="12788">
                  <c:v>6.146766909442662</c:v>
                </c:pt>
                <c:pt idx="12789">
                  <c:v>6.0630490178036327</c:v>
                </c:pt>
                <c:pt idx="12790">
                  <c:v>4.8321730625174446</c:v>
                </c:pt>
                <c:pt idx="12791">
                  <c:v>5.9218735974627235</c:v>
                </c:pt>
                <c:pt idx="12792">
                  <c:v>6.035662566220509</c:v>
                </c:pt>
                <c:pt idx="12793">
                  <c:v>6.0701931659291288</c:v>
                </c:pt>
                <c:pt idx="12794">
                  <c:v>3.848765604355096</c:v>
                </c:pt>
                <c:pt idx="12795">
                  <c:v>5.9207605191169348</c:v>
                </c:pt>
                <c:pt idx="12796">
                  <c:v>6.0903474920863312</c:v>
                </c:pt>
                <c:pt idx="12797">
                  <c:v>6.1782833384995621</c:v>
                </c:pt>
                <c:pt idx="12798">
                  <c:v>5.0775831112698349</c:v>
                </c:pt>
                <c:pt idx="12799">
                  <c:v>5.9886771101556491</c:v>
                </c:pt>
                <c:pt idx="12800">
                  <c:v>5.916032756320317</c:v>
                </c:pt>
                <c:pt idx="12801">
                  <c:v>5.8196259924563334</c:v>
                </c:pt>
                <c:pt idx="12802">
                  <c:v>4.7336306456651451</c:v>
                </c:pt>
                <c:pt idx="12803">
                  <c:v>5.0150009191970115</c:v>
                </c:pt>
                <c:pt idx="12804">
                  <c:v>6.0037259452576155</c:v>
                </c:pt>
                <c:pt idx="12805">
                  <c:v>6.0717146864960831</c:v>
                </c:pt>
                <c:pt idx="12806">
                  <c:v>6.0640871174890272</c:v>
                </c:pt>
                <c:pt idx="12807">
                  <c:v>5.9009567681430317</c:v>
                </c:pt>
                <c:pt idx="12808">
                  <c:v>6.113474328964176</c:v>
                </c:pt>
                <c:pt idx="12809">
                  <c:v>6.059356482717166</c:v>
                </c:pt>
                <c:pt idx="12810">
                  <c:v>4.9597903788854865</c:v>
                </c:pt>
                <c:pt idx="12811">
                  <c:v>7.0542394100695045</c:v>
                </c:pt>
                <c:pt idx="12812">
                  <c:v>6.9756497565842999</c:v>
                </c:pt>
                <c:pt idx="12813">
                  <c:v>5.8943201843005522</c:v>
                </c:pt>
                <c:pt idx="12814">
                  <c:v>6.1130375196960536</c:v>
                </c:pt>
                <c:pt idx="12815">
                  <c:v>5.8301192130626962</c:v>
                </c:pt>
                <c:pt idx="12816">
                  <c:v>5.9299282410733625</c:v>
                </c:pt>
                <c:pt idx="12817">
                  <c:v>5.9794995681696186</c:v>
                </c:pt>
                <c:pt idx="12818">
                  <c:v>4.9672367098364951</c:v>
                </c:pt>
                <c:pt idx="12819">
                  <c:v>4.8402973953555462</c:v>
                </c:pt>
                <c:pt idx="12820">
                  <c:v>6.9010292665158914</c:v>
                </c:pt>
                <c:pt idx="12821">
                  <c:v>7.187252563607017</c:v>
                </c:pt>
                <c:pt idx="12822">
                  <c:v>5.1838625322080354</c:v>
                </c:pt>
                <c:pt idx="12823">
                  <c:v>6.0296363449029027</c:v>
                </c:pt>
                <c:pt idx="12824">
                  <c:v>5.8895804175791104</c:v>
                </c:pt>
                <c:pt idx="12825">
                  <c:v>5.0055953629993528</c:v>
                </c:pt>
                <c:pt idx="12826">
                  <c:v>5.8522117981517594</c:v>
                </c:pt>
                <c:pt idx="12827">
                  <c:v>5.9213297481881702</c:v>
                </c:pt>
                <c:pt idx="12828">
                  <c:v>6.0800845024673125</c:v>
                </c:pt>
                <c:pt idx="12829">
                  <c:v>6.1530754789016111</c:v>
                </c:pt>
                <c:pt idx="12830">
                  <c:v>5.046865502258763</c:v>
                </c:pt>
                <c:pt idx="12831">
                  <c:v>4.8927468318458276</c:v>
                </c:pt>
                <c:pt idx="12832">
                  <c:v>5.8841455651724832</c:v>
                </c:pt>
                <c:pt idx="12833">
                  <c:v>5.9683086855502818</c:v>
                </c:pt>
                <c:pt idx="12834">
                  <c:v>4.9225428274064198</c:v>
                </c:pt>
                <c:pt idx="12835">
                  <c:v>6.9230837221116914</c:v>
                </c:pt>
                <c:pt idx="12836">
                  <c:v>6.9118515492166424</c:v>
                </c:pt>
                <c:pt idx="12837">
                  <c:v>5.011453051649486</c:v>
                </c:pt>
                <c:pt idx="12838">
                  <c:v>7.1143028644922497</c:v>
                </c:pt>
                <c:pt idx="12839">
                  <c:v>6.9710229135618507</c:v>
                </c:pt>
                <c:pt idx="12840">
                  <c:v>4.9145861357720184</c:v>
                </c:pt>
                <c:pt idx="12841">
                  <c:v>6.9803493692950926</c:v>
                </c:pt>
                <c:pt idx="12842">
                  <c:v>6.01408302337442</c:v>
                </c:pt>
                <c:pt idx="12843">
                  <c:v>6.1322008216394108</c:v>
                </c:pt>
                <c:pt idx="12844">
                  <c:v>5.0164811130104665</c:v>
                </c:pt>
                <c:pt idx="12845">
                  <c:v>7.0918289421444243</c:v>
                </c:pt>
                <c:pt idx="12846">
                  <c:v>4.9251359714067542</c:v>
                </c:pt>
                <c:pt idx="12847">
                  <c:v>5.9532978929206184</c:v>
                </c:pt>
                <c:pt idx="12848">
                  <c:v>5.9414113048041859</c:v>
                </c:pt>
                <c:pt idx="12849">
                  <c:v>5.9484167694495724</c:v>
                </c:pt>
                <c:pt idx="12850">
                  <c:v>5.8812269870491312</c:v>
                </c:pt>
                <c:pt idx="12851">
                  <c:v>5.8974517102901443</c:v>
                </c:pt>
                <c:pt idx="12852">
                  <c:v>5.9542420186868519</c:v>
                </c:pt>
                <c:pt idx="12853">
                  <c:v>6.0903906432201191</c:v>
                </c:pt>
                <c:pt idx="12854">
                  <c:v>4.0399411286139335</c:v>
                </c:pt>
                <c:pt idx="12855">
                  <c:v>2.9281401492276387</c:v>
                </c:pt>
                <c:pt idx="12856">
                  <c:v>5.8592813485686577</c:v>
                </c:pt>
                <c:pt idx="12857">
                  <c:v>5.9005240259403093</c:v>
                </c:pt>
                <c:pt idx="12858">
                  <c:v>5.0703922372214425</c:v>
                </c:pt>
                <c:pt idx="12859">
                  <c:v>5.9943096239866165</c:v>
                </c:pt>
                <c:pt idx="12860">
                  <c:v>4.848654815405018</c:v>
                </c:pt>
                <c:pt idx="12861">
                  <c:v>6.0361903690146894</c:v>
                </c:pt>
                <c:pt idx="12862">
                  <c:v>5.0569591387576889</c:v>
                </c:pt>
                <c:pt idx="12863">
                  <c:v>4.9498250788375149</c:v>
                </c:pt>
                <c:pt idx="12864">
                  <c:v>4.9537318561505641</c:v>
                </c:pt>
                <c:pt idx="12865">
                  <c:v>5.0885224554238899</c:v>
                </c:pt>
                <c:pt idx="12866">
                  <c:v>5.0121411079236875</c:v>
                </c:pt>
                <c:pt idx="12867">
                  <c:v>6.0287986045493147</c:v>
                </c:pt>
                <c:pt idx="12868">
                  <c:v>7.0615967741493613</c:v>
                </c:pt>
                <c:pt idx="12869">
                  <c:v>4.9523468243485915</c:v>
                </c:pt>
                <c:pt idx="12870">
                  <c:v>6.202174912958017</c:v>
                </c:pt>
                <c:pt idx="12871">
                  <c:v>5.9388729886422551</c:v>
                </c:pt>
                <c:pt idx="12872">
                  <c:v>5.8772094684034402</c:v>
                </c:pt>
                <c:pt idx="12873">
                  <c:v>5.0070822397337116</c:v>
                </c:pt>
                <c:pt idx="12874">
                  <c:v>5.0220208344001946</c:v>
                </c:pt>
                <c:pt idx="12875">
                  <c:v>5.0255280873532362</c:v>
                </c:pt>
                <c:pt idx="12876">
                  <c:v>5.9230622201616203</c:v>
                </c:pt>
                <c:pt idx="12877">
                  <c:v>5.0140521183150932</c:v>
                </c:pt>
                <c:pt idx="12878">
                  <c:v>5.9078344069212783</c:v>
                </c:pt>
                <c:pt idx="12879">
                  <c:v>5.869655159500315</c:v>
                </c:pt>
                <c:pt idx="12880">
                  <c:v>6.117287688056753</c:v>
                </c:pt>
                <c:pt idx="12881">
                  <c:v>9.0449240105679909</c:v>
                </c:pt>
                <c:pt idx="12882">
                  <c:v>6.0431729281061033</c:v>
                </c:pt>
                <c:pt idx="12883">
                  <c:v>3.9935901267655614</c:v>
                </c:pt>
                <c:pt idx="12884">
                  <c:v>5.7882856494349086</c:v>
                </c:pt>
                <c:pt idx="12885">
                  <c:v>7.1275211836454071</c:v>
                </c:pt>
                <c:pt idx="12886">
                  <c:v>7.0455750898627967</c:v>
                </c:pt>
                <c:pt idx="12887">
                  <c:v>5.9125098944978145</c:v>
                </c:pt>
                <c:pt idx="12888">
                  <c:v>5.8327997293939102</c:v>
                </c:pt>
                <c:pt idx="12889">
                  <c:v>4.8362247594034518</c:v>
                </c:pt>
                <c:pt idx="12890">
                  <c:v>7.0482565947881657</c:v>
                </c:pt>
                <c:pt idx="12891">
                  <c:v>6.0185297245985732</c:v>
                </c:pt>
                <c:pt idx="12892">
                  <c:v>4.9697718256937815</c:v>
                </c:pt>
                <c:pt idx="12893">
                  <c:v>5.924633671233682</c:v>
                </c:pt>
                <c:pt idx="12894">
                  <c:v>4.9982759934781011</c:v>
                </c:pt>
                <c:pt idx="12895">
                  <c:v>6.8496627549674853</c:v>
                </c:pt>
                <c:pt idx="12896">
                  <c:v>6.020840344412818</c:v>
                </c:pt>
                <c:pt idx="12897">
                  <c:v>6.0048891489217668</c:v>
                </c:pt>
                <c:pt idx="12898">
                  <c:v>5.8656442944021183</c:v>
                </c:pt>
                <c:pt idx="12899">
                  <c:v>6.169584686257358</c:v>
                </c:pt>
                <c:pt idx="12900">
                  <c:v>6.9834741262756133</c:v>
                </c:pt>
                <c:pt idx="12901">
                  <c:v>5.8570814867493066</c:v>
                </c:pt>
                <c:pt idx="12902">
                  <c:v>7.1567651859778261</c:v>
                </c:pt>
                <c:pt idx="12903">
                  <c:v>5.8355165490004328</c:v>
                </c:pt>
                <c:pt idx="12904">
                  <c:v>5.0584735644717336</c:v>
                </c:pt>
                <c:pt idx="12905">
                  <c:v>5.9972088128806931</c:v>
                </c:pt>
                <c:pt idx="12906">
                  <c:v>5.9737813719367576</c:v>
                </c:pt>
                <c:pt idx="12907">
                  <c:v>6.07639760007046</c:v>
                </c:pt>
                <c:pt idx="12908">
                  <c:v>6.024970998391491</c:v>
                </c:pt>
                <c:pt idx="12909">
                  <c:v>6.0519281752899268</c:v>
                </c:pt>
                <c:pt idx="12910">
                  <c:v>9.1281917455379293</c:v>
                </c:pt>
                <c:pt idx="12911">
                  <c:v>5.9099024977769039</c:v>
                </c:pt>
                <c:pt idx="12912">
                  <c:v>5.9806966056732351</c:v>
                </c:pt>
                <c:pt idx="12913">
                  <c:v>6.953299529223214</c:v>
                </c:pt>
                <c:pt idx="12914">
                  <c:v>4.9014291046749792</c:v>
                </c:pt>
                <c:pt idx="12915">
                  <c:v>6.9193499529556002</c:v>
                </c:pt>
                <c:pt idx="12916">
                  <c:v>3.906069628371001</c:v>
                </c:pt>
                <c:pt idx="12917">
                  <c:v>6.0784591530381773</c:v>
                </c:pt>
                <c:pt idx="12918">
                  <c:v>6.0837880070051771</c:v>
                </c:pt>
                <c:pt idx="12919">
                  <c:v>4.1652740031689621</c:v>
                </c:pt>
                <c:pt idx="12920">
                  <c:v>5.9541304270465556</c:v>
                </c:pt>
                <c:pt idx="12921">
                  <c:v>6.9595987621587616</c:v>
                </c:pt>
                <c:pt idx="12922">
                  <c:v>5.9890735066229954</c:v>
                </c:pt>
                <c:pt idx="12923">
                  <c:v>6.048981761237842</c:v>
                </c:pt>
                <c:pt idx="12924">
                  <c:v>6.1607698157626123</c:v>
                </c:pt>
                <c:pt idx="12925">
                  <c:v>6.9399283065298212</c:v>
                </c:pt>
                <c:pt idx="12926">
                  <c:v>7.0185448643518589</c:v>
                </c:pt>
                <c:pt idx="12927">
                  <c:v>6.0300636961778862</c:v>
                </c:pt>
                <c:pt idx="12928">
                  <c:v>7.8899505866676813</c:v>
                </c:pt>
                <c:pt idx="12929">
                  <c:v>4.2873586785438365</c:v>
                </c:pt>
                <c:pt idx="12930">
                  <c:v>4.065252983590228</c:v>
                </c:pt>
                <c:pt idx="12931">
                  <c:v>3.9368257098590198</c:v>
                </c:pt>
                <c:pt idx="12932">
                  <c:v>6.1627363326608551</c:v>
                </c:pt>
                <c:pt idx="12933">
                  <c:v>3.9721912786418181</c:v>
                </c:pt>
                <c:pt idx="12934">
                  <c:v>6.9655497501138912</c:v>
                </c:pt>
                <c:pt idx="12935">
                  <c:v>7.0754733171881528</c:v>
                </c:pt>
                <c:pt idx="12936">
                  <c:v>6.9442828129696146</c:v>
                </c:pt>
                <c:pt idx="12937">
                  <c:v>4.1307914303332467</c:v>
                </c:pt>
                <c:pt idx="12938">
                  <c:v>3.8769352766369987</c:v>
                </c:pt>
                <c:pt idx="12939">
                  <c:v>5.9160122312229797</c:v>
                </c:pt>
                <c:pt idx="12940">
                  <c:v>5.9684764299769837</c:v>
                </c:pt>
                <c:pt idx="12941">
                  <c:v>6.2418958711224874</c:v>
                </c:pt>
                <c:pt idx="12942">
                  <c:v>7.0363719865584304</c:v>
                </c:pt>
                <c:pt idx="12943">
                  <c:v>4.8728133585746898</c:v>
                </c:pt>
                <c:pt idx="12944">
                  <c:v>5.9983861347653802</c:v>
                </c:pt>
                <c:pt idx="12945">
                  <c:v>6.8327938134362585</c:v>
                </c:pt>
                <c:pt idx="12946">
                  <c:v>2.0604309912966232</c:v>
                </c:pt>
                <c:pt idx="12947">
                  <c:v>5.9846071204397076</c:v>
                </c:pt>
                <c:pt idx="12948">
                  <c:v>4.871791124196009</c:v>
                </c:pt>
                <c:pt idx="12949">
                  <c:v>7.0529706404731876</c:v>
                </c:pt>
                <c:pt idx="12950">
                  <c:v>4.9575750999648243</c:v>
                </c:pt>
                <c:pt idx="12951">
                  <c:v>6.8713571806149067</c:v>
                </c:pt>
                <c:pt idx="12952">
                  <c:v>4.9039528379740984</c:v>
                </c:pt>
                <c:pt idx="12953">
                  <c:v>5.9690903463969223</c:v>
                </c:pt>
                <c:pt idx="12954">
                  <c:v>6.0168537813891332</c:v>
                </c:pt>
                <c:pt idx="12955">
                  <c:v>5.155317282117899</c:v>
                </c:pt>
                <c:pt idx="12956">
                  <c:v>4.9674628114884403</c:v>
                </c:pt>
                <c:pt idx="12957">
                  <c:v>5.938870155672606</c:v>
                </c:pt>
                <c:pt idx="12958">
                  <c:v>6.112416801626793</c:v>
                </c:pt>
                <c:pt idx="12959">
                  <c:v>4.932060235210753</c:v>
                </c:pt>
                <c:pt idx="12960">
                  <c:v>5.9749051794587</c:v>
                </c:pt>
                <c:pt idx="12961">
                  <c:v>5.1197759576353947</c:v>
                </c:pt>
                <c:pt idx="12962">
                  <c:v>6.0848947055077138</c:v>
                </c:pt>
                <c:pt idx="12963">
                  <c:v>7.1480641456314853</c:v>
                </c:pt>
                <c:pt idx="12964">
                  <c:v>5.0084232931765706</c:v>
                </c:pt>
                <c:pt idx="12965">
                  <c:v>5.9531802356159442</c:v>
                </c:pt>
                <c:pt idx="12966">
                  <c:v>4.9026826210676244</c:v>
                </c:pt>
                <c:pt idx="12967">
                  <c:v>4.8775003674406792</c:v>
                </c:pt>
                <c:pt idx="12968">
                  <c:v>4.8914703400706658</c:v>
                </c:pt>
                <c:pt idx="12969">
                  <c:v>5.8352450960807056</c:v>
                </c:pt>
                <c:pt idx="12970">
                  <c:v>4.8569313905935472</c:v>
                </c:pt>
                <c:pt idx="12971">
                  <c:v>6.8667943129736058</c:v>
                </c:pt>
                <c:pt idx="12972">
                  <c:v>5.7745955707604768</c:v>
                </c:pt>
                <c:pt idx="12973">
                  <c:v>6.1451751837600934</c:v>
                </c:pt>
                <c:pt idx="12974">
                  <c:v>4.9098740438195341</c:v>
                </c:pt>
                <c:pt idx="12975">
                  <c:v>3.0422621697778602</c:v>
                </c:pt>
                <c:pt idx="12976">
                  <c:v>6.035026644441893</c:v>
                </c:pt>
                <c:pt idx="12977">
                  <c:v>6.2475244359270503</c:v>
                </c:pt>
                <c:pt idx="12978">
                  <c:v>3.9391700489101233</c:v>
                </c:pt>
                <c:pt idx="12979">
                  <c:v>5.9169982514809227</c:v>
                </c:pt>
                <c:pt idx="12980">
                  <c:v>5.0041016928918722</c:v>
                </c:pt>
                <c:pt idx="12981">
                  <c:v>6.0887817035994996</c:v>
                </c:pt>
                <c:pt idx="12982">
                  <c:v>4.0656279740641192</c:v>
                </c:pt>
                <c:pt idx="12983">
                  <c:v>6.0434743878365538</c:v>
                </c:pt>
                <c:pt idx="12984">
                  <c:v>3.9141584293681775</c:v>
                </c:pt>
                <c:pt idx="12985">
                  <c:v>6.0913195486303371</c:v>
                </c:pt>
                <c:pt idx="12986">
                  <c:v>5.0464105285868373</c:v>
                </c:pt>
                <c:pt idx="12987">
                  <c:v>4.8756253165323171</c:v>
                </c:pt>
                <c:pt idx="12988">
                  <c:v>5.0111739994273305</c:v>
                </c:pt>
                <c:pt idx="12989">
                  <c:v>4.9883825313343229</c:v>
                </c:pt>
                <c:pt idx="12990">
                  <c:v>4.9849135260101347</c:v>
                </c:pt>
                <c:pt idx="12991">
                  <c:v>5.904504475267963</c:v>
                </c:pt>
                <c:pt idx="12992">
                  <c:v>4.817727909677445</c:v>
                </c:pt>
                <c:pt idx="12993">
                  <c:v>4.0694466899976449</c:v>
                </c:pt>
                <c:pt idx="12994">
                  <c:v>5.2487266069455547</c:v>
                </c:pt>
                <c:pt idx="12995">
                  <c:v>5.9067674445390042</c:v>
                </c:pt>
                <c:pt idx="12996">
                  <c:v>5.8797901067857365</c:v>
                </c:pt>
                <c:pt idx="12997">
                  <c:v>6.9235097227302438</c:v>
                </c:pt>
                <c:pt idx="12998">
                  <c:v>6.9563374959010575</c:v>
                </c:pt>
                <c:pt idx="12999">
                  <c:v>3.1337168436135756</c:v>
                </c:pt>
                <c:pt idx="13000">
                  <c:v>4.2744983259940392</c:v>
                </c:pt>
                <c:pt idx="13001">
                  <c:v>6.9613608845628612</c:v>
                </c:pt>
                <c:pt idx="13002">
                  <c:v>3.9727720120926984</c:v>
                </c:pt>
                <c:pt idx="13003">
                  <c:v>2.9999366087733077</c:v>
                </c:pt>
                <c:pt idx="13004">
                  <c:v>6.1616665215075042</c:v>
                </c:pt>
                <c:pt idx="13005">
                  <c:v>5.0133699362281199</c:v>
                </c:pt>
                <c:pt idx="13006">
                  <c:v>6.0060055172056135</c:v>
                </c:pt>
                <c:pt idx="13007">
                  <c:v>5.9110886086289449</c:v>
                </c:pt>
                <c:pt idx="13008">
                  <c:v>7.1240769936327784</c:v>
                </c:pt>
                <c:pt idx="13009">
                  <c:v>7.0338911636757953</c:v>
                </c:pt>
                <c:pt idx="13010">
                  <c:v>5.9151217530753843</c:v>
                </c:pt>
                <c:pt idx="13011">
                  <c:v>6.9114050632545467</c:v>
                </c:pt>
                <c:pt idx="13012">
                  <c:v>5.0776697392168568</c:v>
                </c:pt>
                <c:pt idx="13013">
                  <c:v>5.954949220048487</c:v>
                </c:pt>
                <c:pt idx="13014">
                  <c:v>5.8838756240795638</c:v>
                </c:pt>
                <c:pt idx="13015">
                  <c:v>5.0233410703068042</c:v>
                </c:pt>
                <c:pt idx="13016">
                  <c:v>7.9305516023115121</c:v>
                </c:pt>
                <c:pt idx="13017">
                  <c:v>5.0346771964621535</c:v>
                </c:pt>
                <c:pt idx="13018">
                  <c:v>6.1397204856747392</c:v>
                </c:pt>
                <c:pt idx="13019">
                  <c:v>7.1035798748719383</c:v>
                </c:pt>
                <c:pt idx="13020">
                  <c:v>5.9987052763483595</c:v>
                </c:pt>
                <c:pt idx="13021">
                  <c:v>7.0356393132613197</c:v>
                </c:pt>
                <c:pt idx="13022">
                  <c:v>2.9877402415856777</c:v>
                </c:pt>
                <c:pt idx="13023">
                  <c:v>2.9927817229751934</c:v>
                </c:pt>
                <c:pt idx="13024">
                  <c:v>6.0678893115153612</c:v>
                </c:pt>
                <c:pt idx="13025">
                  <c:v>3.0311397522508257</c:v>
                </c:pt>
                <c:pt idx="13026">
                  <c:v>5.0526035713069763</c:v>
                </c:pt>
                <c:pt idx="13027">
                  <c:v>5.0592100019276334</c:v>
                </c:pt>
                <c:pt idx="13028">
                  <c:v>6.0521412545019437</c:v>
                </c:pt>
                <c:pt idx="13029">
                  <c:v>7.0359304813654333</c:v>
                </c:pt>
                <c:pt idx="13030">
                  <c:v>4.8637341774992606</c:v>
                </c:pt>
                <c:pt idx="13031">
                  <c:v>7.0173994333300627</c:v>
                </c:pt>
                <c:pt idx="13032">
                  <c:v>3.0058190361483166</c:v>
                </c:pt>
                <c:pt idx="13033">
                  <c:v>4.9257655810675098</c:v>
                </c:pt>
                <c:pt idx="13034">
                  <c:v>6.0427861907019995</c:v>
                </c:pt>
                <c:pt idx="13035">
                  <c:v>6.9478215303365358</c:v>
                </c:pt>
                <c:pt idx="13036">
                  <c:v>5.1848036842148844</c:v>
                </c:pt>
                <c:pt idx="13037">
                  <c:v>2.0297000293494101</c:v>
                </c:pt>
                <c:pt idx="13038">
                  <c:v>4.9698589347474158</c:v>
                </c:pt>
                <c:pt idx="13039">
                  <c:v>6.0272936135539048</c:v>
                </c:pt>
                <c:pt idx="13040">
                  <c:v>8.02833359353113</c:v>
                </c:pt>
                <c:pt idx="13041">
                  <c:v>8.0289330266707637</c:v>
                </c:pt>
                <c:pt idx="13042">
                  <c:v>8.096038379773308</c:v>
                </c:pt>
                <c:pt idx="13043">
                  <c:v>8.0226374381105572</c:v>
                </c:pt>
                <c:pt idx="13044">
                  <c:v>7.9791864977780858</c:v>
                </c:pt>
                <c:pt idx="13045">
                  <c:v>5.9720061969252702</c:v>
                </c:pt>
                <c:pt idx="13046">
                  <c:v>6.0786666265607812</c:v>
                </c:pt>
                <c:pt idx="13047">
                  <c:v>5.9519201935610866</c:v>
                </c:pt>
                <c:pt idx="13048">
                  <c:v>5.9159762710620978</c:v>
                </c:pt>
                <c:pt idx="13049">
                  <c:v>7.115247403510315</c:v>
                </c:pt>
                <c:pt idx="13050">
                  <c:v>6.8952952268375061</c:v>
                </c:pt>
                <c:pt idx="13051">
                  <c:v>7.0222937623964867</c:v>
                </c:pt>
                <c:pt idx="13052">
                  <c:v>6.1639082769587787</c:v>
                </c:pt>
                <c:pt idx="13053">
                  <c:v>6.8913050406479277</c:v>
                </c:pt>
                <c:pt idx="13054">
                  <c:v>7.02197325591123</c:v>
                </c:pt>
                <c:pt idx="13055">
                  <c:v>3.9967825833492965</c:v>
                </c:pt>
                <c:pt idx="13056">
                  <c:v>5.0175739963299746</c:v>
                </c:pt>
                <c:pt idx="13057">
                  <c:v>3.8771865793336775</c:v>
                </c:pt>
                <c:pt idx="13058">
                  <c:v>5.9559768048808763</c:v>
                </c:pt>
                <c:pt idx="13059">
                  <c:v>5.9036136368231276</c:v>
                </c:pt>
                <c:pt idx="13060">
                  <c:v>7.0531412311597075</c:v>
                </c:pt>
                <c:pt idx="13061">
                  <c:v>6.8906431080914992</c:v>
                </c:pt>
                <c:pt idx="13062">
                  <c:v>5.9738345966711464</c:v>
                </c:pt>
                <c:pt idx="13063">
                  <c:v>4.9417148419643429</c:v>
                </c:pt>
                <c:pt idx="13064">
                  <c:v>7.077049533041758</c:v>
                </c:pt>
                <c:pt idx="13065">
                  <c:v>3.9639264590526837</c:v>
                </c:pt>
                <c:pt idx="13066">
                  <c:v>6.9211564355071209</c:v>
                </c:pt>
                <c:pt idx="13067">
                  <c:v>4.9732353419603044</c:v>
                </c:pt>
                <c:pt idx="13068">
                  <c:v>5.0025083250848965</c:v>
                </c:pt>
                <c:pt idx="13069">
                  <c:v>7.0969143951824121</c:v>
                </c:pt>
                <c:pt idx="13070">
                  <c:v>4.8692088612812876</c:v>
                </c:pt>
                <c:pt idx="13071">
                  <c:v>5.1043530288091565</c:v>
                </c:pt>
                <c:pt idx="13072">
                  <c:v>5.0276593994277974</c:v>
                </c:pt>
                <c:pt idx="13073">
                  <c:v>6.9371997964985752</c:v>
                </c:pt>
                <c:pt idx="13074">
                  <c:v>4.9676769299709163</c:v>
                </c:pt>
                <c:pt idx="13075">
                  <c:v>7.0383912737638612</c:v>
                </c:pt>
                <c:pt idx="13076">
                  <c:v>7.0059404557840601</c:v>
                </c:pt>
                <c:pt idx="13077">
                  <c:v>3.9667851694152656</c:v>
                </c:pt>
                <c:pt idx="13078">
                  <c:v>7.9598965873155487</c:v>
                </c:pt>
                <c:pt idx="13079">
                  <c:v>6.9151993678374861</c:v>
                </c:pt>
                <c:pt idx="13080">
                  <c:v>4.0978510674826119</c:v>
                </c:pt>
              </c:numCache>
            </c:numRef>
          </c:yVal>
          <c:smooth val="0"/>
          <c:extLst>
            <c:ext xmlns:c16="http://schemas.microsoft.com/office/drawing/2014/chart" uri="{C3380CC4-5D6E-409C-BE32-E72D297353CC}">
              <c16:uniqueId val="{00000003-CB98-46CC-B7E4-0466270B0873}"/>
            </c:ext>
          </c:extLst>
        </c:ser>
        <c:ser>
          <c:idx val="5"/>
          <c:order val="4"/>
          <c:tx>
            <c:v>Solar</c:v>
          </c:tx>
          <c:spPr>
            <a:ln w="25400" cap="rnd">
              <a:noFill/>
              <a:round/>
            </a:ln>
            <a:effectLst/>
          </c:spPr>
          <c:marker>
            <c:symbol val="square"/>
            <c:size val="5"/>
            <c:spPr>
              <a:solidFill>
                <a:srgbClr val="FBC23C">
                  <a:alpha val="25000"/>
                </a:srgbClr>
              </a:solidFill>
              <a:ln w="12700">
                <a:solidFill>
                  <a:srgbClr val="FBC23C"/>
                </a:solidFill>
              </a:ln>
              <a:effectLst/>
            </c:spPr>
          </c:marker>
          <c:xVal>
            <c:numRef>
              <c:f>'power_generator-2024-09-23T (2)'!$Z$2:$Z$13082</c:f>
              <c:numCache>
                <c:formatCode>0.00</c:formatCode>
                <c:ptCount val="13081"/>
                <c:pt idx="0">
                  <c:v>#N/A</c:v>
                </c:pt>
                <c:pt idx="1">
                  <c:v>0.12054794520547946</c:v>
                </c:pt>
                <c:pt idx="2">
                  <c:v>0.12054794520547946</c:v>
                </c:pt>
                <c:pt idx="3">
                  <c:v>0.12054794520547946</c:v>
                </c:pt>
                <c:pt idx="4">
                  <c:v>0.12054794520547946</c:v>
                </c:pt>
                <c:pt idx="5">
                  <c:v>#N/A</c:v>
                </c:pt>
                <c:pt idx="6">
                  <c:v>#N/A</c:v>
                </c:pt>
                <c:pt idx="7">
                  <c:v>#N/A</c:v>
                </c:pt>
                <c:pt idx="8">
                  <c:v>#N/A</c:v>
                </c:pt>
                <c:pt idx="9">
                  <c:v>#N/A</c:v>
                </c:pt>
                <c:pt idx="10">
                  <c:v>#N/A</c:v>
                </c:pt>
                <c:pt idx="11">
                  <c:v>#N/A</c:v>
                </c:pt>
                <c:pt idx="12">
                  <c:v>#N/A</c:v>
                </c:pt>
                <c:pt idx="13">
                  <c:v>#N/A</c:v>
                </c:pt>
                <c:pt idx="14">
                  <c:v>#N/A</c:v>
                </c:pt>
                <c:pt idx="15">
                  <c:v>#N/A</c:v>
                </c:pt>
                <c:pt idx="16">
                  <c:v>#N/A</c:v>
                </c:pt>
                <c:pt idx="17">
                  <c:v>0.17534246575342466</c:v>
                </c:pt>
                <c:pt idx="18">
                  <c:v>#N/A</c:v>
                </c:pt>
                <c:pt idx="19">
                  <c:v>#N/A</c:v>
                </c:pt>
                <c:pt idx="20">
                  <c:v>#N/A</c:v>
                </c:pt>
                <c:pt idx="21">
                  <c:v>#N/A</c:v>
                </c:pt>
                <c:pt idx="22">
                  <c:v>#N/A</c:v>
                </c:pt>
                <c:pt idx="23">
                  <c:v>0.17534246575342466</c:v>
                </c:pt>
                <c:pt idx="24">
                  <c:v>0.17534246575342466</c:v>
                </c:pt>
                <c:pt idx="25">
                  <c:v>#N/A</c:v>
                </c:pt>
                <c:pt idx="26">
                  <c:v>0.17808219178082191</c:v>
                </c:pt>
                <c:pt idx="27">
                  <c:v>#N/A</c:v>
                </c:pt>
                <c:pt idx="28">
                  <c:v>#N/A</c:v>
                </c:pt>
                <c:pt idx="29">
                  <c:v>#N/A</c:v>
                </c:pt>
                <c:pt idx="30">
                  <c:v>#N/A</c:v>
                </c:pt>
                <c:pt idx="31">
                  <c:v>#N/A</c:v>
                </c:pt>
                <c:pt idx="32">
                  <c:v>#N/A</c:v>
                </c:pt>
                <c:pt idx="33">
                  <c:v>#N/A</c:v>
                </c:pt>
                <c:pt idx="34">
                  <c:v>0.19726027397260273</c:v>
                </c:pt>
                <c:pt idx="35">
                  <c:v>0.19726027397260273</c:v>
                </c:pt>
                <c:pt idx="36">
                  <c:v>#N/A</c:v>
                </c:pt>
                <c:pt idx="37">
                  <c:v>#N/A</c:v>
                </c:pt>
                <c:pt idx="38">
                  <c:v>0.19726027397260273</c:v>
                </c:pt>
                <c:pt idx="39">
                  <c:v>#N/A</c:v>
                </c:pt>
                <c:pt idx="40">
                  <c:v>#N/A</c:v>
                </c:pt>
                <c:pt idx="41">
                  <c:v>#N/A</c:v>
                </c:pt>
                <c:pt idx="42">
                  <c:v>#N/A</c:v>
                </c:pt>
                <c:pt idx="43">
                  <c:v>0.19726027397260273</c:v>
                </c:pt>
                <c:pt idx="44">
                  <c:v>#N/A</c:v>
                </c:pt>
                <c:pt idx="45">
                  <c:v>#N/A</c:v>
                </c:pt>
                <c:pt idx="46">
                  <c:v>0.19726027397260273</c:v>
                </c:pt>
                <c:pt idx="47">
                  <c:v>#N/A</c:v>
                </c:pt>
                <c:pt idx="48">
                  <c:v>#N/A</c:v>
                </c:pt>
                <c:pt idx="49">
                  <c:v>0.23561643835616439</c:v>
                </c:pt>
                <c:pt idx="50">
                  <c:v>0.24931506849315069</c:v>
                </c:pt>
                <c:pt idx="51">
                  <c:v>#N/A</c:v>
                </c:pt>
                <c:pt idx="52">
                  <c:v>0.25479452054794521</c:v>
                </c:pt>
                <c:pt idx="53">
                  <c:v>#N/A</c:v>
                </c:pt>
                <c:pt idx="54">
                  <c:v>#N/A</c:v>
                </c:pt>
                <c:pt idx="55">
                  <c:v>#N/A</c:v>
                </c:pt>
                <c:pt idx="56">
                  <c:v>0.25479452054794521</c:v>
                </c:pt>
                <c:pt idx="57">
                  <c:v>0.25479452054794521</c:v>
                </c:pt>
                <c:pt idx="58">
                  <c:v>#N/A</c:v>
                </c:pt>
                <c:pt idx="59">
                  <c:v>#N/A</c:v>
                </c:pt>
                <c:pt idx="60">
                  <c:v>#N/A</c:v>
                </c:pt>
                <c:pt idx="61">
                  <c:v>#N/A</c:v>
                </c:pt>
                <c:pt idx="62">
                  <c:v>0.25479452054794521</c:v>
                </c:pt>
                <c:pt idx="63">
                  <c:v>#N/A</c:v>
                </c:pt>
                <c:pt idx="64">
                  <c:v>#N/A</c:v>
                </c:pt>
                <c:pt idx="65">
                  <c:v>0.26575342465753427</c:v>
                </c:pt>
                <c:pt idx="66">
                  <c:v>#N/A</c:v>
                </c:pt>
                <c:pt idx="67">
                  <c:v>#N/A</c:v>
                </c:pt>
                <c:pt idx="68">
                  <c:v>#N/A</c:v>
                </c:pt>
                <c:pt idx="69">
                  <c:v>0.30136986301369861</c:v>
                </c:pt>
                <c:pt idx="70">
                  <c:v>0.30136986301369861</c:v>
                </c:pt>
                <c:pt idx="71">
                  <c:v>0.30136986301369861</c:v>
                </c:pt>
                <c:pt idx="72">
                  <c:v>0.30136986301369861</c:v>
                </c:pt>
                <c:pt idx="73">
                  <c:v>0.30136986301369861</c:v>
                </c:pt>
                <c:pt idx="74">
                  <c:v>0.30136986301369861</c:v>
                </c:pt>
                <c:pt idx="75">
                  <c:v>0.30136986301369861</c:v>
                </c:pt>
                <c:pt idx="76">
                  <c:v>#N/A</c:v>
                </c:pt>
                <c:pt idx="77">
                  <c:v>0.30136986301369861</c:v>
                </c:pt>
                <c:pt idx="78">
                  <c:v>#N/A</c:v>
                </c:pt>
                <c:pt idx="79">
                  <c:v>#N/A</c:v>
                </c:pt>
                <c:pt idx="80">
                  <c:v>#N/A</c:v>
                </c:pt>
                <c:pt idx="81">
                  <c:v>0.30136986301369861</c:v>
                </c:pt>
                <c:pt idx="82">
                  <c:v>#N/A</c:v>
                </c:pt>
                <c:pt idx="83">
                  <c:v>#N/A</c:v>
                </c:pt>
                <c:pt idx="84">
                  <c:v>#N/A</c:v>
                </c:pt>
                <c:pt idx="85">
                  <c:v>#N/A</c:v>
                </c:pt>
                <c:pt idx="86">
                  <c:v>0.30136986301369861</c:v>
                </c:pt>
                <c:pt idx="87">
                  <c:v>0.30136986301369861</c:v>
                </c:pt>
                <c:pt idx="88">
                  <c:v>#N/A</c:v>
                </c:pt>
                <c:pt idx="89">
                  <c:v>0.30136986301369861</c:v>
                </c:pt>
                <c:pt idx="90">
                  <c:v>#N/A</c:v>
                </c:pt>
                <c:pt idx="91">
                  <c:v>0.30136986301369861</c:v>
                </c:pt>
                <c:pt idx="92">
                  <c:v>0.30136986301369861</c:v>
                </c:pt>
                <c:pt idx="93">
                  <c:v>#N/A</c:v>
                </c:pt>
                <c:pt idx="94">
                  <c:v>0.30136986301369861</c:v>
                </c:pt>
                <c:pt idx="95">
                  <c:v>0.30136986301369861</c:v>
                </c:pt>
                <c:pt idx="96">
                  <c:v>#N/A</c:v>
                </c:pt>
                <c:pt idx="97">
                  <c:v>#N/A</c:v>
                </c:pt>
                <c:pt idx="98">
                  <c:v>0.30410958904109592</c:v>
                </c:pt>
                <c:pt idx="99">
                  <c:v>0.30410958904109592</c:v>
                </c:pt>
                <c:pt idx="100">
                  <c:v>0.30410958904109592</c:v>
                </c:pt>
                <c:pt idx="101">
                  <c:v>0.30410958904109592</c:v>
                </c:pt>
                <c:pt idx="102">
                  <c:v>0.30410958904109592</c:v>
                </c:pt>
                <c:pt idx="103">
                  <c:v>#N/A</c:v>
                </c:pt>
                <c:pt idx="104">
                  <c:v>0.30410958904109592</c:v>
                </c:pt>
                <c:pt idx="105">
                  <c:v>0.30410958904109592</c:v>
                </c:pt>
                <c:pt idx="106">
                  <c:v>#N/A</c:v>
                </c:pt>
                <c:pt idx="107">
                  <c:v>#N/A</c:v>
                </c:pt>
                <c:pt idx="108">
                  <c:v>#N/A</c:v>
                </c:pt>
                <c:pt idx="109">
                  <c:v>#N/A</c:v>
                </c:pt>
                <c:pt idx="110">
                  <c:v>#N/A</c:v>
                </c:pt>
                <c:pt idx="111">
                  <c:v>#N/A</c:v>
                </c:pt>
                <c:pt idx="112">
                  <c:v>0.30684931506849317</c:v>
                </c:pt>
                <c:pt idx="113">
                  <c:v>#N/A</c:v>
                </c:pt>
                <c:pt idx="114">
                  <c:v>#N/A</c:v>
                </c:pt>
                <c:pt idx="115">
                  <c:v>#N/A</c:v>
                </c:pt>
                <c:pt idx="116">
                  <c:v>#N/A</c:v>
                </c:pt>
                <c:pt idx="117">
                  <c:v>0.32054794520547947</c:v>
                </c:pt>
                <c:pt idx="118">
                  <c:v>#N/A</c:v>
                </c:pt>
                <c:pt idx="119">
                  <c:v>#N/A</c:v>
                </c:pt>
                <c:pt idx="120">
                  <c:v>0.32054794520547947</c:v>
                </c:pt>
                <c:pt idx="121">
                  <c:v>#N/A</c:v>
                </c:pt>
                <c:pt idx="122">
                  <c:v>#N/A</c:v>
                </c:pt>
                <c:pt idx="123">
                  <c:v>0.32328767123287672</c:v>
                </c:pt>
                <c:pt idx="124">
                  <c:v>#N/A</c:v>
                </c:pt>
                <c:pt idx="125">
                  <c:v>#N/A</c:v>
                </c:pt>
                <c:pt idx="126">
                  <c:v>#N/A</c:v>
                </c:pt>
                <c:pt idx="127">
                  <c:v>#N/A</c:v>
                </c:pt>
                <c:pt idx="128">
                  <c:v>#N/A</c:v>
                </c:pt>
                <c:pt idx="129">
                  <c:v>#N/A</c:v>
                </c:pt>
                <c:pt idx="130">
                  <c:v>0.32328767123287672</c:v>
                </c:pt>
                <c:pt idx="131">
                  <c:v>#N/A</c:v>
                </c:pt>
                <c:pt idx="132">
                  <c:v>#N/A</c:v>
                </c:pt>
                <c:pt idx="133">
                  <c:v>#N/A</c:v>
                </c:pt>
                <c:pt idx="134">
                  <c:v>#N/A</c:v>
                </c:pt>
                <c:pt idx="135">
                  <c:v>#N/A</c:v>
                </c:pt>
                <c:pt idx="136">
                  <c:v>#N/A</c:v>
                </c:pt>
                <c:pt idx="137">
                  <c:v>#N/A</c:v>
                </c:pt>
                <c:pt idx="138">
                  <c:v>0.33150684931506852</c:v>
                </c:pt>
                <c:pt idx="139">
                  <c:v>0.33150684931506852</c:v>
                </c:pt>
                <c:pt idx="140">
                  <c:v>#N/A</c:v>
                </c:pt>
                <c:pt idx="141">
                  <c:v>0.33150684931506852</c:v>
                </c:pt>
                <c:pt idx="142">
                  <c:v>0.33150684931506852</c:v>
                </c:pt>
                <c:pt idx="143">
                  <c:v>#N/A</c:v>
                </c:pt>
                <c:pt idx="144">
                  <c:v>0.33150684931506852</c:v>
                </c:pt>
                <c:pt idx="145">
                  <c:v>#N/A</c:v>
                </c:pt>
                <c:pt idx="146">
                  <c:v>#N/A</c:v>
                </c:pt>
                <c:pt idx="147">
                  <c:v>0.33150684931506852</c:v>
                </c:pt>
                <c:pt idx="148">
                  <c:v>#N/A</c:v>
                </c:pt>
                <c:pt idx="149">
                  <c:v>#N/A</c:v>
                </c:pt>
                <c:pt idx="150">
                  <c:v>0.33972602739726027</c:v>
                </c:pt>
                <c:pt idx="151">
                  <c:v>#N/A</c:v>
                </c:pt>
                <c:pt idx="152">
                  <c:v>#N/A</c:v>
                </c:pt>
                <c:pt idx="153">
                  <c:v>0.33972602739726027</c:v>
                </c:pt>
                <c:pt idx="154">
                  <c:v>0.33972602739726027</c:v>
                </c:pt>
                <c:pt idx="155">
                  <c:v>0.33972602739726027</c:v>
                </c:pt>
                <c:pt idx="156">
                  <c:v>#N/A</c:v>
                </c:pt>
                <c:pt idx="157">
                  <c:v>#N/A</c:v>
                </c:pt>
                <c:pt idx="158">
                  <c:v>#N/A</c:v>
                </c:pt>
                <c:pt idx="159">
                  <c:v>#N/A</c:v>
                </c:pt>
                <c:pt idx="160">
                  <c:v>#N/A</c:v>
                </c:pt>
                <c:pt idx="161">
                  <c:v>#N/A</c:v>
                </c:pt>
                <c:pt idx="162">
                  <c:v>#N/A</c:v>
                </c:pt>
                <c:pt idx="163">
                  <c:v>#N/A</c:v>
                </c:pt>
                <c:pt idx="164">
                  <c:v>0.34246575342465752</c:v>
                </c:pt>
                <c:pt idx="165">
                  <c:v>#N/A</c:v>
                </c:pt>
                <c:pt idx="166">
                  <c:v>0.34520547945205482</c:v>
                </c:pt>
                <c:pt idx="167">
                  <c:v>#N/A</c:v>
                </c:pt>
                <c:pt idx="168">
                  <c:v>0.34520547945205482</c:v>
                </c:pt>
                <c:pt idx="169">
                  <c:v>#N/A</c:v>
                </c:pt>
                <c:pt idx="170">
                  <c:v>0.34520547945205482</c:v>
                </c:pt>
                <c:pt idx="171">
                  <c:v>#N/A</c:v>
                </c:pt>
                <c:pt idx="172">
                  <c:v>#N/A</c:v>
                </c:pt>
                <c:pt idx="173">
                  <c:v>0.34520547945205482</c:v>
                </c:pt>
                <c:pt idx="174">
                  <c:v>0.34520547945205482</c:v>
                </c:pt>
                <c:pt idx="175">
                  <c:v>#N/A</c:v>
                </c:pt>
                <c:pt idx="176">
                  <c:v>#N/A</c:v>
                </c:pt>
                <c:pt idx="177">
                  <c:v>#N/A</c:v>
                </c:pt>
                <c:pt idx="178">
                  <c:v>#N/A</c:v>
                </c:pt>
                <c:pt idx="179">
                  <c:v>#N/A</c:v>
                </c:pt>
                <c:pt idx="180">
                  <c:v>0.34520547945205482</c:v>
                </c:pt>
                <c:pt idx="181">
                  <c:v>#N/A</c:v>
                </c:pt>
                <c:pt idx="182">
                  <c:v>#N/A</c:v>
                </c:pt>
                <c:pt idx="183">
                  <c:v>#N/A</c:v>
                </c:pt>
                <c:pt idx="184">
                  <c:v>0.34520547945205482</c:v>
                </c:pt>
                <c:pt idx="185">
                  <c:v>#N/A</c:v>
                </c:pt>
                <c:pt idx="186">
                  <c:v>#N/A</c:v>
                </c:pt>
                <c:pt idx="187">
                  <c:v>0.34520547945205482</c:v>
                </c:pt>
                <c:pt idx="188">
                  <c:v>#N/A</c:v>
                </c:pt>
                <c:pt idx="189">
                  <c:v>#N/A</c:v>
                </c:pt>
                <c:pt idx="190">
                  <c:v>#N/A</c:v>
                </c:pt>
                <c:pt idx="191">
                  <c:v>0.34794520547945207</c:v>
                </c:pt>
                <c:pt idx="192">
                  <c:v>#N/A</c:v>
                </c:pt>
                <c:pt idx="193">
                  <c:v>#N/A</c:v>
                </c:pt>
                <c:pt idx="194">
                  <c:v>#N/A</c:v>
                </c:pt>
                <c:pt idx="195">
                  <c:v>#N/A</c:v>
                </c:pt>
                <c:pt idx="196">
                  <c:v>0.34794520547945207</c:v>
                </c:pt>
                <c:pt idx="197">
                  <c:v>#N/A</c:v>
                </c:pt>
                <c:pt idx="198">
                  <c:v>0.35616438356164382</c:v>
                </c:pt>
                <c:pt idx="199">
                  <c:v>#N/A</c:v>
                </c:pt>
                <c:pt idx="200">
                  <c:v>0.35890410958904112</c:v>
                </c:pt>
                <c:pt idx="201">
                  <c:v>#N/A</c:v>
                </c:pt>
                <c:pt idx="202">
                  <c:v>0.35890410958904112</c:v>
                </c:pt>
                <c:pt idx="203">
                  <c:v>0.35890410958904112</c:v>
                </c:pt>
                <c:pt idx="204">
                  <c:v>0.35890410958904112</c:v>
                </c:pt>
                <c:pt idx="205">
                  <c:v>0.35890410958904112</c:v>
                </c:pt>
                <c:pt idx="206">
                  <c:v>#N/A</c:v>
                </c:pt>
                <c:pt idx="207">
                  <c:v>0.36164383561643837</c:v>
                </c:pt>
                <c:pt idx="208">
                  <c:v>0.36164383561643837</c:v>
                </c:pt>
                <c:pt idx="209">
                  <c:v>#N/A</c:v>
                </c:pt>
                <c:pt idx="210">
                  <c:v>0.36164383561643837</c:v>
                </c:pt>
                <c:pt idx="211">
                  <c:v>#N/A</c:v>
                </c:pt>
                <c:pt idx="212">
                  <c:v>0.36164383561643837</c:v>
                </c:pt>
                <c:pt idx="213">
                  <c:v>#N/A</c:v>
                </c:pt>
                <c:pt idx="214">
                  <c:v>#N/A</c:v>
                </c:pt>
                <c:pt idx="215">
                  <c:v>0.36164383561643837</c:v>
                </c:pt>
                <c:pt idx="216">
                  <c:v>0.36164383561643837</c:v>
                </c:pt>
                <c:pt idx="217">
                  <c:v>0.36438356164383562</c:v>
                </c:pt>
                <c:pt idx="218">
                  <c:v>0.36438356164383562</c:v>
                </c:pt>
                <c:pt idx="219">
                  <c:v>#N/A</c:v>
                </c:pt>
                <c:pt idx="220">
                  <c:v>#N/A</c:v>
                </c:pt>
                <c:pt idx="221">
                  <c:v>#N/A</c:v>
                </c:pt>
                <c:pt idx="222">
                  <c:v>0.36986301369863012</c:v>
                </c:pt>
                <c:pt idx="223">
                  <c:v>0.36986301369863012</c:v>
                </c:pt>
                <c:pt idx="224">
                  <c:v>#N/A</c:v>
                </c:pt>
                <c:pt idx="225">
                  <c:v>#N/A</c:v>
                </c:pt>
                <c:pt idx="226">
                  <c:v>#N/A</c:v>
                </c:pt>
                <c:pt idx="227">
                  <c:v>#N/A</c:v>
                </c:pt>
                <c:pt idx="228">
                  <c:v>#N/A</c:v>
                </c:pt>
                <c:pt idx="229">
                  <c:v>#N/A</c:v>
                </c:pt>
                <c:pt idx="230">
                  <c:v>#N/A</c:v>
                </c:pt>
                <c:pt idx="231">
                  <c:v>#N/A</c:v>
                </c:pt>
                <c:pt idx="232">
                  <c:v>#N/A</c:v>
                </c:pt>
                <c:pt idx="233">
                  <c:v>#N/A</c:v>
                </c:pt>
                <c:pt idx="234">
                  <c:v>#N/A</c:v>
                </c:pt>
                <c:pt idx="235">
                  <c:v>0.36986301369863012</c:v>
                </c:pt>
                <c:pt idx="236">
                  <c:v>#N/A</c:v>
                </c:pt>
                <c:pt idx="237">
                  <c:v>#N/A</c:v>
                </c:pt>
                <c:pt idx="238">
                  <c:v>0.36986301369863012</c:v>
                </c:pt>
                <c:pt idx="239">
                  <c:v>0.36986301369863012</c:v>
                </c:pt>
                <c:pt idx="240">
                  <c:v>#N/A</c:v>
                </c:pt>
                <c:pt idx="241">
                  <c:v>0.37808219178082192</c:v>
                </c:pt>
                <c:pt idx="242">
                  <c:v>0.37808219178082192</c:v>
                </c:pt>
                <c:pt idx="243">
                  <c:v>0.37808219178082192</c:v>
                </c:pt>
                <c:pt idx="244">
                  <c:v>0.37808219178082192</c:v>
                </c:pt>
                <c:pt idx="245">
                  <c:v>#N/A</c:v>
                </c:pt>
                <c:pt idx="246">
                  <c:v>#N/A</c:v>
                </c:pt>
                <c:pt idx="247">
                  <c:v>#N/A</c:v>
                </c:pt>
                <c:pt idx="248">
                  <c:v>0.37808219178082192</c:v>
                </c:pt>
                <c:pt idx="249">
                  <c:v>#N/A</c:v>
                </c:pt>
                <c:pt idx="250">
                  <c:v>#N/A</c:v>
                </c:pt>
                <c:pt idx="251">
                  <c:v>0.38082191780821917</c:v>
                </c:pt>
                <c:pt idx="252">
                  <c:v>0.38082191780821917</c:v>
                </c:pt>
                <c:pt idx="253">
                  <c:v>#N/A</c:v>
                </c:pt>
                <c:pt idx="254">
                  <c:v>#N/A</c:v>
                </c:pt>
                <c:pt idx="255">
                  <c:v>#N/A</c:v>
                </c:pt>
                <c:pt idx="256">
                  <c:v>#N/A</c:v>
                </c:pt>
                <c:pt idx="257">
                  <c:v>#N/A</c:v>
                </c:pt>
                <c:pt idx="258">
                  <c:v>0.38356164383561642</c:v>
                </c:pt>
                <c:pt idx="259">
                  <c:v>#N/A</c:v>
                </c:pt>
                <c:pt idx="260">
                  <c:v>#N/A</c:v>
                </c:pt>
                <c:pt idx="261">
                  <c:v>#N/A</c:v>
                </c:pt>
                <c:pt idx="262">
                  <c:v>#N/A</c:v>
                </c:pt>
                <c:pt idx="263">
                  <c:v>#N/A</c:v>
                </c:pt>
                <c:pt idx="264">
                  <c:v>0.38356164383561642</c:v>
                </c:pt>
                <c:pt idx="265">
                  <c:v>#N/A</c:v>
                </c:pt>
                <c:pt idx="266">
                  <c:v>#N/A</c:v>
                </c:pt>
                <c:pt idx="267">
                  <c:v>#N/A</c:v>
                </c:pt>
                <c:pt idx="268">
                  <c:v>#N/A</c:v>
                </c:pt>
                <c:pt idx="269">
                  <c:v>#N/A</c:v>
                </c:pt>
                <c:pt idx="270">
                  <c:v>0.38356164383561642</c:v>
                </c:pt>
                <c:pt idx="271">
                  <c:v>0.38356164383561642</c:v>
                </c:pt>
                <c:pt idx="272">
                  <c:v>0.38356164383561642</c:v>
                </c:pt>
                <c:pt idx="273">
                  <c:v>0.38356164383561642</c:v>
                </c:pt>
                <c:pt idx="274">
                  <c:v>#N/A</c:v>
                </c:pt>
                <c:pt idx="275">
                  <c:v>#N/A</c:v>
                </c:pt>
                <c:pt idx="276">
                  <c:v>#N/A</c:v>
                </c:pt>
                <c:pt idx="277">
                  <c:v>0.38356164383561642</c:v>
                </c:pt>
                <c:pt idx="278">
                  <c:v>0.38356164383561642</c:v>
                </c:pt>
                <c:pt idx="279">
                  <c:v>0.38356164383561642</c:v>
                </c:pt>
                <c:pt idx="280">
                  <c:v>0.38356164383561642</c:v>
                </c:pt>
                <c:pt idx="281">
                  <c:v>0.38356164383561642</c:v>
                </c:pt>
                <c:pt idx="282">
                  <c:v>0.38356164383561642</c:v>
                </c:pt>
                <c:pt idx="283">
                  <c:v>0.38356164383561642</c:v>
                </c:pt>
                <c:pt idx="284">
                  <c:v>#N/A</c:v>
                </c:pt>
                <c:pt idx="285">
                  <c:v>#N/A</c:v>
                </c:pt>
                <c:pt idx="286">
                  <c:v>#N/A</c:v>
                </c:pt>
                <c:pt idx="287">
                  <c:v>#N/A</c:v>
                </c:pt>
                <c:pt idx="288">
                  <c:v>0.38356164383561642</c:v>
                </c:pt>
                <c:pt idx="289">
                  <c:v>#N/A</c:v>
                </c:pt>
                <c:pt idx="290">
                  <c:v>0.38356164383561642</c:v>
                </c:pt>
                <c:pt idx="291">
                  <c:v>0.38356164383561642</c:v>
                </c:pt>
                <c:pt idx="292">
                  <c:v>0.38356164383561642</c:v>
                </c:pt>
                <c:pt idx="293">
                  <c:v>#N/A</c:v>
                </c:pt>
                <c:pt idx="294">
                  <c:v>0.38356164383561642</c:v>
                </c:pt>
                <c:pt idx="295">
                  <c:v>#N/A</c:v>
                </c:pt>
                <c:pt idx="296">
                  <c:v>0.38356164383561642</c:v>
                </c:pt>
                <c:pt idx="297">
                  <c:v>#N/A</c:v>
                </c:pt>
                <c:pt idx="298">
                  <c:v>#N/A</c:v>
                </c:pt>
                <c:pt idx="299">
                  <c:v>#N/A</c:v>
                </c:pt>
                <c:pt idx="300">
                  <c:v>#N/A</c:v>
                </c:pt>
                <c:pt idx="301">
                  <c:v>#N/A</c:v>
                </c:pt>
                <c:pt idx="302">
                  <c:v>#N/A</c:v>
                </c:pt>
                <c:pt idx="303">
                  <c:v>0.38356164383561642</c:v>
                </c:pt>
                <c:pt idx="304">
                  <c:v>0.38356164383561642</c:v>
                </c:pt>
                <c:pt idx="305">
                  <c:v>#N/A</c:v>
                </c:pt>
                <c:pt idx="306">
                  <c:v>#N/A</c:v>
                </c:pt>
                <c:pt idx="307">
                  <c:v>#N/A</c:v>
                </c:pt>
                <c:pt idx="308">
                  <c:v>0.38356164383561642</c:v>
                </c:pt>
                <c:pt idx="309">
                  <c:v>#N/A</c:v>
                </c:pt>
                <c:pt idx="310">
                  <c:v>#N/A</c:v>
                </c:pt>
                <c:pt idx="311">
                  <c:v>0.38356164383561642</c:v>
                </c:pt>
                <c:pt idx="312">
                  <c:v>0.38356164383561642</c:v>
                </c:pt>
                <c:pt idx="313">
                  <c:v>#N/A</c:v>
                </c:pt>
                <c:pt idx="314">
                  <c:v>#N/A</c:v>
                </c:pt>
                <c:pt idx="315">
                  <c:v>#N/A</c:v>
                </c:pt>
                <c:pt idx="316">
                  <c:v>#N/A</c:v>
                </c:pt>
                <c:pt idx="317">
                  <c:v>#N/A</c:v>
                </c:pt>
                <c:pt idx="318">
                  <c:v>#N/A</c:v>
                </c:pt>
                <c:pt idx="319">
                  <c:v>0.38356164383561642</c:v>
                </c:pt>
                <c:pt idx="320">
                  <c:v>0.38356164383561642</c:v>
                </c:pt>
                <c:pt idx="321">
                  <c:v>0.38356164383561642</c:v>
                </c:pt>
                <c:pt idx="322">
                  <c:v>0.38356164383561642</c:v>
                </c:pt>
                <c:pt idx="323">
                  <c:v>0.38356164383561642</c:v>
                </c:pt>
                <c:pt idx="324">
                  <c:v>#N/A</c:v>
                </c:pt>
                <c:pt idx="325">
                  <c:v>#N/A</c:v>
                </c:pt>
                <c:pt idx="326">
                  <c:v>#N/A</c:v>
                </c:pt>
                <c:pt idx="327">
                  <c:v>0.38356164383561642</c:v>
                </c:pt>
                <c:pt idx="328">
                  <c:v>#N/A</c:v>
                </c:pt>
                <c:pt idx="329">
                  <c:v>#N/A</c:v>
                </c:pt>
                <c:pt idx="330">
                  <c:v>#N/A</c:v>
                </c:pt>
                <c:pt idx="331">
                  <c:v>#N/A</c:v>
                </c:pt>
                <c:pt idx="332">
                  <c:v>#N/A</c:v>
                </c:pt>
                <c:pt idx="333">
                  <c:v>0.38356164383561642</c:v>
                </c:pt>
                <c:pt idx="334">
                  <c:v>#N/A</c:v>
                </c:pt>
                <c:pt idx="335">
                  <c:v>0.38356164383561642</c:v>
                </c:pt>
                <c:pt idx="336">
                  <c:v>#N/A</c:v>
                </c:pt>
                <c:pt idx="337">
                  <c:v>0.38356164383561642</c:v>
                </c:pt>
                <c:pt idx="338">
                  <c:v>0.38356164383561642</c:v>
                </c:pt>
                <c:pt idx="339">
                  <c:v>#N/A</c:v>
                </c:pt>
                <c:pt idx="340">
                  <c:v>#N/A</c:v>
                </c:pt>
                <c:pt idx="341">
                  <c:v>0.38356164383561642</c:v>
                </c:pt>
                <c:pt idx="342">
                  <c:v>0.38356164383561642</c:v>
                </c:pt>
                <c:pt idx="343">
                  <c:v>0.38356164383561642</c:v>
                </c:pt>
                <c:pt idx="344">
                  <c:v>0.38356164383561642</c:v>
                </c:pt>
                <c:pt idx="345">
                  <c:v>#N/A</c:v>
                </c:pt>
                <c:pt idx="346">
                  <c:v>#N/A</c:v>
                </c:pt>
                <c:pt idx="347">
                  <c:v>#N/A</c:v>
                </c:pt>
                <c:pt idx="348">
                  <c:v>#N/A</c:v>
                </c:pt>
                <c:pt idx="349">
                  <c:v>0.38356164383561642</c:v>
                </c:pt>
                <c:pt idx="350">
                  <c:v>#N/A</c:v>
                </c:pt>
                <c:pt idx="351">
                  <c:v>#N/A</c:v>
                </c:pt>
                <c:pt idx="352">
                  <c:v>#N/A</c:v>
                </c:pt>
                <c:pt idx="353">
                  <c:v>0.38356164383561642</c:v>
                </c:pt>
                <c:pt idx="354">
                  <c:v>0.38356164383561642</c:v>
                </c:pt>
                <c:pt idx="355">
                  <c:v>0.38356164383561642</c:v>
                </c:pt>
                <c:pt idx="356">
                  <c:v>#N/A</c:v>
                </c:pt>
                <c:pt idx="357">
                  <c:v>#N/A</c:v>
                </c:pt>
                <c:pt idx="358">
                  <c:v>0.38356164383561642</c:v>
                </c:pt>
                <c:pt idx="359">
                  <c:v>#N/A</c:v>
                </c:pt>
                <c:pt idx="360">
                  <c:v>0.38356164383561642</c:v>
                </c:pt>
                <c:pt idx="361">
                  <c:v>#N/A</c:v>
                </c:pt>
                <c:pt idx="362">
                  <c:v>0.38356164383561642</c:v>
                </c:pt>
                <c:pt idx="363">
                  <c:v>0.38356164383561642</c:v>
                </c:pt>
                <c:pt idx="364">
                  <c:v>0.38356164383561642</c:v>
                </c:pt>
                <c:pt idx="365">
                  <c:v>#N/A</c:v>
                </c:pt>
                <c:pt idx="366">
                  <c:v>#N/A</c:v>
                </c:pt>
                <c:pt idx="367">
                  <c:v>#N/A</c:v>
                </c:pt>
                <c:pt idx="368">
                  <c:v>#N/A</c:v>
                </c:pt>
                <c:pt idx="369">
                  <c:v>#N/A</c:v>
                </c:pt>
                <c:pt idx="370">
                  <c:v>#N/A</c:v>
                </c:pt>
                <c:pt idx="371">
                  <c:v>0.38356164383561642</c:v>
                </c:pt>
                <c:pt idx="372">
                  <c:v>#N/A</c:v>
                </c:pt>
                <c:pt idx="373">
                  <c:v>#N/A</c:v>
                </c:pt>
                <c:pt idx="374">
                  <c:v>0.38356164383561642</c:v>
                </c:pt>
                <c:pt idx="375">
                  <c:v>0.38356164383561642</c:v>
                </c:pt>
                <c:pt idx="376">
                  <c:v>0.38356164383561642</c:v>
                </c:pt>
                <c:pt idx="377">
                  <c:v>0.38356164383561642</c:v>
                </c:pt>
                <c:pt idx="378">
                  <c:v>#N/A</c:v>
                </c:pt>
                <c:pt idx="379">
                  <c:v>#N/A</c:v>
                </c:pt>
                <c:pt idx="380">
                  <c:v>0.38356164383561642</c:v>
                </c:pt>
                <c:pt idx="381">
                  <c:v>#N/A</c:v>
                </c:pt>
                <c:pt idx="382">
                  <c:v>#N/A</c:v>
                </c:pt>
                <c:pt idx="383">
                  <c:v>0.38356164383561642</c:v>
                </c:pt>
                <c:pt idx="384">
                  <c:v>0.38356164383561642</c:v>
                </c:pt>
                <c:pt idx="385">
                  <c:v>0.38356164383561642</c:v>
                </c:pt>
                <c:pt idx="386">
                  <c:v>#N/A</c:v>
                </c:pt>
                <c:pt idx="387">
                  <c:v>#N/A</c:v>
                </c:pt>
                <c:pt idx="388">
                  <c:v>#N/A</c:v>
                </c:pt>
                <c:pt idx="389">
                  <c:v>#N/A</c:v>
                </c:pt>
                <c:pt idx="390">
                  <c:v>#N/A</c:v>
                </c:pt>
                <c:pt idx="391">
                  <c:v>#N/A</c:v>
                </c:pt>
                <c:pt idx="392">
                  <c:v>#N/A</c:v>
                </c:pt>
                <c:pt idx="393">
                  <c:v>#N/A</c:v>
                </c:pt>
                <c:pt idx="394">
                  <c:v>#N/A</c:v>
                </c:pt>
                <c:pt idx="395">
                  <c:v>0.38630136986301372</c:v>
                </c:pt>
                <c:pt idx="396">
                  <c:v>0.38630136986301372</c:v>
                </c:pt>
                <c:pt idx="397">
                  <c:v>0.38630136986301372</c:v>
                </c:pt>
                <c:pt idx="398">
                  <c:v>#N/A</c:v>
                </c:pt>
                <c:pt idx="399">
                  <c:v>#N/A</c:v>
                </c:pt>
                <c:pt idx="400">
                  <c:v>0.38630136986301372</c:v>
                </c:pt>
                <c:pt idx="401">
                  <c:v>#N/A</c:v>
                </c:pt>
                <c:pt idx="402">
                  <c:v>#N/A</c:v>
                </c:pt>
                <c:pt idx="403">
                  <c:v>#N/A</c:v>
                </c:pt>
                <c:pt idx="404">
                  <c:v>0.38904109589041097</c:v>
                </c:pt>
                <c:pt idx="405">
                  <c:v>#N/A</c:v>
                </c:pt>
                <c:pt idx="406">
                  <c:v>#N/A</c:v>
                </c:pt>
                <c:pt idx="407">
                  <c:v>#N/A</c:v>
                </c:pt>
                <c:pt idx="408">
                  <c:v>#N/A</c:v>
                </c:pt>
                <c:pt idx="409">
                  <c:v>0.38904109589041097</c:v>
                </c:pt>
                <c:pt idx="410">
                  <c:v>0.39726027397260272</c:v>
                </c:pt>
                <c:pt idx="411">
                  <c:v>#N/A</c:v>
                </c:pt>
                <c:pt idx="412">
                  <c:v>#N/A</c:v>
                </c:pt>
                <c:pt idx="413">
                  <c:v>#N/A</c:v>
                </c:pt>
                <c:pt idx="414">
                  <c:v>#N/A</c:v>
                </c:pt>
                <c:pt idx="415">
                  <c:v>0.39726027397260272</c:v>
                </c:pt>
                <c:pt idx="416">
                  <c:v>#N/A</c:v>
                </c:pt>
                <c:pt idx="417">
                  <c:v>0.39726027397260272</c:v>
                </c:pt>
                <c:pt idx="418">
                  <c:v>#N/A</c:v>
                </c:pt>
                <c:pt idx="419">
                  <c:v>0.39726027397260272</c:v>
                </c:pt>
                <c:pt idx="420">
                  <c:v>0.39726027397260272</c:v>
                </c:pt>
                <c:pt idx="421">
                  <c:v>0.4</c:v>
                </c:pt>
                <c:pt idx="422">
                  <c:v>#N/A</c:v>
                </c:pt>
                <c:pt idx="423">
                  <c:v>#N/A</c:v>
                </c:pt>
                <c:pt idx="424">
                  <c:v>#N/A</c:v>
                </c:pt>
                <c:pt idx="425">
                  <c:v>0.4</c:v>
                </c:pt>
                <c:pt idx="426">
                  <c:v>#N/A</c:v>
                </c:pt>
                <c:pt idx="427">
                  <c:v>0.4</c:v>
                </c:pt>
                <c:pt idx="428">
                  <c:v>#N/A</c:v>
                </c:pt>
                <c:pt idx="429">
                  <c:v>0.4</c:v>
                </c:pt>
                <c:pt idx="430">
                  <c:v>#N/A</c:v>
                </c:pt>
                <c:pt idx="431">
                  <c:v>0.4</c:v>
                </c:pt>
                <c:pt idx="432">
                  <c:v>#N/A</c:v>
                </c:pt>
                <c:pt idx="433">
                  <c:v>#N/A</c:v>
                </c:pt>
                <c:pt idx="434">
                  <c:v>0.4</c:v>
                </c:pt>
                <c:pt idx="435">
                  <c:v>#N/A</c:v>
                </c:pt>
                <c:pt idx="436">
                  <c:v>#N/A</c:v>
                </c:pt>
                <c:pt idx="437">
                  <c:v>#N/A</c:v>
                </c:pt>
                <c:pt idx="438">
                  <c:v>#N/A</c:v>
                </c:pt>
                <c:pt idx="439">
                  <c:v>#N/A</c:v>
                </c:pt>
                <c:pt idx="440">
                  <c:v>#N/A</c:v>
                </c:pt>
                <c:pt idx="441">
                  <c:v>#N/A</c:v>
                </c:pt>
                <c:pt idx="442">
                  <c:v>#N/A</c:v>
                </c:pt>
                <c:pt idx="443">
                  <c:v>#N/A</c:v>
                </c:pt>
                <c:pt idx="444">
                  <c:v>0.4</c:v>
                </c:pt>
                <c:pt idx="445">
                  <c:v>#N/A</c:v>
                </c:pt>
                <c:pt idx="446">
                  <c:v>#N/A</c:v>
                </c:pt>
                <c:pt idx="447">
                  <c:v>#N/A</c:v>
                </c:pt>
                <c:pt idx="448">
                  <c:v>#N/A</c:v>
                </c:pt>
                <c:pt idx="449">
                  <c:v>#N/A</c:v>
                </c:pt>
                <c:pt idx="450">
                  <c:v>0.40273972602739727</c:v>
                </c:pt>
                <c:pt idx="451">
                  <c:v>#N/A</c:v>
                </c:pt>
                <c:pt idx="452">
                  <c:v>0.40273972602739727</c:v>
                </c:pt>
                <c:pt idx="453">
                  <c:v>0.40273972602739727</c:v>
                </c:pt>
                <c:pt idx="454">
                  <c:v>#N/A</c:v>
                </c:pt>
                <c:pt idx="455">
                  <c:v>#N/A</c:v>
                </c:pt>
                <c:pt idx="456">
                  <c:v>#N/A</c:v>
                </c:pt>
                <c:pt idx="457">
                  <c:v>0.40273972602739727</c:v>
                </c:pt>
                <c:pt idx="458">
                  <c:v>#N/A</c:v>
                </c:pt>
                <c:pt idx="459">
                  <c:v>#N/A</c:v>
                </c:pt>
                <c:pt idx="460">
                  <c:v>0.40273972602739727</c:v>
                </c:pt>
                <c:pt idx="461">
                  <c:v>0.40273972602739727</c:v>
                </c:pt>
                <c:pt idx="462">
                  <c:v>0.40273972602739727</c:v>
                </c:pt>
                <c:pt idx="463">
                  <c:v>0.40273972602739727</c:v>
                </c:pt>
                <c:pt idx="464">
                  <c:v>#N/A</c:v>
                </c:pt>
                <c:pt idx="465">
                  <c:v>0.40273972602739727</c:v>
                </c:pt>
                <c:pt idx="466">
                  <c:v>#N/A</c:v>
                </c:pt>
                <c:pt idx="467">
                  <c:v>#N/A</c:v>
                </c:pt>
                <c:pt idx="468">
                  <c:v>#N/A</c:v>
                </c:pt>
                <c:pt idx="469">
                  <c:v>#N/A</c:v>
                </c:pt>
                <c:pt idx="470">
                  <c:v>0.40547945205479452</c:v>
                </c:pt>
                <c:pt idx="471">
                  <c:v>#N/A</c:v>
                </c:pt>
                <c:pt idx="472">
                  <c:v>#N/A</c:v>
                </c:pt>
                <c:pt idx="473">
                  <c:v>0.40821917808219177</c:v>
                </c:pt>
                <c:pt idx="474">
                  <c:v>#N/A</c:v>
                </c:pt>
                <c:pt idx="475">
                  <c:v>#N/A</c:v>
                </c:pt>
                <c:pt idx="476">
                  <c:v>0.40821917808219177</c:v>
                </c:pt>
                <c:pt idx="477">
                  <c:v>#N/A</c:v>
                </c:pt>
                <c:pt idx="478">
                  <c:v>0.40821917808219177</c:v>
                </c:pt>
                <c:pt idx="479">
                  <c:v>#N/A</c:v>
                </c:pt>
                <c:pt idx="480">
                  <c:v>#N/A</c:v>
                </c:pt>
                <c:pt idx="481">
                  <c:v>#N/A</c:v>
                </c:pt>
                <c:pt idx="482">
                  <c:v>#N/A</c:v>
                </c:pt>
                <c:pt idx="483">
                  <c:v>#N/A</c:v>
                </c:pt>
                <c:pt idx="484">
                  <c:v>#N/A</c:v>
                </c:pt>
                <c:pt idx="485">
                  <c:v>0.41917808219178082</c:v>
                </c:pt>
                <c:pt idx="486">
                  <c:v>#N/A</c:v>
                </c:pt>
                <c:pt idx="487">
                  <c:v>#N/A</c:v>
                </c:pt>
                <c:pt idx="488">
                  <c:v>0.42191780821917807</c:v>
                </c:pt>
                <c:pt idx="489">
                  <c:v>#N/A</c:v>
                </c:pt>
                <c:pt idx="490">
                  <c:v>#N/A</c:v>
                </c:pt>
                <c:pt idx="491">
                  <c:v>0.42465753424657532</c:v>
                </c:pt>
                <c:pt idx="492">
                  <c:v>#N/A</c:v>
                </c:pt>
                <c:pt idx="493">
                  <c:v>0.42465753424657532</c:v>
                </c:pt>
                <c:pt idx="494">
                  <c:v>#N/A</c:v>
                </c:pt>
                <c:pt idx="495">
                  <c:v>0.42465753424657532</c:v>
                </c:pt>
                <c:pt idx="496">
                  <c:v>#N/A</c:v>
                </c:pt>
                <c:pt idx="497">
                  <c:v>0.42465753424657532</c:v>
                </c:pt>
                <c:pt idx="498">
                  <c:v>0.42465753424657532</c:v>
                </c:pt>
                <c:pt idx="499">
                  <c:v>#N/A</c:v>
                </c:pt>
                <c:pt idx="500">
                  <c:v>0.42739726027397262</c:v>
                </c:pt>
                <c:pt idx="501">
                  <c:v>#N/A</c:v>
                </c:pt>
                <c:pt idx="502">
                  <c:v>#N/A</c:v>
                </c:pt>
                <c:pt idx="503">
                  <c:v>0.42739726027397262</c:v>
                </c:pt>
                <c:pt idx="504">
                  <c:v>0.42739726027397262</c:v>
                </c:pt>
                <c:pt idx="505">
                  <c:v>#N/A</c:v>
                </c:pt>
                <c:pt idx="506">
                  <c:v>0.42739726027397262</c:v>
                </c:pt>
                <c:pt idx="507">
                  <c:v>0.42739726027397262</c:v>
                </c:pt>
                <c:pt idx="508">
                  <c:v>0.42739726027397262</c:v>
                </c:pt>
                <c:pt idx="509">
                  <c:v>#N/A</c:v>
                </c:pt>
                <c:pt idx="510">
                  <c:v>#N/A</c:v>
                </c:pt>
                <c:pt idx="511">
                  <c:v>#N/A</c:v>
                </c:pt>
                <c:pt idx="512">
                  <c:v>#N/A</c:v>
                </c:pt>
                <c:pt idx="513">
                  <c:v>#N/A</c:v>
                </c:pt>
                <c:pt idx="514">
                  <c:v>0.42739726027397262</c:v>
                </c:pt>
                <c:pt idx="515">
                  <c:v>0.42739726027397262</c:v>
                </c:pt>
                <c:pt idx="516">
                  <c:v>0.43561643835616437</c:v>
                </c:pt>
                <c:pt idx="517">
                  <c:v>0.43835616438356162</c:v>
                </c:pt>
                <c:pt idx="518">
                  <c:v>#N/A</c:v>
                </c:pt>
                <c:pt idx="519">
                  <c:v>#N/A</c:v>
                </c:pt>
                <c:pt idx="520">
                  <c:v>0.43835616438356162</c:v>
                </c:pt>
                <c:pt idx="521">
                  <c:v>0.43835616438356162</c:v>
                </c:pt>
                <c:pt idx="522">
                  <c:v>#N/A</c:v>
                </c:pt>
                <c:pt idx="523">
                  <c:v>0.43835616438356162</c:v>
                </c:pt>
                <c:pt idx="524">
                  <c:v>#N/A</c:v>
                </c:pt>
                <c:pt idx="525">
                  <c:v>0.44109589041095892</c:v>
                </c:pt>
                <c:pt idx="526">
                  <c:v>0.44383561643835617</c:v>
                </c:pt>
                <c:pt idx="527">
                  <c:v>0.44657534246575342</c:v>
                </c:pt>
                <c:pt idx="528">
                  <c:v>#N/A</c:v>
                </c:pt>
                <c:pt idx="529">
                  <c:v>#N/A</c:v>
                </c:pt>
                <c:pt idx="530">
                  <c:v>#N/A</c:v>
                </c:pt>
                <c:pt idx="531">
                  <c:v>#N/A</c:v>
                </c:pt>
                <c:pt idx="532">
                  <c:v>0.45479452054794522</c:v>
                </c:pt>
                <c:pt idx="533">
                  <c:v>0.45753424657534247</c:v>
                </c:pt>
                <c:pt idx="534">
                  <c:v>#N/A</c:v>
                </c:pt>
                <c:pt idx="535">
                  <c:v>0.45753424657534247</c:v>
                </c:pt>
                <c:pt idx="536">
                  <c:v>#N/A</c:v>
                </c:pt>
                <c:pt idx="537">
                  <c:v>0.45753424657534247</c:v>
                </c:pt>
                <c:pt idx="538">
                  <c:v>#N/A</c:v>
                </c:pt>
                <c:pt idx="539">
                  <c:v>#N/A</c:v>
                </c:pt>
                <c:pt idx="540">
                  <c:v>#N/A</c:v>
                </c:pt>
                <c:pt idx="541">
                  <c:v>0.45753424657534247</c:v>
                </c:pt>
                <c:pt idx="542">
                  <c:v>0.45753424657534247</c:v>
                </c:pt>
                <c:pt idx="543">
                  <c:v>#N/A</c:v>
                </c:pt>
                <c:pt idx="544">
                  <c:v>0.45753424657534247</c:v>
                </c:pt>
                <c:pt idx="545">
                  <c:v>#N/A</c:v>
                </c:pt>
                <c:pt idx="546">
                  <c:v>0.45753424657534247</c:v>
                </c:pt>
                <c:pt idx="547">
                  <c:v>0.45753424657534247</c:v>
                </c:pt>
                <c:pt idx="548">
                  <c:v>0.45753424657534247</c:v>
                </c:pt>
                <c:pt idx="549">
                  <c:v>0.45753424657534247</c:v>
                </c:pt>
                <c:pt idx="550">
                  <c:v>#N/A</c:v>
                </c:pt>
                <c:pt idx="551">
                  <c:v>0.45753424657534247</c:v>
                </c:pt>
                <c:pt idx="552">
                  <c:v>#N/A</c:v>
                </c:pt>
                <c:pt idx="553">
                  <c:v>0.45753424657534247</c:v>
                </c:pt>
                <c:pt idx="554">
                  <c:v>#N/A</c:v>
                </c:pt>
                <c:pt idx="555">
                  <c:v>0.45753424657534247</c:v>
                </c:pt>
                <c:pt idx="556">
                  <c:v>#N/A</c:v>
                </c:pt>
                <c:pt idx="557">
                  <c:v>0.45753424657534247</c:v>
                </c:pt>
                <c:pt idx="558">
                  <c:v>#N/A</c:v>
                </c:pt>
                <c:pt idx="559">
                  <c:v>#N/A</c:v>
                </c:pt>
                <c:pt idx="560">
                  <c:v>0.45753424657534247</c:v>
                </c:pt>
                <c:pt idx="561">
                  <c:v>#N/A</c:v>
                </c:pt>
                <c:pt idx="562">
                  <c:v>#N/A</c:v>
                </c:pt>
                <c:pt idx="563">
                  <c:v>0.45753424657534247</c:v>
                </c:pt>
                <c:pt idx="564">
                  <c:v>0.45753424657534247</c:v>
                </c:pt>
                <c:pt idx="565">
                  <c:v>#N/A</c:v>
                </c:pt>
                <c:pt idx="566">
                  <c:v>#N/A</c:v>
                </c:pt>
                <c:pt idx="567">
                  <c:v>#N/A</c:v>
                </c:pt>
                <c:pt idx="568">
                  <c:v>0.45753424657534247</c:v>
                </c:pt>
                <c:pt idx="569">
                  <c:v>#N/A</c:v>
                </c:pt>
                <c:pt idx="570">
                  <c:v>0.45753424657534247</c:v>
                </c:pt>
                <c:pt idx="571">
                  <c:v>#N/A</c:v>
                </c:pt>
                <c:pt idx="572">
                  <c:v>0.45753424657534247</c:v>
                </c:pt>
                <c:pt idx="573">
                  <c:v>0.45753424657534247</c:v>
                </c:pt>
                <c:pt idx="574">
                  <c:v>#N/A</c:v>
                </c:pt>
                <c:pt idx="575">
                  <c:v>0.45753424657534247</c:v>
                </c:pt>
                <c:pt idx="576">
                  <c:v>#N/A</c:v>
                </c:pt>
                <c:pt idx="577">
                  <c:v>0.45753424657534247</c:v>
                </c:pt>
                <c:pt idx="578">
                  <c:v>#N/A</c:v>
                </c:pt>
                <c:pt idx="579">
                  <c:v>0.45753424657534247</c:v>
                </c:pt>
                <c:pt idx="580">
                  <c:v>0.45753424657534247</c:v>
                </c:pt>
                <c:pt idx="581">
                  <c:v>0.45753424657534247</c:v>
                </c:pt>
                <c:pt idx="582">
                  <c:v>0.45753424657534247</c:v>
                </c:pt>
                <c:pt idx="583">
                  <c:v>#N/A</c:v>
                </c:pt>
                <c:pt idx="584">
                  <c:v>0.45753424657534247</c:v>
                </c:pt>
                <c:pt idx="585">
                  <c:v>#N/A</c:v>
                </c:pt>
                <c:pt idx="586">
                  <c:v>#N/A</c:v>
                </c:pt>
                <c:pt idx="587">
                  <c:v>0.45753424657534247</c:v>
                </c:pt>
                <c:pt idx="588">
                  <c:v>#N/A</c:v>
                </c:pt>
                <c:pt idx="589">
                  <c:v>0.45753424657534247</c:v>
                </c:pt>
                <c:pt idx="590">
                  <c:v>#N/A</c:v>
                </c:pt>
                <c:pt idx="591">
                  <c:v>#N/A</c:v>
                </c:pt>
                <c:pt idx="592">
                  <c:v>#N/A</c:v>
                </c:pt>
                <c:pt idx="593">
                  <c:v>#N/A</c:v>
                </c:pt>
                <c:pt idx="594">
                  <c:v>#N/A</c:v>
                </c:pt>
                <c:pt idx="595">
                  <c:v>#N/A</c:v>
                </c:pt>
                <c:pt idx="596">
                  <c:v>0.45753424657534247</c:v>
                </c:pt>
                <c:pt idx="597">
                  <c:v>#N/A</c:v>
                </c:pt>
                <c:pt idx="598">
                  <c:v>0.45753424657534247</c:v>
                </c:pt>
                <c:pt idx="599">
                  <c:v>#N/A</c:v>
                </c:pt>
                <c:pt idx="600">
                  <c:v>0.45753424657534247</c:v>
                </c:pt>
                <c:pt idx="601">
                  <c:v>0.45753424657534247</c:v>
                </c:pt>
                <c:pt idx="602">
                  <c:v>#N/A</c:v>
                </c:pt>
                <c:pt idx="603">
                  <c:v>0.45753424657534247</c:v>
                </c:pt>
                <c:pt idx="604">
                  <c:v>0.45753424657534247</c:v>
                </c:pt>
                <c:pt idx="605">
                  <c:v>#N/A</c:v>
                </c:pt>
                <c:pt idx="606">
                  <c:v>0.45753424657534247</c:v>
                </c:pt>
                <c:pt idx="607">
                  <c:v>#N/A</c:v>
                </c:pt>
                <c:pt idx="608">
                  <c:v>#N/A</c:v>
                </c:pt>
                <c:pt idx="609">
                  <c:v>0.45753424657534247</c:v>
                </c:pt>
                <c:pt idx="610">
                  <c:v>#N/A</c:v>
                </c:pt>
                <c:pt idx="611">
                  <c:v>0.45753424657534247</c:v>
                </c:pt>
                <c:pt idx="612">
                  <c:v>0.45753424657534247</c:v>
                </c:pt>
                <c:pt idx="613">
                  <c:v>0.45753424657534247</c:v>
                </c:pt>
                <c:pt idx="614">
                  <c:v>#N/A</c:v>
                </c:pt>
                <c:pt idx="615">
                  <c:v>#N/A</c:v>
                </c:pt>
                <c:pt idx="616">
                  <c:v>#N/A</c:v>
                </c:pt>
                <c:pt idx="617">
                  <c:v>#N/A</c:v>
                </c:pt>
                <c:pt idx="618">
                  <c:v>0.45753424657534247</c:v>
                </c:pt>
                <c:pt idx="619">
                  <c:v>#N/A</c:v>
                </c:pt>
                <c:pt idx="620">
                  <c:v>#N/A</c:v>
                </c:pt>
                <c:pt idx="621">
                  <c:v>#N/A</c:v>
                </c:pt>
                <c:pt idx="622">
                  <c:v>#N/A</c:v>
                </c:pt>
                <c:pt idx="623">
                  <c:v>0.45753424657534247</c:v>
                </c:pt>
                <c:pt idx="624">
                  <c:v>#N/A</c:v>
                </c:pt>
                <c:pt idx="625">
                  <c:v>0.45753424657534247</c:v>
                </c:pt>
                <c:pt idx="626">
                  <c:v>0.45753424657534247</c:v>
                </c:pt>
                <c:pt idx="627">
                  <c:v>#N/A</c:v>
                </c:pt>
                <c:pt idx="628">
                  <c:v>#N/A</c:v>
                </c:pt>
                <c:pt idx="629">
                  <c:v>#N/A</c:v>
                </c:pt>
                <c:pt idx="630">
                  <c:v>#N/A</c:v>
                </c:pt>
                <c:pt idx="631">
                  <c:v>0.45753424657534247</c:v>
                </c:pt>
                <c:pt idx="632">
                  <c:v>0.45753424657534247</c:v>
                </c:pt>
                <c:pt idx="633">
                  <c:v>#N/A</c:v>
                </c:pt>
                <c:pt idx="634">
                  <c:v>0.45753424657534247</c:v>
                </c:pt>
                <c:pt idx="635">
                  <c:v>0.45753424657534247</c:v>
                </c:pt>
                <c:pt idx="636">
                  <c:v>#N/A</c:v>
                </c:pt>
                <c:pt idx="637">
                  <c:v>#N/A</c:v>
                </c:pt>
                <c:pt idx="638">
                  <c:v>0.45753424657534247</c:v>
                </c:pt>
                <c:pt idx="639">
                  <c:v>#N/A</c:v>
                </c:pt>
                <c:pt idx="640">
                  <c:v>#N/A</c:v>
                </c:pt>
                <c:pt idx="641">
                  <c:v>0.45753424657534247</c:v>
                </c:pt>
                <c:pt idx="642">
                  <c:v>0.45753424657534247</c:v>
                </c:pt>
                <c:pt idx="643">
                  <c:v>#N/A</c:v>
                </c:pt>
                <c:pt idx="644">
                  <c:v>0.45753424657534247</c:v>
                </c:pt>
                <c:pt idx="645">
                  <c:v>#N/A</c:v>
                </c:pt>
                <c:pt idx="646">
                  <c:v>0.45753424657534247</c:v>
                </c:pt>
                <c:pt idx="647">
                  <c:v>#N/A</c:v>
                </c:pt>
                <c:pt idx="648">
                  <c:v>0.45753424657534247</c:v>
                </c:pt>
                <c:pt idx="649">
                  <c:v>#N/A</c:v>
                </c:pt>
                <c:pt idx="650">
                  <c:v>#N/A</c:v>
                </c:pt>
                <c:pt idx="651">
                  <c:v>0.45753424657534247</c:v>
                </c:pt>
                <c:pt idx="652">
                  <c:v>#N/A</c:v>
                </c:pt>
                <c:pt idx="653">
                  <c:v>#N/A</c:v>
                </c:pt>
                <c:pt idx="654">
                  <c:v>0.45753424657534247</c:v>
                </c:pt>
                <c:pt idx="655">
                  <c:v>0.45753424657534247</c:v>
                </c:pt>
                <c:pt idx="656">
                  <c:v>0.45753424657534247</c:v>
                </c:pt>
                <c:pt idx="657">
                  <c:v>0.45753424657534247</c:v>
                </c:pt>
                <c:pt idx="658">
                  <c:v>0.45753424657534247</c:v>
                </c:pt>
                <c:pt idx="659">
                  <c:v>0.45753424657534247</c:v>
                </c:pt>
                <c:pt idx="660">
                  <c:v>#N/A</c:v>
                </c:pt>
                <c:pt idx="661">
                  <c:v>#N/A</c:v>
                </c:pt>
                <c:pt idx="662">
                  <c:v>#N/A</c:v>
                </c:pt>
                <c:pt idx="663">
                  <c:v>0.45753424657534247</c:v>
                </c:pt>
                <c:pt idx="664">
                  <c:v>0.45753424657534247</c:v>
                </c:pt>
                <c:pt idx="665">
                  <c:v>#N/A</c:v>
                </c:pt>
                <c:pt idx="666">
                  <c:v>0.45753424657534247</c:v>
                </c:pt>
                <c:pt idx="667">
                  <c:v>0.45753424657534247</c:v>
                </c:pt>
                <c:pt idx="668">
                  <c:v>0.45753424657534247</c:v>
                </c:pt>
                <c:pt idx="669">
                  <c:v>#N/A</c:v>
                </c:pt>
                <c:pt idx="670">
                  <c:v>0.45753424657534247</c:v>
                </c:pt>
                <c:pt idx="671">
                  <c:v>0.45753424657534247</c:v>
                </c:pt>
                <c:pt idx="672">
                  <c:v>#N/A</c:v>
                </c:pt>
                <c:pt idx="673">
                  <c:v>#N/A</c:v>
                </c:pt>
                <c:pt idx="674">
                  <c:v>0.45753424657534247</c:v>
                </c:pt>
                <c:pt idx="675">
                  <c:v>0.45753424657534247</c:v>
                </c:pt>
                <c:pt idx="676">
                  <c:v>0.45753424657534247</c:v>
                </c:pt>
                <c:pt idx="677">
                  <c:v>#N/A</c:v>
                </c:pt>
                <c:pt idx="678">
                  <c:v>#N/A</c:v>
                </c:pt>
                <c:pt idx="679">
                  <c:v>0.45753424657534247</c:v>
                </c:pt>
                <c:pt idx="680">
                  <c:v>#N/A</c:v>
                </c:pt>
                <c:pt idx="681">
                  <c:v>#N/A</c:v>
                </c:pt>
                <c:pt idx="682">
                  <c:v>0.45753424657534247</c:v>
                </c:pt>
                <c:pt idx="683">
                  <c:v>#N/A</c:v>
                </c:pt>
                <c:pt idx="684">
                  <c:v>0.45753424657534247</c:v>
                </c:pt>
                <c:pt idx="685">
                  <c:v>#N/A</c:v>
                </c:pt>
                <c:pt idx="686">
                  <c:v>#N/A</c:v>
                </c:pt>
                <c:pt idx="687">
                  <c:v>#N/A</c:v>
                </c:pt>
                <c:pt idx="688">
                  <c:v>#N/A</c:v>
                </c:pt>
                <c:pt idx="689">
                  <c:v>0.45753424657534247</c:v>
                </c:pt>
                <c:pt idx="690">
                  <c:v>0.45753424657534247</c:v>
                </c:pt>
                <c:pt idx="691">
                  <c:v>0.45753424657534247</c:v>
                </c:pt>
                <c:pt idx="692">
                  <c:v>#N/A</c:v>
                </c:pt>
                <c:pt idx="693">
                  <c:v>0.45753424657534247</c:v>
                </c:pt>
                <c:pt idx="694">
                  <c:v>0.45753424657534247</c:v>
                </c:pt>
                <c:pt idx="695">
                  <c:v>#N/A</c:v>
                </c:pt>
                <c:pt idx="696">
                  <c:v>0.45753424657534247</c:v>
                </c:pt>
                <c:pt idx="697">
                  <c:v>#N/A</c:v>
                </c:pt>
                <c:pt idx="698">
                  <c:v>0.45753424657534247</c:v>
                </c:pt>
                <c:pt idx="699">
                  <c:v>0.45753424657534247</c:v>
                </c:pt>
                <c:pt idx="700">
                  <c:v>#N/A</c:v>
                </c:pt>
                <c:pt idx="701">
                  <c:v>#N/A</c:v>
                </c:pt>
                <c:pt idx="702">
                  <c:v>0.45753424657534247</c:v>
                </c:pt>
                <c:pt idx="703">
                  <c:v>#N/A</c:v>
                </c:pt>
                <c:pt idx="704">
                  <c:v>#N/A</c:v>
                </c:pt>
                <c:pt idx="705">
                  <c:v>0.45753424657534247</c:v>
                </c:pt>
                <c:pt idx="706">
                  <c:v>0.45753424657534247</c:v>
                </c:pt>
                <c:pt idx="707">
                  <c:v>0.45753424657534247</c:v>
                </c:pt>
                <c:pt idx="708">
                  <c:v>#N/A</c:v>
                </c:pt>
                <c:pt idx="709">
                  <c:v>0.45753424657534247</c:v>
                </c:pt>
                <c:pt idx="710">
                  <c:v>0.45753424657534247</c:v>
                </c:pt>
                <c:pt idx="711">
                  <c:v>0.45753424657534247</c:v>
                </c:pt>
                <c:pt idx="712">
                  <c:v>#N/A</c:v>
                </c:pt>
                <c:pt idx="713">
                  <c:v>#N/A</c:v>
                </c:pt>
                <c:pt idx="714">
                  <c:v>#N/A</c:v>
                </c:pt>
                <c:pt idx="715">
                  <c:v>0.45753424657534247</c:v>
                </c:pt>
                <c:pt idx="716">
                  <c:v>0.45753424657534247</c:v>
                </c:pt>
                <c:pt idx="717">
                  <c:v>#N/A</c:v>
                </c:pt>
                <c:pt idx="718">
                  <c:v>#N/A</c:v>
                </c:pt>
                <c:pt idx="719">
                  <c:v>0.45753424657534247</c:v>
                </c:pt>
                <c:pt idx="720">
                  <c:v>#N/A</c:v>
                </c:pt>
                <c:pt idx="721">
                  <c:v>#N/A</c:v>
                </c:pt>
                <c:pt idx="722">
                  <c:v>0.45753424657534247</c:v>
                </c:pt>
                <c:pt idx="723">
                  <c:v>#N/A</c:v>
                </c:pt>
                <c:pt idx="724">
                  <c:v>0.45753424657534247</c:v>
                </c:pt>
                <c:pt idx="725">
                  <c:v>0.45753424657534247</c:v>
                </c:pt>
                <c:pt idx="726">
                  <c:v>#N/A</c:v>
                </c:pt>
                <c:pt idx="727">
                  <c:v>0.45753424657534247</c:v>
                </c:pt>
                <c:pt idx="728">
                  <c:v>#N/A</c:v>
                </c:pt>
                <c:pt idx="729">
                  <c:v>#N/A</c:v>
                </c:pt>
                <c:pt idx="730">
                  <c:v>#N/A</c:v>
                </c:pt>
                <c:pt idx="731">
                  <c:v>#N/A</c:v>
                </c:pt>
                <c:pt idx="732">
                  <c:v>0.45753424657534247</c:v>
                </c:pt>
                <c:pt idx="733">
                  <c:v>#N/A</c:v>
                </c:pt>
                <c:pt idx="734">
                  <c:v>#N/A</c:v>
                </c:pt>
                <c:pt idx="735">
                  <c:v>#N/A</c:v>
                </c:pt>
                <c:pt idx="736">
                  <c:v>0.45753424657534247</c:v>
                </c:pt>
                <c:pt idx="737">
                  <c:v>#N/A</c:v>
                </c:pt>
                <c:pt idx="738">
                  <c:v>#N/A</c:v>
                </c:pt>
                <c:pt idx="739">
                  <c:v>0.45753424657534247</c:v>
                </c:pt>
                <c:pt idx="740">
                  <c:v>#N/A</c:v>
                </c:pt>
                <c:pt idx="741">
                  <c:v>#N/A</c:v>
                </c:pt>
                <c:pt idx="742">
                  <c:v>#N/A</c:v>
                </c:pt>
                <c:pt idx="743">
                  <c:v>#N/A</c:v>
                </c:pt>
                <c:pt idx="744">
                  <c:v>#N/A</c:v>
                </c:pt>
                <c:pt idx="745">
                  <c:v>0.46027397260273972</c:v>
                </c:pt>
                <c:pt idx="746">
                  <c:v>#N/A</c:v>
                </c:pt>
                <c:pt idx="747">
                  <c:v>0.46027397260273972</c:v>
                </c:pt>
                <c:pt idx="748">
                  <c:v>0.46027397260273972</c:v>
                </c:pt>
                <c:pt idx="749">
                  <c:v>0.46027397260273972</c:v>
                </c:pt>
                <c:pt idx="750">
                  <c:v>#N/A</c:v>
                </c:pt>
                <c:pt idx="751">
                  <c:v>#N/A</c:v>
                </c:pt>
                <c:pt idx="752">
                  <c:v>0.46027397260273972</c:v>
                </c:pt>
                <c:pt idx="753">
                  <c:v>#N/A</c:v>
                </c:pt>
                <c:pt idx="754">
                  <c:v>0.46027397260273972</c:v>
                </c:pt>
                <c:pt idx="755">
                  <c:v>0.46027397260273972</c:v>
                </c:pt>
                <c:pt idx="756">
                  <c:v>#N/A</c:v>
                </c:pt>
                <c:pt idx="757">
                  <c:v>#N/A</c:v>
                </c:pt>
                <c:pt idx="758">
                  <c:v>#N/A</c:v>
                </c:pt>
                <c:pt idx="759">
                  <c:v>0.46027397260273972</c:v>
                </c:pt>
                <c:pt idx="760">
                  <c:v>#N/A</c:v>
                </c:pt>
                <c:pt idx="761">
                  <c:v>#N/A</c:v>
                </c:pt>
                <c:pt idx="762">
                  <c:v>0.46027397260273972</c:v>
                </c:pt>
                <c:pt idx="763">
                  <c:v>0.46027397260273972</c:v>
                </c:pt>
                <c:pt idx="764">
                  <c:v>#N/A</c:v>
                </c:pt>
                <c:pt idx="765">
                  <c:v>0.46027397260273972</c:v>
                </c:pt>
                <c:pt idx="766">
                  <c:v>#N/A</c:v>
                </c:pt>
                <c:pt idx="767">
                  <c:v>#N/A</c:v>
                </c:pt>
                <c:pt idx="768">
                  <c:v>0.46027397260273972</c:v>
                </c:pt>
                <c:pt idx="769">
                  <c:v>0.46027397260273972</c:v>
                </c:pt>
                <c:pt idx="770">
                  <c:v>0.46027397260273972</c:v>
                </c:pt>
                <c:pt idx="771">
                  <c:v>0.46027397260273972</c:v>
                </c:pt>
                <c:pt idx="772">
                  <c:v>0.46027397260273972</c:v>
                </c:pt>
                <c:pt idx="773">
                  <c:v>#N/A</c:v>
                </c:pt>
                <c:pt idx="774">
                  <c:v>0.46027397260273972</c:v>
                </c:pt>
                <c:pt idx="775">
                  <c:v>#N/A</c:v>
                </c:pt>
                <c:pt idx="776">
                  <c:v>0.46027397260273972</c:v>
                </c:pt>
                <c:pt idx="777">
                  <c:v>0.46027397260273972</c:v>
                </c:pt>
                <c:pt idx="778">
                  <c:v>#N/A</c:v>
                </c:pt>
                <c:pt idx="779">
                  <c:v>#N/A</c:v>
                </c:pt>
                <c:pt idx="780">
                  <c:v>0.46027397260273972</c:v>
                </c:pt>
                <c:pt idx="781">
                  <c:v>#N/A</c:v>
                </c:pt>
                <c:pt idx="782">
                  <c:v>0.46027397260273972</c:v>
                </c:pt>
                <c:pt idx="783">
                  <c:v>#N/A</c:v>
                </c:pt>
                <c:pt idx="784">
                  <c:v>#N/A</c:v>
                </c:pt>
                <c:pt idx="785">
                  <c:v>#N/A</c:v>
                </c:pt>
                <c:pt idx="786">
                  <c:v>#N/A</c:v>
                </c:pt>
                <c:pt idx="787">
                  <c:v>0.46027397260273972</c:v>
                </c:pt>
                <c:pt idx="788">
                  <c:v>#N/A</c:v>
                </c:pt>
                <c:pt idx="789">
                  <c:v>0.46027397260273972</c:v>
                </c:pt>
                <c:pt idx="790">
                  <c:v>#N/A</c:v>
                </c:pt>
                <c:pt idx="791">
                  <c:v>0.46027397260273972</c:v>
                </c:pt>
                <c:pt idx="792">
                  <c:v>#N/A</c:v>
                </c:pt>
                <c:pt idx="793">
                  <c:v>0.46027397260273972</c:v>
                </c:pt>
                <c:pt idx="794">
                  <c:v>0.46027397260273972</c:v>
                </c:pt>
                <c:pt idx="795">
                  <c:v>0.46027397260273972</c:v>
                </c:pt>
                <c:pt idx="796">
                  <c:v>0.46027397260273972</c:v>
                </c:pt>
                <c:pt idx="797">
                  <c:v>#N/A</c:v>
                </c:pt>
                <c:pt idx="798">
                  <c:v>0.46027397260273972</c:v>
                </c:pt>
                <c:pt idx="799">
                  <c:v>#N/A</c:v>
                </c:pt>
                <c:pt idx="800">
                  <c:v>#N/A</c:v>
                </c:pt>
                <c:pt idx="801">
                  <c:v>0.46027397260273972</c:v>
                </c:pt>
                <c:pt idx="802">
                  <c:v>0.46027397260273972</c:v>
                </c:pt>
                <c:pt idx="803">
                  <c:v>#N/A</c:v>
                </c:pt>
                <c:pt idx="804">
                  <c:v>0.46027397260273972</c:v>
                </c:pt>
                <c:pt idx="805">
                  <c:v>0.46027397260273972</c:v>
                </c:pt>
                <c:pt idx="806">
                  <c:v>#N/A</c:v>
                </c:pt>
                <c:pt idx="807">
                  <c:v>0.46027397260273972</c:v>
                </c:pt>
                <c:pt idx="808">
                  <c:v>#N/A</c:v>
                </c:pt>
                <c:pt idx="809">
                  <c:v>#N/A</c:v>
                </c:pt>
                <c:pt idx="810">
                  <c:v>#N/A</c:v>
                </c:pt>
                <c:pt idx="811">
                  <c:v>0.46027397260273972</c:v>
                </c:pt>
                <c:pt idx="812">
                  <c:v>#N/A</c:v>
                </c:pt>
                <c:pt idx="813">
                  <c:v>0.46027397260273972</c:v>
                </c:pt>
                <c:pt idx="814">
                  <c:v>#N/A</c:v>
                </c:pt>
                <c:pt idx="815">
                  <c:v>0.46027397260273972</c:v>
                </c:pt>
                <c:pt idx="816">
                  <c:v>#N/A</c:v>
                </c:pt>
                <c:pt idx="817">
                  <c:v>0.46027397260273972</c:v>
                </c:pt>
                <c:pt idx="818">
                  <c:v>#N/A</c:v>
                </c:pt>
                <c:pt idx="819">
                  <c:v>0.46027397260273972</c:v>
                </c:pt>
                <c:pt idx="820">
                  <c:v>#N/A</c:v>
                </c:pt>
                <c:pt idx="821">
                  <c:v>#N/A</c:v>
                </c:pt>
                <c:pt idx="822">
                  <c:v>0.46027397260273972</c:v>
                </c:pt>
                <c:pt idx="823">
                  <c:v>0.46027397260273972</c:v>
                </c:pt>
                <c:pt idx="824">
                  <c:v>0.46027397260273972</c:v>
                </c:pt>
                <c:pt idx="825">
                  <c:v>0.46027397260273972</c:v>
                </c:pt>
                <c:pt idx="826">
                  <c:v>#N/A</c:v>
                </c:pt>
                <c:pt idx="827">
                  <c:v>0.46027397260273972</c:v>
                </c:pt>
                <c:pt idx="828">
                  <c:v>0.46027397260273972</c:v>
                </c:pt>
                <c:pt idx="829">
                  <c:v>0.46027397260273972</c:v>
                </c:pt>
                <c:pt idx="830">
                  <c:v>#N/A</c:v>
                </c:pt>
                <c:pt idx="831">
                  <c:v>#N/A</c:v>
                </c:pt>
                <c:pt idx="832">
                  <c:v>#N/A</c:v>
                </c:pt>
                <c:pt idx="833">
                  <c:v>#N/A</c:v>
                </c:pt>
                <c:pt idx="834">
                  <c:v>#N/A</c:v>
                </c:pt>
                <c:pt idx="835">
                  <c:v>#N/A</c:v>
                </c:pt>
                <c:pt idx="836">
                  <c:v>0.46027397260273972</c:v>
                </c:pt>
                <c:pt idx="837">
                  <c:v>#N/A</c:v>
                </c:pt>
                <c:pt idx="838">
                  <c:v>#N/A</c:v>
                </c:pt>
                <c:pt idx="839">
                  <c:v>#N/A</c:v>
                </c:pt>
                <c:pt idx="840">
                  <c:v>#N/A</c:v>
                </c:pt>
                <c:pt idx="841">
                  <c:v>#N/A</c:v>
                </c:pt>
                <c:pt idx="842">
                  <c:v>#N/A</c:v>
                </c:pt>
                <c:pt idx="843">
                  <c:v>#N/A</c:v>
                </c:pt>
                <c:pt idx="844">
                  <c:v>#N/A</c:v>
                </c:pt>
                <c:pt idx="845">
                  <c:v>#N/A</c:v>
                </c:pt>
                <c:pt idx="846">
                  <c:v>0.46027397260273972</c:v>
                </c:pt>
                <c:pt idx="847">
                  <c:v>0.46027397260273972</c:v>
                </c:pt>
                <c:pt idx="848">
                  <c:v>#N/A</c:v>
                </c:pt>
                <c:pt idx="849">
                  <c:v>#N/A</c:v>
                </c:pt>
                <c:pt idx="850">
                  <c:v>#N/A</c:v>
                </c:pt>
                <c:pt idx="851">
                  <c:v>0.46027397260273972</c:v>
                </c:pt>
                <c:pt idx="852">
                  <c:v>0.46027397260273972</c:v>
                </c:pt>
                <c:pt idx="853">
                  <c:v>0.46027397260273972</c:v>
                </c:pt>
                <c:pt idx="854">
                  <c:v>0.46027397260273972</c:v>
                </c:pt>
                <c:pt idx="855">
                  <c:v>0.46027397260273972</c:v>
                </c:pt>
                <c:pt idx="856">
                  <c:v>#N/A</c:v>
                </c:pt>
                <c:pt idx="857">
                  <c:v>#N/A</c:v>
                </c:pt>
                <c:pt idx="858">
                  <c:v>#N/A</c:v>
                </c:pt>
                <c:pt idx="859">
                  <c:v>0.46027397260273972</c:v>
                </c:pt>
                <c:pt idx="860">
                  <c:v>#N/A</c:v>
                </c:pt>
                <c:pt idx="861">
                  <c:v>0.46027397260273972</c:v>
                </c:pt>
                <c:pt idx="862">
                  <c:v>0.46027397260273972</c:v>
                </c:pt>
                <c:pt idx="863">
                  <c:v>#N/A</c:v>
                </c:pt>
                <c:pt idx="864">
                  <c:v>0.46027397260273972</c:v>
                </c:pt>
                <c:pt idx="865">
                  <c:v>0.46027397260273972</c:v>
                </c:pt>
                <c:pt idx="866">
                  <c:v>0.46027397260273972</c:v>
                </c:pt>
                <c:pt idx="867">
                  <c:v>#N/A</c:v>
                </c:pt>
                <c:pt idx="868">
                  <c:v>#N/A</c:v>
                </c:pt>
                <c:pt idx="869">
                  <c:v>#N/A</c:v>
                </c:pt>
                <c:pt idx="870">
                  <c:v>0.46027397260273972</c:v>
                </c:pt>
                <c:pt idx="871">
                  <c:v>0.46027397260273972</c:v>
                </c:pt>
                <c:pt idx="872">
                  <c:v>#N/A</c:v>
                </c:pt>
                <c:pt idx="873">
                  <c:v>0.46027397260273972</c:v>
                </c:pt>
                <c:pt idx="874">
                  <c:v>#N/A</c:v>
                </c:pt>
                <c:pt idx="875">
                  <c:v>0.46027397260273972</c:v>
                </c:pt>
                <c:pt idx="876">
                  <c:v>0.46027397260273972</c:v>
                </c:pt>
                <c:pt idx="877">
                  <c:v>0.46027397260273972</c:v>
                </c:pt>
                <c:pt idx="878">
                  <c:v>#N/A</c:v>
                </c:pt>
                <c:pt idx="879">
                  <c:v>#N/A</c:v>
                </c:pt>
                <c:pt idx="880">
                  <c:v>0.46027397260273972</c:v>
                </c:pt>
                <c:pt idx="881">
                  <c:v>0.46027397260273972</c:v>
                </c:pt>
                <c:pt idx="882">
                  <c:v>0.46027397260273972</c:v>
                </c:pt>
                <c:pt idx="883">
                  <c:v>0.46027397260273972</c:v>
                </c:pt>
                <c:pt idx="884">
                  <c:v>0.46027397260273972</c:v>
                </c:pt>
                <c:pt idx="885">
                  <c:v>#N/A</c:v>
                </c:pt>
                <c:pt idx="886">
                  <c:v>0.46027397260273972</c:v>
                </c:pt>
                <c:pt idx="887">
                  <c:v>0.46027397260273972</c:v>
                </c:pt>
                <c:pt idx="888">
                  <c:v>0.46027397260273972</c:v>
                </c:pt>
                <c:pt idx="889">
                  <c:v>#N/A</c:v>
                </c:pt>
                <c:pt idx="890">
                  <c:v>#N/A</c:v>
                </c:pt>
                <c:pt idx="891">
                  <c:v>#N/A</c:v>
                </c:pt>
                <c:pt idx="892">
                  <c:v>#N/A</c:v>
                </c:pt>
                <c:pt idx="893">
                  <c:v>0.46027397260273972</c:v>
                </c:pt>
                <c:pt idx="894">
                  <c:v>#N/A</c:v>
                </c:pt>
                <c:pt idx="895">
                  <c:v>#N/A</c:v>
                </c:pt>
                <c:pt idx="896">
                  <c:v>#N/A</c:v>
                </c:pt>
                <c:pt idx="897">
                  <c:v>#N/A</c:v>
                </c:pt>
                <c:pt idx="898">
                  <c:v>0.46301369863013697</c:v>
                </c:pt>
                <c:pt idx="899">
                  <c:v>0.46301369863013697</c:v>
                </c:pt>
                <c:pt idx="900">
                  <c:v>#N/A</c:v>
                </c:pt>
                <c:pt idx="901">
                  <c:v>0.46301369863013697</c:v>
                </c:pt>
                <c:pt idx="902">
                  <c:v>#N/A</c:v>
                </c:pt>
                <c:pt idx="903">
                  <c:v>#N/A</c:v>
                </c:pt>
                <c:pt idx="904">
                  <c:v>#N/A</c:v>
                </c:pt>
                <c:pt idx="905">
                  <c:v>0.46301369863013697</c:v>
                </c:pt>
                <c:pt idx="906">
                  <c:v>0.46301369863013697</c:v>
                </c:pt>
                <c:pt idx="907">
                  <c:v>0.46301369863013697</c:v>
                </c:pt>
                <c:pt idx="908">
                  <c:v>#N/A</c:v>
                </c:pt>
                <c:pt idx="909">
                  <c:v>0.46301369863013697</c:v>
                </c:pt>
                <c:pt idx="910">
                  <c:v>#N/A</c:v>
                </c:pt>
                <c:pt idx="911">
                  <c:v>#N/A</c:v>
                </c:pt>
                <c:pt idx="912">
                  <c:v>0.46301369863013697</c:v>
                </c:pt>
                <c:pt idx="913">
                  <c:v>0.46301369863013697</c:v>
                </c:pt>
                <c:pt idx="914">
                  <c:v>#N/A</c:v>
                </c:pt>
                <c:pt idx="915">
                  <c:v>0.46301369863013697</c:v>
                </c:pt>
                <c:pt idx="916">
                  <c:v>#N/A</c:v>
                </c:pt>
                <c:pt idx="917">
                  <c:v>#N/A</c:v>
                </c:pt>
                <c:pt idx="918">
                  <c:v>#N/A</c:v>
                </c:pt>
                <c:pt idx="919">
                  <c:v>0.46301369863013697</c:v>
                </c:pt>
                <c:pt idx="920">
                  <c:v>0.46301369863013697</c:v>
                </c:pt>
                <c:pt idx="921">
                  <c:v>#N/A</c:v>
                </c:pt>
                <c:pt idx="922">
                  <c:v>#N/A</c:v>
                </c:pt>
                <c:pt idx="923">
                  <c:v>#N/A</c:v>
                </c:pt>
                <c:pt idx="924">
                  <c:v>#N/A</c:v>
                </c:pt>
                <c:pt idx="925">
                  <c:v>#N/A</c:v>
                </c:pt>
                <c:pt idx="926">
                  <c:v>#N/A</c:v>
                </c:pt>
                <c:pt idx="927">
                  <c:v>0.46301369863013697</c:v>
                </c:pt>
                <c:pt idx="928">
                  <c:v>0.46301369863013697</c:v>
                </c:pt>
                <c:pt idx="929">
                  <c:v>0.46301369863013697</c:v>
                </c:pt>
                <c:pt idx="930">
                  <c:v>#N/A</c:v>
                </c:pt>
                <c:pt idx="931">
                  <c:v>#N/A</c:v>
                </c:pt>
                <c:pt idx="932">
                  <c:v>#N/A</c:v>
                </c:pt>
                <c:pt idx="933">
                  <c:v>0.46301369863013697</c:v>
                </c:pt>
                <c:pt idx="934">
                  <c:v>0.46301369863013697</c:v>
                </c:pt>
                <c:pt idx="935">
                  <c:v>0.46301369863013697</c:v>
                </c:pt>
                <c:pt idx="936">
                  <c:v>#N/A</c:v>
                </c:pt>
                <c:pt idx="937">
                  <c:v>0.46301369863013697</c:v>
                </c:pt>
                <c:pt idx="938">
                  <c:v>#N/A</c:v>
                </c:pt>
                <c:pt idx="939">
                  <c:v>#N/A</c:v>
                </c:pt>
                <c:pt idx="940">
                  <c:v>0.46301369863013697</c:v>
                </c:pt>
                <c:pt idx="941">
                  <c:v>#N/A</c:v>
                </c:pt>
                <c:pt idx="942">
                  <c:v>#N/A</c:v>
                </c:pt>
                <c:pt idx="943">
                  <c:v>0.46301369863013697</c:v>
                </c:pt>
                <c:pt idx="944">
                  <c:v>0.46301369863013697</c:v>
                </c:pt>
                <c:pt idx="945">
                  <c:v>0.46301369863013697</c:v>
                </c:pt>
                <c:pt idx="946">
                  <c:v>#N/A</c:v>
                </c:pt>
                <c:pt idx="947">
                  <c:v>0.46301369863013697</c:v>
                </c:pt>
                <c:pt idx="948">
                  <c:v>0.46301369863013697</c:v>
                </c:pt>
                <c:pt idx="949">
                  <c:v>#N/A</c:v>
                </c:pt>
                <c:pt idx="950">
                  <c:v>#N/A</c:v>
                </c:pt>
                <c:pt idx="951">
                  <c:v>#N/A</c:v>
                </c:pt>
                <c:pt idx="952">
                  <c:v>#N/A</c:v>
                </c:pt>
                <c:pt idx="953">
                  <c:v>0.46301369863013697</c:v>
                </c:pt>
                <c:pt idx="954">
                  <c:v>#N/A</c:v>
                </c:pt>
                <c:pt idx="955">
                  <c:v>0.46301369863013697</c:v>
                </c:pt>
                <c:pt idx="956">
                  <c:v>#N/A</c:v>
                </c:pt>
                <c:pt idx="957">
                  <c:v>0.46301369863013697</c:v>
                </c:pt>
                <c:pt idx="958">
                  <c:v>#N/A</c:v>
                </c:pt>
                <c:pt idx="959">
                  <c:v>0.46301369863013697</c:v>
                </c:pt>
                <c:pt idx="960">
                  <c:v>#N/A</c:v>
                </c:pt>
                <c:pt idx="961">
                  <c:v>#N/A</c:v>
                </c:pt>
                <c:pt idx="962">
                  <c:v>0.46301369863013697</c:v>
                </c:pt>
                <c:pt idx="963">
                  <c:v>0.46301369863013697</c:v>
                </c:pt>
                <c:pt idx="964">
                  <c:v>#N/A</c:v>
                </c:pt>
                <c:pt idx="965">
                  <c:v>0.46301369863013697</c:v>
                </c:pt>
                <c:pt idx="966">
                  <c:v>0.46301369863013697</c:v>
                </c:pt>
                <c:pt idx="967">
                  <c:v>0.46301369863013697</c:v>
                </c:pt>
                <c:pt idx="968">
                  <c:v>0.46301369863013697</c:v>
                </c:pt>
                <c:pt idx="969">
                  <c:v>#N/A</c:v>
                </c:pt>
                <c:pt idx="970">
                  <c:v>#N/A</c:v>
                </c:pt>
                <c:pt idx="971">
                  <c:v>#N/A</c:v>
                </c:pt>
                <c:pt idx="972">
                  <c:v>#N/A</c:v>
                </c:pt>
                <c:pt idx="973">
                  <c:v>#N/A</c:v>
                </c:pt>
                <c:pt idx="974">
                  <c:v>#N/A</c:v>
                </c:pt>
                <c:pt idx="975">
                  <c:v>0.46575342465753422</c:v>
                </c:pt>
                <c:pt idx="976">
                  <c:v>#N/A</c:v>
                </c:pt>
                <c:pt idx="977">
                  <c:v>0.46575342465753422</c:v>
                </c:pt>
                <c:pt idx="978">
                  <c:v>#N/A</c:v>
                </c:pt>
                <c:pt idx="979">
                  <c:v>#N/A</c:v>
                </c:pt>
                <c:pt idx="980">
                  <c:v>#N/A</c:v>
                </c:pt>
                <c:pt idx="981">
                  <c:v>#N/A</c:v>
                </c:pt>
                <c:pt idx="982">
                  <c:v>#N/A</c:v>
                </c:pt>
                <c:pt idx="983">
                  <c:v>0.46575342465753422</c:v>
                </c:pt>
                <c:pt idx="984">
                  <c:v>#N/A</c:v>
                </c:pt>
                <c:pt idx="985">
                  <c:v>0.46575342465753422</c:v>
                </c:pt>
                <c:pt idx="986">
                  <c:v>#N/A</c:v>
                </c:pt>
                <c:pt idx="987">
                  <c:v>0.46575342465753422</c:v>
                </c:pt>
                <c:pt idx="988">
                  <c:v>0.46575342465753422</c:v>
                </c:pt>
                <c:pt idx="989">
                  <c:v>#N/A</c:v>
                </c:pt>
                <c:pt idx="990">
                  <c:v>0.46575342465753422</c:v>
                </c:pt>
                <c:pt idx="991">
                  <c:v>#N/A</c:v>
                </c:pt>
                <c:pt idx="992">
                  <c:v>0.46575342465753422</c:v>
                </c:pt>
                <c:pt idx="993">
                  <c:v>#N/A</c:v>
                </c:pt>
                <c:pt idx="994">
                  <c:v>#N/A</c:v>
                </c:pt>
                <c:pt idx="995">
                  <c:v>0.46575342465753422</c:v>
                </c:pt>
                <c:pt idx="996">
                  <c:v>0.46575342465753422</c:v>
                </c:pt>
                <c:pt idx="997">
                  <c:v>#N/A</c:v>
                </c:pt>
                <c:pt idx="998">
                  <c:v>0.46575342465753422</c:v>
                </c:pt>
                <c:pt idx="999">
                  <c:v>0.46575342465753422</c:v>
                </c:pt>
                <c:pt idx="1000">
                  <c:v>0.46575342465753422</c:v>
                </c:pt>
                <c:pt idx="1001">
                  <c:v>0.46575342465753422</c:v>
                </c:pt>
                <c:pt idx="1002">
                  <c:v>0.46575342465753422</c:v>
                </c:pt>
                <c:pt idx="1003">
                  <c:v>0.46575342465753422</c:v>
                </c:pt>
                <c:pt idx="1004">
                  <c:v>0.46575342465753422</c:v>
                </c:pt>
                <c:pt idx="1005">
                  <c:v>#N/A</c:v>
                </c:pt>
                <c:pt idx="1006">
                  <c:v>0.46575342465753422</c:v>
                </c:pt>
                <c:pt idx="1007">
                  <c:v>#N/A</c:v>
                </c:pt>
                <c:pt idx="1008">
                  <c:v>0.46575342465753422</c:v>
                </c:pt>
                <c:pt idx="1009">
                  <c:v>#N/A</c:v>
                </c:pt>
                <c:pt idx="1010">
                  <c:v>#N/A</c:v>
                </c:pt>
                <c:pt idx="1011">
                  <c:v>#N/A</c:v>
                </c:pt>
                <c:pt idx="1012">
                  <c:v>#N/A</c:v>
                </c:pt>
                <c:pt idx="1013">
                  <c:v>#N/A</c:v>
                </c:pt>
                <c:pt idx="1014">
                  <c:v>#N/A</c:v>
                </c:pt>
                <c:pt idx="1015">
                  <c:v>0.46575342465753422</c:v>
                </c:pt>
                <c:pt idx="1016">
                  <c:v>0.46575342465753422</c:v>
                </c:pt>
                <c:pt idx="1017">
                  <c:v>#N/A</c:v>
                </c:pt>
                <c:pt idx="1018">
                  <c:v>0.46575342465753422</c:v>
                </c:pt>
                <c:pt idx="1019">
                  <c:v>#N/A</c:v>
                </c:pt>
                <c:pt idx="1020">
                  <c:v>0.46575342465753422</c:v>
                </c:pt>
                <c:pt idx="1021">
                  <c:v>#N/A</c:v>
                </c:pt>
                <c:pt idx="1022">
                  <c:v>0.46575342465753422</c:v>
                </c:pt>
                <c:pt idx="1023">
                  <c:v>#N/A</c:v>
                </c:pt>
                <c:pt idx="1024">
                  <c:v>#N/A</c:v>
                </c:pt>
                <c:pt idx="1025">
                  <c:v>0.46575342465753422</c:v>
                </c:pt>
                <c:pt idx="1026">
                  <c:v>#N/A</c:v>
                </c:pt>
                <c:pt idx="1027">
                  <c:v>0.46575342465753422</c:v>
                </c:pt>
                <c:pt idx="1028">
                  <c:v>0.46575342465753422</c:v>
                </c:pt>
                <c:pt idx="1029">
                  <c:v>#N/A</c:v>
                </c:pt>
                <c:pt idx="1030">
                  <c:v>#N/A</c:v>
                </c:pt>
                <c:pt idx="1031">
                  <c:v>#N/A</c:v>
                </c:pt>
                <c:pt idx="1032">
                  <c:v>0.46575342465753422</c:v>
                </c:pt>
                <c:pt idx="1033">
                  <c:v>#N/A</c:v>
                </c:pt>
                <c:pt idx="1034">
                  <c:v>#N/A</c:v>
                </c:pt>
                <c:pt idx="1035">
                  <c:v>#N/A</c:v>
                </c:pt>
                <c:pt idx="1036">
                  <c:v>0.46575342465753422</c:v>
                </c:pt>
                <c:pt idx="1037">
                  <c:v>#N/A</c:v>
                </c:pt>
                <c:pt idx="1038">
                  <c:v>#N/A</c:v>
                </c:pt>
                <c:pt idx="1039">
                  <c:v>0.46849315068493153</c:v>
                </c:pt>
                <c:pt idx="1040">
                  <c:v>#N/A</c:v>
                </c:pt>
                <c:pt idx="1041">
                  <c:v>#N/A</c:v>
                </c:pt>
                <c:pt idx="1042">
                  <c:v>0.46849315068493153</c:v>
                </c:pt>
                <c:pt idx="1043">
                  <c:v>#N/A</c:v>
                </c:pt>
                <c:pt idx="1044">
                  <c:v>#N/A</c:v>
                </c:pt>
                <c:pt idx="1045">
                  <c:v>#N/A</c:v>
                </c:pt>
                <c:pt idx="1046">
                  <c:v>#N/A</c:v>
                </c:pt>
                <c:pt idx="1047">
                  <c:v>0.47123287671232877</c:v>
                </c:pt>
                <c:pt idx="1048">
                  <c:v>#N/A</c:v>
                </c:pt>
                <c:pt idx="1049">
                  <c:v>0.47123287671232877</c:v>
                </c:pt>
                <c:pt idx="1050">
                  <c:v>#N/A</c:v>
                </c:pt>
                <c:pt idx="1051">
                  <c:v>0.47123287671232877</c:v>
                </c:pt>
                <c:pt idx="1052">
                  <c:v>0.47123287671232877</c:v>
                </c:pt>
                <c:pt idx="1053">
                  <c:v>0.47123287671232877</c:v>
                </c:pt>
                <c:pt idx="1054">
                  <c:v>0.47123287671232877</c:v>
                </c:pt>
                <c:pt idx="1055">
                  <c:v>#N/A</c:v>
                </c:pt>
                <c:pt idx="1056">
                  <c:v>0.47397260273972602</c:v>
                </c:pt>
                <c:pt idx="1057">
                  <c:v>0.47397260273972602</c:v>
                </c:pt>
                <c:pt idx="1058">
                  <c:v>0.47397260273972602</c:v>
                </c:pt>
                <c:pt idx="1059">
                  <c:v>#N/A</c:v>
                </c:pt>
                <c:pt idx="1060">
                  <c:v>#N/A</c:v>
                </c:pt>
                <c:pt idx="1061">
                  <c:v>#N/A</c:v>
                </c:pt>
                <c:pt idx="1062">
                  <c:v>0.47397260273972602</c:v>
                </c:pt>
                <c:pt idx="1063">
                  <c:v>#N/A</c:v>
                </c:pt>
                <c:pt idx="1064">
                  <c:v>0.47397260273972602</c:v>
                </c:pt>
                <c:pt idx="1065">
                  <c:v>#N/A</c:v>
                </c:pt>
                <c:pt idx="1066">
                  <c:v>#N/A</c:v>
                </c:pt>
                <c:pt idx="1067">
                  <c:v>#N/A</c:v>
                </c:pt>
                <c:pt idx="1068">
                  <c:v>0.47397260273972602</c:v>
                </c:pt>
                <c:pt idx="1069">
                  <c:v>0.47397260273972602</c:v>
                </c:pt>
                <c:pt idx="1070">
                  <c:v>0.47397260273972602</c:v>
                </c:pt>
                <c:pt idx="1071">
                  <c:v>0.47397260273972602</c:v>
                </c:pt>
                <c:pt idx="1072">
                  <c:v>0.47397260273972602</c:v>
                </c:pt>
                <c:pt idx="1073">
                  <c:v>#N/A</c:v>
                </c:pt>
                <c:pt idx="1074">
                  <c:v>0.47397260273972602</c:v>
                </c:pt>
                <c:pt idx="1075">
                  <c:v>#N/A</c:v>
                </c:pt>
                <c:pt idx="1076">
                  <c:v>#N/A</c:v>
                </c:pt>
                <c:pt idx="1077">
                  <c:v>0.47397260273972602</c:v>
                </c:pt>
                <c:pt idx="1078">
                  <c:v>0.47397260273972602</c:v>
                </c:pt>
                <c:pt idx="1079">
                  <c:v>#N/A</c:v>
                </c:pt>
                <c:pt idx="1080">
                  <c:v>#N/A</c:v>
                </c:pt>
                <c:pt idx="1081">
                  <c:v>#N/A</c:v>
                </c:pt>
                <c:pt idx="1082">
                  <c:v>#N/A</c:v>
                </c:pt>
                <c:pt idx="1083">
                  <c:v>#N/A</c:v>
                </c:pt>
                <c:pt idx="1084">
                  <c:v>#N/A</c:v>
                </c:pt>
                <c:pt idx="1085">
                  <c:v>#N/A</c:v>
                </c:pt>
                <c:pt idx="1086">
                  <c:v>#N/A</c:v>
                </c:pt>
                <c:pt idx="1087">
                  <c:v>#N/A</c:v>
                </c:pt>
                <c:pt idx="1088">
                  <c:v>#N/A</c:v>
                </c:pt>
                <c:pt idx="1089">
                  <c:v>#N/A</c:v>
                </c:pt>
                <c:pt idx="1090">
                  <c:v>#N/A</c:v>
                </c:pt>
                <c:pt idx="1091">
                  <c:v>#N/A</c:v>
                </c:pt>
                <c:pt idx="1092">
                  <c:v>#N/A</c:v>
                </c:pt>
                <c:pt idx="1093">
                  <c:v>#N/A</c:v>
                </c:pt>
                <c:pt idx="1094">
                  <c:v>0.47671232876712327</c:v>
                </c:pt>
                <c:pt idx="1095">
                  <c:v>0.47671232876712327</c:v>
                </c:pt>
                <c:pt idx="1096">
                  <c:v>#N/A</c:v>
                </c:pt>
                <c:pt idx="1097">
                  <c:v>#N/A</c:v>
                </c:pt>
                <c:pt idx="1098">
                  <c:v>0.47945205479452052</c:v>
                </c:pt>
                <c:pt idx="1099">
                  <c:v>0.47945205479452052</c:v>
                </c:pt>
                <c:pt idx="1100">
                  <c:v>0.47945205479452052</c:v>
                </c:pt>
                <c:pt idx="1101">
                  <c:v>0.47945205479452052</c:v>
                </c:pt>
                <c:pt idx="1102">
                  <c:v>#N/A</c:v>
                </c:pt>
                <c:pt idx="1103">
                  <c:v>0.47945205479452052</c:v>
                </c:pt>
                <c:pt idx="1104">
                  <c:v>#N/A</c:v>
                </c:pt>
                <c:pt idx="1105">
                  <c:v>0.48219178082191783</c:v>
                </c:pt>
                <c:pt idx="1106">
                  <c:v>#N/A</c:v>
                </c:pt>
                <c:pt idx="1107">
                  <c:v>0.48219178082191783</c:v>
                </c:pt>
                <c:pt idx="1108">
                  <c:v>0.48219178082191783</c:v>
                </c:pt>
                <c:pt idx="1109">
                  <c:v>#N/A</c:v>
                </c:pt>
                <c:pt idx="1110">
                  <c:v>#N/A</c:v>
                </c:pt>
                <c:pt idx="1111">
                  <c:v>#N/A</c:v>
                </c:pt>
                <c:pt idx="1112">
                  <c:v>#N/A</c:v>
                </c:pt>
                <c:pt idx="1113">
                  <c:v>#N/A</c:v>
                </c:pt>
                <c:pt idx="1114">
                  <c:v>0.48219178082191783</c:v>
                </c:pt>
                <c:pt idx="1115">
                  <c:v>#N/A</c:v>
                </c:pt>
                <c:pt idx="1116">
                  <c:v>#N/A</c:v>
                </c:pt>
                <c:pt idx="1117">
                  <c:v>#N/A</c:v>
                </c:pt>
                <c:pt idx="1118">
                  <c:v>#N/A</c:v>
                </c:pt>
                <c:pt idx="1119">
                  <c:v>#N/A</c:v>
                </c:pt>
                <c:pt idx="1120">
                  <c:v>#N/A</c:v>
                </c:pt>
                <c:pt idx="1121">
                  <c:v>#N/A</c:v>
                </c:pt>
                <c:pt idx="1122">
                  <c:v>#N/A</c:v>
                </c:pt>
                <c:pt idx="1123">
                  <c:v>#N/A</c:v>
                </c:pt>
                <c:pt idx="1124">
                  <c:v>#N/A</c:v>
                </c:pt>
                <c:pt idx="1125">
                  <c:v>0.49315068493150682</c:v>
                </c:pt>
                <c:pt idx="1126">
                  <c:v>0.49315068493150682</c:v>
                </c:pt>
                <c:pt idx="1127">
                  <c:v>0.49315068493150682</c:v>
                </c:pt>
                <c:pt idx="1128">
                  <c:v>#N/A</c:v>
                </c:pt>
                <c:pt idx="1129">
                  <c:v>0.49315068493150682</c:v>
                </c:pt>
                <c:pt idx="1130">
                  <c:v>0.49315068493150682</c:v>
                </c:pt>
                <c:pt idx="1131">
                  <c:v>#N/A</c:v>
                </c:pt>
                <c:pt idx="1132">
                  <c:v>#N/A</c:v>
                </c:pt>
                <c:pt idx="1133">
                  <c:v>#N/A</c:v>
                </c:pt>
                <c:pt idx="1134">
                  <c:v>0.49315068493150682</c:v>
                </c:pt>
                <c:pt idx="1135">
                  <c:v>0.49315068493150682</c:v>
                </c:pt>
                <c:pt idx="1136">
                  <c:v>#N/A</c:v>
                </c:pt>
                <c:pt idx="1137">
                  <c:v>0.49315068493150682</c:v>
                </c:pt>
                <c:pt idx="1138">
                  <c:v>0.49315068493150682</c:v>
                </c:pt>
                <c:pt idx="1139">
                  <c:v>#N/A</c:v>
                </c:pt>
                <c:pt idx="1140">
                  <c:v>0.49589041095890413</c:v>
                </c:pt>
                <c:pt idx="1141">
                  <c:v>#N/A</c:v>
                </c:pt>
                <c:pt idx="1142">
                  <c:v>#N/A</c:v>
                </c:pt>
                <c:pt idx="1143">
                  <c:v>#N/A</c:v>
                </c:pt>
                <c:pt idx="1144">
                  <c:v>#N/A</c:v>
                </c:pt>
                <c:pt idx="1145">
                  <c:v>#N/A</c:v>
                </c:pt>
                <c:pt idx="1146">
                  <c:v>#N/A</c:v>
                </c:pt>
                <c:pt idx="1147">
                  <c:v>#N/A</c:v>
                </c:pt>
                <c:pt idx="1148">
                  <c:v>#N/A</c:v>
                </c:pt>
                <c:pt idx="1149">
                  <c:v>0.50136986301369868</c:v>
                </c:pt>
                <c:pt idx="1150">
                  <c:v>0.50410958904109593</c:v>
                </c:pt>
                <c:pt idx="1151">
                  <c:v>0.50410958904109593</c:v>
                </c:pt>
                <c:pt idx="1152">
                  <c:v>0.50410958904109593</c:v>
                </c:pt>
                <c:pt idx="1153">
                  <c:v>0.50410958904109593</c:v>
                </c:pt>
                <c:pt idx="1154">
                  <c:v>0.50410958904109593</c:v>
                </c:pt>
                <c:pt idx="1155">
                  <c:v>0.50410958904109593</c:v>
                </c:pt>
                <c:pt idx="1156">
                  <c:v>#N/A</c:v>
                </c:pt>
                <c:pt idx="1157">
                  <c:v>#N/A</c:v>
                </c:pt>
                <c:pt idx="1158">
                  <c:v>0.51232876712328768</c:v>
                </c:pt>
                <c:pt idx="1159">
                  <c:v>0.51232876712328768</c:v>
                </c:pt>
                <c:pt idx="1160">
                  <c:v>0.51232876712328768</c:v>
                </c:pt>
                <c:pt idx="1161">
                  <c:v>0.51232876712328768</c:v>
                </c:pt>
                <c:pt idx="1162">
                  <c:v>#N/A</c:v>
                </c:pt>
                <c:pt idx="1163">
                  <c:v>#N/A</c:v>
                </c:pt>
                <c:pt idx="1164">
                  <c:v>0.51232876712328768</c:v>
                </c:pt>
                <c:pt idx="1165">
                  <c:v>#N/A</c:v>
                </c:pt>
                <c:pt idx="1166">
                  <c:v>#N/A</c:v>
                </c:pt>
                <c:pt idx="1167">
                  <c:v>0.51232876712328768</c:v>
                </c:pt>
                <c:pt idx="1168">
                  <c:v>#N/A</c:v>
                </c:pt>
                <c:pt idx="1169">
                  <c:v>0.51232876712328768</c:v>
                </c:pt>
                <c:pt idx="1170">
                  <c:v>#N/A</c:v>
                </c:pt>
                <c:pt idx="1171">
                  <c:v>0.51232876712328768</c:v>
                </c:pt>
                <c:pt idx="1172">
                  <c:v>#N/A</c:v>
                </c:pt>
                <c:pt idx="1173">
                  <c:v>0.51506849315068493</c:v>
                </c:pt>
                <c:pt idx="1174">
                  <c:v>#N/A</c:v>
                </c:pt>
                <c:pt idx="1175">
                  <c:v>0.51506849315068493</c:v>
                </c:pt>
                <c:pt idx="1176">
                  <c:v>#N/A</c:v>
                </c:pt>
                <c:pt idx="1177">
                  <c:v>0.51506849315068493</c:v>
                </c:pt>
                <c:pt idx="1178">
                  <c:v>0.51506849315068493</c:v>
                </c:pt>
                <c:pt idx="1179">
                  <c:v>#N/A</c:v>
                </c:pt>
                <c:pt idx="1180">
                  <c:v>#N/A</c:v>
                </c:pt>
                <c:pt idx="1181">
                  <c:v>#N/A</c:v>
                </c:pt>
                <c:pt idx="1182">
                  <c:v>#N/A</c:v>
                </c:pt>
                <c:pt idx="1183">
                  <c:v>#N/A</c:v>
                </c:pt>
                <c:pt idx="1184">
                  <c:v>#N/A</c:v>
                </c:pt>
                <c:pt idx="1185">
                  <c:v>0.51506849315068493</c:v>
                </c:pt>
                <c:pt idx="1186">
                  <c:v>0.51506849315068493</c:v>
                </c:pt>
                <c:pt idx="1187">
                  <c:v>#N/A</c:v>
                </c:pt>
                <c:pt idx="1188">
                  <c:v>#N/A</c:v>
                </c:pt>
                <c:pt idx="1189">
                  <c:v>#N/A</c:v>
                </c:pt>
                <c:pt idx="1190">
                  <c:v>#N/A</c:v>
                </c:pt>
                <c:pt idx="1191">
                  <c:v>0.51506849315068493</c:v>
                </c:pt>
                <c:pt idx="1192">
                  <c:v>#N/A</c:v>
                </c:pt>
                <c:pt idx="1193">
                  <c:v>0.51506849315068493</c:v>
                </c:pt>
                <c:pt idx="1194">
                  <c:v>0.51506849315068493</c:v>
                </c:pt>
                <c:pt idx="1195">
                  <c:v>0.51506849315068493</c:v>
                </c:pt>
                <c:pt idx="1196">
                  <c:v>#N/A</c:v>
                </c:pt>
                <c:pt idx="1197">
                  <c:v>0.51780821917808217</c:v>
                </c:pt>
                <c:pt idx="1198">
                  <c:v>0.51780821917808217</c:v>
                </c:pt>
                <c:pt idx="1199">
                  <c:v>#N/A</c:v>
                </c:pt>
                <c:pt idx="1200">
                  <c:v>#N/A</c:v>
                </c:pt>
                <c:pt idx="1201">
                  <c:v>0.51780821917808217</c:v>
                </c:pt>
                <c:pt idx="1202">
                  <c:v>#N/A</c:v>
                </c:pt>
                <c:pt idx="1203">
                  <c:v>0.51780821917808217</c:v>
                </c:pt>
                <c:pt idx="1204">
                  <c:v>0.51780821917808217</c:v>
                </c:pt>
                <c:pt idx="1205">
                  <c:v>0.51780821917808217</c:v>
                </c:pt>
                <c:pt idx="1206">
                  <c:v>0.51780821917808217</c:v>
                </c:pt>
                <c:pt idx="1207">
                  <c:v>#N/A</c:v>
                </c:pt>
                <c:pt idx="1208">
                  <c:v>#N/A</c:v>
                </c:pt>
                <c:pt idx="1209">
                  <c:v>0.51780821917808217</c:v>
                </c:pt>
                <c:pt idx="1210">
                  <c:v>#N/A</c:v>
                </c:pt>
                <c:pt idx="1211">
                  <c:v>#N/A</c:v>
                </c:pt>
                <c:pt idx="1212">
                  <c:v>#N/A</c:v>
                </c:pt>
                <c:pt idx="1213">
                  <c:v>0.51780821917808217</c:v>
                </c:pt>
                <c:pt idx="1214">
                  <c:v>0.51780821917808217</c:v>
                </c:pt>
                <c:pt idx="1215">
                  <c:v>#N/A</c:v>
                </c:pt>
                <c:pt idx="1216">
                  <c:v>0.51780821917808217</c:v>
                </c:pt>
                <c:pt idx="1217">
                  <c:v>#N/A</c:v>
                </c:pt>
                <c:pt idx="1218">
                  <c:v>0.51780821917808217</c:v>
                </c:pt>
                <c:pt idx="1219">
                  <c:v>0.52054794520547942</c:v>
                </c:pt>
                <c:pt idx="1220">
                  <c:v>0.52054794520547942</c:v>
                </c:pt>
                <c:pt idx="1221">
                  <c:v>#N/A</c:v>
                </c:pt>
                <c:pt idx="1222">
                  <c:v>0.52054794520547942</c:v>
                </c:pt>
                <c:pt idx="1223">
                  <c:v>#N/A</c:v>
                </c:pt>
                <c:pt idx="1224">
                  <c:v>0.52054794520547942</c:v>
                </c:pt>
                <c:pt idx="1225">
                  <c:v>0.52054794520547942</c:v>
                </c:pt>
                <c:pt idx="1226">
                  <c:v>0.52054794520547942</c:v>
                </c:pt>
                <c:pt idx="1227">
                  <c:v>0.52054794520547942</c:v>
                </c:pt>
                <c:pt idx="1228">
                  <c:v>#N/A</c:v>
                </c:pt>
                <c:pt idx="1229">
                  <c:v>0.52054794520547942</c:v>
                </c:pt>
                <c:pt idx="1230">
                  <c:v>#N/A</c:v>
                </c:pt>
                <c:pt idx="1231">
                  <c:v>0.52054794520547942</c:v>
                </c:pt>
                <c:pt idx="1232">
                  <c:v>#N/A</c:v>
                </c:pt>
                <c:pt idx="1233">
                  <c:v>0.52054794520547942</c:v>
                </c:pt>
                <c:pt idx="1234">
                  <c:v>0.52054794520547942</c:v>
                </c:pt>
                <c:pt idx="1235">
                  <c:v>#N/A</c:v>
                </c:pt>
                <c:pt idx="1236">
                  <c:v>#N/A</c:v>
                </c:pt>
                <c:pt idx="1237">
                  <c:v>0.52328767123287667</c:v>
                </c:pt>
                <c:pt idx="1238">
                  <c:v>#N/A</c:v>
                </c:pt>
                <c:pt idx="1239">
                  <c:v>#N/A</c:v>
                </c:pt>
                <c:pt idx="1240">
                  <c:v>#N/A</c:v>
                </c:pt>
                <c:pt idx="1241">
                  <c:v>0.52328767123287667</c:v>
                </c:pt>
                <c:pt idx="1242">
                  <c:v>#N/A</c:v>
                </c:pt>
                <c:pt idx="1243">
                  <c:v>#N/A</c:v>
                </c:pt>
                <c:pt idx="1244">
                  <c:v>0.53150684931506853</c:v>
                </c:pt>
                <c:pt idx="1245">
                  <c:v>0.53150684931506853</c:v>
                </c:pt>
                <c:pt idx="1246">
                  <c:v>0.53150684931506853</c:v>
                </c:pt>
                <c:pt idx="1247">
                  <c:v>0.53150684931506853</c:v>
                </c:pt>
                <c:pt idx="1248">
                  <c:v>0.53150684931506853</c:v>
                </c:pt>
                <c:pt idx="1249">
                  <c:v>#N/A</c:v>
                </c:pt>
                <c:pt idx="1250">
                  <c:v>#N/A</c:v>
                </c:pt>
                <c:pt idx="1251">
                  <c:v>0.53150684931506853</c:v>
                </c:pt>
                <c:pt idx="1252">
                  <c:v>0.53150684931506853</c:v>
                </c:pt>
                <c:pt idx="1253">
                  <c:v>#N/A</c:v>
                </c:pt>
                <c:pt idx="1254">
                  <c:v>#N/A</c:v>
                </c:pt>
                <c:pt idx="1255">
                  <c:v>#N/A</c:v>
                </c:pt>
                <c:pt idx="1256">
                  <c:v>#N/A</c:v>
                </c:pt>
                <c:pt idx="1257">
                  <c:v>#N/A</c:v>
                </c:pt>
                <c:pt idx="1258">
                  <c:v>#N/A</c:v>
                </c:pt>
                <c:pt idx="1259">
                  <c:v>0.53150684931506853</c:v>
                </c:pt>
                <c:pt idx="1260">
                  <c:v>0.53150684931506853</c:v>
                </c:pt>
                <c:pt idx="1261">
                  <c:v>#N/A</c:v>
                </c:pt>
                <c:pt idx="1262">
                  <c:v>#N/A</c:v>
                </c:pt>
                <c:pt idx="1263">
                  <c:v>0.53150684931506853</c:v>
                </c:pt>
                <c:pt idx="1264">
                  <c:v>#N/A</c:v>
                </c:pt>
                <c:pt idx="1265">
                  <c:v>0.53150684931506853</c:v>
                </c:pt>
                <c:pt idx="1266">
                  <c:v>#N/A</c:v>
                </c:pt>
                <c:pt idx="1267">
                  <c:v>#N/A</c:v>
                </c:pt>
                <c:pt idx="1268">
                  <c:v>#N/A</c:v>
                </c:pt>
                <c:pt idx="1269">
                  <c:v>#N/A</c:v>
                </c:pt>
                <c:pt idx="1270">
                  <c:v>0.53150684931506853</c:v>
                </c:pt>
                <c:pt idx="1271">
                  <c:v>#N/A</c:v>
                </c:pt>
                <c:pt idx="1272">
                  <c:v>#N/A</c:v>
                </c:pt>
                <c:pt idx="1273">
                  <c:v>#N/A</c:v>
                </c:pt>
                <c:pt idx="1274">
                  <c:v>#N/A</c:v>
                </c:pt>
                <c:pt idx="1275">
                  <c:v>#N/A</c:v>
                </c:pt>
                <c:pt idx="1276">
                  <c:v>0.53150684931506853</c:v>
                </c:pt>
                <c:pt idx="1277">
                  <c:v>0.53150684931506853</c:v>
                </c:pt>
                <c:pt idx="1278">
                  <c:v>#N/A</c:v>
                </c:pt>
                <c:pt idx="1279">
                  <c:v>#N/A</c:v>
                </c:pt>
                <c:pt idx="1280">
                  <c:v>#N/A</c:v>
                </c:pt>
                <c:pt idx="1281">
                  <c:v>#N/A</c:v>
                </c:pt>
                <c:pt idx="1282">
                  <c:v>#N/A</c:v>
                </c:pt>
                <c:pt idx="1283">
                  <c:v>0.53698630136986303</c:v>
                </c:pt>
                <c:pt idx="1284">
                  <c:v>0.53698630136986303</c:v>
                </c:pt>
                <c:pt idx="1285">
                  <c:v>0.53698630136986303</c:v>
                </c:pt>
                <c:pt idx="1286">
                  <c:v>0.53972602739726028</c:v>
                </c:pt>
                <c:pt idx="1287">
                  <c:v>0.53972602739726028</c:v>
                </c:pt>
                <c:pt idx="1288">
                  <c:v>#N/A</c:v>
                </c:pt>
                <c:pt idx="1289">
                  <c:v>#N/A</c:v>
                </c:pt>
                <c:pt idx="1290">
                  <c:v>#N/A</c:v>
                </c:pt>
                <c:pt idx="1291">
                  <c:v>0.54246575342465753</c:v>
                </c:pt>
                <c:pt idx="1292">
                  <c:v>0.54246575342465753</c:v>
                </c:pt>
                <c:pt idx="1293">
                  <c:v>0.54246575342465753</c:v>
                </c:pt>
                <c:pt idx="1294">
                  <c:v>0.54246575342465753</c:v>
                </c:pt>
                <c:pt idx="1295">
                  <c:v>0.54246575342465753</c:v>
                </c:pt>
                <c:pt idx="1296">
                  <c:v>#N/A</c:v>
                </c:pt>
                <c:pt idx="1297">
                  <c:v>#N/A</c:v>
                </c:pt>
                <c:pt idx="1298">
                  <c:v>0.54246575342465753</c:v>
                </c:pt>
                <c:pt idx="1299">
                  <c:v>#N/A</c:v>
                </c:pt>
                <c:pt idx="1300">
                  <c:v>#N/A</c:v>
                </c:pt>
                <c:pt idx="1301">
                  <c:v>#N/A</c:v>
                </c:pt>
                <c:pt idx="1302">
                  <c:v>#N/A</c:v>
                </c:pt>
                <c:pt idx="1303">
                  <c:v>#N/A</c:v>
                </c:pt>
                <c:pt idx="1304">
                  <c:v>#N/A</c:v>
                </c:pt>
                <c:pt idx="1305">
                  <c:v>#N/A</c:v>
                </c:pt>
                <c:pt idx="1306">
                  <c:v>0.54246575342465753</c:v>
                </c:pt>
                <c:pt idx="1307">
                  <c:v>0.54246575342465753</c:v>
                </c:pt>
                <c:pt idx="1308">
                  <c:v>#N/A</c:v>
                </c:pt>
                <c:pt idx="1309">
                  <c:v>#N/A</c:v>
                </c:pt>
                <c:pt idx="1310">
                  <c:v>0.54246575342465753</c:v>
                </c:pt>
                <c:pt idx="1311">
                  <c:v>#N/A</c:v>
                </c:pt>
                <c:pt idx="1312">
                  <c:v>#N/A</c:v>
                </c:pt>
                <c:pt idx="1313">
                  <c:v>0.54246575342465753</c:v>
                </c:pt>
                <c:pt idx="1314">
                  <c:v>#N/A</c:v>
                </c:pt>
                <c:pt idx="1315">
                  <c:v>0.55068493150684927</c:v>
                </c:pt>
                <c:pt idx="1316">
                  <c:v>#N/A</c:v>
                </c:pt>
                <c:pt idx="1317">
                  <c:v>0.55342465753424652</c:v>
                </c:pt>
                <c:pt idx="1318">
                  <c:v>#N/A</c:v>
                </c:pt>
                <c:pt idx="1319">
                  <c:v>#N/A</c:v>
                </c:pt>
                <c:pt idx="1320">
                  <c:v>0.56986301369863013</c:v>
                </c:pt>
                <c:pt idx="1321">
                  <c:v>#N/A</c:v>
                </c:pt>
                <c:pt idx="1322">
                  <c:v>#N/A</c:v>
                </c:pt>
                <c:pt idx="1323">
                  <c:v>0.58082191780821912</c:v>
                </c:pt>
                <c:pt idx="1324">
                  <c:v>0.58904109589041098</c:v>
                </c:pt>
                <c:pt idx="1325">
                  <c:v>0.58904109589041098</c:v>
                </c:pt>
                <c:pt idx="1326">
                  <c:v>0.58904109589041098</c:v>
                </c:pt>
                <c:pt idx="1327">
                  <c:v>#N/A</c:v>
                </c:pt>
                <c:pt idx="1328">
                  <c:v>#N/A</c:v>
                </c:pt>
                <c:pt idx="1329">
                  <c:v>#N/A</c:v>
                </c:pt>
                <c:pt idx="1330">
                  <c:v>0.59726027397260273</c:v>
                </c:pt>
                <c:pt idx="1331">
                  <c:v>0.59726027397260273</c:v>
                </c:pt>
                <c:pt idx="1332">
                  <c:v>0.59726027397260273</c:v>
                </c:pt>
                <c:pt idx="1333">
                  <c:v>0.59726027397260273</c:v>
                </c:pt>
                <c:pt idx="1334">
                  <c:v>0.59726027397260273</c:v>
                </c:pt>
                <c:pt idx="1335">
                  <c:v>#N/A</c:v>
                </c:pt>
                <c:pt idx="1336">
                  <c:v>0.59726027397260273</c:v>
                </c:pt>
                <c:pt idx="1337">
                  <c:v>0.59726027397260273</c:v>
                </c:pt>
                <c:pt idx="1338">
                  <c:v>#N/A</c:v>
                </c:pt>
                <c:pt idx="1339">
                  <c:v>0.59726027397260273</c:v>
                </c:pt>
                <c:pt idx="1340">
                  <c:v>0.59726027397260273</c:v>
                </c:pt>
                <c:pt idx="1341">
                  <c:v>#N/A</c:v>
                </c:pt>
                <c:pt idx="1342">
                  <c:v>#N/A</c:v>
                </c:pt>
                <c:pt idx="1343">
                  <c:v>#N/A</c:v>
                </c:pt>
                <c:pt idx="1344">
                  <c:v>0.59726027397260273</c:v>
                </c:pt>
                <c:pt idx="1345">
                  <c:v>#N/A</c:v>
                </c:pt>
                <c:pt idx="1346">
                  <c:v>#N/A</c:v>
                </c:pt>
                <c:pt idx="1347">
                  <c:v>#N/A</c:v>
                </c:pt>
                <c:pt idx="1348">
                  <c:v>#N/A</c:v>
                </c:pt>
                <c:pt idx="1349">
                  <c:v>#N/A</c:v>
                </c:pt>
                <c:pt idx="1350">
                  <c:v>#N/A</c:v>
                </c:pt>
                <c:pt idx="1351">
                  <c:v>#N/A</c:v>
                </c:pt>
                <c:pt idx="1352">
                  <c:v>#N/A</c:v>
                </c:pt>
                <c:pt idx="1353">
                  <c:v>#N/A</c:v>
                </c:pt>
                <c:pt idx="1354">
                  <c:v>#N/A</c:v>
                </c:pt>
                <c:pt idx="1355">
                  <c:v>0.6</c:v>
                </c:pt>
                <c:pt idx="1356">
                  <c:v>0.6</c:v>
                </c:pt>
                <c:pt idx="1357">
                  <c:v>0.6</c:v>
                </c:pt>
                <c:pt idx="1358">
                  <c:v>#N/A</c:v>
                </c:pt>
                <c:pt idx="1359">
                  <c:v>#N/A</c:v>
                </c:pt>
                <c:pt idx="1360">
                  <c:v>#N/A</c:v>
                </c:pt>
                <c:pt idx="1361">
                  <c:v>#N/A</c:v>
                </c:pt>
                <c:pt idx="1362">
                  <c:v>#N/A</c:v>
                </c:pt>
                <c:pt idx="1363">
                  <c:v>#N/A</c:v>
                </c:pt>
                <c:pt idx="1364">
                  <c:v>#N/A</c:v>
                </c:pt>
                <c:pt idx="1365">
                  <c:v>#N/A</c:v>
                </c:pt>
                <c:pt idx="1366">
                  <c:v>#N/A</c:v>
                </c:pt>
                <c:pt idx="1367">
                  <c:v>#N/A</c:v>
                </c:pt>
                <c:pt idx="1368">
                  <c:v>#N/A</c:v>
                </c:pt>
                <c:pt idx="1369">
                  <c:v>#N/A</c:v>
                </c:pt>
                <c:pt idx="1370">
                  <c:v>#N/A</c:v>
                </c:pt>
                <c:pt idx="1371">
                  <c:v>0.62739726027397258</c:v>
                </c:pt>
                <c:pt idx="1372">
                  <c:v>#N/A</c:v>
                </c:pt>
                <c:pt idx="1373">
                  <c:v>#N/A</c:v>
                </c:pt>
                <c:pt idx="1374">
                  <c:v>#N/A</c:v>
                </c:pt>
                <c:pt idx="1375">
                  <c:v>0.63287671232876708</c:v>
                </c:pt>
                <c:pt idx="1376">
                  <c:v>0.63287671232876708</c:v>
                </c:pt>
                <c:pt idx="1377">
                  <c:v>#N/A</c:v>
                </c:pt>
                <c:pt idx="1378">
                  <c:v>0.63835616438356169</c:v>
                </c:pt>
                <c:pt idx="1379">
                  <c:v>#N/A</c:v>
                </c:pt>
                <c:pt idx="1380">
                  <c:v>#N/A</c:v>
                </c:pt>
                <c:pt idx="1381">
                  <c:v>#N/A</c:v>
                </c:pt>
                <c:pt idx="1382">
                  <c:v>#N/A</c:v>
                </c:pt>
                <c:pt idx="1383">
                  <c:v>#N/A</c:v>
                </c:pt>
                <c:pt idx="1384">
                  <c:v>0.65205479452054793</c:v>
                </c:pt>
                <c:pt idx="1385">
                  <c:v>#N/A</c:v>
                </c:pt>
                <c:pt idx="1386">
                  <c:v>#N/A</c:v>
                </c:pt>
                <c:pt idx="1387">
                  <c:v>#N/A</c:v>
                </c:pt>
                <c:pt idx="1388">
                  <c:v>#N/A</c:v>
                </c:pt>
                <c:pt idx="1389">
                  <c:v>#N/A</c:v>
                </c:pt>
                <c:pt idx="1390">
                  <c:v>#N/A</c:v>
                </c:pt>
                <c:pt idx="1391">
                  <c:v>#N/A</c:v>
                </c:pt>
                <c:pt idx="1392">
                  <c:v>#N/A</c:v>
                </c:pt>
                <c:pt idx="1393">
                  <c:v>#N/A</c:v>
                </c:pt>
                <c:pt idx="1394">
                  <c:v>#N/A</c:v>
                </c:pt>
                <c:pt idx="1395">
                  <c:v>#N/A</c:v>
                </c:pt>
                <c:pt idx="1396">
                  <c:v>#N/A</c:v>
                </c:pt>
                <c:pt idx="1397">
                  <c:v>0.65205479452054793</c:v>
                </c:pt>
                <c:pt idx="1398">
                  <c:v>0.65205479452054793</c:v>
                </c:pt>
                <c:pt idx="1399">
                  <c:v>#N/A</c:v>
                </c:pt>
                <c:pt idx="1400">
                  <c:v>0.65205479452054793</c:v>
                </c:pt>
                <c:pt idx="1401">
                  <c:v>#N/A</c:v>
                </c:pt>
                <c:pt idx="1402">
                  <c:v>#N/A</c:v>
                </c:pt>
                <c:pt idx="1403">
                  <c:v>#N/A</c:v>
                </c:pt>
                <c:pt idx="1404">
                  <c:v>#N/A</c:v>
                </c:pt>
                <c:pt idx="1405">
                  <c:v>#N/A</c:v>
                </c:pt>
                <c:pt idx="1406">
                  <c:v>#N/A</c:v>
                </c:pt>
                <c:pt idx="1407">
                  <c:v>#N/A</c:v>
                </c:pt>
                <c:pt idx="1408">
                  <c:v>0.65753424657534243</c:v>
                </c:pt>
                <c:pt idx="1409">
                  <c:v>0.65753424657534243</c:v>
                </c:pt>
                <c:pt idx="1410">
                  <c:v>#N/A</c:v>
                </c:pt>
                <c:pt idx="1411">
                  <c:v>#N/A</c:v>
                </c:pt>
                <c:pt idx="1412">
                  <c:v>#N/A</c:v>
                </c:pt>
                <c:pt idx="1413">
                  <c:v>0.65753424657534243</c:v>
                </c:pt>
                <c:pt idx="1414">
                  <c:v>#N/A</c:v>
                </c:pt>
                <c:pt idx="1415">
                  <c:v>0.65753424657534243</c:v>
                </c:pt>
                <c:pt idx="1416">
                  <c:v>0.65753424657534243</c:v>
                </c:pt>
                <c:pt idx="1417">
                  <c:v>#N/A</c:v>
                </c:pt>
                <c:pt idx="1418">
                  <c:v>0.65753424657534243</c:v>
                </c:pt>
                <c:pt idx="1419">
                  <c:v>#N/A</c:v>
                </c:pt>
                <c:pt idx="1420">
                  <c:v>#N/A</c:v>
                </c:pt>
                <c:pt idx="1421">
                  <c:v>0.65753424657534243</c:v>
                </c:pt>
                <c:pt idx="1422">
                  <c:v>0.65753424657534243</c:v>
                </c:pt>
                <c:pt idx="1423">
                  <c:v>0.65753424657534243</c:v>
                </c:pt>
                <c:pt idx="1424">
                  <c:v>#N/A</c:v>
                </c:pt>
                <c:pt idx="1425">
                  <c:v>#N/A</c:v>
                </c:pt>
                <c:pt idx="1426">
                  <c:v>#N/A</c:v>
                </c:pt>
                <c:pt idx="1427">
                  <c:v>0.65753424657534243</c:v>
                </c:pt>
                <c:pt idx="1428">
                  <c:v>#N/A</c:v>
                </c:pt>
                <c:pt idx="1429">
                  <c:v>#N/A</c:v>
                </c:pt>
                <c:pt idx="1430">
                  <c:v>#N/A</c:v>
                </c:pt>
                <c:pt idx="1431">
                  <c:v>#N/A</c:v>
                </c:pt>
                <c:pt idx="1432">
                  <c:v>0.66575342465753429</c:v>
                </c:pt>
                <c:pt idx="1433">
                  <c:v>#N/A</c:v>
                </c:pt>
                <c:pt idx="1434">
                  <c:v>#N/A</c:v>
                </c:pt>
                <c:pt idx="1435">
                  <c:v>#N/A</c:v>
                </c:pt>
                <c:pt idx="1436">
                  <c:v>0.66575342465753429</c:v>
                </c:pt>
                <c:pt idx="1437">
                  <c:v>#N/A</c:v>
                </c:pt>
                <c:pt idx="1438">
                  <c:v>0.66575342465753429</c:v>
                </c:pt>
                <c:pt idx="1439">
                  <c:v>#N/A</c:v>
                </c:pt>
                <c:pt idx="1440">
                  <c:v>#N/A</c:v>
                </c:pt>
                <c:pt idx="1441">
                  <c:v>#N/A</c:v>
                </c:pt>
                <c:pt idx="1442">
                  <c:v>0.66575342465753429</c:v>
                </c:pt>
                <c:pt idx="1443">
                  <c:v>#N/A</c:v>
                </c:pt>
                <c:pt idx="1444">
                  <c:v>#N/A</c:v>
                </c:pt>
                <c:pt idx="1445">
                  <c:v>0.66575342465753429</c:v>
                </c:pt>
                <c:pt idx="1446">
                  <c:v>#N/A</c:v>
                </c:pt>
                <c:pt idx="1447">
                  <c:v>#N/A</c:v>
                </c:pt>
                <c:pt idx="1448">
                  <c:v>0.66849315068493154</c:v>
                </c:pt>
                <c:pt idx="1449">
                  <c:v>#N/A</c:v>
                </c:pt>
                <c:pt idx="1450">
                  <c:v>#N/A</c:v>
                </c:pt>
                <c:pt idx="1451">
                  <c:v>0.66849315068493154</c:v>
                </c:pt>
                <c:pt idx="1452">
                  <c:v>#N/A</c:v>
                </c:pt>
                <c:pt idx="1453">
                  <c:v>#N/A</c:v>
                </c:pt>
                <c:pt idx="1454">
                  <c:v>0.66849315068493154</c:v>
                </c:pt>
                <c:pt idx="1455">
                  <c:v>0.66849315068493154</c:v>
                </c:pt>
                <c:pt idx="1456">
                  <c:v>0.67123287671232879</c:v>
                </c:pt>
                <c:pt idx="1457">
                  <c:v>#N/A</c:v>
                </c:pt>
                <c:pt idx="1458">
                  <c:v>0.67123287671232879</c:v>
                </c:pt>
                <c:pt idx="1459">
                  <c:v>#N/A</c:v>
                </c:pt>
                <c:pt idx="1460">
                  <c:v>#N/A</c:v>
                </c:pt>
                <c:pt idx="1461">
                  <c:v>#N/A</c:v>
                </c:pt>
                <c:pt idx="1462">
                  <c:v>#N/A</c:v>
                </c:pt>
                <c:pt idx="1463">
                  <c:v>0.67123287671232879</c:v>
                </c:pt>
                <c:pt idx="1464">
                  <c:v>0.67671232876712328</c:v>
                </c:pt>
                <c:pt idx="1465">
                  <c:v>0.67671232876712328</c:v>
                </c:pt>
                <c:pt idx="1466">
                  <c:v>#N/A</c:v>
                </c:pt>
                <c:pt idx="1467">
                  <c:v>#N/A</c:v>
                </c:pt>
                <c:pt idx="1468">
                  <c:v>#N/A</c:v>
                </c:pt>
                <c:pt idx="1469">
                  <c:v>#N/A</c:v>
                </c:pt>
                <c:pt idx="1470">
                  <c:v>#N/A</c:v>
                </c:pt>
                <c:pt idx="1471">
                  <c:v>0.68493150684931503</c:v>
                </c:pt>
                <c:pt idx="1472">
                  <c:v>0.68493150684931503</c:v>
                </c:pt>
                <c:pt idx="1473">
                  <c:v>0.68493150684931503</c:v>
                </c:pt>
                <c:pt idx="1474">
                  <c:v>#N/A</c:v>
                </c:pt>
                <c:pt idx="1475">
                  <c:v>#N/A</c:v>
                </c:pt>
                <c:pt idx="1476">
                  <c:v>0.68767123287671228</c:v>
                </c:pt>
                <c:pt idx="1477">
                  <c:v>0.69041095890410964</c:v>
                </c:pt>
                <c:pt idx="1478">
                  <c:v>0.69315068493150689</c:v>
                </c:pt>
                <c:pt idx="1479">
                  <c:v>#N/A</c:v>
                </c:pt>
                <c:pt idx="1480">
                  <c:v>0.69315068493150689</c:v>
                </c:pt>
                <c:pt idx="1481">
                  <c:v>#N/A</c:v>
                </c:pt>
                <c:pt idx="1482">
                  <c:v>0.69315068493150689</c:v>
                </c:pt>
                <c:pt idx="1483">
                  <c:v>0.69315068493150689</c:v>
                </c:pt>
                <c:pt idx="1484">
                  <c:v>0.69589041095890414</c:v>
                </c:pt>
                <c:pt idx="1485">
                  <c:v>0.69589041095890414</c:v>
                </c:pt>
                <c:pt idx="1486">
                  <c:v>#N/A</c:v>
                </c:pt>
                <c:pt idx="1487">
                  <c:v>#N/A</c:v>
                </c:pt>
                <c:pt idx="1488">
                  <c:v>#N/A</c:v>
                </c:pt>
                <c:pt idx="1489">
                  <c:v>0.70958904109589038</c:v>
                </c:pt>
                <c:pt idx="1490">
                  <c:v>#N/A</c:v>
                </c:pt>
                <c:pt idx="1491">
                  <c:v>0.70958904109589038</c:v>
                </c:pt>
                <c:pt idx="1492">
                  <c:v>#N/A</c:v>
                </c:pt>
                <c:pt idx="1493">
                  <c:v>#N/A</c:v>
                </c:pt>
                <c:pt idx="1494">
                  <c:v>0.72602739726027399</c:v>
                </c:pt>
                <c:pt idx="1495">
                  <c:v>0.72602739726027399</c:v>
                </c:pt>
                <c:pt idx="1496">
                  <c:v>#N/A</c:v>
                </c:pt>
                <c:pt idx="1497">
                  <c:v>#N/A</c:v>
                </c:pt>
                <c:pt idx="1498">
                  <c:v>#N/A</c:v>
                </c:pt>
                <c:pt idx="1499">
                  <c:v>#N/A</c:v>
                </c:pt>
                <c:pt idx="1500">
                  <c:v>#N/A</c:v>
                </c:pt>
                <c:pt idx="1501">
                  <c:v>#N/A</c:v>
                </c:pt>
                <c:pt idx="1502">
                  <c:v>#N/A</c:v>
                </c:pt>
                <c:pt idx="1503">
                  <c:v>0.72602739726027399</c:v>
                </c:pt>
                <c:pt idx="1504">
                  <c:v>0.72602739726027399</c:v>
                </c:pt>
                <c:pt idx="1505">
                  <c:v>#N/A</c:v>
                </c:pt>
                <c:pt idx="1506">
                  <c:v>0.72602739726027399</c:v>
                </c:pt>
                <c:pt idx="1507">
                  <c:v>#N/A</c:v>
                </c:pt>
                <c:pt idx="1508">
                  <c:v>#N/A</c:v>
                </c:pt>
                <c:pt idx="1509">
                  <c:v>#N/A</c:v>
                </c:pt>
                <c:pt idx="1510">
                  <c:v>#N/A</c:v>
                </c:pt>
                <c:pt idx="1511">
                  <c:v>0.72876712328767124</c:v>
                </c:pt>
                <c:pt idx="1512">
                  <c:v>0.72876712328767124</c:v>
                </c:pt>
                <c:pt idx="1513">
                  <c:v>0.72876712328767124</c:v>
                </c:pt>
                <c:pt idx="1514">
                  <c:v>0.72876712328767124</c:v>
                </c:pt>
                <c:pt idx="1515">
                  <c:v>0.72876712328767124</c:v>
                </c:pt>
                <c:pt idx="1516">
                  <c:v>0.72876712328767124</c:v>
                </c:pt>
                <c:pt idx="1517">
                  <c:v>0.73150684931506849</c:v>
                </c:pt>
                <c:pt idx="1518">
                  <c:v>#N/A</c:v>
                </c:pt>
                <c:pt idx="1519">
                  <c:v>#N/A</c:v>
                </c:pt>
                <c:pt idx="1520">
                  <c:v>0.73150684931506849</c:v>
                </c:pt>
                <c:pt idx="1521">
                  <c:v>0.73150684931506849</c:v>
                </c:pt>
                <c:pt idx="1522">
                  <c:v>0.73150684931506849</c:v>
                </c:pt>
                <c:pt idx="1523">
                  <c:v>0.73150684931506849</c:v>
                </c:pt>
                <c:pt idx="1524">
                  <c:v>#N/A</c:v>
                </c:pt>
                <c:pt idx="1525">
                  <c:v>0.73150684931506849</c:v>
                </c:pt>
                <c:pt idx="1526">
                  <c:v>#N/A</c:v>
                </c:pt>
                <c:pt idx="1527">
                  <c:v>0.73424657534246573</c:v>
                </c:pt>
                <c:pt idx="1528">
                  <c:v>#N/A</c:v>
                </c:pt>
                <c:pt idx="1529">
                  <c:v>#N/A</c:v>
                </c:pt>
                <c:pt idx="1530">
                  <c:v>#N/A</c:v>
                </c:pt>
                <c:pt idx="1531">
                  <c:v>0.73424657534246573</c:v>
                </c:pt>
                <c:pt idx="1532">
                  <c:v>#N/A</c:v>
                </c:pt>
                <c:pt idx="1533">
                  <c:v>#N/A</c:v>
                </c:pt>
                <c:pt idx="1534">
                  <c:v>#N/A</c:v>
                </c:pt>
                <c:pt idx="1535">
                  <c:v>#N/A</c:v>
                </c:pt>
                <c:pt idx="1536">
                  <c:v>0.74794520547945209</c:v>
                </c:pt>
                <c:pt idx="1537">
                  <c:v>0.74794520547945209</c:v>
                </c:pt>
                <c:pt idx="1538">
                  <c:v>0.74794520547945209</c:v>
                </c:pt>
                <c:pt idx="1539">
                  <c:v>#N/A</c:v>
                </c:pt>
                <c:pt idx="1540">
                  <c:v>#N/A</c:v>
                </c:pt>
                <c:pt idx="1541">
                  <c:v>0.74794520547945209</c:v>
                </c:pt>
                <c:pt idx="1542">
                  <c:v>#N/A</c:v>
                </c:pt>
                <c:pt idx="1543">
                  <c:v>#N/A</c:v>
                </c:pt>
                <c:pt idx="1544">
                  <c:v>0.74794520547945209</c:v>
                </c:pt>
                <c:pt idx="1545">
                  <c:v>#N/A</c:v>
                </c:pt>
                <c:pt idx="1546">
                  <c:v>0.74794520547945209</c:v>
                </c:pt>
                <c:pt idx="1547">
                  <c:v>#N/A</c:v>
                </c:pt>
                <c:pt idx="1548">
                  <c:v>#N/A</c:v>
                </c:pt>
                <c:pt idx="1549">
                  <c:v>#N/A</c:v>
                </c:pt>
                <c:pt idx="1550">
                  <c:v>#N/A</c:v>
                </c:pt>
                <c:pt idx="1551">
                  <c:v>0.74794520547945209</c:v>
                </c:pt>
                <c:pt idx="1552">
                  <c:v>0.74794520547945209</c:v>
                </c:pt>
                <c:pt idx="1553">
                  <c:v>0.74794520547945209</c:v>
                </c:pt>
                <c:pt idx="1554">
                  <c:v>0.74794520547945209</c:v>
                </c:pt>
                <c:pt idx="1555">
                  <c:v>#N/A</c:v>
                </c:pt>
                <c:pt idx="1556">
                  <c:v>#N/A</c:v>
                </c:pt>
                <c:pt idx="1557">
                  <c:v>0.74794520547945209</c:v>
                </c:pt>
                <c:pt idx="1558">
                  <c:v>#N/A</c:v>
                </c:pt>
                <c:pt idx="1559">
                  <c:v>#N/A</c:v>
                </c:pt>
                <c:pt idx="1560">
                  <c:v>#N/A</c:v>
                </c:pt>
                <c:pt idx="1561">
                  <c:v>#N/A</c:v>
                </c:pt>
                <c:pt idx="1562">
                  <c:v>#N/A</c:v>
                </c:pt>
                <c:pt idx="1563">
                  <c:v>#N/A</c:v>
                </c:pt>
                <c:pt idx="1564">
                  <c:v>#N/A</c:v>
                </c:pt>
                <c:pt idx="1565">
                  <c:v>0.74794520547945209</c:v>
                </c:pt>
                <c:pt idx="1566">
                  <c:v>#N/A</c:v>
                </c:pt>
                <c:pt idx="1567">
                  <c:v>0.74794520547945209</c:v>
                </c:pt>
                <c:pt idx="1568">
                  <c:v>0.74794520547945209</c:v>
                </c:pt>
                <c:pt idx="1569">
                  <c:v>#N/A</c:v>
                </c:pt>
                <c:pt idx="1570">
                  <c:v>#N/A</c:v>
                </c:pt>
                <c:pt idx="1571">
                  <c:v>#N/A</c:v>
                </c:pt>
                <c:pt idx="1572">
                  <c:v>0.74794520547945209</c:v>
                </c:pt>
                <c:pt idx="1573">
                  <c:v>#N/A</c:v>
                </c:pt>
                <c:pt idx="1574">
                  <c:v>#N/A</c:v>
                </c:pt>
                <c:pt idx="1575">
                  <c:v>#N/A</c:v>
                </c:pt>
                <c:pt idx="1576">
                  <c:v>#N/A</c:v>
                </c:pt>
                <c:pt idx="1577">
                  <c:v>0.74794520547945209</c:v>
                </c:pt>
                <c:pt idx="1578">
                  <c:v>#N/A</c:v>
                </c:pt>
                <c:pt idx="1579">
                  <c:v>#N/A</c:v>
                </c:pt>
                <c:pt idx="1580">
                  <c:v>#N/A</c:v>
                </c:pt>
                <c:pt idx="1581">
                  <c:v>#N/A</c:v>
                </c:pt>
                <c:pt idx="1582">
                  <c:v>#N/A</c:v>
                </c:pt>
                <c:pt idx="1583">
                  <c:v>#N/A</c:v>
                </c:pt>
                <c:pt idx="1584">
                  <c:v>0.74794520547945209</c:v>
                </c:pt>
                <c:pt idx="1585">
                  <c:v>#N/A</c:v>
                </c:pt>
                <c:pt idx="1586">
                  <c:v>#N/A</c:v>
                </c:pt>
                <c:pt idx="1587">
                  <c:v>0.74794520547945209</c:v>
                </c:pt>
                <c:pt idx="1588">
                  <c:v>0.74794520547945209</c:v>
                </c:pt>
                <c:pt idx="1589">
                  <c:v>0.74794520547945209</c:v>
                </c:pt>
                <c:pt idx="1590">
                  <c:v>#N/A</c:v>
                </c:pt>
                <c:pt idx="1591">
                  <c:v>#N/A</c:v>
                </c:pt>
                <c:pt idx="1592">
                  <c:v>#N/A</c:v>
                </c:pt>
                <c:pt idx="1593">
                  <c:v>#N/A</c:v>
                </c:pt>
                <c:pt idx="1594">
                  <c:v>0.74794520547945209</c:v>
                </c:pt>
                <c:pt idx="1595">
                  <c:v>#N/A</c:v>
                </c:pt>
                <c:pt idx="1596">
                  <c:v>0.74794520547945209</c:v>
                </c:pt>
                <c:pt idx="1597">
                  <c:v>0.74794520547945209</c:v>
                </c:pt>
                <c:pt idx="1598">
                  <c:v>#N/A</c:v>
                </c:pt>
                <c:pt idx="1599">
                  <c:v>#N/A</c:v>
                </c:pt>
                <c:pt idx="1600">
                  <c:v>0.74794520547945209</c:v>
                </c:pt>
                <c:pt idx="1601">
                  <c:v>#N/A</c:v>
                </c:pt>
                <c:pt idx="1602">
                  <c:v>#N/A</c:v>
                </c:pt>
                <c:pt idx="1603">
                  <c:v>0.74794520547945209</c:v>
                </c:pt>
                <c:pt idx="1604">
                  <c:v>#N/A</c:v>
                </c:pt>
                <c:pt idx="1605">
                  <c:v>0.74794520547945209</c:v>
                </c:pt>
                <c:pt idx="1606">
                  <c:v>#N/A</c:v>
                </c:pt>
                <c:pt idx="1607">
                  <c:v>0.75068493150684934</c:v>
                </c:pt>
                <c:pt idx="1608">
                  <c:v>0.75068493150684934</c:v>
                </c:pt>
                <c:pt idx="1609">
                  <c:v>#N/A</c:v>
                </c:pt>
                <c:pt idx="1610">
                  <c:v>0.75068493150684934</c:v>
                </c:pt>
                <c:pt idx="1611">
                  <c:v>0.76164383561643834</c:v>
                </c:pt>
                <c:pt idx="1612">
                  <c:v>0.76164383561643834</c:v>
                </c:pt>
                <c:pt idx="1613">
                  <c:v>0.76164383561643834</c:v>
                </c:pt>
                <c:pt idx="1614">
                  <c:v>0.76164383561643834</c:v>
                </c:pt>
                <c:pt idx="1615">
                  <c:v>0.76164383561643834</c:v>
                </c:pt>
                <c:pt idx="1616">
                  <c:v>0.76164383561643834</c:v>
                </c:pt>
                <c:pt idx="1617">
                  <c:v>0.76164383561643834</c:v>
                </c:pt>
                <c:pt idx="1618">
                  <c:v>#N/A</c:v>
                </c:pt>
                <c:pt idx="1619">
                  <c:v>0.76712328767123283</c:v>
                </c:pt>
                <c:pt idx="1620">
                  <c:v>0.78082191780821919</c:v>
                </c:pt>
                <c:pt idx="1621">
                  <c:v>#N/A</c:v>
                </c:pt>
                <c:pt idx="1622">
                  <c:v>#N/A</c:v>
                </c:pt>
                <c:pt idx="1623">
                  <c:v>0.78082191780821919</c:v>
                </c:pt>
                <c:pt idx="1624">
                  <c:v>#N/A</c:v>
                </c:pt>
                <c:pt idx="1625">
                  <c:v>0.78356164383561644</c:v>
                </c:pt>
                <c:pt idx="1626">
                  <c:v>0.78356164383561644</c:v>
                </c:pt>
                <c:pt idx="1627">
                  <c:v>0.78630136986301369</c:v>
                </c:pt>
                <c:pt idx="1628">
                  <c:v>#N/A</c:v>
                </c:pt>
                <c:pt idx="1629">
                  <c:v>0.78630136986301369</c:v>
                </c:pt>
                <c:pt idx="1630">
                  <c:v>0.78630136986301369</c:v>
                </c:pt>
                <c:pt idx="1631">
                  <c:v>#N/A</c:v>
                </c:pt>
                <c:pt idx="1632">
                  <c:v>#N/A</c:v>
                </c:pt>
                <c:pt idx="1633">
                  <c:v>#N/A</c:v>
                </c:pt>
                <c:pt idx="1634">
                  <c:v>#N/A</c:v>
                </c:pt>
                <c:pt idx="1635">
                  <c:v>#N/A</c:v>
                </c:pt>
                <c:pt idx="1636">
                  <c:v>#N/A</c:v>
                </c:pt>
                <c:pt idx="1637">
                  <c:v>#N/A</c:v>
                </c:pt>
                <c:pt idx="1638">
                  <c:v>#N/A</c:v>
                </c:pt>
                <c:pt idx="1639">
                  <c:v>#N/A</c:v>
                </c:pt>
                <c:pt idx="1640">
                  <c:v>#N/A</c:v>
                </c:pt>
                <c:pt idx="1641">
                  <c:v>#N/A</c:v>
                </c:pt>
                <c:pt idx="1642">
                  <c:v>#N/A</c:v>
                </c:pt>
                <c:pt idx="1643">
                  <c:v>#N/A</c:v>
                </c:pt>
                <c:pt idx="1644">
                  <c:v>#N/A</c:v>
                </c:pt>
                <c:pt idx="1645">
                  <c:v>#N/A</c:v>
                </c:pt>
                <c:pt idx="1646">
                  <c:v>#N/A</c:v>
                </c:pt>
                <c:pt idx="1647">
                  <c:v>#N/A</c:v>
                </c:pt>
                <c:pt idx="1648">
                  <c:v>0.79178082191780819</c:v>
                </c:pt>
                <c:pt idx="1649">
                  <c:v>#N/A</c:v>
                </c:pt>
                <c:pt idx="1650">
                  <c:v>#N/A</c:v>
                </c:pt>
                <c:pt idx="1651">
                  <c:v>0.79178082191780819</c:v>
                </c:pt>
                <c:pt idx="1652">
                  <c:v>0.79178082191780819</c:v>
                </c:pt>
                <c:pt idx="1653">
                  <c:v>0.79178082191780819</c:v>
                </c:pt>
                <c:pt idx="1654">
                  <c:v>#N/A</c:v>
                </c:pt>
                <c:pt idx="1655">
                  <c:v>0.79178082191780819</c:v>
                </c:pt>
                <c:pt idx="1656">
                  <c:v>0.8</c:v>
                </c:pt>
                <c:pt idx="1657">
                  <c:v>0.8</c:v>
                </c:pt>
                <c:pt idx="1658">
                  <c:v>0.8</c:v>
                </c:pt>
                <c:pt idx="1659">
                  <c:v>0.8</c:v>
                </c:pt>
                <c:pt idx="1660">
                  <c:v>#N/A</c:v>
                </c:pt>
                <c:pt idx="1661">
                  <c:v>0.8</c:v>
                </c:pt>
                <c:pt idx="1662">
                  <c:v>0.8</c:v>
                </c:pt>
                <c:pt idx="1663">
                  <c:v>0.8</c:v>
                </c:pt>
                <c:pt idx="1664">
                  <c:v>0.8</c:v>
                </c:pt>
                <c:pt idx="1665">
                  <c:v>#N/A</c:v>
                </c:pt>
                <c:pt idx="1666">
                  <c:v>#N/A</c:v>
                </c:pt>
                <c:pt idx="1667">
                  <c:v>#N/A</c:v>
                </c:pt>
                <c:pt idx="1668">
                  <c:v>#N/A</c:v>
                </c:pt>
                <c:pt idx="1669">
                  <c:v>0.80547945205479454</c:v>
                </c:pt>
                <c:pt idx="1670">
                  <c:v>#N/A</c:v>
                </c:pt>
                <c:pt idx="1671">
                  <c:v>0.80547945205479454</c:v>
                </c:pt>
                <c:pt idx="1672">
                  <c:v>#N/A</c:v>
                </c:pt>
                <c:pt idx="1673">
                  <c:v>#N/A</c:v>
                </c:pt>
                <c:pt idx="1674">
                  <c:v>0.80821917808219179</c:v>
                </c:pt>
                <c:pt idx="1675">
                  <c:v>0.80821917808219179</c:v>
                </c:pt>
                <c:pt idx="1676">
                  <c:v>0.81095890410958904</c:v>
                </c:pt>
                <c:pt idx="1677">
                  <c:v>0.81095890410958904</c:v>
                </c:pt>
                <c:pt idx="1678">
                  <c:v>#N/A</c:v>
                </c:pt>
                <c:pt idx="1679">
                  <c:v>#N/A</c:v>
                </c:pt>
                <c:pt idx="1680">
                  <c:v>0.82191780821917804</c:v>
                </c:pt>
                <c:pt idx="1681">
                  <c:v>#N/A</c:v>
                </c:pt>
                <c:pt idx="1682">
                  <c:v>0.82739726027397265</c:v>
                </c:pt>
                <c:pt idx="1683">
                  <c:v>#N/A</c:v>
                </c:pt>
                <c:pt idx="1684">
                  <c:v>0.83013698630136989</c:v>
                </c:pt>
                <c:pt idx="1685">
                  <c:v>0.83013698630136989</c:v>
                </c:pt>
                <c:pt idx="1686">
                  <c:v>0.83013698630136989</c:v>
                </c:pt>
                <c:pt idx="1687">
                  <c:v>0.83013698630136989</c:v>
                </c:pt>
                <c:pt idx="1688">
                  <c:v>#N/A</c:v>
                </c:pt>
                <c:pt idx="1689">
                  <c:v>0.83013698630136989</c:v>
                </c:pt>
                <c:pt idx="1690">
                  <c:v>#N/A</c:v>
                </c:pt>
                <c:pt idx="1691">
                  <c:v>#N/A</c:v>
                </c:pt>
                <c:pt idx="1692">
                  <c:v>0.83013698630136989</c:v>
                </c:pt>
                <c:pt idx="1693">
                  <c:v>#N/A</c:v>
                </c:pt>
                <c:pt idx="1694">
                  <c:v>#N/A</c:v>
                </c:pt>
                <c:pt idx="1695">
                  <c:v>#N/A</c:v>
                </c:pt>
                <c:pt idx="1696">
                  <c:v>#N/A</c:v>
                </c:pt>
                <c:pt idx="1697">
                  <c:v>0.83013698630136989</c:v>
                </c:pt>
                <c:pt idx="1698">
                  <c:v>#N/A</c:v>
                </c:pt>
                <c:pt idx="1699">
                  <c:v>#N/A</c:v>
                </c:pt>
                <c:pt idx="1700">
                  <c:v>#N/A</c:v>
                </c:pt>
                <c:pt idx="1701">
                  <c:v>0.83287671232876714</c:v>
                </c:pt>
                <c:pt idx="1702">
                  <c:v>0.83287671232876714</c:v>
                </c:pt>
                <c:pt idx="1703">
                  <c:v>0.83287671232876714</c:v>
                </c:pt>
                <c:pt idx="1704">
                  <c:v>0.83561643835616439</c:v>
                </c:pt>
                <c:pt idx="1705">
                  <c:v>#N/A</c:v>
                </c:pt>
                <c:pt idx="1706">
                  <c:v>#N/A</c:v>
                </c:pt>
                <c:pt idx="1707">
                  <c:v>0.83835616438356164</c:v>
                </c:pt>
                <c:pt idx="1708">
                  <c:v>0.83835616438356164</c:v>
                </c:pt>
                <c:pt idx="1709">
                  <c:v>0.83835616438356164</c:v>
                </c:pt>
                <c:pt idx="1710">
                  <c:v>#N/A</c:v>
                </c:pt>
                <c:pt idx="1711">
                  <c:v>0.83835616438356164</c:v>
                </c:pt>
                <c:pt idx="1712">
                  <c:v>#N/A</c:v>
                </c:pt>
                <c:pt idx="1713">
                  <c:v>0.83835616438356164</c:v>
                </c:pt>
                <c:pt idx="1714">
                  <c:v>#N/A</c:v>
                </c:pt>
                <c:pt idx="1715">
                  <c:v>#N/A</c:v>
                </c:pt>
                <c:pt idx="1716">
                  <c:v>#N/A</c:v>
                </c:pt>
                <c:pt idx="1717">
                  <c:v>0.84109589041095889</c:v>
                </c:pt>
                <c:pt idx="1718">
                  <c:v>#N/A</c:v>
                </c:pt>
                <c:pt idx="1719">
                  <c:v>#N/A</c:v>
                </c:pt>
                <c:pt idx="1720">
                  <c:v>#N/A</c:v>
                </c:pt>
                <c:pt idx="1721">
                  <c:v>#N/A</c:v>
                </c:pt>
                <c:pt idx="1722">
                  <c:v>#N/A</c:v>
                </c:pt>
                <c:pt idx="1723">
                  <c:v>#N/A</c:v>
                </c:pt>
                <c:pt idx="1724">
                  <c:v>0.84383561643835614</c:v>
                </c:pt>
                <c:pt idx="1725">
                  <c:v>#N/A</c:v>
                </c:pt>
                <c:pt idx="1726">
                  <c:v>0.84657534246575339</c:v>
                </c:pt>
                <c:pt idx="1727">
                  <c:v>0.84657534246575339</c:v>
                </c:pt>
                <c:pt idx="1728">
                  <c:v>#N/A</c:v>
                </c:pt>
                <c:pt idx="1729">
                  <c:v>0.84657534246575339</c:v>
                </c:pt>
                <c:pt idx="1730">
                  <c:v>#N/A</c:v>
                </c:pt>
                <c:pt idx="1731">
                  <c:v>#N/A</c:v>
                </c:pt>
                <c:pt idx="1732">
                  <c:v>0.84657534246575339</c:v>
                </c:pt>
                <c:pt idx="1733">
                  <c:v>0.84931506849315064</c:v>
                </c:pt>
                <c:pt idx="1734">
                  <c:v>#N/A</c:v>
                </c:pt>
                <c:pt idx="1735">
                  <c:v>0.86301369863013699</c:v>
                </c:pt>
                <c:pt idx="1736">
                  <c:v>0.86301369863013699</c:v>
                </c:pt>
                <c:pt idx="1737">
                  <c:v>#N/A</c:v>
                </c:pt>
                <c:pt idx="1738">
                  <c:v>0.86301369863013699</c:v>
                </c:pt>
                <c:pt idx="1739">
                  <c:v>0.86301369863013699</c:v>
                </c:pt>
                <c:pt idx="1740">
                  <c:v>0.86301369863013699</c:v>
                </c:pt>
                <c:pt idx="1741">
                  <c:v>0.86301369863013699</c:v>
                </c:pt>
                <c:pt idx="1742">
                  <c:v>#N/A</c:v>
                </c:pt>
                <c:pt idx="1743">
                  <c:v>#N/A</c:v>
                </c:pt>
                <c:pt idx="1744">
                  <c:v>#N/A</c:v>
                </c:pt>
                <c:pt idx="1745">
                  <c:v>#N/A</c:v>
                </c:pt>
                <c:pt idx="1746">
                  <c:v>0.86301369863013699</c:v>
                </c:pt>
                <c:pt idx="1747">
                  <c:v>#N/A</c:v>
                </c:pt>
                <c:pt idx="1748">
                  <c:v>#N/A</c:v>
                </c:pt>
                <c:pt idx="1749">
                  <c:v>#N/A</c:v>
                </c:pt>
                <c:pt idx="1750">
                  <c:v>#N/A</c:v>
                </c:pt>
                <c:pt idx="1751">
                  <c:v>#N/A</c:v>
                </c:pt>
                <c:pt idx="1752">
                  <c:v>#N/A</c:v>
                </c:pt>
                <c:pt idx="1753">
                  <c:v>0.86575342465753424</c:v>
                </c:pt>
                <c:pt idx="1754">
                  <c:v>0.86575342465753424</c:v>
                </c:pt>
                <c:pt idx="1755">
                  <c:v>0.86575342465753424</c:v>
                </c:pt>
                <c:pt idx="1756">
                  <c:v>#N/A</c:v>
                </c:pt>
                <c:pt idx="1757">
                  <c:v>0.86575342465753424</c:v>
                </c:pt>
                <c:pt idx="1758">
                  <c:v>#N/A</c:v>
                </c:pt>
                <c:pt idx="1759">
                  <c:v>#N/A</c:v>
                </c:pt>
                <c:pt idx="1760">
                  <c:v>0.86575342465753424</c:v>
                </c:pt>
                <c:pt idx="1761">
                  <c:v>#N/A</c:v>
                </c:pt>
                <c:pt idx="1762">
                  <c:v>0.86575342465753424</c:v>
                </c:pt>
                <c:pt idx="1763">
                  <c:v>#N/A</c:v>
                </c:pt>
                <c:pt idx="1764">
                  <c:v>#N/A</c:v>
                </c:pt>
                <c:pt idx="1765">
                  <c:v>0.86575342465753424</c:v>
                </c:pt>
                <c:pt idx="1766">
                  <c:v>#N/A</c:v>
                </c:pt>
                <c:pt idx="1767">
                  <c:v>0.86575342465753424</c:v>
                </c:pt>
                <c:pt idx="1768">
                  <c:v>0.86575342465753424</c:v>
                </c:pt>
                <c:pt idx="1769">
                  <c:v>#N/A</c:v>
                </c:pt>
                <c:pt idx="1770">
                  <c:v>0.86575342465753424</c:v>
                </c:pt>
                <c:pt idx="1771">
                  <c:v>#N/A</c:v>
                </c:pt>
                <c:pt idx="1772">
                  <c:v>#N/A</c:v>
                </c:pt>
                <c:pt idx="1773">
                  <c:v>#N/A</c:v>
                </c:pt>
                <c:pt idx="1774">
                  <c:v>#N/A</c:v>
                </c:pt>
                <c:pt idx="1775">
                  <c:v>#N/A</c:v>
                </c:pt>
                <c:pt idx="1776">
                  <c:v>#N/A</c:v>
                </c:pt>
                <c:pt idx="1777">
                  <c:v>0.86575342465753424</c:v>
                </c:pt>
                <c:pt idx="1778">
                  <c:v>#N/A</c:v>
                </c:pt>
                <c:pt idx="1779">
                  <c:v>#N/A</c:v>
                </c:pt>
                <c:pt idx="1780">
                  <c:v>0.86575342465753424</c:v>
                </c:pt>
                <c:pt idx="1781">
                  <c:v>#N/A</c:v>
                </c:pt>
                <c:pt idx="1782">
                  <c:v>#N/A</c:v>
                </c:pt>
                <c:pt idx="1783">
                  <c:v>#N/A</c:v>
                </c:pt>
                <c:pt idx="1784">
                  <c:v>#N/A</c:v>
                </c:pt>
                <c:pt idx="1785">
                  <c:v>0.86575342465753424</c:v>
                </c:pt>
                <c:pt idx="1786">
                  <c:v>#N/A</c:v>
                </c:pt>
                <c:pt idx="1787">
                  <c:v>0.86575342465753424</c:v>
                </c:pt>
                <c:pt idx="1788">
                  <c:v>#N/A</c:v>
                </c:pt>
                <c:pt idx="1789">
                  <c:v>0.86575342465753424</c:v>
                </c:pt>
                <c:pt idx="1790">
                  <c:v>0.86575342465753424</c:v>
                </c:pt>
                <c:pt idx="1791">
                  <c:v>#N/A</c:v>
                </c:pt>
                <c:pt idx="1792">
                  <c:v>0.86575342465753424</c:v>
                </c:pt>
                <c:pt idx="1793">
                  <c:v>0.86575342465753424</c:v>
                </c:pt>
                <c:pt idx="1794">
                  <c:v>0.86575342465753424</c:v>
                </c:pt>
                <c:pt idx="1795">
                  <c:v>0.86575342465753424</c:v>
                </c:pt>
                <c:pt idx="1796">
                  <c:v>0.86575342465753424</c:v>
                </c:pt>
                <c:pt idx="1797">
                  <c:v>#N/A</c:v>
                </c:pt>
                <c:pt idx="1798">
                  <c:v>0.86575342465753424</c:v>
                </c:pt>
                <c:pt idx="1799">
                  <c:v>#N/A</c:v>
                </c:pt>
                <c:pt idx="1800">
                  <c:v>#N/A</c:v>
                </c:pt>
                <c:pt idx="1801">
                  <c:v>0.86575342465753424</c:v>
                </c:pt>
                <c:pt idx="1802">
                  <c:v>0.86575342465753424</c:v>
                </c:pt>
                <c:pt idx="1803">
                  <c:v>#N/A</c:v>
                </c:pt>
                <c:pt idx="1804">
                  <c:v>#N/A</c:v>
                </c:pt>
                <c:pt idx="1805">
                  <c:v>0.86849315068493149</c:v>
                </c:pt>
                <c:pt idx="1806">
                  <c:v>#N/A</c:v>
                </c:pt>
                <c:pt idx="1807">
                  <c:v>#N/A</c:v>
                </c:pt>
                <c:pt idx="1808">
                  <c:v>#N/A</c:v>
                </c:pt>
                <c:pt idx="1809">
                  <c:v>#N/A</c:v>
                </c:pt>
                <c:pt idx="1810">
                  <c:v>0.86849315068493149</c:v>
                </c:pt>
                <c:pt idx="1811">
                  <c:v>#N/A</c:v>
                </c:pt>
                <c:pt idx="1812">
                  <c:v>#N/A</c:v>
                </c:pt>
                <c:pt idx="1813">
                  <c:v>#N/A</c:v>
                </c:pt>
                <c:pt idx="1814">
                  <c:v>0.87671232876712324</c:v>
                </c:pt>
                <c:pt idx="1815">
                  <c:v>#N/A</c:v>
                </c:pt>
                <c:pt idx="1816">
                  <c:v>0.87671232876712324</c:v>
                </c:pt>
                <c:pt idx="1817">
                  <c:v>0.8794520547945206</c:v>
                </c:pt>
                <c:pt idx="1818">
                  <c:v>#N/A</c:v>
                </c:pt>
                <c:pt idx="1819">
                  <c:v>0.8794520547945206</c:v>
                </c:pt>
                <c:pt idx="1820">
                  <c:v>0.8794520547945206</c:v>
                </c:pt>
                <c:pt idx="1821">
                  <c:v>#N/A</c:v>
                </c:pt>
                <c:pt idx="1822">
                  <c:v>0.8794520547945206</c:v>
                </c:pt>
                <c:pt idx="1823">
                  <c:v>0.8794520547945206</c:v>
                </c:pt>
                <c:pt idx="1824">
                  <c:v>0.8794520547945206</c:v>
                </c:pt>
                <c:pt idx="1825">
                  <c:v>0.88219178082191785</c:v>
                </c:pt>
                <c:pt idx="1826">
                  <c:v>#N/A</c:v>
                </c:pt>
                <c:pt idx="1827">
                  <c:v>#N/A</c:v>
                </c:pt>
                <c:pt idx="1828">
                  <c:v>#N/A</c:v>
                </c:pt>
                <c:pt idx="1829">
                  <c:v>#N/A</c:v>
                </c:pt>
                <c:pt idx="1830">
                  <c:v>#N/A</c:v>
                </c:pt>
                <c:pt idx="1831">
                  <c:v>#N/A</c:v>
                </c:pt>
                <c:pt idx="1832">
                  <c:v>#N/A</c:v>
                </c:pt>
                <c:pt idx="1833">
                  <c:v>#N/A</c:v>
                </c:pt>
                <c:pt idx="1834">
                  <c:v>#N/A</c:v>
                </c:pt>
                <c:pt idx="1835">
                  <c:v>0.8849315068493151</c:v>
                </c:pt>
                <c:pt idx="1836">
                  <c:v>#N/A</c:v>
                </c:pt>
                <c:pt idx="1837">
                  <c:v>#N/A</c:v>
                </c:pt>
                <c:pt idx="1838">
                  <c:v>#N/A</c:v>
                </c:pt>
                <c:pt idx="1839">
                  <c:v>#N/A</c:v>
                </c:pt>
                <c:pt idx="1840">
                  <c:v>0.8849315068493151</c:v>
                </c:pt>
                <c:pt idx="1841">
                  <c:v>#N/A</c:v>
                </c:pt>
                <c:pt idx="1842">
                  <c:v>#N/A</c:v>
                </c:pt>
                <c:pt idx="1843">
                  <c:v>#N/A</c:v>
                </c:pt>
                <c:pt idx="1844">
                  <c:v>0.88767123287671235</c:v>
                </c:pt>
                <c:pt idx="1845">
                  <c:v>#N/A</c:v>
                </c:pt>
                <c:pt idx="1846">
                  <c:v>0.89863013698630134</c:v>
                </c:pt>
                <c:pt idx="1847">
                  <c:v>#N/A</c:v>
                </c:pt>
                <c:pt idx="1848">
                  <c:v>0.90410958904109584</c:v>
                </c:pt>
                <c:pt idx="1849">
                  <c:v>#N/A</c:v>
                </c:pt>
                <c:pt idx="1850">
                  <c:v>#N/A</c:v>
                </c:pt>
                <c:pt idx="1851">
                  <c:v>0.90410958904109584</c:v>
                </c:pt>
                <c:pt idx="1852">
                  <c:v>0.9068493150684932</c:v>
                </c:pt>
                <c:pt idx="1853">
                  <c:v>0.9068493150684932</c:v>
                </c:pt>
                <c:pt idx="1854">
                  <c:v>0.9068493150684932</c:v>
                </c:pt>
                <c:pt idx="1855">
                  <c:v>#N/A</c:v>
                </c:pt>
                <c:pt idx="1856">
                  <c:v>#N/A</c:v>
                </c:pt>
                <c:pt idx="1857">
                  <c:v>#N/A</c:v>
                </c:pt>
                <c:pt idx="1858">
                  <c:v>#N/A</c:v>
                </c:pt>
                <c:pt idx="1859">
                  <c:v>#N/A</c:v>
                </c:pt>
                <c:pt idx="1860">
                  <c:v>0.9068493150684932</c:v>
                </c:pt>
                <c:pt idx="1861">
                  <c:v>#N/A</c:v>
                </c:pt>
                <c:pt idx="1862">
                  <c:v>#N/A</c:v>
                </c:pt>
                <c:pt idx="1863">
                  <c:v>#N/A</c:v>
                </c:pt>
                <c:pt idx="1864">
                  <c:v>#N/A</c:v>
                </c:pt>
                <c:pt idx="1865">
                  <c:v>0.91506849315068495</c:v>
                </c:pt>
                <c:pt idx="1866">
                  <c:v>#N/A</c:v>
                </c:pt>
                <c:pt idx="1867">
                  <c:v>0.91506849315068495</c:v>
                </c:pt>
                <c:pt idx="1868">
                  <c:v>#N/A</c:v>
                </c:pt>
                <c:pt idx="1869">
                  <c:v>#N/A</c:v>
                </c:pt>
                <c:pt idx="1870">
                  <c:v>#N/A</c:v>
                </c:pt>
                <c:pt idx="1871">
                  <c:v>#N/A</c:v>
                </c:pt>
                <c:pt idx="1872">
                  <c:v>0.91506849315068495</c:v>
                </c:pt>
                <c:pt idx="1873">
                  <c:v>#N/A</c:v>
                </c:pt>
                <c:pt idx="1874">
                  <c:v>0.91506849315068495</c:v>
                </c:pt>
                <c:pt idx="1875">
                  <c:v>#N/A</c:v>
                </c:pt>
                <c:pt idx="1876">
                  <c:v>0.91506849315068495</c:v>
                </c:pt>
                <c:pt idx="1877">
                  <c:v>#N/A</c:v>
                </c:pt>
                <c:pt idx="1878">
                  <c:v>#N/A</c:v>
                </c:pt>
                <c:pt idx="1879">
                  <c:v>#N/A</c:v>
                </c:pt>
                <c:pt idx="1880">
                  <c:v>#N/A</c:v>
                </c:pt>
                <c:pt idx="1881">
                  <c:v>#N/A</c:v>
                </c:pt>
                <c:pt idx="1882">
                  <c:v>0.91506849315068495</c:v>
                </c:pt>
                <c:pt idx="1883">
                  <c:v>#N/A</c:v>
                </c:pt>
                <c:pt idx="1884">
                  <c:v>#N/A</c:v>
                </c:pt>
                <c:pt idx="1885">
                  <c:v>0.92602739726027394</c:v>
                </c:pt>
                <c:pt idx="1886">
                  <c:v>0.92602739726027394</c:v>
                </c:pt>
                <c:pt idx="1887">
                  <c:v>#N/A</c:v>
                </c:pt>
                <c:pt idx="1888">
                  <c:v>#N/A</c:v>
                </c:pt>
                <c:pt idx="1889">
                  <c:v>#N/A</c:v>
                </c:pt>
                <c:pt idx="1890">
                  <c:v>#N/A</c:v>
                </c:pt>
                <c:pt idx="1891">
                  <c:v>0.9342465753424658</c:v>
                </c:pt>
                <c:pt idx="1892">
                  <c:v>0.9342465753424658</c:v>
                </c:pt>
                <c:pt idx="1893">
                  <c:v>0.9342465753424658</c:v>
                </c:pt>
                <c:pt idx="1894">
                  <c:v>0.9342465753424658</c:v>
                </c:pt>
                <c:pt idx="1895">
                  <c:v>0.9342465753424658</c:v>
                </c:pt>
                <c:pt idx="1896">
                  <c:v>#N/A</c:v>
                </c:pt>
                <c:pt idx="1897">
                  <c:v>#N/A</c:v>
                </c:pt>
                <c:pt idx="1898">
                  <c:v>0.93698630136986305</c:v>
                </c:pt>
                <c:pt idx="1899">
                  <c:v>#N/A</c:v>
                </c:pt>
                <c:pt idx="1900">
                  <c:v>0.93698630136986305</c:v>
                </c:pt>
                <c:pt idx="1901">
                  <c:v>0.93698630136986305</c:v>
                </c:pt>
                <c:pt idx="1902">
                  <c:v>0.93698630136986305</c:v>
                </c:pt>
                <c:pt idx="1903">
                  <c:v>0.93698630136986305</c:v>
                </c:pt>
                <c:pt idx="1904">
                  <c:v>0.93698630136986305</c:v>
                </c:pt>
                <c:pt idx="1905">
                  <c:v>#N/A</c:v>
                </c:pt>
                <c:pt idx="1906">
                  <c:v>#N/A</c:v>
                </c:pt>
                <c:pt idx="1907">
                  <c:v>#N/A</c:v>
                </c:pt>
                <c:pt idx="1908">
                  <c:v>#N/A</c:v>
                </c:pt>
                <c:pt idx="1909">
                  <c:v>#N/A</c:v>
                </c:pt>
                <c:pt idx="1910">
                  <c:v>#N/A</c:v>
                </c:pt>
                <c:pt idx="1911">
                  <c:v>#N/A</c:v>
                </c:pt>
                <c:pt idx="1912">
                  <c:v>#N/A</c:v>
                </c:pt>
                <c:pt idx="1913">
                  <c:v>#N/A</c:v>
                </c:pt>
                <c:pt idx="1914">
                  <c:v>#N/A</c:v>
                </c:pt>
                <c:pt idx="1915">
                  <c:v>#N/A</c:v>
                </c:pt>
                <c:pt idx="1916">
                  <c:v>#N/A</c:v>
                </c:pt>
                <c:pt idx="1917">
                  <c:v>0.9397260273972603</c:v>
                </c:pt>
                <c:pt idx="1918">
                  <c:v>0.9397260273972603</c:v>
                </c:pt>
                <c:pt idx="1919">
                  <c:v>#N/A</c:v>
                </c:pt>
                <c:pt idx="1920">
                  <c:v>#N/A</c:v>
                </c:pt>
                <c:pt idx="1921">
                  <c:v>0.9397260273972603</c:v>
                </c:pt>
                <c:pt idx="1922">
                  <c:v>#N/A</c:v>
                </c:pt>
                <c:pt idx="1923">
                  <c:v>#N/A</c:v>
                </c:pt>
                <c:pt idx="1924">
                  <c:v>#N/A</c:v>
                </c:pt>
                <c:pt idx="1925">
                  <c:v>#N/A</c:v>
                </c:pt>
                <c:pt idx="1926">
                  <c:v>#N/A</c:v>
                </c:pt>
                <c:pt idx="1927">
                  <c:v>#N/A</c:v>
                </c:pt>
                <c:pt idx="1928">
                  <c:v>0.9397260273972603</c:v>
                </c:pt>
                <c:pt idx="1929">
                  <c:v>0.9452054794520548</c:v>
                </c:pt>
                <c:pt idx="1930">
                  <c:v>#N/A</c:v>
                </c:pt>
                <c:pt idx="1931">
                  <c:v>#N/A</c:v>
                </c:pt>
                <c:pt idx="1932">
                  <c:v>0.95342465753424654</c:v>
                </c:pt>
                <c:pt idx="1933">
                  <c:v>#N/A</c:v>
                </c:pt>
                <c:pt idx="1934">
                  <c:v>#N/A</c:v>
                </c:pt>
                <c:pt idx="1935">
                  <c:v>0.95342465753424654</c:v>
                </c:pt>
                <c:pt idx="1936">
                  <c:v>0.95616438356164379</c:v>
                </c:pt>
                <c:pt idx="1937">
                  <c:v>#N/A</c:v>
                </c:pt>
                <c:pt idx="1938">
                  <c:v>0.95616438356164379</c:v>
                </c:pt>
                <c:pt idx="1939">
                  <c:v>#N/A</c:v>
                </c:pt>
                <c:pt idx="1940">
                  <c:v>#N/A</c:v>
                </c:pt>
                <c:pt idx="1941">
                  <c:v>0.95890410958904104</c:v>
                </c:pt>
                <c:pt idx="1942">
                  <c:v>0.95890410958904104</c:v>
                </c:pt>
                <c:pt idx="1943">
                  <c:v>#N/A</c:v>
                </c:pt>
                <c:pt idx="1944">
                  <c:v>#N/A</c:v>
                </c:pt>
                <c:pt idx="1945">
                  <c:v>#N/A</c:v>
                </c:pt>
                <c:pt idx="1946">
                  <c:v>0.9616438356164384</c:v>
                </c:pt>
                <c:pt idx="1947">
                  <c:v>#N/A</c:v>
                </c:pt>
                <c:pt idx="1948">
                  <c:v>#N/A</c:v>
                </c:pt>
                <c:pt idx="1949">
                  <c:v>0.9616438356164384</c:v>
                </c:pt>
                <c:pt idx="1950">
                  <c:v>#N/A</c:v>
                </c:pt>
                <c:pt idx="1951">
                  <c:v>0.96438356164383565</c:v>
                </c:pt>
                <c:pt idx="1952">
                  <c:v>#N/A</c:v>
                </c:pt>
                <c:pt idx="1953">
                  <c:v>#N/A</c:v>
                </c:pt>
                <c:pt idx="1954">
                  <c:v>#N/A</c:v>
                </c:pt>
                <c:pt idx="1955">
                  <c:v>#N/A</c:v>
                </c:pt>
                <c:pt idx="1956">
                  <c:v>#N/A</c:v>
                </c:pt>
                <c:pt idx="1957">
                  <c:v>#N/A</c:v>
                </c:pt>
                <c:pt idx="1958">
                  <c:v>#N/A</c:v>
                </c:pt>
                <c:pt idx="1959">
                  <c:v>0.9726027397260274</c:v>
                </c:pt>
                <c:pt idx="1960">
                  <c:v>0.9726027397260274</c:v>
                </c:pt>
                <c:pt idx="1961">
                  <c:v>#N/A</c:v>
                </c:pt>
                <c:pt idx="1962">
                  <c:v>#N/A</c:v>
                </c:pt>
                <c:pt idx="1963">
                  <c:v>0.9726027397260274</c:v>
                </c:pt>
                <c:pt idx="1964">
                  <c:v>#N/A</c:v>
                </c:pt>
                <c:pt idx="1965">
                  <c:v>0.9726027397260274</c:v>
                </c:pt>
                <c:pt idx="1966">
                  <c:v>0.9726027397260274</c:v>
                </c:pt>
                <c:pt idx="1967">
                  <c:v>#N/A</c:v>
                </c:pt>
                <c:pt idx="1968">
                  <c:v>#N/A</c:v>
                </c:pt>
                <c:pt idx="1969">
                  <c:v>0.9726027397260274</c:v>
                </c:pt>
                <c:pt idx="1970">
                  <c:v>#N/A</c:v>
                </c:pt>
                <c:pt idx="1971">
                  <c:v>0.9726027397260274</c:v>
                </c:pt>
                <c:pt idx="1972">
                  <c:v>#N/A</c:v>
                </c:pt>
                <c:pt idx="1973">
                  <c:v>#N/A</c:v>
                </c:pt>
                <c:pt idx="1974">
                  <c:v>#N/A</c:v>
                </c:pt>
                <c:pt idx="1975">
                  <c:v>#N/A</c:v>
                </c:pt>
                <c:pt idx="1976">
                  <c:v>#N/A</c:v>
                </c:pt>
                <c:pt idx="1977">
                  <c:v>0.9726027397260274</c:v>
                </c:pt>
                <c:pt idx="1978">
                  <c:v>0.9726027397260274</c:v>
                </c:pt>
                <c:pt idx="1979">
                  <c:v>#N/A</c:v>
                </c:pt>
                <c:pt idx="1980">
                  <c:v>#N/A</c:v>
                </c:pt>
                <c:pt idx="1981">
                  <c:v>#N/A</c:v>
                </c:pt>
                <c:pt idx="1982">
                  <c:v>0.9726027397260274</c:v>
                </c:pt>
                <c:pt idx="1983">
                  <c:v>0.9726027397260274</c:v>
                </c:pt>
                <c:pt idx="1984">
                  <c:v>#N/A</c:v>
                </c:pt>
                <c:pt idx="1985">
                  <c:v>#N/A</c:v>
                </c:pt>
                <c:pt idx="1986">
                  <c:v>0.9780821917808219</c:v>
                </c:pt>
                <c:pt idx="1987">
                  <c:v>#N/A</c:v>
                </c:pt>
                <c:pt idx="1988">
                  <c:v>#N/A</c:v>
                </c:pt>
                <c:pt idx="1989">
                  <c:v>0.9780821917808219</c:v>
                </c:pt>
                <c:pt idx="1990">
                  <c:v>0.9780821917808219</c:v>
                </c:pt>
                <c:pt idx="1991">
                  <c:v>#N/A</c:v>
                </c:pt>
                <c:pt idx="1992">
                  <c:v>#N/A</c:v>
                </c:pt>
                <c:pt idx="1993">
                  <c:v>#N/A</c:v>
                </c:pt>
                <c:pt idx="1994">
                  <c:v>0.9780821917808219</c:v>
                </c:pt>
                <c:pt idx="1995">
                  <c:v>#N/A</c:v>
                </c:pt>
                <c:pt idx="1996">
                  <c:v>#N/A</c:v>
                </c:pt>
                <c:pt idx="1997">
                  <c:v>#N/A</c:v>
                </c:pt>
                <c:pt idx="1998">
                  <c:v>#N/A</c:v>
                </c:pt>
                <c:pt idx="1999">
                  <c:v>#N/A</c:v>
                </c:pt>
                <c:pt idx="2000">
                  <c:v>#N/A</c:v>
                </c:pt>
                <c:pt idx="2001">
                  <c:v>0.99178082191780825</c:v>
                </c:pt>
                <c:pt idx="2002">
                  <c:v>0.99178082191780825</c:v>
                </c:pt>
                <c:pt idx="2003">
                  <c:v>#N/A</c:v>
                </c:pt>
                <c:pt idx="2004">
                  <c:v>0.99178082191780825</c:v>
                </c:pt>
                <c:pt idx="2005">
                  <c:v>0.99178082191780825</c:v>
                </c:pt>
                <c:pt idx="2006">
                  <c:v>#N/A</c:v>
                </c:pt>
                <c:pt idx="2007">
                  <c:v>#N/A</c:v>
                </c:pt>
                <c:pt idx="2008">
                  <c:v>#N/A</c:v>
                </c:pt>
                <c:pt idx="2009">
                  <c:v>#N/A</c:v>
                </c:pt>
                <c:pt idx="2010">
                  <c:v>#N/A</c:v>
                </c:pt>
                <c:pt idx="2011">
                  <c:v>#N/A</c:v>
                </c:pt>
                <c:pt idx="2012">
                  <c:v>#N/A</c:v>
                </c:pt>
                <c:pt idx="2013">
                  <c:v>#N/A</c:v>
                </c:pt>
                <c:pt idx="2014">
                  <c:v>#N/A</c:v>
                </c:pt>
                <c:pt idx="2015">
                  <c:v>0.9945205479452055</c:v>
                </c:pt>
                <c:pt idx="2016">
                  <c:v>0.9945205479452055</c:v>
                </c:pt>
                <c:pt idx="2017">
                  <c:v>#N/A</c:v>
                </c:pt>
                <c:pt idx="2018">
                  <c:v>#N/A</c:v>
                </c:pt>
                <c:pt idx="2019">
                  <c:v>#N/A</c:v>
                </c:pt>
                <c:pt idx="2020">
                  <c:v>#N/A</c:v>
                </c:pt>
                <c:pt idx="2021">
                  <c:v>#N/A</c:v>
                </c:pt>
                <c:pt idx="2022">
                  <c:v>#N/A</c:v>
                </c:pt>
                <c:pt idx="2023">
                  <c:v>#N/A</c:v>
                </c:pt>
                <c:pt idx="2024">
                  <c:v>0.99726027397260275</c:v>
                </c:pt>
                <c:pt idx="2025">
                  <c:v>#N/A</c:v>
                </c:pt>
                <c:pt idx="2026">
                  <c:v>0.99726027397260275</c:v>
                </c:pt>
                <c:pt idx="2027">
                  <c:v>#N/A</c:v>
                </c:pt>
                <c:pt idx="2028">
                  <c:v>#N/A</c:v>
                </c:pt>
                <c:pt idx="2029">
                  <c:v>#N/A</c:v>
                </c:pt>
                <c:pt idx="2030">
                  <c:v>#N/A</c:v>
                </c:pt>
                <c:pt idx="2031">
                  <c:v>#N/A</c:v>
                </c:pt>
                <c:pt idx="2032">
                  <c:v>#N/A</c:v>
                </c:pt>
                <c:pt idx="2033">
                  <c:v>#N/A</c:v>
                </c:pt>
                <c:pt idx="2034">
                  <c:v>0.99726027397260275</c:v>
                </c:pt>
                <c:pt idx="2035">
                  <c:v>0.99726027397260275</c:v>
                </c:pt>
                <c:pt idx="2036">
                  <c:v>0.99726027397260275</c:v>
                </c:pt>
                <c:pt idx="2037">
                  <c:v>#N/A</c:v>
                </c:pt>
                <c:pt idx="2038">
                  <c:v>#N/A</c:v>
                </c:pt>
                <c:pt idx="2039">
                  <c:v>1</c:v>
                </c:pt>
                <c:pt idx="2040">
                  <c:v>1.0027397260273974</c:v>
                </c:pt>
                <c:pt idx="2041">
                  <c:v>1.0027397260273974</c:v>
                </c:pt>
                <c:pt idx="2042">
                  <c:v>1.0027397260273974</c:v>
                </c:pt>
                <c:pt idx="2043">
                  <c:v>1.0027397260273974</c:v>
                </c:pt>
                <c:pt idx="2044">
                  <c:v>1.0027397260273974</c:v>
                </c:pt>
                <c:pt idx="2045">
                  <c:v>#N/A</c:v>
                </c:pt>
                <c:pt idx="2046">
                  <c:v>#N/A</c:v>
                </c:pt>
                <c:pt idx="2047">
                  <c:v>1.0027397260273974</c:v>
                </c:pt>
                <c:pt idx="2048">
                  <c:v>#N/A</c:v>
                </c:pt>
                <c:pt idx="2049">
                  <c:v>#N/A</c:v>
                </c:pt>
                <c:pt idx="2050">
                  <c:v>#N/A</c:v>
                </c:pt>
                <c:pt idx="2051">
                  <c:v>1.0027397260273974</c:v>
                </c:pt>
                <c:pt idx="2052">
                  <c:v>1.0027397260273974</c:v>
                </c:pt>
                <c:pt idx="2053">
                  <c:v>1.0027397260273974</c:v>
                </c:pt>
                <c:pt idx="2054">
                  <c:v>#N/A</c:v>
                </c:pt>
                <c:pt idx="2055">
                  <c:v>#N/A</c:v>
                </c:pt>
                <c:pt idx="2056">
                  <c:v>#N/A</c:v>
                </c:pt>
                <c:pt idx="2057">
                  <c:v>1.0027397260273974</c:v>
                </c:pt>
                <c:pt idx="2058">
                  <c:v>#N/A</c:v>
                </c:pt>
                <c:pt idx="2059">
                  <c:v>#N/A</c:v>
                </c:pt>
                <c:pt idx="2060">
                  <c:v>1.0027397260273974</c:v>
                </c:pt>
                <c:pt idx="2061">
                  <c:v>#N/A</c:v>
                </c:pt>
                <c:pt idx="2062">
                  <c:v>#N/A</c:v>
                </c:pt>
                <c:pt idx="2063">
                  <c:v>#N/A</c:v>
                </c:pt>
                <c:pt idx="2064">
                  <c:v>#N/A</c:v>
                </c:pt>
                <c:pt idx="2065">
                  <c:v>#N/A</c:v>
                </c:pt>
                <c:pt idx="2066">
                  <c:v>#N/A</c:v>
                </c:pt>
                <c:pt idx="2067">
                  <c:v>1.0027397260273974</c:v>
                </c:pt>
                <c:pt idx="2068">
                  <c:v>1.0027397260273974</c:v>
                </c:pt>
                <c:pt idx="2069">
                  <c:v>#N/A</c:v>
                </c:pt>
                <c:pt idx="2070">
                  <c:v>#N/A</c:v>
                </c:pt>
                <c:pt idx="2071">
                  <c:v>1.0027397260273974</c:v>
                </c:pt>
                <c:pt idx="2072">
                  <c:v>1.0027397260273974</c:v>
                </c:pt>
                <c:pt idx="2073">
                  <c:v>1.0027397260273974</c:v>
                </c:pt>
                <c:pt idx="2074">
                  <c:v>#N/A</c:v>
                </c:pt>
                <c:pt idx="2075">
                  <c:v>#N/A</c:v>
                </c:pt>
                <c:pt idx="2076">
                  <c:v>1.0027397260273974</c:v>
                </c:pt>
                <c:pt idx="2077">
                  <c:v>1.0027397260273974</c:v>
                </c:pt>
                <c:pt idx="2078">
                  <c:v>#N/A</c:v>
                </c:pt>
                <c:pt idx="2079">
                  <c:v>#N/A</c:v>
                </c:pt>
                <c:pt idx="2080">
                  <c:v>1.0027397260273974</c:v>
                </c:pt>
                <c:pt idx="2081">
                  <c:v>1.0027397260273974</c:v>
                </c:pt>
                <c:pt idx="2082">
                  <c:v>1.0027397260273974</c:v>
                </c:pt>
                <c:pt idx="2083">
                  <c:v>1.0027397260273974</c:v>
                </c:pt>
                <c:pt idx="2084">
                  <c:v>#N/A</c:v>
                </c:pt>
                <c:pt idx="2085">
                  <c:v>#N/A</c:v>
                </c:pt>
                <c:pt idx="2086">
                  <c:v>#N/A</c:v>
                </c:pt>
                <c:pt idx="2087">
                  <c:v>#N/A</c:v>
                </c:pt>
                <c:pt idx="2088">
                  <c:v>1.0027397260273974</c:v>
                </c:pt>
                <c:pt idx="2089">
                  <c:v>#N/A</c:v>
                </c:pt>
                <c:pt idx="2090">
                  <c:v>1.0027397260273974</c:v>
                </c:pt>
                <c:pt idx="2091">
                  <c:v>#N/A</c:v>
                </c:pt>
                <c:pt idx="2092">
                  <c:v>#N/A</c:v>
                </c:pt>
                <c:pt idx="2093">
                  <c:v>#N/A</c:v>
                </c:pt>
                <c:pt idx="2094">
                  <c:v>1.0027397260273974</c:v>
                </c:pt>
                <c:pt idx="2095">
                  <c:v>#N/A</c:v>
                </c:pt>
                <c:pt idx="2096">
                  <c:v>1.0027397260273974</c:v>
                </c:pt>
                <c:pt idx="2097">
                  <c:v>#N/A</c:v>
                </c:pt>
                <c:pt idx="2098">
                  <c:v>#N/A</c:v>
                </c:pt>
                <c:pt idx="2099">
                  <c:v>#N/A</c:v>
                </c:pt>
                <c:pt idx="2100">
                  <c:v>1.0027397260273974</c:v>
                </c:pt>
                <c:pt idx="2101">
                  <c:v>1.0027397260273974</c:v>
                </c:pt>
                <c:pt idx="2102">
                  <c:v>#N/A</c:v>
                </c:pt>
                <c:pt idx="2103">
                  <c:v>1.0027397260273974</c:v>
                </c:pt>
                <c:pt idx="2104">
                  <c:v>#N/A</c:v>
                </c:pt>
                <c:pt idx="2105">
                  <c:v>#N/A</c:v>
                </c:pt>
                <c:pt idx="2106">
                  <c:v>1.0027397260273974</c:v>
                </c:pt>
                <c:pt idx="2107">
                  <c:v>1.0027397260273974</c:v>
                </c:pt>
                <c:pt idx="2108">
                  <c:v>1.0027397260273974</c:v>
                </c:pt>
                <c:pt idx="2109">
                  <c:v>1.0027397260273974</c:v>
                </c:pt>
                <c:pt idx="2110">
                  <c:v>1.0027397260273974</c:v>
                </c:pt>
                <c:pt idx="2111">
                  <c:v>#N/A</c:v>
                </c:pt>
                <c:pt idx="2112">
                  <c:v>1.0027397260273974</c:v>
                </c:pt>
                <c:pt idx="2113">
                  <c:v>#N/A</c:v>
                </c:pt>
                <c:pt idx="2114">
                  <c:v>1.0027397260273974</c:v>
                </c:pt>
                <c:pt idx="2115">
                  <c:v>1.0027397260273974</c:v>
                </c:pt>
                <c:pt idx="2116">
                  <c:v>#N/A</c:v>
                </c:pt>
                <c:pt idx="2117">
                  <c:v>#N/A</c:v>
                </c:pt>
                <c:pt idx="2118">
                  <c:v>#N/A</c:v>
                </c:pt>
                <c:pt idx="2119">
                  <c:v>#N/A</c:v>
                </c:pt>
                <c:pt idx="2120">
                  <c:v>1.0027397260273974</c:v>
                </c:pt>
                <c:pt idx="2121">
                  <c:v>#N/A</c:v>
                </c:pt>
                <c:pt idx="2122">
                  <c:v>#N/A</c:v>
                </c:pt>
                <c:pt idx="2123">
                  <c:v>#N/A</c:v>
                </c:pt>
                <c:pt idx="2124">
                  <c:v>#N/A</c:v>
                </c:pt>
                <c:pt idx="2125">
                  <c:v>#N/A</c:v>
                </c:pt>
                <c:pt idx="2126">
                  <c:v>#N/A</c:v>
                </c:pt>
                <c:pt idx="2127">
                  <c:v>#N/A</c:v>
                </c:pt>
                <c:pt idx="2128">
                  <c:v>1.0027397260273974</c:v>
                </c:pt>
                <c:pt idx="2129">
                  <c:v>#N/A</c:v>
                </c:pt>
                <c:pt idx="2130">
                  <c:v>#N/A</c:v>
                </c:pt>
                <c:pt idx="2131">
                  <c:v>#N/A</c:v>
                </c:pt>
                <c:pt idx="2132">
                  <c:v>1.0027397260273974</c:v>
                </c:pt>
                <c:pt idx="2133">
                  <c:v>#N/A</c:v>
                </c:pt>
                <c:pt idx="2134">
                  <c:v>#N/A</c:v>
                </c:pt>
                <c:pt idx="2135">
                  <c:v>1.0027397260273974</c:v>
                </c:pt>
                <c:pt idx="2136">
                  <c:v>1.0027397260273974</c:v>
                </c:pt>
                <c:pt idx="2137">
                  <c:v>#N/A</c:v>
                </c:pt>
                <c:pt idx="2138">
                  <c:v>1.0027397260273974</c:v>
                </c:pt>
                <c:pt idx="2139">
                  <c:v>1.0027397260273974</c:v>
                </c:pt>
                <c:pt idx="2140">
                  <c:v>1.0027397260273974</c:v>
                </c:pt>
                <c:pt idx="2141">
                  <c:v>1.0027397260273974</c:v>
                </c:pt>
                <c:pt idx="2142">
                  <c:v>#N/A</c:v>
                </c:pt>
                <c:pt idx="2143">
                  <c:v>#N/A</c:v>
                </c:pt>
                <c:pt idx="2144">
                  <c:v>#N/A</c:v>
                </c:pt>
                <c:pt idx="2145">
                  <c:v>#N/A</c:v>
                </c:pt>
                <c:pt idx="2146">
                  <c:v>1.0027397260273974</c:v>
                </c:pt>
                <c:pt idx="2147">
                  <c:v>#N/A</c:v>
                </c:pt>
                <c:pt idx="2148">
                  <c:v>#N/A</c:v>
                </c:pt>
                <c:pt idx="2149">
                  <c:v>1.0027397260273974</c:v>
                </c:pt>
                <c:pt idx="2150">
                  <c:v>#N/A</c:v>
                </c:pt>
                <c:pt idx="2151">
                  <c:v>1.0027397260273974</c:v>
                </c:pt>
                <c:pt idx="2152">
                  <c:v>1.0027397260273974</c:v>
                </c:pt>
                <c:pt idx="2153">
                  <c:v>#N/A</c:v>
                </c:pt>
                <c:pt idx="2154">
                  <c:v>#N/A</c:v>
                </c:pt>
                <c:pt idx="2155">
                  <c:v>#N/A</c:v>
                </c:pt>
                <c:pt idx="2156">
                  <c:v>1.0027397260273974</c:v>
                </c:pt>
                <c:pt idx="2157">
                  <c:v>#N/A</c:v>
                </c:pt>
                <c:pt idx="2158">
                  <c:v>#N/A</c:v>
                </c:pt>
                <c:pt idx="2159">
                  <c:v>1.0027397260273974</c:v>
                </c:pt>
                <c:pt idx="2160">
                  <c:v>#N/A</c:v>
                </c:pt>
                <c:pt idx="2161">
                  <c:v>#N/A</c:v>
                </c:pt>
                <c:pt idx="2162">
                  <c:v>#N/A</c:v>
                </c:pt>
                <c:pt idx="2163">
                  <c:v>#N/A</c:v>
                </c:pt>
                <c:pt idx="2164">
                  <c:v>#N/A</c:v>
                </c:pt>
                <c:pt idx="2165">
                  <c:v>#N/A</c:v>
                </c:pt>
                <c:pt idx="2166">
                  <c:v>1.0027397260273974</c:v>
                </c:pt>
                <c:pt idx="2167">
                  <c:v>1.0027397260273974</c:v>
                </c:pt>
                <c:pt idx="2168">
                  <c:v>1.0027397260273974</c:v>
                </c:pt>
                <c:pt idx="2169">
                  <c:v>1.0027397260273974</c:v>
                </c:pt>
                <c:pt idx="2170">
                  <c:v>#N/A</c:v>
                </c:pt>
                <c:pt idx="2171">
                  <c:v>#N/A</c:v>
                </c:pt>
                <c:pt idx="2172">
                  <c:v>1.0027397260273974</c:v>
                </c:pt>
                <c:pt idx="2173">
                  <c:v>#N/A</c:v>
                </c:pt>
                <c:pt idx="2174">
                  <c:v>1.0027397260273974</c:v>
                </c:pt>
                <c:pt idx="2175">
                  <c:v>#N/A</c:v>
                </c:pt>
                <c:pt idx="2176">
                  <c:v>#N/A</c:v>
                </c:pt>
                <c:pt idx="2177">
                  <c:v>#N/A</c:v>
                </c:pt>
                <c:pt idx="2178">
                  <c:v>1.0082191780821919</c:v>
                </c:pt>
                <c:pt idx="2179">
                  <c:v>1.0082191780821919</c:v>
                </c:pt>
                <c:pt idx="2180">
                  <c:v>1.010958904109589</c:v>
                </c:pt>
                <c:pt idx="2181">
                  <c:v>1.010958904109589</c:v>
                </c:pt>
                <c:pt idx="2182">
                  <c:v>1.010958904109589</c:v>
                </c:pt>
                <c:pt idx="2183">
                  <c:v>1.010958904109589</c:v>
                </c:pt>
                <c:pt idx="2184">
                  <c:v>1.010958904109589</c:v>
                </c:pt>
                <c:pt idx="2185">
                  <c:v>1.010958904109589</c:v>
                </c:pt>
                <c:pt idx="2186">
                  <c:v>1.010958904109589</c:v>
                </c:pt>
                <c:pt idx="2187">
                  <c:v>1.010958904109589</c:v>
                </c:pt>
                <c:pt idx="2188">
                  <c:v>1.010958904109589</c:v>
                </c:pt>
                <c:pt idx="2189">
                  <c:v>1.010958904109589</c:v>
                </c:pt>
                <c:pt idx="2190">
                  <c:v>1.010958904109589</c:v>
                </c:pt>
                <c:pt idx="2191">
                  <c:v>1.010958904109589</c:v>
                </c:pt>
                <c:pt idx="2192">
                  <c:v>1.010958904109589</c:v>
                </c:pt>
                <c:pt idx="2193">
                  <c:v>1.010958904109589</c:v>
                </c:pt>
                <c:pt idx="2194">
                  <c:v>#N/A</c:v>
                </c:pt>
                <c:pt idx="2195">
                  <c:v>1.010958904109589</c:v>
                </c:pt>
                <c:pt idx="2196">
                  <c:v>1.010958904109589</c:v>
                </c:pt>
                <c:pt idx="2197">
                  <c:v>1.010958904109589</c:v>
                </c:pt>
                <c:pt idx="2198">
                  <c:v>1.010958904109589</c:v>
                </c:pt>
                <c:pt idx="2199">
                  <c:v>#N/A</c:v>
                </c:pt>
                <c:pt idx="2200">
                  <c:v>#N/A</c:v>
                </c:pt>
                <c:pt idx="2201">
                  <c:v>#N/A</c:v>
                </c:pt>
                <c:pt idx="2202">
                  <c:v>#N/A</c:v>
                </c:pt>
                <c:pt idx="2203">
                  <c:v>1.010958904109589</c:v>
                </c:pt>
                <c:pt idx="2204">
                  <c:v>1.010958904109589</c:v>
                </c:pt>
                <c:pt idx="2205">
                  <c:v>#N/A</c:v>
                </c:pt>
                <c:pt idx="2206">
                  <c:v>1.010958904109589</c:v>
                </c:pt>
                <c:pt idx="2207">
                  <c:v>#N/A</c:v>
                </c:pt>
                <c:pt idx="2208">
                  <c:v>#N/A</c:v>
                </c:pt>
                <c:pt idx="2209">
                  <c:v>#N/A</c:v>
                </c:pt>
                <c:pt idx="2210">
                  <c:v>#N/A</c:v>
                </c:pt>
                <c:pt idx="2211">
                  <c:v>1.0136986301369864</c:v>
                </c:pt>
                <c:pt idx="2212">
                  <c:v>1.0136986301369864</c:v>
                </c:pt>
                <c:pt idx="2213">
                  <c:v>1.0136986301369864</c:v>
                </c:pt>
                <c:pt idx="2214">
                  <c:v>#N/A</c:v>
                </c:pt>
                <c:pt idx="2215">
                  <c:v>#N/A</c:v>
                </c:pt>
                <c:pt idx="2216">
                  <c:v>1.0136986301369864</c:v>
                </c:pt>
                <c:pt idx="2217">
                  <c:v>#N/A</c:v>
                </c:pt>
                <c:pt idx="2218">
                  <c:v>1.0136986301369864</c:v>
                </c:pt>
                <c:pt idx="2219">
                  <c:v>1.0136986301369864</c:v>
                </c:pt>
                <c:pt idx="2220">
                  <c:v>#N/A</c:v>
                </c:pt>
                <c:pt idx="2221">
                  <c:v>1.0136986301369864</c:v>
                </c:pt>
                <c:pt idx="2222">
                  <c:v>#N/A</c:v>
                </c:pt>
                <c:pt idx="2223">
                  <c:v>1.0136986301369864</c:v>
                </c:pt>
                <c:pt idx="2224">
                  <c:v>1.0136986301369864</c:v>
                </c:pt>
                <c:pt idx="2225">
                  <c:v>1.0136986301369864</c:v>
                </c:pt>
                <c:pt idx="2226">
                  <c:v>1.0136986301369864</c:v>
                </c:pt>
                <c:pt idx="2227">
                  <c:v>#N/A</c:v>
                </c:pt>
                <c:pt idx="2228">
                  <c:v>1.0136986301369864</c:v>
                </c:pt>
                <c:pt idx="2229">
                  <c:v>1.0136986301369864</c:v>
                </c:pt>
                <c:pt idx="2230">
                  <c:v>#N/A</c:v>
                </c:pt>
                <c:pt idx="2231">
                  <c:v>1.0136986301369864</c:v>
                </c:pt>
                <c:pt idx="2232">
                  <c:v>1.0164383561643835</c:v>
                </c:pt>
                <c:pt idx="2233">
                  <c:v>1.0164383561643835</c:v>
                </c:pt>
                <c:pt idx="2234">
                  <c:v>#N/A</c:v>
                </c:pt>
                <c:pt idx="2235">
                  <c:v>#N/A</c:v>
                </c:pt>
                <c:pt idx="2236">
                  <c:v>1.0164383561643835</c:v>
                </c:pt>
                <c:pt idx="2237">
                  <c:v>#N/A</c:v>
                </c:pt>
                <c:pt idx="2238">
                  <c:v>1.0164383561643835</c:v>
                </c:pt>
                <c:pt idx="2239">
                  <c:v>1.0164383561643835</c:v>
                </c:pt>
                <c:pt idx="2240">
                  <c:v>1.0164383561643835</c:v>
                </c:pt>
                <c:pt idx="2241">
                  <c:v>1.0164383561643835</c:v>
                </c:pt>
                <c:pt idx="2242">
                  <c:v>#N/A</c:v>
                </c:pt>
                <c:pt idx="2243">
                  <c:v>1.0191780821917809</c:v>
                </c:pt>
                <c:pt idx="2244">
                  <c:v>#N/A</c:v>
                </c:pt>
                <c:pt idx="2245">
                  <c:v>1.0191780821917809</c:v>
                </c:pt>
                <c:pt idx="2246">
                  <c:v>#N/A</c:v>
                </c:pt>
                <c:pt idx="2247">
                  <c:v>#N/A</c:v>
                </c:pt>
                <c:pt idx="2248">
                  <c:v>#N/A</c:v>
                </c:pt>
                <c:pt idx="2249">
                  <c:v>#N/A</c:v>
                </c:pt>
                <c:pt idx="2250">
                  <c:v>1.021917808219178</c:v>
                </c:pt>
                <c:pt idx="2251">
                  <c:v>#N/A</c:v>
                </c:pt>
                <c:pt idx="2252">
                  <c:v>1.021917808219178</c:v>
                </c:pt>
                <c:pt idx="2253">
                  <c:v>1.021917808219178</c:v>
                </c:pt>
                <c:pt idx="2254">
                  <c:v>#N/A</c:v>
                </c:pt>
                <c:pt idx="2255">
                  <c:v>1.021917808219178</c:v>
                </c:pt>
                <c:pt idx="2256">
                  <c:v>#N/A</c:v>
                </c:pt>
                <c:pt idx="2257">
                  <c:v>#N/A</c:v>
                </c:pt>
                <c:pt idx="2258">
                  <c:v>#N/A</c:v>
                </c:pt>
                <c:pt idx="2259">
                  <c:v>1.021917808219178</c:v>
                </c:pt>
                <c:pt idx="2260">
                  <c:v>#N/A</c:v>
                </c:pt>
                <c:pt idx="2261">
                  <c:v>#N/A</c:v>
                </c:pt>
                <c:pt idx="2262">
                  <c:v>#N/A</c:v>
                </c:pt>
                <c:pt idx="2263">
                  <c:v>1.0273972602739727</c:v>
                </c:pt>
                <c:pt idx="2264">
                  <c:v>#N/A</c:v>
                </c:pt>
                <c:pt idx="2265">
                  <c:v>1.0301369863013699</c:v>
                </c:pt>
                <c:pt idx="2266">
                  <c:v>#N/A</c:v>
                </c:pt>
                <c:pt idx="2267">
                  <c:v>#N/A</c:v>
                </c:pt>
                <c:pt idx="2268">
                  <c:v>#N/A</c:v>
                </c:pt>
                <c:pt idx="2269">
                  <c:v>1.0301369863013699</c:v>
                </c:pt>
                <c:pt idx="2270">
                  <c:v>1.0301369863013699</c:v>
                </c:pt>
                <c:pt idx="2271">
                  <c:v>1.0301369863013699</c:v>
                </c:pt>
                <c:pt idx="2272">
                  <c:v>1.0301369863013699</c:v>
                </c:pt>
                <c:pt idx="2273">
                  <c:v>1.0301369863013699</c:v>
                </c:pt>
                <c:pt idx="2274">
                  <c:v>1.0301369863013699</c:v>
                </c:pt>
                <c:pt idx="2275">
                  <c:v>1.0301369863013699</c:v>
                </c:pt>
                <c:pt idx="2276">
                  <c:v>#N/A</c:v>
                </c:pt>
                <c:pt idx="2277">
                  <c:v>#N/A</c:v>
                </c:pt>
                <c:pt idx="2278">
                  <c:v>#N/A</c:v>
                </c:pt>
                <c:pt idx="2279">
                  <c:v>#N/A</c:v>
                </c:pt>
                <c:pt idx="2280">
                  <c:v>#N/A</c:v>
                </c:pt>
                <c:pt idx="2281">
                  <c:v>1.0356164383561643</c:v>
                </c:pt>
                <c:pt idx="2282">
                  <c:v>#N/A</c:v>
                </c:pt>
                <c:pt idx="2283">
                  <c:v>1.0356164383561643</c:v>
                </c:pt>
                <c:pt idx="2284">
                  <c:v>#N/A</c:v>
                </c:pt>
                <c:pt idx="2285">
                  <c:v>#N/A</c:v>
                </c:pt>
                <c:pt idx="2286">
                  <c:v>1.0356164383561643</c:v>
                </c:pt>
                <c:pt idx="2287">
                  <c:v>#N/A</c:v>
                </c:pt>
                <c:pt idx="2288">
                  <c:v>1.0383561643835617</c:v>
                </c:pt>
                <c:pt idx="2289">
                  <c:v>1.0383561643835617</c:v>
                </c:pt>
                <c:pt idx="2290">
                  <c:v>1.0383561643835617</c:v>
                </c:pt>
                <c:pt idx="2291">
                  <c:v>#N/A</c:v>
                </c:pt>
                <c:pt idx="2292">
                  <c:v>1.0383561643835617</c:v>
                </c:pt>
                <c:pt idx="2293">
                  <c:v>1.0383561643835617</c:v>
                </c:pt>
                <c:pt idx="2294">
                  <c:v>#N/A</c:v>
                </c:pt>
                <c:pt idx="2295">
                  <c:v>#N/A</c:v>
                </c:pt>
                <c:pt idx="2296">
                  <c:v>#N/A</c:v>
                </c:pt>
                <c:pt idx="2297">
                  <c:v>1.0410958904109588</c:v>
                </c:pt>
                <c:pt idx="2298">
                  <c:v>#N/A</c:v>
                </c:pt>
                <c:pt idx="2299">
                  <c:v>1.0547945205479452</c:v>
                </c:pt>
                <c:pt idx="2300">
                  <c:v>1.0547945205479452</c:v>
                </c:pt>
                <c:pt idx="2301">
                  <c:v>1.0575342465753426</c:v>
                </c:pt>
                <c:pt idx="2302">
                  <c:v>1.0575342465753426</c:v>
                </c:pt>
                <c:pt idx="2303">
                  <c:v>#N/A</c:v>
                </c:pt>
                <c:pt idx="2304">
                  <c:v>#N/A</c:v>
                </c:pt>
                <c:pt idx="2305">
                  <c:v>1.0602739726027397</c:v>
                </c:pt>
                <c:pt idx="2306">
                  <c:v>#N/A</c:v>
                </c:pt>
                <c:pt idx="2307">
                  <c:v>#N/A</c:v>
                </c:pt>
                <c:pt idx="2308">
                  <c:v>#N/A</c:v>
                </c:pt>
                <c:pt idx="2309">
                  <c:v>#N/A</c:v>
                </c:pt>
                <c:pt idx="2310">
                  <c:v>#N/A</c:v>
                </c:pt>
                <c:pt idx="2311">
                  <c:v>#N/A</c:v>
                </c:pt>
                <c:pt idx="2312">
                  <c:v>#N/A</c:v>
                </c:pt>
                <c:pt idx="2313">
                  <c:v>1.0684931506849316</c:v>
                </c:pt>
                <c:pt idx="2314">
                  <c:v>1.0684931506849316</c:v>
                </c:pt>
                <c:pt idx="2315">
                  <c:v>#N/A</c:v>
                </c:pt>
                <c:pt idx="2316">
                  <c:v>1.0712328767123287</c:v>
                </c:pt>
                <c:pt idx="2317">
                  <c:v>1.0712328767123287</c:v>
                </c:pt>
                <c:pt idx="2318">
                  <c:v>1.0712328767123287</c:v>
                </c:pt>
                <c:pt idx="2319">
                  <c:v>#N/A</c:v>
                </c:pt>
                <c:pt idx="2320">
                  <c:v>1.0712328767123287</c:v>
                </c:pt>
                <c:pt idx="2321">
                  <c:v>#N/A</c:v>
                </c:pt>
                <c:pt idx="2322">
                  <c:v>#N/A</c:v>
                </c:pt>
                <c:pt idx="2323">
                  <c:v>1.0712328767123287</c:v>
                </c:pt>
                <c:pt idx="2324">
                  <c:v>#N/A</c:v>
                </c:pt>
                <c:pt idx="2325">
                  <c:v>1.0712328767123287</c:v>
                </c:pt>
                <c:pt idx="2326">
                  <c:v>#N/A</c:v>
                </c:pt>
                <c:pt idx="2327">
                  <c:v>1.0712328767123287</c:v>
                </c:pt>
                <c:pt idx="2328">
                  <c:v>1.0712328767123287</c:v>
                </c:pt>
                <c:pt idx="2329">
                  <c:v>#N/A</c:v>
                </c:pt>
                <c:pt idx="2330">
                  <c:v>#N/A</c:v>
                </c:pt>
                <c:pt idx="2331">
                  <c:v>#N/A</c:v>
                </c:pt>
                <c:pt idx="2332">
                  <c:v>1.0712328767123287</c:v>
                </c:pt>
                <c:pt idx="2333">
                  <c:v>#N/A</c:v>
                </c:pt>
                <c:pt idx="2334">
                  <c:v>1.0712328767123287</c:v>
                </c:pt>
                <c:pt idx="2335">
                  <c:v>1.0712328767123287</c:v>
                </c:pt>
                <c:pt idx="2336">
                  <c:v>#N/A</c:v>
                </c:pt>
                <c:pt idx="2337">
                  <c:v>#N/A</c:v>
                </c:pt>
                <c:pt idx="2338">
                  <c:v>1.0712328767123287</c:v>
                </c:pt>
                <c:pt idx="2339">
                  <c:v>#N/A</c:v>
                </c:pt>
                <c:pt idx="2340">
                  <c:v>1.0712328767123287</c:v>
                </c:pt>
                <c:pt idx="2341">
                  <c:v>#N/A</c:v>
                </c:pt>
                <c:pt idx="2342">
                  <c:v>1.0712328767123287</c:v>
                </c:pt>
                <c:pt idx="2343">
                  <c:v>#N/A</c:v>
                </c:pt>
                <c:pt idx="2344">
                  <c:v>1.0767123287671232</c:v>
                </c:pt>
                <c:pt idx="2345">
                  <c:v>#N/A</c:v>
                </c:pt>
                <c:pt idx="2346">
                  <c:v>#N/A</c:v>
                </c:pt>
                <c:pt idx="2347">
                  <c:v>#N/A</c:v>
                </c:pt>
                <c:pt idx="2348">
                  <c:v>1.0767123287671232</c:v>
                </c:pt>
                <c:pt idx="2349">
                  <c:v>#N/A</c:v>
                </c:pt>
                <c:pt idx="2350">
                  <c:v>#N/A</c:v>
                </c:pt>
                <c:pt idx="2351">
                  <c:v>#N/A</c:v>
                </c:pt>
                <c:pt idx="2352">
                  <c:v>1.0767123287671232</c:v>
                </c:pt>
                <c:pt idx="2353">
                  <c:v>#N/A</c:v>
                </c:pt>
                <c:pt idx="2354">
                  <c:v>1.0767123287671232</c:v>
                </c:pt>
                <c:pt idx="2355">
                  <c:v>#N/A</c:v>
                </c:pt>
                <c:pt idx="2356">
                  <c:v>1.0876712328767124</c:v>
                </c:pt>
                <c:pt idx="2357">
                  <c:v>#N/A</c:v>
                </c:pt>
                <c:pt idx="2358">
                  <c:v>#N/A</c:v>
                </c:pt>
                <c:pt idx="2359">
                  <c:v>1.0876712328767124</c:v>
                </c:pt>
                <c:pt idx="2360">
                  <c:v>#N/A</c:v>
                </c:pt>
                <c:pt idx="2361">
                  <c:v>#N/A</c:v>
                </c:pt>
                <c:pt idx="2362">
                  <c:v>1.0904109589041096</c:v>
                </c:pt>
                <c:pt idx="2363">
                  <c:v>#N/A</c:v>
                </c:pt>
                <c:pt idx="2364">
                  <c:v>#N/A</c:v>
                </c:pt>
                <c:pt idx="2365">
                  <c:v>1.0931506849315069</c:v>
                </c:pt>
                <c:pt idx="2366">
                  <c:v>1.0931506849315069</c:v>
                </c:pt>
                <c:pt idx="2367">
                  <c:v>#N/A</c:v>
                </c:pt>
                <c:pt idx="2368">
                  <c:v>#N/A</c:v>
                </c:pt>
                <c:pt idx="2369">
                  <c:v>1.0986301369863014</c:v>
                </c:pt>
                <c:pt idx="2370">
                  <c:v>#N/A</c:v>
                </c:pt>
                <c:pt idx="2371">
                  <c:v>#N/A</c:v>
                </c:pt>
                <c:pt idx="2372">
                  <c:v>1.106849315068493</c:v>
                </c:pt>
                <c:pt idx="2373">
                  <c:v>1.106849315068493</c:v>
                </c:pt>
                <c:pt idx="2374">
                  <c:v>#N/A</c:v>
                </c:pt>
                <c:pt idx="2375">
                  <c:v>1.106849315068493</c:v>
                </c:pt>
                <c:pt idx="2376">
                  <c:v>#N/A</c:v>
                </c:pt>
                <c:pt idx="2377">
                  <c:v>#N/A</c:v>
                </c:pt>
                <c:pt idx="2378">
                  <c:v>#N/A</c:v>
                </c:pt>
                <c:pt idx="2379">
                  <c:v>1.1150684931506849</c:v>
                </c:pt>
                <c:pt idx="2380">
                  <c:v>#N/A</c:v>
                </c:pt>
                <c:pt idx="2381">
                  <c:v>#N/A</c:v>
                </c:pt>
                <c:pt idx="2382">
                  <c:v>1.1178082191780823</c:v>
                </c:pt>
                <c:pt idx="2383">
                  <c:v>#N/A</c:v>
                </c:pt>
                <c:pt idx="2384">
                  <c:v>#N/A</c:v>
                </c:pt>
                <c:pt idx="2385">
                  <c:v>#N/A</c:v>
                </c:pt>
                <c:pt idx="2386">
                  <c:v>1.1178082191780823</c:v>
                </c:pt>
                <c:pt idx="2387">
                  <c:v>1.1178082191780823</c:v>
                </c:pt>
                <c:pt idx="2388">
                  <c:v>#N/A</c:v>
                </c:pt>
                <c:pt idx="2389">
                  <c:v>#N/A</c:v>
                </c:pt>
                <c:pt idx="2390">
                  <c:v>#N/A</c:v>
                </c:pt>
                <c:pt idx="2391">
                  <c:v>#N/A</c:v>
                </c:pt>
                <c:pt idx="2392">
                  <c:v>1.1178082191780823</c:v>
                </c:pt>
                <c:pt idx="2393">
                  <c:v>#N/A</c:v>
                </c:pt>
                <c:pt idx="2394">
                  <c:v>#N/A</c:v>
                </c:pt>
                <c:pt idx="2395">
                  <c:v>1.1287671232876713</c:v>
                </c:pt>
                <c:pt idx="2396">
                  <c:v>#N/A</c:v>
                </c:pt>
                <c:pt idx="2397">
                  <c:v>#N/A</c:v>
                </c:pt>
                <c:pt idx="2398">
                  <c:v>1.1287671232876713</c:v>
                </c:pt>
                <c:pt idx="2399">
                  <c:v>1.1315068493150684</c:v>
                </c:pt>
                <c:pt idx="2400">
                  <c:v>#N/A</c:v>
                </c:pt>
                <c:pt idx="2401">
                  <c:v>#N/A</c:v>
                </c:pt>
                <c:pt idx="2402">
                  <c:v>#N/A</c:v>
                </c:pt>
                <c:pt idx="2403">
                  <c:v>1.1369863013698631</c:v>
                </c:pt>
                <c:pt idx="2404">
                  <c:v>#N/A</c:v>
                </c:pt>
                <c:pt idx="2405">
                  <c:v>1.1369863013698631</c:v>
                </c:pt>
                <c:pt idx="2406">
                  <c:v>1.1369863013698631</c:v>
                </c:pt>
                <c:pt idx="2407">
                  <c:v>#N/A</c:v>
                </c:pt>
                <c:pt idx="2408">
                  <c:v>#N/A</c:v>
                </c:pt>
                <c:pt idx="2409">
                  <c:v>#N/A</c:v>
                </c:pt>
                <c:pt idx="2410">
                  <c:v>1.1369863013698631</c:v>
                </c:pt>
                <c:pt idx="2411">
                  <c:v>#N/A</c:v>
                </c:pt>
                <c:pt idx="2412">
                  <c:v>#N/A</c:v>
                </c:pt>
                <c:pt idx="2413">
                  <c:v>#N/A</c:v>
                </c:pt>
                <c:pt idx="2414">
                  <c:v>#N/A</c:v>
                </c:pt>
                <c:pt idx="2415">
                  <c:v>#N/A</c:v>
                </c:pt>
                <c:pt idx="2416">
                  <c:v>#N/A</c:v>
                </c:pt>
                <c:pt idx="2417">
                  <c:v>1.1479452054794521</c:v>
                </c:pt>
                <c:pt idx="2418">
                  <c:v>#N/A</c:v>
                </c:pt>
                <c:pt idx="2419">
                  <c:v>#N/A</c:v>
                </c:pt>
                <c:pt idx="2420">
                  <c:v>#N/A</c:v>
                </c:pt>
                <c:pt idx="2421">
                  <c:v>#N/A</c:v>
                </c:pt>
                <c:pt idx="2422">
                  <c:v>#N/A</c:v>
                </c:pt>
                <c:pt idx="2423">
                  <c:v>1.1561643835616437</c:v>
                </c:pt>
                <c:pt idx="2424">
                  <c:v>#N/A</c:v>
                </c:pt>
                <c:pt idx="2425">
                  <c:v>1.1643835616438356</c:v>
                </c:pt>
                <c:pt idx="2426">
                  <c:v>#N/A</c:v>
                </c:pt>
                <c:pt idx="2427">
                  <c:v>1.1643835616438356</c:v>
                </c:pt>
                <c:pt idx="2428">
                  <c:v>1.1643835616438356</c:v>
                </c:pt>
                <c:pt idx="2429">
                  <c:v>1.1643835616438356</c:v>
                </c:pt>
                <c:pt idx="2430">
                  <c:v>1.167123287671233</c:v>
                </c:pt>
                <c:pt idx="2431">
                  <c:v>1.167123287671233</c:v>
                </c:pt>
                <c:pt idx="2432">
                  <c:v>#N/A</c:v>
                </c:pt>
                <c:pt idx="2433">
                  <c:v>#N/A</c:v>
                </c:pt>
                <c:pt idx="2434">
                  <c:v>#N/A</c:v>
                </c:pt>
                <c:pt idx="2435">
                  <c:v>#N/A</c:v>
                </c:pt>
                <c:pt idx="2436">
                  <c:v>1.1753424657534246</c:v>
                </c:pt>
                <c:pt idx="2437">
                  <c:v>1.1753424657534246</c:v>
                </c:pt>
                <c:pt idx="2438">
                  <c:v>1.1753424657534246</c:v>
                </c:pt>
                <c:pt idx="2439">
                  <c:v>#N/A</c:v>
                </c:pt>
                <c:pt idx="2440">
                  <c:v>#N/A</c:v>
                </c:pt>
                <c:pt idx="2441">
                  <c:v>#N/A</c:v>
                </c:pt>
                <c:pt idx="2442">
                  <c:v>1.1753424657534246</c:v>
                </c:pt>
                <c:pt idx="2443">
                  <c:v>#N/A</c:v>
                </c:pt>
                <c:pt idx="2444">
                  <c:v>#N/A</c:v>
                </c:pt>
                <c:pt idx="2445">
                  <c:v>#N/A</c:v>
                </c:pt>
                <c:pt idx="2446">
                  <c:v>#N/A</c:v>
                </c:pt>
                <c:pt idx="2447">
                  <c:v>1.1753424657534246</c:v>
                </c:pt>
                <c:pt idx="2448">
                  <c:v>#N/A</c:v>
                </c:pt>
                <c:pt idx="2449">
                  <c:v>#N/A</c:v>
                </c:pt>
                <c:pt idx="2450">
                  <c:v>1.1753424657534246</c:v>
                </c:pt>
                <c:pt idx="2451">
                  <c:v>1.1835616438356165</c:v>
                </c:pt>
                <c:pt idx="2452">
                  <c:v>1.1835616438356165</c:v>
                </c:pt>
                <c:pt idx="2453">
                  <c:v>#N/A</c:v>
                </c:pt>
                <c:pt idx="2454">
                  <c:v>1.1835616438356165</c:v>
                </c:pt>
                <c:pt idx="2455">
                  <c:v>#N/A</c:v>
                </c:pt>
                <c:pt idx="2456">
                  <c:v>1.1917808219178083</c:v>
                </c:pt>
                <c:pt idx="2457">
                  <c:v>1.1917808219178083</c:v>
                </c:pt>
                <c:pt idx="2458">
                  <c:v>1.1917808219178083</c:v>
                </c:pt>
                <c:pt idx="2459">
                  <c:v>1.1917808219178083</c:v>
                </c:pt>
                <c:pt idx="2460">
                  <c:v>1.1917808219178083</c:v>
                </c:pt>
                <c:pt idx="2461">
                  <c:v>1.1917808219178083</c:v>
                </c:pt>
                <c:pt idx="2462">
                  <c:v>1.1917808219178083</c:v>
                </c:pt>
                <c:pt idx="2463">
                  <c:v>1.1917808219178083</c:v>
                </c:pt>
                <c:pt idx="2464">
                  <c:v>1.1917808219178083</c:v>
                </c:pt>
                <c:pt idx="2465">
                  <c:v>1.1917808219178083</c:v>
                </c:pt>
                <c:pt idx="2466">
                  <c:v>1.1917808219178083</c:v>
                </c:pt>
                <c:pt idx="2467">
                  <c:v>1.1917808219178083</c:v>
                </c:pt>
                <c:pt idx="2468">
                  <c:v>1.1917808219178083</c:v>
                </c:pt>
                <c:pt idx="2469">
                  <c:v>1.1917808219178083</c:v>
                </c:pt>
                <c:pt idx="2470">
                  <c:v>1.1917808219178083</c:v>
                </c:pt>
                <c:pt idx="2471">
                  <c:v>1.1917808219178083</c:v>
                </c:pt>
                <c:pt idx="2472">
                  <c:v>1.1917808219178083</c:v>
                </c:pt>
                <c:pt idx="2473">
                  <c:v>1.1917808219178083</c:v>
                </c:pt>
                <c:pt idx="2474">
                  <c:v>#N/A</c:v>
                </c:pt>
                <c:pt idx="2475">
                  <c:v>1.1945205479452055</c:v>
                </c:pt>
                <c:pt idx="2476">
                  <c:v>1.1945205479452055</c:v>
                </c:pt>
                <c:pt idx="2477">
                  <c:v>#N/A</c:v>
                </c:pt>
                <c:pt idx="2478">
                  <c:v>#N/A</c:v>
                </c:pt>
                <c:pt idx="2479">
                  <c:v>1.1945205479452055</c:v>
                </c:pt>
                <c:pt idx="2480">
                  <c:v>#N/A</c:v>
                </c:pt>
                <c:pt idx="2481">
                  <c:v>#N/A</c:v>
                </c:pt>
                <c:pt idx="2482">
                  <c:v>1.2027397260273973</c:v>
                </c:pt>
                <c:pt idx="2483">
                  <c:v>1.2054794520547945</c:v>
                </c:pt>
                <c:pt idx="2484">
                  <c:v>#N/A</c:v>
                </c:pt>
                <c:pt idx="2485">
                  <c:v>#N/A</c:v>
                </c:pt>
                <c:pt idx="2486">
                  <c:v>#N/A</c:v>
                </c:pt>
                <c:pt idx="2487">
                  <c:v>#N/A</c:v>
                </c:pt>
                <c:pt idx="2488">
                  <c:v>#N/A</c:v>
                </c:pt>
                <c:pt idx="2489">
                  <c:v>#N/A</c:v>
                </c:pt>
                <c:pt idx="2490">
                  <c:v>1.210958904109589</c:v>
                </c:pt>
                <c:pt idx="2491">
                  <c:v>#N/A</c:v>
                </c:pt>
                <c:pt idx="2492">
                  <c:v>1.210958904109589</c:v>
                </c:pt>
                <c:pt idx="2493">
                  <c:v>#N/A</c:v>
                </c:pt>
                <c:pt idx="2494">
                  <c:v>#N/A</c:v>
                </c:pt>
                <c:pt idx="2495">
                  <c:v>1.210958904109589</c:v>
                </c:pt>
                <c:pt idx="2496">
                  <c:v>#N/A</c:v>
                </c:pt>
                <c:pt idx="2497">
                  <c:v>1.210958904109589</c:v>
                </c:pt>
                <c:pt idx="2498">
                  <c:v>1.210958904109589</c:v>
                </c:pt>
                <c:pt idx="2499">
                  <c:v>1.210958904109589</c:v>
                </c:pt>
                <c:pt idx="2500">
                  <c:v>1.210958904109589</c:v>
                </c:pt>
                <c:pt idx="2501">
                  <c:v>1.210958904109589</c:v>
                </c:pt>
                <c:pt idx="2502">
                  <c:v>1.210958904109589</c:v>
                </c:pt>
                <c:pt idx="2503">
                  <c:v>#N/A</c:v>
                </c:pt>
                <c:pt idx="2504">
                  <c:v>1.210958904109589</c:v>
                </c:pt>
                <c:pt idx="2505">
                  <c:v>1.210958904109589</c:v>
                </c:pt>
                <c:pt idx="2506">
                  <c:v>#N/A</c:v>
                </c:pt>
                <c:pt idx="2507">
                  <c:v>1.210958904109589</c:v>
                </c:pt>
                <c:pt idx="2508">
                  <c:v>1.210958904109589</c:v>
                </c:pt>
                <c:pt idx="2509">
                  <c:v>#N/A</c:v>
                </c:pt>
                <c:pt idx="2510">
                  <c:v>1.2136986301369863</c:v>
                </c:pt>
                <c:pt idx="2511">
                  <c:v>#N/A</c:v>
                </c:pt>
                <c:pt idx="2512">
                  <c:v>#N/A</c:v>
                </c:pt>
                <c:pt idx="2513">
                  <c:v>#N/A</c:v>
                </c:pt>
                <c:pt idx="2514">
                  <c:v>1.2219178082191782</c:v>
                </c:pt>
                <c:pt idx="2515">
                  <c:v>1.2219178082191782</c:v>
                </c:pt>
                <c:pt idx="2516">
                  <c:v>#N/A</c:v>
                </c:pt>
                <c:pt idx="2517">
                  <c:v>1.2219178082191782</c:v>
                </c:pt>
                <c:pt idx="2518">
                  <c:v>1.2219178082191782</c:v>
                </c:pt>
                <c:pt idx="2519">
                  <c:v>#N/A</c:v>
                </c:pt>
                <c:pt idx="2520">
                  <c:v>#N/A</c:v>
                </c:pt>
                <c:pt idx="2521">
                  <c:v>#N/A</c:v>
                </c:pt>
                <c:pt idx="2522">
                  <c:v>1.2301369863013698</c:v>
                </c:pt>
                <c:pt idx="2523">
                  <c:v>#N/A</c:v>
                </c:pt>
                <c:pt idx="2524">
                  <c:v>1.2301369863013698</c:v>
                </c:pt>
                <c:pt idx="2525">
                  <c:v>#N/A</c:v>
                </c:pt>
                <c:pt idx="2526">
                  <c:v>#N/A</c:v>
                </c:pt>
                <c:pt idx="2527">
                  <c:v>1.2328767123287672</c:v>
                </c:pt>
                <c:pt idx="2528">
                  <c:v>#N/A</c:v>
                </c:pt>
                <c:pt idx="2529">
                  <c:v>1.2328767123287672</c:v>
                </c:pt>
                <c:pt idx="2530">
                  <c:v>#N/A</c:v>
                </c:pt>
                <c:pt idx="2531">
                  <c:v>#N/A</c:v>
                </c:pt>
                <c:pt idx="2532">
                  <c:v>#N/A</c:v>
                </c:pt>
                <c:pt idx="2533">
                  <c:v>#N/A</c:v>
                </c:pt>
                <c:pt idx="2534">
                  <c:v>1.2328767123287672</c:v>
                </c:pt>
                <c:pt idx="2535">
                  <c:v>#N/A</c:v>
                </c:pt>
                <c:pt idx="2536">
                  <c:v>1.2328767123287672</c:v>
                </c:pt>
                <c:pt idx="2537">
                  <c:v>#N/A</c:v>
                </c:pt>
                <c:pt idx="2538">
                  <c:v>#N/A</c:v>
                </c:pt>
                <c:pt idx="2539">
                  <c:v>#N/A</c:v>
                </c:pt>
                <c:pt idx="2540">
                  <c:v>#N/A</c:v>
                </c:pt>
                <c:pt idx="2541">
                  <c:v>#N/A</c:v>
                </c:pt>
                <c:pt idx="2542">
                  <c:v>#N/A</c:v>
                </c:pt>
                <c:pt idx="2543">
                  <c:v>1.2328767123287672</c:v>
                </c:pt>
                <c:pt idx="2544">
                  <c:v>#N/A</c:v>
                </c:pt>
                <c:pt idx="2545">
                  <c:v>1.2328767123287672</c:v>
                </c:pt>
                <c:pt idx="2546">
                  <c:v>#N/A</c:v>
                </c:pt>
                <c:pt idx="2547">
                  <c:v>1.2410958904109588</c:v>
                </c:pt>
                <c:pt idx="2548">
                  <c:v>#N/A</c:v>
                </c:pt>
                <c:pt idx="2549">
                  <c:v>1.2410958904109588</c:v>
                </c:pt>
                <c:pt idx="2550">
                  <c:v>#N/A</c:v>
                </c:pt>
                <c:pt idx="2551">
                  <c:v>1.2410958904109588</c:v>
                </c:pt>
                <c:pt idx="2552">
                  <c:v>#N/A</c:v>
                </c:pt>
                <c:pt idx="2553">
                  <c:v>1.2438356164383562</c:v>
                </c:pt>
                <c:pt idx="2554">
                  <c:v>#N/A</c:v>
                </c:pt>
                <c:pt idx="2555">
                  <c:v>1.2465753424657535</c:v>
                </c:pt>
                <c:pt idx="2556">
                  <c:v>#N/A</c:v>
                </c:pt>
                <c:pt idx="2557">
                  <c:v>1.2602739726027397</c:v>
                </c:pt>
                <c:pt idx="2558">
                  <c:v>#N/A</c:v>
                </c:pt>
                <c:pt idx="2559">
                  <c:v>1.2602739726027397</c:v>
                </c:pt>
                <c:pt idx="2560">
                  <c:v>#N/A</c:v>
                </c:pt>
                <c:pt idx="2561">
                  <c:v>1.2602739726027397</c:v>
                </c:pt>
                <c:pt idx="2562">
                  <c:v>1.2602739726027397</c:v>
                </c:pt>
                <c:pt idx="2563">
                  <c:v>#N/A</c:v>
                </c:pt>
                <c:pt idx="2564">
                  <c:v>#N/A</c:v>
                </c:pt>
                <c:pt idx="2565">
                  <c:v>#N/A</c:v>
                </c:pt>
                <c:pt idx="2566">
                  <c:v>#N/A</c:v>
                </c:pt>
                <c:pt idx="2567">
                  <c:v>1.2602739726027397</c:v>
                </c:pt>
                <c:pt idx="2568">
                  <c:v>1.2602739726027397</c:v>
                </c:pt>
                <c:pt idx="2569">
                  <c:v>1.2602739726027397</c:v>
                </c:pt>
                <c:pt idx="2570">
                  <c:v>#N/A</c:v>
                </c:pt>
                <c:pt idx="2571">
                  <c:v>1.2602739726027397</c:v>
                </c:pt>
                <c:pt idx="2572">
                  <c:v>1.2602739726027397</c:v>
                </c:pt>
                <c:pt idx="2573">
                  <c:v>#N/A</c:v>
                </c:pt>
                <c:pt idx="2574">
                  <c:v>#N/A</c:v>
                </c:pt>
                <c:pt idx="2575">
                  <c:v>1.2602739726027397</c:v>
                </c:pt>
                <c:pt idx="2576">
                  <c:v>#N/A</c:v>
                </c:pt>
                <c:pt idx="2577">
                  <c:v>#N/A</c:v>
                </c:pt>
                <c:pt idx="2578">
                  <c:v>#N/A</c:v>
                </c:pt>
                <c:pt idx="2579">
                  <c:v>1.2602739726027397</c:v>
                </c:pt>
                <c:pt idx="2580">
                  <c:v>1.2602739726027397</c:v>
                </c:pt>
                <c:pt idx="2581">
                  <c:v>#N/A</c:v>
                </c:pt>
                <c:pt idx="2582">
                  <c:v>1.2602739726027397</c:v>
                </c:pt>
                <c:pt idx="2583">
                  <c:v>1.2602739726027397</c:v>
                </c:pt>
                <c:pt idx="2584">
                  <c:v>1.2602739726027397</c:v>
                </c:pt>
                <c:pt idx="2585">
                  <c:v>#N/A</c:v>
                </c:pt>
                <c:pt idx="2586">
                  <c:v>1.2602739726027397</c:v>
                </c:pt>
                <c:pt idx="2587">
                  <c:v>#N/A</c:v>
                </c:pt>
                <c:pt idx="2588">
                  <c:v>#N/A</c:v>
                </c:pt>
                <c:pt idx="2589">
                  <c:v>1.2602739726027397</c:v>
                </c:pt>
                <c:pt idx="2590">
                  <c:v>1.2602739726027397</c:v>
                </c:pt>
                <c:pt idx="2591">
                  <c:v>1.2602739726027397</c:v>
                </c:pt>
                <c:pt idx="2592">
                  <c:v>1.2602739726027397</c:v>
                </c:pt>
                <c:pt idx="2593">
                  <c:v>#N/A</c:v>
                </c:pt>
                <c:pt idx="2594">
                  <c:v>1.2602739726027397</c:v>
                </c:pt>
                <c:pt idx="2595">
                  <c:v>1.2602739726027397</c:v>
                </c:pt>
                <c:pt idx="2596">
                  <c:v>#N/A</c:v>
                </c:pt>
                <c:pt idx="2597">
                  <c:v>1.2602739726027397</c:v>
                </c:pt>
                <c:pt idx="2598">
                  <c:v>#N/A</c:v>
                </c:pt>
                <c:pt idx="2599">
                  <c:v>1.2602739726027397</c:v>
                </c:pt>
                <c:pt idx="2600">
                  <c:v>1.2602739726027397</c:v>
                </c:pt>
                <c:pt idx="2601">
                  <c:v>#N/A</c:v>
                </c:pt>
                <c:pt idx="2602">
                  <c:v>1.2602739726027397</c:v>
                </c:pt>
                <c:pt idx="2603">
                  <c:v>1.2602739726027397</c:v>
                </c:pt>
                <c:pt idx="2604">
                  <c:v>1.2602739726027397</c:v>
                </c:pt>
                <c:pt idx="2605">
                  <c:v>#N/A</c:v>
                </c:pt>
                <c:pt idx="2606">
                  <c:v>1.2602739726027397</c:v>
                </c:pt>
                <c:pt idx="2607">
                  <c:v>1.2602739726027397</c:v>
                </c:pt>
                <c:pt idx="2608">
                  <c:v>1.2602739726027397</c:v>
                </c:pt>
                <c:pt idx="2609">
                  <c:v>1.2602739726027397</c:v>
                </c:pt>
                <c:pt idx="2610">
                  <c:v>#N/A</c:v>
                </c:pt>
                <c:pt idx="2611">
                  <c:v>#N/A</c:v>
                </c:pt>
                <c:pt idx="2612">
                  <c:v>#N/A</c:v>
                </c:pt>
                <c:pt idx="2613">
                  <c:v>#N/A</c:v>
                </c:pt>
                <c:pt idx="2614">
                  <c:v>#N/A</c:v>
                </c:pt>
                <c:pt idx="2615">
                  <c:v>1.2602739726027397</c:v>
                </c:pt>
                <c:pt idx="2616">
                  <c:v>1.2602739726027397</c:v>
                </c:pt>
                <c:pt idx="2617">
                  <c:v>1.2602739726027397</c:v>
                </c:pt>
                <c:pt idx="2618">
                  <c:v>#N/A</c:v>
                </c:pt>
                <c:pt idx="2619">
                  <c:v>#N/A</c:v>
                </c:pt>
                <c:pt idx="2620">
                  <c:v>#N/A</c:v>
                </c:pt>
                <c:pt idx="2621">
                  <c:v>#N/A</c:v>
                </c:pt>
                <c:pt idx="2622">
                  <c:v>#N/A</c:v>
                </c:pt>
                <c:pt idx="2623">
                  <c:v>1.263013698630137</c:v>
                </c:pt>
                <c:pt idx="2624">
                  <c:v>#N/A</c:v>
                </c:pt>
                <c:pt idx="2625">
                  <c:v>1.263013698630137</c:v>
                </c:pt>
                <c:pt idx="2626">
                  <c:v>1.263013698630137</c:v>
                </c:pt>
                <c:pt idx="2627">
                  <c:v>1.263013698630137</c:v>
                </c:pt>
                <c:pt idx="2628">
                  <c:v>#N/A</c:v>
                </c:pt>
                <c:pt idx="2629">
                  <c:v>1.263013698630137</c:v>
                </c:pt>
                <c:pt idx="2630">
                  <c:v>#N/A</c:v>
                </c:pt>
                <c:pt idx="2631">
                  <c:v>1.2657534246575342</c:v>
                </c:pt>
                <c:pt idx="2632">
                  <c:v>#N/A</c:v>
                </c:pt>
                <c:pt idx="2633">
                  <c:v>#N/A</c:v>
                </c:pt>
                <c:pt idx="2634">
                  <c:v>#N/A</c:v>
                </c:pt>
                <c:pt idx="2635">
                  <c:v>#N/A</c:v>
                </c:pt>
                <c:pt idx="2636">
                  <c:v>#N/A</c:v>
                </c:pt>
                <c:pt idx="2637">
                  <c:v>#N/A</c:v>
                </c:pt>
                <c:pt idx="2638">
                  <c:v>1.2657534246575342</c:v>
                </c:pt>
                <c:pt idx="2639">
                  <c:v>#N/A</c:v>
                </c:pt>
                <c:pt idx="2640">
                  <c:v>1.2657534246575342</c:v>
                </c:pt>
                <c:pt idx="2641">
                  <c:v>#N/A</c:v>
                </c:pt>
                <c:pt idx="2642">
                  <c:v>#N/A</c:v>
                </c:pt>
                <c:pt idx="2643">
                  <c:v>1.2657534246575342</c:v>
                </c:pt>
                <c:pt idx="2644">
                  <c:v>#N/A</c:v>
                </c:pt>
                <c:pt idx="2645">
                  <c:v>#N/A</c:v>
                </c:pt>
                <c:pt idx="2646">
                  <c:v>#N/A</c:v>
                </c:pt>
                <c:pt idx="2647">
                  <c:v>#N/A</c:v>
                </c:pt>
                <c:pt idx="2648">
                  <c:v>#N/A</c:v>
                </c:pt>
                <c:pt idx="2649">
                  <c:v>#N/A</c:v>
                </c:pt>
                <c:pt idx="2650">
                  <c:v>#N/A</c:v>
                </c:pt>
                <c:pt idx="2651">
                  <c:v>#N/A</c:v>
                </c:pt>
                <c:pt idx="2652">
                  <c:v>1.2657534246575342</c:v>
                </c:pt>
                <c:pt idx="2653">
                  <c:v>1.2657534246575342</c:v>
                </c:pt>
                <c:pt idx="2654">
                  <c:v>#N/A</c:v>
                </c:pt>
                <c:pt idx="2655">
                  <c:v>#N/A</c:v>
                </c:pt>
                <c:pt idx="2656">
                  <c:v>#N/A</c:v>
                </c:pt>
                <c:pt idx="2657">
                  <c:v>#N/A</c:v>
                </c:pt>
                <c:pt idx="2658">
                  <c:v>#N/A</c:v>
                </c:pt>
                <c:pt idx="2659">
                  <c:v>#N/A</c:v>
                </c:pt>
                <c:pt idx="2660">
                  <c:v>#N/A</c:v>
                </c:pt>
                <c:pt idx="2661">
                  <c:v>1.2657534246575342</c:v>
                </c:pt>
                <c:pt idx="2662">
                  <c:v>#N/A</c:v>
                </c:pt>
                <c:pt idx="2663">
                  <c:v>#N/A</c:v>
                </c:pt>
                <c:pt idx="2664">
                  <c:v>#N/A</c:v>
                </c:pt>
                <c:pt idx="2665">
                  <c:v>#N/A</c:v>
                </c:pt>
                <c:pt idx="2666">
                  <c:v>#N/A</c:v>
                </c:pt>
                <c:pt idx="2667">
                  <c:v>#N/A</c:v>
                </c:pt>
                <c:pt idx="2668">
                  <c:v>#N/A</c:v>
                </c:pt>
                <c:pt idx="2669">
                  <c:v>1.2657534246575342</c:v>
                </c:pt>
                <c:pt idx="2670">
                  <c:v>1.2657534246575342</c:v>
                </c:pt>
                <c:pt idx="2671">
                  <c:v>#N/A</c:v>
                </c:pt>
                <c:pt idx="2672">
                  <c:v>1.2657534246575342</c:v>
                </c:pt>
                <c:pt idx="2673">
                  <c:v>#N/A</c:v>
                </c:pt>
                <c:pt idx="2674">
                  <c:v>#N/A</c:v>
                </c:pt>
                <c:pt idx="2675">
                  <c:v>1.2657534246575342</c:v>
                </c:pt>
                <c:pt idx="2676">
                  <c:v>#N/A</c:v>
                </c:pt>
                <c:pt idx="2677">
                  <c:v>#N/A</c:v>
                </c:pt>
                <c:pt idx="2678">
                  <c:v>1.2657534246575342</c:v>
                </c:pt>
                <c:pt idx="2679">
                  <c:v>#N/A</c:v>
                </c:pt>
                <c:pt idx="2680">
                  <c:v>#N/A</c:v>
                </c:pt>
                <c:pt idx="2681">
                  <c:v>#N/A</c:v>
                </c:pt>
                <c:pt idx="2682">
                  <c:v>1.2684931506849315</c:v>
                </c:pt>
                <c:pt idx="2683">
                  <c:v>1.2684931506849315</c:v>
                </c:pt>
                <c:pt idx="2684">
                  <c:v>#N/A</c:v>
                </c:pt>
                <c:pt idx="2685">
                  <c:v>#N/A</c:v>
                </c:pt>
                <c:pt idx="2686">
                  <c:v>1.2684931506849315</c:v>
                </c:pt>
                <c:pt idx="2687">
                  <c:v>#N/A</c:v>
                </c:pt>
                <c:pt idx="2688">
                  <c:v>1.2684931506849315</c:v>
                </c:pt>
                <c:pt idx="2689">
                  <c:v>#N/A</c:v>
                </c:pt>
                <c:pt idx="2690">
                  <c:v>1.2712328767123289</c:v>
                </c:pt>
                <c:pt idx="2691">
                  <c:v>#N/A</c:v>
                </c:pt>
                <c:pt idx="2692">
                  <c:v>1.2712328767123289</c:v>
                </c:pt>
                <c:pt idx="2693">
                  <c:v>#N/A</c:v>
                </c:pt>
                <c:pt idx="2694">
                  <c:v>1.2794520547945205</c:v>
                </c:pt>
                <c:pt idx="2695">
                  <c:v>#N/A</c:v>
                </c:pt>
                <c:pt idx="2696">
                  <c:v>1.2794520547945205</c:v>
                </c:pt>
                <c:pt idx="2697">
                  <c:v>1.2821917808219179</c:v>
                </c:pt>
                <c:pt idx="2698">
                  <c:v>#N/A</c:v>
                </c:pt>
                <c:pt idx="2699">
                  <c:v>#N/A</c:v>
                </c:pt>
                <c:pt idx="2700">
                  <c:v>1.2821917808219179</c:v>
                </c:pt>
                <c:pt idx="2701">
                  <c:v>1.2821917808219179</c:v>
                </c:pt>
                <c:pt idx="2702">
                  <c:v>1.284931506849315</c:v>
                </c:pt>
                <c:pt idx="2703">
                  <c:v>#N/A</c:v>
                </c:pt>
                <c:pt idx="2704">
                  <c:v>#N/A</c:v>
                </c:pt>
                <c:pt idx="2705">
                  <c:v>1.284931506849315</c:v>
                </c:pt>
                <c:pt idx="2706">
                  <c:v>#N/A</c:v>
                </c:pt>
                <c:pt idx="2707">
                  <c:v>#N/A</c:v>
                </c:pt>
                <c:pt idx="2708">
                  <c:v>#N/A</c:v>
                </c:pt>
                <c:pt idx="2709">
                  <c:v>1.2876712328767124</c:v>
                </c:pt>
                <c:pt idx="2710">
                  <c:v>#N/A</c:v>
                </c:pt>
                <c:pt idx="2711">
                  <c:v>#N/A</c:v>
                </c:pt>
                <c:pt idx="2712">
                  <c:v>#N/A</c:v>
                </c:pt>
                <c:pt idx="2713">
                  <c:v>1.2876712328767124</c:v>
                </c:pt>
                <c:pt idx="2714">
                  <c:v>#N/A</c:v>
                </c:pt>
                <c:pt idx="2715">
                  <c:v>#N/A</c:v>
                </c:pt>
                <c:pt idx="2716">
                  <c:v>#N/A</c:v>
                </c:pt>
                <c:pt idx="2717">
                  <c:v>1.2904109589041095</c:v>
                </c:pt>
                <c:pt idx="2718">
                  <c:v>#N/A</c:v>
                </c:pt>
                <c:pt idx="2719">
                  <c:v>#N/A</c:v>
                </c:pt>
                <c:pt idx="2720">
                  <c:v>#N/A</c:v>
                </c:pt>
                <c:pt idx="2721">
                  <c:v>#N/A</c:v>
                </c:pt>
                <c:pt idx="2722">
                  <c:v>1.2986301369863014</c:v>
                </c:pt>
                <c:pt idx="2723">
                  <c:v>#N/A</c:v>
                </c:pt>
                <c:pt idx="2724">
                  <c:v>#N/A</c:v>
                </c:pt>
                <c:pt idx="2725">
                  <c:v>1.3013698630136987</c:v>
                </c:pt>
                <c:pt idx="2726">
                  <c:v>#N/A</c:v>
                </c:pt>
                <c:pt idx="2727">
                  <c:v>1.3013698630136987</c:v>
                </c:pt>
                <c:pt idx="2728">
                  <c:v>1.3013698630136987</c:v>
                </c:pt>
                <c:pt idx="2729">
                  <c:v>1.3041095890410959</c:v>
                </c:pt>
                <c:pt idx="2730">
                  <c:v>#N/A</c:v>
                </c:pt>
                <c:pt idx="2731">
                  <c:v>#N/A</c:v>
                </c:pt>
                <c:pt idx="2732">
                  <c:v>1.3068493150684932</c:v>
                </c:pt>
                <c:pt idx="2733">
                  <c:v>#N/A</c:v>
                </c:pt>
                <c:pt idx="2734">
                  <c:v>#N/A</c:v>
                </c:pt>
                <c:pt idx="2735">
                  <c:v>1.3068493150684932</c:v>
                </c:pt>
                <c:pt idx="2736">
                  <c:v>1.3068493150684932</c:v>
                </c:pt>
                <c:pt idx="2737">
                  <c:v>#N/A</c:v>
                </c:pt>
                <c:pt idx="2738">
                  <c:v>#N/A</c:v>
                </c:pt>
                <c:pt idx="2739">
                  <c:v>1.3068493150684932</c:v>
                </c:pt>
                <c:pt idx="2740">
                  <c:v>1.3068493150684932</c:v>
                </c:pt>
                <c:pt idx="2741">
                  <c:v>#N/A</c:v>
                </c:pt>
                <c:pt idx="2742">
                  <c:v>1.3068493150684932</c:v>
                </c:pt>
                <c:pt idx="2743">
                  <c:v>#N/A</c:v>
                </c:pt>
                <c:pt idx="2744">
                  <c:v>1.3068493150684932</c:v>
                </c:pt>
                <c:pt idx="2745">
                  <c:v>1.3095890410958904</c:v>
                </c:pt>
                <c:pt idx="2746">
                  <c:v>#N/A</c:v>
                </c:pt>
                <c:pt idx="2747">
                  <c:v>#N/A</c:v>
                </c:pt>
                <c:pt idx="2748">
                  <c:v>1.3178082191780822</c:v>
                </c:pt>
                <c:pt idx="2749">
                  <c:v>#N/A</c:v>
                </c:pt>
                <c:pt idx="2750">
                  <c:v>#N/A</c:v>
                </c:pt>
                <c:pt idx="2751">
                  <c:v>#N/A</c:v>
                </c:pt>
                <c:pt idx="2752">
                  <c:v>#N/A</c:v>
                </c:pt>
                <c:pt idx="2753">
                  <c:v>#N/A</c:v>
                </c:pt>
                <c:pt idx="2754">
                  <c:v>#N/A</c:v>
                </c:pt>
                <c:pt idx="2755">
                  <c:v>1.3232876712328767</c:v>
                </c:pt>
                <c:pt idx="2756">
                  <c:v>#N/A</c:v>
                </c:pt>
                <c:pt idx="2757">
                  <c:v>#N/A</c:v>
                </c:pt>
                <c:pt idx="2758">
                  <c:v>#N/A</c:v>
                </c:pt>
                <c:pt idx="2759">
                  <c:v>#N/A</c:v>
                </c:pt>
                <c:pt idx="2760">
                  <c:v>#N/A</c:v>
                </c:pt>
                <c:pt idx="2761">
                  <c:v>#N/A</c:v>
                </c:pt>
                <c:pt idx="2762">
                  <c:v>1.3232876712328767</c:v>
                </c:pt>
                <c:pt idx="2763">
                  <c:v>#N/A</c:v>
                </c:pt>
                <c:pt idx="2764">
                  <c:v>#N/A</c:v>
                </c:pt>
                <c:pt idx="2765">
                  <c:v>#N/A</c:v>
                </c:pt>
                <c:pt idx="2766">
                  <c:v>#N/A</c:v>
                </c:pt>
                <c:pt idx="2767">
                  <c:v>#N/A</c:v>
                </c:pt>
                <c:pt idx="2768">
                  <c:v>1.3232876712328767</c:v>
                </c:pt>
                <c:pt idx="2769">
                  <c:v>#N/A</c:v>
                </c:pt>
                <c:pt idx="2770">
                  <c:v>#N/A</c:v>
                </c:pt>
                <c:pt idx="2771">
                  <c:v>#N/A</c:v>
                </c:pt>
                <c:pt idx="2772">
                  <c:v>#N/A</c:v>
                </c:pt>
                <c:pt idx="2773">
                  <c:v>#N/A</c:v>
                </c:pt>
                <c:pt idx="2774">
                  <c:v>#N/A</c:v>
                </c:pt>
                <c:pt idx="2775">
                  <c:v>1.3287671232876712</c:v>
                </c:pt>
                <c:pt idx="2776">
                  <c:v>1.3287671232876712</c:v>
                </c:pt>
                <c:pt idx="2777">
                  <c:v>1.3287671232876712</c:v>
                </c:pt>
                <c:pt idx="2778">
                  <c:v>#N/A</c:v>
                </c:pt>
                <c:pt idx="2779">
                  <c:v>1.3287671232876712</c:v>
                </c:pt>
                <c:pt idx="2780">
                  <c:v>1.3287671232876712</c:v>
                </c:pt>
                <c:pt idx="2781">
                  <c:v>1.3287671232876712</c:v>
                </c:pt>
                <c:pt idx="2782">
                  <c:v>#N/A</c:v>
                </c:pt>
                <c:pt idx="2783">
                  <c:v>1.3287671232876712</c:v>
                </c:pt>
                <c:pt idx="2784">
                  <c:v>1.3287671232876712</c:v>
                </c:pt>
                <c:pt idx="2785">
                  <c:v>1.3287671232876712</c:v>
                </c:pt>
                <c:pt idx="2786">
                  <c:v>1.3287671232876712</c:v>
                </c:pt>
                <c:pt idx="2787">
                  <c:v>1.3287671232876712</c:v>
                </c:pt>
                <c:pt idx="2788">
                  <c:v>1.3287671232876712</c:v>
                </c:pt>
                <c:pt idx="2789">
                  <c:v>1.3287671232876712</c:v>
                </c:pt>
                <c:pt idx="2790">
                  <c:v>1.3287671232876712</c:v>
                </c:pt>
                <c:pt idx="2791">
                  <c:v>1.3287671232876712</c:v>
                </c:pt>
                <c:pt idx="2792">
                  <c:v>#N/A</c:v>
                </c:pt>
                <c:pt idx="2793">
                  <c:v>1.3287671232876712</c:v>
                </c:pt>
                <c:pt idx="2794">
                  <c:v>1.3287671232876712</c:v>
                </c:pt>
                <c:pt idx="2795">
                  <c:v>#N/A</c:v>
                </c:pt>
                <c:pt idx="2796">
                  <c:v>1.3287671232876712</c:v>
                </c:pt>
                <c:pt idx="2797">
                  <c:v>#N/A</c:v>
                </c:pt>
                <c:pt idx="2798">
                  <c:v>#N/A</c:v>
                </c:pt>
                <c:pt idx="2799">
                  <c:v>1.3369863013698631</c:v>
                </c:pt>
                <c:pt idx="2800">
                  <c:v>#N/A</c:v>
                </c:pt>
                <c:pt idx="2801">
                  <c:v>1.3369863013698631</c:v>
                </c:pt>
                <c:pt idx="2802">
                  <c:v>1.3397260273972602</c:v>
                </c:pt>
                <c:pt idx="2803">
                  <c:v>1.3397260273972602</c:v>
                </c:pt>
                <c:pt idx="2804">
                  <c:v>1.3397260273972602</c:v>
                </c:pt>
                <c:pt idx="2805">
                  <c:v>1.3397260273972602</c:v>
                </c:pt>
                <c:pt idx="2806">
                  <c:v>1.3397260273972602</c:v>
                </c:pt>
                <c:pt idx="2807">
                  <c:v>#N/A</c:v>
                </c:pt>
                <c:pt idx="2808">
                  <c:v>#N/A</c:v>
                </c:pt>
                <c:pt idx="2809">
                  <c:v>1.3397260273972602</c:v>
                </c:pt>
                <c:pt idx="2810">
                  <c:v>#N/A</c:v>
                </c:pt>
                <c:pt idx="2811">
                  <c:v>1.3397260273972602</c:v>
                </c:pt>
                <c:pt idx="2812">
                  <c:v>#N/A</c:v>
                </c:pt>
                <c:pt idx="2813">
                  <c:v>1.3397260273972602</c:v>
                </c:pt>
                <c:pt idx="2814">
                  <c:v>1.3397260273972602</c:v>
                </c:pt>
                <c:pt idx="2815">
                  <c:v>1.3397260273972602</c:v>
                </c:pt>
                <c:pt idx="2816">
                  <c:v>1.3397260273972602</c:v>
                </c:pt>
                <c:pt idx="2817">
                  <c:v>#N/A</c:v>
                </c:pt>
                <c:pt idx="2818">
                  <c:v>1.3397260273972602</c:v>
                </c:pt>
                <c:pt idx="2819">
                  <c:v>#N/A</c:v>
                </c:pt>
                <c:pt idx="2820">
                  <c:v>#N/A</c:v>
                </c:pt>
                <c:pt idx="2821">
                  <c:v>#N/A</c:v>
                </c:pt>
                <c:pt idx="2822">
                  <c:v>#N/A</c:v>
                </c:pt>
                <c:pt idx="2823">
                  <c:v>1.3397260273972602</c:v>
                </c:pt>
                <c:pt idx="2824">
                  <c:v>#N/A</c:v>
                </c:pt>
                <c:pt idx="2825">
                  <c:v>1.3397260273972602</c:v>
                </c:pt>
                <c:pt idx="2826">
                  <c:v>1.3397260273972602</c:v>
                </c:pt>
                <c:pt idx="2827">
                  <c:v>1.3397260273972602</c:v>
                </c:pt>
                <c:pt idx="2828">
                  <c:v>1.3397260273972602</c:v>
                </c:pt>
                <c:pt idx="2829">
                  <c:v>#N/A</c:v>
                </c:pt>
                <c:pt idx="2830">
                  <c:v>#N/A</c:v>
                </c:pt>
                <c:pt idx="2831">
                  <c:v>#N/A</c:v>
                </c:pt>
                <c:pt idx="2832">
                  <c:v>#N/A</c:v>
                </c:pt>
                <c:pt idx="2833">
                  <c:v>#N/A</c:v>
                </c:pt>
                <c:pt idx="2834">
                  <c:v>1.3397260273972602</c:v>
                </c:pt>
                <c:pt idx="2835">
                  <c:v>#N/A</c:v>
                </c:pt>
                <c:pt idx="2836">
                  <c:v>#N/A</c:v>
                </c:pt>
                <c:pt idx="2837">
                  <c:v>#N/A</c:v>
                </c:pt>
                <c:pt idx="2838">
                  <c:v>1.3397260273972602</c:v>
                </c:pt>
                <c:pt idx="2839">
                  <c:v>1.3397260273972602</c:v>
                </c:pt>
                <c:pt idx="2840">
                  <c:v>#N/A</c:v>
                </c:pt>
                <c:pt idx="2841">
                  <c:v>#N/A</c:v>
                </c:pt>
                <c:pt idx="2842">
                  <c:v>#N/A</c:v>
                </c:pt>
                <c:pt idx="2843">
                  <c:v>1.3397260273972602</c:v>
                </c:pt>
                <c:pt idx="2844">
                  <c:v>#N/A</c:v>
                </c:pt>
                <c:pt idx="2845">
                  <c:v>1.3397260273972602</c:v>
                </c:pt>
                <c:pt idx="2846">
                  <c:v>#N/A</c:v>
                </c:pt>
                <c:pt idx="2847">
                  <c:v>1.3397260273972602</c:v>
                </c:pt>
                <c:pt idx="2848">
                  <c:v>#N/A</c:v>
                </c:pt>
                <c:pt idx="2849">
                  <c:v>#N/A</c:v>
                </c:pt>
                <c:pt idx="2850">
                  <c:v>1.3397260273972602</c:v>
                </c:pt>
                <c:pt idx="2851">
                  <c:v>1.3397260273972602</c:v>
                </c:pt>
                <c:pt idx="2852">
                  <c:v>#N/A</c:v>
                </c:pt>
                <c:pt idx="2853">
                  <c:v>#N/A</c:v>
                </c:pt>
                <c:pt idx="2854">
                  <c:v>1.3424657534246576</c:v>
                </c:pt>
                <c:pt idx="2855">
                  <c:v>1.3424657534246576</c:v>
                </c:pt>
                <c:pt idx="2856">
                  <c:v>1.3424657534246576</c:v>
                </c:pt>
                <c:pt idx="2857">
                  <c:v>1.3424657534246576</c:v>
                </c:pt>
                <c:pt idx="2858">
                  <c:v>#N/A</c:v>
                </c:pt>
                <c:pt idx="2859">
                  <c:v>#N/A</c:v>
                </c:pt>
                <c:pt idx="2860">
                  <c:v>1.3424657534246576</c:v>
                </c:pt>
                <c:pt idx="2861">
                  <c:v>#N/A</c:v>
                </c:pt>
                <c:pt idx="2862">
                  <c:v>1.3424657534246576</c:v>
                </c:pt>
                <c:pt idx="2863">
                  <c:v>#N/A</c:v>
                </c:pt>
                <c:pt idx="2864">
                  <c:v>1.3424657534246576</c:v>
                </c:pt>
                <c:pt idx="2865">
                  <c:v>1.3424657534246576</c:v>
                </c:pt>
                <c:pt idx="2866">
                  <c:v>1.3424657534246576</c:v>
                </c:pt>
                <c:pt idx="2867">
                  <c:v>#N/A</c:v>
                </c:pt>
                <c:pt idx="2868">
                  <c:v>#N/A</c:v>
                </c:pt>
                <c:pt idx="2869">
                  <c:v>1.3452054794520547</c:v>
                </c:pt>
                <c:pt idx="2870">
                  <c:v>#N/A</c:v>
                </c:pt>
                <c:pt idx="2871">
                  <c:v>#N/A</c:v>
                </c:pt>
                <c:pt idx="2872">
                  <c:v>#N/A</c:v>
                </c:pt>
                <c:pt idx="2873">
                  <c:v>1.3452054794520547</c:v>
                </c:pt>
                <c:pt idx="2874">
                  <c:v>1.3561643835616439</c:v>
                </c:pt>
                <c:pt idx="2875">
                  <c:v>#N/A</c:v>
                </c:pt>
                <c:pt idx="2876">
                  <c:v>1.3561643835616439</c:v>
                </c:pt>
                <c:pt idx="2877">
                  <c:v>#N/A</c:v>
                </c:pt>
                <c:pt idx="2878">
                  <c:v>#N/A</c:v>
                </c:pt>
                <c:pt idx="2879">
                  <c:v>1.3561643835616439</c:v>
                </c:pt>
                <c:pt idx="2880">
                  <c:v>1.3561643835616439</c:v>
                </c:pt>
                <c:pt idx="2881">
                  <c:v>1.3561643835616439</c:v>
                </c:pt>
                <c:pt idx="2882">
                  <c:v>#N/A</c:v>
                </c:pt>
                <c:pt idx="2883">
                  <c:v>1.3561643835616439</c:v>
                </c:pt>
                <c:pt idx="2884">
                  <c:v>#N/A</c:v>
                </c:pt>
                <c:pt idx="2885">
                  <c:v>#N/A</c:v>
                </c:pt>
                <c:pt idx="2886">
                  <c:v>#N/A</c:v>
                </c:pt>
                <c:pt idx="2887">
                  <c:v>#N/A</c:v>
                </c:pt>
                <c:pt idx="2888">
                  <c:v>#N/A</c:v>
                </c:pt>
                <c:pt idx="2889">
                  <c:v>#N/A</c:v>
                </c:pt>
                <c:pt idx="2890">
                  <c:v>#N/A</c:v>
                </c:pt>
                <c:pt idx="2891">
                  <c:v>#N/A</c:v>
                </c:pt>
                <c:pt idx="2892">
                  <c:v>1.3589041095890411</c:v>
                </c:pt>
                <c:pt idx="2893">
                  <c:v>#N/A</c:v>
                </c:pt>
                <c:pt idx="2894">
                  <c:v>#N/A</c:v>
                </c:pt>
                <c:pt idx="2895">
                  <c:v>#N/A</c:v>
                </c:pt>
                <c:pt idx="2896">
                  <c:v>#N/A</c:v>
                </c:pt>
                <c:pt idx="2897">
                  <c:v>1.3643835616438356</c:v>
                </c:pt>
                <c:pt idx="2898">
                  <c:v>#N/A</c:v>
                </c:pt>
                <c:pt idx="2899">
                  <c:v>1.3671232876712329</c:v>
                </c:pt>
                <c:pt idx="2900">
                  <c:v>#N/A</c:v>
                </c:pt>
                <c:pt idx="2901">
                  <c:v>#N/A</c:v>
                </c:pt>
                <c:pt idx="2902">
                  <c:v>1.3671232876712329</c:v>
                </c:pt>
                <c:pt idx="2903">
                  <c:v>#N/A</c:v>
                </c:pt>
                <c:pt idx="2904">
                  <c:v>#N/A</c:v>
                </c:pt>
                <c:pt idx="2905">
                  <c:v>#N/A</c:v>
                </c:pt>
                <c:pt idx="2906">
                  <c:v>1.3671232876712329</c:v>
                </c:pt>
                <c:pt idx="2907">
                  <c:v>#N/A</c:v>
                </c:pt>
                <c:pt idx="2908">
                  <c:v>#N/A</c:v>
                </c:pt>
                <c:pt idx="2909">
                  <c:v>#N/A</c:v>
                </c:pt>
                <c:pt idx="2910">
                  <c:v>1.3753424657534246</c:v>
                </c:pt>
                <c:pt idx="2911">
                  <c:v>#N/A</c:v>
                </c:pt>
                <c:pt idx="2912">
                  <c:v>#N/A</c:v>
                </c:pt>
                <c:pt idx="2913">
                  <c:v>#N/A</c:v>
                </c:pt>
                <c:pt idx="2914">
                  <c:v>1.3753424657534246</c:v>
                </c:pt>
                <c:pt idx="2915">
                  <c:v>#N/A</c:v>
                </c:pt>
                <c:pt idx="2916">
                  <c:v>#N/A</c:v>
                </c:pt>
                <c:pt idx="2917">
                  <c:v>#N/A</c:v>
                </c:pt>
                <c:pt idx="2918">
                  <c:v>#N/A</c:v>
                </c:pt>
                <c:pt idx="2919">
                  <c:v>#N/A</c:v>
                </c:pt>
                <c:pt idx="2920">
                  <c:v>1.3863013698630138</c:v>
                </c:pt>
                <c:pt idx="2921">
                  <c:v>#N/A</c:v>
                </c:pt>
                <c:pt idx="2922">
                  <c:v>1.3863013698630138</c:v>
                </c:pt>
                <c:pt idx="2923">
                  <c:v>#N/A</c:v>
                </c:pt>
                <c:pt idx="2924">
                  <c:v>1.3863013698630138</c:v>
                </c:pt>
                <c:pt idx="2925">
                  <c:v>1.3863013698630138</c:v>
                </c:pt>
                <c:pt idx="2926">
                  <c:v>#N/A</c:v>
                </c:pt>
                <c:pt idx="2927">
                  <c:v>1.3863013698630138</c:v>
                </c:pt>
                <c:pt idx="2928">
                  <c:v>#N/A</c:v>
                </c:pt>
                <c:pt idx="2929">
                  <c:v>1.3863013698630138</c:v>
                </c:pt>
                <c:pt idx="2930">
                  <c:v>1.3863013698630138</c:v>
                </c:pt>
                <c:pt idx="2931">
                  <c:v>#N/A</c:v>
                </c:pt>
                <c:pt idx="2932">
                  <c:v>#N/A</c:v>
                </c:pt>
                <c:pt idx="2933">
                  <c:v>#N/A</c:v>
                </c:pt>
                <c:pt idx="2934">
                  <c:v>#N/A</c:v>
                </c:pt>
                <c:pt idx="2935">
                  <c:v>#N/A</c:v>
                </c:pt>
                <c:pt idx="2936">
                  <c:v>1.3863013698630138</c:v>
                </c:pt>
                <c:pt idx="2937">
                  <c:v>#N/A</c:v>
                </c:pt>
                <c:pt idx="2938">
                  <c:v>#N/A</c:v>
                </c:pt>
                <c:pt idx="2939">
                  <c:v>#N/A</c:v>
                </c:pt>
                <c:pt idx="2940">
                  <c:v>#N/A</c:v>
                </c:pt>
                <c:pt idx="2941">
                  <c:v>1.3863013698630138</c:v>
                </c:pt>
                <c:pt idx="2942">
                  <c:v>1.3863013698630138</c:v>
                </c:pt>
                <c:pt idx="2943">
                  <c:v>#N/A</c:v>
                </c:pt>
                <c:pt idx="2944">
                  <c:v>#N/A</c:v>
                </c:pt>
                <c:pt idx="2945">
                  <c:v>#N/A</c:v>
                </c:pt>
                <c:pt idx="2946">
                  <c:v>1.3863013698630138</c:v>
                </c:pt>
                <c:pt idx="2947">
                  <c:v>1.3863013698630138</c:v>
                </c:pt>
                <c:pt idx="2948">
                  <c:v>1.3863013698630138</c:v>
                </c:pt>
                <c:pt idx="2949">
                  <c:v>#N/A</c:v>
                </c:pt>
                <c:pt idx="2950">
                  <c:v>#N/A</c:v>
                </c:pt>
                <c:pt idx="2951">
                  <c:v>1.3863013698630138</c:v>
                </c:pt>
                <c:pt idx="2952">
                  <c:v>#N/A</c:v>
                </c:pt>
                <c:pt idx="2953">
                  <c:v>1.3863013698630138</c:v>
                </c:pt>
                <c:pt idx="2954">
                  <c:v>#N/A</c:v>
                </c:pt>
                <c:pt idx="2955">
                  <c:v>1.3863013698630138</c:v>
                </c:pt>
                <c:pt idx="2956">
                  <c:v>1.3863013698630138</c:v>
                </c:pt>
                <c:pt idx="2957">
                  <c:v>1.3863013698630138</c:v>
                </c:pt>
                <c:pt idx="2958">
                  <c:v>1.3863013698630138</c:v>
                </c:pt>
                <c:pt idx="2959">
                  <c:v>1.3863013698630138</c:v>
                </c:pt>
                <c:pt idx="2960">
                  <c:v>1.3863013698630138</c:v>
                </c:pt>
                <c:pt idx="2961">
                  <c:v>#N/A</c:v>
                </c:pt>
                <c:pt idx="2962">
                  <c:v>#N/A</c:v>
                </c:pt>
                <c:pt idx="2963">
                  <c:v>#N/A</c:v>
                </c:pt>
                <c:pt idx="2964">
                  <c:v>1.3863013698630138</c:v>
                </c:pt>
                <c:pt idx="2965">
                  <c:v>#N/A</c:v>
                </c:pt>
                <c:pt idx="2966">
                  <c:v>#N/A</c:v>
                </c:pt>
                <c:pt idx="2967">
                  <c:v>#N/A</c:v>
                </c:pt>
                <c:pt idx="2968">
                  <c:v>#N/A</c:v>
                </c:pt>
                <c:pt idx="2969">
                  <c:v>1.3863013698630138</c:v>
                </c:pt>
                <c:pt idx="2970">
                  <c:v>1.3863013698630138</c:v>
                </c:pt>
                <c:pt idx="2971">
                  <c:v>#N/A</c:v>
                </c:pt>
                <c:pt idx="2972">
                  <c:v>#N/A</c:v>
                </c:pt>
                <c:pt idx="2973">
                  <c:v>1.3863013698630138</c:v>
                </c:pt>
                <c:pt idx="2974">
                  <c:v>1.3863013698630138</c:v>
                </c:pt>
                <c:pt idx="2975">
                  <c:v>1.3863013698630138</c:v>
                </c:pt>
                <c:pt idx="2976">
                  <c:v>#N/A</c:v>
                </c:pt>
                <c:pt idx="2977">
                  <c:v>1.3863013698630138</c:v>
                </c:pt>
                <c:pt idx="2978">
                  <c:v>1.3863013698630138</c:v>
                </c:pt>
                <c:pt idx="2979">
                  <c:v>1.3863013698630138</c:v>
                </c:pt>
                <c:pt idx="2980">
                  <c:v>#N/A</c:v>
                </c:pt>
                <c:pt idx="2981">
                  <c:v>#N/A</c:v>
                </c:pt>
                <c:pt idx="2982">
                  <c:v>#N/A</c:v>
                </c:pt>
                <c:pt idx="2983">
                  <c:v>1.3863013698630138</c:v>
                </c:pt>
                <c:pt idx="2984">
                  <c:v>#N/A</c:v>
                </c:pt>
                <c:pt idx="2985">
                  <c:v>#N/A</c:v>
                </c:pt>
                <c:pt idx="2986">
                  <c:v>#N/A</c:v>
                </c:pt>
                <c:pt idx="2987">
                  <c:v>#N/A</c:v>
                </c:pt>
                <c:pt idx="2988">
                  <c:v>#N/A</c:v>
                </c:pt>
                <c:pt idx="2989">
                  <c:v>1.3863013698630138</c:v>
                </c:pt>
                <c:pt idx="2990">
                  <c:v>#N/A</c:v>
                </c:pt>
                <c:pt idx="2991">
                  <c:v>1.3863013698630138</c:v>
                </c:pt>
                <c:pt idx="2992">
                  <c:v>#N/A</c:v>
                </c:pt>
                <c:pt idx="2993">
                  <c:v>#N/A</c:v>
                </c:pt>
                <c:pt idx="2994">
                  <c:v>1.3863013698630138</c:v>
                </c:pt>
                <c:pt idx="2995">
                  <c:v>1.3863013698630138</c:v>
                </c:pt>
                <c:pt idx="2996">
                  <c:v>1.3863013698630138</c:v>
                </c:pt>
                <c:pt idx="2997">
                  <c:v>#N/A</c:v>
                </c:pt>
                <c:pt idx="2998">
                  <c:v>#N/A</c:v>
                </c:pt>
                <c:pt idx="2999">
                  <c:v>#N/A</c:v>
                </c:pt>
                <c:pt idx="3000">
                  <c:v>#N/A</c:v>
                </c:pt>
                <c:pt idx="3001">
                  <c:v>1.3945205479452054</c:v>
                </c:pt>
                <c:pt idx="3002">
                  <c:v>1.3945205479452054</c:v>
                </c:pt>
                <c:pt idx="3003">
                  <c:v>1.3945205479452054</c:v>
                </c:pt>
                <c:pt idx="3004">
                  <c:v>#N/A</c:v>
                </c:pt>
                <c:pt idx="3005">
                  <c:v>#N/A</c:v>
                </c:pt>
                <c:pt idx="3006">
                  <c:v>1.3945205479452054</c:v>
                </c:pt>
                <c:pt idx="3007">
                  <c:v>1.3945205479452054</c:v>
                </c:pt>
                <c:pt idx="3008">
                  <c:v>#N/A</c:v>
                </c:pt>
                <c:pt idx="3009">
                  <c:v>1.3945205479452054</c:v>
                </c:pt>
                <c:pt idx="3010">
                  <c:v>1.3945205479452054</c:v>
                </c:pt>
                <c:pt idx="3011">
                  <c:v>#N/A</c:v>
                </c:pt>
                <c:pt idx="3012">
                  <c:v>1.3945205479452054</c:v>
                </c:pt>
                <c:pt idx="3013">
                  <c:v>1.3945205479452054</c:v>
                </c:pt>
                <c:pt idx="3014">
                  <c:v>1.3945205479452054</c:v>
                </c:pt>
                <c:pt idx="3015">
                  <c:v>#N/A</c:v>
                </c:pt>
                <c:pt idx="3016">
                  <c:v>#N/A</c:v>
                </c:pt>
                <c:pt idx="3017">
                  <c:v>#N/A</c:v>
                </c:pt>
                <c:pt idx="3018">
                  <c:v>1.3972602739726028</c:v>
                </c:pt>
                <c:pt idx="3019">
                  <c:v>#N/A</c:v>
                </c:pt>
                <c:pt idx="3020">
                  <c:v>1.3972602739726028</c:v>
                </c:pt>
                <c:pt idx="3021">
                  <c:v>1.3972602739726028</c:v>
                </c:pt>
                <c:pt idx="3022">
                  <c:v>#N/A</c:v>
                </c:pt>
                <c:pt idx="3023">
                  <c:v>#N/A</c:v>
                </c:pt>
                <c:pt idx="3024">
                  <c:v>#N/A</c:v>
                </c:pt>
                <c:pt idx="3025">
                  <c:v>1.3972602739726028</c:v>
                </c:pt>
                <c:pt idx="3026">
                  <c:v>1.3972602739726028</c:v>
                </c:pt>
                <c:pt idx="3027">
                  <c:v>1.3972602739726028</c:v>
                </c:pt>
                <c:pt idx="3028">
                  <c:v>#N/A</c:v>
                </c:pt>
                <c:pt idx="3029">
                  <c:v>#N/A</c:v>
                </c:pt>
                <c:pt idx="3030">
                  <c:v>#N/A</c:v>
                </c:pt>
                <c:pt idx="3031">
                  <c:v>#N/A</c:v>
                </c:pt>
                <c:pt idx="3032">
                  <c:v>1.3972602739726028</c:v>
                </c:pt>
                <c:pt idx="3033">
                  <c:v>#N/A</c:v>
                </c:pt>
                <c:pt idx="3034">
                  <c:v>1.4</c:v>
                </c:pt>
                <c:pt idx="3035">
                  <c:v>#N/A</c:v>
                </c:pt>
                <c:pt idx="3036">
                  <c:v>#N/A</c:v>
                </c:pt>
                <c:pt idx="3037">
                  <c:v>1.4</c:v>
                </c:pt>
                <c:pt idx="3038">
                  <c:v>1.4</c:v>
                </c:pt>
                <c:pt idx="3039">
                  <c:v>#N/A</c:v>
                </c:pt>
                <c:pt idx="3040">
                  <c:v>#N/A</c:v>
                </c:pt>
                <c:pt idx="3041">
                  <c:v>#N/A</c:v>
                </c:pt>
                <c:pt idx="3042">
                  <c:v>1.4</c:v>
                </c:pt>
                <c:pt idx="3043">
                  <c:v>#N/A</c:v>
                </c:pt>
                <c:pt idx="3044">
                  <c:v>#N/A</c:v>
                </c:pt>
                <c:pt idx="3045">
                  <c:v>#N/A</c:v>
                </c:pt>
                <c:pt idx="3046">
                  <c:v>#N/A</c:v>
                </c:pt>
                <c:pt idx="3047">
                  <c:v>1.4054794520547946</c:v>
                </c:pt>
                <c:pt idx="3048">
                  <c:v>1.4054794520547946</c:v>
                </c:pt>
                <c:pt idx="3049">
                  <c:v>#N/A</c:v>
                </c:pt>
                <c:pt idx="3050">
                  <c:v>#N/A</c:v>
                </c:pt>
                <c:pt idx="3051">
                  <c:v>1.4054794520547946</c:v>
                </c:pt>
                <c:pt idx="3052">
                  <c:v>1.4054794520547946</c:v>
                </c:pt>
                <c:pt idx="3053">
                  <c:v>#N/A</c:v>
                </c:pt>
                <c:pt idx="3054">
                  <c:v>#N/A</c:v>
                </c:pt>
                <c:pt idx="3055">
                  <c:v>#N/A</c:v>
                </c:pt>
                <c:pt idx="3056">
                  <c:v>#N/A</c:v>
                </c:pt>
                <c:pt idx="3057">
                  <c:v>1.4054794520547946</c:v>
                </c:pt>
                <c:pt idx="3058">
                  <c:v>#N/A</c:v>
                </c:pt>
                <c:pt idx="3059">
                  <c:v>1.4054794520547946</c:v>
                </c:pt>
                <c:pt idx="3060">
                  <c:v>1.4054794520547946</c:v>
                </c:pt>
                <c:pt idx="3061">
                  <c:v>1.4054794520547946</c:v>
                </c:pt>
                <c:pt idx="3062">
                  <c:v>#N/A</c:v>
                </c:pt>
                <c:pt idx="3063">
                  <c:v>1.4054794520547946</c:v>
                </c:pt>
                <c:pt idx="3064">
                  <c:v>#N/A</c:v>
                </c:pt>
                <c:pt idx="3065">
                  <c:v>1.4054794520547946</c:v>
                </c:pt>
                <c:pt idx="3066">
                  <c:v>#N/A</c:v>
                </c:pt>
                <c:pt idx="3067">
                  <c:v>1.4054794520547946</c:v>
                </c:pt>
                <c:pt idx="3068">
                  <c:v>#N/A</c:v>
                </c:pt>
                <c:pt idx="3069">
                  <c:v>#N/A</c:v>
                </c:pt>
                <c:pt idx="3070">
                  <c:v>1.4136986301369863</c:v>
                </c:pt>
                <c:pt idx="3071">
                  <c:v>#N/A</c:v>
                </c:pt>
                <c:pt idx="3072">
                  <c:v>1.4136986301369863</c:v>
                </c:pt>
                <c:pt idx="3073">
                  <c:v>#N/A</c:v>
                </c:pt>
                <c:pt idx="3074">
                  <c:v>#N/A</c:v>
                </c:pt>
                <c:pt idx="3075">
                  <c:v>1.4164383561643836</c:v>
                </c:pt>
                <c:pt idx="3076">
                  <c:v>1.4164383561643836</c:v>
                </c:pt>
                <c:pt idx="3077">
                  <c:v>#N/A</c:v>
                </c:pt>
                <c:pt idx="3078">
                  <c:v>#N/A</c:v>
                </c:pt>
                <c:pt idx="3079">
                  <c:v>#N/A</c:v>
                </c:pt>
                <c:pt idx="3080">
                  <c:v>#N/A</c:v>
                </c:pt>
                <c:pt idx="3081">
                  <c:v>#N/A</c:v>
                </c:pt>
                <c:pt idx="3082">
                  <c:v>#N/A</c:v>
                </c:pt>
                <c:pt idx="3083">
                  <c:v>#N/A</c:v>
                </c:pt>
                <c:pt idx="3084">
                  <c:v>#N/A</c:v>
                </c:pt>
                <c:pt idx="3085">
                  <c:v>#N/A</c:v>
                </c:pt>
                <c:pt idx="3086">
                  <c:v>#N/A</c:v>
                </c:pt>
                <c:pt idx="3087">
                  <c:v>1.4191780821917808</c:v>
                </c:pt>
                <c:pt idx="3088">
                  <c:v>#N/A</c:v>
                </c:pt>
                <c:pt idx="3089">
                  <c:v>#N/A</c:v>
                </c:pt>
                <c:pt idx="3090">
                  <c:v>#N/A</c:v>
                </c:pt>
                <c:pt idx="3091">
                  <c:v>1.4191780821917808</c:v>
                </c:pt>
                <c:pt idx="3092">
                  <c:v>#N/A</c:v>
                </c:pt>
                <c:pt idx="3093">
                  <c:v>1.4191780821917808</c:v>
                </c:pt>
                <c:pt idx="3094">
                  <c:v>1.4191780821917808</c:v>
                </c:pt>
                <c:pt idx="3095">
                  <c:v>#N/A</c:v>
                </c:pt>
                <c:pt idx="3096">
                  <c:v>#N/A</c:v>
                </c:pt>
                <c:pt idx="3097">
                  <c:v>#N/A</c:v>
                </c:pt>
                <c:pt idx="3098">
                  <c:v>#N/A</c:v>
                </c:pt>
                <c:pt idx="3099">
                  <c:v>1.4219178082191781</c:v>
                </c:pt>
                <c:pt idx="3100">
                  <c:v>#N/A</c:v>
                </c:pt>
                <c:pt idx="3101">
                  <c:v>1.4219178082191781</c:v>
                </c:pt>
                <c:pt idx="3102">
                  <c:v>#N/A</c:v>
                </c:pt>
                <c:pt idx="3103">
                  <c:v>1.4219178082191781</c:v>
                </c:pt>
                <c:pt idx="3104">
                  <c:v>#N/A</c:v>
                </c:pt>
                <c:pt idx="3105">
                  <c:v>#N/A</c:v>
                </c:pt>
                <c:pt idx="3106">
                  <c:v>#N/A</c:v>
                </c:pt>
                <c:pt idx="3107">
                  <c:v>1.4219178082191781</c:v>
                </c:pt>
                <c:pt idx="3108">
                  <c:v>#N/A</c:v>
                </c:pt>
                <c:pt idx="3109">
                  <c:v>1.4246575342465753</c:v>
                </c:pt>
                <c:pt idx="3110">
                  <c:v>1.4246575342465753</c:v>
                </c:pt>
                <c:pt idx="3111">
                  <c:v>#N/A</c:v>
                </c:pt>
                <c:pt idx="3112">
                  <c:v>1.4246575342465753</c:v>
                </c:pt>
                <c:pt idx="3113">
                  <c:v>#N/A</c:v>
                </c:pt>
                <c:pt idx="3114">
                  <c:v>#N/A</c:v>
                </c:pt>
                <c:pt idx="3115">
                  <c:v>#N/A</c:v>
                </c:pt>
                <c:pt idx="3116">
                  <c:v>#N/A</c:v>
                </c:pt>
                <c:pt idx="3117">
                  <c:v>1.4328767123287671</c:v>
                </c:pt>
                <c:pt idx="3118">
                  <c:v>#N/A</c:v>
                </c:pt>
                <c:pt idx="3119">
                  <c:v>1.4328767123287671</c:v>
                </c:pt>
                <c:pt idx="3120">
                  <c:v>#N/A</c:v>
                </c:pt>
                <c:pt idx="3121">
                  <c:v>#N/A</c:v>
                </c:pt>
                <c:pt idx="3122">
                  <c:v>1.4328767123287671</c:v>
                </c:pt>
                <c:pt idx="3123">
                  <c:v>1.4328767123287671</c:v>
                </c:pt>
                <c:pt idx="3124">
                  <c:v>#N/A</c:v>
                </c:pt>
                <c:pt idx="3125">
                  <c:v>1.4356164383561645</c:v>
                </c:pt>
                <c:pt idx="3126">
                  <c:v>#N/A</c:v>
                </c:pt>
                <c:pt idx="3127">
                  <c:v>#N/A</c:v>
                </c:pt>
                <c:pt idx="3128">
                  <c:v>#N/A</c:v>
                </c:pt>
                <c:pt idx="3129">
                  <c:v>#N/A</c:v>
                </c:pt>
                <c:pt idx="3130">
                  <c:v>1.4356164383561645</c:v>
                </c:pt>
                <c:pt idx="3131">
                  <c:v>1.4356164383561645</c:v>
                </c:pt>
                <c:pt idx="3132">
                  <c:v>#N/A</c:v>
                </c:pt>
                <c:pt idx="3133">
                  <c:v>1.4356164383561645</c:v>
                </c:pt>
                <c:pt idx="3134">
                  <c:v>#N/A</c:v>
                </c:pt>
                <c:pt idx="3135">
                  <c:v>#N/A</c:v>
                </c:pt>
                <c:pt idx="3136">
                  <c:v>1.4383561643835616</c:v>
                </c:pt>
                <c:pt idx="3137">
                  <c:v>#N/A</c:v>
                </c:pt>
                <c:pt idx="3138">
                  <c:v>1.4383561643835616</c:v>
                </c:pt>
                <c:pt idx="3139">
                  <c:v>#N/A</c:v>
                </c:pt>
                <c:pt idx="3140">
                  <c:v>#N/A</c:v>
                </c:pt>
                <c:pt idx="3141">
                  <c:v>#N/A</c:v>
                </c:pt>
                <c:pt idx="3142">
                  <c:v>#N/A</c:v>
                </c:pt>
                <c:pt idx="3143">
                  <c:v>1.4438356164383561</c:v>
                </c:pt>
                <c:pt idx="3144">
                  <c:v>1.4438356164383561</c:v>
                </c:pt>
                <c:pt idx="3145">
                  <c:v>1.4438356164383561</c:v>
                </c:pt>
                <c:pt idx="3146">
                  <c:v>1.4493150684931506</c:v>
                </c:pt>
                <c:pt idx="3147">
                  <c:v>#N/A</c:v>
                </c:pt>
                <c:pt idx="3148">
                  <c:v>1.452054794520548</c:v>
                </c:pt>
                <c:pt idx="3149">
                  <c:v>#N/A</c:v>
                </c:pt>
                <c:pt idx="3150">
                  <c:v>#N/A</c:v>
                </c:pt>
                <c:pt idx="3151">
                  <c:v>1.452054794520548</c:v>
                </c:pt>
                <c:pt idx="3152">
                  <c:v>#N/A</c:v>
                </c:pt>
                <c:pt idx="3153">
                  <c:v>#N/A</c:v>
                </c:pt>
                <c:pt idx="3154">
                  <c:v>#N/A</c:v>
                </c:pt>
                <c:pt idx="3155">
                  <c:v>#N/A</c:v>
                </c:pt>
                <c:pt idx="3156">
                  <c:v>#N/A</c:v>
                </c:pt>
                <c:pt idx="3157">
                  <c:v>1.4575342465753425</c:v>
                </c:pt>
                <c:pt idx="3158">
                  <c:v>#N/A</c:v>
                </c:pt>
                <c:pt idx="3159">
                  <c:v>#N/A</c:v>
                </c:pt>
                <c:pt idx="3160">
                  <c:v>#N/A</c:v>
                </c:pt>
                <c:pt idx="3161">
                  <c:v>#N/A</c:v>
                </c:pt>
                <c:pt idx="3162">
                  <c:v>#N/A</c:v>
                </c:pt>
                <c:pt idx="3163">
                  <c:v>1.4575342465753425</c:v>
                </c:pt>
                <c:pt idx="3164">
                  <c:v>#N/A</c:v>
                </c:pt>
                <c:pt idx="3165">
                  <c:v>#N/A</c:v>
                </c:pt>
                <c:pt idx="3166">
                  <c:v>#N/A</c:v>
                </c:pt>
                <c:pt idx="3167">
                  <c:v>#N/A</c:v>
                </c:pt>
                <c:pt idx="3168">
                  <c:v>#N/A</c:v>
                </c:pt>
                <c:pt idx="3169">
                  <c:v>#N/A</c:v>
                </c:pt>
                <c:pt idx="3170">
                  <c:v>#N/A</c:v>
                </c:pt>
                <c:pt idx="3171">
                  <c:v>#N/A</c:v>
                </c:pt>
                <c:pt idx="3172">
                  <c:v>#N/A</c:v>
                </c:pt>
                <c:pt idx="3173">
                  <c:v>#N/A</c:v>
                </c:pt>
                <c:pt idx="3174">
                  <c:v>1.4575342465753425</c:v>
                </c:pt>
                <c:pt idx="3175">
                  <c:v>#N/A</c:v>
                </c:pt>
                <c:pt idx="3176">
                  <c:v>#N/A</c:v>
                </c:pt>
                <c:pt idx="3177">
                  <c:v>#N/A</c:v>
                </c:pt>
                <c:pt idx="3178">
                  <c:v>#N/A</c:v>
                </c:pt>
                <c:pt idx="3179">
                  <c:v>1.4602739726027398</c:v>
                </c:pt>
                <c:pt idx="3180">
                  <c:v>1.4602739726027398</c:v>
                </c:pt>
                <c:pt idx="3181">
                  <c:v>#N/A</c:v>
                </c:pt>
                <c:pt idx="3182">
                  <c:v>#N/A</c:v>
                </c:pt>
                <c:pt idx="3183">
                  <c:v>1.4602739726027398</c:v>
                </c:pt>
                <c:pt idx="3184">
                  <c:v>#N/A</c:v>
                </c:pt>
                <c:pt idx="3185">
                  <c:v>#N/A</c:v>
                </c:pt>
                <c:pt idx="3186">
                  <c:v>#N/A</c:v>
                </c:pt>
                <c:pt idx="3187">
                  <c:v>1.4657534246575343</c:v>
                </c:pt>
                <c:pt idx="3188">
                  <c:v>#N/A</c:v>
                </c:pt>
                <c:pt idx="3189">
                  <c:v>1.4684931506849315</c:v>
                </c:pt>
                <c:pt idx="3190">
                  <c:v>#N/A</c:v>
                </c:pt>
                <c:pt idx="3191">
                  <c:v>#N/A</c:v>
                </c:pt>
                <c:pt idx="3192">
                  <c:v>1.4684931506849315</c:v>
                </c:pt>
                <c:pt idx="3193">
                  <c:v>1.4684931506849315</c:v>
                </c:pt>
                <c:pt idx="3194">
                  <c:v>#N/A</c:v>
                </c:pt>
                <c:pt idx="3195">
                  <c:v>#N/A</c:v>
                </c:pt>
                <c:pt idx="3196">
                  <c:v>#N/A</c:v>
                </c:pt>
                <c:pt idx="3197">
                  <c:v>#N/A</c:v>
                </c:pt>
                <c:pt idx="3198">
                  <c:v>1.4684931506849315</c:v>
                </c:pt>
                <c:pt idx="3199">
                  <c:v>#N/A</c:v>
                </c:pt>
                <c:pt idx="3200">
                  <c:v>#N/A</c:v>
                </c:pt>
                <c:pt idx="3201">
                  <c:v>#N/A</c:v>
                </c:pt>
                <c:pt idx="3202">
                  <c:v>1.4684931506849315</c:v>
                </c:pt>
                <c:pt idx="3203">
                  <c:v>#N/A</c:v>
                </c:pt>
                <c:pt idx="3204">
                  <c:v>#N/A</c:v>
                </c:pt>
                <c:pt idx="3205">
                  <c:v>#N/A</c:v>
                </c:pt>
                <c:pt idx="3206">
                  <c:v>#N/A</c:v>
                </c:pt>
                <c:pt idx="3207">
                  <c:v>1.4684931506849315</c:v>
                </c:pt>
                <c:pt idx="3208">
                  <c:v>1.4684931506849315</c:v>
                </c:pt>
                <c:pt idx="3209">
                  <c:v>1.4684931506849315</c:v>
                </c:pt>
                <c:pt idx="3210">
                  <c:v>1.4684931506849315</c:v>
                </c:pt>
                <c:pt idx="3211">
                  <c:v>#N/A</c:v>
                </c:pt>
                <c:pt idx="3212">
                  <c:v>1.4684931506849315</c:v>
                </c:pt>
                <c:pt idx="3213">
                  <c:v>#N/A</c:v>
                </c:pt>
                <c:pt idx="3214">
                  <c:v>#N/A</c:v>
                </c:pt>
                <c:pt idx="3215">
                  <c:v>#N/A</c:v>
                </c:pt>
                <c:pt idx="3216">
                  <c:v>#N/A</c:v>
                </c:pt>
                <c:pt idx="3217">
                  <c:v>1.4684931506849315</c:v>
                </c:pt>
                <c:pt idx="3218">
                  <c:v>1.4684931506849315</c:v>
                </c:pt>
                <c:pt idx="3219">
                  <c:v>#N/A</c:v>
                </c:pt>
                <c:pt idx="3220">
                  <c:v>#N/A</c:v>
                </c:pt>
                <c:pt idx="3221">
                  <c:v>#N/A</c:v>
                </c:pt>
                <c:pt idx="3222">
                  <c:v>#N/A</c:v>
                </c:pt>
                <c:pt idx="3223">
                  <c:v>#N/A</c:v>
                </c:pt>
                <c:pt idx="3224">
                  <c:v>#N/A</c:v>
                </c:pt>
                <c:pt idx="3225">
                  <c:v>#N/A</c:v>
                </c:pt>
                <c:pt idx="3226">
                  <c:v>#N/A</c:v>
                </c:pt>
                <c:pt idx="3227">
                  <c:v>#N/A</c:v>
                </c:pt>
                <c:pt idx="3228">
                  <c:v>1.4684931506849315</c:v>
                </c:pt>
                <c:pt idx="3229">
                  <c:v>1.4684931506849315</c:v>
                </c:pt>
                <c:pt idx="3230">
                  <c:v>#N/A</c:v>
                </c:pt>
                <c:pt idx="3231">
                  <c:v>#N/A</c:v>
                </c:pt>
                <c:pt idx="3232">
                  <c:v>#N/A</c:v>
                </c:pt>
                <c:pt idx="3233">
                  <c:v>#N/A</c:v>
                </c:pt>
                <c:pt idx="3234">
                  <c:v>#N/A</c:v>
                </c:pt>
                <c:pt idx="3235">
                  <c:v>#N/A</c:v>
                </c:pt>
                <c:pt idx="3236">
                  <c:v>1.4684931506849315</c:v>
                </c:pt>
                <c:pt idx="3237">
                  <c:v>1.4684931506849315</c:v>
                </c:pt>
                <c:pt idx="3238">
                  <c:v>1.4684931506849315</c:v>
                </c:pt>
                <c:pt idx="3239">
                  <c:v>#N/A</c:v>
                </c:pt>
                <c:pt idx="3240">
                  <c:v>#N/A</c:v>
                </c:pt>
                <c:pt idx="3241">
                  <c:v>1.4684931506849315</c:v>
                </c:pt>
                <c:pt idx="3242">
                  <c:v>#N/A</c:v>
                </c:pt>
                <c:pt idx="3243">
                  <c:v>#N/A</c:v>
                </c:pt>
                <c:pt idx="3244">
                  <c:v>#N/A</c:v>
                </c:pt>
                <c:pt idx="3245">
                  <c:v>1.4684931506849315</c:v>
                </c:pt>
                <c:pt idx="3246">
                  <c:v>#N/A</c:v>
                </c:pt>
                <c:pt idx="3247">
                  <c:v>#N/A</c:v>
                </c:pt>
                <c:pt idx="3248">
                  <c:v>#N/A</c:v>
                </c:pt>
                <c:pt idx="3249">
                  <c:v>1.4684931506849315</c:v>
                </c:pt>
                <c:pt idx="3250">
                  <c:v>#N/A</c:v>
                </c:pt>
                <c:pt idx="3251">
                  <c:v>#N/A</c:v>
                </c:pt>
                <c:pt idx="3252">
                  <c:v>#N/A</c:v>
                </c:pt>
                <c:pt idx="3253">
                  <c:v>#N/A</c:v>
                </c:pt>
                <c:pt idx="3254">
                  <c:v>1.4684931506849315</c:v>
                </c:pt>
                <c:pt idx="3255">
                  <c:v>1.4684931506849315</c:v>
                </c:pt>
                <c:pt idx="3256">
                  <c:v>1.4684931506849315</c:v>
                </c:pt>
                <c:pt idx="3257">
                  <c:v>#N/A</c:v>
                </c:pt>
                <c:pt idx="3258">
                  <c:v>#N/A</c:v>
                </c:pt>
                <c:pt idx="3259">
                  <c:v>1.4684931506849315</c:v>
                </c:pt>
                <c:pt idx="3260">
                  <c:v>1.4684931506849315</c:v>
                </c:pt>
                <c:pt idx="3261">
                  <c:v>#N/A</c:v>
                </c:pt>
                <c:pt idx="3262">
                  <c:v>1.4684931506849315</c:v>
                </c:pt>
                <c:pt idx="3263">
                  <c:v>#N/A</c:v>
                </c:pt>
                <c:pt idx="3264">
                  <c:v>#N/A</c:v>
                </c:pt>
                <c:pt idx="3265">
                  <c:v>#N/A</c:v>
                </c:pt>
                <c:pt idx="3266">
                  <c:v>1.4684931506849315</c:v>
                </c:pt>
                <c:pt idx="3267">
                  <c:v>#N/A</c:v>
                </c:pt>
                <c:pt idx="3268">
                  <c:v>#N/A</c:v>
                </c:pt>
                <c:pt idx="3269">
                  <c:v>1.4684931506849315</c:v>
                </c:pt>
                <c:pt idx="3270">
                  <c:v>#N/A</c:v>
                </c:pt>
                <c:pt idx="3271">
                  <c:v>#N/A</c:v>
                </c:pt>
                <c:pt idx="3272">
                  <c:v>1.4684931506849315</c:v>
                </c:pt>
                <c:pt idx="3273">
                  <c:v>#N/A</c:v>
                </c:pt>
                <c:pt idx="3274">
                  <c:v>#N/A</c:v>
                </c:pt>
                <c:pt idx="3275">
                  <c:v>#N/A</c:v>
                </c:pt>
                <c:pt idx="3276">
                  <c:v>#N/A</c:v>
                </c:pt>
                <c:pt idx="3277">
                  <c:v>1.4684931506849315</c:v>
                </c:pt>
                <c:pt idx="3278">
                  <c:v>#N/A</c:v>
                </c:pt>
                <c:pt idx="3279">
                  <c:v>#N/A</c:v>
                </c:pt>
                <c:pt idx="3280">
                  <c:v>#N/A</c:v>
                </c:pt>
                <c:pt idx="3281">
                  <c:v>1.4684931506849315</c:v>
                </c:pt>
                <c:pt idx="3282">
                  <c:v>#N/A</c:v>
                </c:pt>
                <c:pt idx="3283">
                  <c:v>1.4684931506849315</c:v>
                </c:pt>
                <c:pt idx="3284">
                  <c:v>1.4684931506849315</c:v>
                </c:pt>
                <c:pt idx="3285">
                  <c:v>#N/A</c:v>
                </c:pt>
                <c:pt idx="3286">
                  <c:v>#N/A</c:v>
                </c:pt>
                <c:pt idx="3287">
                  <c:v>1.4684931506849315</c:v>
                </c:pt>
                <c:pt idx="3288">
                  <c:v>#N/A</c:v>
                </c:pt>
                <c:pt idx="3289">
                  <c:v>#N/A</c:v>
                </c:pt>
                <c:pt idx="3290">
                  <c:v>#N/A</c:v>
                </c:pt>
                <c:pt idx="3291">
                  <c:v>#N/A</c:v>
                </c:pt>
                <c:pt idx="3292">
                  <c:v>#N/A</c:v>
                </c:pt>
                <c:pt idx="3293">
                  <c:v>1.4684931506849315</c:v>
                </c:pt>
                <c:pt idx="3294">
                  <c:v>#N/A</c:v>
                </c:pt>
                <c:pt idx="3295">
                  <c:v>#N/A</c:v>
                </c:pt>
                <c:pt idx="3296">
                  <c:v>1.4684931506849315</c:v>
                </c:pt>
                <c:pt idx="3297">
                  <c:v>#N/A</c:v>
                </c:pt>
                <c:pt idx="3298">
                  <c:v>#N/A</c:v>
                </c:pt>
                <c:pt idx="3299">
                  <c:v>#N/A</c:v>
                </c:pt>
                <c:pt idx="3300">
                  <c:v>#N/A</c:v>
                </c:pt>
                <c:pt idx="3301">
                  <c:v>1.4684931506849315</c:v>
                </c:pt>
                <c:pt idx="3302">
                  <c:v>#N/A</c:v>
                </c:pt>
                <c:pt idx="3303">
                  <c:v>#N/A</c:v>
                </c:pt>
                <c:pt idx="3304">
                  <c:v>#N/A</c:v>
                </c:pt>
                <c:pt idx="3305">
                  <c:v>#N/A</c:v>
                </c:pt>
                <c:pt idx="3306">
                  <c:v>1.4684931506849315</c:v>
                </c:pt>
                <c:pt idx="3307">
                  <c:v>#N/A</c:v>
                </c:pt>
                <c:pt idx="3308">
                  <c:v>#N/A</c:v>
                </c:pt>
                <c:pt idx="3309">
                  <c:v>#N/A</c:v>
                </c:pt>
                <c:pt idx="3310">
                  <c:v>1.4684931506849315</c:v>
                </c:pt>
                <c:pt idx="3311">
                  <c:v>1.4684931506849315</c:v>
                </c:pt>
                <c:pt idx="3312">
                  <c:v>1.4684931506849315</c:v>
                </c:pt>
                <c:pt idx="3313">
                  <c:v>#N/A</c:v>
                </c:pt>
                <c:pt idx="3314">
                  <c:v>#N/A</c:v>
                </c:pt>
                <c:pt idx="3315">
                  <c:v>#N/A</c:v>
                </c:pt>
                <c:pt idx="3316">
                  <c:v>#N/A</c:v>
                </c:pt>
                <c:pt idx="3317">
                  <c:v>#N/A</c:v>
                </c:pt>
                <c:pt idx="3318">
                  <c:v>1.4684931506849315</c:v>
                </c:pt>
                <c:pt idx="3319">
                  <c:v>#N/A</c:v>
                </c:pt>
                <c:pt idx="3320">
                  <c:v>1.4684931506849315</c:v>
                </c:pt>
                <c:pt idx="3321">
                  <c:v>#N/A</c:v>
                </c:pt>
                <c:pt idx="3322">
                  <c:v>1.4684931506849315</c:v>
                </c:pt>
                <c:pt idx="3323">
                  <c:v>#N/A</c:v>
                </c:pt>
                <c:pt idx="3324">
                  <c:v>#N/A</c:v>
                </c:pt>
                <c:pt idx="3325">
                  <c:v>#N/A</c:v>
                </c:pt>
                <c:pt idx="3326">
                  <c:v>1.4684931506849315</c:v>
                </c:pt>
                <c:pt idx="3327">
                  <c:v>1.4684931506849315</c:v>
                </c:pt>
                <c:pt idx="3328">
                  <c:v>#N/A</c:v>
                </c:pt>
                <c:pt idx="3329">
                  <c:v>1.4684931506849315</c:v>
                </c:pt>
                <c:pt idx="3330">
                  <c:v>1.4684931506849315</c:v>
                </c:pt>
                <c:pt idx="3331">
                  <c:v>#N/A</c:v>
                </c:pt>
                <c:pt idx="3332">
                  <c:v>1.4684931506849315</c:v>
                </c:pt>
                <c:pt idx="3333">
                  <c:v>#N/A</c:v>
                </c:pt>
                <c:pt idx="3334">
                  <c:v>#N/A</c:v>
                </c:pt>
                <c:pt idx="3335">
                  <c:v>#N/A</c:v>
                </c:pt>
                <c:pt idx="3336">
                  <c:v>#N/A</c:v>
                </c:pt>
                <c:pt idx="3337">
                  <c:v>#N/A</c:v>
                </c:pt>
                <c:pt idx="3338">
                  <c:v>#N/A</c:v>
                </c:pt>
                <c:pt idx="3339">
                  <c:v>#N/A</c:v>
                </c:pt>
                <c:pt idx="3340">
                  <c:v>#N/A</c:v>
                </c:pt>
                <c:pt idx="3341">
                  <c:v>#N/A</c:v>
                </c:pt>
                <c:pt idx="3342">
                  <c:v>1.4684931506849315</c:v>
                </c:pt>
                <c:pt idx="3343">
                  <c:v>1.4684931506849315</c:v>
                </c:pt>
                <c:pt idx="3344">
                  <c:v>1.4684931506849315</c:v>
                </c:pt>
                <c:pt idx="3345">
                  <c:v>#N/A</c:v>
                </c:pt>
                <c:pt idx="3346">
                  <c:v>1.4684931506849315</c:v>
                </c:pt>
                <c:pt idx="3347">
                  <c:v>1.4684931506849315</c:v>
                </c:pt>
                <c:pt idx="3348">
                  <c:v>#N/A</c:v>
                </c:pt>
                <c:pt idx="3349">
                  <c:v>1.4684931506849315</c:v>
                </c:pt>
                <c:pt idx="3350">
                  <c:v>#N/A</c:v>
                </c:pt>
                <c:pt idx="3351">
                  <c:v>#N/A</c:v>
                </c:pt>
                <c:pt idx="3352">
                  <c:v>1.4684931506849315</c:v>
                </c:pt>
                <c:pt idx="3353">
                  <c:v>#N/A</c:v>
                </c:pt>
                <c:pt idx="3354">
                  <c:v>#N/A</c:v>
                </c:pt>
                <c:pt idx="3355">
                  <c:v>1.4684931506849315</c:v>
                </c:pt>
                <c:pt idx="3356">
                  <c:v>#N/A</c:v>
                </c:pt>
                <c:pt idx="3357">
                  <c:v>#N/A</c:v>
                </c:pt>
                <c:pt idx="3358">
                  <c:v>#N/A</c:v>
                </c:pt>
                <c:pt idx="3359">
                  <c:v>1.4684931506849315</c:v>
                </c:pt>
                <c:pt idx="3360">
                  <c:v>#N/A</c:v>
                </c:pt>
                <c:pt idx="3361">
                  <c:v>#N/A</c:v>
                </c:pt>
                <c:pt idx="3362">
                  <c:v>#N/A</c:v>
                </c:pt>
                <c:pt idx="3363">
                  <c:v>1.4684931506849315</c:v>
                </c:pt>
                <c:pt idx="3364">
                  <c:v>#N/A</c:v>
                </c:pt>
                <c:pt idx="3365">
                  <c:v>#N/A</c:v>
                </c:pt>
                <c:pt idx="3366">
                  <c:v>#N/A</c:v>
                </c:pt>
                <c:pt idx="3367">
                  <c:v>#N/A</c:v>
                </c:pt>
                <c:pt idx="3368">
                  <c:v>#N/A</c:v>
                </c:pt>
                <c:pt idx="3369">
                  <c:v>#N/A</c:v>
                </c:pt>
                <c:pt idx="3370">
                  <c:v>#N/A</c:v>
                </c:pt>
                <c:pt idx="3371">
                  <c:v>#N/A</c:v>
                </c:pt>
                <c:pt idx="3372">
                  <c:v>#N/A</c:v>
                </c:pt>
                <c:pt idx="3373">
                  <c:v>#N/A</c:v>
                </c:pt>
                <c:pt idx="3374">
                  <c:v>1.4684931506849315</c:v>
                </c:pt>
                <c:pt idx="3375">
                  <c:v>1.4684931506849315</c:v>
                </c:pt>
                <c:pt idx="3376">
                  <c:v>#N/A</c:v>
                </c:pt>
                <c:pt idx="3377">
                  <c:v>1.4684931506849315</c:v>
                </c:pt>
                <c:pt idx="3378">
                  <c:v>1.4684931506849315</c:v>
                </c:pt>
                <c:pt idx="3379">
                  <c:v>#N/A</c:v>
                </c:pt>
                <c:pt idx="3380">
                  <c:v>#N/A</c:v>
                </c:pt>
                <c:pt idx="3381">
                  <c:v>#N/A</c:v>
                </c:pt>
                <c:pt idx="3382">
                  <c:v>#N/A</c:v>
                </c:pt>
                <c:pt idx="3383">
                  <c:v>1.4684931506849315</c:v>
                </c:pt>
                <c:pt idx="3384">
                  <c:v>#N/A</c:v>
                </c:pt>
                <c:pt idx="3385">
                  <c:v>#N/A</c:v>
                </c:pt>
                <c:pt idx="3386">
                  <c:v>#N/A</c:v>
                </c:pt>
                <c:pt idx="3387">
                  <c:v>#N/A</c:v>
                </c:pt>
                <c:pt idx="3388">
                  <c:v>1.4684931506849315</c:v>
                </c:pt>
                <c:pt idx="3389">
                  <c:v>#N/A</c:v>
                </c:pt>
                <c:pt idx="3390">
                  <c:v>#N/A</c:v>
                </c:pt>
                <c:pt idx="3391">
                  <c:v>1.4684931506849315</c:v>
                </c:pt>
                <c:pt idx="3392">
                  <c:v>#N/A</c:v>
                </c:pt>
                <c:pt idx="3393">
                  <c:v>1.4684931506849315</c:v>
                </c:pt>
                <c:pt idx="3394">
                  <c:v>#N/A</c:v>
                </c:pt>
                <c:pt idx="3395">
                  <c:v>#N/A</c:v>
                </c:pt>
                <c:pt idx="3396">
                  <c:v>#N/A</c:v>
                </c:pt>
                <c:pt idx="3397">
                  <c:v>#N/A</c:v>
                </c:pt>
                <c:pt idx="3398">
                  <c:v>#N/A</c:v>
                </c:pt>
                <c:pt idx="3399">
                  <c:v>#N/A</c:v>
                </c:pt>
                <c:pt idx="3400">
                  <c:v>#N/A</c:v>
                </c:pt>
                <c:pt idx="3401">
                  <c:v>#N/A</c:v>
                </c:pt>
                <c:pt idx="3402">
                  <c:v>#N/A</c:v>
                </c:pt>
                <c:pt idx="3403">
                  <c:v>#N/A</c:v>
                </c:pt>
                <c:pt idx="3404">
                  <c:v>#N/A</c:v>
                </c:pt>
                <c:pt idx="3405">
                  <c:v>#N/A</c:v>
                </c:pt>
                <c:pt idx="3406">
                  <c:v>1.4684931506849315</c:v>
                </c:pt>
                <c:pt idx="3407">
                  <c:v>1.4684931506849315</c:v>
                </c:pt>
                <c:pt idx="3408">
                  <c:v>1.4684931506849315</c:v>
                </c:pt>
                <c:pt idx="3409">
                  <c:v>1.4684931506849315</c:v>
                </c:pt>
                <c:pt idx="3410">
                  <c:v>#N/A</c:v>
                </c:pt>
                <c:pt idx="3411">
                  <c:v>#N/A</c:v>
                </c:pt>
                <c:pt idx="3412">
                  <c:v>#N/A</c:v>
                </c:pt>
                <c:pt idx="3413">
                  <c:v>#N/A</c:v>
                </c:pt>
                <c:pt idx="3414">
                  <c:v>#N/A</c:v>
                </c:pt>
                <c:pt idx="3415">
                  <c:v>#N/A</c:v>
                </c:pt>
                <c:pt idx="3416">
                  <c:v>1.4684931506849315</c:v>
                </c:pt>
                <c:pt idx="3417">
                  <c:v>#N/A</c:v>
                </c:pt>
                <c:pt idx="3418">
                  <c:v>#N/A</c:v>
                </c:pt>
                <c:pt idx="3419">
                  <c:v>#N/A</c:v>
                </c:pt>
                <c:pt idx="3420">
                  <c:v>1.4684931506849315</c:v>
                </c:pt>
                <c:pt idx="3421">
                  <c:v>#N/A</c:v>
                </c:pt>
                <c:pt idx="3422">
                  <c:v>#N/A</c:v>
                </c:pt>
                <c:pt idx="3423">
                  <c:v>1.4684931506849315</c:v>
                </c:pt>
                <c:pt idx="3424">
                  <c:v>#N/A</c:v>
                </c:pt>
                <c:pt idx="3425">
                  <c:v>#N/A</c:v>
                </c:pt>
                <c:pt idx="3426">
                  <c:v>#N/A</c:v>
                </c:pt>
                <c:pt idx="3427">
                  <c:v>#N/A</c:v>
                </c:pt>
                <c:pt idx="3428">
                  <c:v>1.4684931506849315</c:v>
                </c:pt>
                <c:pt idx="3429">
                  <c:v>#N/A</c:v>
                </c:pt>
                <c:pt idx="3430">
                  <c:v>#N/A</c:v>
                </c:pt>
                <c:pt idx="3431">
                  <c:v>#N/A</c:v>
                </c:pt>
                <c:pt idx="3432">
                  <c:v>#N/A</c:v>
                </c:pt>
                <c:pt idx="3433">
                  <c:v>#N/A</c:v>
                </c:pt>
                <c:pt idx="3434">
                  <c:v>1.4684931506849315</c:v>
                </c:pt>
                <c:pt idx="3435">
                  <c:v>#N/A</c:v>
                </c:pt>
                <c:pt idx="3436">
                  <c:v>#N/A</c:v>
                </c:pt>
                <c:pt idx="3437">
                  <c:v>#N/A</c:v>
                </c:pt>
                <c:pt idx="3438">
                  <c:v>#N/A</c:v>
                </c:pt>
                <c:pt idx="3439">
                  <c:v>#N/A</c:v>
                </c:pt>
                <c:pt idx="3440">
                  <c:v>1.4684931506849315</c:v>
                </c:pt>
                <c:pt idx="3441">
                  <c:v>1.4684931506849315</c:v>
                </c:pt>
                <c:pt idx="3442">
                  <c:v>#N/A</c:v>
                </c:pt>
                <c:pt idx="3443">
                  <c:v>1.4684931506849315</c:v>
                </c:pt>
                <c:pt idx="3444">
                  <c:v>#N/A</c:v>
                </c:pt>
                <c:pt idx="3445">
                  <c:v>1.4684931506849315</c:v>
                </c:pt>
                <c:pt idx="3446">
                  <c:v>1.4684931506849315</c:v>
                </c:pt>
                <c:pt idx="3447">
                  <c:v>1.4684931506849315</c:v>
                </c:pt>
                <c:pt idx="3448">
                  <c:v>#N/A</c:v>
                </c:pt>
                <c:pt idx="3449">
                  <c:v>#N/A</c:v>
                </c:pt>
                <c:pt idx="3450">
                  <c:v>1.4684931506849315</c:v>
                </c:pt>
                <c:pt idx="3451">
                  <c:v>#N/A</c:v>
                </c:pt>
                <c:pt idx="3452">
                  <c:v>#N/A</c:v>
                </c:pt>
                <c:pt idx="3453">
                  <c:v>#N/A</c:v>
                </c:pt>
                <c:pt idx="3454">
                  <c:v>#N/A</c:v>
                </c:pt>
                <c:pt idx="3455">
                  <c:v>#N/A</c:v>
                </c:pt>
                <c:pt idx="3456">
                  <c:v>1.4684931506849315</c:v>
                </c:pt>
                <c:pt idx="3457">
                  <c:v>#N/A</c:v>
                </c:pt>
                <c:pt idx="3458">
                  <c:v>#N/A</c:v>
                </c:pt>
                <c:pt idx="3459">
                  <c:v>1.4684931506849315</c:v>
                </c:pt>
                <c:pt idx="3460">
                  <c:v>1.4684931506849315</c:v>
                </c:pt>
                <c:pt idx="3461">
                  <c:v>#N/A</c:v>
                </c:pt>
                <c:pt idx="3462">
                  <c:v>#N/A</c:v>
                </c:pt>
                <c:pt idx="3463">
                  <c:v>#N/A</c:v>
                </c:pt>
                <c:pt idx="3464">
                  <c:v>#N/A</c:v>
                </c:pt>
                <c:pt idx="3465">
                  <c:v>#N/A</c:v>
                </c:pt>
                <c:pt idx="3466">
                  <c:v>#N/A</c:v>
                </c:pt>
                <c:pt idx="3467">
                  <c:v>1.4684931506849315</c:v>
                </c:pt>
                <c:pt idx="3468">
                  <c:v>1.4684931506849315</c:v>
                </c:pt>
                <c:pt idx="3469">
                  <c:v>#N/A</c:v>
                </c:pt>
                <c:pt idx="3470">
                  <c:v>1.4684931506849315</c:v>
                </c:pt>
                <c:pt idx="3471">
                  <c:v>#N/A</c:v>
                </c:pt>
                <c:pt idx="3472">
                  <c:v>#N/A</c:v>
                </c:pt>
                <c:pt idx="3473">
                  <c:v>#N/A</c:v>
                </c:pt>
                <c:pt idx="3474">
                  <c:v>1.4684931506849315</c:v>
                </c:pt>
                <c:pt idx="3475">
                  <c:v>#N/A</c:v>
                </c:pt>
                <c:pt idx="3476">
                  <c:v>#N/A</c:v>
                </c:pt>
                <c:pt idx="3477">
                  <c:v>1.4684931506849315</c:v>
                </c:pt>
                <c:pt idx="3478">
                  <c:v>#N/A</c:v>
                </c:pt>
                <c:pt idx="3479">
                  <c:v>#N/A</c:v>
                </c:pt>
                <c:pt idx="3480">
                  <c:v>1.4684931506849315</c:v>
                </c:pt>
                <c:pt idx="3481">
                  <c:v>#N/A</c:v>
                </c:pt>
                <c:pt idx="3482">
                  <c:v>1.4684931506849315</c:v>
                </c:pt>
                <c:pt idx="3483">
                  <c:v>#N/A</c:v>
                </c:pt>
                <c:pt idx="3484">
                  <c:v>#N/A</c:v>
                </c:pt>
                <c:pt idx="3485">
                  <c:v>#N/A</c:v>
                </c:pt>
                <c:pt idx="3486">
                  <c:v>#N/A</c:v>
                </c:pt>
                <c:pt idx="3487">
                  <c:v>#N/A</c:v>
                </c:pt>
                <c:pt idx="3488">
                  <c:v>#N/A</c:v>
                </c:pt>
                <c:pt idx="3489">
                  <c:v>#N/A</c:v>
                </c:pt>
                <c:pt idx="3490">
                  <c:v>#N/A</c:v>
                </c:pt>
                <c:pt idx="3491">
                  <c:v>1.4684931506849315</c:v>
                </c:pt>
                <c:pt idx="3492">
                  <c:v>1.4684931506849315</c:v>
                </c:pt>
                <c:pt idx="3493">
                  <c:v>#N/A</c:v>
                </c:pt>
                <c:pt idx="3494">
                  <c:v>#N/A</c:v>
                </c:pt>
                <c:pt idx="3495">
                  <c:v>#N/A</c:v>
                </c:pt>
                <c:pt idx="3496">
                  <c:v>#N/A</c:v>
                </c:pt>
                <c:pt idx="3497">
                  <c:v>#N/A</c:v>
                </c:pt>
                <c:pt idx="3498">
                  <c:v>#N/A</c:v>
                </c:pt>
                <c:pt idx="3499">
                  <c:v>#N/A</c:v>
                </c:pt>
                <c:pt idx="3500">
                  <c:v>1.4684931506849315</c:v>
                </c:pt>
                <c:pt idx="3501">
                  <c:v>1.4684931506849315</c:v>
                </c:pt>
                <c:pt idx="3502">
                  <c:v>#N/A</c:v>
                </c:pt>
                <c:pt idx="3503">
                  <c:v>#N/A</c:v>
                </c:pt>
                <c:pt idx="3504">
                  <c:v>1.4684931506849315</c:v>
                </c:pt>
                <c:pt idx="3505">
                  <c:v>#N/A</c:v>
                </c:pt>
                <c:pt idx="3506">
                  <c:v>#N/A</c:v>
                </c:pt>
                <c:pt idx="3507">
                  <c:v>#N/A</c:v>
                </c:pt>
                <c:pt idx="3508">
                  <c:v>#N/A</c:v>
                </c:pt>
                <c:pt idx="3509">
                  <c:v>1.4684931506849315</c:v>
                </c:pt>
                <c:pt idx="3510">
                  <c:v>#N/A</c:v>
                </c:pt>
                <c:pt idx="3511">
                  <c:v>#N/A</c:v>
                </c:pt>
                <c:pt idx="3512">
                  <c:v>1.4684931506849315</c:v>
                </c:pt>
                <c:pt idx="3513">
                  <c:v>#N/A</c:v>
                </c:pt>
                <c:pt idx="3514">
                  <c:v>1.4684931506849315</c:v>
                </c:pt>
                <c:pt idx="3515">
                  <c:v>1.4684931506849315</c:v>
                </c:pt>
                <c:pt idx="3516">
                  <c:v>#N/A</c:v>
                </c:pt>
                <c:pt idx="3517">
                  <c:v>1.4684931506849315</c:v>
                </c:pt>
                <c:pt idx="3518">
                  <c:v>#N/A</c:v>
                </c:pt>
                <c:pt idx="3519">
                  <c:v>#N/A</c:v>
                </c:pt>
                <c:pt idx="3520">
                  <c:v>#N/A</c:v>
                </c:pt>
                <c:pt idx="3521">
                  <c:v>#N/A</c:v>
                </c:pt>
                <c:pt idx="3522">
                  <c:v>#N/A</c:v>
                </c:pt>
                <c:pt idx="3523">
                  <c:v>#N/A</c:v>
                </c:pt>
                <c:pt idx="3524">
                  <c:v>#N/A</c:v>
                </c:pt>
                <c:pt idx="3525">
                  <c:v>#N/A</c:v>
                </c:pt>
                <c:pt idx="3526">
                  <c:v>#N/A</c:v>
                </c:pt>
                <c:pt idx="3527">
                  <c:v>#N/A</c:v>
                </c:pt>
                <c:pt idx="3528">
                  <c:v>#N/A</c:v>
                </c:pt>
                <c:pt idx="3529">
                  <c:v>#N/A</c:v>
                </c:pt>
                <c:pt idx="3530">
                  <c:v>#N/A</c:v>
                </c:pt>
                <c:pt idx="3531">
                  <c:v>1.4684931506849315</c:v>
                </c:pt>
                <c:pt idx="3532">
                  <c:v>#N/A</c:v>
                </c:pt>
                <c:pt idx="3533">
                  <c:v>#N/A</c:v>
                </c:pt>
                <c:pt idx="3534">
                  <c:v>#N/A</c:v>
                </c:pt>
                <c:pt idx="3535">
                  <c:v>#N/A</c:v>
                </c:pt>
                <c:pt idx="3536">
                  <c:v>#N/A</c:v>
                </c:pt>
                <c:pt idx="3537">
                  <c:v>#N/A</c:v>
                </c:pt>
                <c:pt idx="3538">
                  <c:v>#N/A</c:v>
                </c:pt>
                <c:pt idx="3539">
                  <c:v>1.4684931506849315</c:v>
                </c:pt>
                <c:pt idx="3540">
                  <c:v>#N/A</c:v>
                </c:pt>
                <c:pt idx="3541">
                  <c:v>#N/A</c:v>
                </c:pt>
                <c:pt idx="3542">
                  <c:v>#N/A</c:v>
                </c:pt>
                <c:pt idx="3543">
                  <c:v>#N/A</c:v>
                </c:pt>
                <c:pt idx="3544">
                  <c:v>1.4684931506849315</c:v>
                </c:pt>
                <c:pt idx="3545">
                  <c:v>#N/A</c:v>
                </c:pt>
                <c:pt idx="3546">
                  <c:v>#N/A</c:v>
                </c:pt>
                <c:pt idx="3547">
                  <c:v>#N/A</c:v>
                </c:pt>
                <c:pt idx="3548">
                  <c:v>#N/A</c:v>
                </c:pt>
                <c:pt idx="3549">
                  <c:v>#N/A</c:v>
                </c:pt>
                <c:pt idx="3550">
                  <c:v>#N/A</c:v>
                </c:pt>
                <c:pt idx="3551">
                  <c:v>1.4684931506849315</c:v>
                </c:pt>
                <c:pt idx="3552">
                  <c:v>1.4684931506849315</c:v>
                </c:pt>
                <c:pt idx="3553">
                  <c:v>1.4684931506849315</c:v>
                </c:pt>
                <c:pt idx="3554">
                  <c:v>1.4684931506849315</c:v>
                </c:pt>
                <c:pt idx="3555">
                  <c:v>#N/A</c:v>
                </c:pt>
                <c:pt idx="3556">
                  <c:v>#N/A</c:v>
                </c:pt>
                <c:pt idx="3557">
                  <c:v>#N/A</c:v>
                </c:pt>
                <c:pt idx="3558">
                  <c:v>#N/A</c:v>
                </c:pt>
                <c:pt idx="3559">
                  <c:v>1.4684931506849315</c:v>
                </c:pt>
                <c:pt idx="3560">
                  <c:v>#N/A</c:v>
                </c:pt>
                <c:pt idx="3561">
                  <c:v>#N/A</c:v>
                </c:pt>
                <c:pt idx="3562">
                  <c:v>1.4684931506849315</c:v>
                </c:pt>
                <c:pt idx="3563">
                  <c:v>#N/A</c:v>
                </c:pt>
                <c:pt idx="3564">
                  <c:v>1.4684931506849315</c:v>
                </c:pt>
                <c:pt idx="3565">
                  <c:v>#N/A</c:v>
                </c:pt>
                <c:pt idx="3566">
                  <c:v>#N/A</c:v>
                </c:pt>
                <c:pt idx="3567">
                  <c:v>#N/A</c:v>
                </c:pt>
                <c:pt idx="3568">
                  <c:v>#N/A</c:v>
                </c:pt>
                <c:pt idx="3569">
                  <c:v>#N/A</c:v>
                </c:pt>
                <c:pt idx="3570">
                  <c:v>#N/A</c:v>
                </c:pt>
                <c:pt idx="3571">
                  <c:v>1.4684931506849315</c:v>
                </c:pt>
                <c:pt idx="3572">
                  <c:v>#N/A</c:v>
                </c:pt>
                <c:pt idx="3573">
                  <c:v>#N/A</c:v>
                </c:pt>
                <c:pt idx="3574">
                  <c:v>#N/A</c:v>
                </c:pt>
                <c:pt idx="3575">
                  <c:v>#N/A</c:v>
                </c:pt>
                <c:pt idx="3576">
                  <c:v>#N/A</c:v>
                </c:pt>
                <c:pt idx="3577">
                  <c:v>#N/A</c:v>
                </c:pt>
                <c:pt idx="3578">
                  <c:v>#N/A</c:v>
                </c:pt>
                <c:pt idx="3579">
                  <c:v>#N/A</c:v>
                </c:pt>
                <c:pt idx="3580">
                  <c:v>1.4684931506849315</c:v>
                </c:pt>
                <c:pt idx="3581">
                  <c:v>#N/A</c:v>
                </c:pt>
                <c:pt idx="3582">
                  <c:v>#N/A</c:v>
                </c:pt>
                <c:pt idx="3583">
                  <c:v>#N/A</c:v>
                </c:pt>
                <c:pt idx="3584">
                  <c:v>#N/A</c:v>
                </c:pt>
                <c:pt idx="3585">
                  <c:v>#N/A</c:v>
                </c:pt>
                <c:pt idx="3586">
                  <c:v>#N/A</c:v>
                </c:pt>
                <c:pt idx="3587">
                  <c:v>#N/A</c:v>
                </c:pt>
                <c:pt idx="3588">
                  <c:v>#N/A</c:v>
                </c:pt>
                <c:pt idx="3589">
                  <c:v>#N/A</c:v>
                </c:pt>
                <c:pt idx="3590">
                  <c:v>#N/A</c:v>
                </c:pt>
                <c:pt idx="3591">
                  <c:v>#N/A</c:v>
                </c:pt>
                <c:pt idx="3592">
                  <c:v>#N/A</c:v>
                </c:pt>
                <c:pt idx="3593">
                  <c:v>1.4684931506849315</c:v>
                </c:pt>
                <c:pt idx="3594">
                  <c:v>#N/A</c:v>
                </c:pt>
                <c:pt idx="3595">
                  <c:v>#N/A</c:v>
                </c:pt>
                <c:pt idx="3596">
                  <c:v>#N/A</c:v>
                </c:pt>
                <c:pt idx="3597">
                  <c:v>#N/A</c:v>
                </c:pt>
                <c:pt idx="3598">
                  <c:v>#N/A</c:v>
                </c:pt>
                <c:pt idx="3599">
                  <c:v>#N/A</c:v>
                </c:pt>
                <c:pt idx="3600">
                  <c:v>#N/A</c:v>
                </c:pt>
                <c:pt idx="3601">
                  <c:v>#N/A</c:v>
                </c:pt>
                <c:pt idx="3602">
                  <c:v>#N/A</c:v>
                </c:pt>
                <c:pt idx="3603">
                  <c:v>1.4684931506849315</c:v>
                </c:pt>
                <c:pt idx="3604">
                  <c:v>1.4684931506849315</c:v>
                </c:pt>
                <c:pt idx="3605">
                  <c:v>1.4684931506849315</c:v>
                </c:pt>
                <c:pt idx="3606">
                  <c:v>#N/A</c:v>
                </c:pt>
                <c:pt idx="3607">
                  <c:v>1.4684931506849315</c:v>
                </c:pt>
                <c:pt idx="3608">
                  <c:v>#N/A</c:v>
                </c:pt>
                <c:pt idx="3609">
                  <c:v>#N/A</c:v>
                </c:pt>
                <c:pt idx="3610">
                  <c:v>#N/A</c:v>
                </c:pt>
                <c:pt idx="3611">
                  <c:v>#N/A</c:v>
                </c:pt>
                <c:pt idx="3612">
                  <c:v>1.4684931506849315</c:v>
                </c:pt>
                <c:pt idx="3613">
                  <c:v>#N/A</c:v>
                </c:pt>
                <c:pt idx="3614">
                  <c:v>#N/A</c:v>
                </c:pt>
                <c:pt idx="3615">
                  <c:v>#N/A</c:v>
                </c:pt>
                <c:pt idx="3616">
                  <c:v>#N/A</c:v>
                </c:pt>
                <c:pt idx="3617">
                  <c:v>#N/A</c:v>
                </c:pt>
                <c:pt idx="3618">
                  <c:v>1.4684931506849315</c:v>
                </c:pt>
                <c:pt idx="3619">
                  <c:v>#N/A</c:v>
                </c:pt>
                <c:pt idx="3620">
                  <c:v>#N/A</c:v>
                </c:pt>
                <c:pt idx="3621">
                  <c:v>#N/A</c:v>
                </c:pt>
                <c:pt idx="3622">
                  <c:v>#N/A</c:v>
                </c:pt>
                <c:pt idx="3623">
                  <c:v>1.4684931506849315</c:v>
                </c:pt>
                <c:pt idx="3624">
                  <c:v>#N/A</c:v>
                </c:pt>
                <c:pt idx="3625">
                  <c:v>#N/A</c:v>
                </c:pt>
                <c:pt idx="3626">
                  <c:v>#N/A</c:v>
                </c:pt>
                <c:pt idx="3627">
                  <c:v>#N/A</c:v>
                </c:pt>
                <c:pt idx="3628">
                  <c:v>1.4684931506849315</c:v>
                </c:pt>
                <c:pt idx="3629">
                  <c:v>#N/A</c:v>
                </c:pt>
                <c:pt idx="3630">
                  <c:v>#N/A</c:v>
                </c:pt>
                <c:pt idx="3631">
                  <c:v>#N/A</c:v>
                </c:pt>
                <c:pt idx="3632">
                  <c:v>1.4684931506849315</c:v>
                </c:pt>
                <c:pt idx="3633">
                  <c:v>#N/A</c:v>
                </c:pt>
                <c:pt idx="3634">
                  <c:v>#N/A</c:v>
                </c:pt>
                <c:pt idx="3635">
                  <c:v>#N/A</c:v>
                </c:pt>
                <c:pt idx="3636">
                  <c:v>#N/A</c:v>
                </c:pt>
                <c:pt idx="3637">
                  <c:v>#N/A</c:v>
                </c:pt>
                <c:pt idx="3638">
                  <c:v>#N/A</c:v>
                </c:pt>
                <c:pt idx="3639">
                  <c:v>1.4684931506849315</c:v>
                </c:pt>
                <c:pt idx="3640">
                  <c:v>1.4684931506849315</c:v>
                </c:pt>
                <c:pt idx="3641">
                  <c:v>1.4684931506849315</c:v>
                </c:pt>
                <c:pt idx="3642">
                  <c:v>#N/A</c:v>
                </c:pt>
                <c:pt idx="3643">
                  <c:v>#N/A</c:v>
                </c:pt>
                <c:pt idx="3644">
                  <c:v>1.4684931506849315</c:v>
                </c:pt>
                <c:pt idx="3645">
                  <c:v>#N/A</c:v>
                </c:pt>
                <c:pt idx="3646">
                  <c:v>#N/A</c:v>
                </c:pt>
                <c:pt idx="3647">
                  <c:v>#N/A</c:v>
                </c:pt>
                <c:pt idx="3648">
                  <c:v>#N/A</c:v>
                </c:pt>
                <c:pt idx="3649">
                  <c:v>#N/A</c:v>
                </c:pt>
                <c:pt idx="3650">
                  <c:v>1.4684931506849315</c:v>
                </c:pt>
                <c:pt idx="3651">
                  <c:v>#N/A</c:v>
                </c:pt>
                <c:pt idx="3652">
                  <c:v>1.4684931506849315</c:v>
                </c:pt>
                <c:pt idx="3653">
                  <c:v>#N/A</c:v>
                </c:pt>
                <c:pt idx="3654">
                  <c:v>#N/A</c:v>
                </c:pt>
                <c:pt idx="3655">
                  <c:v>1.4684931506849315</c:v>
                </c:pt>
                <c:pt idx="3656">
                  <c:v>#N/A</c:v>
                </c:pt>
                <c:pt idx="3657">
                  <c:v>1.4684931506849315</c:v>
                </c:pt>
                <c:pt idx="3658">
                  <c:v>#N/A</c:v>
                </c:pt>
                <c:pt idx="3659">
                  <c:v>#N/A</c:v>
                </c:pt>
                <c:pt idx="3660">
                  <c:v>#N/A</c:v>
                </c:pt>
                <c:pt idx="3661">
                  <c:v>#N/A</c:v>
                </c:pt>
                <c:pt idx="3662">
                  <c:v>1.4684931506849315</c:v>
                </c:pt>
                <c:pt idx="3663">
                  <c:v>1.4684931506849315</c:v>
                </c:pt>
                <c:pt idx="3664">
                  <c:v>#N/A</c:v>
                </c:pt>
                <c:pt idx="3665">
                  <c:v>#N/A</c:v>
                </c:pt>
                <c:pt idx="3666">
                  <c:v>#N/A</c:v>
                </c:pt>
                <c:pt idx="3667">
                  <c:v>1.4684931506849315</c:v>
                </c:pt>
                <c:pt idx="3668">
                  <c:v>#N/A</c:v>
                </c:pt>
                <c:pt idx="3669">
                  <c:v>#N/A</c:v>
                </c:pt>
                <c:pt idx="3670">
                  <c:v>#N/A</c:v>
                </c:pt>
                <c:pt idx="3671">
                  <c:v>#N/A</c:v>
                </c:pt>
                <c:pt idx="3672">
                  <c:v>#N/A</c:v>
                </c:pt>
                <c:pt idx="3673">
                  <c:v>#N/A</c:v>
                </c:pt>
                <c:pt idx="3674">
                  <c:v>#N/A</c:v>
                </c:pt>
                <c:pt idx="3675">
                  <c:v>1.4684931506849315</c:v>
                </c:pt>
                <c:pt idx="3676">
                  <c:v>#N/A</c:v>
                </c:pt>
                <c:pt idx="3677">
                  <c:v>#N/A</c:v>
                </c:pt>
                <c:pt idx="3678">
                  <c:v>1.4684931506849315</c:v>
                </c:pt>
                <c:pt idx="3679">
                  <c:v>1.4684931506849315</c:v>
                </c:pt>
                <c:pt idx="3680">
                  <c:v>#N/A</c:v>
                </c:pt>
                <c:pt idx="3681">
                  <c:v>1.4684931506849315</c:v>
                </c:pt>
                <c:pt idx="3682">
                  <c:v>1.4684931506849315</c:v>
                </c:pt>
                <c:pt idx="3683">
                  <c:v>1.4684931506849315</c:v>
                </c:pt>
                <c:pt idx="3684">
                  <c:v>1.4684931506849315</c:v>
                </c:pt>
                <c:pt idx="3685">
                  <c:v>#N/A</c:v>
                </c:pt>
                <c:pt idx="3686">
                  <c:v>1.4684931506849315</c:v>
                </c:pt>
                <c:pt idx="3687">
                  <c:v>1.4684931506849315</c:v>
                </c:pt>
                <c:pt idx="3688">
                  <c:v>#N/A</c:v>
                </c:pt>
                <c:pt idx="3689">
                  <c:v>#N/A</c:v>
                </c:pt>
                <c:pt idx="3690">
                  <c:v>#N/A</c:v>
                </c:pt>
                <c:pt idx="3691">
                  <c:v>1.4684931506849315</c:v>
                </c:pt>
                <c:pt idx="3692">
                  <c:v>#N/A</c:v>
                </c:pt>
                <c:pt idx="3693">
                  <c:v>#N/A</c:v>
                </c:pt>
                <c:pt idx="3694">
                  <c:v>#N/A</c:v>
                </c:pt>
                <c:pt idx="3695">
                  <c:v>#N/A</c:v>
                </c:pt>
                <c:pt idx="3696">
                  <c:v>#N/A</c:v>
                </c:pt>
                <c:pt idx="3697">
                  <c:v>#N/A</c:v>
                </c:pt>
                <c:pt idx="3698">
                  <c:v>#N/A</c:v>
                </c:pt>
                <c:pt idx="3699">
                  <c:v>#N/A</c:v>
                </c:pt>
                <c:pt idx="3700">
                  <c:v>#N/A</c:v>
                </c:pt>
                <c:pt idx="3701">
                  <c:v>#N/A</c:v>
                </c:pt>
                <c:pt idx="3702">
                  <c:v>1.4684931506849315</c:v>
                </c:pt>
                <c:pt idx="3703">
                  <c:v>1.4684931506849315</c:v>
                </c:pt>
                <c:pt idx="3704">
                  <c:v>#N/A</c:v>
                </c:pt>
                <c:pt idx="3705">
                  <c:v>1.4684931506849315</c:v>
                </c:pt>
                <c:pt idx="3706">
                  <c:v>1.4684931506849315</c:v>
                </c:pt>
                <c:pt idx="3707">
                  <c:v>#N/A</c:v>
                </c:pt>
                <c:pt idx="3708">
                  <c:v>#N/A</c:v>
                </c:pt>
                <c:pt idx="3709">
                  <c:v>1.4684931506849315</c:v>
                </c:pt>
                <c:pt idx="3710">
                  <c:v>#N/A</c:v>
                </c:pt>
                <c:pt idx="3711">
                  <c:v>#N/A</c:v>
                </c:pt>
                <c:pt idx="3712">
                  <c:v>#N/A</c:v>
                </c:pt>
                <c:pt idx="3713">
                  <c:v>1.4684931506849315</c:v>
                </c:pt>
                <c:pt idx="3714">
                  <c:v>1.4684931506849315</c:v>
                </c:pt>
                <c:pt idx="3715">
                  <c:v>1.4684931506849315</c:v>
                </c:pt>
                <c:pt idx="3716">
                  <c:v>1.4684931506849315</c:v>
                </c:pt>
                <c:pt idx="3717">
                  <c:v>1.4684931506849315</c:v>
                </c:pt>
                <c:pt idx="3718">
                  <c:v>#N/A</c:v>
                </c:pt>
                <c:pt idx="3719">
                  <c:v>#N/A</c:v>
                </c:pt>
                <c:pt idx="3720">
                  <c:v>1.4684931506849315</c:v>
                </c:pt>
                <c:pt idx="3721">
                  <c:v>#N/A</c:v>
                </c:pt>
                <c:pt idx="3722">
                  <c:v>#N/A</c:v>
                </c:pt>
                <c:pt idx="3723">
                  <c:v>#N/A</c:v>
                </c:pt>
                <c:pt idx="3724">
                  <c:v>#N/A</c:v>
                </c:pt>
                <c:pt idx="3725">
                  <c:v>#N/A</c:v>
                </c:pt>
                <c:pt idx="3726">
                  <c:v>1.4684931506849315</c:v>
                </c:pt>
                <c:pt idx="3727">
                  <c:v>#N/A</c:v>
                </c:pt>
                <c:pt idx="3728">
                  <c:v>#N/A</c:v>
                </c:pt>
                <c:pt idx="3729">
                  <c:v>1.4684931506849315</c:v>
                </c:pt>
                <c:pt idx="3730">
                  <c:v>1.4684931506849315</c:v>
                </c:pt>
                <c:pt idx="3731">
                  <c:v>#N/A</c:v>
                </c:pt>
                <c:pt idx="3732">
                  <c:v>#N/A</c:v>
                </c:pt>
                <c:pt idx="3733">
                  <c:v>#N/A</c:v>
                </c:pt>
                <c:pt idx="3734">
                  <c:v>#N/A</c:v>
                </c:pt>
                <c:pt idx="3735">
                  <c:v>1.4684931506849315</c:v>
                </c:pt>
                <c:pt idx="3736">
                  <c:v>#N/A</c:v>
                </c:pt>
                <c:pt idx="3737">
                  <c:v>1.4684931506849315</c:v>
                </c:pt>
                <c:pt idx="3738">
                  <c:v>#N/A</c:v>
                </c:pt>
                <c:pt idx="3739">
                  <c:v>#N/A</c:v>
                </c:pt>
                <c:pt idx="3740">
                  <c:v>#N/A</c:v>
                </c:pt>
                <c:pt idx="3741">
                  <c:v>1.4684931506849315</c:v>
                </c:pt>
                <c:pt idx="3742">
                  <c:v>#N/A</c:v>
                </c:pt>
                <c:pt idx="3743">
                  <c:v>#N/A</c:v>
                </c:pt>
                <c:pt idx="3744">
                  <c:v>#N/A</c:v>
                </c:pt>
                <c:pt idx="3745">
                  <c:v>#N/A</c:v>
                </c:pt>
                <c:pt idx="3746">
                  <c:v>#N/A</c:v>
                </c:pt>
                <c:pt idx="3747">
                  <c:v>1.4684931506849315</c:v>
                </c:pt>
                <c:pt idx="3748">
                  <c:v>#N/A</c:v>
                </c:pt>
                <c:pt idx="3749">
                  <c:v>#N/A</c:v>
                </c:pt>
                <c:pt idx="3750">
                  <c:v>#N/A</c:v>
                </c:pt>
                <c:pt idx="3751">
                  <c:v>1.4684931506849315</c:v>
                </c:pt>
                <c:pt idx="3752">
                  <c:v>#N/A</c:v>
                </c:pt>
                <c:pt idx="3753">
                  <c:v>1.4684931506849315</c:v>
                </c:pt>
                <c:pt idx="3754">
                  <c:v>1.4684931506849315</c:v>
                </c:pt>
                <c:pt idx="3755">
                  <c:v>#N/A</c:v>
                </c:pt>
                <c:pt idx="3756">
                  <c:v>1.4684931506849315</c:v>
                </c:pt>
                <c:pt idx="3757">
                  <c:v>#N/A</c:v>
                </c:pt>
                <c:pt idx="3758">
                  <c:v>#N/A</c:v>
                </c:pt>
                <c:pt idx="3759">
                  <c:v>1.4684931506849315</c:v>
                </c:pt>
                <c:pt idx="3760">
                  <c:v>#N/A</c:v>
                </c:pt>
                <c:pt idx="3761">
                  <c:v>1.4684931506849315</c:v>
                </c:pt>
                <c:pt idx="3762">
                  <c:v>1.4684931506849315</c:v>
                </c:pt>
                <c:pt idx="3763">
                  <c:v>1.4684931506849315</c:v>
                </c:pt>
                <c:pt idx="3764">
                  <c:v>#N/A</c:v>
                </c:pt>
                <c:pt idx="3765">
                  <c:v>1.4684931506849315</c:v>
                </c:pt>
                <c:pt idx="3766">
                  <c:v>#N/A</c:v>
                </c:pt>
                <c:pt idx="3767">
                  <c:v>#N/A</c:v>
                </c:pt>
                <c:pt idx="3768">
                  <c:v>1.4684931506849315</c:v>
                </c:pt>
                <c:pt idx="3769">
                  <c:v>1.4684931506849315</c:v>
                </c:pt>
                <c:pt idx="3770">
                  <c:v>#N/A</c:v>
                </c:pt>
                <c:pt idx="3771">
                  <c:v>1.4684931506849315</c:v>
                </c:pt>
                <c:pt idx="3772">
                  <c:v>#N/A</c:v>
                </c:pt>
                <c:pt idx="3773">
                  <c:v>1.4684931506849315</c:v>
                </c:pt>
                <c:pt idx="3774">
                  <c:v>#N/A</c:v>
                </c:pt>
                <c:pt idx="3775">
                  <c:v>1.4684931506849315</c:v>
                </c:pt>
                <c:pt idx="3776">
                  <c:v>#N/A</c:v>
                </c:pt>
                <c:pt idx="3777">
                  <c:v>#N/A</c:v>
                </c:pt>
                <c:pt idx="3778">
                  <c:v>1.4684931506849315</c:v>
                </c:pt>
                <c:pt idx="3779">
                  <c:v>#N/A</c:v>
                </c:pt>
                <c:pt idx="3780">
                  <c:v>#N/A</c:v>
                </c:pt>
                <c:pt idx="3781">
                  <c:v>1.4684931506849315</c:v>
                </c:pt>
                <c:pt idx="3782">
                  <c:v>#N/A</c:v>
                </c:pt>
                <c:pt idx="3783">
                  <c:v>1.4684931506849315</c:v>
                </c:pt>
                <c:pt idx="3784">
                  <c:v>#N/A</c:v>
                </c:pt>
                <c:pt idx="3785">
                  <c:v>#N/A</c:v>
                </c:pt>
                <c:pt idx="3786">
                  <c:v>1.4684931506849315</c:v>
                </c:pt>
                <c:pt idx="3787">
                  <c:v>1.4684931506849315</c:v>
                </c:pt>
                <c:pt idx="3788">
                  <c:v>#N/A</c:v>
                </c:pt>
                <c:pt idx="3789">
                  <c:v>#N/A</c:v>
                </c:pt>
                <c:pt idx="3790">
                  <c:v>1.4684931506849315</c:v>
                </c:pt>
                <c:pt idx="3791">
                  <c:v>1.4684931506849315</c:v>
                </c:pt>
                <c:pt idx="3792">
                  <c:v>1.4684931506849315</c:v>
                </c:pt>
                <c:pt idx="3793">
                  <c:v>#N/A</c:v>
                </c:pt>
                <c:pt idx="3794">
                  <c:v>#N/A</c:v>
                </c:pt>
                <c:pt idx="3795">
                  <c:v>#N/A</c:v>
                </c:pt>
                <c:pt idx="3796">
                  <c:v>#N/A</c:v>
                </c:pt>
                <c:pt idx="3797">
                  <c:v>1.4684931506849315</c:v>
                </c:pt>
                <c:pt idx="3798">
                  <c:v>#N/A</c:v>
                </c:pt>
                <c:pt idx="3799">
                  <c:v>#N/A</c:v>
                </c:pt>
                <c:pt idx="3800">
                  <c:v>1.4684931506849315</c:v>
                </c:pt>
                <c:pt idx="3801">
                  <c:v>#N/A</c:v>
                </c:pt>
                <c:pt idx="3802">
                  <c:v>1.4684931506849315</c:v>
                </c:pt>
                <c:pt idx="3803">
                  <c:v>1.4684931506849315</c:v>
                </c:pt>
                <c:pt idx="3804">
                  <c:v>#N/A</c:v>
                </c:pt>
                <c:pt idx="3805">
                  <c:v>#N/A</c:v>
                </c:pt>
                <c:pt idx="3806">
                  <c:v>1.4684931506849315</c:v>
                </c:pt>
                <c:pt idx="3807">
                  <c:v>#N/A</c:v>
                </c:pt>
                <c:pt idx="3808">
                  <c:v>#N/A</c:v>
                </c:pt>
                <c:pt idx="3809">
                  <c:v>#N/A</c:v>
                </c:pt>
                <c:pt idx="3810">
                  <c:v>#N/A</c:v>
                </c:pt>
                <c:pt idx="3811">
                  <c:v>#N/A</c:v>
                </c:pt>
                <c:pt idx="3812">
                  <c:v>#N/A</c:v>
                </c:pt>
                <c:pt idx="3813">
                  <c:v>#N/A</c:v>
                </c:pt>
                <c:pt idx="3814">
                  <c:v>#N/A</c:v>
                </c:pt>
                <c:pt idx="3815">
                  <c:v>#N/A</c:v>
                </c:pt>
                <c:pt idx="3816">
                  <c:v>#N/A</c:v>
                </c:pt>
                <c:pt idx="3817">
                  <c:v>#N/A</c:v>
                </c:pt>
                <c:pt idx="3818">
                  <c:v>#N/A</c:v>
                </c:pt>
                <c:pt idx="3819">
                  <c:v>#N/A</c:v>
                </c:pt>
                <c:pt idx="3820">
                  <c:v>1.4684931506849315</c:v>
                </c:pt>
                <c:pt idx="3821">
                  <c:v>1.4684931506849315</c:v>
                </c:pt>
                <c:pt idx="3822">
                  <c:v>#N/A</c:v>
                </c:pt>
                <c:pt idx="3823">
                  <c:v>#N/A</c:v>
                </c:pt>
                <c:pt idx="3824">
                  <c:v>#N/A</c:v>
                </c:pt>
                <c:pt idx="3825">
                  <c:v>1.4684931506849315</c:v>
                </c:pt>
                <c:pt idx="3826">
                  <c:v>1.4684931506849315</c:v>
                </c:pt>
                <c:pt idx="3827">
                  <c:v>#N/A</c:v>
                </c:pt>
                <c:pt idx="3828">
                  <c:v>1.4684931506849315</c:v>
                </c:pt>
                <c:pt idx="3829">
                  <c:v>#N/A</c:v>
                </c:pt>
                <c:pt idx="3830">
                  <c:v>#N/A</c:v>
                </c:pt>
                <c:pt idx="3831">
                  <c:v>1.4684931506849315</c:v>
                </c:pt>
                <c:pt idx="3832">
                  <c:v>1.4684931506849315</c:v>
                </c:pt>
                <c:pt idx="3833">
                  <c:v>#N/A</c:v>
                </c:pt>
                <c:pt idx="3834">
                  <c:v>1.4684931506849315</c:v>
                </c:pt>
                <c:pt idx="3835">
                  <c:v>#N/A</c:v>
                </c:pt>
                <c:pt idx="3836">
                  <c:v>#N/A</c:v>
                </c:pt>
                <c:pt idx="3837">
                  <c:v>#N/A</c:v>
                </c:pt>
                <c:pt idx="3838">
                  <c:v>1.4684931506849315</c:v>
                </c:pt>
                <c:pt idx="3839">
                  <c:v>#N/A</c:v>
                </c:pt>
                <c:pt idx="3840">
                  <c:v>1.4684931506849315</c:v>
                </c:pt>
                <c:pt idx="3841">
                  <c:v>#N/A</c:v>
                </c:pt>
                <c:pt idx="3842">
                  <c:v>#N/A</c:v>
                </c:pt>
                <c:pt idx="3843">
                  <c:v>#N/A</c:v>
                </c:pt>
                <c:pt idx="3844">
                  <c:v>#N/A</c:v>
                </c:pt>
                <c:pt idx="3845">
                  <c:v>1.4684931506849315</c:v>
                </c:pt>
                <c:pt idx="3846">
                  <c:v>#N/A</c:v>
                </c:pt>
                <c:pt idx="3847">
                  <c:v>#N/A</c:v>
                </c:pt>
                <c:pt idx="3848">
                  <c:v>#N/A</c:v>
                </c:pt>
                <c:pt idx="3849">
                  <c:v>#N/A</c:v>
                </c:pt>
                <c:pt idx="3850">
                  <c:v>1.4684931506849315</c:v>
                </c:pt>
                <c:pt idx="3851">
                  <c:v>#N/A</c:v>
                </c:pt>
                <c:pt idx="3852">
                  <c:v>#N/A</c:v>
                </c:pt>
                <c:pt idx="3853">
                  <c:v>#N/A</c:v>
                </c:pt>
                <c:pt idx="3854">
                  <c:v>#N/A</c:v>
                </c:pt>
                <c:pt idx="3855">
                  <c:v>#N/A</c:v>
                </c:pt>
                <c:pt idx="3856">
                  <c:v>1.4684931506849315</c:v>
                </c:pt>
                <c:pt idx="3857">
                  <c:v>1.4684931506849315</c:v>
                </c:pt>
                <c:pt idx="3858">
                  <c:v>#N/A</c:v>
                </c:pt>
                <c:pt idx="3859">
                  <c:v>#N/A</c:v>
                </c:pt>
                <c:pt idx="3860">
                  <c:v>1.4684931506849315</c:v>
                </c:pt>
                <c:pt idx="3861">
                  <c:v>1.4684931506849315</c:v>
                </c:pt>
                <c:pt idx="3862">
                  <c:v>#N/A</c:v>
                </c:pt>
                <c:pt idx="3863">
                  <c:v>#N/A</c:v>
                </c:pt>
                <c:pt idx="3864">
                  <c:v>#N/A</c:v>
                </c:pt>
                <c:pt idx="3865">
                  <c:v>#N/A</c:v>
                </c:pt>
                <c:pt idx="3866">
                  <c:v>#N/A</c:v>
                </c:pt>
                <c:pt idx="3867">
                  <c:v>#N/A</c:v>
                </c:pt>
                <c:pt idx="3868">
                  <c:v>#N/A</c:v>
                </c:pt>
                <c:pt idx="3869">
                  <c:v>#N/A</c:v>
                </c:pt>
                <c:pt idx="3870">
                  <c:v>#N/A</c:v>
                </c:pt>
                <c:pt idx="3871">
                  <c:v>#N/A</c:v>
                </c:pt>
                <c:pt idx="3872">
                  <c:v>#N/A</c:v>
                </c:pt>
                <c:pt idx="3873">
                  <c:v>#N/A</c:v>
                </c:pt>
                <c:pt idx="3874">
                  <c:v>#N/A</c:v>
                </c:pt>
                <c:pt idx="3875">
                  <c:v>#N/A</c:v>
                </c:pt>
                <c:pt idx="3876">
                  <c:v>#N/A</c:v>
                </c:pt>
                <c:pt idx="3877">
                  <c:v>1.4684931506849315</c:v>
                </c:pt>
                <c:pt idx="3878">
                  <c:v>#N/A</c:v>
                </c:pt>
                <c:pt idx="3879">
                  <c:v>#N/A</c:v>
                </c:pt>
                <c:pt idx="3880">
                  <c:v>1.4684931506849315</c:v>
                </c:pt>
                <c:pt idx="3881">
                  <c:v>#N/A</c:v>
                </c:pt>
                <c:pt idx="3882">
                  <c:v>#N/A</c:v>
                </c:pt>
                <c:pt idx="3883">
                  <c:v>#N/A</c:v>
                </c:pt>
                <c:pt idx="3884">
                  <c:v>#N/A</c:v>
                </c:pt>
                <c:pt idx="3885">
                  <c:v>1.4684931506849315</c:v>
                </c:pt>
                <c:pt idx="3886">
                  <c:v>#N/A</c:v>
                </c:pt>
                <c:pt idx="3887">
                  <c:v>#N/A</c:v>
                </c:pt>
                <c:pt idx="3888">
                  <c:v>#N/A</c:v>
                </c:pt>
                <c:pt idx="3889">
                  <c:v>1.4684931506849315</c:v>
                </c:pt>
                <c:pt idx="3890">
                  <c:v>1.4684931506849315</c:v>
                </c:pt>
                <c:pt idx="3891">
                  <c:v>#N/A</c:v>
                </c:pt>
                <c:pt idx="3892">
                  <c:v>#N/A</c:v>
                </c:pt>
                <c:pt idx="3893">
                  <c:v>#N/A</c:v>
                </c:pt>
                <c:pt idx="3894">
                  <c:v>1.4684931506849315</c:v>
                </c:pt>
                <c:pt idx="3895">
                  <c:v>#N/A</c:v>
                </c:pt>
                <c:pt idx="3896">
                  <c:v>#N/A</c:v>
                </c:pt>
                <c:pt idx="3897">
                  <c:v>#N/A</c:v>
                </c:pt>
                <c:pt idx="3898">
                  <c:v>#N/A</c:v>
                </c:pt>
                <c:pt idx="3899">
                  <c:v>#N/A</c:v>
                </c:pt>
                <c:pt idx="3900">
                  <c:v>#N/A</c:v>
                </c:pt>
                <c:pt idx="3901">
                  <c:v>#N/A</c:v>
                </c:pt>
                <c:pt idx="3902">
                  <c:v>1.4684931506849315</c:v>
                </c:pt>
                <c:pt idx="3903">
                  <c:v>1.4684931506849315</c:v>
                </c:pt>
                <c:pt idx="3904">
                  <c:v>#N/A</c:v>
                </c:pt>
                <c:pt idx="3905">
                  <c:v>#N/A</c:v>
                </c:pt>
                <c:pt idx="3906">
                  <c:v>#N/A</c:v>
                </c:pt>
                <c:pt idx="3907">
                  <c:v>#N/A</c:v>
                </c:pt>
                <c:pt idx="3908">
                  <c:v>#N/A</c:v>
                </c:pt>
                <c:pt idx="3909">
                  <c:v>1.4684931506849315</c:v>
                </c:pt>
                <c:pt idx="3910">
                  <c:v>#N/A</c:v>
                </c:pt>
                <c:pt idx="3911">
                  <c:v>1.4684931506849315</c:v>
                </c:pt>
                <c:pt idx="3912">
                  <c:v>#N/A</c:v>
                </c:pt>
                <c:pt idx="3913">
                  <c:v>#N/A</c:v>
                </c:pt>
                <c:pt idx="3914">
                  <c:v>#N/A</c:v>
                </c:pt>
                <c:pt idx="3915">
                  <c:v>#N/A</c:v>
                </c:pt>
                <c:pt idx="3916">
                  <c:v>#N/A</c:v>
                </c:pt>
                <c:pt idx="3917">
                  <c:v>#N/A</c:v>
                </c:pt>
                <c:pt idx="3918">
                  <c:v>#N/A</c:v>
                </c:pt>
                <c:pt idx="3919">
                  <c:v>1.4712328767123288</c:v>
                </c:pt>
                <c:pt idx="3920">
                  <c:v>1.4712328767123288</c:v>
                </c:pt>
                <c:pt idx="3921">
                  <c:v>1.4712328767123288</c:v>
                </c:pt>
                <c:pt idx="3922">
                  <c:v>#N/A</c:v>
                </c:pt>
                <c:pt idx="3923">
                  <c:v>#N/A</c:v>
                </c:pt>
                <c:pt idx="3924">
                  <c:v>1.4712328767123288</c:v>
                </c:pt>
                <c:pt idx="3925">
                  <c:v>1.4712328767123288</c:v>
                </c:pt>
                <c:pt idx="3926">
                  <c:v>1.4712328767123288</c:v>
                </c:pt>
                <c:pt idx="3927">
                  <c:v>#N/A</c:v>
                </c:pt>
                <c:pt idx="3928">
                  <c:v>#N/A</c:v>
                </c:pt>
                <c:pt idx="3929">
                  <c:v>1.473972602739726</c:v>
                </c:pt>
                <c:pt idx="3930">
                  <c:v>1.473972602739726</c:v>
                </c:pt>
                <c:pt idx="3931">
                  <c:v>#N/A</c:v>
                </c:pt>
                <c:pt idx="3932">
                  <c:v>#N/A</c:v>
                </c:pt>
                <c:pt idx="3933">
                  <c:v>#N/A</c:v>
                </c:pt>
                <c:pt idx="3934">
                  <c:v>#N/A</c:v>
                </c:pt>
                <c:pt idx="3935">
                  <c:v>#N/A</c:v>
                </c:pt>
                <c:pt idx="3936">
                  <c:v>1.4794520547945205</c:v>
                </c:pt>
                <c:pt idx="3937">
                  <c:v>1.4794520547945205</c:v>
                </c:pt>
                <c:pt idx="3938">
                  <c:v>1.4904109589041097</c:v>
                </c:pt>
                <c:pt idx="3939">
                  <c:v>#N/A</c:v>
                </c:pt>
                <c:pt idx="3940">
                  <c:v>#N/A</c:v>
                </c:pt>
                <c:pt idx="3941">
                  <c:v>1.4904109589041097</c:v>
                </c:pt>
                <c:pt idx="3942">
                  <c:v>#N/A</c:v>
                </c:pt>
                <c:pt idx="3943">
                  <c:v>#N/A</c:v>
                </c:pt>
                <c:pt idx="3944">
                  <c:v>#N/A</c:v>
                </c:pt>
                <c:pt idx="3945">
                  <c:v>1.4904109589041097</c:v>
                </c:pt>
                <c:pt idx="3946">
                  <c:v>1.4904109589041097</c:v>
                </c:pt>
                <c:pt idx="3947">
                  <c:v>1.4931506849315068</c:v>
                </c:pt>
                <c:pt idx="3948">
                  <c:v>#N/A</c:v>
                </c:pt>
                <c:pt idx="3949">
                  <c:v>1.4958904109589042</c:v>
                </c:pt>
                <c:pt idx="3950">
                  <c:v>1.4986301369863013</c:v>
                </c:pt>
                <c:pt idx="3951">
                  <c:v>#N/A</c:v>
                </c:pt>
                <c:pt idx="3952">
                  <c:v>#N/A</c:v>
                </c:pt>
                <c:pt idx="3953">
                  <c:v>1.5013698630136987</c:v>
                </c:pt>
                <c:pt idx="3954">
                  <c:v>#N/A</c:v>
                </c:pt>
                <c:pt idx="3955">
                  <c:v>#N/A</c:v>
                </c:pt>
                <c:pt idx="3956">
                  <c:v>1.5013698630136987</c:v>
                </c:pt>
                <c:pt idx="3957">
                  <c:v>1.5095890410958903</c:v>
                </c:pt>
                <c:pt idx="3958">
                  <c:v>#N/A</c:v>
                </c:pt>
                <c:pt idx="3959">
                  <c:v>#N/A</c:v>
                </c:pt>
                <c:pt idx="3960">
                  <c:v>#N/A</c:v>
                </c:pt>
                <c:pt idx="3961">
                  <c:v>1.5095890410958903</c:v>
                </c:pt>
                <c:pt idx="3962">
                  <c:v>1.5095890410958903</c:v>
                </c:pt>
                <c:pt idx="3963">
                  <c:v>1.5095890410958903</c:v>
                </c:pt>
                <c:pt idx="3964">
                  <c:v>#N/A</c:v>
                </c:pt>
                <c:pt idx="3965">
                  <c:v>#N/A</c:v>
                </c:pt>
                <c:pt idx="3966">
                  <c:v>#N/A</c:v>
                </c:pt>
                <c:pt idx="3967">
                  <c:v>1.5095890410958903</c:v>
                </c:pt>
                <c:pt idx="3968">
                  <c:v>#N/A</c:v>
                </c:pt>
                <c:pt idx="3969">
                  <c:v>#N/A</c:v>
                </c:pt>
                <c:pt idx="3970">
                  <c:v>#N/A</c:v>
                </c:pt>
                <c:pt idx="3971">
                  <c:v>#N/A</c:v>
                </c:pt>
                <c:pt idx="3972">
                  <c:v>1.5123287671232877</c:v>
                </c:pt>
                <c:pt idx="3973">
                  <c:v>#N/A</c:v>
                </c:pt>
                <c:pt idx="3974">
                  <c:v>#N/A</c:v>
                </c:pt>
                <c:pt idx="3975">
                  <c:v>#N/A</c:v>
                </c:pt>
                <c:pt idx="3976">
                  <c:v>1.515068493150685</c:v>
                </c:pt>
                <c:pt idx="3977">
                  <c:v>1.515068493150685</c:v>
                </c:pt>
                <c:pt idx="3978">
                  <c:v>1.515068493150685</c:v>
                </c:pt>
                <c:pt idx="3979">
                  <c:v>#N/A</c:v>
                </c:pt>
                <c:pt idx="3980">
                  <c:v>#N/A</c:v>
                </c:pt>
                <c:pt idx="3981">
                  <c:v>#N/A</c:v>
                </c:pt>
                <c:pt idx="3982">
                  <c:v>1.515068493150685</c:v>
                </c:pt>
                <c:pt idx="3983">
                  <c:v>#N/A</c:v>
                </c:pt>
                <c:pt idx="3984">
                  <c:v>1.515068493150685</c:v>
                </c:pt>
                <c:pt idx="3985">
                  <c:v>#N/A</c:v>
                </c:pt>
                <c:pt idx="3986">
                  <c:v>#N/A</c:v>
                </c:pt>
                <c:pt idx="3987">
                  <c:v>1.5178082191780822</c:v>
                </c:pt>
                <c:pt idx="3988">
                  <c:v>#N/A</c:v>
                </c:pt>
                <c:pt idx="3989">
                  <c:v>#N/A</c:v>
                </c:pt>
                <c:pt idx="3990">
                  <c:v>#N/A</c:v>
                </c:pt>
                <c:pt idx="3991">
                  <c:v>#N/A</c:v>
                </c:pt>
                <c:pt idx="3992">
                  <c:v>#N/A</c:v>
                </c:pt>
                <c:pt idx="3993">
                  <c:v>#N/A</c:v>
                </c:pt>
                <c:pt idx="3994">
                  <c:v>#N/A</c:v>
                </c:pt>
                <c:pt idx="3995">
                  <c:v>#N/A</c:v>
                </c:pt>
                <c:pt idx="3996">
                  <c:v>1.5178082191780822</c:v>
                </c:pt>
                <c:pt idx="3997">
                  <c:v>#N/A</c:v>
                </c:pt>
                <c:pt idx="3998">
                  <c:v>1.5178082191780822</c:v>
                </c:pt>
                <c:pt idx="3999">
                  <c:v>#N/A</c:v>
                </c:pt>
                <c:pt idx="4000">
                  <c:v>1.5178082191780822</c:v>
                </c:pt>
                <c:pt idx="4001">
                  <c:v>1.5178082191780822</c:v>
                </c:pt>
                <c:pt idx="4002">
                  <c:v>#N/A</c:v>
                </c:pt>
                <c:pt idx="4003">
                  <c:v>1.5178082191780822</c:v>
                </c:pt>
                <c:pt idx="4004">
                  <c:v>1.5178082191780822</c:v>
                </c:pt>
                <c:pt idx="4005">
                  <c:v>#N/A</c:v>
                </c:pt>
                <c:pt idx="4006">
                  <c:v>1.5178082191780822</c:v>
                </c:pt>
                <c:pt idx="4007">
                  <c:v>1.5178082191780822</c:v>
                </c:pt>
                <c:pt idx="4008">
                  <c:v>#N/A</c:v>
                </c:pt>
                <c:pt idx="4009">
                  <c:v>#N/A</c:v>
                </c:pt>
                <c:pt idx="4010">
                  <c:v>#N/A</c:v>
                </c:pt>
                <c:pt idx="4011">
                  <c:v>#N/A</c:v>
                </c:pt>
                <c:pt idx="4012">
                  <c:v>1.5205479452054795</c:v>
                </c:pt>
                <c:pt idx="4013">
                  <c:v>#N/A</c:v>
                </c:pt>
                <c:pt idx="4014">
                  <c:v>#N/A</c:v>
                </c:pt>
                <c:pt idx="4015">
                  <c:v>#N/A</c:v>
                </c:pt>
                <c:pt idx="4016">
                  <c:v>#N/A</c:v>
                </c:pt>
                <c:pt idx="4017">
                  <c:v>#N/A</c:v>
                </c:pt>
                <c:pt idx="4018">
                  <c:v>#N/A</c:v>
                </c:pt>
                <c:pt idx="4019">
                  <c:v>#N/A</c:v>
                </c:pt>
                <c:pt idx="4020">
                  <c:v>#N/A</c:v>
                </c:pt>
                <c:pt idx="4021">
                  <c:v>#N/A</c:v>
                </c:pt>
                <c:pt idx="4022">
                  <c:v>1.5205479452054795</c:v>
                </c:pt>
                <c:pt idx="4023">
                  <c:v>1.5205479452054795</c:v>
                </c:pt>
                <c:pt idx="4024">
                  <c:v>#N/A</c:v>
                </c:pt>
                <c:pt idx="4025">
                  <c:v>#N/A</c:v>
                </c:pt>
                <c:pt idx="4026">
                  <c:v>#N/A</c:v>
                </c:pt>
                <c:pt idx="4027">
                  <c:v>1.5205479452054795</c:v>
                </c:pt>
                <c:pt idx="4028">
                  <c:v>1.5205479452054795</c:v>
                </c:pt>
                <c:pt idx="4029">
                  <c:v>1.5205479452054795</c:v>
                </c:pt>
                <c:pt idx="4030">
                  <c:v>#N/A</c:v>
                </c:pt>
                <c:pt idx="4031">
                  <c:v>#N/A</c:v>
                </c:pt>
                <c:pt idx="4032">
                  <c:v>1.5232876712328767</c:v>
                </c:pt>
                <c:pt idx="4033">
                  <c:v>#N/A</c:v>
                </c:pt>
                <c:pt idx="4034">
                  <c:v>#N/A</c:v>
                </c:pt>
                <c:pt idx="4035">
                  <c:v>#N/A</c:v>
                </c:pt>
                <c:pt idx="4036">
                  <c:v>1.5287671232876712</c:v>
                </c:pt>
                <c:pt idx="4037">
                  <c:v>1.5287671232876712</c:v>
                </c:pt>
                <c:pt idx="4038">
                  <c:v>1.5287671232876712</c:v>
                </c:pt>
                <c:pt idx="4039">
                  <c:v>1.5287671232876712</c:v>
                </c:pt>
                <c:pt idx="4040">
                  <c:v>#N/A</c:v>
                </c:pt>
                <c:pt idx="4041">
                  <c:v>1.5287671232876712</c:v>
                </c:pt>
                <c:pt idx="4042">
                  <c:v>#N/A</c:v>
                </c:pt>
                <c:pt idx="4043">
                  <c:v>#N/A</c:v>
                </c:pt>
                <c:pt idx="4044">
                  <c:v>1.5315068493150685</c:v>
                </c:pt>
                <c:pt idx="4045">
                  <c:v>1.5315068493150685</c:v>
                </c:pt>
                <c:pt idx="4046">
                  <c:v>#N/A</c:v>
                </c:pt>
                <c:pt idx="4047">
                  <c:v>1.5315068493150685</c:v>
                </c:pt>
                <c:pt idx="4048">
                  <c:v>#N/A</c:v>
                </c:pt>
                <c:pt idx="4049">
                  <c:v>#N/A</c:v>
                </c:pt>
                <c:pt idx="4050">
                  <c:v>1.5342465753424657</c:v>
                </c:pt>
                <c:pt idx="4051">
                  <c:v>#N/A</c:v>
                </c:pt>
                <c:pt idx="4052">
                  <c:v>#N/A</c:v>
                </c:pt>
                <c:pt idx="4053">
                  <c:v>1.5342465753424657</c:v>
                </c:pt>
                <c:pt idx="4054">
                  <c:v>1.5342465753424657</c:v>
                </c:pt>
                <c:pt idx="4055">
                  <c:v>#N/A</c:v>
                </c:pt>
                <c:pt idx="4056">
                  <c:v>1.5342465753424657</c:v>
                </c:pt>
                <c:pt idx="4057">
                  <c:v>1.5342465753424657</c:v>
                </c:pt>
                <c:pt idx="4058">
                  <c:v>#N/A</c:v>
                </c:pt>
                <c:pt idx="4059">
                  <c:v>#N/A</c:v>
                </c:pt>
                <c:pt idx="4060">
                  <c:v>1.5342465753424657</c:v>
                </c:pt>
                <c:pt idx="4061">
                  <c:v>1.5342465753424657</c:v>
                </c:pt>
                <c:pt idx="4062">
                  <c:v>1.5342465753424657</c:v>
                </c:pt>
                <c:pt idx="4063">
                  <c:v>#N/A</c:v>
                </c:pt>
                <c:pt idx="4064">
                  <c:v>#N/A</c:v>
                </c:pt>
                <c:pt idx="4065">
                  <c:v>1.547945205479452</c:v>
                </c:pt>
                <c:pt idx="4066">
                  <c:v>#N/A</c:v>
                </c:pt>
                <c:pt idx="4067">
                  <c:v>#N/A</c:v>
                </c:pt>
                <c:pt idx="4068">
                  <c:v>#N/A</c:v>
                </c:pt>
                <c:pt idx="4069">
                  <c:v>#N/A</c:v>
                </c:pt>
                <c:pt idx="4070">
                  <c:v>1.5561643835616439</c:v>
                </c:pt>
                <c:pt idx="4071">
                  <c:v>#N/A</c:v>
                </c:pt>
                <c:pt idx="4072">
                  <c:v>#N/A</c:v>
                </c:pt>
                <c:pt idx="4073">
                  <c:v>#N/A</c:v>
                </c:pt>
                <c:pt idx="4074">
                  <c:v>1.5561643835616439</c:v>
                </c:pt>
                <c:pt idx="4075">
                  <c:v>#N/A</c:v>
                </c:pt>
                <c:pt idx="4076">
                  <c:v>#N/A</c:v>
                </c:pt>
                <c:pt idx="4077">
                  <c:v>#N/A</c:v>
                </c:pt>
                <c:pt idx="4078">
                  <c:v>#N/A</c:v>
                </c:pt>
                <c:pt idx="4079">
                  <c:v>#N/A</c:v>
                </c:pt>
                <c:pt idx="4080">
                  <c:v>1.558904109589041</c:v>
                </c:pt>
                <c:pt idx="4081">
                  <c:v>#N/A</c:v>
                </c:pt>
                <c:pt idx="4082">
                  <c:v>1.558904109589041</c:v>
                </c:pt>
                <c:pt idx="4083">
                  <c:v>#N/A</c:v>
                </c:pt>
                <c:pt idx="4084">
                  <c:v>#N/A</c:v>
                </c:pt>
                <c:pt idx="4085">
                  <c:v>1.558904109589041</c:v>
                </c:pt>
                <c:pt idx="4086">
                  <c:v>1.558904109589041</c:v>
                </c:pt>
                <c:pt idx="4087">
                  <c:v>#N/A</c:v>
                </c:pt>
                <c:pt idx="4088">
                  <c:v>#N/A</c:v>
                </c:pt>
                <c:pt idx="4089">
                  <c:v>#N/A</c:v>
                </c:pt>
                <c:pt idx="4090">
                  <c:v>#N/A</c:v>
                </c:pt>
                <c:pt idx="4091">
                  <c:v>#N/A</c:v>
                </c:pt>
                <c:pt idx="4092">
                  <c:v>#N/A</c:v>
                </c:pt>
                <c:pt idx="4093">
                  <c:v>1.558904109589041</c:v>
                </c:pt>
                <c:pt idx="4094">
                  <c:v>1.558904109589041</c:v>
                </c:pt>
                <c:pt idx="4095">
                  <c:v>#N/A</c:v>
                </c:pt>
                <c:pt idx="4096">
                  <c:v>#N/A</c:v>
                </c:pt>
                <c:pt idx="4097">
                  <c:v>#N/A</c:v>
                </c:pt>
                <c:pt idx="4098">
                  <c:v>#N/A</c:v>
                </c:pt>
                <c:pt idx="4099">
                  <c:v>#N/A</c:v>
                </c:pt>
                <c:pt idx="4100">
                  <c:v>#N/A</c:v>
                </c:pt>
                <c:pt idx="4101">
                  <c:v>1.5671232876712329</c:v>
                </c:pt>
                <c:pt idx="4102">
                  <c:v>1.5671232876712329</c:v>
                </c:pt>
                <c:pt idx="4103">
                  <c:v>1.5671232876712329</c:v>
                </c:pt>
                <c:pt idx="4104">
                  <c:v>1.5671232876712329</c:v>
                </c:pt>
                <c:pt idx="4105">
                  <c:v>1.5671232876712329</c:v>
                </c:pt>
                <c:pt idx="4106">
                  <c:v>#N/A</c:v>
                </c:pt>
                <c:pt idx="4107">
                  <c:v>1.5671232876712329</c:v>
                </c:pt>
                <c:pt idx="4108">
                  <c:v>1.5671232876712329</c:v>
                </c:pt>
                <c:pt idx="4109">
                  <c:v>1.5671232876712329</c:v>
                </c:pt>
                <c:pt idx="4110">
                  <c:v>#N/A</c:v>
                </c:pt>
                <c:pt idx="4111">
                  <c:v>#N/A</c:v>
                </c:pt>
                <c:pt idx="4112">
                  <c:v>#N/A</c:v>
                </c:pt>
                <c:pt idx="4113">
                  <c:v>1.5671232876712329</c:v>
                </c:pt>
                <c:pt idx="4114">
                  <c:v>#N/A</c:v>
                </c:pt>
                <c:pt idx="4115">
                  <c:v>#N/A</c:v>
                </c:pt>
                <c:pt idx="4116">
                  <c:v>1.5671232876712329</c:v>
                </c:pt>
                <c:pt idx="4117">
                  <c:v>1.5671232876712329</c:v>
                </c:pt>
                <c:pt idx="4118">
                  <c:v>#N/A</c:v>
                </c:pt>
                <c:pt idx="4119">
                  <c:v>1.5698630136986302</c:v>
                </c:pt>
                <c:pt idx="4120">
                  <c:v>#N/A</c:v>
                </c:pt>
                <c:pt idx="4121">
                  <c:v>1.5698630136986302</c:v>
                </c:pt>
                <c:pt idx="4122">
                  <c:v>#N/A</c:v>
                </c:pt>
                <c:pt idx="4123">
                  <c:v>#N/A</c:v>
                </c:pt>
                <c:pt idx="4124">
                  <c:v>#N/A</c:v>
                </c:pt>
                <c:pt idx="4125">
                  <c:v>1.5698630136986302</c:v>
                </c:pt>
                <c:pt idx="4126">
                  <c:v>#N/A</c:v>
                </c:pt>
                <c:pt idx="4127">
                  <c:v>#N/A</c:v>
                </c:pt>
                <c:pt idx="4128">
                  <c:v>1.5726027397260274</c:v>
                </c:pt>
                <c:pt idx="4129">
                  <c:v>#N/A</c:v>
                </c:pt>
                <c:pt idx="4130">
                  <c:v>#N/A</c:v>
                </c:pt>
                <c:pt idx="4131">
                  <c:v>#N/A</c:v>
                </c:pt>
                <c:pt idx="4132">
                  <c:v>#N/A</c:v>
                </c:pt>
                <c:pt idx="4133">
                  <c:v>1.5726027397260274</c:v>
                </c:pt>
                <c:pt idx="4134">
                  <c:v>#N/A</c:v>
                </c:pt>
                <c:pt idx="4135">
                  <c:v>#N/A</c:v>
                </c:pt>
                <c:pt idx="4136">
                  <c:v>#N/A</c:v>
                </c:pt>
                <c:pt idx="4137">
                  <c:v>1.5726027397260274</c:v>
                </c:pt>
                <c:pt idx="4138">
                  <c:v>#N/A</c:v>
                </c:pt>
                <c:pt idx="4139">
                  <c:v>#N/A</c:v>
                </c:pt>
                <c:pt idx="4140">
                  <c:v>#N/A</c:v>
                </c:pt>
                <c:pt idx="4141">
                  <c:v>1.5726027397260274</c:v>
                </c:pt>
                <c:pt idx="4142">
                  <c:v>1.5726027397260274</c:v>
                </c:pt>
                <c:pt idx="4143">
                  <c:v>#N/A</c:v>
                </c:pt>
                <c:pt idx="4144">
                  <c:v>#N/A</c:v>
                </c:pt>
                <c:pt idx="4145">
                  <c:v>#N/A</c:v>
                </c:pt>
                <c:pt idx="4146">
                  <c:v>1.5753424657534247</c:v>
                </c:pt>
                <c:pt idx="4147">
                  <c:v>#N/A</c:v>
                </c:pt>
                <c:pt idx="4148">
                  <c:v>#N/A</c:v>
                </c:pt>
                <c:pt idx="4149">
                  <c:v>1.5780821917808219</c:v>
                </c:pt>
                <c:pt idx="4150">
                  <c:v>#N/A</c:v>
                </c:pt>
                <c:pt idx="4151">
                  <c:v>1.5835616438356164</c:v>
                </c:pt>
                <c:pt idx="4152">
                  <c:v>#N/A</c:v>
                </c:pt>
                <c:pt idx="4153">
                  <c:v>#N/A</c:v>
                </c:pt>
                <c:pt idx="4154">
                  <c:v>#N/A</c:v>
                </c:pt>
                <c:pt idx="4155">
                  <c:v>#N/A</c:v>
                </c:pt>
                <c:pt idx="4156">
                  <c:v>1.5863013698630137</c:v>
                </c:pt>
                <c:pt idx="4157">
                  <c:v>1.5863013698630137</c:v>
                </c:pt>
                <c:pt idx="4158">
                  <c:v>#N/A</c:v>
                </c:pt>
                <c:pt idx="4159">
                  <c:v>#N/A</c:v>
                </c:pt>
                <c:pt idx="4160">
                  <c:v>#N/A</c:v>
                </c:pt>
                <c:pt idx="4161">
                  <c:v>#N/A</c:v>
                </c:pt>
                <c:pt idx="4162">
                  <c:v>#N/A</c:v>
                </c:pt>
                <c:pt idx="4163">
                  <c:v>#N/A</c:v>
                </c:pt>
                <c:pt idx="4164">
                  <c:v>#N/A</c:v>
                </c:pt>
                <c:pt idx="4165">
                  <c:v>#N/A</c:v>
                </c:pt>
                <c:pt idx="4166">
                  <c:v>#N/A</c:v>
                </c:pt>
                <c:pt idx="4167">
                  <c:v>#N/A</c:v>
                </c:pt>
                <c:pt idx="4168">
                  <c:v>#N/A</c:v>
                </c:pt>
                <c:pt idx="4169">
                  <c:v>#N/A</c:v>
                </c:pt>
                <c:pt idx="4170">
                  <c:v>1.5863013698630137</c:v>
                </c:pt>
                <c:pt idx="4171">
                  <c:v>#N/A</c:v>
                </c:pt>
                <c:pt idx="4172">
                  <c:v>1.5863013698630137</c:v>
                </c:pt>
                <c:pt idx="4173">
                  <c:v>#N/A</c:v>
                </c:pt>
                <c:pt idx="4174">
                  <c:v>#N/A</c:v>
                </c:pt>
                <c:pt idx="4175">
                  <c:v>1.5890410958904109</c:v>
                </c:pt>
                <c:pt idx="4176">
                  <c:v>#N/A</c:v>
                </c:pt>
                <c:pt idx="4177">
                  <c:v>#N/A</c:v>
                </c:pt>
                <c:pt idx="4178">
                  <c:v>1.5890410958904109</c:v>
                </c:pt>
                <c:pt idx="4179">
                  <c:v>#N/A</c:v>
                </c:pt>
                <c:pt idx="4180">
                  <c:v>#N/A</c:v>
                </c:pt>
                <c:pt idx="4181">
                  <c:v>1.5890410958904109</c:v>
                </c:pt>
                <c:pt idx="4182">
                  <c:v>#N/A</c:v>
                </c:pt>
                <c:pt idx="4183">
                  <c:v>#N/A</c:v>
                </c:pt>
                <c:pt idx="4184">
                  <c:v>#N/A</c:v>
                </c:pt>
                <c:pt idx="4185">
                  <c:v>#N/A</c:v>
                </c:pt>
                <c:pt idx="4186">
                  <c:v>#N/A</c:v>
                </c:pt>
                <c:pt idx="4187">
                  <c:v>#N/A</c:v>
                </c:pt>
                <c:pt idx="4188">
                  <c:v>1.5890410958904109</c:v>
                </c:pt>
                <c:pt idx="4189">
                  <c:v>#N/A</c:v>
                </c:pt>
                <c:pt idx="4190">
                  <c:v>#N/A</c:v>
                </c:pt>
                <c:pt idx="4191">
                  <c:v>#N/A</c:v>
                </c:pt>
                <c:pt idx="4192">
                  <c:v>#N/A</c:v>
                </c:pt>
                <c:pt idx="4193">
                  <c:v>#N/A</c:v>
                </c:pt>
                <c:pt idx="4194">
                  <c:v>#N/A</c:v>
                </c:pt>
                <c:pt idx="4195">
                  <c:v>#N/A</c:v>
                </c:pt>
                <c:pt idx="4196">
                  <c:v>#N/A</c:v>
                </c:pt>
                <c:pt idx="4197">
                  <c:v>1.5890410958904109</c:v>
                </c:pt>
                <c:pt idx="4198">
                  <c:v>#N/A</c:v>
                </c:pt>
                <c:pt idx="4199">
                  <c:v>#N/A</c:v>
                </c:pt>
                <c:pt idx="4200">
                  <c:v>#N/A</c:v>
                </c:pt>
                <c:pt idx="4201">
                  <c:v>#N/A</c:v>
                </c:pt>
                <c:pt idx="4202">
                  <c:v>#N/A</c:v>
                </c:pt>
                <c:pt idx="4203">
                  <c:v>1.5917808219178082</c:v>
                </c:pt>
                <c:pt idx="4204">
                  <c:v>1.5917808219178082</c:v>
                </c:pt>
                <c:pt idx="4205">
                  <c:v>#N/A</c:v>
                </c:pt>
                <c:pt idx="4206">
                  <c:v>1.5917808219178082</c:v>
                </c:pt>
                <c:pt idx="4207">
                  <c:v>#N/A</c:v>
                </c:pt>
                <c:pt idx="4208">
                  <c:v>#N/A</c:v>
                </c:pt>
                <c:pt idx="4209">
                  <c:v>#N/A</c:v>
                </c:pt>
                <c:pt idx="4210">
                  <c:v>1.5917808219178082</c:v>
                </c:pt>
                <c:pt idx="4211">
                  <c:v>1.5917808219178082</c:v>
                </c:pt>
                <c:pt idx="4212">
                  <c:v>#N/A</c:v>
                </c:pt>
                <c:pt idx="4213">
                  <c:v>#N/A</c:v>
                </c:pt>
                <c:pt idx="4214">
                  <c:v>#N/A</c:v>
                </c:pt>
                <c:pt idx="4215">
                  <c:v>#N/A</c:v>
                </c:pt>
                <c:pt idx="4216">
                  <c:v>1.5945205479452054</c:v>
                </c:pt>
                <c:pt idx="4217">
                  <c:v>1.5945205479452054</c:v>
                </c:pt>
                <c:pt idx="4218">
                  <c:v>#N/A</c:v>
                </c:pt>
                <c:pt idx="4219">
                  <c:v>1.5945205479452054</c:v>
                </c:pt>
                <c:pt idx="4220">
                  <c:v>#N/A</c:v>
                </c:pt>
                <c:pt idx="4221">
                  <c:v>#N/A</c:v>
                </c:pt>
                <c:pt idx="4222">
                  <c:v>#N/A</c:v>
                </c:pt>
                <c:pt idx="4223">
                  <c:v>1.5945205479452054</c:v>
                </c:pt>
                <c:pt idx="4224">
                  <c:v>#N/A</c:v>
                </c:pt>
                <c:pt idx="4225">
                  <c:v>#N/A</c:v>
                </c:pt>
                <c:pt idx="4226">
                  <c:v>1.5945205479452054</c:v>
                </c:pt>
                <c:pt idx="4227">
                  <c:v>1.5972602739726027</c:v>
                </c:pt>
                <c:pt idx="4228">
                  <c:v>1.5972602739726027</c:v>
                </c:pt>
                <c:pt idx="4229">
                  <c:v>1.5972602739726027</c:v>
                </c:pt>
                <c:pt idx="4230">
                  <c:v>#N/A</c:v>
                </c:pt>
                <c:pt idx="4231">
                  <c:v>#N/A</c:v>
                </c:pt>
                <c:pt idx="4232">
                  <c:v>#N/A</c:v>
                </c:pt>
                <c:pt idx="4233">
                  <c:v>#N/A</c:v>
                </c:pt>
                <c:pt idx="4234">
                  <c:v>1.6</c:v>
                </c:pt>
                <c:pt idx="4235">
                  <c:v>#N/A</c:v>
                </c:pt>
                <c:pt idx="4236">
                  <c:v>#N/A</c:v>
                </c:pt>
                <c:pt idx="4237">
                  <c:v>1.6</c:v>
                </c:pt>
                <c:pt idx="4238">
                  <c:v>#N/A</c:v>
                </c:pt>
                <c:pt idx="4239">
                  <c:v>#N/A</c:v>
                </c:pt>
                <c:pt idx="4240">
                  <c:v>#N/A</c:v>
                </c:pt>
                <c:pt idx="4241">
                  <c:v>#N/A</c:v>
                </c:pt>
                <c:pt idx="4242">
                  <c:v>#N/A</c:v>
                </c:pt>
                <c:pt idx="4243">
                  <c:v>#N/A</c:v>
                </c:pt>
                <c:pt idx="4244">
                  <c:v>#N/A</c:v>
                </c:pt>
                <c:pt idx="4245">
                  <c:v>#N/A</c:v>
                </c:pt>
                <c:pt idx="4246">
                  <c:v>#N/A</c:v>
                </c:pt>
                <c:pt idx="4247">
                  <c:v>#N/A</c:v>
                </c:pt>
                <c:pt idx="4248">
                  <c:v>#N/A</c:v>
                </c:pt>
                <c:pt idx="4249">
                  <c:v>#N/A</c:v>
                </c:pt>
                <c:pt idx="4250">
                  <c:v>1.6054794520547946</c:v>
                </c:pt>
                <c:pt idx="4251">
                  <c:v>1.6082191780821917</c:v>
                </c:pt>
                <c:pt idx="4252">
                  <c:v>1.6082191780821917</c:v>
                </c:pt>
                <c:pt idx="4253">
                  <c:v>#N/A</c:v>
                </c:pt>
                <c:pt idx="4254">
                  <c:v>#N/A</c:v>
                </c:pt>
                <c:pt idx="4255">
                  <c:v>#N/A</c:v>
                </c:pt>
                <c:pt idx="4256">
                  <c:v>1.6082191780821917</c:v>
                </c:pt>
                <c:pt idx="4257">
                  <c:v>#N/A</c:v>
                </c:pt>
                <c:pt idx="4258">
                  <c:v>#N/A</c:v>
                </c:pt>
                <c:pt idx="4259">
                  <c:v>1.6109589041095891</c:v>
                </c:pt>
                <c:pt idx="4260">
                  <c:v>1.6109589041095891</c:v>
                </c:pt>
                <c:pt idx="4261">
                  <c:v>#N/A</c:v>
                </c:pt>
                <c:pt idx="4262">
                  <c:v>#N/A</c:v>
                </c:pt>
                <c:pt idx="4263">
                  <c:v>#N/A</c:v>
                </c:pt>
                <c:pt idx="4264">
                  <c:v>#N/A</c:v>
                </c:pt>
                <c:pt idx="4265">
                  <c:v>#N/A</c:v>
                </c:pt>
                <c:pt idx="4266">
                  <c:v>#N/A</c:v>
                </c:pt>
                <c:pt idx="4267">
                  <c:v>#N/A</c:v>
                </c:pt>
                <c:pt idx="4268">
                  <c:v>#N/A</c:v>
                </c:pt>
                <c:pt idx="4269">
                  <c:v>#N/A</c:v>
                </c:pt>
                <c:pt idx="4270">
                  <c:v>#N/A</c:v>
                </c:pt>
                <c:pt idx="4271">
                  <c:v>#N/A</c:v>
                </c:pt>
                <c:pt idx="4272">
                  <c:v>#N/A</c:v>
                </c:pt>
                <c:pt idx="4273">
                  <c:v>#N/A</c:v>
                </c:pt>
                <c:pt idx="4274">
                  <c:v>#N/A</c:v>
                </c:pt>
                <c:pt idx="4275">
                  <c:v>#N/A</c:v>
                </c:pt>
                <c:pt idx="4276">
                  <c:v>#N/A</c:v>
                </c:pt>
                <c:pt idx="4277">
                  <c:v>#N/A</c:v>
                </c:pt>
                <c:pt idx="4278">
                  <c:v>1.6164383561643836</c:v>
                </c:pt>
                <c:pt idx="4279">
                  <c:v>#N/A</c:v>
                </c:pt>
                <c:pt idx="4280">
                  <c:v>1.6164383561643836</c:v>
                </c:pt>
                <c:pt idx="4281">
                  <c:v>#N/A</c:v>
                </c:pt>
                <c:pt idx="4282">
                  <c:v>1.6164383561643836</c:v>
                </c:pt>
                <c:pt idx="4283">
                  <c:v>1.6164383561643836</c:v>
                </c:pt>
                <c:pt idx="4284">
                  <c:v>#N/A</c:v>
                </c:pt>
                <c:pt idx="4285">
                  <c:v>#N/A</c:v>
                </c:pt>
                <c:pt idx="4286">
                  <c:v>#N/A</c:v>
                </c:pt>
                <c:pt idx="4287">
                  <c:v>1.6164383561643836</c:v>
                </c:pt>
                <c:pt idx="4288">
                  <c:v>1.6164383561643836</c:v>
                </c:pt>
                <c:pt idx="4289">
                  <c:v>#N/A</c:v>
                </c:pt>
                <c:pt idx="4290">
                  <c:v>#N/A</c:v>
                </c:pt>
                <c:pt idx="4291">
                  <c:v>1.6219178082191781</c:v>
                </c:pt>
                <c:pt idx="4292">
                  <c:v>1.6246575342465754</c:v>
                </c:pt>
                <c:pt idx="4293">
                  <c:v>#N/A</c:v>
                </c:pt>
                <c:pt idx="4294">
                  <c:v>#N/A</c:v>
                </c:pt>
                <c:pt idx="4295">
                  <c:v>1.6273972602739726</c:v>
                </c:pt>
                <c:pt idx="4296">
                  <c:v>1.6273972602739726</c:v>
                </c:pt>
                <c:pt idx="4297">
                  <c:v>#N/A</c:v>
                </c:pt>
                <c:pt idx="4298">
                  <c:v>#N/A</c:v>
                </c:pt>
                <c:pt idx="4299">
                  <c:v>#N/A</c:v>
                </c:pt>
                <c:pt idx="4300">
                  <c:v>1.6301369863013699</c:v>
                </c:pt>
                <c:pt idx="4301">
                  <c:v>#N/A</c:v>
                </c:pt>
                <c:pt idx="4302">
                  <c:v>1.6328767123287671</c:v>
                </c:pt>
                <c:pt idx="4303">
                  <c:v>#N/A</c:v>
                </c:pt>
                <c:pt idx="4304">
                  <c:v>#N/A</c:v>
                </c:pt>
                <c:pt idx="4305">
                  <c:v>#N/A</c:v>
                </c:pt>
                <c:pt idx="4306">
                  <c:v>#N/A</c:v>
                </c:pt>
                <c:pt idx="4307">
                  <c:v>1.6356164383561644</c:v>
                </c:pt>
                <c:pt idx="4308">
                  <c:v>1.6356164383561644</c:v>
                </c:pt>
                <c:pt idx="4309">
                  <c:v>#N/A</c:v>
                </c:pt>
                <c:pt idx="4310">
                  <c:v>1.6438356164383561</c:v>
                </c:pt>
                <c:pt idx="4311">
                  <c:v>#N/A</c:v>
                </c:pt>
                <c:pt idx="4312">
                  <c:v>#N/A</c:v>
                </c:pt>
                <c:pt idx="4313">
                  <c:v>#N/A</c:v>
                </c:pt>
                <c:pt idx="4314">
                  <c:v>#N/A</c:v>
                </c:pt>
                <c:pt idx="4315">
                  <c:v>#N/A</c:v>
                </c:pt>
                <c:pt idx="4316">
                  <c:v>#N/A</c:v>
                </c:pt>
                <c:pt idx="4317">
                  <c:v>1.6465753424657534</c:v>
                </c:pt>
                <c:pt idx="4318">
                  <c:v>#N/A</c:v>
                </c:pt>
                <c:pt idx="4319">
                  <c:v>#N/A</c:v>
                </c:pt>
                <c:pt idx="4320">
                  <c:v>#N/A</c:v>
                </c:pt>
                <c:pt idx="4321">
                  <c:v>1.6493150684931508</c:v>
                </c:pt>
                <c:pt idx="4322">
                  <c:v>#N/A</c:v>
                </c:pt>
                <c:pt idx="4323">
                  <c:v>1.6520547945205479</c:v>
                </c:pt>
                <c:pt idx="4324">
                  <c:v>#N/A</c:v>
                </c:pt>
                <c:pt idx="4325">
                  <c:v>1.6520547945205479</c:v>
                </c:pt>
                <c:pt idx="4326">
                  <c:v>1.6520547945205479</c:v>
                </c:pt>
                <c:pt idx="4327">
                  <c:v>#N/A</c:v>
                </c:pt>
                <c:pt idx="4328">
                  <c:v>#N/A</c:v>
                </c:pt>
                <c:pt idx="4329">
                  <c:v>#N/A</c:v>
                </c:pt>
                <c:pt idx="4330">
                  <c:v>#N/A</c:v>
                </c:pt>
                <c:pt idx="4331">
                  <c:v>#N/A</c:v>
                </c:pt>
                <c:pt idx="4332">
                  <c:v>#N/A</c:v>
                </c:pt>
                <c:pt idx="4333">
                  <c:v>#N/A</c:v>
                </c:pt>
                <c:pt idx="4334">
                  <c:v>1.6630136986301369</c:v>
                </c:pt>
                <c:pt idx="4335">
                  <c:v>#N/A</c:v>
                </c:pt>
                <c:pt idx="4336">
                  <c:v>1.6630136986301369</c:v>
                </c:pt>
                <c:pt idx="4337">
                  <c:v>#N/A</c:v>
                </c:pt>
                <c:pt idx="4338">
                  <c:v>1.6657534246575343</c:v>
                </c:pt>
                <c:pt idx="4339">
                  <c:v>#N/A</c:v>
                </c:pt>
                <c:pt idx="4340">
                  <c:v>#N/A</c:v>
                </c:pt>
                <c:pt idx="4341">
                  <c:v>1.6657534246575343</c:v>
                </c:pt>
                <c:pt idx="4342">
                  <c:v>1.6657534246575343</c:v>
                </c:pt>
                <c:pt idx="4343">
                  <c:v>#N/A</c:v>
                </c:pt>
                <c:pt idx="4344">
                  <c:v>#N/A</c:v>
                </c:pt>
                <c:pt idx="4345">
                  <c:v>#N/A</c:v>
                </c:pt>
                <c:pt idx="4346">
                  <c:v>#N/A</c:v>
                </c:pt>
                <c:pt idx="4347">
                  <c:v>#N/A</c:v>
                </c:pt>
                <c:pt idx="4348">
                  <c:v>1.6684931506849314</c:v>
                </c:pt>
                <c:pt idx="4349">
                  <c:v>#N/A</c:v>
                </c:pt>
                <c:pt idx="4350">
                  <c:v>#N/A</c:v>
                </c:pt>
                <c:pt idx="4351">
                  <c:v>1.6712328767123288</c:v>
                </c:pt>
                <c:pt idx="4352">
                  <c:v>1.6712328767123288</c:v>
                </c:pt>
                <c:pt idx="4353">
                  <c:v>#N/A</c:v>
                </c:pt>
                <c:pt idx="4354">
                  <c:v>1.6739726027397259</c:v>
                </c:pt>
                <c:pt idx="4355">
                  <c:v>#N/A</c:v>
                </c:pt>
                <c:pt idx="4356">
                  <c:v>1.6739726027397259</c:v>
                </c:pt>
                <c:pt idx="4357">
                  <c:v>#N/A</c:v>
                </c:pt>
                <c:pt idx="4358">
                  <c:v>#N/A</c:v>
                </c:pt>
                <c:pt idx="4359">
                  <c:v>#N/A</c:v>
                </c:pt>
                <c:pt idx="4360">
                  <c:v>#N/A</c:v>
                </c:pt>
                <c:pt idx="4361">
                  <c:v>#N/A</c:v>
                </c:pt>
                <c:pt idx="4362">
                  <c:v>1.6739726027397259</c:v>
                </c:pt>
                <c:pt idx="4363">
                  <c:v>#N/A</c:v>
                </c:pt>
                <c:pt idx="4364">
                  <c:v>#N/A</c:v>
                </c:pt>
                <c:pt idx="4365">
                  <c:v>#N/A</c:v>
                </c:pt>
                <c:pt idx="4366">
                  <c:v>#N/A</c:v>
                </c:pt>
                <c:pt idx="4367">
                  <c:v>#N/A</c:v>
                </c:pt>
                <c:pt idx="4368">
                  <c:v>#N/A</c:v>
                </c:pt>
                <c:pt idx="4369">
                  <c:v>#N/A</c:v>
                </c:pt>
                <c:pt idx="4370">
                  <c:v>1.6849315068493151</c:v>
                </c:pt>
                <c:pt idx="4371">
                  <c:v>1.6849315068493151</c:v>
                </c:pt>
                <c:pt idx="4372">
                  <c:v>#N/A</c:v>
                </c:pt>
                <c:pt idx="4373">
                  <c:v>1.6849315068493151</c:v>
                </c:pt>
                <c:pt idx="4374">
                  <c:v>1.6849315068493151</c:v>
                </c:pt>
                <c:pt idx="4375">
                  <c:v>#N/A</c:v>
                </c:pt>
                <c:pt idx="4376">
                  <c:v>1.6849315068493151</c:v>
                </c:pt>
                <c:pt idx="4377">
                  <c:v>#N/A</c:v>
                </c:pt>
                <c:pt idx="4378">
                  <c:v>1.6849315068493151</c:v>
                </c:pt>
                <c:pt idx="4379">
                  <c:v>#N/A</c:v>
                </c:pt>
                <c:pt idx="4380">
                  <c:v>1.6876712328767123</c:v>
                </c:pt>
                <c:pt idx="4381">
                  <c:v>1.6876712328767123</c:v>
                </c:pt>
                <c:pt idx="4382">
                  <c:v>#N/A</c:v>
                </c:pt>
                <c:pt idx="4383">
                  <c:v>1.6876712328767123</c:v>
                </c:pt>
                <c:pt idx="4384">
                  <c:v>#N/A</c:v>
                </c:pt>
                <c:pt idx="4385">
                  <c:v>1.6876712328767123</c:v>
                </c:pt>
                <c:pt idx="4386">
                  <c:v>1.6876712328767123</c:v>
                </c:pt>
                <c:pt idx="4387">
                  <c:v>1.6876712328767123</c:v>
                </c:pt>
                <c:pt idx="4388">
                  <c:v>#N/A</c:v>
                </c:pt>
                <c:pt idx="4389">
                  <c:v>1.6904109589041096</c:v>
                </c:pt>
                <c:pt idx="4390">
                  <c:v>1.6904109589041096</c:v>
                </c:pt>
                <c:pt idx="4391">
                  <c:v>1.6904109589041096</c:v>
                </c:pt>
                <c:pt idx="4392">
                  <c:v>#N/A</c:v>
                </c:pt>
                <c:pt idx="4393">
                  <c:v>#N/A</c:v>
                </c:pt>
                <c:pt idx="4394">
                  <c:v>#N/A</c:v>
                </c:pt>
                <c:pt idx="4395">
                  <c:v>#N/A</c:v>
                </c:pt>
                <c:pt idx="4396">
                  <c:v>#N/A</c:v>
                </c:pt>
                <c:pt idx="4397">
                  <c:v>1.7013698630136986</c:v>
                </c:pt>
                <c:pt idx="4398">
                  <c:v>1.7013698630136986</c:v>
                </c:pt>
                <c:pt idx="4399">
                  <c:v>1.7013698630136986</c:v>
                </c:pt>
                <c:pt idx="4400">
                  <c:v>#N/A</c:v>
                </c:pt>
                <c:pt idx="4401">
                  <c:v>1.704109589041096</c:v>
                </c:pt>
                <c:pt idx="4402">
                  <c:v>1.704109589041096</c:v>
                </c:pt>
                <c:pt idx="4403">
                  <c:v>#N/A</c:v>
                </c:pt>
                <c:pt idx="4404">
                  <c:v>1.704109589041096</c:v>
                </c:pt>
                <c:pt idx="4405">
                  <c:v>#N/A</c:v>
                </c:pt>
                <c:pt idx="4406">
                  <c:v>#N/A</c:v>
                </c:pt>
                <c:pt idx="4407">
                  <c:v>1.7068493150684931</c:v>
                </c:pt>
                <c:pt idx="4408">
                  <c:v>#N/A</c:v>
                </c:pt>
                <c:pt idx="4409">
                  <c:v>#N/A</c:v>
                </c:pt>
                <c:pt idx="4410">
                  <c:v>#N/A</c:v>
                </c:pt>
                <c:pt idx="4411">
                  <c:v>#N/A</c:v>
                </c:pt>
                <c:pt idx="4412">
                  <c:v>1.7095890410958905</c:v>
                </c:pt>
                <c:pt idx="4413">
                  <c:v>1.7095890410958905</c:v>
                </c:pt>
                <c:pt idx="4414">
                  <c:v>#N/A</c:v>
                </c:pt>
                <c:pt idx="4415">
                  <c:v>1.7095890410958905</c:v>
                </c:pt>
                <c:pt idx="4416">
                  <c:v>1.7095890410958905</c:v>
                </c:pt>
                <c:pt idx="4417">
                  <c:v>1.7095890410958905</c:v>
                </c:pt>
                <c:pt idx="4418">
                  <c:v>#N/A</c:v>
                </c:pt>
                <c:pt idx="4419">
                  <c:v>1.7095890410958905</c:v>
                </c:pt>
                <c:pt idx="4420">
                  <c:v>1.7095890410958905</c:v>
                </c:pt>
                <c:pt idx="4421">
                  <c:v>#N/A</c:v>
                </c:pt>
                <c:pt idx="4422">
                  <c:v>#N/A</c:v>
                </c:pt>
                <c:pt idx="4423">
                  <c:v>#N/A</c:v>
                </c:pt>
                <c:pt idx="4424">
                  <c:v>1.7095890410958905</c:v>
                </c:pt>
                <c:pt idx="4425">
                  <c:v>#N/A</c:v>
                </c:pt>
                <c:pt idx="4426">
                  <c:v>#N/A</c:v>
                </c:pt>
                <c:pt idx="4427">
                  <c:v>#N/A</c:v>
                </c:pt>
                <c:pt idx="4428">
                  <c:v>#N/A</c:v>
                </c:pt>
                <c:pt idx="4429">
                  <c:v>#N/A</c:v>
                </c:pt>
                <c:pt idx="4430">
                  <c:v>#N/A</c:v>
                </c:pt>
                <c:pt idx="4431">
                  <c:v>1.7232876712328766</c:v>
                </c:pt>
                <c:pt idx="4432">
                  <c:v>#N/A</c:v>
                </c:pt>
                <c:pt idx="4433">
                  <c:v>#N/A</c:v>
                </c:pt>
                <c:pt idx="4434">
                  <c:v>#N/A</c:v>
                </c:pt>
                <c:pt idx="4435">
                  <c:v>1.7232876712328766</c:v>
                </c:pt>
                <c:pt idx="4436">
                  <c:v>1.7232876712328766</c:v>
                </c:pt>
                <c:pt idx="4437">
                  <c:v>#N/A</c:v>
                </c:pt>
                <c:pt idx="4438">
                  <c:v>#N/A</c:v>
                </c:pt>
                <c:pt idx="4439">
                  <c:v>#N/A</c:v>
                </c:pt>
                <c:pt idx="4440">
                  <c:v>1.7287671232876711</c:v>
                </c:pt>
                <c:pt idx="4441">
                  <c:v>1.7287671232876711</c:v>
                </c:pt>
                <c:pt idx="4442">
                  <c:v>#N/A</c:v>
                </c:pt>
                <c:pt idx="4443">
                  <c:v>#N/A</c:v>
                </c:pt>
                <c:pt idx="4444">
                  <c:v>#N/A</c:v>
                </c:pt>
                <c:pt idx="4445">
                  <c:v>1.7287671232876711</c:v>
                </c:pt>
                <c:pt idx="4446">
                  <c:v>#N/A</c:v>
                </c:pt>
                <c:pt idx="4447">
                  <c:v>#N/A</c:v>
                </c:pt>
                <c:pt idx="4448">
                  <c:v>#N/A</c:v>
                </c:pt>
                <c:pt idx="4449">
                  <c:v>#N/A</c:v>
                </c:pt>
                <c:pt idx="4450">
                  <c:v>#N/A</c:v>
                </c:pt>
                <c:pt idx="4451">
                  <c:v>1.7287671232876711</c:v>
                </c:pt>
                <c:pt idx="4452">
                  <c:v>#N/A</c:v>
                </c:pt>
                <c:pt idx="4453">
                  <c:v>#N/A</c:v>
                </c:pt>
                <c:pt idx="4454">
                  <c:v>1.7287671232876711</c:v>
                </c:pt>
                <c:pt idx="4455">
                  <c:v>#N/A</c:v>
                </c:pt>
                <c:pt idx="4456">
                  <c:v>1.7287671232876711</c:v>
                </c:pt>
                <c:pt idx="4457">
                  <c:v>1.7287671232876711</c:v>
                </c:pt>
                <c:pt idx="4458">
                  <c:v>1.7287671232876711</c:v>
                </c:pt>
                <c:pt idx="4459">
                  <c:v>1.7315068493150685</c:v>
                </c:pt>
                <c:pt idx="4460">
                  <c:v>#N/A</c:v>
                </c:pt>
                <c:pt idx="4461">
                  <c:v>#N/A</c:v>
                </c:pt>
                <c:pt idx="4462">
                  <c:v>1.7315068493150685</c:v>
                </c:pt>
                <c:pt idx="4463">
                  <c:v>1.7315068493150685</c:v>
                </c:pt>
                <c:pt idx="4464">
                  <c:v>1.7315068493150685</c:v>
                </c:pt>
                <c:pt idx="4465">
                  <c:v>#N/A</c:v>
                </c:pt>
                <c:pt idx="4466">
                  <c:v>1.7315068493150685</c:v>
                </c:pt>
                <c:pt idx="4467">
                  <c:v>#N/A</c:v>
                </c:pt>
                <c:pt idx="4468">
                  <c:v>1.7315068493150685</c:v>
                </c:pt>
                <c:pt idx="4469">
                  <c:v>1.7315068493150685</c:v>
                </c:pt>
                <c:pt idx="4470">
                  <c:v>#N/A</c:v>
                </c:pt>
                <c:pt idx="4471">
                  <c:v>#N/A</c:v>
                </c:pt>
                <c:pt idx="4472">
                  <c:v>#N/A</c:v>
                </c:pt>
                <c:pt idx="4473">
                  <c:v>1.7315068493150685</c:v>
                </c:pt>
                <c:pt idx="4474">
                  <c:v>#N/A</c:v>
                </c:pt>
                <c:pt idx="4475">
                  <c:v>#N/A</c:v>
                </c:pt>
                <c:pt idx="4476">
                  <c:v>1.7315068493150685</c:v>
                </c:pt>
                <c:pt idx="4477">
                  <c:v>1.7315068493150685</c:v>
                </c:pt>
                <c:pt idx="4478">
                  <c:v>1.7315068493150685</c:v>
                </c:pt>
                <c:pt idx="4479">
                  <c:v>1.7342465753424658</c:v>
                </c:pt>
                <c:pt idx="4480">
                  <c:v>1.7397260273972603</c:v>
                </c:pt>
                <c:pt idx="4481">
                  <c:v>1.7397260273972603</c:v>
                </c:pt>
                <c:pt idx="4482">
                  <c:v>1.7397260273972603</c:v>
                </c:pt>
                <c:pt idx="4483">
                  <c:v>1.7397260273972603</c:v>
                </c:pt>
                <c:pt idx="4484">
                  <c:v>1.7397260273972603</c:v>
                </c:pt>
                <c:pt idx="4485">
                  <c:v>1.7397260273972603</c:v>
                </c:pt>
                <c:pt idx="4486">
                  <c:v>1.7397260273972603</c:v>
                </c:pt>
                <c:pt idx="4487">
                  <c:v>1.7397260273972603</c:v>
                </c:pt>
                <c:pt idx="4488">
                  <c:v>1.7397260273972603</c:v>
                </c:pt>
                <c:pt idx="4489">
                  <c:v>1.7397260273972603</c:v>
                </c:pt>
                <c:pt idx="4490">
                  <c:v>1.7397260273972603</c:v>
                </c:pt>
                <c:pt idx="4491">
                  <c:v>1.7397260273972603</c:v>
                </c:pt>
                <c:pt idx="4492">
                  <c:v>1.7397260273972603</c:v>
                </c:pt>
                <c:pt idx="4493">
                  <c:v>1.7397260273972603</c:v>
                </c:pt>
                <c:pt idx="4494">
                  <c:v>1.7397260273972603</c:v>
                </c:pt>
                <c:pt idx="4495">
                  <c:v>1.7397260273972603</c:v>
                </c:pt>
                <c:pt idx="4496">
                  <c:v>1.7397260273972603</c:v>
                </c:pt>
                <c:pt idx="4497">
                  <c:v>1.7397260273972603</c:v>
                </c:pt>
                <c:pt idx="4498">
                  <c:v>1.7397260273972603</c:v>
                </c:pt>
                <c:pt idx="4499">
                  <c:v>1.7397260273972603</c:v>
                </c:pt>
                <c:pt idx="4500">
                  <c:v>1.7397260273972603</c:v>
                </c:pt>
                <c:pt idx="4501">
                  <c:v>1.7397260273972603</c:v>
                </c:pt>
                <c:pt idx="4502">
                  <c:v>1.7397260273972603</c:v>
                </c:pt>
                <c:pt idx="4503">
                  <c:v>1.7397260273972603</c:v>
                </c:pt>
                <c:pt idx="4504">
                  <c:v>1.7397260273972603</c:v>
                </c:pt>
                <c:pt idx="4505">
                  <c:v>1.7397260273972603</c:v>
                </c:pt>
                <c:pt idx="4506">
                  <c:v>1.7397260273972603</c:v>
                </c:pt>
                <c:pt idx="4507">
                  <c:v>1.7397260273972603</c:v>
                </c:pt>
                <c:pt idx="4508">
                  <c:v>1.7397260273972603</c:v>
                </c:pt>
                <c:pt idx="4509">
                  <c:v>1.7397260273972603</c:v>
                </c:pt>
                <c:pt idx="4510">
                  <c:v>1.7397260273972603</c:v>
                </c:pt>
                <c:pt idx="4511">
                  <c:v>1.7397260273972603</c:v>
                </c:pt>
                <c:pt idx="4512">
                  <c:v>1.7397260273972603</c:v>
                </c:pt>
                <c:pt idx="4513">
                  <c:v>1.7397260273972603</c:v>
                </c:pt>
                <c:pt idx="4514">
                  <c:v>1.7397260273972603</c:v>
                </c:pt>
                <c:pt idx="4515">
                  <c:v>1.7397260273972603</c:v>
                </c:pt>
                <c:pt idx="4516">
                  <c:v>#N/A</c:v>
                </c:pt>
                <c:pt idx="4517">
                  <c:v>1.7397260273972603</c:v>
                </c:pt>
                <c:pt idx="4518">
                  <c:v>1.7397260273972603</c:v>
                </c:pt>
                <c:pt idx="4519">
                  <c:v>1.7397260273972603</c:v>
                </c:pt>
                <c:pt idx="4520">
                  <c:v>1.7397260273972603</c:v>
                </c:pt>
                <c:pt idx="4521">
                  <c:v>1.7397260273972603</c:v>
                </c:pt>
                <c:pt idx="4522">
                  <c:v>1.7397260273972603</c:v>
                </c:pt>
                <c:pt idx="4523">
                  <c:v>1.7397260273972603</c:v>
                </c:pt>
                <c:pt idx="4524">
                  <c:v>1.7397260273972603</c:v>
                </c:pt>
                <c:pt idx="4525">
                  <c:v>1.7397260273972603</c:v>
                </c:pt>
                <c:pt idx="4526">
                  <c:v>1.7397260273972603</c:v>
                </c:pt>
                <c:pt idx="4527">
                  <c:v>1.7397260273972603</c:v>
                </c:pt>
                <c:pt idx="4528">
                  <c:v>1.7397260273972603</c:v>
                </c:pt>
                <c:pt idx="4529">
                  <c:v>1.7397260273972603</c:v>
                </c:pt>
                <c:pt idx="4530">
                  <c:v>#N/A</c:v>
                </c:pt>
                <c:pt idx="4531">
                  <c:v>1.7397260273972603</c:v>
                </c:pt>
                <c:pt idx="4532">
                  <c:v>1.7397260273972603</c:v>
                </c:pt>
                <c:pt idx="4533">
                  <c:v>1.7397260273972603</c:v>
                </c:pt>
                <c:pt idx="4534">
                  <c:v>1.7397260273972603</c:v>
                </c:pt>
                <c:pt idx="4535">
                  <c:v>1.7397260273972603</c:v>
                </c:pt>
                <c:pt idx="4536">
                  <c:v>1.7397260273972603</c:v>
                </c:pt>
                <c:pt idx="4537">
                  <c:v>1.7397260273972603</c:v>
                </c:pt>
                <c:pt idx="4538">
                  <c:v>1.7397260273972603</c:v>
                </c:pt>
                <c:pt idx="4539">
                  <c:v>1.7397260273972603</c:v>
                </c:pt>
                <c:pt idx="4540">
                  <c:v>1.7397260273972603</c:v>
                </c:pt>
                <c:pt idx="4541">
                  <c:v>1.7424657534246575</c:v>
                </c:pt>
                <c:pt idx="4542">
                  <c:v>#N/A</c:v>
                </c:pt>
                <c:pt idx="4543">
                  <c:v>#N/A</c:v>
                </c:pt>
                <c:pt idx="4544">
                  <c:v>#N/A</c:v>
                </c:pt>
                <c:pt idx="4545">
                  <c:v>1.7452054794520548</c:v>
                </c:pt>
                <c:pt idx="4546">
                  <c:v>1.7452054794520548</c:v>
                </c:pt>
                <c:pt idx="4547">
                  <c:v>#N/A</c:v>
                </c:pt>
                <c:pt idx="4548">
                  <c:v>#N/A</c:v>
                </c:pt>
                <c:pt idx="4549">
                  <c:v>#N/A</c:v>
                </c:pt>
                <c:pt idx="4550">
                  <c:v>#N/A</c:v>
                </c:pt>
                <c:pt idx="4551">
                  <c:v>1.747945205479452</c:v>
                </c:pt>
                <c:pt idx="4552">
                  <c:v>#N/A</c:v>
                </c:pt>
                <c:pt idx="4553">
                  <c:v>#N/A</c:v>
                </c:pt>
                <c:pt idx="4554">
                  <c:v>1.747945205479452</c:v>
                </c:pt>
                <c:pt idx="4555">
                  <c:v>#N/A</c:v>
                </c:pt>
                <c:pt idx="4556">
                  <c:v>1.747945205479452</c:v>
                </c:pt>
                <c:pt idx="4557">
                  <c:v>1.747945205479452</c:v>
                </c:pt>
                <c:pt idx="4558">
                  <c:v>#N/A</c:v>
                </c:pt>
                <c:pt idx="4559">
                  <c:v>#N/A</c:v>
                </c:pt>
                <c:pt idx="4560">
                  <c:v>#N/A</c:v>
                </c:pt>
                <c:pt idx="4561">
                  <c:v>1.747945205479452</c:v>
                </c:pt>
                <c:pt idx="4562">
                  <c:v>1.7561643835616438</c:v>
                </c:pt>
                <c:pt idx="4563">
                  <c:v>#N/A</c:v>
                </c:pt>
                <c:pt idx="4564">
                  <c:v>1.7589041095890412</c:v>
                </c:pt>
                <c:pt idx="4565">
                  <c:v>1.7589041095890412</c:v>
                </c:pt>
                <c:pt idx="4566">
                  <c:v>1.7589041095890412</c:v>
                </c:pt>
                <c:pt idx="4567">
                  <c:v>1.7589041095890412</c:v>
                </c:pt>
                <c:pt idx="4568">
                  <c:v>#N/A</c:v>
                </c:pt>
                <c:pt idx="4569">
                  <c:v>1.7616438356164383</c:v>
                </c:pt>
                <c:pt idx="4570">
                  <c:v>1.7780821917808218</c:v>
                </c:pt>
                <c:pt idx="4571">
                  <c:v>#N/A</c:v>
                </c:pt>
                <c:pt idx="4572">
                  <c:v>#N/A</c:v>
                </c:pt>
                <c:pt idx="4573">
                  <c:v>#N/A</c:v>
                </c:pt>
                <c:pt idx="4574">
                  <c:v>#N/A</c:v>
                </c:pt>
                <c:pt idx="4575">
                  <c:v>1.7808219178082192</c:v>
                </c:pt>
                <c:pt idx="4576">
                  <c:v>#N/A</c:v>
                </c:pt>
                <c:pt idx="4577">
                  <c:v>1.7808219178082192</c:v>
                </c:pt>
                <c:pt idx="4578">
                  <c:v>1.7808219178082192</c:v>
                </c:pt>
                <c:pt idx="4579">
                  <c:v>1.7808219178082192</c:v>
                </c:pt>
                <c:pt idx="4580">
                  <c:v>1.7808219178082192</c:v>
                </c:pt>
                <c:pt idx="4581">
                  <c:v>1.7808219178082192</c:v>
                </c:pt>
                <c:pt idx="4582">
                  <c:v>#N/A</c:v>
                </c:pt>
                <c:pt idx="4583">
                  <c:v>1.7808219178082192</c:v>
                </c:pt>
                <c:pt idx="4584">
                  <c:v>#N/A</c:v>
                </c:pt>
                <c:pt idx="4585">
                  <c:v>#N/A</c:v>
                </c:pt>
                <c:pt idx="4586">
                  <c:v>#N/A</c:v>
                </c:pt>
                <c:pt idx="4587">
                  <c:v>#N/A</c:v>
                </c:pt>
                <c:pt idx="4588">
                  <c:v>#N/A</c:v>
                </c:pt>
                <c:pt idx="4589">
                  <c:v>#N/A</c:v>
                </c:pt>
                <c:pt idx="4590">
                  <c:v>#N/A</c:v>
                </c:pt>
                <c:pt idx="4591">
                  <c:v>#N/A</c:v>
                </c:pt>
                <c:pt idx="4592">
                  <c:v>#N/A</c:v>
                </c:pt>
                <c:pt idx="4593">
                  <c:v>#N/A</c:v>
                </c:pt>
                <c:pt idx="4594">
                  <c:v>#N/A</c:v>
                </c:pt>
                <c:pt idx="4595">
                  <c:v>#N/A</c:v>
                </c:pt>
                <c:pt idx="4596">
                  <c:v>#N/A</c:v>
                </c:pt>
                <c:pt idx="4597">
                  <c:v>#N/A</c:v>
                </c:pt>
                <c:pt idx="4598">
                  <c:v>#N/A</c:v>
                </c:pt>
                <c:pt idx="4599">
                  <c:v>1.8</c:v>
                </c:pt>
                <c:pt idx="4600">
                  <c:v>1.8</c:v>
                </c:pt>
                <c:pt idx="4601">
                  <c:v>1.8</c:v>
                </c:pt>
                <c:pt idx="4602">
                  <c:v>#N/A</c:v>
                </c:pt>
                <c:pt idx="4603">
                  <c:v>1.8</c:v>
                </c:pt>
                <c:pt idx="4604">
                  <c:v>#N/A</c:v>
                </c:pt>
                <c:pt idx="4605">
                  <c:v>#N/A</c:v>
                </c:pt>
                <c:pt idx="4606">
                  <c:v>1.8</c:v>
                </c:pt>
                <c:pt idx="4607">
                  <c:v>1.8027397260273972</c:v>
                </c:pt>
                <c:pt idx="4608">
                  <c:v>#N/A</c:v>
                </c:pt>
                <c:pt idx="4609">
                  <c:v>#N/A</c:v>
                </c:pt>
                <c:pt idx="4610">
                  <c:v>1.8027397260273972</c:v>
                </c:pt>
                <c:pt idx="4611">
                  <c:v>#N/A</c:v>
                </c:pt>
                <c:pt idx="4612">
                  <c:v>#N/A</c:v>
                </c:pt>
                <c:pt idx="4613">
                  <c:v>1.8082191780821917</c:v>
                </c:pt>
                <c:pt idx="4614">
                  <c:v>#N/A</c:v>
                </c:pt>
                <c:pt idx="4615">
                  <c:v>#N/A</c:v>
                </c:pt>
                <c:pt idx="4616">
                  <c:v>#N/A</c:v>
                </c:pt>
                <c:pt idx="4617">
                  <c:v>#N/A</c:v>
                </c:pt>
                <c:pt idx="4618">
                  <c:v>1.8164383561643835</c:v>
                </c:pt>
                <c:pt idx="4619">
                  <c:v>#N/A</c:v>
                </c:pt>
                <c:pt idx="4620">
                  <c:v>1.8164383561643835</c:v>
                </c:pt>
                <c:pt idx="4621">
                  <c:v>1.8164383561643835</c:v>
                </c:pt>
                <c:pt idx="4622">
                  <c:v>#N/A</c:v>
                </c:pt>
                <c:pt idx="4623">
                  <c:v>#N/A</c:v>
                </c:pt>
                <c:pt idx="4624">
                  <c:v>1.821917808219178</c:v>
                </c:pt>
                <c:pt idx="4625">
                  <c:v>#N/A</c:v>
                </c:pt>
                <c:pt idx="4626">
                  <c:v>#N/A</c:v>
                </c:pt>
                <c:pt idx="4627">
                  <c:v>1.821917808219178</c:v>
                </c:pt>
                <c:pt idx="4628">
                  <c:v>#N/A</c:v>
                </c:pt>
                <c:pt idx="4629">
                  <c:v>1.821917808219178</c:v>
                </c:pt>
                <c:pt idx="4630">
                  <c:v>#N/A</c:v>
                </c:pt>
                <c:pt idx="4631">
                  <c:v>#N/A</c:v>
                </c:pt>
                <c:pt idx="4632">
                  <c:v>1.821917808219178</c:v>
                </c:pt>
                <c:pt idx="4633">
                  <c:v>#N/A</c:v>
                </c:pt>
                <c:pt idx="4634">
                  <c:v>1.821917808219178</c:v>
                </c:pt>
                <c:pt idx="4635">
                  <c:v>#N/A</c:v>
                </c:pt>
                <c:pt idx="4636">
                  <c:v>#N/A</c:v>
                </c:pt>
                <c:pt idx="4637">
                  <c:v>#N/A</c:v>
                </c:pt>
                <c:pt idx="4638">
                  <c:v>1.821917808219178</c:v>
                </c:pt>
                <c:pt idx="4639">
                  <c:v>#N/A</c:v>
                </c:pt>
                <c:pt idx="4640">
                  <c:v>1.8246575342465754</c:v>
                </c:pt>
                <c:pt idx="4641">
                  <c:v>#N/A</c:v>
                </c:pt>
                <c:pt idx="4642">
                  <c:v>1.8246575342465754</c:v>
                </c:pt>
                <c:pt idx="4643">
                  <c:v>#N/A</c:v>
                </c:pt>
                <c:pt idx="4644">
                  <c:v>#N/A</c:v>
                </c:pt>
                <c:pt idx="4645">
                  <c:v>#N/A</c:v>
                </c:pt>
                <c:pt idx="4646">
                  <c:v>#N/A</c:v>
                </c:pt>
                <c:pt idx="4647">
                  <c:v>1.8410958904109589</c:v>
                </c:pt>
                <c:pt idx="4648">
                  <c:v>#N/A</c:v>
                </c:pt>
                <c:pt idx="4649">
                  <c:v>1.8410958904109589</c:v>
                </c:pt>
                <c:pt idx="4650">
                  <c:v>#N/A</c:v>
                </c:pt>
                <c:pt idx="4651">
                  <c:v>#N/A</c:v>
                </c:pt>
                <c:pt idx="4652">
                  <c:v>1.8410958904109589</c:v>
                </c:pt>
                <c:pt idx="4653">
                  <c:v>#N/A</c:v>
                </c:pt>
                <c:pt idx="4654">
                  <c:v>1.8410958904109589</c:v>
                </c:pt>
                <c:pt idx="4655">
                  <c:v>1.8438356164383563</c:v>
                </c:pt>
                <c:pt idx="4656">
                  <c:v>1.8438356164383563</c:v>
                </c:pt>
                <c:pt idx="4657">
                  <c:v>#N/A</c:v>
                </c:pt>
                <c:pt idx="4658">
                  <c:v>1.8438356164383563</c:v>
                </c:pt>
                <c:pt idx="4659">
                  <c:v>1.8438356164383563</c:v>
                </c:pt>
                <c:pt idx="4660">
                  <c:v>1.8438356164383563</c:v>
                </c:pt>
                <c:pt idx="4661">
                  <c:v>#N/A</c:v>
                </c:pt>
                <c:pt idx="4662">
                  <c:v>#N/A</c:v>
                </c:pt>
                <c:pt idx="4663">
                  <c:v>1.8547945205479452</c:v>
                </c:pt>
                <c:pt idx="4664">
                  <c:v>#N/A</c:v>
                </c:pt>
                <c:pt idx="4665">
                  <c:v>#N/A</c:v>
                </c:pt>
                <c:pt idx="4666">
                  <c:v>#N/A</c:v>
                </c:pt>
                <c:pt idx="4667">
                  <c:v>#N/A</c:v>
                </c:pt>
                <c:pt idx="4668">
                  <c:v>1.8602739726027397</c:v>
                </c:pt>
                <c:pt idx="4669">
                  <c:v>#N/A</c:v>
                </c:pt>
                <c:pt idx="4670">
                  <c:v>1.8602739726027397</c:v>
                </c:pt>
                <c:pt idx="4671">
                  <c:v>#N/A</c:v>
                </c:pt>
                <c:pt idx="4672">
                  <c:v>#N/A</c:v>
                </c:pt>
                <c:pt idx="4673">
                  <c:v>#N/A</c:v>
                </c:pt>
                <c:pt idx="4674">
                  <c:v>#N/A</c:v>
                </c:pt>
                <c:pt idx="4675">
                  <c:v>#N/A</c:v>
                </c:pt>
                <c:pt idx="4676">
                  <c:v>1.8630136986301369</c:v>
                </c:pt>
                <c:pt idx="4677">
                  <c:v>#N/A</c:v>
                </c:pt>
                <c:pt idx="4678">
                  <c:v>#N/A</c:v>
                </c:pt>
                <c:pt idx="4679">
                  <c:v>1.8630136986301369</c:v>
                </c:pt>
                <c:pt idx="4680">
                  <c:v>1.8684931506849316</c:v>
                </c:pt>
                <c:pt idx="4681">
                  <c:v>#N/A</c:v>
                </c:pt>
                <c:pt idx="4682">
                  <c:v>#N/A</c:v>
                </c:pt>
                <c:pt idx="4683">
                  <c:v>1.8684931506849316</c:v>
                </c:pt>
                <c:pt idx="4684">
                  <c:v>#N/A</c:v>
                </c:pt>
                <c:pt idx="4685">
                  <c:v>#N/A</c:v>
                </c:pt>
                <c:pt idx="4686">
                  <c:v>1.8739726027397261</c:v>
                </c:pt>
                <c:pt idx="4687">
                  <c:v>1.8739726027397261</c:v>
                </c:pt>
                <c:pt idx="4688">
                  <c:v>1.8739726027397261</c:v>
                </c:pt>
                <c:pt idx="4689">
                  <c:v>#N/A</c:v>
                </c:pt>
                <c:pt idx="4690">
                  <c:v>#N/A</c:v>
                </c:pt>
                <c:pt idx="4691">
                  <c:v>#N/A</c:v>
                </c:pt>
                <c:pt idx="4692">
                  <c:v>#N/A</c:v>
                </c:pt>
                <c:pt idx="4693">
                  <c:v>#N/A</c:v>
                </c:pt>
                <c:pt idx="4694">
                  <c:v>1.8767123287671232</c:v>
                </c:pt>
                <c:pt idx="4695">
                  <c:v>#N/A</c:v>
                </c:pt>
                <c:pt idx="4696">
                  <c:v>1.8821917808219177</c:v>
                </c:pt>
                <c:pt idx="4697">
                  <c:v>1.8821917808219177</c:v>
                </c:pt>
                <c:pt idx="4698">
                  <c:v>#N/A</c:v>
                </c:pt>
                <c:pt idx="4699">
                  <c:v>1.8821917808219177</c:v>
                </c:pt>
                <c:pt idx="4700">
                  <c:v>#N/A</c:v>
                </c:pt>
                <c:pt idx="4701">
                  <c:v>#N/A</c:v>
                </c:pt>
                <c:pt idx="4702">
                  <c:v>1.8821917808219177</c:v>
                </c:pt>
                <c:pt idx="4703">
                  <c:v>#N/A</c:v>
                </c:pt>
                <c:pt idx="4704">
                  <c:v>1.8821917808219177</c:v>
                </c:pt>
                <c:pt idx="4705">
                  <c:v>#N/A</c:v>
                </c:pt>
                <c:pt idx="4706">
                  <c:v>#N/A</c:v>
                </c:pt>
                <c:pt idx="4707">
                  <c:v>#N/A</c:v>
                </c:pt>
                <c:pt idx="4708">
                  <c:v>#N/A</c:v>
                </c:pt>
                <c:pt idx="4709">
                  <c:v>#N/A</c:v>
                </c:pt>
                <c:pt idx="4710">
                  <c:v>1.8821917808219177</c:v>
                </c:pt>
                <c:pt idx="4711">
                  <c:v>1.8821917808219177</c:v>
                </c:pt>
                <c:pt idx="4712">
                  <c:v>1.8821917808219177</c:v>
                </c:pt>
                <c:pt idx="4713">
                  <c:v>#N/A</c:v>
                </c:pt>
                <c:pt idx="4714">
                  <c:v>#N/A</c:v>
                </c:pt>
                <c:pt idx="4715">
                  <c:v>1.8821917808219177</c:v>
                </c:pt>
                <c:pt idx="4716">
                  <c:v>#N/A</c:v>
                </c:pt>
                <c:pt idx="4717">
                  <c:v>1.8821917808219177</c:v>
                </c:pt>
                <c:pt idx="4718">
                  <c:v>#N/A</c:v>
                </c:pt>
                <c:pt idx="4719">
                  <c:v>#N/A</c:v>
                </c:pt>
                <c:pt idx="4720">
                  <c:v>1.8849315068493151</c:v>
                </c:pt>
                <c:pt idx="4721">
                  <c:v>#N/A</c:v>
                </c:pt>
                <c:pt idx="4722">
                  <c:v>#N/A</c:v>
                </c:pt>
                <c:pt idx="4723">
                  <c:v>#N/A</c:v>
                </c:pt>
                <c:pt idx="4724">
                  <c:v>#N/A</c:v>
                </c:pt>
                <c:pt idx="4725">
                  <c:v>#N/A</c:v>
                </c:pt>
                <c:pt idx="4726">
                  <c:v>1.8958904109589041</c:v>
                </c:pt>
                <c:pt idx="4727">
                  <c:v>#N/A</c:v>
                </c:pt>
                <c:pt idx="4728">
                  <c:v>1.9013698630136986</c:v>
                </c:pt>
                <c:pt idx="4729">
                  <c:v>#N/A</c:v>
                </c:pt>
                <c:pt idx="4730">
                  <c:v>#N/A</c:v>
                </c:pt>
                <c:pt idx="4731">
                  <c:v>1.904109589041096</c:v>
                </c:pt>
                <c:pt idx="4732">
                  <c:v>1.904109589041096</c:v>
                </c:pt>
                <c:pt idx="4733">
                  <c:v>#N/A</c:v>
                </c:pt>
                <c:pt idx="4734">
                  <c:v>#N/A</c:v>
                </c:pt>
                <c:pt idx="4735">
                  <c:v>#N/A</c:v>
                </c:pt>
                <c:pt idx="4736">
                  <c:v>#N/A</c:v>
                </c:pt>
                <c:pt idx="4737">
                  <c:v>1.904109589041096</c:v>
                </c:pt>
                <c:pt idx="4738">
                  <c:v>#N/A</c:v>
                </c:pt>
                <c:pt idx="4739">
                  <c:v>1.904109589041096</c:v>
                </c:pt>
                <c:pt idx="4740">
                  <c:v>#N/A</c:v>
                </c:pt>
                <c:pt idx="4741">
                  <c:v>#N/A</c:v>
                </c:pt>
                <c:pt idx="4742">
                  <c:v>#N/A</c:v>
                </c:pt>
                <c:pt idx="4743">
                  <c:v>1.904109589041096</c:v>
                </c:pt>
                <c:pt idx="4744">
                  <c:v>1.904109589041096</c:v>
                </c:pt>
                <c:pt idx="4745">
                  <c:v>1.904109589041096</c:v>
                </c:pt>
                <c:pt idx="4746">
                  <c:v>#N/A</c:v>
                </c:pt>
                <c:pt idx="4747">
                  <c:v>1.9123287671232876</c:v>
                </c:pt>
                <c:pt idx="4748">
                  <c:v>#N/A</c:v>
                </c:pt>
                <c:pt idx="4749">
                  <c:v>#N/A</c:v>
                </c:pt>
                <c:pt idx="4750">
                  <c:v>1.9123287671232876</c:v>
                </c:pt>
                <c:pt idx="4751">
                  <c:v>#N/A</c:v>
                </c:pt>
                <c:pt idx="4752">
                  <c:v>1.9178082191780821</c:v>
                </c:pt>
                <c:pt idx="4753">
                  <c:v>1.9178082191780821</c:v>
                </c:pt>
                <c:pt idx="4754">
                  <c:v>#N/A</c:v>
                </c:pt>
                <c:pt idx="4755">
                  <c:v>#N/A</c:v>
                </c:pt>
                <c:pt idx="4756">
                  <c:v>1.9178082191780821</c:v>
                </c:pt>
                <c:pt idx="4757">
                  <c:v>#N/A</c:v>
                </c:pt>
                <c:pt idx="4758">
                  <c:v>#N/A</c:v>
                </c:pt>
                <c:pt idx="4759">
                  <c:v>#N/A</c:v>
                </c:pt>
                <c:pt idx="4760">
                  <c:v>1.9369863013698629</c:v>
                </c:pt>
                <c:pt idx="4761">
                  <c:v>#N/A</c:v>
                </c:pt>
                <c:pt idx="4762">
                  <c:v>1.9369863013698629</c:v>
                </c:pt>
                <c:pt idx="4763">
                  <c:v>#N/A</c:v>
                </c:pt>
                <c:pt idx="4764">
                  <c:v>1.9369863013698629</c:v>
                </c:pt>
                <c:pt idx="4765">
                  <c:v>#N/A</c:v>
                </c:pt>
                <c:pt idx="4766">
                  <c:v>#N/A</c:v>
                </c:pt>
                <c:pt idx="4767">
                  <c:v>#N/A</c:v>
                </c:pt>
                <c:pt idx="4768">
                  <c:v>1.9397260273972603</c:v>
                </c:pt>
                <c:pt idx="4769">
                  <c:v>#N/A</c:v>
                </c:pt>
                <c:pt idx="4770">
                  <c:v>#N/A</c:v>
                </c:pt>
                <c:pt idx="4771">
                  <c:v>#N/A</c:v>
                </c:pt>
                <c:pt idx="4772">
                  <c:v>1.9424657534246574</c:v>
                </c:pt>
                <c:pt idx="4773">
                  <c:v>#N/A</c:v>
                </c:pt>
                <c:pt idx="4774">
                  <c:v>#N/A</c:v>
                </c:pt>
                <c:pt idx="4775">
                  <c:v>#N/A</c:v>
                </c:pt>
                <c:pt idx="4776">
                  <c:v>1.9424657534246574</c:v>
                </c:pt>
                <c:pt idx="4777">
                  <c:v>#N/A</c:v>
                </c:pt>
                <c:pt idx="4778">
                  <c:v>1.9534246575342467</c:v>
                </c:pt>
                <c:pt idx="4779">
                  <c:v>#N/A</c:v>
                </c:pt>
                <c:pt idx="4780">
                  <c:v>1.9589041095890412</c:v>
                </c:pt>
                <c:pt idx="4781">
                  <c:v>#N/A</c:v>
                </c:pt>
                <c:pt idx="4782">
                  <c:v>1.9589041095890412</c:v>
                </c:pt>
                <c:pt idx="4783">
                  <c:v>#N/A</c:v>
                </c:pt>
                <c:pt idx="4784">
                  <c:v>#N/A</c:v>
                </c:pt>
                <c:pt idx="4785">
                  <c:v>1.9589041095890412</c:v>
                </c:pt>
                <c:pt idx="4786">
                  <c:v>#N/A</c:v>
                </c:pt>
                <c:pt idx="4787">
                  <c:v>1.9589041095890412</c:v>
                </c:pt>
                <c:pt idx="4788">
                  <c:v>#N/A</c:v>
                </c:pt>
                <c:pt idx="4789">
                  <c:v>1.9616438356164383</c:v>
                </c:pt>
                <c:pt idx="4790">
                  <c:v>#N/A</c:v>
                </c:pt>
                <c:pt idx="4791">
                  <c:v>1.9698630136986301</c:v>
                </c:pt>
                <c:pt idx="4792">
                  <c:v>1.9698630136986301</c:v>
                </c:pt>
                <c:pt idx="4793">
                  <c:v>#N/A</c:v>
                </c:pt>
                <c:pt idx="4794">
                  <c:v>#N/A</c:v>
                </c:pt>
                <c:pt idx="4795">
                  <c:v>1.9698630136986301</c:v>
                </c:pt>
                <c:pt idx="4796">
                  <c:v>#N/A</c:v>
                </c:pt>
                <c:pt idx="4797">
                  <c:v>#N/A</c:v>
                </c:pt>
                <c:pt idx="4798">
                  <c:v>#N/A</c:v>
                </c:pt>
                <c:pt idx="4799">
                  <c:v>1.989041095890411</c:v>
                </c:pt>
                <c:pt idx="4800">
                  <c:v>#N/A</c:v>
                </c:pt>
                <c:pt idx="4801">
                  <c:v>#N/A</c:v>
                </c:pt>
                <c:pt idx="4802">
                  <c:v>#N/A</c:v>
                </c:pt>
                <c:pt idx="4803">
                  <c:v>#N/A</c:v>
                </c:pt>
                <c:pt idx="4804">
                  <c:v>#N/A</c:v>
                </c:pt>
                <c:pt idx="4805">
                  <c:v>#N/A</c:v>
                </c:pt>
                <c:pt idx="4806">
                  <c:v>1.9917808219178081</c:v>
                </c:pt>
                <c:pt idx="4807">
                  <c:v>1.9917808219178081</c:v>
                </c:pt>
                <c:pt idx="4808">
                  <c:v>1.9917808219178081</c:v>
                </c:pt>
                <c:pt idx="4809">
                  <c:v>1.9945205479452055</c:v>
                </c:pt>
                <c:pt idx="4810">
                  <c:v>1.9945205479452055</c:v>
                </c:pt>
                <c:pt idx="4811">
                  <c:v>1.9945205479452055</c:v>
                </c:pt>
                <c:pt idx="4812">
                  <c:v>#N/A</c:v>
                </c:pt>
                <c:pt idx="4813">
                  <c:v>1.9972602739726026</c:v>
                </c:pt>
                <c:pt idx="4814">
                  <c:v>1.9972602739726026</c:v>
                </c:pt>
                <c:pt idx="4815">
                  <c:v>1.9972602739726026</c:v>
                </c:pt>
                <c:pt idx="4816">
                  <c:v>1.9972602739726026</c:v>
                </c:pt>
                <c:pt idx="4817">
                  <c:v>#N/A</c:v>
                </c:pt>
                <c:pt idx="4818">
                  <c:v>#N/A</c:v>
                </c:pt>
                <c:pt idx="4819">
                  <c:v>#N/A</c:v>
                </c:pt>
                <c:pt idx="4820">
                  <c:v>#N/A</c:v>
                </c:pt>
                <c:pt idx="4821">
                  <c:v>#N/A</c:v>
                </c:pt>
                <c:pt idx="4822">
                  <c:v>#N/A</c:v>
                </c:pt>
                <c:pt idx="4823">
                  <c:v>#N/A</c:v>
                </c:pt>
                <c:pt idx="4824">
                  <c:v>2</c:v>
                </c:pt>
                <c:pt idx="4825">
                  <c:v>#N/A</c:v>
                </c:pt>
                <c:pt idx="4826">
                  <c:v>#N/A</c:v>
                </c:pt>
                <c:pt idx="4827">
                  <c:v>2.0082191780821916</c:v>
                </c:pt>
                <c:pt idx="4828">
                  <c:v>2.0082191780821916</c:v>
                </c:pt>
                <c:pt idx="4829">
                  <c:v>#N/A</c:v>
                </c:pt>
                <c:pt idx="4830">
                  <c:v>2.0082191780821916</c:v>
                </c:pt>
                <c:pt idx="4831">
                  <c:v>#N/A</c:v>
                </c:pt>
                <c:pt idx="4832">
                  <c:v>2.0082191780821916</c:v>
                </c:pt>
                <c:pt idx="4833">
                  <c:v>#N/A</c:v>
                </c:pt>
                <c:pt idx="4834">
                  <c:v>2.010958904109589</c:v>
                </c:pt>
                <c:pt idx="4835">
                  <c:v>2.010958904109589</c:v>
                </c:pt>
                <c:pt idx="4836">
                  <c:v>#N/A</c:v>
                </c:pt>
                <c:pt idx="4837">
                  <c:v>#N/A</c:v>
                </c:pt>
                <c:pt idx="4838">
                  <c:v>#N/A</c:v>
                </c:pt>
                <c:pt idx="4839">
                  <c:v>#N/A</c:v>
                </c:pt>
                <c:pt idx="4840">
                  <c:v>2.0136986301369864</c:v>
                </c:pt>
                <c:pt idx="4841">
                  <c:v>#N/A</c:v>
                </c:pt>
                <c:pt idx="4842">
                  <c:v>2.0136986301369864</c:v>
                </c:pt>
                <c:pt idx="4843">
                  <c:v>#N/A</c:v>
                </c:pt>
                <c:pt idx="4844">
                  <c:v>2.0136986301369864</c:v>
                </c:pt>
                <c:pt idx="4845">
                  <c:v>#N/A</c:v>
                </c:pt>
                <c:pt idx="4846">
                  <c:v>#N/A</c:v>
                </c:pt>
                <c:pt idx="4847">
                  <c:v>#N/A</c:v>
                </c:pt>
                <c:pt idx="4848">
                  <c:v>#N/A</c:v>
                </c:pt>
                <c:pt idx="4849">
                  <c:v>#N/A</c:v>
                </c:pt>
                <c:pt idx="4850">
                  <c:v>#N/A</c:v>
                </c:pt>
                <c:pt idx="4851">
                  <c:v>#N/A</c:v>
                </c:pt>
                <c:pt idx="4852">
                  <c:v>#N/A</c:v>
                </c:pt>
                <c:pt idx="4853">
                  <c:v>#N/A</c:v>
                </c:pt>
                <c:pt idx="4854">
                  <c:v>#N/A</c:v>
                </c:pt>
                <c:pt idx="4855">
                  <c:v>#N/A</c:v>
                </c:pt>
                <c:pt idx="4856">
                  <c:v>#N/A</c:v>
                </c:pt>
                <c:pt idx="4857">
                  <c:v>2.0164383561643837</c:v>
                </c:pt>
                <c:pt idx="4858">
                  <c:v>#N/A</c:v>
                </c:pt>
                <c:pt idx="4859">
                  <c:v>#N/A</c:v>
                </c:pt>
                <c:pt idx="4860">
                  <c:v>#N/A</c:v>
                </c:pt>
                <c:pt idx="4861">
                  <c:v>#N/A</c:v>
                </c:pt>
                <c:pt idx="4862">
                  <c:v>2.0164383561643837</c:v>
                </c:pt>
                <c:pt idx="4863">
                  <c:v>2.0164383561643837</c:v>
                </c:pt>
                <c:pt idx="4864">
                  <c:v>#N/A</c:v>
                </c:pt>
                <c:pt idx="4865">
                  <c:v>#N/A</c:v>
                </c:pt>
                <c:pt idx="4866">
                  <c:v>#N/A</c:v>
                </c:pt>
                <c:pt idx="4867">
                  <c:v>2.0164383561643837</c:v>
                </c:pt>
                <c:pt idx="4868">
                  <c:v>#N/A</c:v>
                </c:pt>
                <c:pt idx="4869">
                  <c:v>#N/A</c:v>
                </c:pt>
                <c:pt idx="4870">
                  <c:v>#N/A</c:v>
                </c:pt>
                <c:pt idx="4871">
                  <c:v>2.0273972602739727</c:v>
                </c:pt>
                <c:pt idx="4872">
                  <c:v>2.0273972602739727</c:v>
                </c:pt>
                <c:pt idx="4873">
                  <c:v>2.0301369863013701</c:v>
                </c:pt>
                <c:pt idx="4874">
                  <c:v>#N/A</c:v>
                </c:pt>
                <c:pt idx="4875">
                  <c:v>#N/A</c:v>
                </c:pt>
                <c:pt idx="4876">
                  <c:v>2.0301369863013701</c:v>
                </c:pt>
                <c:pt idx="4877">
                  <c:v>#N/A</c:v>
                </c:pt>
                <c:pt idx="4878">
                  <c:v>#N/A</c:v>
                </c:pt>
                <c:pt idx="4879">
                  <c:v>#N/A</c:v>
                </c:pt>
                <c:pt idx="4880">
                  <c:v>#N/A</c:v>
                </c:pt>
                <c:pt idx="4881">
                  <c:v>2.032876712328767</c:v>
                </c:pt>
                <c:pt idx="4882">
                  <c:v>#N/A</c:v>
                </c:pt>
                <c:pt idx="4883">
                  <c:v>2.032876712328767</c:v>
                </c:pt>
                <c:pt idx="4884">
                  <c:v>#N/A</c:v>
                </c:pt>
                <c:pt idx="4885">
                  <c:v>#N/A</c:v>
                </c:pt>
                <c:pt idx="4886">
                  <c:v>#N/A</c:v>
                </c:pt>
                <c:pt idx="4887">
                  <c:v>#N/A</c:v>
                </c:pt>
                <c:pt idx="4888">
                  <c:v>2.032876712328767</c:v>
                </c:pt>
                <c:pt idx="4889">
                  <c:v>2.032876712328767</c:v>
                </c:pt>
                <c:pt idx="4890">
                  <c:v>#N/A</c:v>
                </c:pt>
                <c:pt idx="4891">
                  <c:v>#N/A</c:v>
                </c:pt>
                <c:pt idx="4892">
                  <c:v>#N/A</c:v>
                </c:pt>
                <c:pt idx="4893">
                  <c:v>#N/A</c:v>
                </c:pt>
                <c:pt idx="4894">
                  <c:v>2.032876712328767</c:v>
                </c:pt>
                <c:pt idx="4895">
                  <c:v>#N/A</c:v>
                </c:pt>
                <c:pt idx="4896">
                  <c:v>#N/A</c:v>
                </c:pt>
                <c:pt idx="4897">
                  <c:v>#N/A</c:v>
                </c:pt>
                <c:pt idx="4898">
                  <c:v>#N/A</c:v>
                </c:pt>
                <c:pt idx="4899">
                  <c:v>#N/A</c:v>
                </c:pt>
                <c:pt idx="4900">
                  <c:v>#N/A</c:v>
                </c:pt>
                <c:pt idx="4901">
                  <c:v>#N/A</c:v>
                </c:pt>
                <c:pt idx="4902">
                  <c:v>#N/A</c:v>
                </c:pt>
                <c:pt idx="4903">
                  <c:v>2.0356164383561643</c:v>
                </c:pt>
                <c:pt idx="4904">
                  <c:v>#N/A</c:v>
                </c:pt>
                <c:pt idx="4905">
                  <c:v>#N/A</c:v>
                </c:pt>
                <c:pt idx="4906">
                  <c:v>#N/A</c:v>
                </c:pt>
                <c:pt idx="4907">
                  <c:v>#N/A</c:v>
                </c:pt>
                <c:pt idx="4908">
                  <c:v>#N/A</c:v>
                </c:pt>
                <c:pt idx="4909">
                  <c:v>#N/A</c:v>
                </c:pt>
                <c:pt idx="4910">
                  <c:v>#N/A</c:v>
                </c:pt>
                <c:pt idx="4911">
                  <c:v>#N/A</c:v>
                </c:pt>
                <c:pt idx="4912">
                  <c:v>#N/A</c:v>
                </c:pt>
                <c:pt idx="4913">
                  <c:v>#N/A</c:v>
                </c:pt>
                <c:pt idx="4914">
                  <c:v>#N/A</c:v>
                </c:pt>
                <c:pt idx="4915">
                  <c:v>#N/A</c:v>
                </c:pt>
                <c:pt idx="4916">
                  <c:v>#N/A</c:v>
                </c:pt>
                <c:pt idx="4917">
                  <c:v>#N/A</c:v>
                </c:pt>
                <c:pt idx="4918">
                  <c:v>#N/A</c:v>
                </c:pt>
                <c:pt idx="4919">
                  <c:v>#N/A</c:v>
                </c:pt>
                <c:pt idx="4920">
                  <c:v>#N/A</c:v>
                </c:pt>
                <c:pt idx="4921">
                  <c:v>#N/A</c:v>
                </c:pt>
                <c:pt idx="4922">
                  <c:v>#N/A</c:v>
                </c:pt>
                <c:pt idx="4923">
                  <c:v>#N/A</c:v>
                </c:pt>
                <c:pt idx="4924">
                  <c:v>#N/A</c:v>
                </c:pt>
                <c:pt idx="4925">
                  <c:v>#N/A</c:v>
                </c:pt>
                <c:pt idx="4926">
                  <c:v>#N/A</c:v>
                </c:pt>
                <c:pt idx="4927">
                  <c:v>#N/A</c:v>
                </c:pt>
                <c:pt idx="4928">
                  <c:v>#N/A</c:v>
                </c:pt>
                <c:pt idx="4929">
                  <c:v>#N/A</c:v>
                </c:pt>
                <c:pt idx="4930">
                  <c:v>2.0493150684931507</c:v>
                </c:pt>
                <c:pt idx="4931">
                  <c:v>#N/A</c:v>
                </c:pt>
                <c:pt idx="4932">
                  <c:v>2.0493150684931507</c:v>
                </c:pt>
                <c:pt idx="4933">
                  <c:v>2.0493150684931507</c:v>
                </c:pt>
                <c:pt idx="4934">
                  <c:v>2.0493150684931507</c:v>
                </c:pt>
                <c:pt idx="4935">
                  <c:v>2.0493150684931507</c:v>
                </c:pt>
                <c:pt idx="4936">
                  <c:v>2.0493150684931507</c:v>
                </c:pt>
                <c:pt idx="4937">
                  <c:v>2.0493150684931507</c:v>
                </c:pt>
                <c:pt idx="4938">
                  <c:v>2.0493150684931507</c:v>
                </c:pt>
                <c:pt idx="4939">
                  <c:v>2.0493150684931507</c:v>
                </c:pt>
                <c:pt idx="4940">
                  <c:v>#N/A</c:v>
                </c:pt>
                <c:pt idx="4941">
                  <c:v>#N/A</c:v>
                </c:pt>
                <c:pt idx="4942">
                  <c:v>2.0493150684931507</c:v>
                </c:pt>
                <c:pt idx="4943">
                  <c:v>#N/A</c:v>
                </c:pt>
                <c:pt idx="4944">
                  <c:v>#N/A</c:v>
                </c:pt>
                <c:pt idx="4945">
                  <c:v>#N/A</c:v>
                </c:pt>
                <c:pt idx="4946">
                  <c:v>2.0493150684931507</c:v>
                </c:pt>
                <c:pt idx="4947">
                  <c:v>#N/A</c:v>
                </c:pt>
                <c:pt idx="4948">
                  <c:v>#N/A</c:v>
                </c:pt>
                <c:pt idx="4949">
                  <c:v>2.0493150684931507</c:v>
                </c:pt>
                <c:pt idx="4950">
                  <c:v>#N/A</c:v>
                </c:pt>
                <c:pt idx="4951">
                  <c:v>2.0493150684931507</c:v>
                </c:pt>
                <c:pt idx="4952">
                  <c:v>2.0493150684931507</c:v>
                </c:pt>
                <c:pt idx="4953">
                  <c:v>2.0493150684931507</c:v>
                </c:pt>
                <c:pt idx="4954">
                  <c:v>#N/A</c:v>
                </c:pt>
                <c:pt idx="4955">
                  <c:v>2.0493150684931507</c:v>
                </c:pt>
                <c:pt idx="4956">
                  <c:v>#N/A</c:v>
                </c:pt>
                <c:pt idx="4957">
                  <c:v>2.0493150684931507</c:v>
                </c:pt>
                <c:pt idx="4958">
                  <c:v>2.0493150684931507</c:v>
                </c:pt>
                <c:pt idx="4959">
                  <c:v>2.0493150684931507</c:v>
                </c:pt>
                <c:pt idx="4960">
                  <c:v>#N/A</c:v>
                </c:pt>
                <c:pt idx="4961">
                  <c:v>#N/A</c:v>
                </c:pt>
                <c:pt idx="4962">
                  <c:v>2.0493150684931507</c:v>
                </c:pt>
                <c:pt idx="4963">
                  <c:v>2.0493150684931507</c:v>
                </c:pt>
                <c:pt idx="4964">
                  <c:v>#N/A</c:v>
                </c:pt>
                <c:pt idx="4965">
                  <c:v>#N/A</c:v>
                </c:pt>
                <c:pt idx="4966">
                  <c:v>#N/A</c:v>
                </c:pt>
                <c:pt idx="4967">
                  <c:v>2.0493150684931507</c:v>
                </c:pt>
                <c:pt idx="4968">
                  <c:v>#N/A</c:v>
                </c:pt>
                <c:pt idx="4969">
                  <c:v>#N/A</c:v>
                </c:pt>
                <c:pt idx="4970">
                  <c:v>2.0493150684931507</c:v>
                </c:pt>
                <c:pt idx="4971">
                  <c:v>2.0493150684931507</c:v>
                </c:pt>
                <c:pt idx="4972">
                  <c:v>2.0493150684931507</c:v>
                </c:pt>
                <c:pt idx="4973">
                  <c:v>2.0493150684931507</c:v>
                </c:pt>
                <c:pt idx="4974">
                  <c:v>#N/A</c:v>
                </c:pt>
                <c:pt idx="4975">
                  <c:v>#N/A</c:v>
                </c:pt>
                <c:pt idx="4976">
                  <c:v>2.0493150684931507</c:v>
                </c:pt>
                <c:pt idx="4977">
                  <c:v>2.0493150684931507</c:v>
                </c:pt>
                <c:pt idx="4978">
                  <c:v>#N/A</c:v>
                </c:pt>
                <c:pt idx="4979">
                  <c:v>2.0493150684931507</c:v>
                </c:pt>
                <c:pt idx="4980">
                  <c:v>2.0493150684931507</c:v>
                </c:pt>
                <c:pt idx="4981">
                  <c:v>2.0493150684931507</c:v>
                </c:pt>
                <c:pt idx="4982">
                  <c:v>#N/A</c:v>
                </c:pt>
                <c:pt idx="4983">
                  <c:v>2.0493150684931507</c:v>
                </c:pt>
                <c:pt idx="4984">
                  <c:v>#N/A</c:v>
                </c:pt>
                <c:pt idx="4985">
                  <c:v>2.0493150684931507</c:v>
                </c:pt>
                <c:pt idx="4986">
                  <c:v>2.0493150684931507</c:v>
                </c:pt>
                <c:pt idx="4987">
                  <c:v>2.0493150684931507</c:v>
                </c:pt>
                <c:pt idx="4988">
                  <c:v>2.0493150684931507</c:v>
                </c:pt>
                <c:pt idx="4989">
                  <c:v>2.0493150684931507</c:v>
                </c:pt>
                <c:pt idx="4990">
                  <c:v>#N/A</c:v>
                </c:pt>
                <c:pt idx="4991">
                  <c:v>#N/A</c:v>
                </c:pt>
                <c:pt idx="4992">
                  <c:v>#N/A</c:v>
                </c:pt>
                <c:pt idx="4993">
                  <c:v>#N/A</c:v>
                </c:pt>
                <c:pt idx="4994">
                  <c:v>#N/A</c:v>
                </c:pt>
                <c:pt idx="4995">
                  <c:v>2.0493150684931507</c:v>
                </c:pt>
                <c:pt idx="4996">
                  <c:v>#N/A</c:v>
                </c:pt>
                <c:pt idx="4997">
                  <c:v>#N/A</c:v>
                </c:pt>
                <c:pt idx="4998">
                  <c:v>2.0493150684931507</c:v>
                </c:pt>
                <c:pt idx="4999">
                  <c:v>2.0493150684931507</c:v>
                </c:pt>
                <c:pt idx="5000">
                  <c:v>#N/A</c:v>
                </c:pt>
                <c:pt idx="5001">
                  <c:v>2.0493150684931507</c:v>
                </c:pt>
                <c:pt idx="5002">
                  <c:v>#N/A</c:v>
                </c:pt>
                <c:pt idx="5003">
                  <c:v>2.0493150684931507</c:v>
                </c:pt>
                <c:pt idx="5004">
                  <c:v>2.0493150684931507</c:v>
                </c:pt>
                <c:pt idx="5005">
                  <c:v>#N/A</c:v>
                </c:pt>
                <c:pt idx="5006">
                  <c:v>#N/A</c:v>
                </c:pt>
                <c:pt idx="5007">
                  <c:v>#N/A</c:v>
                </c:pt>
                <c:pt idx="5008">
                  <c:v>2.0493150684931507</c:v>
                </c:pt>
                <c:pt idx="5009">
                  <c:v>#N/A</c:v>
                </c:pt>
                <c:pt idx="5010">
                  <c:v>2.0493150684931507</c:v>
                </c:pt>
                <c:pt idx="5011">
                  <c:v>2.0493150684931507</c:v>
                </c:pt>
                <c:pt idx="5012">
                  <c:v>2.0493150684931507</c:v>
                </c:pt>
                <c:pt idx="5013">
                  <c:v>#N/A</c:v>
                </c:pt>
                <c:pt idx="5014">
                  <c:v>2.0493150684931507</c:v>
                </c:pt>
                <c:pt idx="5015">
                  <c:v>2.0493150684931507</c:v>
                </c:pt>
                <c:pt idx="5016">
                  <c:v>#N/A</c:v>
                </c:pt>
                <c:pt idx="5017">
                  <c:v>2.0493150684931507</c:v>
                </c:pt>
                <c:pt idx="5018">
                  <c:v>#N/A</c:v>
                </c:pt>
                <c:pt idx="5019">
                  <c:v>#N/A</c:v>
                </c:pt>
                <c:pt idx="5020">
                  <c:v>2.0493150684931507</c:v>
                </c:pt>
                <c:pt idx="5021">
                  <c:v>#N/A</c:v>
                </c:pt>
                <c:pt idx="5022">
                  <c:v>2.0493150684931507</c:v>
                </c:pt>
                <c:pt idx="5023">
                  <c:v>2.0493150684931507</c:v>
                </c:pt>
                <c:pt idx="5024">
                  <c:v>2.0493150684931507</c:v>
                </c:pt>
                <c:pt idx="5025">
                  <c:v>2.0493150684931507</c:v>
                </c:pt>
                <c:pt idx="5026">
                  <c:v>#N/A</c:v>
                </c:pt>
                <c:pt idx="5027">
                  <c:v>2.0493150684931507</c:v>
                </c:pt>
                <c:pt idx="5028">
                  <c:v>2.0493150684931507</c:v>
                </c:pt>
                <c:pt idx="5029">
                  <c:v>2.0493150684931507</c:v>
                </c:pt>
                <c:pt idx="5030">
                  <c:v>2.0493150684931507</c:v>
                </c:pt>
                <c:pt idx="5031">
                  <c:v>2.0493150684931507</c:v>
                </c:pt>
                <c:pt idx="5032">
                  <c:v>#N/A</c:v>
                </c:pt>
                <c:pt idx="5033">
                  <c:v>2.0493150684931507</c:v>
                </c:pt>
                <c:pt idx="5034">
                  <c:v>#N/A</c:v>
                </c:pt>
                <c:pt idx="5035">
                  <c:v>2.0493150684931507</c:v>
                </c:pt>
                <c:pt idx="5036">
                  <c:v>2.0493150684931507</c:v>
                </c:pt>
                <c:pt idx="5037">
                  <c:v>2.0493150684931507</c:v>
                </c:pt>
                <c:pt idx="5038">
                  <c:v>2.0493150684931507</c:v>
                </c:pt>
                <c:pt idx="5039">
                  <c:v>2.0493150684931507</c:v>
                </c:pt>
                <c:pt idx="5040">
                  <c:v>2.0493150684931507</c:v>
                </c:pt>
                <c:pt idx="5041">
                  <c:v>#N/A</c:v>
                </c:pt>
                <c:pt idx="5042">
                  <c:v>2.0493150684931507</c:v>
                </c:pt>
                <c:pt idx="5043">
                  <c:v>2.0493150684931507</c:v>
                </c:pt>
                <c:pt idx="5044">
                  <c:v>2.0493150684931507</c:v>
                </c:pt>
                <c:pt idx="5045">
                  <c:v>#N/A</c:v>
                </c:pt>
                <c:pt idx="5046">
                  <c:v>2.0493150684931507</c:v>
                </c:pt>
                <c:pt idx="5047">
                  <c:v>2.0493150684931507</c:v>
                </c:pt>
                <c:pt idx="5048">
                  <c:v>2.0493150684931507</c:v>
                </c:pt>
                <c:pt idx="5049">
                  <c:v>#N/A</c:v>
                </c:pt>
                <c:pt idx="5050">
                  <c:v>2.0493150684931507</c:v>
                </c:pt>
                <c:pt idx="5051">
                  <c:v>2.0493150684931507</c:v>
                </c:pt>
                <c:pt idx="5052">
                  <c:v>2.0493150684931507</c:v>
                </c:pt>
                <c:pt idx="5053">
                  <c:v>2.0493150684931507</c:v>
                </c:pt>
                <c:pt idx="5054">
                  <c:v>#N/A</c:v>
                </c:pt>
                <c:pt idx="5055">
                  <c:v>2.0493150684931507</c:v>
                </c:pt>
                <c:pt idx="5056">
                  <c:v>2.0493150684931507</c:v>
                </c:pt>
                <c:pt idx="5057">
                  <c:v>2.0493150684931507</c:v>
                </c:pt>
                <c:pt idx="5058">
                  <c:v>#N/A</c:v>
                </c:pt>
                <c:pt idx="5059">
                  <c:v>#N/A</c:v>
                </c:pt>
                <c:pt idx="5060">
                  <c:v>2.0493150684931507</c:v>
                </c:pt>
                <c:pt idx="5061">
                  <c:v>2.0493150684931507</c:v>
                </c:pt>
                <c:pt idx="5062">
                  <c:v>#N/A</c:v>
                </c:pt>
                <c:pt idx="5063">
                  <c:v>2.0493150684931507</c:v>
                </c:pt>
                <c:pt idx="5064">
                  <c:v>#N/A</c:v>
                </c:pt>
                <c:pt idx="5065">
                  <c:v>2.0493150684931507</c:v>
                </c:pt>
                <c:pt idx="5066">
                  <c:v>#N/A</c:v>
                </c:pt>
                <c:pt idx="5067">
                  <c:v>2.0493150684931507</c:v>
                </c:pt>
                <c:pt idx="5068">
                  <c:v>#N/A</c:v>
                </c:pt>
                <c:pt idx="5069">
                  <c:v>#N/A</c:v>
                </c:pt>
                <c:pt idx="5070">
                  <c:v>#N/A</c:v>
                </c:pt>
                <c:pt idx="5071">
                  <c:v>2.0493150684931507</c:v>
                </c:pt>
                <c:pt idx="5072">
                  <c:v>2.0493150684931507</c:v>
                </c:pt>
                <c:pt idx="5073">
                  <c:v>2.0493150684931507</c:v>
                </c:pt>
                <c:pt idx="5074">
                  <c:v>2.0493150684931507</c:v>
                </c:pt>
                <c:pt idx="5075">
                  <c:v>#N/A</c:v>
                </c:pt>
                <c:pt idx="5076">
                  <c:v>#N/A</c:v>
                </c:pt>
                <c:pt idx="5077">
                  <c:v>#N/A</c:v>
                </c:pt>
                <c:pt idx="5078">
                  <c:v>#N/A</c:v>
                </c:pt>
                <c:pt idx="5079">
                  <c:v>#N/A</c:v>
                </c:pt>
                <c:pt idx="5080">
                  <c:v>#N/A</c:v>
                </c:pt>
                <c:pt idx="5081">
                  <c:v>#N/A</c:v>
                </c:pt>
                <c:pt idx="5082">
                  <c:v>2.0493150684931507</c:v>
                </c:pt>
                <c:pt idx="5083">
                  <c:v>2.0493150684931507</c:v>
                </c:pt>
                <c:pt idx="5084">
                  <c:v>#N/A</c:v>
                </c:pt>
                <c:pt idx="5085">
                  <c:v>2.0493150684931507</c:v>
                </c:pt>
                <c:pt idx="5086">
                  <c:v>#N/A</c:v>
                </c:pt>
                <c:pt idx="5087">
                  <c:v>#N/A</c:v>
                </c:pt>
                <c:pt idx="5088">
                  <c:v>2.0493150684931507</c:v>
                </c:pt>
                <c:pt idx="5089">
                  <c:v>#N/A</c:v>
                </c:pt>
                <c:pt idx="5090">
                  <c:v>#N/A</c:v>
                </c:pt>
                <c:pt idx="5091">
                  <c:v>#N/A</c:v>
                </c:pt>
                <c:pt idx="5092">
                  <c:v>2.0493150684931507</c:v>
                </c:pt>
                <c:pt idx="5093">
                  <c:v>2.0493150684931507</c:v>
                </c:pt>
                <c:pt idx="5094">
                  <c:v>#N/A</c:v>
                </c:pt>
                <c:pt idx="5095">
                  <c:v>2.0493150684931507</c:v>
                </c:pt>
                <c:pt idx="5096">
                  <c:v>2.0493150684931507</c:v>
                </c:pt>
                <c:pt idx="5097">
                  <c:v>#N/A</c:v>
                </c:pt>
                <c:pt idx="5098">
                  <c:v>2.0493150684931507</c:v>
                </c:pt>
                <c:pt idx="5099">
                  <c:v>2.0493150684931507</c:v>
                </c:pt>
                <c:pt idx="5100">
                  <c:v>#N/A</c:v>
                </c:pt>
                <c:pt idx="5101">
                  <c:v>2.0493150684931507</c:v>
                </c:pt>
                <c:pt idx="5102">
                  <c:v>2.0493150684931507</c:v>
                </c:pt>
                <c:pt idx="5103">
                  <c:v>#N/A</c:v>
                </c:pt>
                <c:pt idx="5104">
                  <c:v>2.0493150684931507</c:v>
                </c:pt>
                <c:pt idx="5105">
                  <c:v>2.0493150684931507</c:v>
                </c:pt>
                <c:pt idx="5106">
                  <c:v>#N/A</c:v>
                </c:pt>
                <c:pt idx="5107">
                  <c:v>2.0493150684931507</c:v>
                </c:pt>
                <c:pt idx="5108">
                  <c:v>2.0493150684931507</c:v>
                </c:pt>
                <c:pt idx="5109">
                  <c:v>2.0493150684931507</c:v>
                </c:pt>
                <c:pt idx="5110">
                  <c:v>2.0493150684931507</c:v>
                </c:pt>
                <c:pt idx="5111">
                  <c:v>#N/A</c:v>
                </c:pt>
                <c:pt idx="5112">
                  <c:v>#N/A</c:v>
                </c:pt>
                <c:pt idx="5113">
                  <c:v>#N/A</c:v>
                </c:pt>
                <c:pt idx="5114">
                  <c:v>#N/A</c:v>
                </c:pt>
                <c:pt idx="5115">
                  <c:v>2.0493150684931507</c:v>
                </c:pt>
                <c:pt idx="5116">
                  <c:v>2.0493150684931507</c:v>
                </c:pt>
                <c:pt idx="5117">
                  <c:v>#N/A</c:v>
                </c:pt>
                <c:pt idx="5118">
                  <c:v>2.0493150684931507</c:v>
                </c:pt>
                <c:pt idx="5119">
                  <c:v>#N/A</c:v>
                </c:pt>
                <c:pt idx="5120">
                  <c:v>2.0493150684931507</c:v>
                </c:pt>
                <c:pt idx="5121">
                  <c:v>#N/A</c:v>
                </c:pt>
                <c:pt idx="5122">
                  <c:v>#N/A</c:v>
                </c:pt>
                <c:pt idx="5123">
                  <c:v>2.0493150684931507</c:v>
                </c:pt>
                <c:pt idx="5124">
                  <c:v>#N/A</c:v>
                </c:pt>
                <c:pt idx="5125">
                  <c:v>2.0493150684931507</c:v>
                </c:pt>
                <c:pt idx="5126">
                  <c:v>2.0493150684931507</c:v>
                </c:pt>
                <c:pt idx="5127">
                  <c:v>#N/A</c:v>
                </c:pt>
                <c:pt idx="5128">
                  <c:v>2.0493150684931507</c:v>
                </c:pt>
                <c:pt idx="5129">
                  <c:v>2.0493150684931507</c:v>
                </c:pt>
                <c:pt idx="5130">
                  <c:v>2.0493150684931507</c:v>
                </c:pt>
                <c:pt idx="5131">
                  <c:v>2.0493150684931507</c:v>
                </c:pt>
                <c:pt idx="5132">
                  <c:v>2.0493150684931507</c:v>
                </c:pt>
                <c:pt idx="5133">
                  <c:v>2.0493150684931507</c:v>
                </c:pt>
                <c:pt idx="5134">
                  <c:v>2.0493150684931507</c:v>
                </c:pt>
                <c:pt idx="5135">
                  <c:v>#N/A</c:v>
                </c:pt>
                <c:pt idx="5136">
                  <c:v>2.0493150684931507</c:v>
                </c:pt>
                <c:pt idx="5137">
                  <c:v>#N/A</c:v>
                </c:pt>
                <c:pt idx="5138">
                  <c:v>2.0493150684931507</c:v>
                </c:pt>
                <c:pt idx="5139">
                  <c:v>2.0493150684931507</c:v>
                </c:pt>
                <c:pt idx="5140">
                  <c:v>2.0493150684931507</c:v>
                </c:pt>
                <c:pt idx="5141">
                  <c:v>2.0493150684931507</c:v>
                </c:pt>
                <c:pt idx="5142">
                  <c:v>2.0493150684931507</c:v>
                </c:pt>
                <c:pt idx="5143">
                  <c:v>2.0493150684931507</c:v>
                </c:pt>
                <c:pt idx="5144">
                  <c:v>#N/A</c:v>
                </c:pt>
                <c:pt idx="5145">
                  <c:v>#N/A</c:v>
                </c:pt>
                <c:pt idx="5146">
                  <c:v>#N/A</c:v>
                </c:pt>
                <c:pt idx="5147">
                  <c:v>2.0493150684931507</c:v>
                </c:pt>
                <c:pt idx="5148">
                  <c:v>2.0493150684931507</c:v>
                </c:pt>
                <c:pt idx="5149">
                  <c:v>2.0493150684931507</c:v>
                </c:pt>
                <c:pt idx="5150">
                  <c:v>#N/A</c:v>
                </c:pt>
                <c:pt idx="5151">
                  <c:v>#N/A</c:v>
                </c:pt>
                <c:pt idx="5152">
                  <c:v>#N/A</c:v>
                </c:pt>
                <c:pt idx="5153">
                  <c:v>#N/A</c:v>
                </c:pt>
                <c:pt idx="5154">
                  <c:v>#N/A</c:v>
                </c:pt>
                <c:pt idx="5155">
                  <c:v>#N/A</c:v>
                </c:pt>
                <c:pt idx="5156">
                  <c:v>2.0493150684931507</c:v>
                </c:pt>
                <c:pt idx="5157">
                  <c:v>#N/A</c:v>
                </c:pt>
                <c:pt idx="5158">
                  <c:v>2.0493150684931507</c:v>
                </c:pt>
                <c:pt idx="5159">
                  <c:v>#N/A</c:v>
                </c:pt>
                <c:pt idx="5160">
                  <c:v>#N/A</c:v>
                </c:pt>
                <c:pt idx="5161">
                  <c:v>#N/A</c:v>
                </c:pt>
                <c:pt idx="5162">
                  <c:v>2.0493150684931507</c:v>
                </c:pt>
                <c:pt idx="5163">
                  <c:v>2.0493150684931507</c:v>
                </c:pt>
                <c:pt idx="5164">
                  <c:v>2.0493150684931507</c:v>
                </c:pt>
                <c:pt idx="5165">
                  <c:v>#N/A</c:v>
                </c:pt>
                <c:pt idx="5166">
                  <c:v>2.0493150684931507</c:v>
                </c:pt>
                <c:pt idx="5167">
                  <c:v>#N/A</c:v>
                </c:pt>
                <c:pt idx="5168">
                  <c:v>#N/A</c:v>
                </c:pt>
                <c:pt idx="5169">
                  <c:v>2.0493150684931507</c:v>
                </c:pt>
                <c:pt idx="5170">
                  <c:v>2.0493150684931507</c:v>
                </c:pt>
                <c:pt idx="5171">
                  <c:v>2.0493150684931507</c:v>
                </c:pt>
                <c:pt idx="5172">
                  <c:v>#N/A</c:v>
                </c:pt>
                <c:pt idx="5173">
                  <c:v>2.0493150684931507</c:v>
                </c:pt>
                <c:pt idx="5174">
                  <c:v>2.0493150684931507</c:v>
                </c:pt>
                <c:pt idx="5175">
                  <c:v>2.0493150684931507</c:v>
                </c:pt>
                <c:pt idx="5176">
                  <c:v>#N/A</c:v>
                </c:pt>
                <c:pt idx="5177">
                  <c:v>#N/A</c:v>
                </c:pt>
                <c:pt idx="5178">
                  <c:v>#N/A</c:v>
                </c:pt>
                <c:pt idx="5179">
                  <c:v>2.0493150684931507</c:v>
                </c:pt>
                <c:pt idx="5180">
                  <c:v>2.0493150684931507</c:v>
                </c:pt>
                <c:pt idx="5181">
                  <c:v>2.0493150684931507</c:v>
                </c:pt>
                <c:pt idx="5182">
                  <c:v>#N/A</c:v>
                </c:pt>
                <c:pt idx="5183">
                  <c:v>2.0493150684931507</c:v>
                </c:pt>
                <c:pt idx="5184">
                  <c:v>#N/A</c:v>
                </c:pt>
                <c:pt idx="5185">
                  <c:v>#N/A</c:v>
                </c:pt>
                <c:pt idx="5186">
                  <c:v>#N/A</c:v>
                </c:pt>
                <c:pt idx="5187">
                  <c:v>#N/A</c:v>
                </c:pt>
                <c:pt idx="5188">
                  <c:v>2.0493150684931507</c:v>
                </c:pt>
                <c:pt idx="5189">
                  <c:v>2.0493150684931507</c:v>
                </c:pt>
                <c:pt idx="5190">
                  <c:v>#N/A</c:v>
                </c:pt>
                <c:pt idx="5191">
                  <c:v>2.0493150684931507</c:v>
                </c:pt>
                <c:pt idx="5192">
                  <c:v>2.0493150684931507</c:v>
                </c:pt>
                <c:pt idx="5193">
                  <c:v>2.0493150684931507</c:v>
                </c:pt>
                <c:pt idx="5194">
                  <c:v>#N/A</c:v>
                </c:pt>
                <c:pt idx="5195">
                  <c:v>#N/A</c:v>
                </c:pt>
                <c:pt idx="5196">
                  <c:v>#N/A</c:v>
                </c:pt>
                <c:pt idx="5197">
                  <c:v>#N/A</c:v>
                </c:pt>
                <c:pt idx="5198">
                  <c:v>2.0493150684931507</c:v>
                </c:pt>
                <c:pt idx="5199">
                  <c:v>#N/A</c:v>
                </c:pt>
                <c:pt idx="5200">
                  <c:v>2.0493150684931507</c:v>
                </c:pt>
                <c:pt idx="5201">
                  <c:v>2.0493150684931507</c:v>
                </c:pt>
                <c:pt idx="5202">
                  <c:v>2.0493150684931507</c:v>
                </c:pt>
                <c:pt idx="5203">
                  <c:v>2.0493150684931507</c:v>
                </c:pt>
                <c:pt idx="5204">
                  <c:v>#N/A</c:v>
                </c:pt>
                <c:pt idx="5205">
                  <c:v>#N/A</c:v>
                </c:pt>
                <c:pt idx="5206">
                  <c:v>#N/A</c:v>
                </c:pt>
                <c:pt idx="5207">
                  <c:v>#N/A</c:v>
                </c:pt>
                <c:pt idx="5208">
                  <c:v>#N/A</c:v>
                </c:pt>
                <c:pt idx="5209">
                  <c:v>2.0493150684931507</c:v>
                </c:pt>
                <c:pt idx="5210">
                  <c:v>#N/A</c:v>
                </c:pt>
                <c:pt idx="5211">
                  <c:v>#N/A</c:v>
                </c:pt>
                <c:pt idx="5212">
                  <c:v>#N/A</c:v>
                </c:pt>
                <c:pt idx="5213">
                  <c:v>#N/A</c:v>
                </c:pt>
                <c:pt idx="5214">
                  <c:v>2.0493150684931507</c:v>
                </c:pt>
                <c:pt idx="5215">
                  <c:v>#N/A</c:v>
                </c:pt>
                <c:pt idx="5216">
                  <c:v>#N/A</c:v>
                </c:pt>
                <c:pt idx="5217">
                  <c:v>#N/A</c:v>
                </c:pt>
                <c:pt idx="5218">
                  <c:v>2.0493150684931507</c:v>
                </c:pt>
                <c:pt idx="5219">
                  <c:v>#N/A</c:v>
                </c:pt>
                <c:pt idx="5220">
                  <c:v>2.0493150684931507</c:v>
                </c:pt>
                <c:pt idx="5221">
                  <c:v>#N/A</c:v>
                </c:pt>
                <c:pt idx="5222">
                  <c:v>2.0493150684931507</c:v>
                </c:pt>
                <c:pt idx="5223">
                  <c:v>2.0493150684931507</c:v>
                </c:pt>
                <c:pt idx="5224">
                  <c:v>2.0493150684931507</c:v>
                </c:pt>
                <c:pt idx="5225">
                  <c:v>#N/A</c:v>
                </c:pt>
                <c:pt idx="5226">
                  <c:v>#N/A</c:v>
                </c:pt>
                <c:pt idx="5227">
                  <c:v>#N/A</c:v>
                </c:pt>
                <c:pt idx="5228">
                  <c:v>#N/A</c:v>
                </c:pt>
                <c:pt idx="5229">
                  <c:v>#N/A</c:v>
                </c:pt>
                <c:pt idx="5230">
                  <c:v>2.0493150684931507</c:v>
                </c:pt>
                <c:pt idx="5231">
                  <c:v>2.0493150684931507</c:v>
                </c:pt>
                <c:pt idx="5232">
                  <c:v>2.0493150684931507</c:v>
                </c:pt>
                <c:pt idx="5233">
                  <c:v>#N/A</c:v>
                </c:pt>
                <c:pt idx="5234">
                  <c:v>#N/A</c:v>
                </c:pt>
                <c:pt idx="5235">
                  <c:v>#N/A</c:v>
                </c:pt>
                <c:pt idx="5236">
                  <c:v>2.0493150684931507</c:v>
                </c:pt>
                <c:pt idx="5237">
                  <c:v>#N/A</c:v>
                </c:pt>
                <c:pt idx="5238">
                  <c:v>#N/A</c:v>
                </c:pt>
                <c:pt idx="5239">
                  <c:v>2.0493150684931507</c:v>
                </c:pt>
                <c:pt idx="5240">
                  <c:v>#N/A</c:v>
                </c:pt>
                <c:pt idx="5241">
                  <c:v>#N/A</c:v>
                </c:pt>
                <c:pt idx="5242">
                  <c:v>2.0493150684931507</c:v>
                </c:pt>
                <c:pt idx="5243">
                  <c:v>2.0493150684931507</c:v>
                </c:pt>
                <c:pt idx="5244">
                  <c:v>#N/A</c:v>
                </c:pt>
                <c:pt idx="5245">
                  <c:v>2.0493150684931507</c:v>
                </c:pt>
                <c:pt idx="5246">
                  <c:v>#N/A</c:v>
                </c:pt>
                <c:pt idx="5247">
                  <c:v>2.0493150684931507</c:v>
                </c:pt>
                <c:pt idx="5248">
                  <c:v>2.0493150684931507</c:v>
                </c:pt>
                <c:pt idx="5249">
                  <c:v>#N/A</c:v>
                </c:pt>
                <c:pt idx="5250">
                  <c:v>2.0493150684931507</c:v>
                </c:pt>
                <c:pt idx="5251">
                  <c:v>#N/A</c:v>
                </c:pt>
                <c:pt idx="5252">
                  <c:v>#N/A</c:v>
                </c:pt>
                <c:pt idx="5253">
                  <c:v>#N/A</c:v>
                </c:pt>
                <c:pt idx="5254">
                  <c:v>#N/A</c:v>
                </c:pt>
                <c:pt idx="5255">
                  <c:v>#N/A</c:v>
                </c:pt>
                <c:pt idx="5256">
                  <c:v>2.0493150684931507</c:v>
                </c:pt>
                <c:pt idx="5257">
                  <c:v>2.0493150684931507</c:v>
                </c:pt>
                <c:pt idx="5258">
                  <c:v>2.0493150684931507</c:v>
                </c:pt>
                <c:pt idx="5259">
                  <c:v>2.0493150684931507</c:v>
                </c:pt>
                <c:pt idx="5260">
                  <c:v>#N/A</c:v>
                </c:pt>
                <c:pt idx="5261">
                  <c:v>2.0493150684931507</c:v>
                </c:pt>
                <c:pt idx="5262">
                  <c:v>2.0493150684931507</c:v>
                </c:pt>
                <c:pt idx="5263">
                  <c:v>2.0493150684931507</c:v>
                </c:pt>
                <c:pt idx="5264">
                  <c:v>2.0493150684931507</c:v>
                </c:pt>
                <c:pt idx="5265">
                  <c:v>2.0493150684931507</c:v>
                </c:pt>
                <c:pt idx="5266">
                  <c:v>2.0493150684931507</c:v>
                </c:pt>
                <c:pt idx="5267">
                  <c:v>2.0493150684931507</c:v>
                </c:pt>
                <c:pt idx="5268">
                  <c:v>#N/A</c:v>
                </c:pt>
                <c:pt idx="5269">
                  <c:v>2.0493150684931507</c:v>
                </c:pt>
                <c:pt idx="5270">
                  <c:v>2.0493150684931507</c:v>
                </c:pt>
                <c:pt idx="5271">
                  <c:v>2.0493150684931507</c:v>
                </c:pt>
                <c:pt idx="5272">
                  <c:v>2.0493150684931507</c:v>
                </c:pt>
                <c:pt idx="5273">
                  <c:v>2.0493150684931507</c:v>
                </c:pt>
                <c:pt idx="5274">
                  <c:v>2.0493150684931507</c:v>
                </c:pt>
                <c:pt idx="5275">
                  <c:v>#N/A</c:v>
                </c:pt>
                <c:pt idx="5276">
                  <c:v>#N/A</c:v>
                </c:pt>
                <c:pt idx="5277">
                  <c:v>#N/A</c:v>
                </c:pt>
                <c:pt idx="5278">
                  <c:v>2.0493150684931507</c:v>
                </c:pt>
                <c:pt idx="5279">
                  <c:v>2.0493150684931507</c:v>
                </c:pt>
                <c:pt idx="5280">
                  <c:v>#N/A</c:v>
                </c:pt>
                <c:pt idx="5281">
                  <c:v>2.0493150684931507</c:v>
                </c:pt>
                <c:pt idx="5282">
                  <c:v>#N/A</c:v>
                </c:pt>
                <c:pt idx="5283">
                  <c:v>#N/A</c:v>
                </c:pt>
                <c:pt idx="5284">
                  <c:v>#N/A</c:v>
                </c:pt>
                <c:pt idx="5285">
                  <c:v>2.0493150684931507</c:v>
                </c:pt>
                <c:pt idx="5286">
                  <c:v>#N/A</c:v>
                </c:pt>
                <c:pt idx="5287">
                  <c:v>#N/A</c:v>
                </c:pt>
                <c:pt idx="5288">
                  <c:v>2.0493150684931507</c:v>
                </c:pt>
                <c:pt idx="5289">
                  <c:v>#N/A</c:v>
                </c:pt>
                <c:pt idx="5290">
                  <c:v>#N/A</c:v>
                </c:pt>
                <c:pt idx="5291">
                  <c:v>#N/A</c:v>
                </c:pt>
                <c:pt idx="5292">
                  <c:v>#N/A</c:v>
                </c:pt>
                <c:pt idx="5293">
                  <c:v>#N/A</c:v>
                </c:pt>
                <c:pt idx="5294">
                  <c:v>#N/A</c:v>
                </c:pt>
                <c:pt idx="5295">
                  <c:v>2.0493150684931507</c:v>
                </c:pt>
                <c:pt idx="5296">
                  <c:v>#N/A</c:v>
                </c:pt>
                <c:pt idx="5297">
                  <c:v>2.0493150684931507</c:v>
                </c:pt>
                <c:pt idx="5298">
                  <c:v>#N/A</c:v>
                </c:pt>
                <c:pt idx="5299">
                  <c:v>2.0493150684931507</c:v>
                </c:pt>
                <c:pt idx="5300">
                  <c:v>2.0493150684931507</c:v>
                </c:pt>
                <c:pt idx="5301">
                  <c:v>#N/A</c:v>
                </c:pt>
                <c:pt idx="5302">
                  <c:v>#N/A</c:v>
                </c:pt>
                <c:pt idx="5303">
                  <c:v>2.0493150684931507</c:v>
                </c:pt>
                <c:pt idx="5304">
                  <c:v>#N/A</c:v>
                </c:pt>
                <c:pt idx="5305">
                  <c:v>2.0493150684931507</c:v>
                </c:pt>
                <c:pt idx="5306">
                  <c:v>#N/A</c:v>
                </c:pt>
                <c:pt idx="5307">
                  <c:v>#N/A</c:v>
                </c:pt>
                <c:pt idx="5308">
                  <c:v>#N/A</c:v>
                </c:pt>
                <c:pt idx="5309">
                  <c:v>2.0493150684931507</c:v>
                </c:pt>
                <c:pt idx="5310">
                  <c:v>#N/A</c:v>
                </c:pt>
                <c:pt idx="5311">
                  <c:v>2.0493150684931507</c:v>
                </c:pt>
                <c:pt idx="5312">
                  <c:v>2.0493150684931507</c:v>
                </c:pt>
                <c:pt idx="5313">
                  <c:v>#N/A</c:v>
                </c:pt>
                <c:pt idx="5314">
                  <c:v>#N/A</c:v>
                </c:pt>
                <c:pt idx="5315">
                  <c:v>#N/A</c:v>
                </c:pt>
                <c:pt idx="5316">
                  <c:v>2.0493150684931507</c:v>
                </c:pt>
                <c:pt idx="5317">
                  <c:v>#N/A</c:v>
                </c:pt>
                <c:pt idx="5318">
                  <c:v>#N/A</c:v>
                </c:pt>
                <c:pt idx="5319">
                  <c:v>2.0493150684931507</c:v>
                </c:pt>
                <c:pt idx="5320">
                  <c:v>#N/A</c:v>
                </c:pt>
                <c:pt idx="5321">
                  <c:v>#N/A</c:v>
                </c:pt>
                <c:pt idx="5322">
                  <c:v>#N/A</c:v>
                </c:pt>
                <c:pt idx="5323">
                  <c:v>#N/A</c:v>
                </c:pt>
                <c:pt idx="5324">
                  <c:v>2.0493150684931507</c:v>
                </c:pt>
                <c:pt idx="5325">
                  <c:v>2.0493150684931507</c:v>
                </c:pt>
                <c:pt idx="5326">
                  <c:v>#N/A</c:v>
                </c:pt>
                <c:pt idx="5327">
                  <c:v>2.0493150684931507</c:v>
                </c:pt>
                <c:pt idx="5328">
                  <c:v>2.0493150684931507</c:v>
                </c:pt>
                <c:pt idx="5329">
                  <c:v>2.0493150684931507</c:v>
                </c:pt>
                <c:pt idx="5330">
                  <c:v>#N/A</c:v>
                </c:pt>
                <c:pt idx="5331">
                  <c:v>2.0493150684931507</c:v>
                </c:pt>
                <c:pt idx="5332">
                  <c:v>2.0493150684931507</c:v>
                </c:pt>
                <c:pt idx="5333">
                  <c:v>2.0493150684931507</c:v>
                </c:pt>
                <c:pt idx="5334">
                  <c:v>#N/A</c:v>
                </c:pt>
                <c:pt idx="5335">
                  <c:v>2.0493150684931507</c:v>
                </c:pt>
                <c:pt idx="5336">
                  <c:v>2.0493150684931507</c:v>
                </c:pt>
                <c:pt idx="5337">
                  <c:v>#N/A</c:v>
                </c:pt>
                <c:pt idx="5338">
                  <c:v>#N/A</c:v>
                </c:pt>
                <c:pt idx="5339">
                  <c:v>2.0493150684931507</c:v>
                </c:pt>
                <c:pt idx="5340">
                  <c:v>#N/A</c:v>
                </c:pt>
                <c:pt idx="5341">
                  <c:v>#N/A</c:v>
                </c:pt>
                <c:pt idx="5342">
                  <c:v>#N/A</c:v>
                </c:pt>
                <c:pt idx="5343">
                  <c:v>#N/A</c:v>
                </c:pt>
                <c:pt idx="5344">
                  <c:v>2.0493150684931507</c:v>
                </c:pt>
                <c:pt idx="5345">
                  <c:v>#N/A</c:v>
                </c:pt>
                <c:pt idx="5346">
                  <c:v>2.0493150684931507</c:v>
                </c:pt>
                <c:pt idx="5347">
                  <c:v>#N/A</c:v>
                </c:pt>
                <c:pt idx="5348">
                  <c:v>#N/A</c:v>
                </c:pt>
                <c:pt idx="5349">
                  <c:v>#N/A</c:v>
                </c:pt>
                <c:pt idx="5350">
                  <c:v>2.0493150684931507</c:v>
                </c:pt>
                <c:pt idx="5351">
                  <c:v>2.0493150684931507</c:v>
                </c:pt>
                <c:pt idx="5352">
                  <c:v>2.0493150684931507</c:v>
                </c:pt>
                <c:pt idx="5353">
                  <c:v>#N/A</c:v>
                </c:pt>
                <c:pt idx="5354">
                  <c:v>#N/A</c:v>
                </c:pt>
                <c:pt idx="5355">
                  <c:v>#N/A</c:v>
                </c:pt>
                <c:pt idx="5356">
                  <c:v>#N/A</c:v>
                </c:pt>
                <c:pt idx="5357">
                  <c:v>2.0493150684931507</c:v>
                </c:pt>
                <c:pt idx="5358">
                  <c:v>#N/A</c:v>
                </c:pt>
                <c:pt idx="5359">
                  <c:v>2.0493150684931507</c:v>
                </c:pt>
                <c:pt idx="5360">
                  <c:v>2.0493150684931507</c:v>
                </c:pt>
                <c:pt idx="5361">
                  <c:v>2.0493150684931507</c:v>
                </c:pt>
                <c:pt idx="5362">
                  <c:v>#N/A</c:v>
                </c:pt>
                <c:pt idx="5363">
                  <c:v>#N/A</c:v>
                </c:pt>
                <c:pt idx="5364">
                  <c:v>2.0493150684931507</c:v>
                </c:pt>
                <c:pt idx="5365">
                  <c:v>#N/A</c:v>
                </c:pt>
                <c:pt idx="5366">
                  <c:v>2.0493150684931507</c:v>
                </c:pt>
                <c:pt idx="5367">
                  <c:v>#N/A</c:v>
                </c:pt>
                <c:pt idx="5368">
                  <c:v>2.0493150684931507</c:v>
                </c:pt>
                <c:pt idx="5369">
                  <c:v>#N/A</c:v>
                </c:pt>
                <c:pt idx="5370">
                  <c:v>#N/A</c:v>
                </c:pt>
                <c:pt idx="5371">
                  <c:v>#N/A</c:v>
                </c:pt>
                <c:pt idx="5372">
                  <c:v>2.0493150684931507</c:v>
                </c:pt>
                <c:pt idx="5373">
                  <c:v>2.0493150684931507</c:v>
                </c:pt>
                <c:pt idx="5374">
                  <c:v>2.0493150684931507</c:v>
                </c:pt>
                <c:pt idx="5375">
                  <c:v>#N/A</c:v>
                </c:pt>
                <c:pt idx="5376">
                  <c:v>#N/A</c:v>
                </c:pt>
                <c:pt idx="5377">
                  <c:v>2.0493150684931507</c:v>
                </c:pt>
                <c:pt idx="5378">
                  <c:v>#N/A</c:v>
                </c:pt>
                <c:pt idx="5379">
                  <c:v>2.0493150684931507</c:v>
                </c:pt>
                <c:pt idx="5380">
                  <c:v>2.0493150684931507</c:v>
                </c:pt>
                <c:pt idx="5381">
                  <c:v>#N/A</c:v>
                </c:pt>
                <c:pt idx="5382">
                  <c:v>2.0520547945205481</c:v>
                </c:pt>
                <c:pt idx="5383">
                  <c:v>2.0520547945205481</c:v>
                </c:pt>
                <c:pt idx="5384">
                  <c:v>2.0520547945205481</c:v>
                </c:pt>
                <c:pt idx="5385">
                  <c:v>2.0520547945205481</c:v>
                </c:pt>
                <c:pt idx="5386">
                  <c:v>2.0520547945205481</c:v>
                </c:pt>
                <c:pt idx="5387">
                  <c:v>2.0520547945205481</c:v>
                </c:pt>
                <c:pt idx="5388">
                  <c:v>#N/A</c:v>
                </c:pt>
                <c:pt idx="5389">
                  <c:v>#N/A</c:v>
                </c:pt>
                <c:pt idx="5390">
                  <c:v>#N/A</c:v>
                </c:pt>
                <c:pt idx="5391">
                  <c:v>2.0520547945205481</c:v>
                </c:pt>
                <c:pt idx="5392">
                  <c:v>#N/A</c:v>
                </c:pt>
                <c:pt idx="5393">
                  <c:v>#N/A</c:v>
                </c:pt>
                <c:pt idx="5394">
                  <c:v>2.0520547945205481</c:v>
                </c:pt>
                <c:pt idx="5395">
                  <c:v>2.0520547945205481</c:v>
                </c:pt>
                <c:pt idx="5396">
                  <c:v>2.0520547945205481</c:v>
                </c:pt>
                <c:pt idx="5397">
                  <c:v>2.0520547945205481</c:v>
                </c:pt>
                <c:pt idx="5398">
                  <c:v>#N/A</c:v>
                </c:pt>
                <c:pt idx="5399">
                  <c:v>2.0520547945205481</c:v>
                </c:pt>
                <c:pt idx="5400">
                  <c:v>2.0520547945205481</c:v>
                </c:pt>
                <c:pt idx="5401">
                  <c:v>2.0520547945205481</c:v>
                </c:pt>
                <c:pt idx="5402">
                  <c:v>2.0520547945205481</c:v>
                </c:pt>
                <c:pt idx="5403">
                  <c:v>2.0520547945205481</c:v>
                </c:pt>
                <c:pt idx="5404">
                  <c:v>#N/A</c:v>
                </c:pt>
                <c:pt idx="5405">
                  <c:v>#N/A</c:v>
                </c:pt>
                <c:pt idx="5406">
                  <c:v>#N/A</c:v>
                </c:pt>
                <c:pt idx="5407">
                  <c:v>2.0520547945205481</c:v>
                </c:pt>
                <c:pt idx="5408">
                  <c:v>2.0520547945205481</c:v>
                </c:pt>
                <c:pt idx="5409">
                  <c:v>2.0520547945205481</c:v>
                </c:pt>
                <c:pt idx="5410">
                  <c:v>2.0520547945205481</c:v>
                </c:pt>
                <c:pt idx="5411">
                  <c:v>#N/A</c:v>
                </c:pt>
                <c:pt idx="5412">
                  <c:v>2.0520547945205481</c:v>
                </c:pt>
                <c:pt idx="5413">
                  <c:v>2.0520547945205481</c:v>
                </c:pt>
                <c:pt idx="5414">
                  <c:v>2.0520547945205481</c:v>
                </c:pt>
                <c:pt idx="5415">
                  <c:v>2.0520547945205481</c:v>
                </c:pt>
                <c:pt idx="5416">
                  <c:v>2.0520547945205481</c:v>
                </c:pt>
                <c:pt idx="5417">
                  <c:v>#N/A</c:v>
                </c:pt>
                <c:pt idx="5418">
                  <c:v>2.0520547945205481</c:v>
                </c:pt>
                <c:pt idx="5419">
                  <c:v>#N/A</c:v>
                </c:pt>
                <c:pt idx="5420">
                  <c:v>2.0520547945205481</c:v>
                </c:pt>
                <c:pt idx="5421">
                  <c:v>2.0520547945205481</c:v>
                </c:pt>
                <c:pt idx="5422">
                  <c:v>2.0520547945205481</c:v>
                </c:pt>
                <c:pt idx="5423">
                  <c:v>2.0520547945205481</c:v>
                </c:pt>
                <c:pt idx="5424">
                  <c:v>2.0520547945205481</c:v>
                </c:pt>
                <c:pt idx="5425">
                  <c:v>2.0520547945205481</c:v>
                </c:pt>
                <c:pt idx="5426">
                  <c:v>2.0520547945205481</c:v>
                </c:pt>
                <c:pt idx="5427">
                  <c:v>2.0520547945205481</c:v>
                </c:pt>
                <c:pt idx="5428">
                  <c:v>#N/A</c:v>
                </c:pt>
                <c:pt idx="5429">
                  <c:v>2.0520547945205481</c:v>
                </c:pt>
                <c:pt idx="5430">
                  <c:v>#N/A</c:v>
                </c:pt>
                <c:pt idx="5431">
                  <c:v>2.0520547945205481</c:v>
                </c:pt>
                <c:pt idx="5432">
                  <c:v>#N/A</c:v>
                </c:pt>
                <c:pt idx="5433">
                  <c:v>2.0520547945205481</c:v>
                </c:pt>
                <c:pt idx="5434">
                  <c:v>2.0520547945205481</c:v>
                </c:pt>
                <c:pt idx="5435">
                  <c:v>2.0520547945205481</c:v>
                </c:pt>
                <c:pt idx="5436">
                  <c:v>2.0520547945205481</c:v>
                </c:pt>
                <c:pt idx="5437">
                  <c:v>#N/A</c:v>
                </c:pt>
                <c:pt idx="5438">
                  <c:v>#N/A</c:v>
                </c:pt>
                <c:pt idx="5439">
                  <c:v>2.0520547945205481</c:v>
                </c:pt>
                <c:pt idx="5440">
                  <c:v>2.0520547945205481</c:v>
                </c:pt>
                <c:pt idx="5441">
                  <c:v>#N/A</c:v>
                </c:pt>
                <c:pt idx="5442">
                  <c:v>#N/A</c:v>
                </c:pt>
                <c:pt idx="5443">
                  <c:v>2.0520547945205481</c:v>
                </c:pt>
                <c:pt idx="5444">
                  <c:v>2.0520547945205481</c:v>
                </c:pt>
                <c:pt idx="5445">
                  <c:v>#N/A</c:v>
                </c:pt>
                <c:pt idx="5446">
                  <c:v>2.0520547945205481</c:v>
                </c:pt>
                <c:pt idx="5447">
                  <c:v>#N/A</c:v>
                </c:pt>
                <c:pt idx="5448">
                  <c:v>2.0520547945205481</c:v>
                </c:pt>
                <c:pt idx="5449">
                  <c:v>2.0520547945205481</c:v>
                </c:pt>
                <c:pt idx="5450">
                  <c:v>#N/A</c:v>
                </c:pt>
                <c:pt idx="5451">
                  <c:v>2.0520547945205481</c:v>
                </c:pt>
                <c:pt idx="5452">
                  <c:v>#N/A</c:v>
                </c:pt>
                <c:pt idx="5453">
                  <c:v>#N/A</c:v>
                </c:pt>
                <c:pt idx="5454">
                  <c:v>2.0520547945205481</c:v>
                </c:pt>
                <c:pt idx="5455">
                  <c:v>#N/A</c:v>
                </c:pt>
                <c:pt idx="5456">
                  <c:v>2.0520547945205481</c:v>
                </c:pt>
                <c:pt idx="5457">
                  <c:v>2.0520547945205481</c:v>
                </c:pt>
                <c:pt idx="5458">
                  <c:v>2.0520547945205481</c:v>
                </c:pt>
                <c:pt idx="5459">
                  <c:v>2.0520547945205481</c:v>
                </c:pt>
                <c:pt idx="5460">
                  <c:v>2.0520547945205481</c:v>
                </c:pt>
                <c:pt idx="5461">
                  <c:v>2.0520547945205481</c:v>
                </c:pt>
                <c:pt idx="5462">
                  <c:v>#N/A</c:v>
                </c:pt>
                <c:pt idx="5463">
                  <c:v>2.0520547945205481</c:v>
                </c:pt>
                <c:pt idx="5464">
                  <c:v>2.0520547945205481</c:v>
                </c:pt>
                <c:pt idx="5465">
                  <c:v>2.0520547945205481</c:v>
                </c:pt>
                <c:pt idx="5466">
                  <c:v>2.0520547945205481</c:v>
                </c:pt>
                <c:pt idx="5467">
                  <c:v>#N/A</c:v>
                </c:pt>
                <c:pt idx="5468">
                  <c:v>2.0520547945205481</c:v>
                </c:pt>
                <c:pt idx="5469">
                  <c:v>#N/A</c:v>
                </c:pt>
                <c:pt idx="5470">
                  <c:v>2.0520547945205481</c:v>
                </c:pt>
                <c:pt idx="5471">
                  <c:v>2.0520547945205481</c:v>
                </c:pt>
                <c:pt idx="5472">
                  <c:v>2.0520547945205481</c:v>
                </c:pt>
                <c:pt idx="5473">
                  <c:v>2.0520547945205481</c:v>
                </c:pt>
                <c:pt idx="5474">
                  <c:v>2.0520547945205481</c:v>
                </c:pt>
                <c:pt idx="5475">
                  <c:v>2.0520547945205481</c:v>
                </c:pt>
                <c:pt idx="5476">
                  <c:v>2.0520547945205481</c:v>
                </c:pt>
                <c:pt idx="5477">
                  <c:v>#N/A</c:v>
                </c:pt>
                <c:pt idx="5478">
                  <c:v>2.0520547945205481</c:v>
                </c:pt>
                <c:pt idx="5479">
                  <c:v>2.0520547945205481</c:v>
                </c:pt>
                <c:pt idx="5480">
                  <c:v>2.0520547945205481</c:v>
                </c:pt>
                <c:pt idx="5481">
                  <c:v>2.0520547945205481</c:v>
                </c:pt>
                <c:pt idx="5482">
                  <c:v>2.0520547945205481</c:v>
                </c:pt>
                <c:pt idx="5483">
                  <c:v>#N/A</c:v>
                </c:pt>
                <c:pt idx="5484">
                  <c:v>2.0520547945205481</c:v>
                </c:pt>
                <c:pt idx="5485">
                  <c:v>2.0520547945205481</c:v>
                </c:pt>
                <c:pt idx="5486">
                  <c:v>2.0520547945205481</c:v>
                </c:pt>
                <c:pt idx="5487">
                  <c:v>2.0520547945205481</c:v>
                </c:pt>
                <c:pt idx="5488">
                  <c:v>#N/A</c:v>
                </c:pt>
                <c:pt idx="5489">
                  <c:v>2.0520547945205481</c:v>
                </c:pt>
                <c:pt idx="5490">
                  <c:v>2.0520547945205481</c:v>
                </c:pt>
                <c:pt idx="5491">
                  <c:v>2.0520547945205481</c:v>
                </c:pt>
                <c:pt idx="5492">
                  <c:v>2.0520547945205481</c:v>
                </c:pt>
                <c:pt idx="5493">
                  <c:v>2.0520547945205481</c:v>
                </c:pt>
                <c:pt idx="5494">
                  <c:v>2.0520547945205481</c:v>
                </c:pt>
                <c:pt idx="5495">
                  <c:v>2.0520547945205481</c:v>
                </c:pt>
                <c:pt idx="5496">
                  <c:v>#N/A</c:v>
                </c:pt>
                <c:pt idx="5497">
                  <c:v>2.0520547945205481</c:v>
                </c:pt>
                <c:pt idx="5498">
                  <c:v>2.0520547945205481</c:v>
                </c:pt>
                <c:pt idx="5499">
                  <c:v>#N/A</c:v>
                </c:pt>
                <c:pt idx="5500">
                  <c:v>#N/A</c:v>
                </c:pt>
                <c:pt idx="5501">
                  <c:v>2.0520547945205481</c:v>
                </c:pt>
                <c:pt idx="5502">
                  <c:v>2.0520547945205481</c:v>
                </c:pt>
                <c:pt idx="5503">
                  <c:v>#N/A</c:v>
                </c:pt>
                <c:pt idx="5504">
                  <c:v>2.0520547945205481</c:v>
                </c:pt>
                <c:pt idx="5505">
                  <c:v>#N/A</c:v>
                </c:pt>
                <c:pt idx="5506">
                  <c:v>#N/A</c:v>
                </c:pt>
                <c:pt idx="5507">
                  <c:v>2.0520547945205481</c:v>
                </c:pt>
                <c:pt idx="5508">
                  <c:v>2.0520547945205481</c:v>
                </c:pt>
                <c:pt idx="5509">
                  <c:v>2.0520547945205481</c:v>
                </c:pt>
                <c:pt idx="5510">
                  <c:v>#N/A</c:v>
                </c:pt>
                <c:pt idx="5511">
                  <c:v>#N/A</c:v>
                </c:pt>
                <c:pt idx="5512">
                  <c:v>2.0520547945205481</c:v>
                </c:pt>
                <c:pt idx="5513">
                  <c:v>#N/A</c:v>
                </c:pt>
                <c:pt idx="5514">
                  <c:v>2.0520547945205481</c:v>
                </c:pt>
                <c:pt idx="5515">
                  <c:v>2.0520547945205481</c:v>
                </c:pt>
                <c:pt idx="5516">
                  <c:v>2.0520547945205481</c:v>
                </c:pt>
                <c:pt idx="5517">
                  <c:v>2.0520547945205481</c:v>
                </c:pt>
                <c:pt idx="5518">
                  <c:v>2.0520547945205481</c:v>
                </c:pt>
                <c:pt idx="5519">
                  <c:v>2.0520547945205481</c:v>
                </c:pt>
                <c:pt idx="5520">
                  <c:v>#N/A</c:v>
                </c:pt>
                <c:pt idx="5521">
                  <c:v>2.0520547945205481</c:v>
                </c:pt>
                <c:pt idx="5522">
                  <c:v>2.0520547945205481</c:v>
                </c:pt>
                <c:pt idx="5523">
                  <c:v>2.0520547945205481</c:v>
                </c:pt>
                <c:pt idx="5524">
                  <c:v>2.0520547945205481</c:v>
                </c:pt>
                <c:pt idx="5525">
                  <c:v>2.0520547945205481</c:v>
                </c:pt>
                <c:pt idx="5526">
                  <c:v>#N/A</c:v>
                </c:pt>
                <c:pt idx="5527">
                  <c:v>#N/A</c:v>
                </c:pt>
                <c:pt idx="5528">
                  <c:v>2.0520547945205481</c:v>
                </c:pt>
                <c:pt idx="5529">
                  <c:v>2.0520547945205481</c:v>
                </c:pt>
                <c:pt idx="5530">
                  <c:v>#N/A</c:v>
                </c:pt>
                <c:pt idx="5531">
                  <c:v>2.0520547945205481</c:v>
                </c:pt>
                <c:pt idx="5532">
                  <c:v>2.0520547945205481</c:v>
                </c:pt>
                <c:pt idx="5533">
                  <c:v>2.0520547945205481</c:v>
                </c:pt>
                <c:pt idx="5534">
                  <c:v>#N/A</c:v>
                </c:pt>
                <c:pt idx="5535">
                  <c:v>2.0520547945205481</c:v>
                </c:pt>
                <c:pt idx="5536">
                  <c:v>#N/A</c:v>
                </c:pt>
                <c:pt idx="5537">
                  <c:v>#N/A</c:v>
                </c:pt>
                <c:pt idx="5538">
                  <c:v>2.0520547945205481</c:v>
                </c:pt>
                <c:pt idx="5539">
                  <c:v>2.0520547945205481</c:v>
                </c:pt>
                <c:pt idx="5540">
                  <c:v>2.0520547945205481</c:v>
                </c:pt>
                <c:pt idx="5541">
                  <c:v>2.0520547945205481</c:v>
                </c:pt>
                <c:pt idx="5542">
                  <c:v>2.0520547945205481</c:v>
                </c:pt>
                <c:pt idx="5543">
                  <c:v>2.0520547945205481</c:v>
                </c:pt>
                <c:pt idx="5544">
                  <c:v>2.0520547945205481</c:v>
                </c:pt>
                <c:pt idx="5545">
                  <c:v>2.0520547945205481</c:v>
                </c:pt>
                <c:pt idx="5546">
                  <c:v>#N/A</c:v>
                </c:pt>
                <c:pt idx="5547">
                  <c:v>#N/A</c:v>
                </c:pt>
                <c:pt idx="5548">
                  <c:v>#N/A</c:v>
                </c:pt>
                <c:pt idx="5549">
                  <c:v>#N/A</c:v>
                </c:pt>
                <c:pt idx="5550">
                  <c:v>2.0520547945205481</c:v>
                </c:pt>
                <c:pt idx="5551">
                  <c:v>#N/A</c:v>
                </c:pt>
                <c:pt idx="5552">
                  <c:v>2.0520547945205481</c:v>
                </c:pt>
                <c:pt idx="5553">
                  <c:v>2.0520547945205481</c:v>
                </c:pt>
                <c:pt idx="5554">
                  <c:v>2.0520547945205481</c:v>
                </c:pt>
                <c:pt idx="5555">
                  <c:v>#N/A</c:v>
                </c:pt>
                <c:pt idx="5556">
                  <c:v>#N/A</c:v>
                </c:pt>
                <c:pt idx="5557">
                  <c:v>2.0520547945205481</c:v>
                </c:pt>
                <c:pt idx="5558">
                  <c:v>2.0520547945205481</c:v>
                </c:pt>
                <c:pt idx="5559">
                  <c:v>#N/A</c:v>
                </c:pt>
                <c:pt idx="5560">
                  <c:v>2.0520547945205481</c:v>
                </c:pt>
                <c:pt idx="5561">
                  <c:v>#N/A</c:v>
                </c:pt>
                <c:pt idx="5562">
                  <c:v>#N/A</c:v>
                </c:pt>
                <c:pt idx="5563">
                  <c:v>#N/A</c:v>
                </c:pt>
                <c:pt idx="5564">
                  <c:v>#N/A</c:v>
                </c:pt>
                <c:pt idx="5565">
                  <c:v>#N/A</c:v>
                </c:pt>
                <c:pt idx="5566">
                  <c:v>#N/A</c:v>
                </c:pt>
                <c:pt idx="5567">
                  <c:v>#N/A</c:v>
                </c:pt>
                <c:pt idx="5568">
                  <c:v>#N/A</c:v>
                </c:pt>
                <c:pt idx="5569">
                  <c:v>2.0520547945205481</c:v>
                </c:pt>
                <c:pt idx="5570">
                  <c:v>2.0520547945205481</c:v>
                </c:pt>
                <c:pt idx="5571">
                  <c:v>2.0520547945205481</c:v>
                </c:pt>
                <c:pt idx="5572">
                  <c:v>#N/A</c:v>
                </c:pt>
                <c:pt idx="5573">
                  <c:v>#N/A</c:v>
                </c:pt>
                <c:pt idx="5574">
                  <c:v>2.0520547945205481</c:v>
                </c:pt>
                <c:pt idx="5575">
                  <c:v>2.0520547945205481</c:v>
                </c:pt>
                <c:pt idx="5576">
                  <c:v>2.0520547945205481</c:v>
                </c:pt>
                <c:pt idx="5577">
                  <c:v>2.0520547945205481</c:v>
                </c:pt>
                <c:pt idx="5578">
                  <c:v>#N/A</c:v>
                </c:pt>
                <c:pt idx="5579">
                  <c:v>2.0520547945205481</c:v>
                </c:pt>
                <c:pt idx="5580">
                  <c:v>#N/A</c:v>
                </c:pt>
                <c:pt idx="5581">
                  <c:v>#N/A</c:v>
                </c:pt>
                <c:pt idx="5582">
                  <c:v>#N/A</c:v>
                </c:pt>
                <c:pt idx="5583">
                  <c:v>2.0520547945205481</c:v>
                </c:pt>
                <c:pt idx="5584">
                  <c:v>2.0520547945205481</c:v>
                </c:pt>
                <c:pt idx="5585">
                  <c:v>2.0520547945205481</c:v>
                </c:pt>
                <c:pt idx="5586">
                  <c:v>#N/A</c:v>
                </c:pt>
                <c:pt idx="5587">
                  <c:v>#N/A</c:v>
                </c:pt>
                <c:pt idx="5588">
                  <c:v>2.0520547945205481</c:v>
                </c:pt>
                <c:pt idx="5589">
                  <c:v>2.0520547945205481</c:v>
                </c:pt>
                <c:pt idx="5590">
                  <c:v>2.0520547945205481</c:v>
                </c:pt>
                <c:pt idx="5591">
                  <c:v>2.0520547945205481</c:v>
                </c:pt>
                <c:pt idx="5592">
                  <c:v>2.0520547945205481</c:v>
                </c:pt>
                <c:pt idx="5593">
                  <c:v>#N/A</c:v>
                </c:pt>
                <c:pt idx="5594">
                  <c:v>2.0520547945205481</c:v>
                </c:pt>
                <c:pt idx="5595">
                  <c:v>2.0520547945205481</c:v>
                </c:pt>
                <c:pt idx="5596">
                  <c:v>2.0520547945205481</c:v>
                </c:pt>
                <c:pt idx="5597">
                  <c:v>2.0520547945205481</c:v>
                </c:pt>
                <c:pt idx="5598">
                  <c:v>#N/A</c:v>
                </c:pt>
                <c:pt idx="5599">
                  <c:v>#N/A</c:v>
                </c:pt>
                <c:pt idx="5600">
                  <c:v>#N/A</c:v>
                </c:pt>
                <c:pt idx="5601">
                  <c:v>#N/A</c:v>
                </c:pt>
                <c:pt idx="5602">
                  <c:v>#N/A</c:v>
                </c:pt>
                <c:pt idx="5603">
                  <c:v>2.0520547945205481</c:v>
                </c:pt>
                <c:pt idx="5604">
                  <c:v>2.0520547945205481</c:v>
                </c:pt>
                <c:pt idx="5605">
                  <c:v>#N/A</c:v>
                </c:pt>
                <c:pt idx="5606">
                  <c:v>#N/A</c:v>
                </c:pt>
                <c:pt idx="5607">
                  <c:v>2.0520547945205481</c:v>
                </c:pt>
                <c:pt idx="5608">
                  <c:v>#N/A</c:v>
                </c:pt>
                <c:pt idx="5609">
                  <c:v>2.0520547945205481</c:v>
                </c:pt>
                <c:pt idx="5610">
                  <c:v>#N/A</c:v>
                </c:pt>
                <c:pt idx="5611">
                  <c:v>2.0520547945205481</c:v>
                </c:pt>
                <c:pt idx="5612">
                  <c:v>#N/A</c:v>
                </c:pt>
                <c:pt idx="5613">
                  <c:v>2.0520547945205481</c:v>
                </c:pt>
                <c:pt idx="5614">
                  <c:v>#N/A</c:v>
                </c:pt>
                <c:pt idx="5615">
                  <c:v>2.0520547945205481</c:v>
                </c:pt>
                <c:pt idx="5616">
                  <c:v>2.0520547945205481</c:v>
                </c:pt>
                <c:pt idx="5617">
                  <c:v>#N/A</c:v>
                </c:pt>
                <c:pt idx="5618">
                  <c:v>#N/A</c:v>
                </c:pt>
                <c:pt idx="5619">
                  <c:v>2.0520547945205481</c:v>
                </c:pt>
                <c:pt idx="5620">
                  <c:v>2.0520547945205481</c:v>
                </c:pt>
                <c:pt idx="5621">
                  <c:v>2.0520547945205481</c:v>
                </c:pt>
                <c:pt idx="5622">
                  <c:v>2.0520547945205481</c:v>
                </c:pt>
                <c:pt idx="5623">
                  <c:v>#N/A</c:v>
                </c:pt>
                <c:pt idx="5624">
                  <c:v>2.0520547945205481</c:v>
                </c:pt>
                <c:pt idx="5625">
                  <c:v>2.0520547945205481</c:v>
                </c:pt>
                <c:pt idx="5626">
                  <c:v>2.0520547945205481</c:v>
                </c:pt>
                <c:pt idx="5627">
                  <c:v>2.0520547945205481</c:v>
                </c:pt>
                <c:pt idx="5628">
                  <c:v>2.0520547945205481</c:v>
                </c:pt>
                <c:pt idx="5629">
                  <c:v>2.0520547945205481</c:v>
                </c:pt>
                <c:pt idx="5630">
                  <c:v>#N/A</c:v>
                </c:pt>
                <c:pt idx="5631">
                  <c:v>2.0520547945205481</c:v>
                </c:pt>
                <c:pt idx="5632">
                  <c:v>#N/A</c:v>
                </c:pt>
                <c:pt idx="5633">
                  <c:v>2.0520547945205481</c:v>
                </c:pt>
                <c:pt idx="5634">
                  <c:v>#N/A</c:v>
                </c:pt>
                <c:pt idx="5635">
                  <c:v>#N/A</c:v>
                </c:pt>
                <c:pt idx="5636">
                  <c:v>#N/A</c:v>
                </c:pt>
                <c:pt idx="5637">
                  <c:v>2.0520547945205481</c:v>
                </c:pt>
                <c:pt idx="5638">
                  <c:v>#N/A</c:v>
                </c:pt>
                <c:pt idx="5639">
                  <c:v>#N/A</c:v>
                </c:pt>
                <c:pt idx="5640">
                  <c:v>#N/A</c:v>
                </c:pt>
                <c:pt idx="5641">
                  <c:v>2.0520547945205481</c:v>
                </c:pt>
                <c:pt idx="5642">
                  <c:v>#N/A</c:v>
                </c:pt>
                <c:pt idx="5643">
                  <c:v>#N/A</c:v>
                </c:pt>
                <c:pt idx="5644">
                  <c:v>2.0520547945205481</c:v>
                </c:pt>
                <c:pt idx="5645">
                  <c:v>2.0520547945205481</c:v>
                </c:pt>
                <c:pt idx="5646">
                  <c:v>#N/A</c:v>
                </c:pt>
                <c:pt idx="5647">
                  <c:v>#N/A</c:v>
                </c:pt>
                <c:pt idx="5648">
                  <c:v>#N/A</c:v>
                </c:pt>
                <c:pt idx="5649">
                  <c:v>2.0520547945205481</c:v>
                </c:pt>
                <c:pt idx="5650">
                  <c:v>2.0520547945205481</c:v>
                </c:pt>
                <c:pt idx="5651">
                  <c:v>#N/A</c:v>
                </c:pt>
                <c:pt idx="5652">
                  <c:v>#N/A</c:v>
                </c:pt>
                <c:pt idx="5653">
                  <c:v>#N/A</c:v>
                </c:pt>
                <c:pt idx="5654">
                  <c:v>#N/A</c:v>
                </c:pt>
                <c:pt idx="5655">
                  <c:v>#N/A</c:v>
                </c:pt>
                <c:pt idx="5656">
                  <c:v>#N/A</c:v>
                </c:pt>
                <c:pt idx="5657">
                  <c:v>2.0520547945205481</c:v>
                </c:pt>
                <c:pt idx="5658">
                  <c:v>2.0520547945205481</c:v>
                </c:pt>
                <c:pt idx="5659">
                  <c:v>#N/A</c:v>
                </c:pt>
                <c:pt idx="5660">
                  <c:v>#N/A</c:v>
                </c:pt>
                <c:pt idx="5661">
                  <c:v>2.0520547945205481</c:v>
                </c:pt>
                <c:pt idx="5662">
                  <c:v>#N/A</c:v>
                </c:pt>
                <c:pt idx="5663">
                  <c:v>#N/A</c:v>
                </c:pt>
                <c:pt idx="5664">
                  <c:v>2.0520547945205481</c:v>
                </c:pt>
                <c:pt idx="5665">
                  <c:v>2.0520547945205481</c:v>
                </c:pt>
                <c:pt idx="5666">
                  <c:v>#N/A</c:v>
                </c:pt>
                <c:pt idx="5667">
                  <c:v>2.0520547945205481</c:v>
                </c:pt>
                <c:pt idx="5668">
                  <c:v>#N/A</c:v>
                </c:pt>
                <c:pt idx="5669">
                  <c:v>#N/A</c:v>
                </c:pt>
                <c:pt idx="5670">
                  <c:v>2.0520547945205481</c:v>
                </c:pt>
                <c:pt idx="5671">
                  <c:v>2.0520547945205481</c:v>
                </c:pt>
                <c:pt idx="5672">
                  <c:v>2.0520547945205481</c:v>
                </c:pt>
                <c:pt idx="5673">
                  <c:v>#N/A</c:v>
                </c:pt>
                <c:pt idx="5674">
                  <c:v>2.0520547945205481</c:v>
                </c:pt>
                <c:pt idx="5675">
                  <c:v>#N/A</c:v>
                </c:pt>
                <c:pt idx="5676">
                  <c:v>#N/A</c:v>
                </c:pt>
                <c:pt idx="5677">
                  <c:v>2.0520547945205481</c:v>
                </c:pt>
                <c:pt idx="5678">
                  <c:v>#N/A</c:v>
                </c:pt>
                <c:pt idx="5679">
                  <c:v>#N/A</c:v>
                </c:pt>
                <c:pt idx="5680">
                  <c:v>2.0520547945205481</c:v>
                </c:pt>
                <c:pt idx="5681">
                  <c:v>2.0520547945205481</c:v>
                </c:pt>
                <c:pt idx="5682">
                  <c:v>2.0547945205479454</c:v>
                </c:pt>
                <c:pt idx="5683">
                  <c:v>2.0547945205479454</c:v>
                </c:pt>
                <c:pt idx="5684">
                  <c:v>2.0547945205479454</c:v>
                </c:pt>
                <c:pt idx="5685">
                  <c:v>#N/A</c:v>
                </c:pt>
                <c:pt idx="5686">
                  <c:v>2.0547945205479454</c:v>
                </c:pt>
                <c:pt idx="5687">
                  <c:v>#N/A</c:v>
                </c:pt>
                <c:pt idx="5688">
                  <c:v>2.0547945205479454</c:v>
                </c:pt>
                <c:pt idx="5689">
                  <c:v>#N/A</c:v>
                </c:pt>
                <c:pt idx="5690">
                  <c:v>#N/A</c:v>
                </c:pt>
                <c:pt idx="5691">
                  <c:v>2.0547945205479454</c:v>
                </c:pt>
                <c:pt idx="5692">
                  <c:v>2.0547945205479454</c:v>
                </c:pt>
                <c:pt idx="5693">
                  <c:v>2.0547945205479454</c:v>
                </c:pt>
                <c:pt idx="5694">
                  <c:v>#N/A</c:v>
                </c:pt>
                <c:pt idx="5695">
                  <c:v>2.0547945205479454</c:v>
                </c:pt>
                <c:pt idx="5696">
                  <c:v>#N/A</c:v>
                </c:pt>
                <c:pt idx="5697">
                  <c:v>2.0547945205479454</c:v>
                </c:pt>
                <c:pt idx="5698">
                  <c:v>2.0547945205479454</c:v>
                </c:pt>
                <c:pt idx="5699">
                  <c:v>2.0547945205479454</c:v>
                </c:pt>
                <c:pt idx="5700">
                  <c:v>2.0547945205479454</c:v>
                </c:pt>
                <c:pt idx="5701">
                  <c:v>2.0547945205479454</c:v>
                </c:pt>
                <c:pt idx="5702">
                  <c:v>2.0547945205479454</c:v>
                </c:pt>
                <c:pt idx="5703">
                  <c:v>2.0547945205479454</c:v>
                </c:pt>
                <c:pt idx="5704">
                  <c:v>#N/A</c:v>
                </c:pt>
                <c:pt idx="5705">
                  <c:v>#N/A</c:v>
                </c:pt>
                <c:pt idx="5706">
                  <c:v>2.0547945205479454</c:v>
                </c:pt>
                <c:pt idx="5707">
                  <c:v>#N/A</c:v>
                </c:pt>
                <c:pt idx="5708">
                  <c:v>2.0547945205479454</c:v>
                </c:pt>
                <c:pt idx="5709">
                  <c:v>2.0547945205479454</c:v>
                </c:pt>
                <c:pt idx="5710">
                  <c:v>#N/A</c:v>
                </c:pt>
                <c:pt idx="5711">
                  <c:v>2.0547945205479454</c:v>
                </c:pt>
                <c:pt idx="5712">
                  <c:v>2.0547945205479454</c:v>
                </c:pt>
                <c:pt idx="5713">
                  <c:v>#N/A</c:v>
                </c:pt>
                <c:pt idx="5714">
                  <c:v>2.0547945205479454</c:v>
                </c:pt>
                <c:pt idx="5715">
                  <c:v>2.0547945205479454</c:v>
                </c:pt>
                <c:pt idx="5716">
                  <c:v>2.0547945205479454</c:v>
                </c:pt>
                <c:pt idx="5717">
                  <c:v>2.0547945205479454</c:v>
                </c:pt>
                <c:pt idx="5718">
                  <c:v>2.0547945205479454</c:v>
                </c:pt>
                <c:pt idx="5719">
                  <c:v>#N/A</c:v>
                </c:pt>
                <c:pt idx="5720">
                  <c:v>2.0547945205479454</c:v>
                </c:pt>
                <c:pt idx="5721">
                  <c:v>2.0547945205479454</c:v>
                </c:pt>
                <c:pt idx="5722">
                  <c:v>#N/A</c:v>
                </c:pt>
                <c:pt idx="5723">
                  <c:v>2.0547945205479454</c:v>
                </c:pt>
                <c:pt idx="5724">
                  <c:v>2.0547945205479454</c:v>
                </c:pt>
                <c:pt idx="5725">
                  <c:v>#N/A</c:v>
                </c:pt>
                <c:pt idx="5726">
                  <c:v>#N/A</c:v>
                </c:pt>
                <c:pt idx="5727">
                  <c:v>2.0547945205479454</c:v>
                </c:pt>
                <c:pt idx="5728">
                  <c:v>2.0547945205479454</c:v>
                </c:pt>
                <c:pt idx="5729">
                  <c:v>2.0547945205479454</c:v>
                </c:pt>
                <c:pt idx="5730">
                  <c:v>2.0547945205479454</c:v>
                </c:pt>
                <c:pt idx="5731">
                  <c:v>2.0547945205479454</c:v>
                </c:pt>
                <c:pt idx="5732">
                  <c:v>#N/A</c:v>
                </c:pt>
                <c:pt idx="5733">
                  <c:v>#N/A</c:v>
                </c:pt>
                <c:pt idx="5734">
                  <c:v>#N/A</c:v>
                </c:pt>
                <c:pt idx="5735">
                  <c:v>2.0547945205479454</c:v>
                </c:pt>
                <c:pt idx="5736">
                  <c:v>#N/A</c:v>
                </c:pt>
                <c:pt idx="5737">
                  <c:v>2.0547945205479454</c:v>
                </c:pt>
                <c:pt idx="5738">
                  <c:v>2.0547945205479454</c:v>
                </c:pt>
                <c:pt idx="5739">
                  <c:v>#N/A</c:v>
                </c:pt>
                <c:pt idx="5740">
                  <c:v>#N/A</c:v>
                </c:pt>
                <c:pt idx="5741">
                  <c:v>2.0547945205479454</c:v>
                </c:pt>
                <c:pt idx="5742">
                  <c:v>2.0547945205479454</c:v>
                </c:pt>
                <c:pt idx="5743">
                  <c:v>2.0547945205479454</c:v>
                </c:pt>
                <c:pt idx="5744">
                  <c:v>#N/A</c:v>
                </c:pt>
                <c:pt idx="5745">
                  <c:v>2.0547945205479454</c:v>
                </c:pt>
                <c:pt idx="5746">
                  <c:v>#N/A</c:v>
                </c:pt>
                <c:pt idx="5747">
                  <c:v>2.0547945205479454</c:v>
                </c:pt>
                <c:pt idx="5748">
                  <c:v>#N/A</c:v>
                </c:pt>
                <c:pt idx="5749">
                  <c:v>#N/A</c:v>
                </c:pt>
                <c:pt idx="5750">
                  <c:v>2.0547945205479454</c:v>
                </c:pt>
                <c:pt idx="5751">
                  <c:v>2.0547945205479454</c:v>
                </c:pt>
                <c:pt idx="5752">
                  <c:v>2.0547945205479454</c:v>
                </c:pt>
                <c:pt idx="5753">
                  <c:v>#N/A</c:v>
                </c:pt>
                <c:pt idx="5754">
                  <c:v>2.0547945205479454</c:v>
                </c:pt>
                <c:pt idx="5755">
                  <c:v>2.0547945205479454</c:v>
                </c:pt>
                <c:pt idx="5756">
                  <c:v>#N/A</c:v>
                </c:pt>
                <c:pt idx="5757">
                  <c:v>#N/A</c:v>
                </c:pt>
                <c:pt idx="5758">
                  <c:v>#N/A</c:v>
                </c:pt>
                <c:pt idx="5759">
                  <c:v>#N/A</c:v>
                </c:pt>
                <c:pt idx="5760">
                  <c:v>#N/A</c:v>
                </c:pt>
                <c:pt idx="5761">
                  <c:v>2.0547945205479454</c:v>
                </c:pt>
                <c:pt idx="5762">
                  <c:v>#N/A</c:v>
                </c:pt>
                <c:pt idx="5763">
                  <c:v>#N/A</c:v>
                </c:pt>
                <c:pt idx="5764">
                  <c:v>2.0547945205479454</c:v>
                </c:pt>
                <c:pt idx="5765">
                  <c:v>2.0547945205479454</c:v>
                </c:pt>
                <c:pt idx="5766">
                  <c:v>2.0547945205479454</c:v>
                </c:pt>
                <c:pt idx="5767">
                  <c:v>2.0575342465753423</c:v>
                </c:pt>
                <c:pt idx="5768">
                  <c:v>2.0575342465753423</c:v>
                </c:pt>
                <c:pt idx="5769">
                  <c:v>2.0575342465753423</c:v>
                </c:pt>
                <c:pt idx="5770">
                  <c:v>2.0575342465753423</c:v>
                </c:pt>
                <c:pt idx="5771">
                  <c:v>#N/A</c:v>
                </c:pt>
                <c:pt idx="5772">
                  <c:v>2.0575342465753423</c:v>
                </c:pt>
                <c:pt idx="5773">
                  <c:v>#N/A</c:v>
                </c:pt>
                <c:pt idx="5774">
                  <c:v>#N/A</c:v>
                </c:pt>
                <c:pt idx="5775">
                  <c:v>2.0575342465753423</c:v>
                </c:pt>
                <c:pt idx="5776">
                  <c:v>2.0575342465753423</c:v>
                </c:pt>
                <c:pt idx="5777">
                  <c:v>2.0575342465753423</c:v>
                </c:pt>
                <c:pt idx="5778">
                  <c:v>2.0575342465753423</c:v>
                </c:pt>
                <c:pt idx="5779">
                  <c:v>2.0575342465753423</c:v>
                </c:pt>
                <c:pt idx="5780">
                  <c:v>2.0575342465753423</c:v>
                </c:pt>
                <c:pt idx="5781">
                  <c:v>#N/A</c:v>
                </c:pt>
                <c:pt idx="5782">
                  <c:v>#N/A</c:v>
                </c:pt>
                <c:pt idx="5783">
                  <c:v>2.0575342465753423</c:v>
                </c:pt>
                <c:pt idx="5784">
                  <c:v>#N/A</c:v>
                </c:pt>
                <c:pt idx="5785">
                  <c:v>#N/A</c:v>
                </c:pt>
                <c:pt idx="5786">
                  <c:v>#N/A</c:v>
                </c:pt>
                <c:pt idx="5787">
                  <c:v>#N/A</c:v>
                </c:pt>
                <c:pt idx="5788">
                  <c:v>#N/A</c:v>
                </c:pt>
                <c:pt idx="5789">
                  <c:v>#N/A</c:v>
                </c:pt>
                <c:pt idx="5790">
                  <c:v>2.0575342465753423</c:v>
                </c:pt>
                <c:pt idx="5791">
                  <c:v>2.0575342465753423</c:v>
                </c:pt>
                <c:pt idx="5792">
                  <c:v>#N/A</c:v>
                </c:pt>
                <c:pt idx="5793">
                  <c:v>2.0575342465753423</c:v>
                </c:pt>
                <c:pt idx="5794">
                  <c:v>#N/A</c:v>
                </c:pt>
                <c:pt idx="5795">
                  <c:v>2.0575342465753423</c:v>
                </c:pt>
                <c:pt idx="5796">
                  <c:v>#N/A</c:v>
                </c:pt>
                <c:pt idx="5797">
                  <c:v>2.0575342465753423</c:v>
                </c:pt>
                <c:pt idx="5798">
                  <c:v>#N/A</c:v>
                </c:pt>
                <c:pt idx="5799">
                  <c:v>2.0575342465753423</c:v>
                </c:pt>
                <c:pt idx="5800">
                  <c:v>#N/A</c:v>
                </c:pt>
                <c:pt idx="5801">
                  <c:v>#N/A</c:v>
                </c:pt>
                <c:pt idx="5802">
                  <c:v>#N/A</c:v>
                </c:pt>
                <c:pt idx="5803">
                  <c:v>#N/A</c:v>
                </c:pt>
                <c:pt idx="5804">
                  <c:v>#N/A</c:v>
                </c:pt>
                <c:pt idx="5805">
                  <c:v>#N/A</c:v>
                </c:pt>
                <c:pt idx="5806">
                  <c:v>#N/A</c:v>
                </c:pt>
                <c:pt idx="5807">
                  <c:v>2.0575342465753423</c:v>
                </c:pt>
                <c:pt idx="5808">
                  <c:v>2.0630136986301371</c:v>
                </c:pt>
                <c:pt idx="5809">
                  <c:v>#N/A</c:v>
                </c:pt>
                <c:pt idx="5810">
                  <c:v>2.0630136986301371</c:v>
                </c:pt>
                <c:pt idx="5811">
                  <c:v>2.0630136986301371</c:v>
                </c:pt>
                <c:pt idx="5812">
                  <c:v>#N/A</c:v>
                </c:pt>
                <c:pt idx="5813">
                  <c:v>#N/A</c:v>
                </c:pt>
                <c:pt idx="5814">
                  <c:v>2.0630136986301371</c:v>
                </c:pt>
                <c:pt idx="5815">
                  <c:v>#N/A</c:v>
                </c:pt>
                <c:pt idx="5816">
                  <c:v>2.0630136986301371</c:v>
                </c:pt>
                <c:pt idx="5817">
                  <c:v>2.0630136986301371</c:v>
                </c:pt>
                <c:pt idx="5818">
                  <c:v>2.0630136986301371</c:v>
                </c:pt>
                <c:pt idx="5819">
                  <c:v>2.0630136986301371</c:v>
                </c:pt>
                <c:pt idx="5820">
                  <c:v>2.0630136986301371</c:v>
                </c:pt>
                <c:pt idx="5821">
                  <c:v>#N/A</c:v>
                </c:pt>
                <c:pt idx="5822">
                  <c:v>2.0630136986301371</c:v>
                </c:pt>
                <c:pt idx="5823">
                  <c:v>#N/A</c:v>
                </c:pt>
                <c:pt idx="5824">
                  <c:v>#N/A</c:v>
                </c:pt>
                <c:pt idx="5825">
                  <c:v>#N/A</c:v>
                </c:pt>
                <c:pt idx="5826">
                  <c:v>#N/A</c:v>
                </c:pt>
                <c:pt idx="5827">
                  <c:v>2.0630136986301371</c:v>
                </c:pt>
                <c:pt idx="5828">
                  <c:v>2.0630136986301371</c:v>
                </c:pt>
                <c:pt idx="5829">
                  <c:v>#N/A</c:v>
                </c:pt>
                <c:pt idx="5830">
                  <c:v>2.0630136986301371</c:v>
                </c:pt>
                <c:pt idx="5831">
                  <c:v>#N/A</c:v>
                </c:pt>
                <c:pt idx="5832">
                  <c:v>2.0630136986301371</c:v>
                </c:pt>
                <c:pt idx="5833">
                  <c:v>#N/A</c:v>
                </c:pt>
                <c:pt idx="5834">
                  <c:v>2.0630136986301371</c:v>
                </c:pt>
                <c:pt idx="5835">
                  <c:v>2.0630136986301371</c:v>
                </c:pt>
                <c:pt idx="5836">
                  <c:v>2.0657534246575344</c:v>
                </c:pt>
                <c:pt idx="5837">
                  <c:v>2.0657534246575344</c:v>
                </c:pt>
                <c:pt idx="5838">
                  <c:v>2.0657534246575344</c:v>
                </c:pt>
                <c:pt idx="5839">
                  <c:v>2.0657534246575344</c:v>
                </c:pt>
                <c:pt idx="5840">
                  <c:v>2.0657534246575344</c:v>
                </c:pt>
                <c:pt idx="5841">
                  <c:v>#N/A</c:v>
                </c:pt>
                <c:pt idx="5842">
                  <c:v>#N/A</c:v>
                </c:pt>
                <c:pt idx="5843">
                  <c:v>2.0657534246575344</c:v>
                </c:pt>
                <c:pt idx="5844">
                  <c:v>2.0657534246575344</c:v>
                </c:pt>
                <c:pt idx="5845">
                  <c:v>#N/A</c:v>
                </c:pt>
                <c:pt idx="5846">
                  <c:v>#N/A</c:v>
                </c:pt>
                <c:pt idx="5847">
                  <c:v>#N/A</c:v>
                </c:pt>
                <c:pt idx="5848">
                  <c:v>2.0657534246575344</c:v>
                </c:pt>
                <c:pt idx="5849">
                  <c:v>#N/A</c:v>
                </c:pt>
                <c:pt idx="5850">
                  <c:v>2.0657534246575344</c:v>
                </c:pt>
                <c:pt idx="5851">
                  <c:v>#N/A</c:v>
                </c:pt>
                <c:pt idx="5852">
                  <c:v>#N/A</c:v>
                </c:pt>
                <c:pt idx="5853">
                  <c:v>2.0657534246575344</c:v>
                </c:pt>
                <c:pt idx="5854">
                  <c:v>#N/A</c:v>
                </c:pt>
                <c:pt idx="5855">
                  <c:v>#N/A</c:v>
                </c:pt>
                <c:pt idx="5856">
                  <c:v>#N/A</c:v>
                </c:pt>
                <c:pt idx="5857">
                  <c:v>2.0657534246575344</c:v>
                </c:pt>
                <c:pt idx="5858">
                  <c:v>#N/A</c:v>
                </c:pt>
                <c:pt idx="5859">
                  <c:v>#N/A</c:v>
                </c:pt>
                <c:pt idx="5860">
                  <c:v>#N/A</c:v>
                </c:pt>
                <c:pt idx="5861">
                  <c:v>2.0657534246575344</c:v>
                </c:pt>
                <c:pt idx="5862">
                  <c:v>#N/A</c:v>
                </c:pt>
                <c:pt idx="5863">
                  <c:v>#N/A</c:v>
                </c:pt>
                <c:pt idx="5864">
                  <c:v>2.0657534246575344</c:v>
                </c:pt>
                <c:pt idx="5865">
                  <c:v>2.0657534246575344</c:v>
                </c:pt>
                <c:pt idx="5866">
                  <c:v>#N/A</c:v>
                </c:pt>
                <c:pt idx="5867">
                  <c:v>2.0657534246575344</c:v>
                </c:pt>
                <c:pt idx="5868">
                  <c:v>#N/A</c:v>
                </c:pt>
                <c:pt idx="5869">
                  <c:v>#N/A</c:v>
                </c:pt>
                <c:pt idx="5870">
                  <c:v>#N/A</c:v>
                </c:pt>
                <c:pt idx="5871">
                  <c:v>#N/A</c:v>
                </c:pt>
                <c:pt idx="5872">
                  <c:v>#N/A</c:v>
                </c:pt>
                <c:pt idx="5873">
                  <c:v>2.0657534246575344</c:v>
                </c:pt>
                <c:pt idx="5874">
                  <c:v>#N/A</c:v>
                </c:pt>
                <c:pt idx="5875">
                  <c:v>2.0657534246575344</c:v>
                </c:pt>
                <c:pt idx="5876">
                  <c:v>2.0657534246575344</c:v>
                </c:pt>
                <c:pt idx="5877">
                  <c:v>#N/A</c:v>
                </c:pt>
                <c:pt idx="5878">
                  <c:v>2.0657534246575344</c:v>
                </c:pt>
                <c:pt idx="5879">
                  <c:v>2.0657534246575344</c:v>
                </c:pt>
                <c:pt idx="5880">
                  <c:v>2.0657534246575344</c:v>
                </c:pt>
                <c:pt idx="5881">
                  <c:v>#N/A</c:v>
                </c:pt>
                <c:pt idx="5882">
                  <c:v>#N/A</c:v>
                </c:pt>
                <c:pt idx="5883">
                  <c:v>#N/A</c:v>
                </c:pt>
                <c:pt idx="5884">
                  <c:v>2.0657534246575344</c:v>
                </c:pt>
                <c:pt idx="5885">
                  <c:v>#N/A</c:v>
                </c:pt>
                <c:pt idx="5886">
                  <c:v>#N/A</c:v>
                </c:pt>
                <c:pt idx="5887">
                  <c:v>#N/A</c:v>
                </c:pt>
                <c:pt idx="5888">
                  <c:v>#N/A</c:v>
                </c:pt>
                <c:pt idx="5889">
                  <c:v>#N/A</c:v>
                </c:pt>
                <c:pt idx="5890">
                  <c:v>#N/A</c:v>
                </c:pt>
                <c:pt idx="5891">
                  <c:v>#N/A</c:v>
                </c:pt>
                <c:pt idx="5892">
                  <c:v>2.0657534246575344</c:v>
                </c:pt>
                <c:pt idx="5893">
                  <c:v>#N/A</c:v>
                </c:pt>
                <c:pt idx="5894">
                  <c:v>2.0657534246575344</c:v>
                </c:pt>
                <c:pt idx="5895">
                  <c:v>#N/A</c:v>
                </c:pt>
                <c:pt idx="5896">
                  <c:v>#N/A</c:v>
                </c:pt>
                <c:pt idx="5897">
                  <c:v>2.0657534246575344</c:v>
                </c:pt>
                <c:pt idx="5898">
                  <c:v>2.0657534246575344</c:v>
                </c:pt>
                <c:pt idx="5899">
                  <c:v>#N/A</c:v>
                </c:pt>
                <c:pt idx="5900">
                  <c:v>2.0657534246575344</c:v>
                </c:pt>
                <c:pt idx="5901">
                  <c:v>#N/A</c:v>
                </c:pt>
                <c:pt idx="5902">
                  <c:v>#N/A</c:v>
                </c:pt>
                <c:pt idx="5903">
                  <c:v>#N/A</c:v>
                </c:pt>
                <c:pt idx="5904">
                  <c:v>#N/A</c:v>
                </c:pt>
                <c:pt idx="5905">
                  <c:v>2.0657534246575344</c:v>
                </c:pt>
                <c:pt idx="5906">
                  <c:v>2.0657534246575344</c:v>
                </c:pt>
                <c:pt idx="5907">
                  <c:v>#N/A</c:v>
                </c:pt>
                <c:pt idx="5908">
                  <c:v>2.0657534246575344</c:v>
                </c:pt>
                <c:pt idx="5909">
                  <c:v>#N/A</c:v>
                </c:pt>
                <c:pt idx="5910">
                  <c:v>#N/A</c:v>
                </c:pt>
                <c:pt idx="5911">
                  <c:v>2.0657534246575344</c:v>
                </c:pt>
                <c:pt idx="5912">
                  <c:v>#N/A</c:v>
                </c:pt>
                <c:pt idx="5913">
                  <c:v>2.0657534246575344</c:v>
                </c:pt>
                <c:pt idx="5914">
                  <c:v>#N/A</c:v>
                </c:pt>
                <c:pt idx="5915">
                  <c:v>#N/A</c:v>
                </c:pt>
                <c:pt idx="5916">
                  <c:v>2.0657534246575344</c:v>
                </c:pt>
                <c:pt idx="5917">
                  <c:v>#N/A</c:v>
                </c:pt>
                <c:pt idx="5918">
                  <c:v>2.0657534246575344</c:v>
                </c:pt>
                <c:pt idx="5919">
                  <c:v>2.0657534246575344</c:v>
                </c:pt>
                <c:pt idx="5920">
                  <c:v>2.0657534246575344</c:v>
                </c:pt>
                <c:pt idx="5921">
                  <c:v>#N/A</c:v>
                </c:pt>
                <c:pt idx="5922">
                  <c:v>#N/A</c:v>
                </c:pt>
                <c:pt idx="5923">
                  <c:v>#N/A</c:v>
                </c:pt>
                <c:pt idx="5924">
                  <c:v>#N/A</c:v>
                </c:pt>
                <c:pt idx="5925">
                  <c:v>2.0657534246575344</c:v>
                </c:pt>
                <c:pt idx="5926">
                  <c:v>#N/A</c:v>
                </c:pt>
                <c:pt idx="5927">
                  <c:v>2.0657534246575344</c:v>
                </c:pt>
                <c:pt idx="5928">
                  <c:v>2.0657534246575344</c:v>
                </c:pt>
                <c:pt idx="5929">
                  <c:v>2.0657534246575344</c:v>
                </c:pt>
                <c:pt idx="5930">
                  <c:v>#N/A</c:v>
                </c:pt>
                <c:pt idx="5931">
                  <c:v>#N/A</c:v>
                </c:pt>
                <c:pt idx="5932">
                  <c:v>2.0684931506849313</c:v>
                </c:pt>
                <c:pt idx="5933">
                  <c:v>#N/A</c:v>
                </c:pt>
                <c:pt idx="5934">
                  <c:v>#N/A</c:v>
                </c:pt>
                <c:pt idx="5935">
                  <c:v>2.0684931506849313</c:v>
                </c:pt>
                <c:pt idx="5936">
                  <c:v>#N/A</c:v>
                </c:pt>
                <c:pt idx="5937">
                  <c:v>2.0684931506849313</c:v>
                </c:pt>
                <c:pt idx="5938">
                  <c:v>2.0684931506849313</c:v>
                </c:pt>
                <c:pt idx="5939">
                  <c:v>2.0684931506849313</c:v>
                </c:pt>
                <c:pt idx="5940">
                  <c:v>#N/A</c:v>
                </c:pt>
                <c:pt idx="5941">
                  <c:v>#N/A</c:v>
                </c:pt>
                <c:pt idx="5942">
                  <c:v>2.0684931506849313</c:v>
                </c:pt>
                <c:pt idx="5943">
                  <c:v>2.0684931506849313</c:v>
                </c:pt>
                <c:pt idx="5944">
                  <c:v>#N/A</c:v>
                </c:pt>
                <c:pt idx="5945">
                  <c:v>#N/A</c:v>
                </c:pt>
                <c:pt idx="5946">
                  <c:v>2.0684931506849313</c:v>
                </c:pt>
                <c:pt idx="5947">
                  <c:v>#N/A</c:v>
                </c:pt>
                <c:pt idx="5948">
                  <c:v>#N/A</c:v>
                </c:pt>
                <c:pt idx="5949">
                  <c:v>2.0684931506849313</c:v>
                </c:pt>
                <c:pt idx="5950">
                  <c:v>2.0684931506849313</c:v>
                </c:pt>
                <c:pt idx="5951">
                  <c:v>2.0684931506849313</c:v>
                </c:pt>
                <c:pt idx="5952">
                  <c:v>2.0684931506849313</c:v>
                </c:pt>
                <c:pt idx="5953">
                  <c:v>2.0684931506849313</c:v>
                </c:pt>
                <c:pt idx="5954">
                  <c:v>2.0684931506849313</c:v>
                </c:pt>
                <c:pt idx="5955">
                  <c:v>2.0684931506849313</c:v>
                </c:pt>
                <c:pt idx="5956">
                  <c:v>#N/A</c:v>
                </c:pt>
                <c:pt idx="5957">
                  <c:v>2.0684931506849313</c:v>
                </c:pt>
                <c:pt idx="5958">
                  <c:v>#N/A</c:v>
                </c:pt>
                <c:pt idx="5959">
                  <c:v>2.0684931506849313</c:v>
                </c:pt>
                <c:pt idx="5960">
                  <c:v>2.0684931506849313</c:v>
                </c:pt>
                <c:pt idx="5961">
                  <c:v>#N/A</c:v>
                </c:pt>
                <c:pt idx="5962">
                  <c:v>#N/A</c:v>
                </c:pt>
                <c:pt idx="5963">
                  <c:v>2.0684931506849313</c:v>
                </c:pt>
                <c:pt idx="5964">
                  <c:v>#N/A</c:v>
                </c:pt>
                <c:pt idx="5965">
                  <c:v>2.0684931506849313</c:v>
                </c:pt>
                <c:pt idx="5966">
                  <c:v>#N/A</c:v>
                </c:pt>
                <c:pt idx="5967">
                  <c:v>2.0712328767123287</c:v>
                </c:pt>
                <c:pt idx="5968">
                  <c:v>#N/A</c:v>
                </c:pt>
                <c:pt idx="5969">
                  <c:v>2.0712328767123287</c:v>
                </c:pt>
                <c:pt idx="5970">
                  <c:v>#N/A</c:v>
                </c:pt>
                <c:pt idx="5971">
                  <c:v>2.0712328767123287</c:v>
                </c:pt>
                <c:pt idx="5972">
                  <c:v>2.0712328767123287</c:v>
                </c:pt>
                <c:pt idx="5973">
                  <c:v>2.0712328767123287</c:v>
                </c:pt>
                <c:pt idx="5974">
                  <c:v>2.0712328767123287</c:v>
                </c:pt>
                <c:pt idx="5975">
                  <c:v>2.0712328767123287</c:v>
                </c:pt>
                <c:pt idx="5976">
                  <c:v>#N/A</c:v>
                </c:pt>
                <c:pt idx="5977">
                  <c:v>#N/A</c:v>
                </c:pt>
                <c:pt idx="5978">
                  <c:v>2.0712328767123287</c:v>
                </c:pt>
                <c:pt idx="5979">
                  <c:v>#N/A</c:v>
                </c:pt>
                <c:pt idx="5980">
                  <c:v>#N/A</c:v>
                </c:pt>
                <c:pt idx="5981">
                  <c:v>2.0712328767123287</c:v>
                </c:pt>
                <c:pt idx="5982">
                  <c:v>2.0712328767123287</c:v>
                </c:pt>
                <c:pt idx="5983">
                  <c:v>2.0712328767123287</c:v>
                </c:pt>
                <c:pt idx="5984">
                  <c:v>#N/A</c:v>
                </c:pt>
                <c:pt idx="5985">
                  <c:v>#N/A</c:v>
                </c:pt>
                <c:pt idx="5986">
                  <c:v>#N/A</c:v>
                </c:pt>
                <c:pt idx="5987">
                  <c:v>#N/A</c:v>
                </c:pt>
                <c:pt idx="5988">
                  <c:v>2.0739726027397261</c:v>
                </c:pt>
                <c:pt idx="5989">
                  <c:v>2.0739726027397261</c:v>
                </c:pt>
                <c:pt idx="5990">
                  <c:v>2.0739726027397261</c:v>
                </c:pt>
                <c:pt idx="5991">
                  <c:v>#N/A</c:v>
                </c:pt>
                <c:pt idx="5992">
                  <c:v>2.0739726027397261</c:v>
                </c:pt>
                <c:pt idx="5993">
                  <c:v>#N/A</c:v>
                </c:pt>
                <c:pt idx="5994">
                  <c:v>2.0739726027397261</c:v>
                </c:pt>
                <c:pt idx="5995">
                  <c:v>2.0739726027397261</c:v>
                </c:pt>
                <c:pt idx="5996">
                  <c:v>#N/A</c:v>
                </c:pt>
                <c:pt idx="5997">
                  <c:v>2.0739726027397261</c:v>
                </c:pt>
                <c:pt idx="5998">
                  <c:v>#N/A</c:v>
                </c:pt>
                <c:pt idx="5999">
                  <c:v>2.0739726027397261</c:v>
                </c:pt>
                <c:pt idx="6000">
                  <c:v>#N/A</c:v>
                </c:pt>
                <c:pt idx="6001">
                  <c:v>2.0739726027397261</c:v>
                </c:pt>
                <c:pt idx="6002">
                  <c:v>#N/A</c:v>
                </c:pt>
                <c:pt idx="6003">
                  <c:v>2.0767123287671234</c:v>
                </c:pt>
                <c:pt idx="6004">
                  <c:v>#N/A</c:v>
                </c:pt>
                <c:pt idx="6005">
                  <c:v>#N/A</c:v>
                </c:pt>
                <c:pt idx="6006">
                  <c:v>2.0849315068493151</c:v>
                </c:pt>
                <c:pt idx="6007">
                  <c:v>2.0849315068493151</c:v>
                </c:pt>
                <c:pt idx="6008">
                  <c:v>#N/A</c:v>
                </c:pt>
                <c:pt idx="6009">
                  <c:v>2.0849315068493151</c:v>
                </c:pt>
                <c:pt idx="6010">
                  <c:v>#N/A</c:v>
                </c:pt>
                <c:pt idx="6011">
                  <c:v>#N/A</c:v>
                </c:pt>
                <c:pt idx="6012">
                  <c:v>2.0849315068493151</c:v>
                </c:pt>
                <c:pt idx="6013">
                  <c:v>#N/A</c:v>
                </c:pt>
                <c:pt idx="6014">
                  <c:v>#N/A</c:v>
                </c:pt>
                <c:pt idx="6015">
                  <c:v>2.0849315068493151</c:v>
                </c:pt>
                <c:pt idx="6016">
                  <c:v>#N/A</c:v>
                </c:pt>
                <c:pt idx="6017">
                  <c:v>2.0849315068493151</c:v>
                </c:pt>
                <c:pt idx="6018">
                  <c:v>2.0849315068493151</c:v>
                </c:pt>
                <c:pt idx="6019">
                  <c:v>2.0849315068493151</c:v>
                </c:pt>
                <c:pt idx="6020">
                  <c:v>2.0849315068493151</c:v>
                </c:pt>
                <c:pt idx="6021">
                  <c:v>#N/A</c:v>
                </c:pt>
                <c:pt idx="6022">
                  <c:v>#N/A</c:v>
                </c:pt>
                <c:pt idx="6023">
                  <c:v>2.0849315068493151</c:v>
                </c:pt>
                <c:pt idx="6024">
                  <c:v>2.0849315068493151</c:v>
                </c:pt>
                <c:pt idx="6025">
                  <c:v>#N/A</c:v>
                </c:pt>
                <c:pt idx="6026">
                  <c:v>#N/A</c:v>
                </c:pt>
                <c:pt idx="6027">
                  <c:v>#N/A</c:v>
                </c:pt>
                <c:pt idx="6028">
                  <c:v>#N/A</c:v>
                </c:pt>
                <c:pt idx="6029">
                  <c:v>2.0849315068493151</c:v>
                </c:pt>
                <c:pt idx="6030">
                  <c:v>2.0849315068493151</c:v>
                </c:pt>
                <c:pt idx="6031">
                  <c:v>#N/A</c:v>
                </c:pt>
                <c:pt idx="6032">
                  <c:v>2.0849315068493151</c:v>
                </c:pt>
                <c:pt idx="6033">
                  <c:v>2.0849315068493151</c:v>
                </c:pt>
                <c:pt idx="6034">
                  <c:v>#N/A</c:v>
                </c:pt>
                <c:pt idx="6035">
                  <c:v>#N/A</c:v>
                </c:pt>
                <c:pt idx="6036">
                  <c:v>2.0849315068493151</c:v>
                </c:pt>
                <c:pt idx="6037">
                  <c:v>2.0849315068493151</c:v>
                </c:pt>
                <c:pt idx="6038">
                  <c:v>#N/A</c:v>
                </c:pt>
                <c:pt idx="6039">
                  <c:v>#N/A</c:v>
                </c:pt>
                <c:pt idx="6040">
                  <c:v>#N/A</c:v>
                </c:pt>
                <c:pt idx="6041">
                  <c:v>#N/A</c:v>
                </c:pt>
                <c:pt idx="6042">
                  <c:v>#N/A</c:v>
                </c:pt>
                <c:pt idx="6043">
                  <c:v>#N/A</c:v>
                </c:pt>
                <c:pt idx="6044">
                  <c:v>#N/A</c:v>
                </c:pt>
                <c:pt idx="6045">
                  <c:v>#N/A</c:v>
                </c:pt>
                <c:pt idx="6046">
                  <c:v>#N/A</c:v>
                </c:pt>
                <c:pt idx="6047">
                  <c:v>2.0904109589041098</c:v>
                </c:pt>
                <c:pt idx="6048">
                  <c:v>#N/A</c:v>
                </c:pt>
                <c:pt idx="6049">
                  <c:v>#N/A</c:v>
                </c:pt>
                <c:pt idx="6050">
                  <c:v>2.0904109589041098</c:v>
                </c:pt>
                <c:pt idx="6051">
                  <c:v>2.0904109589041098</c:v>
                </c:pt>
                <c:pt idx="6052">
                  <c:v>2.0904109589041098</c:v>
                </c:pt>
                <c:pt idx="6053">
                  <c:v>#N/A</c:v>
                </c:pt>
                <c:pt idx="6054">
                  <c:v>2.0904109589041098</c:v>
                </c:pt>
                <c:pt idx="6055">
                  <c:v>#N/A</c:v>
                </c:pt>
                <c:pt idx="6056">
                  <c:v>2.0931506849315067</c:v>
                </c:pt>
                <c:pt idx="6057">
                  <c:v>2.0931506849315067</c:v>
                </c:pt>
                <c:pt idx="6058">
                  <c:v>2.0931506849315067</c:v>
                </c:pt>
                <c:pt idx="6059">
                  <c:v>2.0931506849315067</c:v>
                </c:pt>
                <c:pt idx="6060">
                  <c:v>2.0931506849315067</c:v>
                </c:pt>
                <c:pt idx="6061">
                  <c:v>2.0931506849315067</c:v>
                </c:pt>
                <c:pt idx="6062">
                  <c:v>2.0931506849315067</c:v>
                </c:pt>
                <c:pt idx="6063">
                  <c:v>#N/A</c:v>
                </c:pt>
                <c:pt idx="6064">
                  <c:v>2.095890410958904</c:v>
                </c:pt>
                <c:pt idx="6065">
                  <c:v>#N/A</c:v>
                </c:pt>
                <c:pt idx="6066">
                  <c:v>2.095890410958904</c:v>
                </c:pt>
                <c:pt idx="6067">
                  <c:v>2.095890410958904</c:v>
                </c:pt>
                <c:pt idx="6068">
                  <c:v>#N/A</c:v>
                </c:pt>
                <c:pt idx="6069">
                  <c:v>2.1041095890410957</c:v>
                </c:pt>
                <c:pt idx="6070">
                  <c:v>#N/A</c:v>
                </c:pt>
                <c:pt idx="6071">
                  <c:v>#N/A</c:v>
                </c:pt>
                <c:pt idx="6072">
                  <c:v>2.106849315068493</c:v>
                </c:pt>
                <c:pt idx="6073">
                  <c:v>#N/A</c:v>
                </c:pt>
                <c:pt idx="6074">
                  <c:v>#N/A</c:v>
                </c:pt>
                <c:pt idx="6075">
                  <c:v>#N/A</c:v>
                </c:pt>
                <c:pt idx="6076">
                  <c:v>#N/A</c:v>
                </c:pt>
                <c:pt idx="6077">
                  <c:v>2.1123287671232878</c:v>
                </c:pt>
                <c:pt idx="6078">
                  <c:v>2.1123287671232878</c:v>
                </c:pt>
                <c:pt idx="6079">
                  <c:v>2.1232876712328768</c:v>
                </c:pt>
                <c:pt idx="6080">
                  <c:v>2.1260273972602741</c:v>
                </c:pt>
                <c:pt idx="6081">
                  <c:v>#N/A</c:v>
                </c:pt>
                <c:pt idx="6082">
                  <c:v>2.1260273972602741</c:v>
                </c:pt>
                <c:pt idx="6083">
                  <c:v>#N/A</c:v>
                </c:pt>
                <c:pt idx="6084">
                  <c:v>#N/A</c:v>
                </c:pt>
                <c:pt idx="6085">
                  <c:v>2.1260273972602741</c:v>
                </c:pt>
                <c:pt idx="6086">
                  <c:v>2.1260273972602741</c:v>
                </c:pt>
                <c:pt idx="6087">
                  <c:v>#N/A</c:v>
                </c:pt>
                <c:pt idx="6088">
                  <c:v>#N/A</c:v>
                </c:pt>
                <c:pt idx="6089">
                  <c:v>#N/A</c:v>
                </c:pt>
                <c:pt idx="6090">
                  <c:v>2.1260273972602741</c:v>
                </c:pt>
                <c:pt idx="6091">
                  <c:v>2.1260273972602741</c:v>
                </c:pt>
                <c:pt idx="6092">
                  <c:v>2.1260273972602741</c:v>
                </c:pt>
                <c:pt idx="6093">
                  <c:v>2.128767123287671</c:v>
                </c:pt>
                <c:pt idx="6094">
                  <c:v>#N/A</c:v>
                </c:pt>
                <c:pt idx="6095">
                  <c:v>2.128767123287671</c:v>
                </c:pt>
                <c:pt idx="6096">
                  <c:v>#N/A</c:v>
                </c:pt>
                <c:pt idx="6097">
                  <c:v>#N/A</c:v>
                </c:pt>
                <c:pt idx="6098">
                  <c:v>2.128767123287671</c:v>
                </c:pt>
                <c:pt idx="6099">
                  <c:v>2.128767123287671</c:v>
                </c:pt>
                <c:pt idx="6100">
                  <c:v>2.128767123287671</c:v>
                </c:pt>
                <c:pt idx="6101">
                  <c:v>#N/A</c:v>
                </c:pt>
                <c:pt idx="6102">
                  <c:v>#N/A</c:v>
                </c:pt>
                <c:pt idx="6103">
                  <c:v>#N/A</c:v>
                </c:pt>
                <c:pt idx="6104">
                  <c:v>#N/A</c:v>
                </c:pt>
                <c:pt idx="6105">
                  <c:v>2.128767123287671</c:v>
                </c:pt>
                <c:pt idx="6106">
                  <c:v>#N/A</c:v>
                </c:pt>
                <c:pt idx="6107">
                  <c:v>#N/A</c:v>
                </c:pt>
                <c:pt idx="6108">
                  <c:v>2.1315068493150684</c:v>
                </c:pt>
                <c:pt idx="6109">
                  <c:v>#N/A</c:v>
                </c:pt>
                <c:pt idx="6110">
                  <c:v>#N/A</c:v>
                </c:pt>
                <c:pt idx="6111">
                  <c:v>#N/A</c:v>
                </c:pt>
                <c:pt idx="6112">
                  <c:v>2.1315068493150684</c:v>
                </c:pt>
                <c:pt idx="6113">
                  <c:v>#N/A</c:v>
                </c:pt>
                <c:pt idx="6114">
                  <c:v>2.1315068493150684</c:v>
                </c:pt>
                <c:pt idx="6115">
                  <c:v>#N/A</c:v>
                </c:pt>
                <c:pt idx="6116">
                  <c:v>#N/A</c:v>
                </c:pt>
                <c:pt idx="6117">
                  <c:v>#N/A</c:v>
                </c:pt>
                <c:pt idx="6118">
                  <c:v>#N/A</c:v>
                </c:pt>
                <c:pt idx="6119">
                  <c:v>#N/A</c:v>
                </c:pt>
                <c:pt idx="6120">
                  <c:v>#N/A</c:v>
                </c:pt>
                <c:pt idx="6121">
                  <c:v>2.1424657534246574</c:v>
                </c:pt>
                <c:pt idx="6122">
                  <c:v>2.1424657534246574</c:v>
                </c:pt>
                <c:pt idx="6123">
                  <c:v>2.1452054794520548</c:v>
                </c:pt>
                <c:pt idx="6124">
                  <c:v>2.1452054794520548</c:v>
                </c:pt>
                <c:pt idx="6125">
                  <c:v>#N/A</c:v>
                </c:pt>
                <c:pt idx="6126">
                  <c:v>2.1452054794520548</c:v>
                </c:pt>
                <c:pt idx="6127">
                  <c:v>#N/A</c:v>
                </c:pt>
                <c:pt idx="6128">
                  <c:v>2.1452054794520548</c:v>
                </c:pt>
                <c:pt idx="6129">
                  <c:v>#N/A</c:v>
                </c:pt>
                <c:pt idx="6130">
                  <c:v>#N/A</c:v>
                </c:pt>
                <c:pt idx="6131">
                  <c:v>#N/A</c:v>
                </c:pt>
                <c:pt idx="6132">
                  <c:v>#N/A</c:v>
                </c:pt>
                <c:pt idx="6133">
                  <c:v>2.1506849315068495</c:v>
                </c:pt>
                <c:pt idx="6134">
                  <c:v>#N/A</c:v>
                </c:pt>
                <c:pt idx="6135">
                  <c:v>2.1506849315068495</c:v>
                </c:pt>
                <c:pt idx="6136">
                  <c:v>#N/A</c:v>
                </c:pt>
                <c:pt idx="6137">
                  <c:v>2.1616438356164385</c:v>
                </c:pt>
                <c:pt idx="6138">
                  <c:v>#N/A</c:v>
                </c:pt>
                <c:pt idx="6139">
                  <c:v>#N/A</c:v>
                </c:pt>
                <c:pt idx="6140">
                  <c:v>#N/A</c:v>
                </c:pt>
                <c:pt idx="6141">
                  <c:v>#N/A</c:v>
                </c:pt>
                <c:pt idx="6142">
                  <c:v>#N/A</c:v>
                </c:pt>
                <c:pt idx="6143">
                  <c:v>#N/A</c:v>
                </c:pt>
                <c:pt idx="6144">
                  <c:v>2.1616438356164385</c:v>
                </c:pt>
                <c:pt idx="6145">
                  <c:v>#N/A</c:v>
                </c:pt>
                <c:pt idx="6146">
                  <c:v>2.1616438356164385</c:v>
                </c:pt>
                <c:pt idx="6147">
                  <c:v>#N/A</c:v>
                </c:pt>
                <c:pt idx="6148">
                  <c:v>2.1643835616438358</c:v>
                </c:pt>
                <c:pt idx="6149">
                  <c:v>2.1643835616438358</c:v>
                </c:pt>
                <c:pt idx="6150">
                  <c:v>#N/A</c:v>
                </c:pt>
                <c:pt idx="6151">
                  <c:v>2.1698630136986301</c:v>
                </c:pt>
                <c:pt idx="6152">
                  <c:v>#N/A</c:v>
                </c:pt>
                <c:pt idx="6153">
                  <c:v>2.1726027397260275</c:v>
                </c:pt>
                <c:pt idx="6154">
                  <c:v>#N/A</c:v>
                </c:pt>
                <c:pt idx="6155">
                  <c:v>#N/A</c:v>
                </c:pt>
                <c:pt idx="6156">
                  <c:v>#N/A</c:v>
                </c:pt>
                <c:pt idx="6157">
                  <c:v>2.1808219178082191</c:v>
                </c:pt>
                <c:pt idx="6158">
                  <c:v>#N/A</c:v>
                </c:pt>
                <c:pt idx="6159">
                  <c:v>2.1808219178082191</c:v>
                </c:pt>
                <c:pt idx="6160">
                  <c:v>2.1808219178082191</c:v>
                </c:pt>
                <c:pt idx="6161">
                  <c:v>2.1835616438356165</c:v>
                </c:pt>
                <c:pt idx="6162">
                  <c:v>#N/A</c:v>
                </c:pt>
                <c:pt idx="6163">
                  <c:v>#N/A</c:v>
                </c:pt>
                <c:pt idx="6164">
                  <c:v>#N/A</c:v>
                </c:pt>
                <c:pt idx="6165">
                  <c:v>#N/A</c:v>
                </c:pt>
                <c:pt idx="6166">
                  <c:v>#N/A</c:v>
                </c:pt>
                <c:pt idx="6167">
                  <c:v>#N/A</c:v>
                </c:pt>
                <c:pt idx="6168">
                  <c:v>#N/A</c:v>
                </c:pt>
                <c:pt idx="6169">
                  <c:v>#N/A</c:v>
                </c:pt>
                <c:pt idx="6170">
                  <c:v>#N/A</c:v>
                </c:pt>
                <c:pt idx="6171">
                  <c:v>2.1890410958904107</c:v>
                </c:pt>
                <c:pt idx="6172">
                  <c:v>#N/A</c:v>
                </c:pt>
                <c:pt idx="6173">
                  <c:v>#N/A</c:v>
                </c:pt>
                <c:pt idx="6174">
                  <c:v>2.1890410958904107</c:v>
                </c:pt>
                <c:pt idx="6175">
                  <c:v>#N/A</c:v>
                </c:pt>
                <c:pt idx="6176">
                  <c:v>2.1890410958904107</c:v>
                </c:pt>
                <c:pt idx="6177">
                  <c:v>2.1890410958904107</c:v>
                </c:pt>
                <c:pt idx="6178">
                  <c:v>#N/A</c:v>
                </c:pt>
                <c:pt idx="6179">
                  <c:v>2.1917808219178081</c:v>
                </c:pt>
                <c:pt idx="6180">
                  <c:v>#N/A</c:v>
                </c:pt>
                <c:pt idx="6181">
                  <c:v>#N/A</c:v>
                </c:pt>
                <c:pt idx="6182">
                  <c:v>#N/A</c:v>
                </c:pt>
                <c:pt idx="6183">
                  <c:v>#N/A</c:v>
                </c:pt>
                <c:pt idx="6184">
                  <c:v>#N/A</c:v>
                </c:pt>
                <c:pt idx="6185">
                  <c:v>#N/A</c:v>
                </c:pt>
                <c:pt idx="6186">
                  <c:v>#N/A</c:v>
                </c:pt>
                <c:pt idx="6187">
                  <c:v>#N/A</c:v>
                </c:pt>
                <c:pt idx="6188">
                  <c:v>#N/A</c:v>
                </c:pt>
                <c:pt idx="6189">
                  <c:v>#N/A</c:v>
                </c:pt>
                <c:pt idx="6190">
                  <c:v>#N/A</c:v>
                </c:pt>
                <c:pt idx="6191">
                  <c:v>#N/A</c:v>
                </c:pt>
                <c:pt idx="6192">
                  <c:v>#N/A</c:v>
                </c:pt>
                <c:pt idx="6193">
                  <c:v>#N/A</c:v>
                </c:pt>
                <c:pt idx="6194">
                  <c:v>2.1917808219178081</c:v>
                </c:pt>
                <c:pt idx="6195">
                  <c:v>2.1917808219178081</c:v>
                </c:pt>
                <c:pt idx="6196">
                  <c:v>#N/A</c:v>
                </c:pt>
                <c:pt idx="6197">
                  <c:v>#N/A</c:v>
                </c:pt>
                <c:pt idx="6198">
                  <c:v>2.2000000000000002</c:v>
                </c:pt>
                <c:pt idx="6199">
                  <c:v>#N/A</c:v>
                </c:pt>
                <c:pt idx="6200">
                  <c:v>#N/A</c:v>
                </c:pt>
                <c:pt idx="6201">
                  <c:v>#N/A</c:v>
                </c:pt>
                <c:pt idx="6202">
                  <c:v>#N/A</c:v>
                </c:pt>
                <c:pt idx="6203">
                  <c:v>#N/A</c:v>
                </c:pt>
                <c:pt idx="6204">
                  <c:v>#N/A</c:v>
                </c:pt>
                <c:pt idx="6205">
                  <c:v>#N/A</c:v>
                </c:pt>
                <c:pt idx="6206">
                  <c:v>2.2054794520547945</c:v>
                </c:pt>
                <c:pt idx="6207">
                  <c:v>2.2054794520547945</c:v>
                </c:pt>
                <c:pt idx="6208">
                  <c:v>2.2054794520547945</c:v>
                </c:pt>
                <c:pt idx="6209">
                  <c:v>2.2054794520547945</c:v>
                </c:pt>
                <c:pt idx="6210">
                  <c:v>2.2054794520547945</c:v>
                </c:pt>
                <c:pt idx="6211">
                  <c:v>2.2054794520547945</c:v>
                </c:pt>
                <c:pt idx="6212">
                  <c:v>#N/A</c:v>
                </c:pt>
                <c:pt idx="6213">
                  <c:v>2.2054794520547945</c:v>
                </c:pt>
                <c:pt idx="6214">
                  <c:v>2.2054794520547945</c:v>
                </c:pt>
                <c:pt idx="6215">
                  <c:v>2.2054794520547945</c:v>
                </c:pt>
                <c:pt idx="6216">
                  <c:v>2.2054794520547945</c:v>
                </c:pt>
                <c:pt idx="6217">
                  <c:v>2.2109589041095892</c:v>
                </c:pt>
                <c:pt idx="6218">
                  <c:v>2.2109589041095892</c:v>
                </c:pt>
                <c:pt idx="6219">
                  <c:v>#N/A</c:v>
                </c:pt>
                <c:pt idx="6220">
                  <c:v>2.2109589041095892</c:v>
                </c:pt>
                <c:pt idx="6221">
                  <c:v>2.2109589041095892</c:v>
                </c:pt>
                <c:pt idx="6222">
                  <c:v>#N/A</c:v>
                </c:pt>
                <c:pt idx="6223">
                  <c:v>#N/A</c:v>
                </c:pt>
                <c:pt idx="6224">
                  <c:v>#N/A</c:v>
                </c:pt>
                <c:pt idx="6225">
                  <c:v>2.2109589041095892</c:v>
                </c:pt>
                <c:pt idx="6226">
                  <c:v>#N/A</c:v>
                </c:pt>
                <c:pt idx="6227">
                  <c:v>2.2109589041095892</c:v>
                </c:pt>
                <c:pt idx="6228">
                  <c:v>#N/A</c:v>
                </c:pt>
                <c:pt idx="6229">
                  <c:v>#N/A</c:v>
                </c:pt>
                <c:pt idx="6230">
                  <c:v>#N/A</c:v>
                </c:pt>
                <c:pt idx="6231">
                  <c:v>#N/A</c:v>
                </c:pt>
                <c:pt idx="6232">
                  <c:v>#N/A</c:v>
                </c:pt>
                <c:pt idx="6233">
                  <c:v>2.2164383561643834</c:v>
                </c:pt>
                <c:pt idx="6234">
                  <c:v>#N/A</c:v>
                </c:pt>
                <c:pt idx="6235">
                  <c:v>2.2164383561643834</c:v>
                </c:pt>
                <c:pt idx="6236">
                  <c:v>#N/A</c:v>
                </c:pt>
                <c:pt idx="6237">
                  <c:v>#N/A</c:v>
                </c:pt>
                <c:pt idx="6238">
                  <c:v>2.2191780821917808</c:v>
                </c:pt>
                <c:pt idx="6239">
                  <c:v>#N/A</c:v>
                </c:pt>
                <c:pt idx="6240">
                  <c:v>#N/A</c:v>
                </c:pt>
                <c:pt idx="6241">
                  <c:v>2.2191780821917808</c:v>
                </c:pt>
                <c:pt idx="6242">
                  <c:v>#N/A</c:v>
                </c:pt>
                <c:pt idx="6243">
                  <c:v>#N/A</c:v>
                </c:pt>
                <c:pt idx="6244">
                  <c:v>#N/A</c:v>
                </c:pt>
                <c:pt idx="6245">
                  <c:v>#N/A</c:v>
                </c:pt>
                <c:pt idx="6246">
                  <c:v>2.2219178082191782</c:v>
                </c:pt>
                <c:pt idx="6247">
                  <c:v>2.2219178082191782</c:v>
                </c:pt>
                <c:pt idx="6248">
                  <c:v>#N/A</c:v>
                </c:pt>
                <c:pt idx="6249">
                  <c:v>#N/A</c:v>
                </c:pt>
                <c:pt idx="6250">
                  <c:v>2.2246575342465755</c:v>
                </c:pt>
                <c:pt idx="6251">
                  <c:v>2.2246575342465755</c:v>
                </c:pt>
                <c:pt idx="6252">
                  <c:v>2.2246575342465755</c:v>
                </c:pt>
                <c:pt idx="6253">
                  <c:v>2.2246575342465755</c:v>
                </c:pt>
                <c:pt idx="6254">
                  <c:v>#N/A</c:v>
                </c:pt>
                <c:pt idx="6255">
                  <c:v>2.2273972602739724</c:v>
                </c:pt>
                <c:pt idx="6256">
                  <c:v>#N/A</c:v>
                </c:pt>
                <c:pt idx="6257">
                  <c:v>2.2273972602739724</c:v>
                </c:pt>
                <c:pt idx="6258">
                  <c:v>2.2301369863013698</c:v>
                </c:pt>
                <c:pt idx="6259">
                  <c:v>2.2383561643835614</c:v>
                </c:pt>
                <c:pt idx="6260">
                  <c:v>#N/A</c:v>
                </c:pt>
                <c:pt idx="6261">
                  <c:v>2.2383561643835614</c:v>
                </c:pt>
                <c:pt idx="6262">
                  <c:v>#N/A</c:v>
                </c:pt>
                <c:pt idx="6263">
                  <c:v>2.2410958904109588</c:v>
                </c:pt>
                <c:pt idx="6264">
                  <c:v>#N/A</c:v>
                </c:pt>
                <c:pt idx="6265">
                  <c:v>#N/A</c:v>
                </c:pt>
                <c:pt idx="6266">
                  <c:v>2.2438356164383562</c:v>
                </c:pt>
                <c:pt idx="6267">
                  <c:v>2.2465753424657535</c:v>
                </c:pt>
                <c:pt idx="6268">
                  <c:v>2.2465753424657535</c:v>
                </c:pt>
                <c:pt idx="6269">
                  <c:v>#N/A</c:v>
                </c:pt>
                <c:pt idx="6270">
                  <c:v>#N/A</c:v>
                </c:pt>
                <c:pt idx="6271">
                  <c:v>2.2465753424657535</c:v>
                </c:pt>
                <c:pt idx="6272">
                  <c:v>#N/A</c:v>
                </c:pt>
                <c:pt idx="6273">
                  <c:v>#N/A</c:v>
                </c:pt>
                <c:pt idx="6274">
                  <c:v>#N/A</c:v>
                </c:pt>
                <c:pt idx="6275">
                  <c:v>#N/A</c:v>
                </c:pt>
                <c:pt idx="6276">
                  <c:v>#N/A</c:v>
                </c:pt>
                <c:pt idx="6277">
                  <c:v>2.2465753424657535</c:v>
                </c:pt>
                <c:pt idx="6278">
                  <c:v>2.2575342465753425</c:v>
                </c:pt>
                <c:pt idx="6279">
                  <c:v>2.2630136986301368</c:v>
                </c:pt>
                <c:pt idx="6280">
                  <c:v>2.2630136986301368</c:v>
                </c:pt>
                <c:pt idx="6281">
                  <c:v>2.2630136986301368</c:v>
                </c:pt>
                <c:pt idx="6282">
                  <c:v>2.2630136986301368</c:v>
                </c:pt>
                <c:pt idx="6283">
                  <c:v>2.2630136986301368</c:v>
                </c:pt>
                <c:pt idx="6284">
                  <c:v>2.2630136986301368</c:v>
                </c:pt>
                <c:pt idx="6285">
                  <c:v>2.2630136986301368</c:v>
                </c:pt>
                <c:pt idx="6286">
                  <c:v>2.2630136986301368</c:v>
                </c:pt>
                <c:pt idx="6287">
                  <c:v>2.2630136986301368</c:v>
                </c:pt>
                <c:pt idx="6288">
                  <c:v>2.2630136986301368</c:v>
                </c:pt>
                <c:pt idx="6289">
                  <c:v>2.2630136986301368</c:v>
                </c:pt>
                <c:pt idx="6290">
                  <c:v>2.2630136986301368</c:v>
                </c:pt>
                <c:pt idx="6291">
                  <c:v>2.2630136986301368</c:v>
                </c:pt>
                <c:pt idx="6292">
                  <c:v>#N/A</c:v>
                </c:pt>
                <c:pt idx="6293">
                  <c:v>2.2630136986301368</c:v>
                </c:pt>
                <c:pt idx="6294">
                  <c:v>2.2630136986301368</c:v>
                </c:pt>
                <c:pt idx="6295">
                  <c:v>#N/A</c:v>
                </c:pt>
                <c:pt idx="6296">
                  <c:v>#N/A</c:v>
                </c:pt>
                <c:pt idx="6297">
                  <c:v>2.2657534246575342</c:v>
                </c:pt>
                <c:pt idx="6298">
                  <c:v>#N/A</c:v>
                </c:pt>
                <c:pt idx="6299">
                  <c:v>2.2657534246575342</c:v>
                </c:pt>
                <c:pt idx="6300">
                  <c:v>2.2657534246575342</c:v>
                </c:pt>
                <c:pt idx="6301">
                  <c:v>#N/A</c:v>
                </c:pt>
                <c:pt idx="6302">
                  <c:v>2.2657534246575342</c:v>
                </c:pt>
                <c:pt idx="6303">
                  <c:v>2.2657534246575342</c:v>
                </c:pt>
                <c:pt idx="6304">
                  <c:v>#N/A</c:v>
                </c:pt>
                <c:pt idx="6305">
                  <c:v>#N/A</c:v>
                </c:pt>
                <c:pt idx="6306">
                  <c:v>2.2657534246575342</c:v>
                </c:pt>
                <c:pt idx="6307">
                  <c:v>2.2684931506849315</c:v>
                </c:pt>
                <c:pt idx="6308">
                  <c:v>2.2684931506849315</c:v>
                </c:pt>
                <c:pt idx="6309">
                  <c:v>#N/A</c:v>
                </c:pt>
                <c:pt idx="6310">
                  <c:v>#N/A</c:v>
                </c:pt>
                <c:pt idx="6311">
                  <c:v>#N/A</c:v>
                </c:pt>
                <c:pt idx="6312">
                  <c:v>#N/A</c:v>
                </c:pt>
                <c:pt idx="6313">
                  <c:v>#N/A</c:v>
                </c:pt>
                <c:pt idx="6314">
                  <c:v>2.2684931506849315</c:v>
                </c:pt>
                <c:pt idx="6315">
                  <c:v>2.2684931506849315</c:v>
                </c:pt>
                <c:pt idx="6316">
                  <c:v>#N/A</c:v>
                </c:pt>
                <c:pt idx="6317">
                  <c:v>2.2684931506849315</c:v>
                </c:pt>
                <c:pt idx="6318">
                  <c:v>#N/A</c:v>
                </c:pt>
                <c:pt idx="6319">
                  <c:v>2.2767123287671232</c:v>
                </c:pt>
                <c:pt idx="6320">
                  <c:v>2.2767123287671232</c:v>
                </c:pt>
                <c:pt idx="6321">
                  <c:v>#N/A</c:v>
                </c:pt>
                <c:pt idx="6322">
                  <c:v>2.2767123287671232</c:v>
                </c:pt>
                <c:pt idx="6323">
                  <c:v>2.2767123287671232</c:v>
                </c:pt>
                <c:pt idx="6324">
                  <c:v>2.2767123287671232</c:v>
                </c:pt>
                <c:pt idx="6325">
                  <c:v>#N/A</c:v>
                </c:pt>
                <c:pt idx="6326">
                  <c:v>2.2794520547945205</c:v>
                </c:pt>
                <c:pt idx="6327">
                  <c:v>2.2794520547945205</c:v>
                </c:pt>
                <c:pt idx="6328">
                  <c:v>#N/A</c:v>
                </c:pt>
                <c:pt idx="6329">
                  <c:v>#N/A</c:v>
                </c:pt>
                <c:pt idx="6330">
                  <c:v>2.2794520547945205</c:v>
                </c:pt>
                <c:pt idx="6331">
                  <c:v>2.2794520547945205</c:v>
                </c:pt>
                <c:pt idx="6332">
                  <c:v>2.2794520547945205</c:v>
                </c:pt>
                <c:pt idx="6333">
                  <c:v>2.2821917808219179</c:v>
                </c:pt>
                <c:pt idx="6334">
                  <c:v>2.2821917808219179</c:v>
                </c:pt>
                <c:pt idx="6335">
                  <c:v>#N/A</c:v>
                </c:pt>
                <c:pt idx="6336">
                  <c:v>2.2821917808219179</c:v>
                </c:pt>
                <c:pt idx="6337">
                  <c:v>2.2821917808219179</c:v>
                </c:pt>
                <c:pt idx="6338">
                  <c:v>2.2821917808219179</c:v>
                </c:pt>
                <c:pt idx="6339">
                  <c:v>2.2821917808219179</c:v>
                </c:pt>
                <c:pt idx="6340">
                  <c:v>#N/A</c:v>
                </c:pt>
                <c:pt idx="6341">
                  <c:v>#N/A</c:v>
                </c:pt>
                <c:pt idx="6342">
                  <c:v>#N/A</c:v>
                </c:pt>
                <c:pt idx="6343">
                  <c:v>2.2849315068493152</c:v>
                </c:pt>
                <c:pt idx="6344">
                  <c:v>#N/A</c:v>
                </c:pt>
                <c:pt idx="6345">
                  <c:v>#N/A</c:v>
                </c:pt>
                <c:pt idx="6346">
                  <c:v>2.2876712328767121</c:v>
                </c:pt>
                <c:pt idx="6347">
                  <c:v>2.2876712328767121</c:v>
                </c:pt>
                <c:pt idx="6348">
                  <c:v>#N/A</c:v>
                </c:pt>
                <c:pt idx="6349">
                  <c:v>2.2876712328767121</c:v>
                </c:pt>
                <c:pt idx="6350">
                  <c:v>2.2876712328767121</c:v>
                </c:pt>
                <c:pt idx="6351">
                  <c:v>#N/A</c:v>
                </c:pt>
                <c:pt idx="6352">
                  <c:v>#N/A</c:v>
                </c:pt>
                <c:pt idx="6353">
                  <c:v>2.2958904109589042</c:v>
                </c:pt>
                <c:pt idx="6354">
                  <c:v>#N/A</c:v>
                </c:pt>
                <c:pt idx="6355">
                  <c:v>2.2986301369863016</c:v>
                </c:pt>
                <c:pt idx="6356">
                  <c:v>#N/A</c:v>
                </c:pt>
                <c:pt idx="6357">
                  <c:v>2.2986301369863016</c:v>
                </c:pt>
                <c:pt idx="6358">
                  <c:v>2.2986301369863016</c:v>
                </c:pt>
                <c:pt idx="6359">
                  <c:v>#N/A</c:v>
                </c:pt>
                <c:pt idx="6360">
                  <c:v>2.2986301369863016</c:v>
                </c:pt>
                <c:pt idx="6361">
                  <c:v>#N/A</c:v>
                </c:pt>
                <c:pt idx="6362">
                  <c:v>#N/A</c:v>
                </c:pt>
                <c:pt idx="6363">
                  <c:v>#N/A</c:v>
                </c:pt>
                <c:pt idx="6364">
                  <c:v>#N/A</c:v>
                </c:pt>
                <c:pt idx="6365">
                  <c:v>#N/A</c:v>
                </c:pt>
                <c:pt idx="6366">
                  <c:v>#N/A</c:v>
                </c:pt>
                <c:pt idx="6367">
                  <c:v>2.3013698630136985</c:v>
                </c:pt>
                <c:pt idx="6368">
                  <c:v>2.3013698630136985</c:v>
                </c:pt>
                <c:pt idx="6369">
                  <c:v>#N/A</c:v>
                </c:pt>
                <c:pt idx="6370">
                  <c:v>2.3013698630136985</c:v>
                </c:pt>
                <c:pt idx="6371">
                  <c:v>#N/A</c:v>
                </c:pt>
                <c:pt idx="6372">
                  <c:v>2.3013698630136985</c:v>
                </c:pt>
                <c:pt idx="6373">
                  <c:v>2.3013698630136985</c:v>
                </c:pt>
                <c:pt idx="6374">
                  <c:v>#N/A</c:v>
                </c:pt>
                <c:pt idx="6375">
                  <c:v>2.3041095890410959</c:v>
                </c:pt>
                <c:pt idx="6376">
                  <c:v>#N/A</c:v>
                </c:pt>
                <c:pt idx="6377">
                  <c:v>2.3041095890410959</c:v>
                </c:pt>
                <c:pt idx="6378">
                  <c:v>#N/A</c:v>
                </c:pt>
                <c:pt idx="6379">
                  <c:v>2.3041095890410959</c:v>
                </c:pt>
                <c:pt idx="6380">
                  <c:v>2.3041095890410959</c:v>
                </c:pt>
                <c:pt idx="6381">
                  <c:v>#N/A</c:v>
                </c:pt>
                <c:pt idx="6382">
                  <c:v>#N/A</c:v>
                </c:pt>
                <c:pt idx="6383">
                  <c:v>2.3150684931506849</c:v>
                </c:pt>
                <c:pt idx="6384">
                  <c:v>#N/A</c:v>
                </c:pt>
                <c:pt idx="6385">
                  <c:v>#N/A</c:v>
                </c:pt>
                <c:pt idx="6386">
                  <c:v>2.3150684931506849</c:v>
                </c:pt>
                <c:pt idx="6387">
                  <c:v>#N/A</c:v>
                </c:pt>
                <c:pt idx="6388">
                  <c:v>2.3150684931506849</c:v>
                </c:pt>
                <c:pt idx="6389">
                  <c:v>#N/A</c:v>
                </c:pt>
                <c:pt idx="6390">
                  <c:v>2.3150684931506849</c:v>
                </c:pt>
                <c:pt idx="6391">
                  <c:v>#N/A</c:v>
                </c:pt>
                <c:pt idx="6392">
                  <c:v>#N/A</c:v>
                </c:pt>
                <c:pt idx="6393">
                  <c:v>2.3150684931506849</c:v>
                </c:pt>
                <c:pt idx="6394">
                  <c:v>#N/A</c:v>
                </c:pt>
                <c:pt idx="6395">
                  <c:v>#N/A</c:v>
                </c:pt>
                <c:pt idx="6396">
                  <c:v>#N/A</c:v>
                </c:pt>
                <c:pt idx="6397">
                  <c:v>2.3150684931506849</c:v>
                </c:pt>
                <c:pt idx="6398">
                  <c:v>#N/A</c:v>
                </c:pt>
                <c:pt idx="6399">
                  <c:v>#N/A</c:v>
                </c:pt>
                <c:pt idx="6400">
                  <c:v>2.3205479452054796</c:v>
                </c:pt>
                <c:pt idx="6401">
                  <c:v>2.3205479452054796</c:v>
                </c:pt>
                <c:pt idx="6402">
                  <c:v>2.3205479452054796</c:v>
                </c:pt>
                <c:pt idx="6403">
                  <c:v>#N/A</c:v>
                </c:pt>
                <c:pt idx="6404">
                  <c:v>#N/A</c:v>
                </c:pt>
                <c:pt idx="6405">
                  <c:v>#N/A</c:v>
                </c:pt>
                <c:pt idx="6406">
                  <c:v>2.3205479452054796</c:v>
                </c:pt>
                <c:pt idx="6407">
                  <c:v>2.3205479452054796</c:v>
                </c:pt>
                <c:pt idx="6408">
                  <c:v>2.3205479452054796</c:v>
                </c:pt>
                <c:pt idx="6409">
                  <c:v>2.3205479452054796</c:v>
                </c:pt>
                <c:pt idx="6410">
                  <c:v>2.3205479452054796</c:v>
                </c:pt>
                <c:pt idx="6411">
                  <c:v>2.3205479452054796</c:v>
                </c:pt>
                <c:pt idx="6412">
                  <c:v>#N/A</c:v>
                </c:pt>
                <c:pt idx="6413">
                  <c:v>#N/A</c:v>
                </c:pt>
                <c:pt idx="6414">
                  <c:v>#N/A</c:v>
                </c:pt>
                <c:pt idx="6415">
                  <c:v>2.3205479452054796</c:v>
                </c:pt>
                <c:pt idx="6416">
                  <c:v>#N/A</c:v>
                </c:pt>
                <c:pt idx="6417">
                  <c:v>#N/A</c:v>
                </c:pt>
                <c:pt idx="6418">
                  <c:v>#N/A</c:v>
                </c:pt>
                <c:pt idx="6419">
                  <c:v>#N/A</c:v>
                </c:pt>
                <c:pt idx="6420">
                  <c:v>2.3205479452054796</c:v>
                </c:pt>
                <c:pt idx="6421">
                  <c:v>#N/A</c:v>
                </c:pt>
                <c:pt idx="6422">
                  <c:v>2.3205479452054796</c:v>
                </c:pt>
                <c:pt idx="6423">
                  <c:v>2.3205479452054796</c:v>
                </c:pt>
                <c:pt idx="6424">
                  <c:v>2.3205479452054796</c:v>
                </c:pt>
                <c:pt idx="6425">
                  <c:v>2.3205479452054796</c:v>
                </c:pt>
                <c:pt idx="6426">
                  <c:v>2.3205479452054796</c:v>
                </c:pt>
                <c:pt idx="6427">
                  <c:v>2.3205479452054796</c:v>
                </c:pt>
                <c:pt idx="6428">
                  <c:v>#N/A</c:v>
                </c:pt>
                <c:pt idx="6429">
                  <c:v>#N/A</c:v>
                </c:pt>
                <c:pt idx="6430">
                  <c:v>#N/A</c:v>
                </c:pt>
                <c:pt idx="6431">
                  <c:v>#N/A</c:v>
                </c:pt>
                <c:pt idx="6432">
                  <c:v>#N/A</c:v>
                </c:pt>
                <c:pt idx="6433">
                  <c:v>2.3205479452054796</c:v>
                </c:pt>
                <c:pt idx="6434">
                  <c:v>#N/A</c:v>
                </c:pt>
                <c:pt idx="6435">
                  <c:v>#N/A</c:v>
                </c:pt>
                <c:pt idx="6436">
                  <c:v>#N/A</c:v>
                </c:pt>
                <c:pt idx="6437">
                  <c:v>2.3205479452054796</c:v>
                </c:pt>
                <c:pt idx="6438">
                  <c:v>2.3205479452054796</c:v>
                </c:pt>
                <c:pt idx="6439">
                  <c:v>#N/A</c:v>
                </c:pt>
                <c:pt idx="6440">
                  <c:v>#N/A</c:v>
                </c:pt>
                <c:pt idx="6441">
                  <c:v>2.3205479452054796</c:v>
                </c:pt>
                <c:pt idx="6442">
                  <c:v>2.3205479452054796</c:v>
                </c:pt>
                <c:pt idx="6443">
                  <c:v>#N/A</c:v>
                </c:pt>
                <c:pt idx="6444">
                  <c:v>#N/A</c:v>
                </c:pt>
                <c:pt idx="6445">
                  <c:v>2.3205479452054796</c:v>
                </c:pt>
                <c:pt idx="6446">
                  <c:v>#N/A</c:v>
                </c:pt>
                <c:pt idx="6447">
                  <c:v>2.3232876712328765</c:v>
                </c:pt>
                <c:pt idx="6448">
                  <c:v>2.3260273972602739</c:v>
                </c:pt>
                <c:pt idx="6449">
                  <c:v>#N/A</c:v>
                </c:pt>
                <c:pt idx="6450">
                  <c:v>#N/A</c:v>
                </c:pt>
                <c:pt idx="6451">
                  <c:v>2.3260273972602739</c:v>
                </c:pt>
                <c:pt idx="6452">
                  <c:v>#N/A</c:v>
                </c:pt>
                <c:pt idx="6453">
                  <c:v>2.3342465753424659</c:v>
                </c:pt>
                <c:pt idx="6454">
                  <c:v>#N/A</c:v>
                </c:pt>
                <c:pt idx="6455">
                  <c:v>#N/A</c:v>
                </c:pt>
                <c:pt idx="6456">
                  <c:v>#N/A</c:v>
                </c:pt>
                <c:pt idx="6457">
                  <c:v>2.3369863013698629</c:v>
                </c:pt>
                <c:pt idx="6458">
                  <c:v>#N/A</c:v>
                </c:pt>
                <c:pt idx="6459">
                  <c:v>#N/A</c:v>
                </c:pt>
                <c:pt idx="6460">
                  <c:v>#N/A</c:v>
                </c:pt>
                <c:pt idx="6461">
                  <c:v>#N/A</c:v>
                </c:pt>
                <c:pt idx="6462">
                  <c:v>#N/A</c:v>
                </c:pt>
                <c:pt idx="6463">
                  <c:v>#N/A</c:v>
                </c:pt>
                <c:pt idx="6464">
                  <c:v>2.3369863013698629</c:v>
                </c:pt>
                <c:pt idx="6465">
                  <c:v>#N/A</c:v>
                </c:pt>
                <c:pt idx="6466">
                  <c:v>#N/A</c:v>
                </c:pt>
                <c:pt idx="6467">
                  <c:v>2.3397260273972602</c:v>
                </c:pt>
                <c:pt idx="6468">
                  <c:v>#N/A</c:v>
                </c:pt>
                <c:pt idx="6469">
                  <c:v>#N/A</c:v>
                </c:pt>
                <c:pt idx="6470">
                  <c:v>2.3424657534246576</c:v>
                </c:pt>
                <c:pt idx="6471">
                  <c:v>#N/A</c:v>
                </c:pt>
                <c:pt idx="6472">
                  <c:v>#N/A</c:v>
                </c:pt>
                <c:pt idx="6473">
                  <c:v>#N/A</c:v>
                </c:pt>
                <c:pt idx="6474">
                  <c:v>2.3424657534246576</c:v>
                </c:pt>
                <c:pt idx="6475">
                  <c:v>#N/A</c:v>
                </c:pt>
                <c:pt idx="6476">
                  <c:v>#N/A</c:v>
                </c:pt>
                <c:pt idx="6477">
                  <c:v>2.3424657534246576</c:v>
                </c:pt>
                <c:pt idx="6478">
                  <c:v>2.3424657534246576</c:v>
                </c:pt>
                <c:pt idx="6479">
                  <c:v>#N/A</c:v>
                </c:pt>
                <c:pt idx="6480">
                  <c:v>#N/A</c:v>
                </c:pt>
                <c:pt idx="6481">
                  <c:v>#N/A</c:v>
                </c:pt>
                <c:pt idx="6482">
                  <c:v>2.3534246575342466</c:v>
                </c:pt>
                <c:pt idx="6483">
                  <c:v>2.3534246575342466</c:v>
                </c:pt>
                <c:pt idx="6484">
                  <c:v>#N/A</c:v>
                </c:pt>
                <c:pt idx="6485">
                  <c:v>#N/A</c:v>
                </c:pt>
                <c:pt idx="6486">
                  <c:v>2.3534246575342466</c:v>
                </c:pt>
                <c:pt idx="6487">
                  <c:v>#N/A</c:v>
                </c:pt>
                <c:pt idx="6488">
                  <c:v>2.3561643835616439</c:v>
                </c:pt>
                <c:pt idx="6489">
                  <c:v>2.3561643835616439</c:v>
                </c:pt>
                <c:pt idx="6490">
                  <c:v>2.3561643835616439</c:v>
                </c:pt>
                <c:pt idx="6491">
                  <c:v>2.3561643835616439</c:v>
                </c:pt>
                <c:pt idx="6492">
                  <c:v>#N/A</c:v>
                </c:pt>
                <c:pt idx="6493">
                  <c:v>2.3561643835616439</c:v>
                </c:pt>
                <c:pt idx="6494">
                  <c:v>#N/A</c:v>
                </c:pt>
                <c:pt idx="6495">
                  <c:v>2.3589041095890413</c:v>
                </c:pt>
                <c:pt idx="6496">
                  <c:v>2.3589041095890413</c:v>
                </c:pt>
                <c:pt idx="6497">
                  <c:v>2.3589041095890413</c:v>
                </c:pt>
                <c:pt idx="6498">
                  <c:v>2.3589041095890413</c:v>
                </c:pt>
                <c:pt idx="6499">
                  <c:v>#N/A</c:v>
                </c:pt>
                <c:pt idx="6500">
                  <c:v>#N/A</c:v>
                </c:pt>
                <c:pt idx="6501">
                  <c:v>2.3616438356164382</c:v>
                </c:pt>
                <c:pt idx="6502">
                  <c:v>2.3616438356164382</c:v>
                </c:pt>
                <c:pt idx="6503">
                  <c:v>#N/A</c:v>
                </c:pt>
                <c:pt idx="6504">
                  <c:v>2.3616438356164382</c:v>
                </c:pt>
                <c:pt idx="6505">
                  <c:v>#N/A</c:v>
                </c:pt>
                <c:pt idx="6506">
                  <c:v>2.3643835616438356</c:v>
                </c:pt>
                <c:pt idx="6507">
                  <c:v>2.3643835616438356</c:v>
                </c:pt>
                <c:pt idx="6508">
                  <c:v>#N/A</c:v>
                </c:pt>
                <c:pt idx="6509">
                  <c:v>#N/A</c:v>
                </c:pt>
                <c:pt idx="6510">
                  <c:v>#N/A</c:v>
                </c:pt>
                <c:pt idx="6511">
                  <c:v>#N/A</c:v>
                </c:pt>
                <c:pt idx="6512">
                  <c:v>#N/A</c:v>
                </c:pt>
                <c:pt idx="6513">
                  <c:v>2.3753424657534246</c:v>
                </c:pt>
                <c:pt idx="6514">
                  <c:v>2.3808219178082193</c:v>
                </c:pt>
                <c:pt idx="6515">
                  <c:v>#N/A</c:v>
                </c:pt>
                <c:pt idx="6516">
                  <c:v>#N/A</c:v>
                </c:pt>
                <c:pt idx="6517">
                  <c:v>2.3835616438356166</c:v>
                </c:pt>
                <c:pt idx="6518">
                  <c:v>#N/A</c:v>
                </c:pt>
                <c:pt idx="6519">
                  <c:v>2.3835616438356166</c:v>
                </c:pt>
                <c:pt idx="6520">
                  <c:v>2.3835616438356166</c:v>
                </c:pt>
                <c:pt idx="6521">
                  <c:v>2.3835616438356166</c:v>
                </c:pt>
                <c:pt idx="6522">
                  <c:v>#N/A</c:v>
                </c:pt>
                <c:pt idx="6523">
                  <c:v>2.3863013698630136</c:v>
                </c:pt>
                <c:pt idx="6524">
                  <c:v>#N/A</c:v>
                </c:pt>
                <c:pt idx="6525">
                  <c:v>#N/A</c:v>
                </c:pt>
                <c:pt idx="6526">
                  <c:v>#N/A</c:v>
                </c:pt>
                <c:pt idx="6527">
                  <c:v>#N/A</c:v>
                </c:pt>
                <c:pt idx="6528">
                  <c:v>#N/A</c:v>
                </c:pt>
                <c:pt idx="6529">
                  <c:v>2.3863013698630136</c:v>
                </c:pt>
                <c:pt idx="6530">
                  <c:v>2.3863013698630136</c:v>
                </c:pt>
                <c:pt idx="6531">
                  <c:v>2.3863013698630136</c:v>
                </c:pt>
                <c:pt idx="6532">
                  <c:v>2.3863013698630136</c:v>
                </c:pt>
                <c:pt idx="6533">
                  <c:v>2.3863013698630136</c:v>
                </c:pt>
                <c:pt idx="6534">
                  <c:v>2.3863013698630136</c:v>
                </c:pt>
                <c:pt idx="6535">
                  <c:v>2.3863013698630136</c:v>
                </c:pt>
                <c:pt idx="6536">
                  <c:v>2.3863013698630136</c:v>
                </c:pt>
                <c:pt idx="6537">
                  <c:v>2.3863013698630136</c:v>
                </c:pt>
                <c:pt idx="6538">
                  <c:v>2.3863013698630136</c:v>
                </c:pt>
                <c:pt idx="6539">
                  <c:v>#N/A</c:v>
                </c:pt>
                <c:pt idx="6540">
                  <c:v>#N/A</c:v>
                </c:pt>
                <c:pt idx="6541">
                  <c:v>#N/A</c:v>
                </c:pt>
                <c:pt idx="6542">
                  <c:v>2.3863013698630136</c:v>
                </c:pt>
                <c:pt idx="6543">
                  <c:v>#N/A</c:v>
                </c:pt>
                <c:pt idx="6544">
                  <c:v>#N/A</c:v>
                </c:pt>
                <c:pt idx="6545">
                  <c:v>#N/A</c:v>
                </c:pt>
                <c:pt idx="6546">
                  <c:v>#N/A</c:v>
                </c:pt>
                <c:pt idx="6547">
                  <c:v>#N/A</c:v>
                </c:pt>
                <c:pt idx="6548">
                  <c:v>#N/A</c:v>
                </c:pt>
                <c:pt idx="6549">
                  <c:v>#N/A</c:v>
                </c:pt>
                <c:pt idx="6550">
                  <c:v>2.3863013698630136</c:v>
                </c:pt>
                <c:pt idx="6551">
                  <c:v>#N/A</c:v>
                </c:pt>
                <c:pt idx="6552">
                  <c:v>2.3863013698630136</c:v>
                </c:pt>
                <c:pt idx="6553">
                  <c:v>2.3863013698630136</c:v>
                </c:pt>
                <c:pt idx="6554">
                  <c:v>2.3863013698630136</c:v>
                </c:pt>
                <c:pt idx="6555">
                  <c:v>#N/A</c:v>
                </c:pt>
                <c:pt idx="6556">
                  <c:v>2.3863013698630136</c:v>
                </c:pt>
                <c:pt idx="6557">
                  <c:v>#N/A</c:v>
                </c:pt>
                <c:pt idx="6558">
                  <c:v>#N/A</c:v>
                </c:pt>
                <c:pt idx="6559">
                  <c:v>#N/A</c:v>
                </c:pt>
                <c:pt idx="6560">
                  <c:v>2.3863013698630136</c:v>
                </c:pt>
                <c:pt idx="6561">
                  <c:v>2.3890410958904109</c:v>
                </c:pt>
                <c:pt idx="6562">
                  <c:v>2.3890410958904109</c:v>
                </c:pt>
                <c:pt idx="6563">
                  <c:v>#N/A</c:v>
                </c:pt>
                <c:pt idx="6564">
                  <c:v>#N/A</c:v>
                </c:pt>
                <c:pt idx="6565">
                  <c:v>#N/A</c:v>
                </c:pt>
                <c:pt idx="6566">
                  <c:v>#N/A</c:v>
                </c:pt>
                <c:pt idx="6567">
                  <c:v>#N/A</c:v>
                </c:pt>
                <c:pt idx="6568">
                  <c:v>#N/A</c:v>
                </c:pt>
                <c:pt idx="6569">
                  <c:v>2.3890410958904109</c:v>
                </c:pt>
                <c:pt idx="6570">
                  <c:v>2.3890410958904109</c:v>
                </c:pt>
                <c:pt idx="6571">
                  <c:v>#N/A</c:v>
                </c:pt>
                <c:pt idx="6572">
                  <c:v>#N/A</c:v>
                </c:pt>
                <c:pt idx="6573">
                  <c:v>2.3917808219178083</c:v>
                </c:pt>
                <c:pt idx="6574">
                  <c:v>2.3917808219178083</c:v>
                </c:pt>
                <c:pt idx="6575">
                  <c:v>2.3917808219178083</c:v>
                </c:pt>
                <c:pt idx="6576">
                  <c:v>2.3917808219178083</c:v>
                </c:pt>
                <c:pt idx="6577">
                  <c:v>#N/A</c:v>
                </c:pt>
                <c:pt idx="6578">
                  <c:v>#N/A</c:v>
                </c:pt>
                <c:pt idx="6579">
                  <c:v>#N/A</c:v>
                </c:pt>
                <c:pt idx="6580">
                  <c:v>2.3917808219178083</c:v>
                </c:pt>
                <c:pt idx="6581">
                  <c:v>2.3917808219178083</c:v>
                </c:pt>
                <c:pt idx="6582">
                  <c:v>#N/A</c:v>
                </c:pt>
                <c:pt idx="6583">
                  <c:v>#N/A</c:v>
                </c:pt>
                <c:pt idx="6584">
                  <c:v>2.3917808219178083</c:v>
                </c:pt>
                <c:pt idx="6585">
                  <c:v>#N/A</c:v>
                </c:pt>
                <c:pt idx="6586">
                  <c:v>#N/A</c:v>
                </c:pt>
                <c:pt idx="6587">
                  <c:v>#N/A</c:v>
                </c:pt>
                <c:pt idx="6588">
                  <c:v>#N/A</c:v>
                </c:pt>
                <c:pt idx="6589">
                  <c:v>2.3945205479452056</c:v>
                </c:pt>
                <c:pt idx="6590">
                  <c:v>#N/A</c:v>
                </c:pt>
                <c:pt idx="6591">
                  <c:v>#N/A</c:v>
                </c:pt>
                <c:pt idx="6592">
                  <c:v>2.3972602739726026</c:v>
                </c:pt>
                <c:pt idx="6593">
                  <c:v>#N/A</c:v>
                </c:pt>
                <c:pt idx="6594">
                  <c:v>2.3972602739726026</c:v>
                </c:pt>
                <c:pt idx="6595">
                  <c:v>#N/A</c:v>
                </c:pt>
                <c:pt idx="6596">
                  <c:v>#N/A</c:v>
                </c:pt>
                <c:pt idx="6597">
                  <c:v>#N/A</c:v>
                </c:pt>
                <c:pt idx="6598">
                  <c:v>#N/A</c:v>
                </c:pt>
                <c:pt idx="6599">
                  <c:v>#N/A</c:v>
                </c:pt>
                <c:pt idx="6600">
                  <c:v>#N/A</c:v>
                </c:pt>
                <c:pt idx="6601">
                  <c:v>2.4</c:v>
                </c:pt>
                <c:pt idx="6602">
                  <c:v>#N/A</c:v>
                </c:pt>
                <c:pt idx="6603">
                  <c:v>2.4</c:v>
                </c:pt>
                <c:pt idx="6604">
                  <c:v>#N/A</c:v>
                </c:pt>
                <c:pt idx="6605">
                  <c:v>2.4</c:v>
                </c:pt>
                <c:pt idx="6606">
                  <c:v>#N/A</c:v>
                </c:pt>
                <c:pt idx="6607">
                  <c:v>#N/A</c:v>
                </c:pt>
                <c:pt idx="6608">
                  <c:v>#N/A</c:v>
                </c:pt>
                <c:pt idx="6609">
                  <c:v>#N/A</c:v>
                </c:pt>
                <c:pt idx="6610">
                  <c:v>2.4027397260273973</c:v>
                </c:pt>
                <c:pt idx="6611">
                  <c:v>#N/A</c:v>
                </c:pt>
                <c:pt idx="6612">
                  <c:v>2.4109589041095889</c:v>
                </c:pt>
                <c:pt idx="6613">
                  <c:v>2.4109589041095889</c:v>
                </c:pt>
                <c:pt idx="6614">
                  <c:v>2.4109589041095889</c:v>
                </c:pt>
                <c:pt idx="6615">
                  <c:v>2.4109589041095889</c:v>
                </c:pt>
                <c:pt idx="6616">
                  <c:v>#N/A</c:v>
                </c:pt>
                <c:pt idx="6617">
                  <c:v>#N/A</c:v>
                </c:pt>
                <c:pt idx="6618">
                  <c:v>#N/A</c:v>
                </c:pt>
                <c:pt idx="6619">
                  <c:v>#N/A</c:v>
                </c:pt>
                <c:pt idx="6620">
                  <c:v>2.4109589041095889</c:v>
                </c:pt>
                <c:pt idx="6621">
                  <c:v>#N/A</c:v>
                </c:pt>
                <c:pt idx="6622">
                  <c:v>2.4109589041095889</c:v>
                </c:pt>
                <c:pt idx="6623">
                  <c:v>2.4136986301369863</c:v>
                </c:pt>
                <c:pt idx="6624">
                  <c:v>#N/A</c:v>
                </c:pt>
                <c:pt idx="6625">
                  <c:v>#N/A</c:v>
                </c:pt>
                <c:pt idx="6626">
                  <c:v>#N/A</c:v>
                </c:pt>
                <c:pt idx="6627">
                  <c:v>2.4136986301369863</c:v>
                </c:pt>
                <c:pt idx="6628">
                  <c:v>2.4164383561643836</c:v>
                </c:pt>
                <c:pt idx="6629">
                  <c:v>#N/A</c:v>
                </c:pt>
                <c:pt idx="6630">
                  <c:v>#N/A</c:v>
                </c:pt>
                <c:pt idx="6631">
                  <c:v>2.419178082191781</c:v>
                </c:pt>
                <c:pt idx="6632">
                  <c:v>2.419178082191781</c:v>
                </c:pt>
                <c:pt idx="6633">
                  <c:v>#N/A</c:v>
                </c:pt>
                <c:pt idx="6634">
                  <c:v>#N/A</c:v>
                </c:pt>
                <c:pt idx="6635">
                  <c:v>2.419178082191781</c:v>
                </c:pt>
                <c:pt idx="6636">
                  <c:v>#N/A</c:v>
                </c:pt>
                <c:pt idx="6637">
                  <c:v>2.419178082191781</c:v>
                </c:pt>
                <c:pt idx="6638">
                  <c:v>2.4219178082191779</c:v>
                </c:pt>
                <c:pt idx="6639">
                  <c:v>#N/A</c:v>
                </c:pt>
                <c:pt idx="6640">
                  <c:v>#N/A</c:v>
                </c:pt>
                <c:pt idx="6641">
                  <c:v>2.4219178082191779</c:v>
                </c:pt>
                <c:pt idx="6642">
                  <c:v>2.4219178082191779</c:v>
                </c:pt>
                <c:pt idx="6643">
                  <c:v>2.4219178082191779</c:v>
                </c:pt>
                <c:pt idx="6644">
                  <c:v>#N/A</c:v>
                </c:pt>
                <c:pt idx="6645">
                  <c:v>2.43013698630137</c:v>
                </c:pt>
                <c:pt idx="6646">
                  <c:v>2.43013698630137</c:v>
                </c:pt>
                <c:pt idx="6647">
                  <c:v>#N/A</c:v>
                </c:pt>
                <c:pt idx="6648">
                  <c:v>#N/A</c:v>
                </c:pt>
                <c:pt idx="6649">
                  <c:v>2.4328767123287673</c:v>
                </c:pt>
                <c:pt idx="6650">
                  <c:v>#N/A</c:v>
                </c:pt>
                <c:pt idx="6651">
                  <c:v>2.4328767123287673</c:v>
                </c:pt>
                <c:pt idx="6652">
                  <c:v>2.4328767123287673</c:v>
                </c:pt>
                <c:pt idx="6653">
                  <c:v>#N/A</c:v>
                </c:pt>
                <c:pt idx="6654">
                  <c:v>#N/A</c:v>
                </c:pt>
                <c:pt idx="6655">
                  <c:v>2.4356164383561643</c:v>
                </c:pt>
                <c:pt idx="6656">
                  <c:v>#N/A</c:v>
                </c:pt>
                <c:pt idx="6657">
                  <c:v>#N/A</c:v>
                </c:pt>
                <c:pt idx="6658">
                  <c:v>2.4356164383561643</c:v>
                </c:pt>
                <c:pt idx="6659">
                  <c:v>2.4356164383561643</c:v>
                </c:pt>
                <c:pt idx="6660">
                  <c:v>2.4356164383561643</c:v>
                </c:pt>
                <c:pt idx="6661">
                  <c:v>#N/A</c:v>
                </c:pt>
                <c:pt idx="6662">
                  <c:v>#N/A</c:v>
                </c:pt>
                <c:pt idx="6663">
                  <c:v>2.4383561643835616</c:v>
                </c:pt>
                <c:pt idx="6664">
                  <c:v>#N/A</c:v>
                </c:pt>
                <c:pt idx="6665">
                  <c:v>#N/A</c:v>
                </c:pt>
                <c:pt idx="6666">
                  <c:v>2.4493150684931506</c:v>
                </c:pt>
                <c:pt idx="6667">
                  <c:v>2.452054794520548</c:v>
                </c:pt>
                <c:pt idx="6668">
                  <c:v>2.452054794520548</c:v>
                </c:pt>
                <c:pt idx="6669">
                  <c:v>2.452054794520548</c:v>
                </c:pt>
                <c:pt idx="6670">
                  <c:v>2.452054794520548</c:v>
                </c:pt>
                <c:pt idx="6671">
                  <c:v>2.452054794520548</c:v>
                </c:pt>
                <c:pt idx="6672">
                  <c:v>2.452054794520548</c:v>
                </c:pt>
                <c:pt idx="6673">
                  <c:v>#N/A</c:v>
                </c:pt>
                <c:pt idx="6674">
                  <c:v>2.452054794520548</c:v>
                </c:pt>
                <c:pt idx="6675">
                  <c:v>2.452054794520548</c:v>
                </c:pt>
                <c:pt idx="6676">
                  <c:v>2.452054794520548</c:v>
                </c:pt>
                <c:pt idx="6677">
                  <c:v>#N/A</c:v>
                </c:pt>
                <c:pt idx="6678">
                  <c:v>#N/A</c:v>
                </c:pt>
                <c:pt idx="6679">
                  <c:v>2.4547945205479453</c:v>
                </c:pt>
                <c:pt idx="6680">
                  <c:v>#N/A</c:v>
                </c:pt>
                <c:pt idx="6681">
                  <c:v>2.4547945205479453</c:v>
                </c:pt>
                <c:pt idx="6682">
                  <c:v>#N/A</c:v>
                </c:pt>
                <c:pt idx="6683">
                  <c:v>#N/A</c:v>
                </c:pt>
                <c:pt idx="6684">
                  <c:v>#N/A</c:v>
                </c:pt>
                <c:pt idx="6685">
                  <c:v>2.4547945205479453</c:v>
                </c:pt>
                <c:pt idx="6686">
                  <c:v>2.4547945205479453</c:v>
                </c:pt>
                <c:pt idx="6687">
                  <c:v>#N/A</c:v>
                </c:pt>
                <c:pt idx="6688">
                  <c:v>2.4575342465753423</c:v>
                </c:pt>
                <c:pt idx="6689">
                  <c:v>#N/A</c:v>
                </c:pt>
                <c:pt idx="6690">
                  <c:v>#N/A</c:v>
                </c:pt>
                <c:pt idx="6691">
                  <c:v>#N/A</c:v>
                </c:pt>
                <c:pt idx="6692">
                  <c:v>2.4575342465753423</c:v>
                </c:pt>
                <c:pt idx="6693">
                  <c:v>2.4575342465753423</c:v>
                </c:pt>
                <c:pt idx="6694">
                  <c:v>2.4575342465753423</c:v>
                </c:pt>
                <c:pt idx="6695">
                  <c:v>2.4575342465753423</c:v>
                </c:pt>
                <c:pt idx="6696">
                  <c:v>#N/A</c:v>
                </c:pt>
                <c:pt idx="6697">
                  <c:v>#N/A</c:v>
                </c:pt>
                <c:pt idx="6698">
                  <c:v>#N/A</c:v>
                </c:pt>
                <c:pt idx="6699">
                  <c:v>#N/A</c:v>
                </c:pt>
                <c:pt idx="6700">
                  <c:v>2.4602739726027396</c:v>
                </c:pt>
                <c:pt idx="6701">
                  <c:v>#N/A</c:v>
                </c:pt>
                <c:pt idx="6702">
                  <c:v>#N/A</c:v>
                </c:pt>
                <c:pt idx="6703">
                  <c:v>#N/A</c:v>
                </c:pt>
                <c:pt idx="6704">
                  <c:v>#N/A</c:v>
                </c:pt>
                <c:pt idx="6705">
                  <c:v>2.4602739726027396</c:v>
                </c:pt>
                <c:pt idx="6706">
                  <c:v>#N/A</c:v>
                </c:pt>
                <c:pt idx="6707">
                  <c:v>#N/A</c:v>
                </c:pt>
                <c:pt idx="6708">
                  <c:v>#N/A</c:v>
                </c:pt>
                <c:pt idx="6709">
                  <c:v>#N/A</c:v>
                </c:pt>
                <c:pt idx="6710">
                  <c:v>2.4712328767123286</c:v>
                </c:pt>
                <c:pt idx="6711">
                  <c:v>2.473972602739726</c:v>
                </c:pt>
                <c:pt idx="6712">
                  <c:v>#N/A</c:v>
                </c:pt>
                <c:pt idx="6713">
                  <c:v>#N/A</c:v>
                </c:pt>
                <c:pt idx="6714">
                  <c:v>#N/A</c:v>
                </c:pt>
                <c:pt idx="6715">
                  <c:v>#N/A</c:v>
                </c:pt>
                <c:pt idx="6716">
                  <c:v>#N/A</c:v>
                </c:pt>
                <c:pt idx="6717">
                  <c:v>2.4767123287671233</c:v>
                </c:pt>
                <c:pt idx="6718">
                  <c:v>2.4767123287671233</c:v>
                </c:pt>
                <c:pt idx="6719">
                  <c:v>#N/A</c:v>
                </c:pt>
                <c:pt idx="6720">
                  <c:v>2.4794520547945207</c:v>
                </c:pt>
                <c:pt idx="6721">
                  <c:v>2.4876712328767123</c:v>
                </c:pt>
                <c:pt idx="6722">
                  <c:v>#N/A</c:v>
                </c:pt>
                <c:pt idx="6723">
                  <c:v>2.4904109589041097</c:v>
                </c:pt>
                <c:pt idx="6724">
                  <c:v>2.493150684931507</c:v>
                </c:pt>
                <c:pt idx="6725">
                  <c:v>2.493150684931507</c:v>
                </c:pt>
                <c:pt idx="6726">
                  <c:v>2.493150684931507</c:v>
                </c:pt>
                <c:pt idx="6727">
                  <c:v>2.493150684931507</c:v>
                </c:pt>
                <c:pt idx="6728">
                  <c:v>2.493150684931507</c:v>
                </c:pt>
                <c:pt idx="6729">
                  <c:v>2.493150684931507</c:v>
                </c:pt>
                <c:pt idx="6730">
                  <c:v>2.493150684931507</c:v>
                </c:pt>
                <c:pt idx="6731">
                  <c:v>2.493150684931507</c:v>
                </c:pt>
                <c:pt idx="6732">
                  <c:v>2.493150684931507</c:v>
                </c:pt>
                <c:pt idx="6733">
                  <c:v>#N/A</c:v>
                </c:pt>
                <c:pt idx="6734">
                  <c:v>2.493150684931507</c:v>
                </c:pt>
                <c:pt idx="6735">
                  <c:v>#N/A</c:v>
                </c:pt>
                <c:pt idx="6736">
                  <c:v>#N/A</c:v>
                </c:pt>
                <c:pt idx="6737">
                  <c:v>2.493150684931507</c:v>
                </c:pt>
                <c:pt idx="6738">
                  <c:v>2.493150684931507</c:v>
                </c:pt>
                <c:pt idx="6739">
                  <c:v>2.493150684931507</c:v>
                </c:pt>
                <c:pt idx="6740">
                  <c:v>2.493150684931507</c:v>
                </c:pt>
                <c:pt idx="6741">
                  <c:v>2.493150684931507</c:v>
                </c:pt>
                <c:pt idx="6742">
                  <c:v>#N/A</c:v>
                </c:pt>
                <c:pt idx="6743">
                  <c:v>#N/A</c:v>
                </c:pt>
                <c:pt idx="6744">
                  <c:v>#N/A</c:v>
                </c:pt>
                <c:pt idx="6745">
                  <c:v>#N/A</c:v>
                </c:pt>
                <c:pt idx="6746">
                  <c:v>2.493150684931507</c:v>
                </c:pt>
                <c:pt idx="6747">
                  <c:v>2.493150684931507</c:v>
                </c:pt>
                <c:pt idx="6748">
                  <c:v>2.493150684931507</c:v>
                </c:pt>
                <c:pt idx="6749">
                  <c:v>#N/A</c:v>
                </c:pt>
                <c:pt idx="6750">
                  <c:v>#N/A</c:v>
                </c:pt>
                <c:pt idx="6751">
                  <c:v>2.495890410958904</c:v>
                </c:pt>
                <c:pt idx="6752">
                  <c:v>2.495890410958904</c:v>
                </c:pt>
                <c:pt idx="6753">
                  <c:v>#N/A</c:v>
                </c:pt>
                <c:pt idx="6754">
                  <c:v>2.495890410958904</c:v>
                </c:pt>
                <c:pt idx="6755">
                  <c:v>2.495890410958904</c:v>
                </c:pt>
                <c:pt idx="6756">
                  <c:v>#N/A</c:v>
                </c:pt>
                <c:pt idx="6757">
                  <c:v>#N/A</c:v>
                </c:pt>
                <c:pt idx="6758">
                  <c:v>#N/A</c:v>
                </c:pt>
                <c:pt idx="6759">
                  <c:v>2.504109589041096</c:v>
                </c:pt>
                <c:pt idx="6760">
                  <c:v>2.506849315068493</c:v>
                </c:pt>
                <c:pt idx="6761">
                  <c:v>2.506849315068493</c:v>
                </c:pt>
                <c:pt idx="6762">
                  <c:v>#N/A</c:v>
                </c:pt>
                <c:pt idx="6763">
                  <c:v>#N/A</c:v>
                </c:pt>
                <c:pt idx="6764">
                  <c:v>#N/A</c:v>
                </c:pt>
                <c:pt idx="6765">
                  <c:v>2.506849315068493</c:v>
                </c:pt>
                <c:pt idx="6766">
                  <c:v>#N/A</c:v>
                </c:pt>
                <c:pt idx="6767">
                  <c:v>2.506849315068493</c:v>
                </c:pt>
                <c:pt idx="6768">
                  <c:v>#N/A</c:v>
                </c:pt>
                <c:pt idx="6769">
                  <c:v>#N/A</c:v>
                </c:pt>
                <c:pt idx="6770">
                  <c:v>#N/A</c:v>
                </c:pt>
                <c:pt idx="6771">
                  <c:v>#N/A</c:v>
                </c:pt>
                <c:pt idx="6772">
                  <c:v>#N/A</c:v>
                </c:pt>
                <c:pt idx="6773">
                  <c:v>#N/A</c:v>
                </c:pt>
                <c:pt idx="6774">
                  <c:v>#N/A</c:v>
                </c:pt>
                <c:pt idx="6775">
                  <c:v>2.506849315068493</c:v>
                </c:pt>
                <c:pt idx="6776">
                  <c:v>#N/A</c:v>
                </c:pt>
                <c:pt idx="6777">
                  <c:v>#N/A</c:v>
                </c:pt>
                <c:pt idx="6778">
                  <c:v>2.506849315068493</c:v>
                </c:pt>
                <c:pt idx="6779">
                  <c:v>#N/A</c:v>
                </c:pt>
                <c:pt idx="6780">
                  <c:v>#N/A</c:v>
                </c:pt>
                <c:pt idx="6781">
                  <c:v>#N/A</c:v>
                </c:pt>
                <c:pt idx="6782">
                  <c:v>2.506849315068493</c:v>
                </c:pt>
                <c:pt idx="6783">
                  <c:v>#N/A</c:v>
                </c:pt>
                <c:pt idx="6784">
                  <c:v>#N/A</c:v>
                </c:pt>
                <c:pt idx="6785">
                  <c:v>#N/A</c:v>
                </c:pt>
                <c:pt idx="6786">
                  <c:v>#N/A</c:v>
                </c:pt>
                <c:pt idx="6787">
                  <c:v>2.506849315068493</c:v>
                </c:pt>
                <c:pt idx="6788">
                  <c:v>#N/A</c:v>
                </c:pt>
                <c:pt idx="6789">
                  <c:v>#N/A</c:v>
                </c:pt>
                <c:pt idx="6790">
                  <c:v>#N/A</c:v>
                </c:pt>
                <c:pt idx="6791">
                  <c:v>2.506849315068493</c:v>
                </c:pt>
                <c:pt idx="6792">
                  <c:v>2.506849315068493</c:v>
                </c:pt>
                <c:pt idx="6793">
                  <c:v>#N/A</c:v>
                </c:pt>
                <c:pt idx="6794">
                  <c:v>#N/A</c:v>
                </c:pt>
                <c:pt idx="6795">
                  <c:v>2.506849315068493</c:v>
                </c:pt>
                <c:pt idx="6796">
                  <c:v>#N/A</c:v>
                </c:pt>
                <c:pt idx="6797">
                  <c:v>2.506849315068493</c:v>
                </c:pt>
                <c:pt idx="6798">
                  <c:v>2.506849315068493</c:v>
                </c:pt>
                <c:pt idx="6799">
                  <c:v>2.506849315068493</c:v>
                </c:pt>
                <c:pt idx="6800">
                  <c:v>2.5095890410958903</c:v>
                </c:pt>
                <c:pt idx="6801">
                  <c:v>#N/A</c:v>
                </c:pt>
                <c:pt idx="6802">
                  <c:v>#N/A</c:v>
                </c:pt>
                <c:pt idx="6803">
                  <c:v>2.5095890410958903</c:v>
                </c:pt>
                <c:pt idx="6804">
                  <c:v>#N/A</c:v>
                </c:pt>
                <c:pt idx="6805">
                  <c:v>#N/A</c:v>
                </c:pt>
                <c:pt idx="6806">
                  <c:v>2.5095890410958903</c:v>
                </c:pt>
                <c:pt idx="6807">
                  <c:v>2.5095890410958903</c:v>
                </c:pt>
                <c:pt idx="6808">
                  <c:v>2.5095890410958903</c:v>
                </c:pt>
                <c:pt idx="6809">
                  <c:v>#N/A</c:v>
                </c:pt>
                <c:pt idx="6810">
                  <c:v>2.5095890410958903</c:v>
                </c:pt>
                <c:pt idx="6811">
                  <c:v>#N/A</c:v>
                </c:pt>
                <c:pt idx="6812">
                  <c:v>#N/A</c:v>
                </c:pt>
                <c:pt idx="6813">
                  <c:v>#N/A</c:v>
                </c:pt>
                <c:pt idx="6814">
                  <c:v>2.5095890410958903</c:v>
                </c:pt>
                <c:pt idx="6815">
                  <c:v>#N/A</c:v>
                </c:pt>
                <c:pt idx="6816">
                  <c:v>#N/A</c:v>
                </c:pt>
                <c:pt idx="6817">
                  <c:v>#N/A</c:v>
                </c:pt>
                <c:pt idx="6818">
                  <c:v>#N/A</c:v>
                </c:pt>
                <c:pt idx="6819">
                  <c:v>#N/A</c:v>
                </c:pt>
                <c:pt idx="6820">
                  <c:v>2.5123287671232877</c:v>
                </c:pt>
                <c:pt idx="6821">
                  <c:v>#N/A</c:v>
                </c:pt>
                <c:pt idx="6822">
                  <c:v>#N/A</c:v>
                </c:pt>
                <c:pt idx="6823">
                  <c:v>#N/A</c:v>
                </c:pt>
                <c:pt idx="6824">
                  <c:v>2.5123287671232877</c:v>
                </c:pt>
                <c:pt idx="6825">
                  <c:v>#N/A</c:v>
                </c:pt>
                <c:pt idx="6826">
                  <c:v>#N/A</c:v>
                </c:pt>
                <c:pt idx="6827">
                  <c:v>#N/A</c:v>
                </c:pt>
                <c:pt idx="6828">
                  <c:v>#N/A</c:v>
                </c:pt>
                <c:pt idx="6829">
                  <c:v>2.515068493150685</c:v>
                </c:pt>
                <c:pt idx="6830">
                  <c:v>#N/A</c:v>
                </c:pt>
                <c:pt idx="6831">
                  <c:v>2.515068493150685</c:v>
                </c:pt>
                <c:pt idx="6832">
                  <c:v>2.515068493150685</c:v>
                </c:pt>
                <c:pt idx="6833">
                  <c:v>#N/A</c:v>
                </c:pt>
                <c:pt idx="6834">
                  <c:v>#N/A</c:v>
                </c:pt>
                <c:pt idx="6835">
                  <c:v>2.5178082191780824</c:v>
                </c:pt>
                <c:pt idx="6836">
                  <c:v>2.5178082191780824</c:v>
                </c:pt>
                <c:pt idx="6837">
                  <c:v>2.5178082191780824</c:v>
                </c:pt>
                <c:pt idx="6838">
                  <c:v>#N/A</c:v>
                </c:pt>
                <c:pt idx="6839">
                  <c:v>#N/A</c:v>
                </c:pt>
                <c:pt idx="6840">
                  <c:v>#N/A</c:v>
                </c:pt>
                <c:pt idx="6841">
                  <c:v>#N/A</c:v>
                </c:pt>
                <c:pt idx="6842">
                  <c:v>2.5178082191780824</c:v>
                </c:pt>
                <c:pt idx="6843">
                  <c:v>#N/A</c:v>
                </c:pt>
                <c:pt idx="6844">
                  <c:v>#N/A</c:v>
                </c:pt>
                <c:pt idx="6845">
                  <c:v>#N/A</c:v>
                </c:pt>
                <c:pt idx="6846">
                  <c:v>2.5178082191780824</c:v>
                </c:pt>
                <c:pt idx="6847">
                  <c:v>#N/A</c:v>
                </c:pt>
                <c:pt idx="6848">
                  <c:v>#N/A</c:v>
                </c:pt>
                <c:pt idx="6849">
                  <c:v>#N/A</c:v>
                </c:pt>
                <c:pt idx="6850">
                  <c:v>2.5178082191780824</c:v>
                </c:pt>
                <c:pt idx="6851">
                  <c:v>2.5178082191780824</c:v>
                </c:pt>
                <c:pt idx="6852">
                  <c:v>2.5178082191780824</c:v>
                </c:pt>
                <c:pt idx="6853">
                  <c:v>2.5178082191780824</c:v>
                </c:pt>
                <c:pt idx="6854">
                  <c:v>#N/A</c:v>
                </c:pt>
                <c:pt idx="6855">
                  <c:v>#N/A</c:v>
                </c:pt>
                <c:pt idx="6856">
                  <c:v>2.5178082191780824</c:v>
                </c:pt>
                <c:pt idx="6857">
                  <c:v>#N/A</c:v>
                </c:pt>
                <c:pt idx="6858">
                  <c:v>2.5178082191780824</c:v>
                </c:pt>
                <c:pt idx="6859">
                  <c:v>2.5178082191780824</c:v>
                </c:pt>
                <c:pt idx="6860">
                  <c:v>2.5178082191780824</c:v>
                </c:pt>
                <c:pt idx="6861">
                  <c:v>#N/A</c:v>
                </c:pt>
                <c:pt idx="6862">
                  <c:v>#N/A</c:v>
                </c:pt>
                <c:pt idx="6863">
                  <c:v>2.5178082191780824</c:v>
                </c:pt>
                <c:pt idx="6864">
                  <c:v>2.5178082191780824</c:v>
                </c:pt>
                <c:pt idx="6865">
                  <c:v>2.5178082191780824</c:v>
                </c:pt>
                <c:pt idx="6866">
                  <c:v>#N/A</c:v>
                </c:pt>
                <c:pt idx="6867">
                  <c:v>#N/A</c:v>
                </c:pt>
                <c:pt idx="6868">
                  <c:v>2.526027397260274</c:v>
                </c:pt>
                <c:pt idx="6869">
                  <c:v>2.526027397260274</c:v>
                </c:pt>
                <c:pt idx="6870">
                  <c:v>#N/A</c:v>
                </c:pt>
                <c:pt idx="6871">
                  <c:v>#N/A</c:v>
                </c:pt>
                <c:pt idx="6872">
                  <c:v>#N/A</c:v>
                </c:pt>
                <c:pt idx="6873">
                  <c:v>#N/A</c:v>
                </c:pt>
                <c:pt idx="6874">
                  <c:v>#N/A</c:v>
                </c:pt>
                <c:pt idx="6875">
                  <c:v>#N/A</c:v>
                </c:pt>
                <c:pt idx="6876">
                  <c:v>#N/A</c:v>
                </c:pt>
                <c:pt idx="6877">
                  <c:v>2.526027397260274</c:v>
                </c:pt>
                <c:pt idx="6878">
                  <c:v>#N/A</c:v>
                </c:pt>
                <c:pt idx="6879">
                  <c:v>#N/A</c:v>
                </c:pt>
                <c:pt idx="6880">
                  <c:v>#N/A</c:v>
                </c:pt>
                <c:pt idx="6881">
                  <c:v>2.526027397260274</c:v>
                </c:pt>
                <c:pt idx="6882">
                  <c:v>2.526027397260274</c:v>
                </c:pt>
                <c:pt idx="6883">
                  <c:v>#N/A</c:v>
                </c:pt>
                <c:pt idx="6884">
                  <c:v>#N/A</c:v>
                </c:pt>
                <c:pt idx="6885">
                  <c:v>#N/A</c:v>
                </c:pt>
                <c:pt idx="6886">
                  <c:v>#N/A</c:v>
                </c:pt>
                <c:pt idx="6887">
                  <c:v>2.5287671232876714</c:v>
                </c:pt>
                <c:pt idx="6888">
                  <c:v>#N/A</c:v>
                </c:pt>
                <c:pt idx="6889">
                  <c:v>2.5287671232876714</c:v>
                </c:pt>
                <c:pt idx="6890">
                  <c:v>2.5287671232876714</c:v>
                </c:pt>
                <c:pt idx="6891">
                  <c:v>2.5287671232876714</c:v>
                </c:pt>
                <c:pt idx="6892">
                  <c:v>2.5287671232876714</c:v>
                </c:pt>
                <c:pt idx="6893">
                  <c:v>2.5287671232876714</c:v>
                </c:pt>
                <c:pt idx="6894">
                  <c:v>#N/A</c:v>
                </c:pt>
                <c:pt idx="6895">
                  <c:v>#N/A</c:v>
                </c:pt>
                <c:pt idx="6896">
                  <c:v>2.5287671232876714</c:v>
                </c:pt>
                <c:pt idx="6897">
                  <c:v>#N/A</c:v>
                </c:pt>
                <c:pt idx="6898">
                  <c:v>2.5315068493150683</c:v>
                </c:pt>
                <c:pt idx="6899">
                  <c:v>#N/A</c:v>
                </c:pt>
                <c:pt idx="6900">
                  <c:v>2.5315068493150683</c:v>
                </c:pt>
                <c:pt idx="6901">
                  <c:v>#N/A</c:v>
                </c:pt>
                <c:pt idx="6902">
                  <c:v>2.5315068493150683</c:v>
                </c:pt>
                <c:pt idx="6903">
                  <c:v>#N/A</c:v>
                </c:pt>
                <c:pt idx="6904">
                  <c:v>2.5315068493150683</c:v>
                </c:pt>
                <c:pt idx="6905">
                  <c:v>#N/A</c:v>
                </c:pt>
                <c:pt idx="6906">
                  <c:v>2.5315068493150683</c:v>
                </c:pt>
                <c:pt idx="6907">
                  <c:v>#N/A</c:v>
                </c:pt>
                <c:pt idx="6908">
                  <c:v>#N/A</c:v>
                </c:pt>
                <c:pt idx="6909">
                  <c:v>#N/A</c:v>
                </c:pt>
                <c:pt idx="6910">
                  <c:v>2.5315068493150683</c:v>
                </c:pt>
                <c:pt idx="6911">
                  <c:v>#N/A</c:v>
                </c:pt>
                <c:pt idx="6912">
                  <c:v>#N/A</c:v>
                </c:pt>
                <c:pt idx="6913">
                  <c:v>2.5315068493150683</c:v>
                </c:pt>
                <c:pt idx="6914">
                  <c:v>2.5315068493150683</c:v>
                </c:pt>
                <c:pt idx="6915">
                  <c:v>#N/A</c:v>
                </c:pt>
                <c:pt idx="6916">
                  <c:v>#N/A</c:v>
                </c:pt>
                <c:pt idx="6917">
                  <c:v>#N/A</c:v>
                </c:pt>
                <c:pt idx="6918">
                  <c:v>#N/A</c:v>
                </c:pt>
                <c:pt idx="6919">
                  <c:v>#N/A</c:v>
                </c:pt>
                <c:pt idx="6920">
                  <c:v>#N/A</c:v>
                </c:pt>
                <c:pt idx="6921">
                  <c:v>#N/A</c:v>
                </c:pt>
                <c:pt idx="6922">
                  <c:v>#N/A</c:v>
                </c:pt>
                <c:pt idx="6923">
                  <c:v>2.5315068493150683</c:v>
                </c:pt>
                <c:pt idx="6924">
                  <c:v>#N/A</c:v>
                </c:pt>
                <c:pt idx="6925">
                  <c:v>2.5342465753424657</c:v>
                </c:pt>
                <c:pt idx="6926">
                  <c:v>#N/A</c:v>
                </c:pt>
                <c:pt idx="6927">
                  <c:v>#N/A</c:v>
                </c:pt>
                <c:pt idx="6928">
                  <c:v>#N/A</c:v>
                </c:pt>
                <c:pt idx="6929">
                  <c:v>#N/A</c:v>
                </c:pt>
                <c:pt idx="6930">
                  <c:v>#N/A</c:v>
                </c:pt>
                <c:pt idx="6931">
                  <c:v>#N/A</c:v>
                </c:pt>
                <c:pt idx="6932">
                  <c:v>#N/A</c:v>
                </c:pt>
                <c:pt idx="6933">
                  <c:v>#N/A</c:v>
                </c:pt>
                <c:pt idx="6934">
                  <c:v>#N/A</c:v>
                </c:pt>
                <c:pt idx="6935">
                  <c:v>#N/A</c:v>
                </c:pt>
                <c:pt idx="6936">
                  <c:v>2.536986301369863</c:v>
                </c:pt>
                <c:pt idx="6937">
                  <c:v>2.536986301369863</c:v>
                </c:pt>
                <c:pt idx="6938">
                  <c:v>#N/A</c:v>
                </c:pt>
                <c:pt idx="6939">
                  <c:v>2.536986301369863</c:v>
                </c:pt>
                <c:pt idx="6940">
                  <c:v>#N/A</c:v>
                </c:pt>
                <c:pt idx="6941">
                  <c:v>2.5452054794520547</c:v>
                </c:pt>
                <c:pt idx="6942">
                  <c:v>#N/A</c:v>
                </c:pt>
                <c:pt idx="6943">
                  <c:v>2.547945205479452</c:v>
                </c:pt>
                <c:pt idx="6944">
                  <c:v>2.547945205479452</c:v>
                </c:pt>
                <c:pt idx="6945">
                  <c:v>#N/A</c:v>
                </c:pt>
                <c:pt idx="6946">
                  <c:v>2.5506849315068494</c:v>
                </c:pt>
                <c:pt idx="6947">
                  <c:v>#N/A</c:v>
                </c:pt>
                <c:pt idx="6948">
                  <c:v>2.5506849315068494</c:v>
                </c:pt>
                <c:pt idx="6949">
                  <c:v>#N/A</c:v>
                </c:pt>
                <c:pt idx="6950">
                  <c:v>2.5506849315068494</c:v>
                </c:pt>
                <c:pt idx="6951">
                  <c:v>#N/A</c:v>
                </c:pt>
                <c:pt idx="6952">
                  <c:v>#N/A</c:v>
                </c:pt>
                <c:pt idx="6953">
                  <c:v>#N/A</c:v>
                </c:pt>
                <c:pt idx="6954">
                  <c:v>#N/A</c:v>
                </c:pt>
                <c:pt idx="6955">
                  <c:v>2.5561643835616437</c:v>
                </c:pt>
                <c:pt idx="6956">
                  <c:v>#N/A</c:v>
                </c:pt>
                <c:pt idx="6957">
                  <c:v>2.5561643835616437</c:v>
                </c:pt>
                <c:pt idx="6958">
                  <c:v>#N/A</c:v>
                </c:pt>
                <c:pt idx="6959">
                  <c:v>#N/A</c:v>
                </c:pt>
                <c:pt idx="6960">
                  <c:v>2.5643835616438357</c:v>
                </c:pt>
                <c:pt idx="6961">
                  <c:v>2.5643835616438357</c:v>
                </c:pt>
                <c:pt idx="6962">
                  <c:v>#N/A</c:v>
                </c:pt>
                <c:pt idx="6963">
                  <c:v>2.5643835616438357</c:v>
                </c:pt>
                <c:pt idx="6964">
                  <c:v>2.5643835616438357</c:v>
                </c:pt>
                <c:pt idx="6965">
                  <c:v>2.5643835616438357</c:v>
                </c:pt>
                <c:pt idx="6966">
                  <c:v>2.5643835616438357</c:v>
                </c:pt>
                <c:pt idx="6967">
                  <c:v>#N/A</c:v>
                </c:pt>
                <c:pt idx="6968">
                  <c:v>#N/A</c:v>
                </c:pt>
                <c:pt idx="6969">
                  <c:v>#N/A</c:v>
                </c:pt>
                <c:pt idx="6970">
                  <c:v>#N/A</c:v>
                </c:pt>
                <c:pt idx="6971">
                  <c:v>2.5643835616438357</c:v>
                </c:pt>
                <c:pt idx="6972">
                  <c:v>#N/A</c:v>
                </c:pt>
                <c:pt idx="6973">
                  <c:v>#N/A</c:v>
                </c:pt>
                <c:pt idx="6974">
                  <c:v>#N/A</c:v>
                </c:pt>
                <c:pt idx="6975">
                  <c:v>2.5643835616438357</c:v>
                </c:pt>
                <c:pt idx="6976">
                  <c:v>#N/A</c:v>
                </c:pt>
                <c:pt idx="6977">
                  <c:v>#N/A</c:v>
                </c:pt>
                <c:pt idx="6978">
                  <c:v>2.5671232876712327</c:v>
                </c:pt>
                <c:pt idx="6979">
                  <c:v>#N/A</c:v>
                </c:pt>
                <c:pt idx="6980">
                  <c:v>#N/A</c:v>
                </c:pt>
                <c:pt idx="6981">
                  <c:v>2.5671232876712327</c:v>
                </c:pt>
                <c:pt idx="6982">
                  <c:v>#N/A</c:v>
                </c:pt>
                <c:pt idx="6983">
                  <c:v>#N/A</c:v>
                </c:pt>
                <c:pt idx="6984">
                  <c:v>2.5671232876712327</c:v>
                </c:pt>
                <c:pt idx="6985">
                  <c:v>#N/A</c:v>
                </c:pt>
                <c:pt idx="6986">
                  <c:v>2.5671232876712327</c:v>
                </c:pt>
                <c:pt idx="6987">
                  <c:v>#N/A</c:v>
                </c:pt>
                <c:pt idx="6988">
                  <c:v>#N/A</c:v>
                </c:pt>
                <c:pt idx="6989">
                  <c:v>#N/A</c:v>
                </c:pt>
                <c:pt idx="6990">
                  <c:v>#N/A</c:v>
                </c:pt>
                <c:pt idx="6991">
                  <c:v>#N/A</c:v>
                </c:pt>
                <c:pt idx="6992">
                  <c:v>2.5671232876712327</c:v>
                </c:pt>
                <c:pt idx="6993">
                  <c:v>#N/A</c:v>
                </c:pt>
                <c:pt idx="6994">
                  <c:v>2.5671232876712327</c:v>
                </c:pt>
                <c:pt idx="6995">
                  <c:v>2.5671232876712327</c:v>
                </c:pt>
                <c:pt idx="6996">
                  <c:v>2.5671232876712327</c:v>
                </c:pt>
                <c:pt idx="6997">
                  <c:v>2.5671232876712327</c:v>
                </c:pt>
                <c:pt idx="6998">
                  <c:v>#N/A</c:v>
                </c:pt>
                <c:pt idx="6999">
                  <c:v>2.5671232876712327</c:v>
                </c:pt>
                <c:pt idx="7000">
                  <c:v>#N/A</c:v>
                </c:pt>
                <c:pt idx="7001">
                  <c:v>#N/A</c:v>
                </c:pt>
                <c:pt idx="7002">
                  <c:v>2.5671232876712327</c:v>
                </c:pt>
                <c:pt idx="7003">
                  <c:v>2.5671232876712327</c:v>
                </c:pt>
                <c:pt idx="7004">
                  <c:v>2.5671232876712327</c:v>
                </c:pt>
                <c:pt idx="7005">
                  <c:v>2.5671232876712327</c:v>
                </c:pt>
                <c:pt idx="7006">
                  <c:v>2.5671232876712327</c:v>
                </c:pt>
                <c:pt idx="7007">
                  <c:v>2.5671232876712327</c:v>
                </c:pt>
                <c:pt idx="7008">
                  <c:v>2.5671232876712327</c:v>
                </c:pt>
                <c:pt idx="7009">
                  <c:v>#N/A</c:v>
                </c:pt>
                <c:pt idx="7010">
                  <c:v>#N/A</c:v>
                </c:pt>
                <c:pt idx="7011">
                  <c:v>#N/A</c:v>
                </c:pt>
                <c:pt idx="7012">
                  <c:v>#N/A</c:v>
                </c:pt>
                <c:pt idx="7013">
                  <c:v>2.5671232876712327</c:v>
                </c:pt>
                <c:pt idx="7014">
                  <c:v>2.5671232876712327</c:v>
                </c:pt>
                <c:pt idx="7015">
                  <c:v>2.5671232876712327</c:v>
                </c:pt>
                <c:pt idx="7016">
                  <c:v>2.5671232876712327</c:v>
                </c:pt>
                <c:pt idx="7017">
                  <c:v>#N/A</c:v>
                </c:pt>
                <c:pt idx="7018">
                  <c:v>#N/A</c:v>
                </c:pt>
                <c:pt idx="7019">
                  <c:v>#N/A</c:v>
                </c:pt>
                <c:pt idx="7020">
                  <c:v>#N/A</c:v>
                </c:pt>
                <c:pt idx="7021">
                  <c:v>2.5671232876712327</c:v>
                </c:pt>
                <c:pt idx="7022">
                  <c:v>2.5671232876712327</c:v>
                </c:pt>
                <c:pt idx="7023">
                  <c:v>#N/A</c:v>
                </c:pt>
                <c:pt idx="7024">
                  <c:v>#N/A</c:v>
                </c:pt>
                <c:pt idx="7025">
                  <c:v>2.5671232876712327</c:v>
                </c:pt>
                <c:pt idx="7026">
                  <c:v>#N/A</c:v>
                </c:pt>
                <c:pt idx="7027">
                  <c:v>2.5671232876712327</c:v>
                </c:pt>
                <c:pt idx="7028">
                  <c:v>#N/A</c:v>
                </c:pt>
                <c:pt idx="7029">
                  <c:v>#N/A</c:v>
                </c:pt>
                <c:pt idx="7030">
                  <c:v>#N/A</c:v>
                </c:pt>
                <c:pt idx="7031">
                  <c:v>#N/A</c:v>
                </c:pt>
                <c:pt idx="7032">
                  <c:v>2.5671232876712327</c:v>
                </c:pt>
                <c:pt idx="7033">
                  <c:v>2.5671232876712327</c:v>
                </c:pt>
                <c:pt idx="7034">
                  <c:v>#N/A</c:v>
                </c:pt>
                <c:pt idx="7035">
                  <c:v>2.5671232876712327</c:v>
                </c:pt>
                <c:pt idx="7036">
                  <c:v>#N/A</c:v>
                </c:pt>
                <c:pt idx="7037">
                  <c:v>#N/A</c:v>
                </c:pt>
                <c:pt idx="7038">
                  <c:v>#N/A</c:v>
                </c:pt>
                <c:pt idx="7039">
                  <c:v>2.5671232876712327</c:v>
                </c:pt>
                <c:pt idx="7040">
                  <c:v>#N/A</c:v>
                </c:pt>
                <c:pt idx="7041">
                  <c:v>2.5671232876712327</c:v>
                </c:pt>
                <c:pt idx="7042">
                  <c:v>2.5671232876712327</c:v>
                </c:pt>
                <c:pt idx="7043">
                  <c:v>#N/A</c:v>
                </c:pt>
                <c:pt idx="7044">
                  <c:v>#N/A</c:v>
                </c:pt>
                <c:pt idx="7045">
                  <c:v>#N/A</c:v>
                </c:pt>
                <c:pt idx="7046">
                  <c:v>#N/A</c:v>
                </c:pt>
                <c:pt idx="7047">
                  <c:v>#N/A</c:v>
                </c:pt>
                <c:pt idx="7048">
                  <c:v>2.5671232876712327</c:v>
                </c:pt>
                <c:pt idx="7049">
                  <c:v>2.5671232876712327</c:v>
                </c:pt>
                <c:pt idx="7050">
                  <c:v>#N/A</c:v>
                </c:pt>
                <c:pt idx="7051">
                  <c:v>2.5671232876712327</c:v>
                </c:pt>
                <c:pt idx="7052">
                  <c:v>#N/A</c:v>
                </c:pt>
                <c:pt idx="7053">
                  <c:v>2.5671232876712327</c:v>
                </c:pt>
                <c:pt idx="7054">
                  <c:v>#N/A</c:v>
                </c:pt>
                <c:pt idx="7055">
                  <c:v>#N/A</c:v>
                </c:pt>
                <c:pt idx="7056">
                  <c:v>#N/A</c:v>
                </c:pt>
                <c:pt idx="7057">
                  <c:v>#N/A</c:v>
                </c:pt>
                <c:pt idx="7058">
                  <c:v>#N/A</c:v>
                </c:pt>
                <c:pt idx="7059">
                  <c:v>#N/A</c:v>
                </c:pt>
                <c:pt idx="7060">
                  <c:v>2.5671232876712327</c:v>
                </c:pt>
                <c:pt idx="7061">
                  <c:v>2.5671232876712327</c:v>
                </c:pt>
                <c:pt idx="7062">
                  <c:v>2.5671232876712327</c:v>
                </c:pt>
                <c:pt idx="7063">
                  <c:v>2.5671232876712327</c:v>
                </c:pt>
                <c:pt idx="7064">
                  <c:v>2.5671232876712327</c:v>
                </c:pt>
                <c:pt idx="7065">
                  <c:v>#N/A</c:v>
                </c:pt>
                <c:pt idx="7066">
                  <c:v>#N/A</c:v>
                </c:pt>
                <c:pt idx="7067">
                  <c:v>2.5671232876712327</c:v>
                </c:pt>
                <c:pt idx="7068">
                  <c:v>#N/A</c:v>
                </c:pt>
                <c:pt idx="7069">
                  <c:v>#N/A</c:v>
                </c:pt>
                <c:pt idx="7070">
                  <c:v>2.5671232876712327</c:v>
                </c:pt>
                <c:pt idx="7071">
                  <c:v>#N/A</c:v>
                </c:pt>
                <c:pt idx="7072">
                  <c:v>#N/A</c:v>
                </c:pt>
                <c:pt idx="7073">
                  <c:v>#N/A</c:v>
                </c:pt>
                <c:pt idx="7074">
                  <c:v>2.5671232876712327</c:v>
                </c:pt>
                <c:pt idx="7075">
                  <c:v>#N/A</c:v>
                </c:pt>
                <c:pt idx="7076">
                  <c:v>2.5671232876712327</c:v>
                </c:pt>
                <c:pt idx="7077">
                  <c:v>2.5671232876712327</c:v>
                </c:pt>
                <c:pt idx="7078">
                  <c:v>#N/A</c:v>
                </c:pt>
                <c:pt idx="7079">
                  <c:v>#N/A</c:v>
                </c:pt>
                <c:pt idx="7080">
                  <c:v>2.5671232876712327</c:v>
                </c:pt>
                <c:pt idx="7081">
                  <c:v>#N/A</c:v>
                </c:pt>
                <c:pt idx="7082">
                  <c:v>2.5671232876712327</c:v>
                </c:pt>
                <c:pt idx="7083">
                  <c:v>#N/A</c:v>
                </c:pt>
                <c:pt idx="7084">
                  <c:v>#N/A</c:v>
                </c:pt>
                <c:pt idx="7085">
                  <c:v>#N/A</c:v>
                </c:pt>
                <c:pt idx="7086">
                  <c:v>2.56986301369863</c:v>
                </c:pt>
                <c:pt idx="7087">
                  <c:v>2.56986301369863</c:v>
                </c:pt>
                <c:pt idx="7088">
                  <c:v>#N/A</c:v>
                </c:pt>
                <c:pt idx="7089">
                  <c:v>#N/A</c:v>
                </c:pt>
                <c:pt idx="7090">
                  <c:v>#N/A</c:v>
                </c:pt>
                <c:pt idx="7091">
                  <c:v>2.56986301369863</c:v>
                </c:pt>
                <c:pt idx="7092">
                  <c:v>#N/A</c:v>
                </c:pt>
                <c:pt idx="7093">
                  <c:v>#N/A</c:v>
                </c:pt>
                <c:pt idx="7094">
                  <c:v>2.56986301369863</c:v>
                </c:pt>
                <c:pt idx="7095">
                  <c:v>2.56986301369863</c:v>
                </c:pt>
                <c:pt idx="7096">
                  <c:v>#N/A</c:v>
                </c:pt>
                <c:pt idx="7097">
                  <c:v>2.56986301369863</c:v>
                </c:pt>
                <c:pt idx="7098">
                  <c:v>2.56986301369863</c:v>
                </c:pt>
                <c:pt idx="7099">
                  <c:v>2.56986301369863</c:v>
                </c:pt>
                <c:pt idx="7100">
                  <c:v>#N/A</c:v>
                </c:pt>
                <c:pt idx="7101">
                  <c:v>2.56986301369863</c:v>
                </c:pt>
                <c:pt idx="7102">
                  <c:v>#N/A</c:v>
                </c:pt>
                <c:pt idx="7103">
                  <c:v>#N/A</c:v>
                </c:pt>
                <c:pt idx="7104">
                  <c:v>2.56986301369863</c:v>
                </c:pt>
                <c:pt idx="7105">
                  <c:v>#N/A</c:v>
                </c:pt>
                <c:pt idx="7106">
                  <c:v>#N/A</c:v>
                </c:pt>
                <c:pt idx="7107">
                  <c:v>2.56986301369863</c:v>
                </c:pt>
                <c:pt idx="7108">
                  <c:v>#N/A</c:v>
                </c:pt>
                <c:pt idx="7109">
                  <c:v>2.56986301369863</c:v>
                </c:pt>
                <c:pt idx="7110">
                  <c:v>#N/A</c:v>
                </c:pt>
                <c:pt idx="7111">
                  <c:v>2.56986301369863</c:v>
                </c:pt>
                <c:pt idx="7112">
                  <c:v>2.56986301369863</c:v>
                </c:pt>
                <c:pt idx="7113">
                  <c:v>#N/A</c:v>
                </c:pt>
                <c:pt idx="7114">
                  <c:v>2.56986301369863</c:v>
                </c:pt>
                <c:pt idx="7115">
                  <c:v>#N/A</c:v>
                </c:pt>
                <c:pt idx="7116">
                  <c:v>#N/A</c:v>
                </c:pt>
                <c:pt idx="7117">
                  <c:v>#N/A</c:v>
                </c:pt>
                <c:pt idx="7118">
                  <c:v>2.56986301369863</c:v>
                </c:pt>
                <c:pt idx="7119">
                  <c:v>2.56986301369863</c:v>
                </c:pt>
                <c:pt idx="7120">
                  <c:v>#N/A</c:v>
                </c:pt>
                <c:pt idx="7121">
                  <c:v>2.56986301369863</c:v>
                </c:pt>
                <c:pt idx="7122">
                  <c:v>#N/A</c:v>
                </c:pt>
                <c:pt idx="7123">
                  <c:v>2.56986301369863</c:v>
                </c:pt>
                <c:pt idx="7124">
                  <c:v>#N/A</c:v>
                </c:pt>
                <c:pt idx="7125">
                  <c:v>#N/A</c:v>
                </c:pt>
                <c:pt idx="7126">
                  <c:v>#N/A</c:v>
                </c:pt>
                <c:pt idx="7127">
                  <c:v>#N/A</c:v>
                </c:pt>
                <c:pt idx="7128">
                  <c:v>#N/A</c:v>
                </c:pt>
                <c:pt idx="7129">
                  <c:v>#N/A</c:v>
                </c:pt>
                <c:pt idx="7130">
                  <c:v>#N/A</c:v>
                </c:pt>
                <c:pt idx="7131">
                  <c:v>2.56986301369863</c:v>
                </c:pt>
                <c:pt idx="7132">
                  <c:v>#N/A</c:v>
                </c:pt>
                <c:pt idx="7133">
                  <c:v>#N/A</c:v>
                </c:pt>
                <c:pt idx="7134">
                  <c:v>#N/A</c:v>
                </c:pt>
                <c:pt idx="7135">
                  <c:v>2.5726027397260274</c:v>
                </c:pt>
                <c:pt idx="7136">
                  <c:v>2.5726027397260274</c:v>
                </c:pt>
                <c:pt idx="7137">
                  <c:v>#N/A</c:v>
                </c:pt>
                <c:pt idx="7138">
                  <c:v>2.5726027397260274</c:v>
                </c:pt>
                <c:pt idx="7139">
                  <c:v>2.5726027397260274</c:v>
                </c:pt>
                <c:pt idx="7140">
                  <c:v>2.5726027397260274</c:v>
                </c:pt>
                <c:pt idx="7141">
                  <c:v>2.5726027397260274</c:v>
                </c:pt>
                <c:pt idx="7142">
                  <c:v>#N/A</c:v>
                </c:pt>
                <c:pt idx="7143">
                  <c:v>#N/A</c:v>
                </c:pt>
                <c:pt idx="7144">
                  <c:v>2.5726027397260274</c:v>
                </c:pt>
                <c:pt idx="7145">
                  <c:v>2.5726027397260274</c:v>
                </c:pt>
                <c:pt idx="7146">
                  <c:v>2.5726027397260274</c:v>
                </c:pt>
                <c:pt idx="7147">
                  <c:v>#N/A</c:v>
                </c:pt>
                <c:pt idx="7148">
                  <c:v>#N/A</c:v>
                </c:pt>
                <c:pt idx="7149">
                  <c:v>2.5753424657534247</c:v>
                </c:pt>
                <c:pt idx="7150">
                  <c:v>2.5753424657534247</c:v>
                </c:pt>
                <c:pt idx="7151">
                  <c:v>#N/A</c:v>
                </c:pt>
                <c:pt idx="7152">
                  <c:v>2.5753424657534247</c:v>
                </c:pt>
                <c:pt idx="7153">
                  <c:v>2.5753424657534247</c:v>
                </c:pt>
                <c:pt idx="7154">
                  <c:v>2.5753424657534247</c:v>
                </c:pt>
                <c:pt idx="7155">
                  <c:v>2.5753424657534247</c:v>
                </c:pt>
                <c:pt idx="7156">
                  <c:v>2.5753424657534247</c:v>
                </c:pt>
                <c:pt idx="7157">
                  <c:v>#N/A</c:v>
                </c:pt>
                <c:pt idx="7158">
                  <c:v>2.5753424657534247</c:v>
                </c:pt>
                <c:pt idx="7159">
                  <c:v>2.5753424657534247</c:v>
                </c:pt>
                <c:pt idx="7160">
                  <c:v>2.5753424657534247</c:v>
                </c:pt>
                <c:pt idx="7161">
                  <c:v>#N/A</c:v>
                </c:pt>
                <c:pt idx="7162">
                  <c:v>2.5753424657534247</c:v>
                </c:pt>
                <c:pt idx="7163">
                  <c:v>2.5753424657534247</c:v>
                </c:pt>
                <c:pt idx="7164">
                  <c:v>#N/A</c:v>
                </c:pt>
                <c:pt idx="7165">
                  <c:v>#N/A</c:v>
                </c:pt>
                <c:pt idx="7166">
                  <c:v>#N/A</c:v>
                </c:pt>
                <c:pt idx="7167">
                  <c:v>#N/A</c:v>
                </c:pt>
                <c:pt idx="7168">
                  <c:v>#N/A</c:v>
                </c:pt>
                <c:pt idx="7169">
                  <c:v>2.5753424657534247</c:v>
                </c:pt>
                <c:pt idx="7170">
                  <c:v>#N/A</c:v>
                </c:pt>
                <c:pt idx="7171">
                  <c:v>#N/A</c:v>
                </c:pt>
                <c:pt idx="7172">
                  <c:v>2.5835616438356164</c:v>
                </c:pt>
                <c:pt idx="7173">
                  <c:v>2.5835616438356164</c:v>
                </c:pt>
                <c:pt idx="7174">
                  <c:v>2.5835616438356164</c:v>
                </c:pt>
                <c:pt idx="7175">
                  <c:v>2.5863013698630137</c:v>
                </c:pt>
                <c:pt idx="7176">
                  <c:v>2.5890410958904111</c:v>
                </c:pt>
                <c:pt idx="7177">
                  <c:v>2.5890410958904111</c:v>
                </c:pt>
                <c:pt idx="7178">
                  <c:v>2.5890410958904111</c:v>
                </c:pt>
                <c:pt idx="7179">
                  <c:v>2.5890410958904111</c:v>
                </c:pt>
                <c:pt idx="7180">
                  <c:v>2.5890410958904111</c:v>
                </c:pt>
                <c:pt idx="7181">
                  <c:v>2.5890410958904111</c:v>
                </c:pt>
                <c:pt idx="7182">
                  <c:v>2.5890410958904111</c:v>
                </c:pt>
                <c:pt idx="7183">
                  <c:v>2.5890410958904111</c:v>
                </c:pt>
                <c:pt idx="7184">
                  <c:v>2.5890410958904111</c:v>
                </c:pt>
                <c:pt idx="7185">
                  <c:v>2.5890410958904111</c:v>
                </c:pt>
                <c:pt idx="7186">
                  <c:v>2.5890410958904111</c:v>
                </c:pt>
                <c:pt idx="7187">
                  <c:v>2.5890410958904111</c:v>
                </c:pt>
                <c:pt idx="7188">
                  <c:v>2.5890410958904111</c:v>
                </c:pt>
                <c:pt idx="7189">
                  <c:v>2.5890410958904111</c:v>
                </c:pt>
                <c:pt idx="7190">
                  <c:v>2.5890410958904111</c:v>
                </c:pt>
                <c:pt idx="7191">
                  <c:v>2.5890410958904111</c:v>
                </c:pt>
                <c:pt idx="7192">
                  <c:v>2.5890410958904111</c:v>
                </c:pt>
                <c:pt idx="7193">
                  <c:v>2.5890410958904111</c:v>
                </c:pt>
                <c:pt idx="7194">
                  <c:v>2.5890410958904111</c:v>
                </c:pt>
                <c:pt idx="7195">
                  <c:v>#N/A</c:v>
                </c:pt>
                <c:pt idx="7196">
                  <c:v>#N/A</c:v>
                </c:pt>
                <c:pt idx="7197">
                  <c:v>2.591780821917808</c:v>
                </c:pt>
                <c:pt idx="7198">
                  <c:v>2.5945205479452054</c:v>
                </c:pt>
                <c:pt idx="7199">
                  <c:v>#N/A</c:v>
                </c:pt>
                <c:pt idx="7200">
                  <c:v>2.5945205479452054</c:v>
                </c:pt>
                <c:pt idx="7201">
                  <c:v>#N/A</c:v>
                </c:pt>
                <c:pt idx="7202">
                  <c:v>#N/A</c:v>
                </c:pt>
                <c:pt idx="7203">
                  <c:v>#N/A</c:v>
                </c:pt>
                <c:pt idx="7204">
                  <c:v>#N/A</c:v>
                </c:pt>
                <c:pt idx="7205">
                  <c:v>2.5945205479452054</c:v>
                </c:pt>
                <c:pt idx="7206">
                  <c:v>#N/A</c:v>
                </c:pt>
                <c:pt idx="7207">
                  <c:v>#N/A</c:v>
                </c:pt>
                <c:pt idx="7208">
                  <c:v>2.5945205479452054</c:v>
                </c:pt>
                <c:pt idx="7209">
                  <c:v>#N/A</c:v>
                </c:pt>
                <c:pt idx="7210">
                  <c:v>#N/A</c:v>
                </c:pt>
                <c:pt idx="7211">
                  <c:v>2.5945205479452054</c:v>
                </c:pt>
                <c:pt idx="7212">
                  <c:v>2.5945205479452054</c:v>
                </c:pt>
                <c:pt idx="7213">
                  <c:v>#N/A</c:v>
                </c:pt>
                <c:pt idx="7214">
                  <c:v>#N/A</c:v>
                </c:pt>
                <c:pt idx="7215">
                  <c:v>2.5945205479452054</c:v>
                </c:pt>
                <c:pt idx="7216">
                  <c:v>#N/A</c:v>
                </c:pt>
                <c:pt idx="7217">
                  <c:v>2.5945205479452054</c:v>
                </c:pt>
                <c:pt idx="7218">
                  <c:v>2.5945205479452054</c:v>
                </c:pt>
                <c:pt idx="7219">
                  <c:v>#N/A</c:v>
                </c:pt>
                <c:pt idx="7220">
                  <c:v>2.5945205479452054</c:v>
                </c:pt>
                <c:pt idx="7221">
                  <c:v>#N/A</c:v>
                </c:pt>
                <c:pt idx="7222">
                  <c:v>#N/A</c:v>
                </c:pt>
                <c:pt idx="7223">
                  <c:v>#N/A</c:v>
                </c:pt>
                <c:pt idx="7224">
                  <c:v>#N/A</c:v>
                </c:pt>
                <c:pt idx="7225">
                  <c:v>2.5945205479452054</c:v>
                </c:pt>
                <c:pt idx="7226">
                  <c:v>2.5945205479452054</c:v>
                </c:pt>
                <c:pt idx="7227">
                  <c:v>#N/A</c:v>
                </c:pt>
                <c:pt idx="7228">
                  <c:v>#N/A</c:v>
                </c:pt>
                <c:pt idx="7229">
                  <c:v>2.5945205479452054</c:v>
                </c:pt>
                <c:pt idx="7230">
                  <c:v>2.5945205479452054</c:v>
                </c:pt>
                <c:pt idx="7231">
                  <c:v>#N/A</c:v>
                </c:pt>
                <c:pt idx="7232">
                  <c:v>2.5945205479452054</c:v>
                </c:pt>
                <c:pt idx="7233">
                  <c:v>#N/A</c:v>
                </c:pt>
                <c:pt idx="7234">
                  <c:v>#N/A</c:v>
                </c:pt>
                <c:pt idx="7235">
                  <c:v>#N/A</c:v>
                </c:pt>
                <c:pt idx="7236">
                  <c:v>#N/A</c:v>
                </c:pt>
                <c:pt idx="7237">
                  <c:v>#N/A</c:v>
                </c:pt>
                <c:pt idx="7238">
                  <c:v>2.6027397260273974</c:v>
                </c:pt>
                <c:pt idx="7239">
                  <c:v>2.6027397260273974</c:v>
                </c:pt>
                <c:pt idx="7240">
                  <c:v>#N/A</c:v>
                </c:pt>
                <c:pt idx="7241">
                  <c:v>#N/A</c:v>
                </c:pt>
                <c:pt idx="7242">
                  <c:v>2.6082191780821917</c:v>
                </c:pt>
                <c:pt idx="7243">
                  <c:v>#N/A</c:v>
                </c:pt>
                <c:pt idx="7244">
                  <c:v>2.6082191780821917</c:v>
                </c:pt>
                <c:pt idx="7245">
                  <c:v>2.6082191780821917</c:v>
                </c:pt>
                <c:pt idx="7246">
                  <c:v>#N/A</c:v>
                </c:pt>
                <c:pt idx="7247">
                  <c:v>2.6109589041095891</c:v>
                </c:pt>
                <c:pt idx="7248">
                  <c:v>#N/A</c:v>
                </c:pt>
                <c:pt idx="7249">
                  <c:v>2.6109589041095891</c:v>
                </c:pt>
                <c:pt idx="7250">
                  <c:v>2.6109589041095891</c:v>
                </c:pt>
                <c:pt idx="7251">
                  <c:v>#N/A</c:v>
                </c:pt>
                <c:pt idx="7252">
                  <c:v>#N/A</c:v>
                </c:pt>
                <c:pt idx="7253">
                  <c:v>2.6109589041095891</c:v>
                </c:pt>
                <c:pt idx="7254">
                  <c:v>2.6109589041095891</c:v>
                </c:pt>
                <c:pt idx="7255">
                  <c:v>#N/A</c:v>
                </c:pt>
                <c:pt idx="7256">
                  <c:v>#N/A</c:v>
                </c:pt>
                <c:pt idx="7257">
                  <c:v>#N/A</c:v>
                </c:pt>
                <c:pt idx="7258">
                  <c:v>#N/A</c:v>
                </c:pt>
                <c:pt idx="7259">
                  <c:v>#N/A</c:v>
                </c:pt>
                <c:pt idx="7260">
                  <c:v>#N/A</c:v>
                </c:pt>
                <c:pt idx="7261">
                  <c:v>#N/A</c:v>
                </c:pt>
                <c:pt idx="7262">
                  <c:v>2.6219178082191781</c:v>
                </c:pt>
                <c:pt idx="7263">
                  <c:v>#N/A</c:v>
                </c:pt>
                <c:pt idx="7264">
                  <c:v>2.6246575342465754</c:v>
                </c:pt>
                <c:pt idx="7265">
                  <c:v>#N/A</c:v>
                </c:pt>
                <c:pt idx="7266">
                  <c:v>2.6246575342465754</c:v>
                </c:pt>
                <c:pt idx="7267">
                  <c:v>#N/A</c:v>
                </c:pt>
                <c:pt idx="7268">
                  <c:v>2.6246575342465754</c:v>
                </c:pt>
                <c:pt idx="7269">
                  <c:v>2.6273972602739728</c:v>
                </c:pt>
                <c:pt idx="7270">
                  <c:v>2.6273972602739728</c:v>
                </c:pt>
                <c:pt idx="7271">
                  <c:v>2.6301369863013697</c:v>
                </c:pt>
                <c:pt idx="7272">
                  <c:v>#N/A</c:v>
                </c:pt>
                <c:pt idx="7273">
                  <c:v>#N/A</c:v>
                </c:pt>
                <c:pt idx="7274">
                  <c:v>2.6410958904109587</c:v>
                </c:pt>
                <c:pt idx="7275">
                  <c:v>#N/A</c:v>
                </c:pt>
                <c:pt idx="7276">
                  <c:v>2.6410958904109587</c:v>
                </c:pt>
                <c:pt idx="7277">
                  <c:v>2.6410958904109587</c:v>
                </c:pt>
                <c:pt idx="7278">
                  <c:v>2.6410958904109587</c:v>
                </c:pt>
                <c:pt idx="7279">
                  <c:v>2.6438356164383561</c:v>
                </c:pt>
                <c:pt idx="7280">
                  <c:v>#N/A</c:v>
                </c:pt>
                <c:pt idx="7281">
                  <c:v>#N/A</c:v>
                </c:pt>
                <c:pt idx="7282">
                  <c:v>#N/A</c:v>
                </c:pt>
                <c:pt idx="7283">
                  <c:v>2.6520547945205482</c:v>
                </c:pt>
                <c:pt idx="7284">
                  <c:v>#N/A</c:v>
                </c:pt>
                <c:pt idx="7285">
                  <c:v>2.6520547945205482</c:v>
                </c:pt>
                <c:pt idx="7286">
                  <c:v>2.6520547945205482</c:v>
                </c:pt>
                <c:pt idx="7287">
                  <c:v>2.6520547945205482</c:v>
                </c:pt>
                <c:pt idx="7288">
                  <c:v>#N/A</c:v>
                </c:pt>
                <c:pt idx="7289">
                  <c:v>2.6520547945205482</c:v>
                </c:pt>
                <c:pt idx="7290">
                  <c:v>#N/A</c:v>
                </c:pt>
                <c:pt idx="7291">
                  <c:v>#N/A</c:v>
                </c:pt>
                <c:pt idx="7292">
                  <c:v>#N/A</c:v>
                </c:pt>
                <c:pt idx="7293">
                  <c:v>#N/A</c:v>
                </c:pt>
                <c:pt idx="7294">
                  <c:v>2.6602739726027398</c:v>
                </c:pt>
                <c:pt idx="7295">
                  <c:v>#N/A</c:v>
                </c:pt>
                <c:pt idx="7296">
                  <c:v>#N/A</c:v>
                </c:pt>
                <c:pt idx="7297">
                  <c:v>#N/A</c:v>
                </c:pt>
                <c:pt idx="7298">
                  <c:v>#N/A</c:v>
                </c:pt>
                <c:pt idx="7299">
                  <c:v>2.6602739726027398</c:v>
                </c:pt>
                <c:pt idx="7300">
                  <c:v>2.6602739726027398</c:v>
                </c:pt>
                <c:pt idx="7301">
                  <c:v>#N/A</c:v>
                </c:pt>
                <c:pt idx="7302">
                  <c:v>#N/A</c:v>
                </c:pt>
                <c:pt idx="7303">
                  <c:v>#N/A</c:v>
                </c:pt>
                <c:pt idx="7304">
                  <c:v>#N/A</c:v>
                </c:pt>
                <c:pt idx="7305">
                  <c:v>2.6712328767123288</c:v>
                </c:pt>
                <c:pt idx="7306">
                  <c:v>2.6712328767123288</c:v>
                </c:pt>
                <c:pt idx="7307">
                  <c:v>#N/A</c:v>
                </c:pt>
                <c:pt idx="7308">
                  <c:v>2.6712328767123288</c:v>
                </c:pt>
                <c:pt idx="7309">
                  <c:v>#N/A</c:v>
                </c:pt>
                <c:pt idx="7310">
                  <c:v>#N/A</c:v>
                </c:pt>
                <c:pt idx="7311">
                  <c:v>#N/A</c:v>
                </c:pt>
                <c:pt idx="7312">
                  <c:v>2.6712328767123288</c:v>
                </c:pt>
                <c:pt idx="7313">
                  <c:v>#N/A</c:v>
                </c:pt>
                <c:pt idx="7314">
                  <c:v>2.6712328767123288</c:v>
                </c:pt>
                <c:pt idx="7315">
                  <c:v>#N/A</c:v>
                </c:pt>
                <c:pt idx="7316">
                  <c:v>#N/A</c:v>
                </c:pt>
                <c:pt idx="7317">
                  <c:v>#N/A</c:v>
                </c:pt>
                <c:pt idx="7318">
                  <c:v>#N/A</c:v>
                </c:pt>
                <c:pt idx="7319">
                  <c:v>2.6794520547945204</c:v>
                </c:pt>
                <c:pt idx="7320">
                  <c:v>#N/A</c:v>
                </c:pt>
                <c:pt idx="7321">
                  <c:v>2.6794520547945204</c:v>
                </c:pt>
                <c:pt idx="7322">
                  <c:v>#N/A</c:v>
                </c:pt>
                <c:pt idx="7323">
                  <c:v>2.6794520547945204</c:v>
                </c:pt>
                <c:pt idx="7324">
                  <c:v>2.6794520547945204</c:v>
                </c:pt>
                <c:pt idx="7325">
                  <c:v>#N/A</c:v>
                </c:pt>
                <c:pt idx="7326">
                  <c:v>#N/A</c:v>
                </c:pt>
                <c:pt idx="7327">
                  <c:v>2.6794520547945204</c:v>
                </c:pt>
                <c:pt idx="7328">
                  <c:v>2.6794520547945204</c:v>
                </c:pt>
                <c:pt idx="7329">
                  <c:v>#N/A</c:v>
                </c:pt>
                <c:pt idx="7330">
                  <c:v>2.6821917808219178</c:v>
                </c:pt>
                <c:pt idx="7331">
                  <c:v>2.6821917808219178</c:v>
                </c:pt>
                <c:pt idx="7332">
                  <c:v>2.6821917808219178</c:v>
                </c:pt>
                <c:pt idx="7333">
                  <c:v>#N/A</c:v>
                </c:pt>
                <c:pt idx="7334">
                  <c:v>#N/A</c:v>
                </c:pt>
                <c:pt idx="7335">
                  <c:v>#N/A</c:v>
                </c:pt>
                <c:pt idx="7336">
                  <c:v>2.6849315068493151</c:v>
                </c:pt>
                <c:pt idx="7337">
                  <c:v>#N/A</c:v>
                </c:pt>
                <c:pt idx="7338">
                  <c:v>#N/A</c:v>
                </c:pt>
                <c:pt idx="7339">
                  <c:v>#N/A</c:v>
                </c:pt>
                <c:pt idx="7340">
                  <c:v>#N/A</c:v>
                </c:pt>
                <c:pt idx="7341">
                  <c:v>2.6904109589041094</c:v>
                </c:pt>
                <c:pt idx="7342">
                  <c:v>2.6958904109589041</c:v>
                </c:pt>
                <c:pt idx="7343">
                  <c:v>2.6958904109589041</c:v>
                </c:pt>
                <c:pt idx="7344">
                  <c:v>2.6986301369863015</c:v>
                </c:pt>
                <c:pt idx="7345">
                  <c:v>#N/A</c:v>
                </c:pt>
                <c:pt idx="7346">
                  <c:v>2.6986301369863015</c:v>
                </c:pt>
                <c:pt idx="7347">
                  <c:v>#N/A</c:v>
                </c:pt>
                <c:pt idx="7348">
                  <c:v>#N/A</c:v>
                </c:pt>
                <c:pt idx="7349">
                  <c:v>#N/A</c:v>
                </c:pt>
                <c:pt idx="7350">
                  <c:v>#N/A</c:v>
                </c:pt>
                <c:pt idx="7351">
                  <c:v>2.7013698630136984</c:v>
                </c:pt>
                <c:pt idx="7352">
                  <c:v>2.7013698630136984</c:v>
                </c:pt>
                <c:pt idx="7353">
                  <c:v>2.7041095890410958</c:v>
                </c:pt>
                <c:pt idx="7354">
                  <c:v>2.7041095890410958</c:v>
                </c:pt>
                <c:pt idx="7355">
                  <c:v>#N/A</c:v>
                </c:pt>
                <c:pt idx="7356">
                  <c:v>2.7068493150684931</c:v>
                </c:pt>
                <c:pt idx="7357">
                  <c:v>#N/A</c:v>
                </c:pt>
                <c:pt idx="7358">
                  <c:v>2.7178082191780821</c:v>
                </c:pt>
                <c:pt idx="7359">
                  <c:v>#N/A</c:v>
                </c:pt>
                <c:pt idx="7360">
                  <c:v>2.7178082191780821</c:v>
                </c:pt>
                <c:pt idx="7361">
                  <c:v>#N/A</c:v>
                </c:pt>
                <c:pt idx="7362">
                  <c:v>#N/A</c:v>
                </c:pt>
                <c:pt idx="7363">
                  <c:v>2.7178082191780821</c:v>
                </c:pt>
                <c:pt idx="7364">
                  <c:v>#N/A</c:v>
                </c:pt>
                <c:pt idx="7365">
                  <c:v>#N/A</c:v>
                </c:pt>
                <c:pt idx="7366">
                  <c:v>2.7178082191780821</c:v>
                </c:pt>
                <c:pt idx="7367">
                  <c:v>2.7178082191780821</c:v>
                </c:pt>
                <c:pt idx="7368">
                  <c:v>#N/A</c:v>
                </c:pt>
                <c:pt idx="7369">
                  <c:v>2.7178082191780821</c:v>
                </c:pt>
                <c:pt idx="7370">
                  <c:v>2.7178082191780821</c:v>
                </c:pt>
                <c:pt idx="7371">
                  <c:v>#N/A</c:v>
                </c:pt>
                <c:pt idx="7372">
                  <c:v>#N/A</c:v>
                </c:pt>
                <c:pt idx="7373">
                  <c:v>#N/A</c:v>
                </c:pt>
                <c:pt idx="7374">
                  <c:v>#N/A</c:v>
                </c:pt>
                <c:pt idx="7375">
                  <c:v>2.7178082191780821</c:v>
                </c:pt>
                <c:pt idx="7376">
                  <c:v>#N/A</c:v>
                </c:pt>
                <c:pt idx="7377">
                  <c:v>#N/A</c:v>
                </c:pt>
                <c:pt idx="7378">
                  <c:v>#N/A</c:v>
                </c:pt>
                <c:pt idx="7379">
                  <c:v>2.7205479452054795</c:v>
                </c:pt>
                <c:pt idx="7380">
                  <c:v>#N/A</c:v>
                </c:pt>
                <c:pt idx="7381">
                  <c:v>2.7205479452054795</c:v>
                </c:pt>
                <c:pt idx="7382">
                  <c:v>2.7205479452054795</c:v>
                </c:pt>
                <c:pt idx="7383">
                  <c:v>2.7232876712328768</c:v>
                </c:pt>
                <c:pt idx="7384">
                  <c:v>2.7232876712328768</c:v>
                </c:pt>
                <c:pt idx="7385">
                  <c:v>#N/A</c:v>
                </c:pt>
                <c:pt idx="7386">
                  <c:v>#N/A</c:v>
                </c:pt>
                <c:pt idx="7387">
                  <c:v>2.7260273972602738</c:v>
                </c:pt>
                <c:pt idx="7388">
                  <c:v>#N/A</c:v>
                </c:pt>
                <c:pt idx="7389">
                  <c:v>#N/A</c:v>
                </c:pt>
                <c:pt idx="7390">
                  <c:v>#N/A</c:v>
                </c:pt>
                <c:pt idx="7391">
                  <c:v>2.7369863013698632</c:v>
                </c:pt>
                <c:pt idx="7392">
                  <c:v>2.7369863013698632</c:v>
                </c:pt>
                <c:pt idx="7393">
                  <c:v>#N/A</c:v>
                </c:pt>
                <c:pt idx="7394">
                  <c:v>2.7397260273972601</c:v>
                </c:pt>
                <c:pt idx="7395">
                  <c:v>#N/A</c:v>
                </c:pt>
                <c:pt idx="7396">
                  <c:v>2.7397260273972601</c:v>
                </c:pt>
                <c:pt idx="7397">
                  <c:v>2.7452054794520548</c:v>
                </c:pt>
                <c:pt idx="7398">
                  <c:v>2.7561643835616438</c:v>
                </c:pt>
                <c:pt idx="7399">
                  <c:v>2.7561643835616438</c:v>
                </c:pt>
                <c:pt idx="7400">
                  <c:v>2.7561643835616438</c:v>
                </c:pt>
                <c:pt idx="7401">
                  <c:v>#N/A</c:v>
                </c:pt>
                <c:pt idx="7402">
                  <c:v>#N/A</c:v>
                </c:pt>
                <c:pt idx="7403">
                  <c:v>#N/A</c:v>
                </c:pt>
                <c:pt idx="7404">
                  <c:v>2.7589041095890412</c:v>
                </c:pt>
                <c:pt idx="7405">
                  <c:v>#N/A</c:v>
                </c:pt>
                <c:pt idx="7406">
                  <c:v>#N/A</c:v>
                </c:pt>
                <c:pt idx="7407">
                  <c:v>#N/A</c:v>
                </c:pt>
                <c:pt idx="7408">
                  <c:v>2.7616438356164386</c:v>
                </c:pt>
                <c:pt idx="7409">
                  <c:v>#N/A</c:v>
                </c:pt>
                <c:pt idx="7410">
                  <c:v>#N/A</c:v>
                </c:pt>
                <c:pt idx="7411">
                  <c:v>#N/A</c:v>
                </c:pt>
                <c:pt idx="7412">
                  <c:v>2.7643835616438355</c:v>
                </c:pt>
                <c:pt idx="7413">
                  <c:v>#N/A</c:v>
                </c:pt>
                <c:pt idx="7414">
                  <c:v>2.7753424657534245</c:v>
                </c:pt>
                <c:pt idx="7415">
                  <c:v>#N/A</c:v>
                </c:pt>
                <c:pt idx="7416">
                  <c:v>#N/A</c:v>
                </c:pt>
                <c:pt idx="7417">
                  <c:v>#N/A</c:v>
                </c:pt>
                <c:pt idx="7418">
                  <c:v>#N/A</c:v>
                </c:pt>
                <c:pt idx="7419">
                  <c:v>#N/A</c:v>
                </c:pt>
                <c:pt idx="7420">
                  <c:v>2.7780821917808218</c:v>
                </c:pt>
                <c:pt idx="7421">
                  <c:v>#N/A</c:v>
                </c:pt>
                <c:pt idx="7422">
                  <c:v>2.7780821917808218</c:v>
                </c:pt>
                <c:pt idx="7423">
                  <c:v>#N/A</c:v>
                </c:pt>
                <c:pt idx="7424">
                  <c:v>#N/A</c:v>
                </c:pt>
                <c:pt idx="7425">
                  <c:v>2.7808219178082192</c:v>
                </c:pt>
                <c:pt idx="7426">
                  <c:v>2.7808219178082192</c:v>
                </c:pt>
                <c:pt idx="7427">
                  <c:v>#N/A</c:v>
                </c:pt>
                <c:pt idx="7428">
                  <c:v>2.7808219178082192</c:v>
                </c:pt>
                <c:pt idx="7429">
                  <c:v>2.7835616438356166</c:v>
                </c:pt>
                <c:pt idx="7430">
                  <c:v>#N/A</c:v>
                </c:pt>
                <c:pt idx="7431">
                  <c:v>#N/A</c:v>
                </c:pt>
                <c:pt idx="7432">
                  <c:v>#N/A</c:v>
                </c:pt>
                <c:pt idx="7433">
                  <c:v>#N/A</c:v>
                </c:pt>
                <c:pt idx="7434">
                  <c:v>2.7835616438356166</c:v>
                </c:pt>
                <c:pt idx="7435">
                  <c:v>#N/A</c:v>
                </c:pt>
                <c:pt idx="7436">
                  <c:v>2.7835616438356166</c:v>
                </c:pt>
                <c:pt idx="7437">
                  <c:v>2.7835616438356166</c:v>
                </c:pt>
                <c:pt idx="7438">
                  <c:v>2.7835616438356166</c:v>
                </c:pt>
                <c:pt idx="7439">
                  <c:v>2.7835616438356166</c:v>
                </c:pt>
                <c:pt idx="7440">
                  <c:v>#N/A</c:v>
                </c:pt>
                <c:pt idx="7441">
                  <c:v>#N/A</c:v>
                </c:pt>
                <c:pt idx="7442">
                  <c:v>#N/A</c:v>
                </c:pt>
                <c:pt idx="7443">
                  <c:v>2.7835616438356166</c:v>
                </c:pt>
                <c:pt idx="7444">
                  <c:v>2.7835616438356166</c:v>
                </c:pt>
                <c:pt idx="7445">
                  <c:v>#N/A</c:v>
                </c:pt>
                <c:pt idx="7446">
                  <c:v>2.7835616438356166</c:v>
                </c:pt>
                <c:pt idx="7447">
                  <c:v>2.7835616438356166</c:v>
                </c:pt>
                <c:pt idx="7448">
                  <c:v>#N/A</c:v>
                </c:pt>
                <c:pt idx="7449">
                  <c:v>#N/A</c:v>
                </c:pt>
                <c:pt idx="7450">
                  <c:v>#N/A</c:v>
                </c:pt>
                <c:pt idx="7451">
                  <c:v>#N/A</c:v>
                </c:pt>
                <c:pt idx="7452">
                  <c:v>2.7863013698630139</c:v>
                </c:pt>
                <c:pt idx="7453">
                  <c:v>#N/A</c:v>
                </c:pt>
                <c:pt idx="7454">
                  <c:v>2.7863013698630139</c:v>
                </c:pt>
                <c:pt idx="7455">
                  <c:v>2.7863013698630139</c:v>
                </c:pt>
                <c:pt idx="7456">
                  <c:v>#N/A</c:v>
                </c:pt>
                <c:pt idx="7457">
                  <c:v>#N/A</c:v>
                </c:pt>
                <c:pt idx="7458">
                  <c:v>#N/A</c:v>
                </c:pt>
                <c:pt idx="7459">
                  <c:v>#N/A</c:v>
                </c:pt>
                <c:pt idx="7460">
                  <c:v>#N/A</c:v>
                </c:pt>
                <c:pt idx="7461">
                  <c:v>#N/A</c:v>
                </c:pt>
                <c:pt idx="7462">
                  <c:v>#N/A</c:v>
                </c:pt>
                <c:pt idx="7463">
                  <c:v>2.7917808219178082</c:v>
                </c:pt>
                <c:pt idx="7464">
                  <c:v>#N/A</c:v>
                </c:pt>
                <c:pt idx="7465">
                  <c:v>#N/A</c:v>
                </c:pt>
                <c:pt idx="7466">
                  <c:v>#N/A</c:v>
                </c:pt>
                <c:pt idx="7467">
                  <c:v>#N/A</c:v>
                </c:pt>
                <c:pt idx="7468">
                  <c:v>#N/A</c:v>
                </c:pt>
                <c:pt idx="7469">
                  <c:v>#N/A</c:v>
                </c:pt>
                <c:pt idx="7470">
                  <c:v>2.7972602739726029</c:v>
                </c:pt>
                <c:pt idx="7471">
                  <c:v>2.7972602739726029</c:v>
                </c:pt>
                <c:pt idx="7472">
                  <c:v>2.7972602739726029</c:v>
                </c:pt>
                <c:pt idx="7473">
                  <c:v>#N/A</c:v>
                </c:pt>
                <c:pt idx="7474">
                  <c:v>#N/A</c:v>
                </c:pt>
                <c:pt idx="7475">
                  <c:v>2.8</c:v>
                </c:pt>
                <c:pt idx="7476">
                  <c:v>2.8</c:v>
                </c:pt>
                <c:pt idx="7477">
                  <c:v>2.8</c:v>
                </c:pt>
                <c:pt idx="7478">
                  <c:v>#N/A</c:v>
                </c:pt>
                <c:pt idx="7479">
                  <c:v>2.8027397260273972</c:v>
                </c:pt>
                <c:pt idx="7480">
                  <c:v>#N/A</c:v>
                </c:pt>
                <c:pt idx="7481">
                  <c:v>#N/A</c:v>
                </c:pt>
                <c:pt idx="7482">
                  <c:v>#N/A</c:v>
                </c:pt>
                <c:pt idx="7483">
                  <c:v>2.8054794520547945</c:v>
                </c:pt>
                <c:pt idx="7484">
                  <c:v>2.8054794520547945</c:v>
                </c:pt>
                <c:pt idx="7485">
                  <c:v>#N/A</c:v>
                </c:pt>
                <c:pt idx="7486">
                  <c:v>#N/A</c:v>
                </c:pt>
                <c:pt idx="7487">
                  <c:v>#N/A</c:v>
                </c:pt>
                <c:pt idx="7488">
                  <c:v>#N/A</c:v>
                </c:pt>
                <c:pt idx="7489">
                  <c:v>2.8164383561643835</c:v>
                </c:pt>
                <c:pt idx="7490">
                  <c:v>#N/A</c:v>
                </c:pt>
                <c:pt idx="7491">
                  <c:v>#N/A</c:v>
                </c:pt>
                <c:pt idx="7492">
                  <c:v>2.8191780821917809</c:v>
                </c:pt>
                <c:pt idx="7493">
                  <c:v>2.8191780821917809</c:v>
                </c:pt>
                <c:pt idx="7494">
                  <c:v>#N/A</c:v>
                </c:pt>
                <c:pt idx="7495">
                  <c:v>#N/A</c:v>
                </c:pt>
                <c:pt idx="7496">
                  <c:v>2.8219178082191783</c:v>
                </c:pt>
                <c:pt idx="7497">
                  <c:v>#N/A</c:v>
                </c:pt>
                <c:pt idx="7498">
                  <c:v>#N/A</c:v>
                </c:pt>
                <c:pt idx="7499">
                  <c:v>2.8273972602739725</c:v>
                </c:pt>
                <c:pt idx="7500">
                  <c:v>#N/A</c:v>
                </c:pt>
                <c:pt idx="7501">
                  <c:v>2.8328767123287673</c:v>
                </c:pt>
                <c:pt idx="7502">
                  <c:v>#N/A</c:v>
                </c:pt>
                <c:pt idx="7503">
                  <c:v>#N/A</c:v>
                </c:pt>
                <c:pt idx="7504">
                  <c:v>2.8328767123287673</c:v>
                </c:pt>
                <c:pt idx="7505">
                  <c:v>2.8328767123287673</c:v>
                </c:pt>
                <c:pt idx="7506">
                  <c:v>2.8328767123287673</c:v>
                </c:pt>
                <c:pt idx="7507">
                  <c:v>2.8328767123287673</c:v>
                </c:pt>
                <c:pt idx="7508">
                  <c:v>2.8328767123287673</c:v>
                </c:pt>
                <c:pt idx="7509">
                  <c:v>2.8328767123287673</c:v>
                </c:pt>
                <c:pt idx="7510">
                  <c:v>#N/A</c:v>
                </c:pt>
                <c:pt idx="7511">
                  <c:v>#N/A</c:v>
                </c:pt>
                <c:pt idx="7512">
                  <c:v>2.8328767123287673</c:v>
                </c:pt>
                <c:pt idx="7513">
                  <c:v>2.8328767123287673</c:v>
                </c:pt>
                <c:pt idx="7514">
                  <c:v>#N/A</c:v>
                </c:pt>
                <c:pt idx="7515">
                  <c:v>#N/A</c:v>
                </c:pt>
                <c:pt idx="7516">
                  <c:v>2.8328767123287673</c:v>
                </c:pt>
                <c:pt idx="7517">
                  <c:v>2.8356164383561642</c:v>
                </c:pt>
                <c:pt idx="7518">
                  <c:v>#N/A</c:v>
                </c:pt>
                <c:pt idx="7519">
                  <c:v>2.8356164383561642</c:v>
                </c:pt>
                <c:pt idx="7520">
                  <c:v>#N/A</c:v>
                </c:pt>
                <c:pt idx="7521">
                  <c:v>#N/A</c:v>
                </c:pt>
                <c:pt idx="7522">
                  <c:v>2.8356164383561642</c:v>
                </c:pt>
                <c:pt idx="7523">
                  <c:v>#N/A</c:v>
                </c:pt>
                <c:pt idx="7524">
                  <c:v>2.8383561643835615</c:v>
                </c:pt>
                <c:pt idx="7525">
                  <c:v>2.8383561643835615</c:v>
                </c:pt>
                <c:pt idx="7526">
                  <c:v>2.8383561643835615</c:v>
                </c:pt>
                <c:pt idx="7527">
                  <c:v>2.8383561643835615</c:v>
                </c:pt>
                <c:pt idx="7528">
                  <c:v>#N/A</c:v>
                </c:pt>
                <c:pt idx="7529">
                  <c:v>2.8383561643835615</c:v>
                </c:pt>
                <c:pt idx="7530">
                  <c:v>2.8383561643835615</c:v>
                </c:pt>
                <c:pt idx="7531">
                  <c:v>2.8410958904109589</c:v>
                </c:pt>
                <c:pt idx="7532">
                  <c:v>2.8410958904109589</c:v>
                </c:pt>
                <c:pt idx="7533">
                  <c:v>2.8410958904109589</c:v>
                </c:pt>
                <c:pt idx="7534">
                  <c:v>#N/A</c:v>
                </c:pt>
                <c:pt idx="7535">
                  <c:v>#N/A</c:v>
                </c:pt>
                <c:pt idx="7536">
                  <c:v>2.8410958904109589</c:v>
                </c:pt>
                <c:pt idx="7537">
                  <c:v>2.8410958904109589</c:v>
                </c:pt>
                <c:pt idx="7538">
                  <c:v>#N/A</c:v>
                </c:pt>
                <c:pt idx="7539">
                  <c:v>2.8410958904109589</c:v>
                </c:pt>
                <c:pt idx="7540">
                  <c:v>#N/A</c:v>
                </c:pt>
                <c:pt idx="7541">
                  <c:v>2.8410958904109589</c:v>
                </c:pt>
                <c:pt idx="7542">
                  <c:v>2.8410958904109589</c:v>
                </c:pt>
                <c:pt idx="7543">
                  <c:v>#N/A</c:v>
                </c:pt>
                <c:pt idx="7544">
                  <c:v>#N/A</c:v>
                </c:pt>
                <c:pt idx="7545">
                  <c:v>2.8410958904109589</c:v>
                </c:pt>
                <c:pt idx="7546">
                  <c:v>2.8410958904109589</c:v>
                </c:pt>
                <c:pt idx="7547">
                  <c:v>2.8410958904109589</c:v>
                </c:pt>
                <c:pt idx="7548">
                  <c:v>2.8410958904109589</c:v>
                </c:pt>
                <c:pt idx="7549">
                  <c:v>#N/A</c:v>
                </c:pt>
                <c:pt idx="7550">
                  <c:v>2.8438356164383563</c:v>
                </c:pt>
                <c:pt idx="7551">
                  <c:v>2.8438356164383563</c:v>
                </c:pt>
                <c:pt idx="7552">
                  <c:v>#N/A</c:v>
                </c:pt>
                <c:pt idx="7553">
                  <c:v>2.8438356164383563</c:v>
                </c:pt>
                <c:pt idx="7554">
                  <c:v>2.8438356164383563</c:v>
                </c:pt>
                <c:pt idx="7555">
                  <c:v>2.8438356164383563</c:v>
                </c:pt>
                <c:pt idx="7556">
                  <c:v>#N/A</c:v>
                </c:pt>
                <c:pt idx="7557">
                  <c:v>2.8438356164383563</c:v>
                </c:pt>
                <c:pt idx="7558">
                  <c:v>2.8438356164383563</c:v>
                </c:pt>
                <c:pt idx="7559">
                  <c:v>2.8438356164383563</c:v>
                </c:pt>
                <c:pt idx="7560">
                  <c:v>#N/A</c:v>
                </c:pt>
                <c:pt idx="7561">
                  <c:v>2.8575342465753426</c:v>
                </c:pt>
                <c:pt idx="7562">
                  <c:v>2.8575342465753426</c:v>
                </c:pt>
                <c:pt idx="7563">
                  <c:v>2.8575342465753426</c:v>
                </c:pt>
                <c:pt idx="7564">
                  <c:v>2.8575342465753426</c:v>
                </c:pt>
                <c:pt idx="7565">
                  <c:v>2.8602739726027395</c:v>
                </c:pt>
                <c:pt idx="7566">
                  <c:v>2.8602739726027395</c:v>
                </c:pt>
                <c:pt idx="7567">
                  <c:v>2.8602739726027395</c:v>
                </c:pt>
                <c:pt idx="7568">
                  <c:v>2.8602739726027395</c:v>
                </c:pt>
                <c:pt idx="7569">
                  <c:v>#N/A</c:v>
                </c:pt>
                <c:pt idx="7570">
                  <c:v>#N/A</c:v>
                </c:pt>
                <c:pt idx="7571">
                  <c:v>#N/A</c:v>
                </c:pt>
                <c:pt idx="7572">
                  <c:v>#N/A</c:v>
                </c:pt>
                <c:pt idx="7573">
                  <c:v>#N/A</c:v>
                </c:pt>
                <c:pt idx="7574">
                  <c:v>#N/A</c:v>
                </c:pt>
                <c:pt idx="7575">
                  <c:v>2.871232876712329</c:v>
                </c:pt>
                <c:pt idx="7576">
                  <c:v>#N/A</c:v>
                </c:pt>
                <c:pt idx="7577">
                  <c:v>#N/A</c:v>
                </c:pt>
                <c:pt idx="7578">
                  <c:v>#N/A</c:v>
                </c:pt>
                <c:pt idx="7579">
                  <c:v>#N/A</c:v>
                </c:pt>
                <c:pt idx="7580">
                  <c:v>#N/A</c:v>
                </c:pt>
                <c:pt idx="7581">
                  <c:v>2.8767123287671232</c:v>
                </c:pt>
                <c:pt idx="7582">
                  <c:v>2.8767123287671232</c:v>
                </c:pt>
                <c:pt idx="7583">
                  <c:v>#N/A</c:v>
                </c:pt>
                <c:pt idx="7584">
                  <c:v>#N/A</c:v>
                </c:pt>
                <c:pt idx="7585">
                  <c:v>#N/A</c:v>
                </c:pt>
                <c:pt idx="7586">
                  <c:v>#N/A</c:v>
                </c:pt>
                <c:pt idx="7587">
                  <c:v>2.8767123287671232</c:v>
                </c:pt>
                <c:pt idx="7588">
                  <c:v>2.8767123287671232</c:v>
                </c:pt>
                <c:pt idx="7589">
                  <c:v>2.8767123287671232</c:v>
                </c:pt>
                <c:pt idx="7590">
                  <c:v>#N/A</c:v>
                </c:pt>
                <c:pt idx="7591">
                  <c:v>2.8767123287671232</c:v>
                </c:pt>
                <c:pt idx="7592">
                  <c:v>2.8767123287671232</c:v>
                </c:pt>
                <c:pt idx="7593">
                  <c:v>#N/A</c:v>
                </c:pt>
                <c:pt idx="7594">
                  <c:v>2.8794520547945206</c:v>
                </c:pt>
                <c:pt idx="7595">
                  <c:v>2.8794520547945206</c:v>
                </c:pt>
                <c:pt idx="7596">
                  <c:v>2.8794520547945206</c:v>
                </c:pt>
                <c:pt idx="7597">
                  <c:v>#N/A</c:v>
                </c:pt>
                <c:pt idx="7598">
                  <c:v>#N/A</c:v>
                </c:pt>
                <c:pt idx="7599">
                  <c:v>#N/A</c:v>
                </c:pt>
                <c:pt idx="7600">
                  <c:v>#N/A</c:v>
                </c:pt>
                <c:pt idx="7601">
                  <c:v>2.882191780821918</c:v>
                </c:pt>
                <c:pt idx="7602">
                  <c:v>2.882191780821918</c:v>
                </c:pt>
                <c:pt idx="7603">
                  <c:v>2.882191780821918</c:v>
                </c:pt>
                <c:pt idx="7604">
                  <c:v>2.882191780821918</c:v>
                </c:pt>
                <c:pt idx="7605">
                  <c:v>#N/A</c:v>
                </c:pt>
                <c:pt idx="7606">
                  <c:v>#N/A</c:v>
                </c:pt>
                <c:pt idx="7607">
                  <c:v>#N/A</c:v>
                </c:pt>
                <c:pt idx="7608">
                  <c:v>#N/A</c:v>
                </c:pt>
                <c:pt idx="7609">
                  <c:v>#N/A</c:v>
                </c:pt>
                <c:pt idx="7610">
                  <c:v>2.882191780821918</c:v>
                </c:pt>
                <c:pt idx="7611">
                  <c:v>2.882191780821918</c:v>
                </c:pt>
                <c:pt idx="7612">
                  <c:v>#N/A</c:v>
                </c:pt>
                <c:pt idx="7613">
                  <c:v>#N/A</c:v>
                </c:pt>
                <c:pt idx="7614">
                  <c:v>2.882191780821918</c:v>
                </c:pt>
                <c:pt idx="7615">
                  <c:v>#N/A</c:v>
                </c:pt>
                <c:pt idx="7616">
                  <c:v>#N/A</c:v>
                </c:pt>
                <c:pt idx="7617">
                  <c:v>#N/A</c:v>
                </c:pt>
                <c:pt idx="7618">
                  <c:v>#N/A</c:v>
                </c:pt>
                <c:pt idx="7619">
                  <c:v>2.882191780821918</c:v>
                </c:pt>
                <c:pt idx="7620">
                  <c:v>2.8876712328767122</c:v>
                </c:pt>
                <c:pt idx="7621">
                  <c:v>2.8876712328767122</c:v>
                </c:pt>
                <c:pt idx="7622">
                  <c:v>2.8876712328767122</c:v>
                </c:pt>
                <c:pt idx="7623">
                  <c:v>2.8876712328767122</c:v>
                </c:pt>
                <c:pt idx="7624">
                  <c:v>2.8904109589041096</c:v>
                </c:pt>
                <c:pt idx="7625">
                  <c:v>#N/A</c:v>
                </c:pt>
                <c:pt idx="7626">
                  <c:v>#N/A</c:v>
                </c:pt>
                <c:pt idx="7627">
                  <c:v>2.8904109589041096</c:v>
                </c:pt>
                <c:pt idx="7628">
                  <c:v>#N/A</c:v>
                </c:pt>
                <c:pt idx="7629">
                  <c:v>2.893150684931507</c:v>
                </c:pt>
                <c:pt idx="7630">
                  <c:v>2.893150684931507</c:v>
                </c:pt>
                <c:pt idx="7631">
                  <c:v>#N/A</c:v>
                </c:pt>
                <c:pt idx="7632">
                  <c:v>2.8958904109589043</c:v>
                </c:pt>
                <c:pt idx="7633">
                  <c:v>#N/A</c:v>
                </c:pt>
                <c:pt idx="7634">
                  <c:v>2.8958904109589043</c:v>
                </c:pt>
                <c:pt idx="7635">
                  <c:v>#N/A</c:v>
                </c:pt>
                <c:pt idx="7636">
                  <c:v>#N/A</c:v>
                </c:pt>
                <c:pt idx="7637">
                  <c:v>#N/A</c:v>
                </c:pt>
                <c:pt idx="7638">
                  <c:v>#N/A</c:v>
                </c:pt>
                <c:pt idx="7639">
                  <c:v>#N/A</c:v>
                </c:pt>
                <c:pt idx="7640">
                  <c:v>#N/A</c:v>
                </c:pt>
                <c:pt idx="7641">
                  <c:v>#N/A</c:v>
                </c:pt>
                <c:pt idx="7642">
                  <c:v>#N/A</c:v>
                </c:pt>
                <c:pt idx="7643">
                  <c:v>#N/A</c:v>
                </c:pt>
                <c:pt idx="7644">
                  <c:v>2.9123287671232876</c:v>
                </c:pt>
                <c:pt idx="7645">
                  <c:v>#N/A</c:v>
                </c:pt>
                <c:pt idx="7646">
                  <c:v>#N/A</c:v>
                </c:pt>
                <c:pt idx="7647">
                  <c:v>2.9123287671232876</c:v>
                </c:pt>
                <c:pt idx="7648">
                  <c:v>2.9123287671232876</c:v>
                </c:pt>
                <c:pt idx="7649">
                  <c:v>#N/A</c:v>
                </c:pt>
                <c:pt idx="7650">
                  <c:v>#N/A</c:v>
                </c:pt>
                <c:pt idx="7651">
                  <c:v>2.9150684931506849</c:v>
                </c:pt>
                <c:pt idx="7652">
                  <c:v>2.9150684931506849</c:v>
                </c:pt>
                <c:pt idx="7653">
                  <c:v>#N/A</c:v>
                </c:pt>
                <c:pt idx="7654">
                  <c:v>#N/A</c:v>
                </c:pt>
                <c:pt idx="7655">
                  <c:v>2.9150684931506849</c:v>
                </c:pt>
                <c:pt idx="7656">
                  <c:v>2.9150684931506849</c:v>
                </c:pt>
                <c:pt idx="7657">
                  <c:v>#N/A</c:v>
                </c:pt>
                <c:pt idx="7658">
                  <c:v>2.9150684931506849</c:v>
                </c:pt>
                <c:pt idx="7659">
                  <c:v>2.9178082191780823</c:v>
                </c:pt>
                <c:pt idx="7660">
                  <c:v>#N/A</c:v>
                </c:pt>
                <c:pt idx="7661">
                  <c:v>#N/A</c:v>
                </c:pt>
                <c:pt idx="7662">
                  <c:v>2.9178082191780823</c:v>
                </c:pt>
                <c:pt idx="7663">
                  <c:v>2.9205479452054797</c:v>
                </c:pt>
                <c:pt idx="7664">
                  <c:v>2.9205479452054797</c:v>
                </c:pt>
                <c:pt idx="7665">
                  <c:v>#N/A</c:v>
                </c:pt>
                <c:pt idx="7666">
                  <c:v>#N/A</c:v>
                </c:pt>
                <c:pt idx="7667">
                  <c:v>2.9260273972602739</c:v>
                </c:pt>
                <c:pt idx="7668">
                  <c:v>#N/A</c:v>
                </c:pt>
                <c:pt idx="7669">
                  <c:v>#N/A</c:v>
                </c:pt>
                <c:pt idx="7670">
                  <c:v>2.9287671232876713</c:v>
                </c:pt>
                <c:pt idx="7671">
                  <c:v>#N/A</c:v>
                </c:pt>
                <c:pt idx="7672">
                  <c:v>2.9287671232876713</c:v>
                </c:pt>
                <c:pt idx="7673">
                  <c:v>#N/A</c:v>
                </c:pt>
                <c:pt idx="7674">
                  <c:v>#N/A</c:v>
                </c:pt>
                <c:pt idx="7675">
                  <c:v>2.9315068493150687</c:v>
                </c:pt>
                <c:pt idx="7676">
                  <c:v>2.9342465753424656</c:v>
                </c:pt>
                <c:pt idx="7677">
                  <c:v>#N/A</c:v>
                </c:pt>
                <c:pt idx="7678">
                  <c:v>2.9342465753424656</c:v>
                </c:pt>
                <c:pt idx="7679">
                  <c:v>2.9342465753424656</c:v>
                </c:pt>
                <c:pt idx="7680">
                  <c:v>#N/A</c:v>
                </c:pt>
                <c:pt idx="7681">
                  <c:v>#N/A</c:v>
                </c:pt>
                <c:pt idx="7682">
                  <c:v>#N/A</c:v>
                </c:pt>
                <c:pt idx="7683">
                  <c:v>#N/A</c:v>
                </c:pt>
                <c:pt idx="7684">
                  <c:v>2.9342465753424656</c:v>
                </c:pt>
                <c:pt idx="7685">
                  <c:v>#N/A</c:v>
                </c:pt>
                <c:pt idx="7686">
                  <c:v>#N/A</c:v>
                </c:pt>
                <c:pt idx="7687">
                  <c:v>2.9342465753424656</c:v>
                </c:pt>
                <c:pt idx="7688">
                  <c:v>2.9342465753424656</c:v>
                </c:pt>
                <c:pt idx="7689">
                  <c:v>#N/A</c:v>
                </c:pt>
                <c:pt idx="7690">
                  <c:v>2.9342465753424656</c:v>
                </c:pt>
                <c:pt idx="7691">
                  <c:v>2.9342465753424656</c:v>
                </c:pt>
                <c:pt idx="7692">
                  <c:v>#N/A</c:v>
                </c:pt>
                <c:pt idx="7693">
                  <c:v>#N/A</c:v>
                </c:pt>
                <c:pt idx="7694">
                  <c:v>2.9342465753424656</c:v>
                </c:pt>
                <c:pt idx="7695">
                  <c:v>#N/A</c:v>
                </c:pt>
                <c:pt idx="7696">
                  <c:v>#N/A</c:v>
                </c:pt>
                <c:pt idx="7697">
                  <c:v>2.9342465753424656</c:v>
                </c:pt>
                <c:pt idx="7698">
                  <c:v>#N/A</c:v>
                </c:pt>
                <c:pt idx="7699">
                  <c:v>#N/A</c:v>
                </c:pt>
                <c:pt idx="7700">
                  <c:v>#N/A</c:v>
                </c:pt>
                <c:pt idx="7701">
                  <c:v>2.9342465753424656</c:v>
                </c:pt>
                <c:pt idx="7702">
                  <c:v>#N/A</c:v>
                </c:pt>
                <c:pt idx="7703">
                  <c:v>#N/A</c:v>
                </c:pt>
                <c:pt idx="7704">
                  <c:v>2.9342465753424656</c:v>
                </c:pt>
                <c:pt idx="7705">
                  <c:v>2.9342465753424656</c:v>
                </c:pt>
                <c:pt idx="7706">
                  <c:v>2.9342465753424656</c:v>
                </c:pt>
                <c:pt idx="7707">
                  <c:v>#N/A</c:v>
                </c:pt>
                <c:pt idx="7708">
                  <c:v>2.9369863013698629</c:v>
                </c:pt>
                <c:pt idx="7709">
                  <c:v>#N/A</c:v>
                </c:pt>
                <c:pt idx="7710">
                  <c:v>#N/A</c:v>
                </c:pt>
                <c:pt idx="7711">
                  <c:v>2.9369863013698629</c:v>
                </c:pt>
                <c:pt idx="7712">
                  <c:v>2.9369863013698629</c:v>
                </c:pt>
                <c:pt idx="7713">
                  <c:v>#N/A</c:v>
                </c:pt>
                <c:pt idx="7714">
                  <c:v>2.9369863013698629</c:v>
                </c:pt>
                <c:pt idx="7715">
                  <c:v>#N/A</c:v>
                </c:pt>
                <c:pt idx="7716">
                  <c:v>2.9397260273972603</c:v>
                </c:pt>
                <c:pt idx="7717">
                  <c:v>2.9397260273972603</c:v>
                </c:pt>
                <c:pt idx="7718">
                  <c:v>#N/A</c:v>
                </c:pt>
                <c:pt idx="7719">
                  <c:v>2.9397260273972603</c:v>
                </c:pt>
                <c:pt idx="7720">
                  <c:v>2.9479452054794519</c:v>
                </c:pt>
                <c:pt idx="7721">
                  <c:v>2.9479452054794519</c:v>
                </c:pt>
                <c:pt idx="7722">
                  <c:v>#N/A</c:v>
                </c:pt>
                <c:pt idx="7723">
                  <c:v>2.9479452054794519</c:v>
                </c:pt>
                <c:pt idx="7724">
                  <c:v>#N/A</c:v>
                </c:pt>
                <c:pt idx="7725">
                  <c:v>2.9479452054794519</c:v>
                </c:pt>
                <c:pt idx="7726">
                  <c:v>#N/A</c:v>
                </c:pt>
                <c:pt idx="7727">
                  <c:v>2.9534246575342467</c:v>
                </c:pt>
                <c:pt idx="7728">
                  <c:v>#N/A</c:v>
                </c:pt>
                <c:pt idx="7729">
                  <c:v>2.9534246575342467</c:v>
                </c:pt>
                <c:pt idx="7730">
                  <c:v>2.9534246575342467</c:v>
                </c:pt>
                <c:pt idx="7731">
                  <c:v>#N/A</c:v>
                </c:pt>
                <c:pt idx="7732">
                  <c:v>#N/A</c:v>
                </c:pt>
                <c:pt idx="7733">
                  <c:v>#N/A</c:v>
                </c:pt>
                <c:pt idx="7734">
                  <c:v>#N/A</c:v>
                </c:pt>
                <c:pt idx="7735">
                  <c:v>#N/A</c:v>
                </c:pt>
                <c:pt idx="7736">
                  <c:v>#N/A</c:v>
                </c:pt>
                <c:pt idx="7737">
                  <c:v>#N/A</c:v>
                </c:pt>
                <c:pt idx="7738">
                  <c:v>#N/A</c:v>
                </c:pt>
                <c:pt idx="7739">
                  <c:v>2.9589041095890409</c:v>
                </c:pt>
                <c:pt idx="7740">
                  <c:v>2.9589041095890409</c:v>
                </c:pt>
                <c:pt idx="7741">
                  <c:v>2.9589041095890409</c:v>
                </c:pt>
                <c:pt idx="7742">
                  <c:v>#N/A</c:v>
                </c:pt>
                <c:pt idx="7743">
                  <c:v>2.9589041095890409</c:v>
                </c:pt>
                <c:pt idx="7744">
                  <c:v>#N/A</c:v>
                </c:pt>
                <c:pt idx="7745">
                  <c:v>#N/A</c:v>
                </c:pt>
                <c:pt idx="7746">
                  <c:v>#N/A</c:v>
                </c:pt>
                <c:pt idx="7747">
                  <c:v>2.967123287671233</c:v>
                </c:pt>
                <c:pt idx="7748">
                  <c:v>2.967123287671233</c:v>
                </c:pt>
                <c:pt idx="7749">
                  <c:v>2.967123287671233</c:v>
                </c:pt>
                <c:pt idx="7750">
                  <c:v>#N/A</c:v>
                </c:pt>
                <c:pt idx="7751">
                  <c:v>2.9753424657534246</c:v>
                </c:pt>
                <c:pt idx="7752">
                  <c:v>2.9753424657534246</c:v>
                </c:pt>
                <c:pt idx="7753">
                  <c:v>2.978082191780822</c:v>
                </c:pt>
                <c:pt idx="7754">
                  <c:v>2.978082191780822</c:v>
                </c:pt>
                <c:pt idx="7755">
                  <c:v>#N/A</c:v>
                </c:pt>
                <c:pt idx="7756">
                  <c:v>2.9863013698630136</c:v>
                </c:pt>
                <c:pt idx="7757">
                  <c:v>#N/A</c:v>
                </c:pt>
                <c:pt idx="7758">
                  <c:v>2.9863013698630136</c:v>
                </c:pt>
                <c:pt idx="7759">
                  <c:v>#N/A</c:v>
                </c:pt>
                <c:pt idx="7760">
                  <c:v>2.989041095890411</c:v>
                </c:pt>
                <c:pt idx="7761">
                  <c:v>#N/A</c:v>
                </c:pt>
                <c:pt idx="7762">
                  <c:v>2.989041095890411</c:v>
                </c:pt>
                <c:pt idx="7763">
                  <c:v>2.9917808219178084</c:v>
                </c:pt>
                <c:pt idx="7764">
                  <c:v>2.9945205479452053</c:v>
                </c:pt>
                <c:pt idx="7765">
                  <c:v>#N/A</c:v>
                </c:pt>
                <c:pt idx="7766">
                  <c:v>2.9945205479452053</c:v>
                </c:pt>
                <c:pt idx="7767">
                  <c:v>2.9945205479452053</c:v>
                </c:pt>
                <c:pt idx="7768">
                  <c:v>#N/A</c:v>
                </c:pt>
                <c:pt idx="7769">
                  <c:v>#N/A</c:v>
                </c:pt>
                <c:pt idx="7770">
                  <c:v>#N/A</c:v>
                </c:pt>
                <c:pt idx="7771">
                  <c:v>#N/A</c:v>
                </c:pt>
                <c:pt idx="7772">
                  <c:v>#N/A</c:v>
                </c:pt>
                <c:pt idx="7773">
                  <c:v>2.9945205479452053</c:v>
                </c:pt>
                <c:pt idx="7774">
                  <c:v>#N/A</c:v>
                </c:pt>
                <c:pt idx="7775">
                  <c:v>#N/A</c:v>
                </c:pt>
                <c:pt idx="7776">
                  <c:v>3.0027397260273974</c:v>
                </c:pt>
                <c:pt idx="7777">
                  <c:v>#N/A</c:v>
                </c:pt>
                <c:pt idx="7778">
                  <c:v>#N/A</c:v>
                </c:pt>
                <c:pt idx="7779">
                  <c:v>#N/A</c:v>
                </c:pt>
                <c:pt idx="7780">
                  <c:v>#N/A</c:v>
                </c:pt>
                <c:pt idx="7781">
                  <c:v>#N/A</c:v>
                </c:pt>
                <c:pt idx="7782">
                  <c:v>3.0082191780821916</c:v>
                </c:pt>
                <c:pt idx="7783">
                  <c:v>3.0082191780821916</c:v>
                </c:pt>
                <c:pt idx="7784">
                  <c:v>3.0082191780821916</c:v>
                </c:pt>
                <c:pt idx="7785">
                  <c:v>3.0082191780821916</c:v>
                </c:pt>
                <c:pt idx="7786">
                  <c:v>3.0082191780821916</c:v>
                </c:pt>
                <c:pt idx="7787">
                  <c:v>#N/A</c:v>
                </c:pt>
                <c:pt idx="7788">
                  <c:v>#N/A</c:v>
                </c:pt>
                <c:pt idx="7789">
                  <c:v>3.0082191780821916</c:v>
                </c:pt>
                <c:pt idx="7790">
                  <c:v>#N/A</c:v>
                </c:pt>
                <c:pt idx="7791">
                  <c:v>#N/A</c:v>
                </c:pt>
                <c:pt idx="7792">
                  <c:v>#N/A</c:v>
                </c:pt>
                <c:pt idx="7793">
                  <c:v>#N/A</c:v>
                </c:pt>
                <c:pt idx="7794">
                  <c:v>3.0082191780821916</c:v>
                </c:pt>
                <c:pt idx="7795">
                  <c:v>3.010958904109589</c:v>
                </c:pt>
                <c:pt idx="7796">
                  <c:v>#N/A</c:v>
                </c:pt>
                <c:pt idx="7797">
                  <c:v>#N/A</c:v>
                </c:pt>
                <c:pt idx="7798">
                  <c:v>3.010958904109589</c:v>
                </c:pt>
                <c:pt idx="7799">
                  <c:v>#N/A</c:v>
                </c:pt>
                <c:pt idx="7800">
                  <c:v>3.010958904109589</c:v>
                </c:pt>
                <c:pt idx="7801">
                  <c:v>#N/A</c:v>
                </c:pt>
                <c:pt idx="7802">
                  <c:v>#N/A</c:v>
                </c:pt>
                <c:pt idx="7803">
                  <c:v>#N/A</c:v>
                </c:pt>
                <c:pt idx="7804">
                  <c:v>#N/A</c:v>
                </c:pt>
                <c:pt idx="7805">
                  <c:v>#N/A</c:v>
                </c:pt>
                <c:pt idx="7806">
                  <c:v>3.010958904109589</c:v>
                </c:pt>
                <c:pt idx="7807">
                  <c:v>#N/A</c:v>
                </c:pt>
                <c:pt idx="7808">
                  <c:v>3.010958904109589</c:v>
                </c:pt>
                <c:pt idx="7809">
                  <c:v>#N/A</c:v>
                </c:pt>
                <c:pt idx="7810">
                  <c:v>#N/A</c:v>
                </c:pt>
                <c:pt idx="7811">
                  <c:v>#N/A</c:v>
                </c:pt>
                <c:pt idx="7812">
                  <c:v>#N/A</c:v>
                </c:pt>
                <c:pt idx="7813">
                  <c:v>3.0136986301369864</c:v>
                </c:pt>
                <c:pt idx="7814">
                  <c:v>3.0136986301369864</c:v>
                </c:pt>
                <c:pt idx="7815">
                  <c:v>#N/A</c:v>
                </c:pt>
                <c:pt idx="7816">
                  <c:v>#N/A</c:v>
                </c:pt>
                <c:pt idx="7817">
                  <c:v>#N/A</c:v>
                </c:pt>
                <c:pt idx="7818">
                  <c:v>#N/A</c:v>
                </c:pt>
                <c:pt idx="7819">
                  <c:v>#N/A</c:v>
                </c:pt>
                <c:pt idx="7820">
                  <c:v>#N/A</c:v>
                </c:pt>
                <c:pt idx="7821">
                  <c:v>#N/A</c:v>
                </c:pt>
                <c:pt idx="7822">
                  <c:v>3.0136986301369864</c:v>
                </c:pt>
                <c:pt idx="7823">
                  <c:v>3.0136986301369864</c:v>
                </c:pt>
                <c:pt idx="7824">
                  <c:v>#N/A</c:v>
                </c:pt>
                <c:pt idx="7825">
                  <c:v>#N/A</c:v>
                </c:pt>
                <c:pt idx="7826">
                  <c:v>3.0164383561643837</c:v>
                </c:pt>
                <c:pt idx="7827">
                  <c:v>3.0164383561643837</c:v>
                </c:pt>
                <c:pt idx="7828">
                  <c:v>#N/A</c:v>
                </c:pt>
                <c:pt idx="7829">
                  <c:v>#N/A</c:v>
                </c:pt>
                <c:pt idx="7830">
                  <c:v>3.0246575342465754</c:v>
                </c:pt>
                <c:pt idx="7831">
                  <c:v>#N/A</c:v>
                </c:pt>
                <c:pt idx="7832">
                  <c:v>3.0246575342465754</c:v>
                </c:pt>
                <c:pt idx="7833">
                  <c:v>#N/A</c:v>
                </c:pt>
                <c:pt idx="7834">
                  <c:v>3.0246575342465754</c:v>
                </c:pt>
                <c:pt idx="7835">
                  <c:v>3.0246575342465754</c:v>
                </c:pt>
                <c:pt idx="7836">
                  <c:v>3.0273972602739727</c:v>
                </c:pt>
                <c:pt idx="7837">
                  <c:v>3.0273972602739727</c:v>
                </c:pt>
                <c:pt idx="7838">
                  <c:v>3.0273972602739727</c:v>
                </c:pt>
                <c:pt idx="7839">
                  <c:v>3.0273972602739727</c:v>
                </c:pt>
                <c:pt idx="7840">
                  <c:v>3.0273972602739727</c:v>
                </c:pt>
                <c:pt idx="7841">
                  <c:v>3.0273972602739727</c:v>
                </c:pt>
                <c:pt idx="7842">
                  <c:v>3.0273972602739727</c:v>
                </c:pt>
                <c:pt idx="7843">
                  <c:v>3.0301369863013701</c:v>
                </c:pt>
                <c:pt idx="7844">
                  <c:v>#N/A</c:v>
                </c:pt>
                <c:pt idx="7845">
                  <c:v>#N/A</c:v>
                </c:pt>
                <c:pt idx="7846">
                  <c:v>3.0301369863013701</c:v>
                </c:pt>
                <c:pt idx="7847">
                  <c:v>#N/A</c:v>
                </c:pt>
                <c:pt idx="7848">
                  <c:v>3.0301369863013701</c:v>
                </c:pt>
                <c:pt idx="7849">
                  <c:v>#N/A</c:v>
                </c:pt>
                <c:pt idx="7850">
                  <c:v>3.0301369863013701</c:v>
                </c:pt>
                <c:pt idx="7851">
                  <c:v>#N/A</c:v>
                </c:pt>
                <c:pt idx="7852">
                  <c:v>3.0301369863013701</c:v>
                </c:pt>
                <c:pt idx="7853">
                  <c:v>3.0301369863013701</c:v>
                </c:pt>
                <c:pt idx="7854">
                  <c:v>#N/A</c:v>
                </c:pt>
                <c:pt idx="7855">
                  <c:v>3.0301369863013701</c:v>
                </c:pt>
                <c:pt idx="7856">
                  <c:v>3.0301369863013701</c:v>
                </c:pt>
                <c:pt idx="7857">
                  <c:v>#N/A</c:v>
                </c:pt>
                <c:pt idx="7858">
                  <c:v>#N/A</c:v>
                </c:pt>
                <c:pt idx="7859">
                  <c:v>3.0301369863013701</c:v>
                </c:pt>
                <c:pt idx="7860">
                  <c:v>#N/A</c:v>
                </c:pt>
                <c:pt idx="7861">
                  <c:v>#N/A</c:v>
                </c:pt>
                <c:pt idx="7862">
                  <c:v>#N/A</c:v>
                </c:pt>
                <c:pt idx="7863">
                  <c:v>#N/A</c:v>
                </c:pt>
                <c:pt idx="7864">
                  <c:v>3.0301369863013701</c:v>
                </c:pt>
                <c:pt idx="7865">
                  <c:v>#N/A</c:v>
                </c:pt>
                <c:pt idx="7866">
                  <c:v>#N/A</c:v>
                </c:pt>
                <c:pt idx="7867">
                  <c:v>#N/A</c:v>
                </c:pt>
                <c:pt idx="7868">
                  <c:v>3.0301369863013701</c:v>
                </c:pt>
                <c:pt idx="7869">
                  <c:v>#N/A</c:v>
                </c:pt>
                <c:pt idx="7870">
                  <c:v>#N/A</c:v>
                </c:pt>
                <c:pt idx="7871">
                  <c:v>3.032876712328767</c:v>
                </c:pt>
                <c:pt idx="7872">
                  <c:v>3.032876712328767</c:v>
                </c:pt>
                <c:pt idx="7873">
                  <c:v>3.032876712328767</c:v>
                </c:pt>
                <c:pt idx="7874">
                  <c:v>3.032876712328767</c:v>
                </c:pt>
                <c:pt idx="7875">
                  <c:v>3.043835616438356</c:v>
                </c:pt>
                <c:pt idx="7876">
                  <c:v>#N/A</c:v>
                </c:pt>
                <c:pt idx="7877">
                  <c:v>#N/A</c:v>
                </c:pt>
                <c:pt idx="7878">
                  <c:v>3.0465753424657533</c:v>
                </c:pt>
                <c:pt idx="7879">
                  <c:v>#N/A</c:v>
                </c:pt>
                <c:pt idx="7880">
                  <c:v>3.0493150684931507</c:v>
                </c:pt>
                <c:pt idx="7881">
                  <c:v>#N/A</c:v>
                </c:pt>
                <c:pt idx="7882">
                  <c:v>#N/A</c:v>
                </c:pt>
                <c:pt idx="7883">
                  <c:v>3.0520547945205481</c:v>
                </c:pt>
                <c:pt idx="7884">
                  <c:v>#N/A</c:v>
                </c:pt>
                <c:pt idx="7885">
                  <c:v>3.0520547945205481</c:v>
                </c:pt>
                <c:pt idx="7886">
                  <c:v>#N/A</c:v>
                </c:pt>
                <c:pt idx="7887">
                  <c:v>3.0520547945205481</c:v>
                </c:pt>
                <c:pt idx="7888">
                  <c:v>3.0520547945205481</c:v>
                </c:pt>
                <c:pt idx="7889">
                  <c:v>3.0547945205479454</c:v>
                </c:pt>
                <c:pt idx="7890">
                  <c:v>#N/A</c:v>
                </c:pt>
                <c:pt idx="7891">
                  <c:v>#N/A</c:v>
                </c:pt>
                <c:pt idx="7892">
                  <c:v>3.0547945205479454</c:v>
                </c:pt>
                <c:pt idx="7893">
                  <c:v>#N/A</c:v>
                </c:pt>
                <c:pt idx="7894">
                  <c:v>3.0547945205479454</c:v>
                </c:pt>
                <c:pt idx="7895">
                  <c:v>3.0547945205479454</c:v>
                </c:pt>
                <c:pt idx="7896">
                  <c:v>#N/A</c:v>
                </c:pt>
                <c:pt idx="7897">
                  <c:v>3.0602739726027397</c:v>
                </c:pt>
                <c:pt idx="7898">
                  <c:v>#N/A</c:v>
                </c:pt>
                <c:pt idx="7899">
                  <c:v>3.0602739726027397</c:v>
                </c:pt>
                <c:pt idx="7900">
                  <c:v>3.0602739726027397</c:v>
                </c:pt>
                <c:pt idx="7901">
                  <c:v>3.0602739726027397</c:v>
                </c:pt>
                <c:pt idx="7902">
                  <c:v>#N/A</c:v>
                </c:pt>
                <c:pt idx="7903">
                  <c:v>3.0602739726027397</c:v>
                </c:pt>
                <c:pt idx="7904">
                  <c:v>#N/A</c:v>
                </c:pt>
                <c:pt idx="7905">
                  <c:v>3.0602739726027397</c:v>
                </c:pt>
                <c:pt idx="7906">
                  <c:v>3.0602739726027397</c:v>
                </c:pt>
                <c:pt idx="7907">
                  <c:v>3.0602739726027397</c:v>
                </c:pt>
                <c:pt idx="7908">
                  <c:v>3.0602739726027397</c:v>
                </c:pt>
                <c:pt idx="7909">
                  <c:v>#N/A</c:v>
                </c:pt>
                <c:pt idx="7910">
                  <c:v>#N/A</c:v>
                </c:pt>
                <c:pt idx="7911">
                  <c:v>#N/A</c:v>
                </c:pt>
                <c:pt idx="7912">
                  <c:v>#N/A</c:v>
                </c:pt>
                <c:pt idx="7913">
                  <c:v>3.0602739726027397</c:v>
                </c:pt>
                <c:pt idx="7914">
                  <c:v>3.0602739726027397</c:v>
                </c:pt>
                <c:pt idx="7915">
                  <c:v>3.0602739726027397</c:v>
                </c:pt>
                <c:pt idx="7916">
                  <c:v>#N/A</c:v>
                </c:pt>
                <c:pt idx="7917">
                  <c:v>#N/A</c:v>
                </c:pt>
                <c:pt idx="7918">
                  <c:v>3.0602739726027397</c:v>
                </c:pt>
                <c:pt idx="7919">
                  <c:v>3.0602739726027397</c:v>
                </c:pt>
                <c:pt idx="7920">
                  <c:v>3.0602739726027397</c:v>
                </c:pt>
                <c:pt idx="7921">
                  <c:v>3.0602739726027397</c:v>
                </c:pt>
                <c:pt idx="7922">
                  <c:v>3.0602739726027397</c:v>
                </c:pt>
                <c:pt idx="7923">
                  <c:v>#N/A</c:v>
                </c:pt>
                <c:pt idx="7924">
                  <c:v>3.0602739726027397</c:v>
                </c:pt>
                <c:pt idx="7925">
                  <c:v>#N/A</c:v>
                </c:pt>
                <c:pt idx="7926">
                  <c:v>3.0602739726027397</c:v>
                </c:pt>
                <c:pt idx="7927">
                  <c:v>3.0602739726027397</c:v>
                </c:pt>
                <c:pt idx="7928">
                  <c:v>3.0602739726027397</c:v>
                </c:pt>
                <c:pt idx="7929">
                  <c:v>3.0602739726027397</c:v>
                </c:pt>
                <c:pt idx="7930">
                  <c:v>#N/A</c:v>
                </c:pt>
                <c:pt idx="7931">
                  <c:v>#N/A</c:v>
                </c:pt>
                <c:pt idx="7932">
                  <c:v>3.0630136986301371</c:v>
                </c:pt>
                <c:pt idx="7933">
                  <c:v>#N/A</c:v>
                </c:pt>
                <c:pt idx="7934">
                  <c:v>3.0630136986301371</c:v>
                </c:pt>
                <c:pt idx="7935">
                  <c:v>3.0630136986301371</c:v>
                </c:pt>
                <c:pt idx="7936">
                  <c:v>#N/A</c:v>
                </c:pt>
                <c:pt idx="7937">
                  <c:v>3.0630136986301371</c:v>
                </c:pt>
                <c:pt idx="7938">
                  <c:v>#N/A</c:v>
                </c:pt>
                <c:pt idx="7939">
                  <c:v>3.0630136986301371</c:v>
                </c:pt>
                <c:pt idx="7940">
                  <c:v>#N/A</c:v>
                </c:pt>
                <c:pt idx="7941">
                  <c:v>#N/A</c:v>
                </c:pt>
                <c:pt idx="7942">
                  <c:v>3.0630136986301371</c:v>
                </c:pt>
                <c:pt idx="7943">
                  <c:v>3.0630136986301371</c:v>
                </c:pt>
                <c:pt idx="7944">
                  <c:v>#N/A</c:v>
                </c:pt>
                <c:pt idx="7945">
                  <c:v>3.0630136986301371</c:v>
                </c:pt>
                <c:pt idx="7946">
                  <c:v>#N/A</c:v>
                </c:pt>
                <c:pt idx="7947">
                  <c:v>3.0630136986301371</c:v>
                </c:pt>
                <c:pt idx="7948">
                  <c:v>3.0630136986301371</c:v>
                </c:pt>
                <c:pt idx="7949">
                  <c:v>#N/A</c:v>
                </c:pt>
                <c:pt idx="7950">
                  <c:v>#N/A</c:v>
                </c:pt>
                <c:pt idx="7951">
                  <c:v>3.0630136986301371</c:v>
                </c:pt>
                <c:pt idx="7952">
                  <c:v>#N/A</c:v>
                </c:pt>
                <c:pt idx="7953">
                  <c:v>#N/A</c:v>
                </c:pt>
                <c:pt idx="7954">
                  <c:v>3.0630136986301371</c:v>
                </c:pt>
                <c:pt idx="7955">
                  <c:v>3.0630136986301371</c:v>
                </c:pt>
                <c:pt idx="7956">
                  <c:v>3.0630136986301371</c:v>
                </c:pt>
                <c:pt idx="7957">
                  <c:v>3.0630136986301371</c:v>
                </c:pt>
                <c:pt idx="7958">
                  <c:v>3.0630136986301371</c:v>
                </c:pt>
                <c:pt idx="7959">
                  <c:v>3.0630136986301371</c:v>
                </c:pt>
                <c:pt idx="7960">
                  <c:v>3.0630136986301371</c:v>
                </c:pt>
                <c:pt idx="7961">
                  <c:v>3.0630136986301371</c:v>
                </c:pt>
                <c:pt idx="7962">
                  <c:v>#N/A</c:v>
                </c:pt>
                <c:pt idx="7963">
                  <c:v>3.0630136986301371</c:v>
                </c:pt>
                <c:pt idx="7964">
                  <c:v>#N/A</c:v>
                </c:pt>
                <c:pt idx="7965">
                  <c:v>3.0630136986301371</c:v>
                </c:pt>
                <c:pt idx="7966">
                  <c:v>3.0630136986301371</c:v>
                </c:pt>
                <c:pt idx="7967">
                  <c:v>3.0630136986301371</c:v>
                </c:pt>
                <c:pt idx="7968">
                  <c:v>3.0630136986301371</c:v>
                </c:pt>
                <c:pt idx="7969">
                  <c:v>#N/A</c:v>
                </c:pt>
                <c:pt idx="7970">
                  <c:v>#N/A</c:v>
                </c:pt>
                <c:pt idx="7971">
                  <c:v>#N/A</c:v>
                </c:pt>
                <c:pt idx="7972">
                  <c:v>#N/A</c:v>
                </c:pt>
                <c:pt idx="7973">
                  <c:v>#N/A</c:v>
                </c:pt>
                <c:pt idx="7974">
                  <c:v>3.0630136986301371</c:v>
                </c:pt>
                <c:pt idx="7975">
                  <c:v>3.0630136986301371</c:v>
                </c:pt>
                <c:pt idx="7976">
                  <c:v>#N/A</c:v>
                </c:pt>
                <c:pt idx="7977">
                  <c:v>3.0630136986301371</c:v>
                </c:pt>
                <c:pt idx="7978">
                  <c:v>3.0630136986301371</c:v>
                </c:pt>
                <c:pt idx="7979">
                  <c:v>#N/A</c:v>
                </c:pt>
                <c:pt idx="7980">
                  <c:v>#N/A</c:v>
                </c:pt>
                <c:pt idx="7981">
                  <c:v>#N/A</c:v>
                </c:pt>
                <c:pt idx="7982">
                  <c:v>#N/A</c:v>
                </c:pt>
                <c:pt idx="7983">
                  <c:v>#N/A</c:v>
                </c:pt>
                <c:pt idx="7984">
                  <c:v>3.0630136986301371</c:v>
                </c:pt>
                <c:pt idx="7985">
                  <c:v>3.0630136986301371</c:v>
                </c:pt>
                <c:pt idx="7986">
                  <c:v>3.0630136986301371</c:v>
                </c:pt>
                <c:pt idx="7987">
                  <c:v>3.0630136986301371</c:v>
                </c:pt>
                <c:pt idx="7988">
                  <c:v>#N/A</c:v>
                </c:pt>
                <c:pt idx="7989">
                  <c:v>#N/A</c:v>
                </c:pt>
                <c:pt idx="7990">
                  <c:v>3.0630136986301371</c:v>
                </c:pt>
                <c:pt idx="7991">
                  <c:v>#N/A</c:v>
                </c:pt>
                <c:pt idx="7992">
                  <c:v>#N/A</c:v>
                </c:pt>
                <c:pt idx="7993">
                  <c:v>3.0630136986301371</c:v>
                </c:pt>
                <c:pt idx="7994">
                  <c:v>3.0630136986301371</c:v>
                </c:pt>
                <c:pt idx="7995">
                  <c:v>#N/A</c:v>
                </c:pt>
                <c:pt idx="7996">
                  <c:v>#N/A</c:v>
                </c:pt>
                <c:pt idx="7997">
                  <c:v>#N/A</c:v>
                </c:pt>
                <c:pt idx="7998">
                  <c:v>#N/A</c:v>
                </c:pt>
                <c:pt idx="7999">
                  <c:v>#N/A</c:v>
                </c:pt>
                <c:pt idx="8000">
                  <c:v>3.0630136986301371</c:v>
                </c:pt>
                <c:pt idx="8001">
                  <c:v>3.0630136986301371</c:v>
                </c:pt>
                <c:pt idx="8002">
                  <c:v>3.0630136986301371</c:v>
                </c:pt>
                <c:pt idx="8003">
                  <c:v>3.0630136986301371</c:v>
                </c:pt>
                <c:pt idx="8004">
                  <c:v>3.0630136986301371</c:v>
                </c:pt>
                <c:pt idx="8005">
                  <c:v>3.0630136986301371</c:v>
                </c:pt>
                <c:pt idx="8006">
                  <c:v>#N/A</c:v>
                </c:pt>
                <c:pt idx="8007">
                  <c:v>#N/A</c:v>
                </c:pt>
                <c:pt idx="8008">
                  <c:v>#N/A</c:v>
                </c:pt>
                <c:pt idx="8009">
                  <c:v>3.0630136986301371</c:v>
                </c:pt>
                <c:pt idx="8010">
                  <c:v>3.0630136986301371</c:v>
                </c:pt>
                <c:pt idx="8011">
                  <c:v>3.0630136986301371</c:v>
                </c:pt>
                <c:pt idx="8012">
                  <c:v>#N/A</c:v>
                </c:pt>
                <c:pt idx="8013">
                  <c:v>3.0630136986301371</c:v>
                </c:pt>
                <c:pt idx="8014">
                  <c:v>#N/A</c:v>
                </c:pt>
                <c:pt idx="8015">
                  <c:v>#N/A</c:v>
                </c:pt>
                <c:pt idx="8016">
                  <c:v>3.0630136986301371</c:v>
                </c:pt>
                <c:pt idx="8017">
                  <c:v>3.0630136986301371</c:v>
                </c:pt>
                <c:pt idx="8018">
                  <c:v>3.0630136986301371</c:v>
                </c:pt>
                <c:pt idx="8019">
                  <c:v>#N/A</c:v>
                </c:pt>
                <c:pt idx="8020">
                  <c:v>3.0630136986301371</c:v>
                </c:pt>
                <c:pt idx="8021">
                  <c:v>#N/A</c:v>
                </c:pt>
                <c:pt idx="8022">
                  <c:v>#N/A</c:v>
                </c:pt>
                <c:pt idx="8023">
                  <c:v>#N/A</c:v>
                </c:pt>
                <c:pt idx="8024">
                  <c:v>3.0630136986301371</c:v>
                </c:pt>
                <c:pt idx="8025">
                  <c:v>#N/A</c:v>
                </c:pt>
                <c:pt idx="8026">
                  <c:v>#N/A</c:v>
                </c:pt>
                <c:pt idx="8027">
                  <c:v>#N/A</c:v>
                </c:pt>
                <c:pt idx="8028">
                  <c:v>3.0630136986301371</c:v>
                </c:pt>
                <c:pt idx="8029">
                  <c:v>3.0630136986301371</c:v>
                </c:pt>
                <c:pt idx="8030">
                  <c:v>3.0630136986301371</c:v>
                </c:pt>
                <c:pt idx="8031">
                  <c:v>#N/A</c:v>
                </c:pt>
                <c:pt idx="8032">
                  <c:v>3.0630136986301371</c:v>
                </c:pt>
                <c:pt idx="8033">
                  <c:v>3.0630136986301371</c:v>
                </c:pt>
                <c:pt idx="8034">
                  <c:v>#N/A</c:v>
                </c:pt>
                <c:pt idx="8035">
                  <c:v>3.0630136986301371</c:v>
                </c:pt>
                <c:pt idx="8036">
                  <c:v>3.0630136986301371</c:v>
                </c:pt>
                <c:pt idx="8037">
                  <c:v>#N/A</c:v>
                </c:pt>
                <c:pt idx="8038">
                  <c:v>3.0630136986301371</c:v>
                </c:pt>
                <c:pt idx="8039">
                  <c:v>3.0630136986301371</c:v>
                </c:pt>
                <c:pt idx="8040">
                  <c:v>#N/A</c:v>
                </c:pt>
                <c:pt idx="8041">
                  <c:v>3.0630136986301371</c:v>
                </c:pt>
                <c:pt idx="8042">
                  <c:v>#N/A</c:v>
                </c:pt>
                <c:pt idx="8043">
                  <c:v>3.0630136986301371</c:v>
                </c:pt>
                <c:pt idx="8044">
                  <c:v>3.0630136986301371</c:v>
                </c:pt>
                <c:pt idx="8045">
                  <c:v>#N/A</c:v>
                </c:pt>
                <c:pt idx="8046">
                  <c:v>3.0630136986301371</c:v>
                </c:pt>
                <c:pt idx="8047">
                  <c:v>3.0630136986301371</c:v>
                </c:pt>
                <c:pt idx="8048">
                  <c:v>3.0630136986301371</c:v>
                </c:pt>
                <c:pt idx="8049">
                  <c:v>#N/A</c:v>
                </c:pt>
                <c:pt idx="8050">
                  <c:v>#N/A</c:v>
                </c:pt>
                <c:pt idx="8051">
                  <c:v>#N/A</c:v>
                </c:pt>
                <c:pt idx="8052">
                  <c:v>3.0630136986301371</c:v>
                </c:pt>
                <c:pt idx="8053">
                  <c:v>#N/A</c:v>
                </c:pt>
                <c:pt idx="8054">
                  <c:v>#N/A</c:v>
                </c:pt>
                <c:pt idx="8055">
                  <c:v>#N/A</c:v>
                </c:pt>
                <c:pt idx="8056">
                  <c:v>#N/A</c:v>
                </c:pt>
                <c:pt idx="8057">
                  <c:v>3.0630136986301371</c:v>
                </c:pt>
                <c:pt idx="8058">
                  <c:v>#N/A</c:v>
                </c:pt>
                <c:pt idx="8059">
                  <c:v>3.0630136986301371</c:v>
                </c:pt>
                <c:pt idx="8060">
                  <c:v>3.0630136986301371</c:v>
                </c:pt>
                <c:pt idx="8061">
                  <c:v>#N/A</c:v>
                </c:pt>
                <c:pt idx="8062">
                  <c:v>#N/A</c:v>
                </c:pt>
                <c:pt idx="8063">
                  <c:v>3.0630136986301371</c:v>
                </c:pt>
                <c:pt idx="8064">
                  <c:v>#N/A</c:v>
                </c:pt>
                <c:pt idx="8065">
                  <c:v>#N/A</c:v>
                </c:pt>
                <c:pt idx="8066">
                  <c:v>#N/A</c:v>
                </c:pt>
                <c:pt idx="8067">
                  <c:v>3.0630136986301371</c:v>
                </c:pt>
                <c:pt idx="8068">
                  <c:v>#N/A</c:v>
                </c:pt>
                <c:pt idx="8069">
                  <c:v>3.0630136986301371</c:v>
                </c:pt>
                <c:pt idx="8070">
                  <c:v>#N/A</c:v>
                </c:pt>
                <c:pt idx="8071">
                  <c:v>#N/A</c:v>
                </c:pt>
                <c:pt idx="8072">
                  <c:v>3.0630136986301371</c:v>
                </c:pt>
                <c:pt idx="8073">
                  <c:v>#N/A</c:v>
                </c:pt>
                <c:pt idx="8074">
                  <c:v>#N/A</c:v>
                </c:pt>
                <c:pt idx="8075">
                  <c:v>#N/A</c:v>
                </c:pt>
                <c:pt idx="8076">
                  <c:v>#N/A</c:v>
                </c:pt>
                <c:pt idx="8077">
                  <c:v>3.0630136986301371</c:v>
                </c:pt>
                <c:pt idx="8078">
                  <c:v>#N/A</c:v>
                </c:pt>
                <c:pt idx="8079">
                  <c:v>3.0630136986301371</c:v>
                </c:pt>
                <c:pt idx="8080">
                  <c:v>3.0630136986301371</c:v>
                </c:pt>
                <c:pt idx="8081">
                  <c:v>#N/A</c:v>
                </c:pt>
                <c:pt idx="8082">
                  <c:v>#N/A</c:v>
                </c:pt>
                <c:pt idx="8083">
                  <c:v>3.0630136986301371</c:v>
                </c:pt>
                <c:pt idx="8084">
                  <c:v>3.0630136986301371</c:v>
                </c:pt>
                <c:pt idx="8085">
                  <c:v>3.0630136986301371</c:v>
                </c:pt>
                <c:pt idx="8086">
                  <c:v>3.0630136986301371</c:v>
                </c:pt>
                <c:pt idx="8087">
                  <c:v>3.0630136986301371</c:v>
                </c:pt>
                <c:pt idx="8088">
                  <c:v>#N/A</c:v>
                </c:pt>
                <c:pt idx="8089">
                  <c:v>#N/A</c:v>
                </c:pt>
                <c:pt idx="8090">
                  <c:v>3.0630136986301371</c:v>
                </c:pt>
                <c:pt idx="8091">
                  <c:v>3.0630136986301371</c:v>
                </c:pt>
                <c:pt idx="8092">
                  <c:v>3.0630136986301371</c:v>
                </c:pt>
                <c:pt idx="8093">
                  <c:v>3.0630136986301371</c:v>
                </c:pt>
                <c:pt idx="8094">
                  <c:v>#N/A</c:v>
                </c:pt>
                <c:pt idx="8095">
                  <c:v>3.0630136986301371</c:v>
                </c:pt>
                <c:pt idx="8096">
                  <c:v>#N/A</c:v>
                </c:pt>
                <c:pt idx="8097">
                  <c:v>3.0630136986301371</c:v>
                </c:pt>
                <c:pt idx="8098">
                  <c:v>3.0630136986301371</c:v>
                </c:pt>
                <c:pt idx="8099">
                  <c:v>#N/A</c:v>
                </c:pt>
                <c:pt idx="8100">
                  <c:v>#N/A</c:v>
                </c:pt>
                <c:pt idx="8101">
                  <c:v>3.0630136986301371</c:v>
                </c:pt>
                <c:pt idx="8102">
                  <c:v>#N/A</c:v>
                </c:pt>
                <c:pt idx="8103">
                  <c:v>3.0630136986301371</c:v>
                </c:pt>
                <c:pt idx="8104">
                  <c:v>#N/A</c:v>
                </c:pt>
                <c:pt idx="8105">
                  <c:v>3.0630136986301371</c:v>
                </c:pt>
                <c:pt idx="8106">
                  <c:v>#N/A</c:v>
                </c:pt>
                <c:pt idx="8107">
                  <c:v>#N/A</c:v>
                </c:pt>
                <c:pt idx="8108">
                  <c:v>3.0630136986301371</c:v>
                </c:pt>
                <c:pt idx="8109">
                  <c:v>#N/A</c:v>
                </c:pt>
                <c:pt idx="8110">
                  <c:v>3.0630136986301371</c:v>
                </c:pt>
                <c:pt idx="8111">
                  <c:v>3.0630136986301371</c:v>
                </c:pt>
                <c:pt idx="8112">
                  <c:v>3.0630136986301371</c:v>
                </c:pt>
                <c:pt idx="8113">
                  <c:v>#N/A</c:v>
                </c:pt>
                <c:pt idx="8114">
                  <c:v>3.0630136986301371</c:v>
                </c:pt>
                <c:pt idx="8115">
                  <c:v>3.0630136986301371</c:v>
                </c:pt>
                <c:pt idx="8116">
                  <c:v>3.0630136986301371</c:v>
                </c:pt>
                <c:pt idx="8117">
                  <c:v>3.0630136986301371</c:v>
                </c:pt>
                <c:pt idx="8118">
                  <c:v>3.0630136986301371</c:v>
                </c:pt>
                <c:pt idx="8119">
                  <c:v>#N/A</c:v>
                </c:pt>
                <c:pt idx="8120">
                  <c:v>3.0630136986301371</c:v>
                </c:pt>
                <c:pt idx="8121">
                  <c:v>3.0630136986301371</c:v>
                </c:pt>
                <c:pt idx="8122">
                  <c:v>3.0630136986301371</c:v>
                </c:pt>
                <c:pt idx="8123">
                  <c:v>3.0630136986301371</c:v>
                </c:pt>
                <c:pt idx="8124">
                  <c:v>#N/A</c:v>
                </c:pt>
                <c:pt idx="8125">
                  <c:v>3.0630136986301371</c:v>
                </c:pt>
                <c:pt idx="8126">
                  <c:v>#N/A</c:v>
                </c:pt>
                <c:pt idx="8127">
                  <c:v>3.0630136986301371</c:v>
                </c:pt>
                <c:pt idx="8128">
                  <c:v>3.0630136986301371</c:v>
                </c:pt>
                <c:pt idx="8129">
                  <c:v>3.0630136986301371</c:v>
                </c:pt>
                <c:pt idx="8130">
                  <c:v>3.0630136986301371</c:v>
                </c:pt>
                <c:pt idx="8131">
                  <c:v>3.0630136986301371</c:v>
                </c:pt>
                <c:pt idx="8132">
                  <c:v>3.0630136986301371</c:v>
                </c:pt>
                <c:pt idx="8133">
                  <c:v>3.0630136986301371</c:v>
                </c:pt>
                <c:pt idx="8134">
                  <c:v>3.0630136986301371</c:v>
                </c:pt>
                <c:pt idx="8135">
                  <c:v>3.0630136986301371</c:v>
                </c:pt>
                <c:pt idx="8136">
                  <c:v>#N/A</c:v>
                </c:pt>
                <c:pt idx="8137">
                  <c:v>#N/A</c:v>
                </c:pt>
                <c:pt idx="8138">
                  <c:v>3.0630136986301371</c:v>
                </c:pt>
                <c:pt idx="8139">
                  <c:v>#N/A</c:v>
                </c:pt>
                <c:pt idx="8140">
                  <c:v>#N/A</c:v>
                </c:pt>
                <c:pt idx="8141">
                  <c:v>3.0630136986301371</c:v>
                </c:pt>
                <c:pt idx="8142">
                  <c:v>3.0630136986301371</c:v>
                </c:pt>
                <c:pt idx="8143">
                  <c:v>3.0630136986301371</c:v>
                </c:pt>
                <c:pt idx="8144">
                  <c:v>3.0630136986301371</c:v>
                </c:pt>
                <c:pt idx="8145">
                  <c:v>3.0630136986301371</c:v>
                </c:pt>
                <c:pt idx="8146">
                  <c:v>3.0630136986301371</c:v>
                </c:pt>
                <c:pt idx="8147">
                  <c:v>3.0630136986301371</c:v>
                </c:pt>
                <c:pt idx="8148">
                  <c:v>#N/A</c:v>
                </c:pt>
                <c:pt idx="8149">
                  <c:v>3.0630136986301371</c:v>
                </c:pt>
                <c:pt idx="8150">
                  <c:v>#N/A</c:v>
                </c:pt>
                <c:pt idx="8151">
                  <c:v>#N/A</c:v>
                </c:pt>
                <c:pt idx="8152">
                  <c:v>3.0630136986301371</c:v>
                </c:pt>
                <c:pt idx="8153">
                  <c:v>3.0630136986301371</c:v>
                </c:pt>
                <c:pt idx="8154">
                  <c:v>3.0630136986301371</c:v>
                </c:pt>
                <c:pt idx="8155">
                  <c:v>3.0630136986301371</c:v>
                </c:pt>
                <c:pt idx="8156">
                  <c:v>3.0630136986301371</c:v>
                </c:pt>
                <c:pt idx="8157">
                  <c:v>3.0630136986301371</c:v>
                </c:pt>
                <c:pt idx="8158">
                  <c:v>3.0630136986301371</c:v>
                </c:pt>
                <c:pt idx="8159">
                  <c:v>#N/A</c:v>
                </c:pt>
                <c:pt idx="8160">
                  <c:v>3.0630136986301371</c:v>
                </c:pt>
                <c:pt idx="8161">
                  <c:v>3.0630136986301371</c:v>
                </c:pt>
                <c:pt idx="8162">
                  <c:v>3.0630136986301371</c:v>
                </c:pt>
                <c:pt idx="8163">
                  <c:v>3.0630136986301371</c:v>
                </c:pt>
                <c:pt idx="8164">
                  <c:v>3.0630136986301371</c:v>
                </c:pt>
                <c:pt idx="8165">
                  <c:v>#N/A</c:v>
                </c:pt>
                <c:pt idx="8166">
                  <c:v>#N/A</c:v>
                </c:pt>
                <c:pt idx="8167">
                  <c:v>3.0630136986301371</c:v>
                </c:pt>
                <c:pt idx="8168">
                  <c:v>3.0630136986301371</c:v>
                </c:pt>
                <c:pt idx="8169">
                  <c:v>#N/A</c:v>
                </c:pt>
                <c:pt idx="8170">
                  <c:v>3.0630136986301371</c:v>
                </c:pt>
                <c:pt idx="8171">
                  <c:v>3.0630136986301371</c:v>
                </c:pt>
                <c:pt idx="8172">
                  <c:v>#N/A</c:v>
                </c:pt>
                <c:pt idx="8173">
                  <c:v>3.0630136986301371</c:v>
                </c:pt>
                <c:pt idx="8174">
                  <c:v>3.0630136986301371</c:v>
                </c:pt>
                <c:pt idx="8175">
                  <c:v>#N/A</c:v>
                </c:pt>
                <c:pt idx="8176">
                  <c:v>3.0630136986301371</c:v>
                </c:pt>
                <c:pt idx="8177">
                  <c:v>3.0630136986301371</c:v>
                </c:pt>
                <c:pt idx="8178">
                  <c:v>#N/A</c:v>
                </c:pt>
                <c:pt idx="8179">
                  <c:v>3.0630136986301371</c:v>
                </c:pt>
                <c:pt idx="8180">
                  <c:v>#N/A</c:v>
                </c:pt>
                <c:pt idx="8181">
                  <c:v>#N/A</c:v>
                </c:pt>
                <c:pt idx="8182">
                  <c:v>3.0630136986301371</c:v>
                </c:pt>
                <c:pt idx="8183">
                  <c:v>#N/A</c:v>
                </c:pt>
                <c:pt idx="8184">
                  <c:v>#N/A</c:v>
                </c:pt>
                <c:pt idx="8185">
                  <c:v>#N/A</c:v>
                </c:pt>
                <c:pt idx="8186">
                  <c:v>#N/A</c:v>
                </c:pt>
                <c:pt idx="8187">
                  <c:v>3.0657534246575344</c:v>
                </c:pt>
                <c:pt idx="8188">
                  <c:v>#N/A</c:v>
                </c:pt>
                <c:pt idx="8189">
                  <c:v>#N/A</c:v>
                </c:pt>
                <c:pt idx="8190">
                  <c:v>#N/A</c:v>
                </c:pt>
                <c:pt idx="8191">
                  <c:v>3.0657534246575344</c:v>
                </c:pt>
                <c:pt idx="8192">
                  <c:v>#N/A</c:v>
                </c:pt>
                <c:pt idx="8193">
                  <c:v>3.0657534246575344</c:v>
                </c:pt>
                <c:pt idx="8194">
                  <c:v>3.0657534246575344</c:v>
                </c:pt>
                <c:pt idx="8195">
                  <c:v>#N/A</c:v>
                </c:pt>
                <c:pt idx="8196">
                  <c:v>3.0657534246575344</c:v>
                </c:pt>
                <c:pt idx="8197">
                  <c:v>#N/A</c:v>
                </c:pt>
                <c:pt idx="8198">
                  <c:v>3.0657534246575344</c:v>
                </c:pt>
                <c:pt idx="8199">
                  <c:v>3.0657534246575344</c:v>
                </c:pt>
                <c:pt idx="8200">
                  <c:v>#N/A</c:v>
                </c:pt>
                <c:pt idx="8201">
                  <c:v>#N/A</c:v>
                </c:pt>
                <c:pt idx="8202">
                  <c:v>#N/A</c:v>
                </c:pt>
                <c:pt idx="8203">
                  <c:v>#N/A</c:v>
                </c:pt>
                <c:pt idx="8204">
                  <c:v>3.0657534246575344</c:v>
                </c:pt>
                <c:pt idx="8205">
                  <c:v>3.0657534246575344</c:v>
                </c:pt>
                <c:pt idx="8206">
                  <c:v>#N/A</c:v>
                </c:pt>
                <c:pt idx="8207">
                  <c:v>3.0657534246575344</c:v>
                </c:pt>
                <c:pt idx="8208">
                  <c:v>3.0657534246575344</c:v>
                </c:pt>
                <c:pt idx="8209">
                  <c:v>3.0657534246575344</c:v>
                </c:pt>
                <c:pt idx="8210">
                  <c:v>3.0657534246575344</c:v>
                </c:pt>
                <c:pt idx="8211">
                  <c:v>#N/A</c:v>
                </c:pt>
                <c:pt idx="8212">
                  <c:v>3.0657534246575344</c:v>
                </c:pt>
                <c:pt idx="8213">
                  <c:v>3.0657534246575344</c:v>
                </c:pt>
                <c:pt idx="8214">
                  <c:v>#N/A</c:v>
                </c:pt>
                <c:pt idx="8215">
                  <c:v>#N/A</c:v>
                </c:pt>
                <c:pt idx="8216">
                  <c:v>#N/A</c:v>
                </c:pt>
                <c:pt idx="8217">
                  <c:v>3.0657534246575344</c:v>
                </c:pt>
                <c:pt idx="8218">
                  <c:v>#N/A</c:v>
                </c:pt>
                <c:pt idx="8219">
                  <c:v>3.0657534246575344</c:v>
                </c:pt>
                <c:pt idx="8220">
                  <c:v>3.0657534246575344</c:v>
                </c:pt>
                <c:pt idx="8221">
                  <c:v>#N/A</c:v>
                </c:pt>
                <c:pt idx="8222">
                  <c:v>3.0657534246575344</c:v>
                </c:pt>
                <c:pt idx="8223">
                  <c:v>3.0657534246575344</c:v>
                </c:pt>
                <c:pt idx="8224">
                  <c:v>3.0657534246575344</c:v>
                </c:pt>
                <c:pt idx="8225">
                  <c:v>3.0657534246575344</c:v>
                </c:pt>
                <c:pt idx="8226">
                  <c:v>3.0657534246575344</c:v>
                </c:pt>
                <c:pt idx="8227">
                  <c:v>3.0657534246575344</c:v>
                </c:pt>
                <c:pt idx="8228">
                  <c:v>#N/A</c:v>
                </c:pt>
                <c:pt idx="8229">
                  <c:v>3.0657534246575344</c:v>
                </c:pt>
                <c:pt idx="8230">
                  <c:v>#N/A</c:v>
                </c:pt>
                <c:pt idx="8231">
                  <c:v>3.0657534246575344</c:v>
                </c:pt>
                <c:pt idx="8232">
                  <c:v>3.0657534246575344</c:v>
                </c:pt>
                <c:pt idx="8233">
                  <c:v>3.0657534246575344</c:v>
                </c:pt>
                <c:pt idx="8234">
                  <c:v>#N/A</c:v>
                </c:pt>
                <c:pt idx="8235">
                  <c:v>#N/A</c:v>
                </c:pt>
                <c:pt idx="8236">
                  <c:v>3.0657534246575344</c:v>
                </c:pt>
                <c:pt idx="8237">
                  <c:v>#N/A</c:v>
                </c:pt>
                <c:pt idx="8238">
                  <c:v>3.0657534246575344</c:v>
                </c:pt>
                <c:pt idx="8239">
                  <c:v>3.0684931506849313</c:v>
                </c:pt>
                <c:pt idx="8240">
                  <c:v>3.0684931506849313</c:v>
                </c:pt>
                <c:pt idx="8241">
                  <c:v>3.0684931506849313</c:v>
                </c:pt>
                <c:pt idx="8242">
                  <c:v>#N/A</c:v>
                </c:pt>
                <c:pt idx="8243">
                  <c:v>#N/A</c:v>
                </c:pt>
                <c:pt idx="8244">
                  <c:v>3.0684931506849313</c:v>
                </c:pt>
                <c:pt idx="8245">
                  <c:v>#N/A</c:v>
                </c:pt>
                <c:pt idx="8246">
                  <c:v>#N/A</c:v>
                </c:pt>
                <c:pt idx="8247">
                  <c:v>3.0684931506849313</c:v>
                </c:pt>
                <c:pt idx="8248">
                  <c:v>3.0684931506849313</c:v>
                </c:pt>
                <c:pt idx="8249">
                  <c:v>#N/A</c:v>
                </c:pt>
                <c:pt idx="8250">
                  <c:v>3.0684931506849313</c:v>
                </c:pt>
                <c:pt idx="8251">
                  <c:v>#N/A</c:v>
                </c:pt>
                <c:pt idx="8252">
                  <c:v>#N/A</c:v>
                </c:pt>
                <c:pt idx="8253">
                  <c:v>3.0684931506849313</c:v>
                </c:pt>
                <c:pt idx="8254">
                  <c:v>3.0684931506849313</c:v>
                </c:pt>
                <c:pt idx="8255">
                  <c:v>#N/A</c:v>
                </c:pt>
                <c:pt idx="8256">
                  <c:v>#N/A</c:v>
                </c:pt>
                <c:pt idx="8257">
                  <c:v>3.0712328767123287</c:v>
                </c:pt>
                <c:pt idx="8258">
                  <c:v>3.0712328767123287</c:v>
                </c:pt>
                <c:pt idx="8259">
                  <c:v>#N/A</c:v>
                </c:pt>
                <c:pt idx="8260">
                  <c:v>#N/A</c:v>
                </c:pt>
                <c:pt idx="8261">
                  <c:v>3.0712328767123287</c:v>
                </c:pt>
                <c:pt idx="8262">
                  <c:v>3.0712328767123287</c:v>
                </c:pt>
                <c:pt idx="8263">
                  <c:v>3.0712328767123287</c:v>
                </c:pt>
                <c:pt idx="8264">
                  <c:v>3.0712328767123287</c:v>
                </c:pt>
                <c:pt idx="8265">
                  <c:v>3.0794520547945203</c:v>
                </c:pt>
                <c:pt idx="8266">
                  <c:v>3.0794520547945203</c:v>
                </c:pt>
                <c:pt idx="8267">
                  <c:v>#N/A</c:v>
                </c:pt>
                <c:pt idx="8268">
                  <c:v>3.0821917808219177</c:v>
                </c:pt>
                <c:pt idx="8269">
                  <c:v>3.0821917808219177</c:v>
                </c:pt>
                <c:pt idx="8270">
                  <c:v>3.0821917808219177</c:v>
                </c:pt>
                <c:pt idx="8271">
                  <c:v>#N/A</c:v>
                </c:pt>
                <c:pt idx="8272">
                  <c:v>#N/A</c:v>
                </c:pt>
                <c:pt idx="8273">
                  <c:v>3.0849315068493151</c:v>
                </c:pt>
                <c:pt idx="8274">
                  <c:v>#N/A</c:v>
                </c:pt>
                <c:pt idx="8275">
                  <c:v>3.0849315068493151</c:v>
                </c:pt>
                <c:pt idx="8276">
                  <c:v>3.0849315068493151</c:v>
                </c:pt>
                <c:pt idx="8277">
                  <c:v>#N/A</c:v>
                </c:pt>
                <c:pt idx="8278">
                  <c:v>#N/A</c:v>
                </c:pt>
                <c:pt idx="8279">
                  <c:v>#N/A</c:v>
                </c:pt>
                <c:pt idx="8280">
                  <c:v>#N/A</c:v>
                </c:pt>
                <c:pt idx="8281">
                  <c:v>3.0876712328767124</c:v>
                </c:pt>
                <c:pt idx="8282">
                  <c:v>#N/A</c:v>
                </c:pt>
                <c:pt idx="8283">
                  <c:v>#N/A</c:v>
                </c:pt>
                <c:pt idx="8284">
                  <c:v>3.0876712328767124</c:v>
                </c:pt>
                <c:pt idx="8285">
                  <c:v>#N/A</c:v>
                </c:pt>
                <c:pt idx="8286">
                  <c:v>#N/A</c:v>
                </c:pt>
                <c:pt idx="8287">
                  <c:v>#N/A</c:v>
                </c:pt>
                <c:pt idx="8288">
                  <c:v>#N/A</c:v>
                </c:pt>
                <c:pt idx="8289">
                  <c:v>3.0876712328767124</c:v>
                </c:pt>
                <c:pt idx="8290">
                  <c:v>#N/A</c:v>
                </c:pt>
                <c:pt idx="8291">
                  <c:v>3.0904109589041098</c:v>
                </c:pt>
                <c:pt idx="8292">
                  <c:v>3.0904109589041098</c:v>
                </c:pt>
                <c:pt idx="8293">
                  <c:v>#N/A</c:v>
                </c:pt>
                <c:pt idx="8294">
                  <c:v>3.0904109589041098</c:v>
                </c:pt>
                <c:pt idx="8295">
                  <c:v>3.0904109589041098</c:v>
                </c:pt>
                <c:pt idx="8296">
                  <c:v>3.0904109589041098</c:v>
                </c:pt>
                <c:pt idx="8297">
                  <c:v>#N/A</c:v>
                </c:pt>
                <c:pt idx="8298">
                  <c:v>3.0904109589041098</c:v>
                </c:pt>
                <c:pt idx="8299">
                  <c:v>3.0904109589041098</c:v>
                </c:pt>
                <c:pt idx="8300">
                  <c:v>3.0904109589041098</c:v>
                </c:pt>
                <c:pt idx="8301">
                  <c:v>#N/A</c:v>
                </c:pt>
                <c:pt idx="8302">
                  <c:v>3.0904109589041098</c:v>
                </c:pt>
                <c:pt idx="8303">
                  <c:v>#N/A</c:v>
                </c:pt>
                <c:pt idx="8304">
                  <c:v>3.0904109589041098</c:v>
                </c:pt>
                <c:pt idx="8305">
                  <c:v>3.0904109589041098</c:v>
                </c:pt>
                <c:pt idx="8306">
                  <c:v>3.0904109589041098</c:v>
                </c:pt>
                <c:pt idx="8307">
                  <c:v>3.0904109589041098</c:v>
                </c:pt>
                <c:pt idx="8308">
                  <c:v>3.0904109589041098</c:v>
                </c:pt>
                <c:pt idx="8309">
                  <c:v>#N/A</c:v>
                </c:pt>
                <c:pt idx="8310">
                  <c:v>3.0931506849315067</c:v>
                </c:pt>
                <c:pt idx="8311">
                  <c:v>3.0931506849315067</c:v>
                </c:pt>
                <c:pt idx="8312">
                  <c:v>3.0931506849315067</c:v>
                </c:pt>
                <c:pt idx="8313">
                  <c:v>3.0931506849315067</c:v>
                </c:pt>
                <c:pt idx="8314">
                  <c:v>3.0986301369863014</c:v>
                </c:pt>
                <c:pt idx="8315">
                  <c:v>3.0986301369863014</c:v>
                </c:pt>
                <c:pt idx="8316">
                  <c:v>3.1013698630136988</c:v>
                </c:pt>
                <c:pt idx="8317">
                  <c:v>3.1013698630136988</c:v>
                </c:pt>
                <c:pt idx="8318">
                  <c:v>3.1013698630136988</c:v>
                </c:pt>
                <c:pt idx="8319">
                  <c:v>3.1013698630136988</c:v>
                </c:pt>
                <c:pt idx="8320">
                  <c:v>#N/A</c:v>
                </c:pt>
                <c:pt idx="8321">
                  <c:v>3.1013698630136988</c:v>
                </c:pt>
                <c:pt idx="8322">
                  <c:v>3.1013698630136988</c:v>
                </c:pt>
                <c:pt idx="8323">
                  <c:v>3.1013698630136988</c:v>
                </c:pt>
                <c:pt idx="8324">
                  <c:v>#N/A</c:v>
                </c:pt>
                <c:pt idx="8325">
                  <c:v>3.1013698630136988</c:v>
                </c:pt>
                <c:pt idx="8326">
                  <c:v>#N/A</c:v>
                </c:pt>
                <c:pt idx="8327">
                  <c:v>#N/A</c:v>
                </c:pt>
                <c:pt idx="8328">
                  <c:v>3.1013698630136988</c:v>
                </c:pt>
                <c:pt idx="8329">
                  <c:v>3.1013698630136988</c:v>
                </c:pt>
                <c:pt idx="8330">
                  <c:v>3.1013698630136988</c:v>
                </c:pt>
                <c:pt idx="8331">
                  <c:v>3.1013698630136988</c:v>
                </c:pt>
                <c:pt idx="8332">
                  <c:v>#N/A</c:v>
                </c:pt>
                <c:pt idx="8333">
                  <c:v>3.1041095890410957</c:v>
                </c:pt>
                <c:pt idx="8334">
                  <c:v>#N/A</c:v>
                </c:pt>
                <c:pt idx="8335">
                  <c:v>3.1041095890410957</c:v>
                </c:pt>
                <c:pt idx="8336">
                  <c:v>3.1041095890410957</c:v>
                </c:pt>
                <c:pt idx="8337">
                  <c:v>3.1041095890410957</c:v>
                </c:pt>
                <c:pt idx="8338">
                  <c:v>#N/A</c:v>
                </c:pt>
                <c:pt idx="8339">
                  <c:v>#N/A</c:v>
                </c:pt>
                <c:pt idx="8340">
                  <c:v>#N/A</c:v>
                </c:pt>
                <c:pt idx="8341">
                  <c:v>#N/A</c:v>
                </c:pt>
                <c:pt idx="8342">
                  <c:v>#N/A</c:v>
                </c:pt>
                <c:pt idx="8343">
                  <c:v>3.1041095890410957</c:v>
                </c:pt>
                <c:pt idx="8344">
                  <c:v>3.1041095890410957</c:v>
                </c:pt>
                <c:pt idx="8345">
                  <c:v>3.1041095890410957</c:v>
                </c:pt>
                <c:pt idx="8346">
                  <c:v>#N/A</c:v>
                </c:pt>
                <c:pt idx="8347">
                  <c:v>#N/A</c:v>
                </c:pt>
                <c:pt idx="8348">
                  <c:v>#N/A</c:v>
                </c:pt>
                <c:pt idx="8349">
                  <c:v>3.1041095890410957</c:v>
                </c:pt>
                <c:pt idx="8350">
                  <c:v>3.1041095890410957</c:v>
                </c:pt>
                <c:pt idx="8351">
                  <c:v>#N/A</c:v>
                </c:pt>
                <c:pt idx="8352">
                  <c:v>3.106849315068493</c:v>
                </c:pt>
                <c:pt idx="8353">
                  <c:v>#N/A</c:v>
                </c:pt>
                <c:pt idx="8354">
                  <c:v>3.106849315068493</c:v>
                </c:pt>
                <c:pt idx="8355">
                  <c:v>3.106849315068493</c:v>
                </c:pt>
                <c:pt idx="8356">
                  <c:v>#N/A</c:v>
                </c:pt>
                <c:pt idx="8357">
                  <c:v>#N/A</c:v>
                </c:pt>
                <c:pt idx="8358">
                  <c:v>3.106849315068493</c:v>
                </c:pt>
                <c:pt idx="8359">
                  <c:v>#N/A</c:v>
                </c:pt>
                <c:pt idx="8360">
                  <c:v>3.106849315068493</c:v>
                </c:pt>
                <c:pt idx="8361">
                  <c:v>#N/A</c:v>
                </c:pt>
                <c:pt idx="8362">
                  <c:v>#N/A</c:v>
                </c:pt>
                <c:pt idx="8363">
                  <c:v>3.106849315068493</c:v>
                </c:pt>
                <c:pt idx="8364">
                  <c:v>#N/A</c:v>
                </c:pt>
                <c:pt idx="8365">
                  <c:v>#N/A</c:v>
                </c:pt>
                <c:pt idx="8366">
                  <c:v>3.106849315068493</c:v>
                </c:pt>
                <c:pt idx="8367">
                  <c:v>#N/A</c:v>
                </c:pt>
                <c:pt idx="8368">
                  <c:v>#N/A</c:v>
                </c:pt>
                <c:pt idx="8369">
                  <c:v>#N/A</c:v>
                </c:pt>
                <c:pt idx="8370">
                  <c:v>3.1095890410958904</c:v>
                </c:pt>
                <c:pt idx="8371">
                  <c:v>#N/A</c:v>
                </c:pt>
                <c:pt idx="8372">
                  <c:v>#N/A</c:v>
                </c:pt>
                <c:pt idx="8373">
                  <c:v>#N/A</c:v>
                </c:pt>
                <c:pt idx="8374">
                  <c:v>#N/A</c:v>
                </c:pt>
                <c:pt idx="8375">
                  <c:v>3.1095890410958904</c:v>
                </c:pt>
                <c:pt idx="8376">
                  <c:v>#N/A</c:v>
                </c:pt>
                <c:pt idx="8377">
                  <c:v>3.1095890410958904</c:v>
                </c:pt>
                <c:pt idx="8378">
                  <c:v>#N/A</c:v>
                </c:pt>
                <c:pt idx="8379">
                  <c:v>#N/A</c:v>
                </c:pt>
                <c:pt idx="8380">
                  <c:v>3.1095890410958904</c:v>
                </c:pt>
                <c:pt idx="8381">
                  <c:v>#N/A</c:v>
                </c:pt>
                <c:pt idx="8382">
                  <c:v>3.1095890410958904</c:v>
                </c:pt>
                <c:pt idx="8383">
                  <c:v>3.1095890410958904</c:v>
                </c:pt>
                <c:pt idx="8384">
                  <c:v>#N/A</c:v>
                </c:pt>
                <c:pt idx="8385">
                  <c:v>#N/A</c:v>
                </c:pt>
                <c:pt idx="8386">
                  <c:v>#N/A</c:v>
                </c:pt>
                <c:pt idx="8387">
                  <c:v>3.1095890410958904</c:v>
                </c:pt>
                <c:pt idx="8388">
                  <c:v>3.1095890410958904</c:v>
                </c:pt>
                <c:pt idx="8389">
                  <c:v>#N/A</c:v>
                </c:pt>
                <c:pt idx="8390">
                  <c:v>#N/A</c:v>
                </c:pt>
                <c:pt idx="8391">
                  <c:v>#N/A</c:v>
                </c:pt>
                <c:pt idx="8392">
                  <c:v>3.1123287671232878</c:v>
                </c:pt>
                <c:pt idx="8393">
                  <c:v>3.1123287671232878</c:v>
                </c:pt>
                <c:pt idx="8394">
                  <c:v>3.1123287671232878</c:v>
                </c:pt>
                <c:pt idx="8395">
                  <c:v>#N/A</c:v>
                </c:pt>
                <c:pt idx="8396">
                  <c:v>3.1123287671232878</c:v>
                </c:pt>
                <c:pt idx="8397">
                  <c:v>3.1123287671232878</c:v>
                </c:pt>
                <c:pt idx="8398">
                  <c:v>#N/A</c:v>
                </c:pt>
                <c:pt idx="8399">
                  <c:v>3.1123287671232878</c:v>
                </c:pt>
                <c:pt idx="8400">
                  <c:v>#N/A</c:v>
                </c:pt>
                <c:pt idx="8401">
                  <c:v>#N/A</c:v>
                </c:pt>
                <c:pt idx="8402">
                  <c:v>#N/A</c:v>
                </c:pt>
                <c:pt idx="8403">
                  <c:v>#N/A</c:v>
                </c:pt>
                <c:pt idx="8404">
                  <c:v>#N/A</c:v>
                </c:pt>
                <c:pt idx="8405">
                  <c:v>#N/A</c:v>
                </c:pt>
                <c:pt idx="8406">
                  <c:v>3.1123287671232878</c:v>
                </c:pt>
                <c:pt idx="8407">
                  <c:v>#N/A</c:v>
                </c:pt>
                <c:pt idx="8408">
                  <c:v>#N/A</c:v>
                </c:pt>
                <c:pt idx="8409">
                  <c:v>#N/A</c:v>
                </c:pt>
                <c:pt idx="8410">
                  <c:v>3.1123287671232878</c:v>
                </c:pt>
                <c:pt idx="8411">
                  <c:v>#N/A</c:v>
                </c:pt>
                <c:pt idx="8412">
                  <c:v>#N/A</c:v>
                </c:pt>
                <c:pt idx="8413">
                  <c:v>3.1123287671232878</c:v>
                </c:pt>
                <c:pt idx="8414">
                  <c:v>#N/A</c:v>
                </c:pt>
                <c:pt idx="8415">
                  <c:v>3.1150684931506851</c:v>
                </c:pt>
                <c:pt idx="8416">
                  <c:v>3.1205479452054794</c:v>
                </c:pt>
                <c:pt idx="8417">
                  <c:v>#N/A</c:v>
                </c:pt>
                <c:pt idx="8418">
                  <c:v>#N/A</c:v>
                </c:pt>
                <c:pt idx="8419">
                  <c:v>3.1205479452054794</c:v>
                </c:pt>
                <c:pt idx="8420">
                  <c:v>#N/A</c:v>
                </c:pt>
                <c:pt idx="8421">
                  <c:v>#N/A</c:v>
                </c:pt>
                <c:pt idx="8422">
                  <c:v>3.1205479452054794</c:v>
                </c:pt>
                <c:pt idx="8423">
                  <c:v>3.1205479452054794</c:v>
                </c:pt>
                <c:pt idx="8424">
                  <c:v>#N/A</c:v>
                </c:pt>
                <c:pt idx="8425">
                  <c:v>3.1232876712328768</c:v>
                </c:pt>
                <c:pt idx="8426">
                  <c:v>3.1232876712328768</c:v>
                </c:pt>
                <c:pt idx="8427">
                  <c:v>#N/A</c:v>
                </c:pt>
                <c:pt idx="8428">
                  <c:v>3.1232876712328768</c:v>
                </c:pt>
                <c:pt idx="8429">
                  <c:v>#N/A</c:v>
                </c:pt>
                <c:pt idx="8430">
                  <c:v>#N/A</c:v>
                </c:pt>
                <c:pt idx="8431">
                  <c:v>3.1232876712328768</c:v>
                </c:pt>
                <c:pt idx="8432">
                  <c:v>#N/A</c:v>
                </c:pt>
                <c:pt idx="8433">
                  <c:v>3.1232876712328768</c:v>
                </c:pt>
                <c:pt idx="8434">
                  <c:v>3.1232876712328768</c:v>
                </c:pt>
                <c:pt idx="8435">
                  <c:v>#N/A</c:v>
                </c:pt>
                <c:pt idx="8436">
                  <c:v>#N/A</c:v>
                </c:pt>
                <c:pt idx="8437">
                  <c:v>#N/A</c:v>
                </c:pt>
                <c:pt idx="8438">
                  <c:v>#N/A</c:v>
                </c:pt>
                <c:pt idx="8439">
                  <c:v>3.1260273972602741</c:v>
                </c:pt>
                <c:pt idx="8440">
                  <c:v>#N/A</c:v>
                </c:pt>
                <c:pt idx="8441">
                  <c:v>#N/A</c:v>
                </c:pt>
                <c:pt idx="8442">
                  <c:v>#N/A</c:v>
                </c:pt>
                <c:pt idx="8443">
                  <c:v>3.128767123287671</c:v>
                </c:pt>
                <c:pt idx="8444">
                  <c:v>#N/A</c:v>
                </c:pt>
                <c:pt idx="8445">
                  <c:v>3.128767123287671</c:v>
                </c:pt>
                <c:pt idx="8446">
                  <c:v>#N/A</c:v>
                </c:pt>
                <c:pt idx="8447">
                  <c:v>#N/A</c:v>
                </c:pt>
                <c:pt idx="8448">
                  <c:v>#N/A</c:v>
                </c:pt>
                <c:pt idx="8449">
                  <c:v>#N/A</c:v>
                </c:pt>
                <c:pt idx="8450">
                  <c:v>#N/A</c:v>
                </c:pt>
                <c:pt idx="8451">
                  <c:v>#N/A</c:v>
                </c:pt>
                <c:pt idx="8452">
                  <c:v>3.128767123287671</c:v>
                </c:pt>
                <c:pt idx="8453">
                  <c:v>3.128767123287671</c:v>
                </c:pt>
                <c:pt idx="8454">
                  <c:v>#N/A</c:v>
                </c:pt>
                <c:pt idx="8455">
                  <c:v>#N/A</c:v>
                </c:pt>
                <c:pt idx="8456">
                  <c:v>3.1315068493150684</c:v>
                </c:pt>
                <c:pt idx="8457">
                  <c:v>#N/A</c:v>
                </c:pt>
                <c:pt idx="8458">
                  <c:v>#N/A</c:v>
                </c:pt>
                <c:pt idx="8459">
                  <c:v>3.1315068493150684</c:v>
                </c:pt>
                <c:pt idx="8460">
                  <c:v>#N/A</c:v>
                </c:pt>
                <c:pt idx="8461">
                  <c:v>3.1315068493150684</c:v>
                </c:pt>
                <c:pt idx="8462">
                  <c:v>3.1315068493150684</c:v>
                </c:pt>
                <c:pt idx="8463">
                  <c:v>#N/A</c:v>
                </c:pt>
                <c:pt idx="8464">
                  <c:v>3.1315068493150684</c:v>
                </c:pt>
                <c:pt idx="8465">
                  <c:v>3.1315068493150684</c:v>
                </c:pt>
                <c:pt idx="8466">
                  <c:v>3.1315068493150684</c:v>
                </c:pt>
                <c:pt idx="8467">
                  <c:v>3.1315068493150684</c:v>
                </c:pt>
                <c:pt idx="8468">
                  <c:v>#N/A</c:v>
                </c:pt>
                <c:pt idx="8469">
                  <c:v>#N/A</c:v>
                </c:pt>
                <c:pt idx="8470">
                  <c:v>#N/A</c:v>
                </c:pt>
                <c:pt idx="8471">
                  <c:v>3.1315068493150684</c:v>
                </c:pt>
                <c:pt idx="8472">
                  <c:v>#N/A</c:v>
                </c:pt>
                <c:pt idx="8473">
                  <c:v>#N/A</c:v>
                </c:pt>
                <c:pt idx="8474">
                  <c:v>#N/A</c:v>
                </c:pt>
                <c:pt idx="8475">
                  <c:v>#N/A</c:v>
                </c:pt>
                <c:pt idx="8476">
                  <c:v>#N/A</c:v>
                </c:pt>
                <c:pt idx="8477">
                  <c:v>#N/A</c:v>
                </c:pt>
                <c:pt idx="8478">
                  <c:v>3.1397260273972605</c:v>
                </c:pt>
                <c:pt idx="8479">
                  <c:v>#N/A</c:v>
                </c:pt>
                <c:pt idx="8480">
                  <c:v>3.1397260273972605</c:v>
                </c:pt>
                <c:pt idx="8481">
                  <c:v>3.1397260273972605</c:v>
                </c:pt>
                <c:pt idx="8482">
                  <c:v>3.1397260273972605</c:v>
                </c:pt>
                <c:pt idx="8483">
                  <c:v>#N/A</c:v>
                </c:pt>
                <c:pt idx="8484">
                  <c:v>#N/A</c:v>
                </c:pt>
                <c:pt idx="8485">
                  <c:v>#N/A</c:v>
                </c:pt>
                <c:pt idx="8486">
                  <c:v>#N/A</c:v>
                </c:pt>
                <c:pt idx="8487">
                  <c:v>#N/A</c:v>
                </c:pt>
                <c:pt idx="8488">
                  <c:v>#N/A</c:v>
                </c:pt>
                <c:pt idx="8489">
                  <c:v>3.1397260273972605</c:v>
                </c:pt>
                <c:pt idx="8490">
                  <c:v>3.1397260273972605</c:v>
                </c:pt>
                <c:pt idx="8491">
                  <c:v>#N/A</c:v>
                </c:pt>
                <c:pt idx="8492">
                  <c:v>#N/A</c:v>
                </c:pt>
                <c:pt idx="8493">
                  <c:v>#N/A</c:v>
                </c:pt>
                <c:pt idx="8494">
                  <c:v>3.1397260273972605</c:v>
                </c:pt>
                <c:pt idx="8495">
                  <c:v>3.1424657534246574</c:v>
                </c:pt>
                <c:pt idx="8496">
                  <c:v>#N/A</c:v>
                </c:pt>
                <c:pt idx="8497">
                  <c:v>#N/A</c:v>
                </c:pt>
                <c:pt idx="8498">
                  <c:v>3.1424657534246574</c:v>
                </c:pt>
                <c:pt idx="8499">
                  <c:v>3.1424657534246574</c:v>
                </c:pt>
                <c:pt idx="8500">
                  <c:v>3.1424657534246574</c:v>
                </c:pt>
                <c:pt idx="8501">
                  <c:v>#N/A</c:v>
                </c:pt>
                <c:pt idx="8502">
                  <c:v>3.1424657534246574</c:v>
                </c:pt>
                <c:pt idx="8503">
                  <c:v>3.1424657534246574</c:v>
                </c:pt>
                <c:pt idx="8504">
                  <c:v>3.1424657534246574</c:v>
                </c:pt>
                <c:pt idx="8505">
                  <c:v>#N/A</c:v>
                </c:pt>
                <c:pt idx="8506">
                  <c:v>3.1424657534246574</c:v>
                </c:pt>
                <c:pt idx="8507">
                  <c:v>#N/A</c:v>
                </c:pt>
                <c:pt idx="8508">
                  <c:v>3.1424657534246574</c:v>
                </c:pt>
                <c:pt idx="8509">
                  <c:v>#N/A</c:v>
                </c:pt>
                <c:pt idx="8510">
                  <c:v>3.1424657534246574</c:v>
                </c:pt>
                <c:pt idx="8511">
                  <c:v>#N/A</c:v>
                </c:pt>
                <c:pt idx="8512">
                  <c:v>#N/A</c:v>
                </c:pt>
                <c:pt idx="8513">
                  <c:v>#N/A</c:v>
                </c:pt>
                <c:pt idx="8514">
                  <c:v>3.1424657534246574</c:v>
                </c:pt>
                <c:pt idx="8515">
                  <c:v>3.1424657534246574</c:v>
                </c:pt>
                <c:pt idx="8516">
                  <c:v>#N/A</c:v>
                </c:pt>
                <c:pt idx="8517">
                  <c:v>3.1424657534246574</c:v>
                </c:pt>
                <c:pt idx="8518">
                  <c:v>#N/A</c:v>
                </c:pt>
                <c:pt idx="8519">
                  <c:v>3.1424657534246574</c:v>
                </c:pt>
                <c:pt idx="8520">
                  <c:v>3.1424657534246574</c:v>
                </c:pt>
                <c:pt idx="8521">
                  <c:v>#N/A</c:v>
                </c:pt>
                <c:pt idx="8522">
                  <c:v>3.1424657534246574</c:v>
                </c:pt>
                <c:pt idx="8523">
                  <c:v>3.1424657534246574</c:v>
                </c:pt>
                <c:pt idx="8524">
                  <c:v>#N/A</c:v>
                </c:pt>
                <c:pt idx="8525">
                  <c:v>3.1452054794520548</c:v>
                </c:pt>
                <c:pt idx="8526">
                  <c:v>3.1452054794520548</c:v>
                </c:pt>
                <c:pt idx="8527">
                  <c:v>#N/A</c:v>
                </c:pt>
                <c:pt idx="8528">
                  <c:v>3.1452054794520548</c:v>
                </c:pt>
                <c:pt idx="8529">
                  <c:v>3.1452054794520548</c:v>
                </c:pt>
                <c:pt idx="8530">
                  <c:v>#N/A</c:v>
                </c:pt>
                <c:pt idx="8531">
                  <c:v>3.1452054794520548</c:v>
                </c:pt>
                <c:pt idx="8532">
                  <c:v>3.1479452054794521</c:v>
                </c:pt>
                <c:pt idx="8533">
                  <c:v>3.1479452054794521</c:v>
                </c:pt>
                <c:pt idx="8534">
                  <c:v>3.1479452054794521</c:v>
                </c:pt>
                <c:pt idx="8535">
                  <c:v>#N/A</c:v>
                </c:pt>
                <c:pt idx="8536">
                  <c:v>3.1506849315068495</c:v>
                </c:pt>
                <c:pt idx="8537">
                  <c:v>3.1506849315068495</c:v>
                </c:pt>
                <c:pt idx="8538">
                  <c:v>3.1506849315068495</c:v>
                </c:pt>
                <c:pt idx="8539">
                  <c:v>3.1506849315068495</c:v>
                </c:pt>
                <c:pt idx="8540">
                  <c:v>3.1506849315068495</c:v>
                </c:pt>
                <c:pt idx="8541">
                  <c:v>#N/A</c:v>
                </c:pt>
                <c:pt idx="8542">
                  <c:v>#N/A</c:v>
                </c:pt>
                <c:pt idx="8543">
                  <c:v>#N/A</c:v>
                </c:pt>
                <c:pt idx="8544">
                  <c:v>#N/A</c:v>
                </c:pt>
                <c:pt idx="8545">
                  <c:v>#N/A</c:v>
                </c:pt>
                <c:pt idx="8546">
                  <c:v>#N/A</c:v>
                </c:pt>
                <c:pt idx="8547">
                  <c:v>#N/A</c:v>
                </c:pt>
                <c:pt idx="8548">
                  <c:v>#N/A</c:v>
                </c:pt>
                <c:pt idx="8549">
                  <c:v>3.1589041095890411</c:v>
                </c:pt>
                <c:pt idx="8550">
                  <c:v>#N/A</c:v>
                </c:pt>
                <c:pt idx="8551">
                  <c:v>3.1616438356164385</c:v>
                </c:pt>
                <c:pt idx="8552">
                  <c:v>#N/A</c:v>
                </c:pt>
                <c:pt idx="8553">
                  <c:v>3.1616438356164385</c:v>
                </c:pt>
                <c:pt idx="8554">
                  <c:v>3.1616438356164385</c:v>
                </c:pt>
                <c:pt idx="8555">
                  <c:v>3.1616438356164385</c:v>
                </c:pt>
                <c:pt idx="8556">
                  <c:v>3.1643835616438358</c:v>
                </c:pt>
                <c:pt idx="8557">
                  <c:v>#N/A</c:v>
                </c:pt>
                <c:pt idx="8558">
                  <c:v>3.1643835616438358</c:v>
                </c:pt>
                <c:pt idx="8559">
                  <c:v>#N/A</c:v>
                </c:pt>
                <c:pt idx="8560">
                  <c:v>#N/A</c:v>
                </c:pt>
                <c:pt idx="8561">
                  <c:v>3.1643835616438358</c:v>
                </c:pt>
                <c:pt idx="8562">
                  <c:v>3.1643835616438358</c:v>
                </c:pt>
                <c:pt idx="8563">
                  <c:v>3.1643835616438358</c:v>
                </c:pt>
                <c:pt idx="8564">
                  <c:v>3.1643835616438358</c:v>
                </c:pt>
                <c:pt idx="8565">
                  <c:v>3.1643835616438358</c:v>
                </c:pt>
                <c:pt idx="8566">
                  <c:v>#N/A</c:v>
                </c:pt>
                <c:pt idx="8567">
                  <c:v>#N/A</c:v>
                </c:pt>
                <c:pt idx="8568">
                  <c:v>3.1643835616438358</c:v>
                </c:pt>
                <c:pt idx="8569">
                  <c:v>#N/A</c:v>
                </c:pt>
                <c:pt idx="8570">
                  <c:v>#N/A</c:v>
                </c:pt>
                <c:pt idx="8571">
                  <c:v>3.1671232876712327</c:v>
                </c:pt>
                <c:pt idx="8572">
                  <c:v>3.1671232876712327</c:v>
                </c:pt>
                <c:pt idx="8573">
                  <c:v>#N/A</c:v>
                </c:pt>
                <c:pt idx="8574">
                  <c:v>#N/A</c:v>
                </c:pt>
                <c:pt idx="8575">
                  <c:v>#N/A</c:v>
                </c:pt>
                <c:pt idx="8576">
                  <c:v>3.1780821917808217</c:v>
                </c:pt>
                <c:pt idx="8577">
                  <c:v>#N/A</c:v>
                </c:pt>
                <c:pt idx="8578">
                  <c:v>3.1780821917808217</c:v>
                </c:pt>
                <c:pt idx="8579">
                  <c:v>3.1780821917808217</c:v>
                </c:pt>
                <c:pt idx="8580">
                  <c:v>3.1780821917808217</c:v>
                </c:pt>
                <c:pt idx="8581">
                  <c:v>#N/A</c:v>
                </c:pt>
                <c:pt idx="8582">
                  <c:v>#N/A</c:v>
                </c:pt>
                <c:pt idx="8583">
                  <c:v>3.1780821917808217</c:v>
                </c:pt>
                <c:pt idx="8584">
                  <c:v>#N/A</c:v>
                </c:pt>
                <c:pt idx="8585">
                  <c:v>#N/A</c:v>
                </c:pt>
                <c:pt idx="8586">
                  <c:v>3.1780821917808217</c:v>
                </c:pt>
                <c:pt idx="8587">
                  <c:v>#N/A</c:v>
                </c:pt>
                <c:pt idx="8588">
                  <c:v>3.1780821917808217</c:v>
                </c:pt>
                <c:pt idx="8589">
                  <c:v>#N/A</c:v>
                </c:pt>
                <c:pt idx="8590">
                  <c:v>#N/A</c:v>
                </c:pt>
                <c:pt idx="8591">
                  <c:v>#N/A</c:v>
                </c:pt>
                <c:pt idx="8592">
                  <c:v>3.1780821917808217</c:v>
                </c:pt>
                <c:pt idx="8593">
                  <c:v>3.1780821917808217</c:v>
                </c:pt>
                <c:pt idx="8594">
                  <c:v>3.1780821917808217</c:v>
                </c:pt>
                <c:pt idx="8595">
                  <c:v>3.1780821917808217</c:v>
                </c:pt>
                <c:pt idx="8596">
                  <c:v>3.1780821917808217</c:v>
                </c:pt>
                <c:pt idx="8597">
                  <c:v>3.1780821917808217</c:v>
                </c:pt>
                <c:pt idx="8598">
                  <c:v>#N/A</c:v>
                </c:pt>
                <c:pt idx="8599">
                  <c:v>#N/A</c:v>
                </c:pt>
                <c:pt idx="8600">
                  <c:v>#N/A</c:v>
                </c:pt>
                <c:pt idx="8601">
                  <c:v>3.1780821917808217</c:v>
                </c:pt>
                <c:pt idx="8602">
                  <c:v>#N/A</c:v>
                </c:pt>
                <c:pt idx="8603">
                  <c:v>#N/A</c:v>
                </c:pt>
                <c:pt idx="8604">
                  <c:v>#N/A</c:v>
                </c:pt>
                <c:pt idx="8605">
                  <c:v>3.1780821917808217</c:v>
                </c:pt>
                <c:pt idx="8606">
                  <c:v>3.1780821917808217</c:v>
                </c:pt>
                <c:pt idx="8607">
                  <c:v>3.1780821917808217</c:v>
                </c:pt>
                <c:pt idx="8608">
                  <c:v>3.1780821917808217</c:v>
                </c:pt>
                <c:pt idx="8609">
                  <c:v>#N/A</c:v>
                </c:pt>
                <c:pt idx="8610">
                  <c:v>#N/A</c:v>
                </c:pt>
                <c:pt idx="8611">
                  <c:v>3.1808219178082191</c:v>
                </c:pt>
                <c:pt idx="8612">
                  <c:v>3.1808219178082191</c:v>
                </c:pt>
                <c:pt idx="8613">
                  <c:v>3.1808219178082191</c:v>
                </c:pt>
                <c:pt idx="8614">
                  <c:v>3.1808219178082191</c:v>
                </c:pt>
                <c:pt idx="8615">
                  <c:v>#N/A</c:v>
                </c:pt>
                <c:pt idx="8616">
                  <c:v>3.1808219178082191</c:v>
                </c:pt>
                <c:pt idx="8617">
                  <c:v>3.1808219178082191</c:v>
                </c:pt>
                <c:pt idx="8618">
                  <c:v>3.1808219178082191</c:v>
                </c:pt>
                <c:pt idx="8619">
                  <c:v>3.1835616438356165</c:v>
                </c:pt>
                <c:pt idx="8620">
                  <c:v>3.1835616438356165</c:v>
                </c:pt>
                <c:pt idx="8621">
                  <c:v>3.1835616438356165</c:v>
                </c:pt>
                <c:pt idx="8622">
                  <c:v>3.1835616438356165</c:v>
                </c:pt>
                <c:pt idx="8623">
                  <c:v>#N/A</c:v>
                </c:pt>
                <c:pt idx="8624">
                  <c:v>3.1863013698630138</c:v>
                </c:pt>
                <c:pt idx="8625">
                  <c:v>#N/A</c:v>
                </c:pt>
                <c:pt idx="8626">
                  <c:v>3.1863013698630138</c:v>
                </c:pt>
                <c:pt idx="8627">
                  <c:v>#N/A</c:v>
                </c:pt>
                <c:pt idx="8628">
                  <c:v>#N/A</c:v>
                </c:pt>
                <c:pt idx="8629">
                  <c:v>#N/A</c:v>
                </c:pt>
                <c:pt idx="8630">
                  <c:v>3.1890410958904107</c:v>
                </c:pt>
                <c:pt idx="8631">
                  <c:v>#N/A</c:v>
                </c:pt>
                <c:pt idx="8632">
                  <c:v>#N/A</c:v>
                </c:pt>
                <c:pt idx="8633">
                  <c:v>#N/A</c:v>
                </c:pt>
                <c:pt idx="8634">
                  <c:v>3.1972602739726028</c:v>
                </c:pt>
                <c:pt idx="8635">
                  <c:v>#N/A</c:v>
                </c:pt>
                <c:pt idx="8636">
                  <c:v>3.2</c:v>
                </c:pt>
                <c:pt idx="8637">
                  <c:v>3.2</c:v>
                </c:pt>
                <c:pt idx="8638">
                  <c:v>#N/A</c:v>
                </c:pt>
                <c:pt idx="8639">
                  <c:v>#N/A</c:v>
                </c:pt>
                <c:pt idx="8640">
                  <c:v>#N/A</c:v>
                </c:pt>
                <c:pt idx="8641">
                  <c:v>3.2</c:v>
                </c:pt>
                <c:pt idx="8642">
                  <c:v>3.2</c:v>
                </c:pt>
                <c:pt idx="8643">
                  <c:v>3.2027397260273971</c:v>
                </c:pt>
                <c:pt idx="8644">
                  <c:v>3.2027397260273971</c:v>
                </c:pt>
                <c:pt idx="8645">
                  <c:v>3.2027397260273971</c:v>
                </c:pt>
                <c:pt idx="8646">
                  <c:v>3.2027397260273971</c:v>
                </c:pt>
                <c:pt idx="8647">
                  <c:v>#N/A</c:v>
                </c:pt>
                <c:pt idx="8648">
                  <c:v>3.2027397260273971</c:v>
                </c:pt>
                <c:pt idx="8649">
                  <c:v>3.2027397260273971</c:v>
                </c:pt>
                <c:pt idx="8650">
                  <c:v>#N/A</c:v>
                </c:pt>
                <c:pt idx="8651">
                  <c:v>3.2027397260273971</c:v>
                </c:pt>
                <c:pt idx="8652">
                  <c:v>3.2027397260273971</c:v>
                </c:pt>
                <c:pt idx="8653">
                  <c:v>3.2027397260273971</c:v>
                </c:pt>
                <c:pt idx="8654">
                  <c:v>#N/A</c:v>
                </c:pt>
                <c:pt idx="8655">
                  <c:v>#N/A</c:v>
                </c:pt>
                <c:pt idx="8656">
                  <c:v>#N/A</c:v>
                </c:pt>
                <c:pt idx="8657">
                  <c:v>3.2027397260273971</c:v>
                </c:pt>
                <c:pt idx="8658">
                  <c:v>3.2027397260273971</c:v>
                </c:pt>
                <c:pt idx="8659">
                  <c:v>#N/A</c:v>
                </c:pt>
                <c:pt idx="8660">
                  <c:v>3.2054794520547945</c:v>
                </c:pt>
                <c:pt idx="8661">
                  <c:v>3.2054794520547945</c:v>
                </c:pt>
                <c:pt idx="8662">
                  <c:v>3.2082191780821918</c:v>
                </c:pt>
                <c:pt idx="8663">
                  <c:v>3.2082191780821918</c:v>
                </c:pt>
                <c:pt idx="8664">
                  <c:v>#N/A</c:v>
                </c:pt>
                <c:pt idx="8665">
                  <c:v>#N/A</c:v>
                </c:pt>
                <c:pt idx="8666">
                  <c:v>3.2082191780821918</c:v>
                </c:pt>
                <c:pt idx="8667">
                  <c:v>3.2164383561643834</c:v>
                </c:pt>
                <c:pt idx="8668">
                  <c:v>3.2164383561643834</c:v>
                </c:pt>
                <c:pt idx="8669">
                  <c:v>#N/A</c:v>
                </c:pt>
                <c:pt idx="8670">
                  <c:v>3.2191780821917808</c:v>
                </c:pt>
                <c:pt idx="8671">
                  <c:v>3.2191780821917808</c:v>
                </c:pt>
                <c:pt idx="8672">
                  <c:v>#N/A</c:v>
                </c:pt>
                <c:pt idx="8673">
                  <c:v>3.2191780821917808</c:v>
                </c:pt>
                <c:pt idx="8674">
                  <c:v>#N/A</c:v>
                </c:pt>
                <c:pt idx="8675">
                  <c:v>3.2219178082191782</c:v>
                </c:pt>
                <c:pt idx="8676">
                  <c:v>3.2219178082191782</c:v>
                </c:pt>
                <c:pt idx="8677">
                  <c:v>3.2219178082191782</c:v>
                </c:pt>
                <c:pt idx="8678">
                  <c:v>3.2219178082191782</c:v>
                </c:pt>
                <c:pt idx="8679">
                  <c:v>#N/A</c:v>
                </c:pt>
                <c:pt idx="8680">
                  <c:v>#N/A</c:v>
                </c:pt>
                <c:pt idx="8681">
                  <c:v>3.2246575342465755</c:v>
                </c:pt>
                <c:pt idx="8682">
                  <c:v>#N/A</c:v>
                </c:pt>
                <c:pt idx="8683">
                  <c:v>3.2246575342465755</c:v>
                </c:pt>
                <c:pt idx="8684">
                  <c:v>3.2246575342465755</c:v>
                </c:pt>
                <c:pt idx="8685">
                  <c:v>3.2356164383561645</c:v>
                </c:pt>
                <c:pt idx="8686">
                  <c:v>#N/A</c:v>
                </c:pt>
                <c:pt idx="8687">
                  <c:v>#N/A</c:v>
                </c:pt>
                <c:pt idx="8688">
                  <c:v>#N/A</c:v>
                </c:pt>
                <c:pt idx="8689">
                  <c:v>3.2383561643835614</c:v>
                </c:pt>
                <c:pt idx="8690">
                  <c:v>3.2410958904109588</c:v>
                </c:pt>
                <c:pt idx="8691">
                  <c:v>3.2410958904109588</c:v>
                </c:pt>
                <c:pt idx="8692">
                  <c:v>#N/A</c:v>
                </c:pt>
                <c:pt idx="8693">
                  <c:v>3.2410958904109588</c:v>
                </c:pt>
                <c:pt idx="8694">
                  <c:v>3.2410958904109588</c:v>
                </c:pt>
                <c:pt idx="8695">
                  <c:v>3.2410958904109588</c:v>
                </c:pt>
                <c:pt idx="8696">
                  <c:v>3.2410958904109588</c:v>
                </c:pt>
                <c:pt idx="8697">
                  <c:v>#N/A</c:v>
                </c:pt>
                <c:pt idx="8698">
                  <c:v>3.2410958904109588</c:v>
                </c:pt>
                <c:pt idx="8699">
                  <c:v>#N/A</c:v>
                </c:pt>
                <c:pt idx="8700">
                  <c:v>3.2410958904109588</c:v>
                </c:pt>
                <c:pt idx="8701">
                  <c:v>#N/A</c:v>
                </c:pt>
                <c:pt idx="8702">
                  <c:v>3.2438356164383562</c:v>
                </c:pt>
                <c:pt idx="8703">
                  <c:v>3.2547945205479452</c:v>
                </c:pt>
                <c:pt idx="8704">
                  <c:v>#N/A</c:v>
                </c:pt>
                <c:pt idx="8705">
                  <c:v>#N/A</c:v>
                </c:pt>
                <c:pt idx="8706">
                  <c:v>3.2575342465753425</c:v>
                </c:pt>
                <c:pt idx="8707">
                  <c:v>#N/A</c:v>
                </c:pt>
                <c:pt idx="8708">
                  <c:v>3.2575342465753425</c:v>
                </c:pt>
                <c:pt idx="8709">
                  <c:v>3.2575342465753425</c:v>
                </c:pt>
                <c:pt idx="8710">
                  <c:v>3.2575342465753425</c:v>
                </c:pt>
                <c:pt idx="8711">
                  <c:v>3.2602739726027399</c:v>
                </c:pt>
                <c:pt idx="8712">
                  <c:v>#N/A</c:v>
                </c:pt>
                <c:pt idx="8713">
                  <c:v>#N/A</c:v>
                </c:pt>
                <c:pt idx="8714">
                  <c:v>#N/A</c:v>
                </c:pt>
                <c:pt idx="8715">
                  <c:v>#N/A</c:v>
                </c:pt>
                <c:pt idx="8716">
                  <c:v>#N/A</c:v>
                </c:pt>
                <c:pt idx="8717">
                  <c:v>#N/A</c:v>
                </c:pt>
                <c:pt idx="8718">
                  <c:v>#N/A</c:v>
                </c:pt>
                <c:pt idx="8719">
                  <c:v>3.2739726027397262</c:v>
                </c:pt>
                <c:pt idx="8720">
                  <c:v>#N/A</c:v>
                </c:pt>
                <c:pt idx="8721">
                  <c:v>3.2739726027397262</c:v>
                </c:pt>
                <c:pt idx="8722">
                  <c:v>3.2767123287671232</c:v>
                </c:pt>
                <c:pt idx="8723">
                  <c:v>#N/A</c:v>
                </c:pt>
                <c:pt idx="8724">
                  <c:v>#N/A</c:v>
                </c:pt>
                <c:pt idx="8725">
                  <c:v>3.2767123287671232</c:v>
                </c:pt>
                <c:pt idx="8726">
                  <c:v>3.2794520547945205</c:v>
                </c:pt>
                <c:pt idx="8727">
                  <c:v>3.2794520547945205</c:v>
                </c:pt>
                <c:pt idx="8728">
                  <c:v>3.2794520547945205</c:v>
                </c:pt>
                <c:pt idx="8729">
                  <c:v>#N/A</c:v>
                </c:pt>
                <c:pt idx="8730">
                  <c:v>#N/A</c:v>
                </c:pt>
                <c:pt idx="8731">
                  <c:v>#N/A</c:v>
                </c:pt>
                <c:pt idx="8732">
                  <c:v>#N/A</c:v>
                </c:pt>
                <c:pt idx="8733">
                  <c:v>#N/A</c:v>
                </c:pt>
                <c:pt idx="8734">
                  <c:v>#N/A</c:v>
                </c:pt>
                <c:pt idx="8735">
                  <c:v>3.2931506849315069</c:v>
                </c:pt>
                <c:pt idx="8736">
                  <c:v>#N/A</c:v>
                </c:pt>
                <c:pt idx="8737">
                  <c:v>3.2958904109589042</c:v>
                </c:pt>
                <c:pt idx="8738">
                  <c:v>#N/A</c:v>
                </c:pt>
                <c:pt idx="8739">
                  <c:v>#N/A</c:v>
                </c:pt>
                <c:pt idx="8740">
                  <c:v>#N/A</c:v>
                </c:pt>
                <c:pt idx="8741">
                  <c:v>3.2958904109589042</c:v>
                </c:pt>
                <c:pt idx="8742">
                  <c:v>3.2958904109589042</c:v>
                </c:pt>
                <c:pt idx="8743">
                  <c:v>3.2958904109589042</c:v>
                </c:pt>
                <c:pt idx="8744">
                  <c:v>3.2958904109589042</c:v>
                </c:pt>
                <c:pt idx="8745">
                  <c:v>#N/A</c:v>
                </c:pt>
                <c:pt idx="8746">
                  <c:v>3.2986301369863016</c:v>
                </c:pt>
                <c:pt idx="8747">
                  <c:v>3.2986301369863016</c:v>
                </c:pt>
                <c:pt idx="8748">
                  <c:v>#N/A</c:v>
                </c:pt>
                <c:pt idx="8749">
                  <c:v>3.3041095890410959</c:v>
                </c:pt>
                <c:pt idx="8750">
                  <c:v>3.3041095890410959</c:v>
                </c:pt>
                <c:pt idx="8751">
                  <c:v>3.3041095890410959</c:v>
                </c:pt>
                <c:pt idx="8752">
                  <c:v>3.3041095890410959</c:v>
                </c:pt>
                <c:pt idx="8753">
                  <c:v>3.3123287671232875</c:v>
                </c:pt>
                <c:pt idx="8754">
                  <c:v>#N/A</c:v>
                </c:pt>
                <c:pt idx="8755">
                  <c:v>#N/A</c:v>
                </c:pt>
                <c:pt idx="8756">
                  <c:v>3.3150684931506849</c:v>
                </c:pt>
                <c:pt idx="8757">
                  <c:v>3.3178082191780822</c:v>
                </c:pt>
                <c:pt idx="8758">
                  <c:v>#N/A</c:v>
                </c:pt>
                <c:pt idx="8759">
                  <c:v>#N/A</c:v>
                </c:pt>
                <c:pt idx="8760">
                  <c:v>3.3178082191780822</c:v>
                </c:pt>
                <c:pt idx="8761">
                  <c:v>3.3205479452054796</c:v>
                </c:pt>
                <c:pt idx="8762">
                  <c:v>#N/A</c:v>
                </c:pt>
                <c:pt idx="8763">
                  <c:v>3.3205479452054796</c:v>
                </c:pt>
                <c:pt idx="8764">
                  <c:v>#N/A</c:v>
                </c:pt>
                <c:pt idx="8765">
                  <c:v>#N/A</c:v>
                </c:pt>
                <c:pt idx="8766">
                  <c:v>#N/A</c:v>
                </c:pt>
                <c:pt idx="8767">
                  <c:v>3.3315068493150686</c:v>
                </c:pt>
                <c:pt idx="8768">
                  <c:v>#N/A</c:v>
                </c:pt>
                <c:pt idx="8769">
                  <c:v>#N/A</c:v>
                </c:pt>
                <c:pt idx="8770">
                  <c:v>3.3342465753424659</c:v>
                </c:pt>
                <c:pt idx="8771">
                  <c:v>#N/A</c:v>
                </c:pt>
                <c:pt idx="8772">
                  <c:v>3.3342465753424659</c:v>
                </c:pt>
                <c:pt idx="8773">
                  <c:v>3.3369863013698629</c:v>
                </c:pt>
                <c:pt idx="8774">
                  <c:v>3.3369863013698629</c:v>
                </c:pt>
                <c:pt idx="8775">
                  <c:v>#N/A</c:v>
                </c:pt>
                <c:pt idx="8776">
                  <c:v>3.3397260273972602</c:v>
                </c:pt>
                <c:pt idx="8777">
                  <c:v>#N/A</c:v>
                </c:pt>
                <c:pt idx="8778">
                  <c:v>3.3397260273972602</c:v>
                </c:pt>
                <c:pt idx="8779">
                  <c:v>#N/A</c:v>
                </c:pt>
                <c:pt idx="8780">
                  <c:v>#N/A</c:v>
                </c:pt>
                <c:pt idx="8781">
                  <c:v>#N/A</c:v>
                </c:pt>
                <c:pt idx="8782">
                  <c:v>#N/A</c:v>
                </c:pt>
                <c:pt idx="8783">
                  <c:v>#N/A</c:v>
                </c:pt>
                <c:pt idx="8784">
                  <c:v>#N/A</c:v>
                </c:pt>
                <c:pt idx="8785">
                  <c:v>3.3506849315068492</c:v>
                </c:pt>
                <c:pt idx="8786">
                  <c:v>3.3534246575342466</c:v>
                </c:pt>
                <c:pt idx="8787">
                  <c:v>3.3534246575342466</c:v>
                </c:pt>
                <c:pt idx="8788">
                  <c:v>#N/A</c:v>
                </c:pt>
                <c:pt idx="8789">
                  <c:v>3.3534246575342466</c:v>
                </c:pt>
                <c:pt idx="8790">
                  <c:v>#N/A</c:v>
                </c:pt>
                <c:pt idx="8791">
                  <c:v>#N/A</c:v>
                </c:pt>
                <c:pt idx="8792">
                  <c:v>#N/A</c:v>
                </c:pt>
                <c:pt idx="8793">
                  <c:v>3.3589041095890413</c:v>
                </c:pt>
                <c:pt idx="8794">
                  <c:v>#N/A</c:v>
                </c:pt>
                <c:pt idx="8795">
                  <c:v>#N/A</c:v>
                </c:pt>
                <c:pt idx="8796">
                  <c:v>3.3589041095890413</c:v>
                </c:pt>
                <c:pt idx="8797">
                  <c:v>3.3589041095890413</c:v>
                </c:pt>
                <c:pt idx="8798">
                  <c:v>#N/A</c:v>
                </c:pt>
                <c:pt idx="8799">
                  <c:v>#N/A</c:v>
                </c:pt>
                <c:pt idx="8800">
                  <c:v>#N/A</c:v>
                </c:pt>
                <c:pt idx="8801">
                  <c:v>#N/A</c:v>
                </c:pt>
                <c:pt idx="8802">
                  <c:v>#N/A</c:v>
                </c:pt>
                <c:pt idx="8803">
                  <c:v>3.3698630136986303</c:v>
                </c:pt>
                <c:pt idx="8804">
                  <c:v>#N/A</c:v>
                </c:pt>
                <c:pt idx="8805">
                  <c:v>#N/A</c:v>
                </c:pt>
                <c:pt idx="8806">
                  <c:v>3.3726027397260272</c:v>
                </c:pt>
                <c:pt idx="8807">
                  <c:v>#N/A</c:v>
                </c:pt>
                <c:pt idx="8808">
                  <c:v>3.3726027397260272</c:v>
                </c:pt>
                <c:pt idx="8809">
                  <c:v>3.3726027397260272</c:v>
                </c:pt>
                <c:pt idx="8810">
                  <c:v>3.3726027397260272</c:v>
                </c:pt>
                <c:pt idx="8811">
                  <c:v>3.3726027397260272</c:v>
                </c:pt>
                <c:pt idx="8812">
                  <c:v>#N/A</c:v>
                </c:pt>
                <c:pt idx="8813">
                  <c:v>3.3726027397260272</c:v>
                </c:pt>
                <c:pt idx="8814">
                  <c:v>3.3726027397260272</c:v>
                </c:pt>
                <c:pt idx="8815">
                  <c:v>3.3726027397260272</c:v>
                </c:pt>
                <c:pt idx="8816">
                  <c:v>3.3726027397260272</c:v>
                </c:pt>
                <c:pt idx="8817">
                  <c:v>3.3753424657534246</c:v>
                </c:pt>
                <c:pt idx="8818">
                  <c:v>3.3753424657534246</c:v>
                </c:pt>
                <c:pt idx="8819">
                  <c:v>#N/A</c:v>
                </c:pt>
                <c:pt idx="8820">
                  <c:v>3.3753424657534246</c:v>
                </c:pt>
                <c:pt idx="8821">
                  <c:v>3.3753424657534246</c:v>
                </c:pt>
                <c:pt idx="8822">
                  <c:v>3.3753424657534246</c:v>
                </c:pt>
                <c:pt idx="8823">
                  <c:v>3.3808219178082193</c:v>
                </c:pt>
                <c:pt idx="8824">
                  <c:v>#N/A</c:v>
                </c:pt>
                <c:pt idx="8825">
                  <c:v>#N/A</c:v>
                </c:pt>
                <c:pt idx="8826">
                  <c:v>#N/A</c:v>
                </c:pt>
                <c:pt idx="8827">
                  <c:v>3.3890410958904109</c:v>
                </c:pt>
                <c:pt idx="8828">
                  <c:v>#N/A</c:v>
                </c:pt>
                <c:pt idx="8829">
                  <c:v>3.3890410958904109</c:v>
                </c:pt>
                <c:pt idx="8830">
                  <c:v>3.3890410958904109</c:v>
                </c:pt>
                <c:pt idx="8831">
                  <c:v>#N/A</c:v>
                </c:pt>
                <c:pt idx="8832">
                  <c:v>3.3890410958904109</c:v>
                </c:pt>
                <c:pt idx="8833">
                  <c:v>3.3890410958904109</c:v>
                </c:pt>
                <c:pt idx="8834">
                  <c:v>#N/A</c:v>
                </c:pt>
                <c:pt idx="8835">
                  <c:v>#N/A</c:v>
                </c:pt>
                <c:pt idx="8836">
                  <c:v>3.3890410958904109</c:v>
                </c:pt>
                <c:pt idx="8837">
                  <c:v>3.3890410958904109</c:v>
                </c:pt>
                <c:pt idx="8838">
                  <c:v>#N/A</c:v>
                </c:pt>
                <c:pt idx="8839">
                  <c:v>3.3890410958904109</c:v>
                </c:pt>
                <c:pt idx="8840">
                  <c:v>3.3890410958904109</c:v>
                </c:pt>
                <c:pt idx="8841">
                  <c:v>3.3890410958904109</c:v>
                </c:pt>
                <c:pt idx="8842">
                  <c:v>3.3890410958904109</c:v>
                </c:pt>
                <c:pt idx="8843">
                  <c:v>#N/A</c:v>
                </c:pt>
                <c:pt idx="8844">
                  <c:v>3.3890410958904109</c:v>
                </c:pt>
                <c:pt idx="8845">
                  <c:v>3.3917808219178083</c:v>
                </c:pt>
                <c:pt idx="8846">
                  <c:v>3.3917808219178083</c:v>
                </c:pt>
                <c:pt idx="8847">
                  <c:v>#N/A</c:v>
                </c:pt>
                <c:pt idx="8848">
                  <c:v>3.3917808219178083</c:v>
                </c:pt>
                <c:pt idx="8849">
                  <c:v>3.3917808219178083</c:v>
                </c:pt>
                <c:pt idx="8850">
                  <c:v>3.3917808219178083</c:v>
                </c:pt>
                <c:pt idx="8851">
                  <c:v>3.3917808219178083</c:v>
                </c:pt>
                <c:pt idx="8852">
                  <c:v>3.3917808219178083</c:v>
                </c:pt>
                <c:pt idx="8853">
                  <c:v>#N/A</c:v>
                </c:pt>
                <c:pt idx="8854">
                  <c:v>3.3945205479452056</c:v>
                </c:pt>
                <c:pt idx="8855">
                  <c:v>3.3972602739726026</c:v>
                </c:pt>
                <c:pt idx="8856">
                  <c:v>#N/A</c:v>
                </c:pt>
                <c:pt idx="8857">
                  <c:v>3.3972602739726026</c:v>
                </c:pt>
                <c:pt idx="8858">
                  <c:v>#N/A</c:v>
                </c:pt>
                <c:pt idx="8859">
                  <c:v>3.3972602739726026</c:v>
                </c:pt>
                <c:pt idx="8860">
                  <c:v>#N/A</c:v>
                </c:pt>
                <c:pt idx="8861">
                  <c:v>#N/A</c:v>
                </c:pt>
                <c:pt idx="8862">
                  <c:v>3.4</c:v>
                </c:pt>
                <c:pt idx="8863">
                  <c:v>3.4</c:v>
                </c:pt>
                <c:pt idx="8864">
                  <c:v>3.4</c:v>
                </c:pt>
                <c:pt idx="8865">
                  <c:v>3.4</c:v>
                </c:pt>
                <c:pt idx="8866">
                  <c:v>3.4</c:v>
                </c:pt>
                <c:pt idx="8867">
                  <c:v>#N/A</c:v>
                </c:pt>
                <c:pt idx="8868">
                  <c:v>#N/A</c:v>
                </c:pt>
                <c:pt idx="8869">
                  <c:v>3.4</c:v>
                </c:pt>
                <c:pt idx="8870">
                  <c:v>#N/A</c:v>
                </c:pt>
                <c:pt idx="8871">
                  <c:v>3.408219178082192</c:v>
                </c:pt>
                <c:pt idx="8872">
                  <c:v>3.408219178082192</c:v>
                </c:pt>
                <c:pt idx="8873">
                  <c:v>#N/A</c:v>
                </c:pt>
                <c:pt idx="8874">
                  <c:v>#N/A</c:v>
                </c:pt>
                <c:pt idx="8875">
                  <c:v>#N/A</c:v>
                </c:pt>
                <c:pt idx="8876">
                  <c:v>3.408219178082192</c:v>
                </c:pt>
                <c:pt idx="8877">
                  <c:v>#N/A</c:v>
                </c:pt>
                <c:pt idx="8878">
                  <c:v>#N/A</c:v>
                </c:pt>
                <c:pt idx="8879">
                  <c:v>3.4136986301369863</c:v>
                </c:pt>
                <c:pt idx="8880">
                  <c:v>#N/A</c:v>
                </c:pt>
                <c:pt idx="8881">
                  <c:v>#N/A</c:v>
                </c:pt>
                <c:pt idx="8882">
                  <c:v>3.4164383561643836</c:v>
                </c:pt>
                <c:pt idx="8883">
                  <c:v>3.4164383561643836</c:v>
                </c:pt>
                <c:pt idx="8884">
                  <c:v>#N/A</c:v>
                </c:pt>
                <c:pt idx="8885">
                  <c:v>3.4164383561643836</c:v>
                </c:pt>
                <c:pt idx="8886">
                  <c:v>#N/A</c:v>
                </c:pt>
                <c:pt idx="8887">
                  <c:v>3.419178082191781</c:v>
                </c:pt>
                <c:pt idx="8888">
                  <c:v>#N/A</c:v>
                </c:pt>
                <c:pt idx="8889">
                  <c:v>#N/A</c:v>
                </c:pt>
                <c:pt idx="8890">
                  <c:v>3.4246575342465753</c:v>
                </c:pt>
                <c:pt idx="8891">
                  <c:v>3.4273972602739726</c:v>
                </c:pt>
                <c:pt idx="8892">
                  <c:v>#N/A</c:v>
                </c:pt>
                <c:pt idx="8893">
                  <c:v>#N/A</c:v>
                </c:pt>
                <c:pt idx="8894">
                  <c:v>3.4273972602739726</c:v>
                </c:pt>
                <c:pt idx="8895">
                  <c:v>3.4273972602739726</c:v>
                </c:pt>
                <c:pt idx="8896">
                  <c:v>3.4273972602739726</c:v>
                </c:pt>
                <c:pt idx="8897">
                  <c:v>#N/A</c:v>
                </c:pt>
                <c:pt idx="8898">
                  <c:v>#N/A</c:v>
                </c:pt>
                <c:pt idx="8899">
                  <c:v>#N/A</c:v>
                </c:pt>
                <c:pt idx="8900">
                  <c:v>#N/A</c:v>
                </c:pt>
                <c:pt idx="8901">
                  <c:v>3.4273972602739726</c:v>
                </c:pt>
                <c:pt idx="8902">
                  <c:v>3.4273972602739726</c:v>
                </c:pt>
                <c:pt idx="8903">
                  <c:v>#N/A</c:v>
                </c:pt>
                <c:pt idx="8904">
                  <c:v>3.4273972602739726</c:v>
                </c:pt>
                <c:pt idx="8905">
                  <c:v>#N/A</c:v>
                </c:pt>
                <c:pt idx="8906">
                  <c:v>#N/A</c:v>
                </c:pt>
                <c:pt idx="8907">
                  <c:v>#N/A</c:v>
                </c:pt>
                <c:pt idx="8908">
                  <c:v>#N/A</c:v>
                </c:pt>
                <c:pt idx="8909">
                  <c:v>#N/A</c:v>
                </c:pt>
                <c:pt idx="8910">
                  <c:v>3.4273972602739726</c:v>
                </c:pt>
                <c:pt idx="8911">
                  <c:v>3.4273972602739726</c:v>
                </c:pt>
                <c:pt idx="8912">
                  <c:v>#N/A</c:v>
                </c:pt>
                <c:pt idx="8913">
                  <c:v>#N/A</c:v>
                </c:pt>
                <c:pt idx="8914">
                  <c:v>3.43013698630137</c:v>
                </c:pt>
                <c:pt idx="8915">
                  <c:v>3.43013698630137</c:v>
                </c:pt>
                <c:pt idx="8916">
                  <c:v>3.43013698630137</c:v>
                </c:pt>
                <c:pt idx="8917">
                  <c:v>#N/A</c:v>
                </c:pt>
                <c:pt idx="8918">
                  <c:v>#N/A</c:v>
                </c:pt>
                <c:pt idx="8919">
                  <c:v>3.43013698630137</c:v>
                </c:pt>
                <c:pt idx="8920">
                  <c:v>#N/A</c:v>
                </c:pt>
                <c:pt idx="8921">
                  <c:v>3.43013698630137</c:v>
                </c:pt>
                <c:pt idx="8922">
                  <c:v>3.43013698630137</c:v>
                </c:pt>
                <c:pt idx="8923">
                  <c:v>#N/A</c:v>
                </c:pt>
                <c:pt idx="8924">
                  <c:v>3.43013698630137</c:v>
                </c:pt>
                <c:pt idx="8925">
                  <c:v>#N/A</c:v>
                </c:pt>
                <c:pt idx="8926">
                  <c:v>#N/A</c:v>
                </c:pt>
                <c:pt idx="8927">
                  <c:v>#N/A</c:v>
                </c:pt>
                <c:pt idx="8928">
                  <c:v>#N/A</c:v>
                </c:pt>
                <c:pt idx="8929">
                  <c:v>3.4328767123287673</c:v>
                </c:pt>
                <c:pt idx="8930">
                  <c:v>#N/A</c:v>
                </c:pt>
                <c:pt idx="8931">
                  <c:v>#N/A</c:v>
                </c:pt>
                <c:pt idx="8932">
                  <c:v>3.4328767123287673</c:v>
                </c:pt>
                <c:pt idx="8933">
                  <c:v>#N/A</c:v>
                </c:pt>
                <c:pt idx="8934">
                  <c:v>3.4328767123287673</c:v>
                </c:pt>
                <c:pt idx="8935">
                  <c:v>3.4356164383561643</c:v>
                </c:pt>
                <c:pt idx="8936">
                  <c:v>#N/A</c:v>
                </c:pt>
                <c:pt idx="8937">
                  <c:v>#N/A</c:v>
                </c:pt>
                <c:pt idx="8938">
                  <c:v>#N/A</c:v>
                </c:pt>
                <c:pt idx="8939">
                  <c:v>#N/A</c:v>
                </c:pt>
                <c:pt idx="8940">
                  <c:v>#N/A</c:v>
                </c:pt>
                <c:pt idx="8941">
                  <c:v>3.4383561643835616</c:v>
                </c:pt>
                <c:pt idx="8942">
                  <c:v>#N/A</c:v>
                </c:pt>
                <c:pt idx="8943">
                  <c:v>#N/A</c:v>
                </c:pt>
                <c:pt idx="8944">
                  <c:v>3.4383561643835616</c:v>
                </c:pt>
                <c:pt idx="8945">
                  <c:v>#N/A</c:v>
                </c:pt>
                <c:pt idx="8946">
                  <c:v>3.4493150684931506</c:v>
                </c:pt>
                <c:pt idx="8947">
                  <c:v>3.4493150684931506</c:v>
                </c:pt>
                <c:pt idx="8948">
                  <c:v>3.452054794520548</c:v>
                </c:pt>
                <c:pt idx="8949">
                  <c:v>#N/A</c:v>
                </c:pt>
                <c:pt idx="8950">
                  <c:v>#N/A</c:v>
                </c:pt>
                <c:pt idx="8951">
                  <c:v>#N/A</c:v>
                </c:pt>
                <c:pt idx="8952">
                  <c:v>3.452054794520548</c:v>
                </c:pt>
                <c:pt idx="8953">
                  <c:v>3.452054794520548</c:v>
                </c:pt>
                <c:pt idx="8954">
                  <c:v>#N/A</c:v>
                </c:pt>
                <c:pt idx="8955">
                  <c:v>#N/A</c:v>
                </c:pt>
                <c:pt idx="8956">
                  <c:v>#N/A</c:v>
                </c:pt>
                <c:pt idx="8957">
                  <c:v>#N/A</c:v>
                </c:pt>
                <c:pt idx="8958">
                  <c:v>3.4575342465753423</c:v>
                </c:pt>
                <c:pt idx="8959">
                  <c:v>3.4575342465753423</c:v>
                </c:pt>
                <c:pt idx="8960">
                  <c:v>3.4575342465753423</c:v>
                </c:pt>
                <c:pt idx="8961">
                  <c:v>#N/A</c:v>
                </c:pt>
                <c:pt idx="8962">
                  <c:v>3.4575342465753423</c:v>
                </c:pt>
                <c:pt idx="8963">
                  <c:v>3.4657534246575343</c:v>
                </c:pt>
                <c:pt idx="8964">
                  <c:v>#N/A</c:v>
                </c:pt>
                <c:pt idx="8965">
                  <c:v>3.4657534246575343</c:v>
                </c:pt>
                <c:pt idx="8966">
                  <c:v>3.4657534246575343</c:v>
                </c:pt>
                <c:pt idx="8967">
                  <c:v>3.4684931506849317</c:v>
                </c:pt>
                <c:pt idx="8968">
                  <c:v>#N/A</c:v>
                </c:pt>
                <c:pt idx="8969">
                  <c:v>#N/A</c:v>
                </c:pt>
                <c:pt idx="8970">
                  <c:v>#N/A</c:v>
                </c:pt>
                <c:pt idx="8971">
                  <c:v>3.4684931506849317</c:v>
                </c:pt>
                <c:pt idx="8972">
                  <c:v>#N/A</c:v>
                </c:pt>
                <c:pt idx="8973">
                  <c:v>#N/A</c:v>
                </c:pt>
                <c:pt idx="8974">
                  <c:v>3.4684931506849317</c:v>
                </c:pt>
                <c:pt idx="8975">
                  <c:v>#N/A</c:v>
                </c:pt>
                <c:pt idx="8976">
                  <c:v>#N/A</c:v>
                </c:pt>
                <c:pt idx="8977">
                  <c:v>#N/A</c:v>
                </c:pt>
                <c:pt idx="8978">
                  <c:v>#N/A</c:v>
                </c:pt>
                <c:pt idx="8979">
                  <c:v>#N/A</c:v>
                </c:pt>
                <c:pt idx="8980">
                  <c:v>#N/A</c:v>
                </c:pt>
                <c:pt idx="8981">
                  <c:v>3.4684931506849317</c:v>
                </c:pt>
                <c:pt idx="8982">
                  <c:v>#N/A</c:v>
                </c:pt>
                <c:pt idx="8983">
                  <c:v>#N/A</c:v>
                </c:pt>
                <c:pt idx="8984">
                  <c:v>#N/A</c:v>
                </c:pt>
                <c:pt idx="8985">
                  <c:v>3.4684931506849317</c:v>
                </c:pt>
                <c:pt idx="8986">
                  <c:v>#N/A</c:v>
                </c:pt>
                <c:pt idx="8987">
                  <c:v>3.4684931506849317</c:v>
                </c:pt>
                <c:pt idx="8988">
                  <c:v>3.4684931506849317</c:v>
                </c:pt>
                <c:pt idx="8989">
                  <c:v>#N/A</c:v>
                </c:pt>
                <c:pt idx="8990">
                  <c:v>#N/A</c:v>
                </c:pt>
                <c:pt idx="8991">
                  <c:v>#N/A</c:v>
                </c:pt>
                <c:pt idx="8992">
                  <c:v>#N/A</c:v>
                </c:pt>
                <c:pt idx="8993">
                  <c:v>#N/A</c:v>
                </c:pt>
                <c:pt idx="8994">
                  <c:v>#N/A</c:v>
                </c:pt>
                <c:pt idx="8995">
                  <c:v>#N/A</c:v>
                </c:pt>
                <c:pt idx="8996">
                  <c:v>#N/A</c:v>
                </c:pt>
                <c:pt idx="8997">
                  <c:v>#N/A</c:v>
                </c:pt>
                <c:pt idx="8998">
                  <c:v>#N/A</c:v>
                </c:pt>
                <c:pt idx="8999">
                  <c:v>#N/A</c:v>
                </c:pt>
                <c:pt idx="9000">
                  <c:v>#N/A</c:v>
                </c:pt>
                <c:pt idx="9001">
                  <c:v>3.4684931506849317</c:v>
                </c:pt>
                <c:pt idx="9002">
                  <c:v>#N/A</c:v>
                </c:pt>
                <c:pt idx="9003">
                  <c:v>3.4684931506849317</c:v>
                </c:pt>
                <c:pt idx="9004">
                  <c:v>#N/A</c:v>
                </c:pt>
                <c:pt idx="9005">
                  <c:v>#N/A</c:v>
                </c:pt>
                <c:pt idx="9006">
                  <c:v>#N/A</c:v>
                </c:pt>
                <c:pt idx="9007">
                  <c:v>#N/A</c:v>
                </c:pt>
                <c:pt idx="9008">
                  <c:v>#N/A</c:v>
                </c:pt>
                <c:pt idx="9009">
                  <c:v>#N/A</c:v>
                </c:pt>
                <c:pt idx="9010">
                  <c:v>3.4684931506849317</c:v>
                </c:pt>
                <c:pt idx="9011">
                  <c:v>#N/A</c:v>
                </c:pt>
                <c:pt idx="9012">
                  <c:v>#N/A</c:v>
                </c:pt>
                <c:pt idx="9013">
                  <c:v>#N/A</c:v>
                </c:pt>
                <c:pt idx="9014">
                  <c:v>3.4684931506849317</c:v>
                </c:pt>
                <c:pt idx="9015">
                  <c:v>#N/A</c:v>
                </c:pt>
                <c:pt idx="9016">
                  <c:v>#N/A</c:v>
                </c:pt>
                <c:pt idx="9017">
                  <c:v>#N/A</c:v>
                </c:pt>
                <c:pt idx="9018">
                  <c:v>#N/A</c:v>
                </c:pt>
                <c:pt idx="9019">
                  <c:v>#N/A</c:v>
                </c:pt>
                <c:pt idx="9020">
                  <c:v>#N/A</c:v>
                </c:pt>
                <c:pt idx="9021">
                  <c:v>#N/A</c:v>
                </c:pt>
                <c:pt idx="9022">
                  <c:v>#N/A</c:v>
                </c:pt>
                <c:pt idx="9023">
                  <c:v>#N/A</c:v>
                </c:pt>
                <c:pt idx="9024">
                  <c:v>#N/A</c:v>
                </c:pt>
                <c:pt idx="9025">
                  <c:v>#N/A</c:v>
                </c:pt>
                <c:pt idx="9026">
                  <c:v>3.4684931506849317</c:v>
                </c:pt>
                <c:pt idx="9027">
                  <c:v>#N/A</c:v>
                </c:pt>
                <c:pt idx="9028">
                  <c:v>#N/A</c:v>
                </c:pt>
                <c:pt idx="9029">
                  <c:v>#N/A</c:v>
                </c:pt>
                <c:pt idx="9030">
                  <c:v>#N/A</c:v>
                </c:pt>
                <c:pt idx="9031">
                  <c:v>#N/A</c:v>
                </c:pt>
                <c:pt idx="9032">
                  <c:v>3.4684931506849317</c:v>
                </c:pt>
                <c:pt idx="9033">
                  <c:v>#N/A</c:v>
                </c:pt>
                <c:pt idx="9034">
                  <c:v>#N/A</c:v>
                </c:pt>
                <c:pt idx="9035">
                  <c:v>3.4684931506849317</c:v>
                </c:pt>
                <c:pt idx="9036">
                  <c:v>3.4684931506849317</c:v>
                </c:pt>
                <c:pt idx="9037">
                  <c:v>3.4684931506849317</c:v>
                </c:pt>
                <c:pt idx="9038">
                  <c:v>#N/A</c:v>
                </c:pt>
                <c:pt idx="9039">
                  <c:v>#N/A</c:v>
                </c:pt>
                <c:pt idx="9040">
                  <c:v>3.4684931506849317</c:v>
                </c:pt>
                <c:pt idx="9041">
                  <c:v>3.4684931506849317</c:v>
                </c:pt>
                <c:pt idx="9042">
                  <c:v>#N/A</c:v>
                </c:pt>
                <c:pt idx="9043">
                  <c:v>#N/A</c:v>
                </c:pt>
                <c:pt idx="9044">
                  <c:v>#N/A</c:v>
                </c:pt>
                <c:pt idx="9045">
                  <c:v>#N/A</c:v>
                </c:pt>
                <c:pt idx="9046">
                  <c:v>#N/A</c:v>
                </c:pt>
                <c:pt idx="9047">
                  <c:v>#N/A</c:v>
                </c:pt>
                <c:pt idx="9048">
                  <c:v>#N/A</c:v>
                </c:pt>
                <c:pt idx="9049">
                  <c:v>#N/A</c:v>
                </c:pt>
                <c:pt idx="9050">
                  <c:v>#N/A</c:v>
                </c:pt>
                <c:pt idx="9051">
                  <c:v>#N/A</c:v>
                </c:pt>
                <c:pt idx="9052">
                  <c:v>#N/A</c:v>
                </c:pt>
                <c:pt idx="9053">
                  <c:v>#N/A</c:v>
                </c:pt>
                <c:pt idx="9054">
                  <c:v>3.4684931506849317</c:v>
                </c:pt>
                <c:pt idx="9055">
                  <c:v>#N/A</c:v>
                </c:pt>
                <c:pt idx="9056">
                  <c:v>3.4684931506849317</c:v>
                </c:pt>
                <c:pt idx="9057">
                  <c:v>3.4684931506849317</c:v>
                </c:pt>
                <c:pt idx="9058">
                  <c:v>#N/A</c:v>
                </c:pt>
                <c:pt idx="9059">
                  <c:v>3.4684931506849317</c:v>
                </c:pt>
                <c:pt idx="9060">
                  <c:v>#N/A</c:v>
                </c:pt>
                <c:pt idx="9061">
                  <c:v>#N/A</c:v>
                </c:pt>
                <c:pt idx="9062">
                  <c:v>#N/A</c:v>
                </c:pt>
                <c:pt idx="9063">
                  <c:v>3.4684931506849317</c:v>
                </c:pt>
                <c:pt idx="9064">
                  <c:v>#N/A</c:v>
                </c:pt>
                <c:pt idx="9065">
                  <c:v>3.4684931506849317</c:v>
                </c:pt>
                <c:pt idx="9066">
                  <c:v>#N/A</c:v>
                </c:pt>
                <c:pt idx="9067">
                  <c:v>#N/A</c:v>
                </c:pt>
                <c:pt idx="9068">
                  <c:v>#N/A</c:v>
                </c:pt>
                <c:pt idx="9069">
                  <c:v>3.4684931506849317</c:v>
                </c:pt>
                <c:pt idx="9070">
                  <c:v>#N/A</c:v>
                </c:pt>
                <c:pt idx="9071">
                  <c:v>#N/A</c:v>
                </c:pt>
                <c:pt idx="9072">
                  <c:v>#N/A</c:v>
                </c:pt>
                <c:pt idx="9073">
                  <c:v>#N/A</c:v>
                </c:pt>
                <c:pt idx="9074">
                  <c:v>3.4684931506849317</c:v>
                </c:pt>
                <c:pt idx="9075">
                  <c:v>#N/A</c:v>
                </c:pt>
                <c:pt idx="9076">
                  <c:v>#N/A</c:v>
                </c:pt>
                <c:pt idx="9077">
                  <c:v>#N/A</c:v>
                </c:pt>
                <c:pt idx="9078">
                  <c:v>#N/A</c:v>
                </c:pt>
                <c:pt idx="9079">
                  <c:v>3.4684931506849317</c:v>
                </c:pt>
                <c:pt idx="9080">
                  <c:v>3.4684931506849317</c:v>
                </c:pt>
                <c:pt idx="9081">
                  <c:v>#N/A</c:v>
                </c:pt>
                <c:pt idx="9082">
                  <c:v>#N/A</c:v>
                </c:pt>
                <c:pt idx="9083">
                  <c:v>#N/A</c:v>
                </c:pt>
                <c:pt idx="9084">
                  <c:v>3.4684931506849317</c:v>
                </c:pt>
                <c:pt idx="9085">
                  <c:v>#N/A</c:v>
                </c:pt>
                <c:pt idx="9086">
                  <c:v>3.4684931506849317</c:v>
                </c:pt>
                <c:pt idx="9087">
                  <c:v>#N/A</c:v>
                </c:pt>
                <c:pt idx="9088">
                  <c:v>#N/A</c:v>
                </c:pt>
                <c:pt idx="9089">
                  <c:v>#N/A</c:v>
                </c:pt>
                <c:pt idx="9090">
                  <c:v>#N/A</c:v>
                </c:pt>
                <c:pt idx="9091">
                  <c:v>#N/A</c:v>
                </c:pt>
                <c:pt idx="9092">
                  <c:v>#N/A</c:v>
                </c:pt>
                <c:pt idx="9093">
                  <c:v>#N/A</c:v>
                </c:pt>
                <c:pt idx="9094">
                  <c:v>#N/A</c:v>
                </c:pt>
                <c:pt idx="9095">
                  <c:v>#N/A</c:v>
                </c:pt>
                <c:pt idx="9096">
                  <c:v>#N/A</c:v>
                </c:pt>
                <c:pt idx="9097">
                  <c:v>3.4684931506849317</c:v>
                </c:pt>
                <c:pt idx="9098">
                  <c:v>#N/A</c:v>
                </c:pt>
                <c:pt idx="9099">
                  <c:v>#N/A</c:v>
                </c:pt>
                <c:pt idx="9100">
                  <c:v>#N/A</c:v>
                </c:pt>
                <c:pt idx="9101">
                  <c:v>#N/A</c:v>
                </c:pt>
                <c:pt idx="9102">
                  <c:v>#N/A</c:v>
                </c:pt>
                <c:pt idx="9103">
                  <c:v>#N/A</c:v>
                </c:pt>
                <c:pt idx="9104">
                  <c:v>#N/A</c:v>
                </c:pt>
                <c:pt idx="9105">
                  <c:v>#N/A</c:v>
                </c:pt>
                <c:pt idx="9106">
                  <c:v>#N/A</c:v>
                </c:pt>
                <c:pt idx="9107">
                  <c:v>#N/A</c:v>
                </c:pt>
                <c:pt idx="9108">
                  <c:v>3.4684931506849317</c:v>
                </c:pt>
                <c:pt idx="9109">
                  <c:v>3.4684931506849317</c:v>
                </c:pt>
                <c:pt idx="9110">
                  <c:v>#N/A</c:v>
                </c:pt>
                <c:pt idx="9111">
                  <c:v>#N/A</c:v>
                </c:pt>
                <c:pt idx="9112">
                  <c:v>#N/A</c:v>
                </c:pt>
                <c:pt idx="9113">
                  <c:v>#N/A</c:v>
                </c:pt>
                <c:pt idx="9114">
                  <c:v>#N/A</c:v>
                </c:pt>
                <c:pt idx="9115">
                  <c:v>#N/A</c:v>
                </c:pt>
                <c:pt idx="9116">
                  <c:v>#N/A</c:v>
                </c:pt>
                <c:pt idx="9117">
                  <c:v>#N/A</c:v>
                </c:pt>
                <c:pt idx="9118">
                  <c:v>#N/A</c:v>
                </c:pt>
                <c:pt idx="9119">
                  <c:v>#N/A</c:v>
                </c:pt>
                <c:pt idx="9120">
                  <c:v>3.4684931506849317</c:v>
                </c:pt>
                <c:pt idx="9121">
                  <c:v>3.4684931506849317</c:v>
                </c:pt>
                <c:pt idx="9122">
                  <c:v>#N/A</c:v>
                </c:pt>
                <c:pt idx="9123">
                  <c:v>#N/A</c:v>
                </c:pt>
                <c:pt idx="9124">
                  <c:v>3.4684931506849317</c:v>
                </c:pt>
                <c:pt idx="9125">
                  <c:v>3.4684931506849317</c:v>
                </c:pt>
                <c:pt idx="9126">
                  <c:v>3.4684931506849317</c:v>
                </c:pt>
                <c:pt idx="9127">
                  <c:v>#N/A</c:v>
                </c:pt>
                <c:pt idx="9128">
                  <c:v>3.4684931506849317</c:v>
                </c:pt>
                <c:pt idx="9129">
                  <c:v>#N/A</c:v>
                </c:pt>
                <c:pt idx="9130">
                  <c:v>#N/A</c:v>
                </c:pt>
                <c:pt idx="9131">
                  <c:v>#N/A</c:v>
                </c:pt>
                <c:pt idx="9132">
                  <c:v>#N/A</c:v>
                </c:pt>
                <c:pt idx="9133">
                  <c:v>#N/A</c:v>
                </c:pt>
                <c:pt idx="9134">
                  <c:v>#N/A</c:v>
                </c:pt>
                <c:pt idx="9135">
                  <c:v>#N/A</c:v>
                </c:pt>
                <c:pt idx="9136">
                  <c:v>#N/A</c:v>
                </c:pt>
                <c:pt idx="9137">
                  <c:v>#N/A</c:v>
                </c:pt>
                <c:pt idx="9138">
                  <c:v>#N/A</c:v>
                </c:pt>
                <c:pt idx="9139">
                  <c:v>#N/A</c:v>
                </c:pt>
                <c:pt idx="9140">
                  <c:v>3.4684931506849317</c:v>
                </c:pt>
                <c:pt idx="9141">
                  <c:v>#N/A</c:v>
                </c:pt>
                <c:pt idx="9142">
                  <c:v>#N/A</c:v>
                </c:pt>
                <c:pt idx="9143">
                  <c:v>#N/A</c:v>
                </c:pt>
                <c:pt idx="9144">
                  <c:v>#N/A</c:v>
                </c:pt>
                <c:pt idx="9145">
                  <c:v>#N/A</c:v>
                </c:pt>
                <c:pt idx="9146">
                  <c:v>#N/A</c:v>
                </c:pt>
                <c:pt idx="9147">
                  <c:v>#N/A</c:v>
                </c:pt>
                <c:pt idx="9148">
                  <c:v>3.4684931506849317</c:v>
                </c:pt>
                <c:pt idx="9149">
                  <c:v>#N/A</c:v>
                </c:pt>
                <c:pt idx="9150">
                  <c:v>#N/A</c:v>
                </c:pt>
                <c:pt idx="9151">
                  <c:v>#N/A</c:v>
                </c:pt>
                <c:pt idx="9152">
                  <c:v>#N/A</c:v>
                </c:pt>
                <c:pt idx="9153">
                  <c:v>3.4684931506849317</c:v>
                </c:pt>
                <c:pt idx="9154">
                  <c:v>#N/A</c:v>
                </c:pt>
                <c:pt idx="9155">
                  <c:v>3.4684931506849317</c:v>
                </c:pt>
                <c:pt idx="9156">
                  <c:v>#N/A</c:v>
                </c:pt>
                <c:pt idx="9157">
                  <c:v>#N/A</c:v>
                </c:pt>
                <c:pt idx="9158">
                  <c:v>#N/A</c:v>
                </c:pt>
                <c:pt idx="9159">
                  <c:v>3.4684931506849317</c:v>
                </c:pt>
                <c:pt idx="9160">
                  <c:v>#N/A</c:v>
                </c:pt>
                <c:pt idx="9161">
                  <c:v>3.4684931506849317</c:v>
                </c:pt>
                <c:pt idx="9162">
                  <c:v>#N/A</c:v>
                </c:pt>
                <c:pt idx="9163">
                  <c:v>3.4684931506849317</c:v>
                </c:pt>
                <c:pt idx="9164">
                  <c:v>#N/A</c:v>
                </c:pt>
                <c:pt idx="9165">
                  <c:v>3.4684931506849317</c:v>
                </c:pt>
                <c:pt idx="9166">
                  <c:v>#N/A</c:v>
                </c:pt>
                <c:pt idx="9167">
                  <c:v>#N/A</c:v>
                </c:pt>
                <c:pt idx="9168">
                  <c:v>#N/A</c:v>
                </c:pt>
                <c:pt idx="9169">
                  <c:v>3.4684931506849317</c:v>
                </c:pt>
                <c:pt idx="9170">
                  <c:v>#N/A</c:v>
                </c:pt>
                <c:pt idx="9171">
                  <c:v>3.4684931506849317</c:v>
                </c:pt>
                <c:pt idx="9172">
                  <c:v>3.4684931506849317</c:v>
                </c:pt>
                <c:pt idx="9173">
                  <c:v>#N/A</c:v>
                </c:pt>
                <c:pt idx="9174">
                  <c:v>#N/A</c:v>
                </c:pt>
                <c:pt idx="9175">
                  <c:v>#N/A</c:v>
                </c:pt>
                <c:pt idx="9176">
                  <c:v>3.4684931506849317</c:v>
                </c:pt>
                <c:pt idx="9177">
                  <c:v>#N/A</c:v>
                </c:pt>
                <c:pt idx="9178">
                  <c:v>#N/A</c:v>
                </c:pt>
                <c:pt idx="9179">
                  <c:v>3.4684931506849317</c:v>
                </c:pt>
                <c:pt idx="9180">
                  <c:v>#N/A</c:v>
                </c:pt>
                <c:pt idx="9181">
                  <c:v>#N/A</c:v>
                </c:pt>
                <c:pt idx="9182">
                  <c:v>#N/A</c:v>
                </c:pt>
                <c:pt idx="9183">
                  <c:v>#N/A</c:v>
                </c:pt>
                <c:pt idx="9184">
                  <c:v>#N/A</c:v>
                </c:pt>
                <c:pt idx="9185">
                  <c:v>#N/A</c:v>
                </c:pt>
                <c:pt idx="9186">
                  <c:v>#N/A</c:v>
                </c:pt>
                <c:pt idx="9187">
                  <c:v>#N/A</c:v>
                </c:pt>
                <c:pt idx="9188">
                  <c:v>3.4684931506849317</c:v>
                </c:pt>
                <c:pt idx="9189">
                  <c:v>#N/A</c:v>
                </c:pt>
                <c:pt idx="9190">
                  <c:v>#N/A</c:v>
                </c:pt>
                <c:pt idx="9191">
                  <c:v>3.4684931506849317</c:v>
                </c:pt>
                <c:pt idx="9192">
                  <c:v>#N/A</c:v>
                </c:pt>
                <c:pt idx="9193">
                  <c:v>#N/A</c:v>
                </c:pt>
                <c:pt idx="9194">
                  <c:v>#N/A</c:v>
                </c:pt>
                <c:pt idx="9195">
                  <c:v>#N/A</c:v>
                </c:pt>
                <c:pt idx="9196">
                  <c:v>#N/A</c:v>
                </c:pt>
                <c:pt idx="9197">
                  <c:v>#N/A</c:v>
                </c:pt>
                <c:pt idx="9198">
                  <c:v>3.4684931506849317</c:v>
                </c:pt>
                <c:pt idx="9199">
                  <c:v>#N/A</c:v>
                </c:pt>
                <c:pt idx="9200">
                  <c:v>3.4684931506849317</c:v>
                </c:pt>
                <c:pt idx="9201">
                  <c:v>#N/A</c:v>
                </c:pt>
                <c:pt idx="9202">
                  <c:v>3.4684931506849317</c:v>
                </c:pt>
                <c:pt idx="9203">
                  <c:v>#N/A</c:v>
                </c:pt>
                <c:pt idx="9204">
                  <c:v>#N/A</c:v>
                </c:pt>
                <c:pt idx="9205">
                  <c:v>#N/A</c:v>
                </c:pt>
                <c:pt idx="9206">
                  <c:v>#N/A</c:v>
                </c:pt>
                <c:pt idx="9207">
                  <c:v>#N/A</c:v>
                </c:pt>
                <c:pt idx="9208">
                  <c:v>3.4684931506849317</c:v>
                </c:pt>
                <c:pt idx="9209">
                  <c:v>3.4684931506849317</c:v>
                </c:pt>
                <c:pt idx="9210">
                  <c:v>#N/A</c:v>
                </c:pt>
                <c:pt idx="9211">
                  <c:v>#N/A</c:v>
                </c:pt>
                <c:pt idx="9212">
                  <c:v>#N/A</c:v>
                </c:pt>
                <c:pt idx="9213">
                  <c:v>#N/A</c:v>
                </c:pt>
                <c:pt idx="9214">
                  <c:v>#N/A</c:v>
                </c:pt>
                <c:pt idx="9215">
                  <c:v>3.4684931506849317</c:v>
                </c:pt>
                <c:pt idx="9216">
                  <c:v>#N/A</c:v>
                </c:pt>
                <c:pt idx="9217">
                  <c:v>#N/A</c:v>
                </c:pt>
                <c:pt idx="9218">
                  <c:v>#N/A</c:v>
                </c:pt>
                <c:pt idx="9219">
                  <c:v>#N/A</c:v>
                </c:pt>
                <c:pt idx="9220">
                  <c:v>3.473972602739726</c:v>
                </c:pt>
                <c:pt idx="9221">
                  <c:v>3.473972602739726</c:v>
                </c:pt>
                <c:pt idx="9222">
                  <c:v>3.484931506849315</c:v>
                </c:pt>
                <c:pt idx="9223">
                  <c:v>#N/A</c:v>
                </c:pt>
                <c:pt idx="9224">
                  <c:v>#N/A</c:v>
                </c:pt>
                <c:pt idx="9225">
                  <c:v>#N/A</c:v>
                </c:pt>
                <c:pt idx="9226">
                  <c:v>#N/A</c:v>
                </c:pt>
                <c:pt idx="9227">
                  <c:v>#N/A</c:v>
                </c:pt>
                <c:pt idx="9228">
                  <c:v>#N/A</c:v>
                </c:pt>
                <c:pt idx="9229">
                  <c:v>#N/A</c:v>
                </c:pt>
                <c:pt idx="9230">
                  <c:v>3.4904109589041097</c:v>
                </c:pt>
                <c:pt idx="9231">
                  <c:v>3.4904109589041097</c:v>
                </c:pt>
                <c:pt idx="9232">
                  <c:v>3.493150684931507</c:v>
                </c:pt>
                <c:pt idx="9233">
                  <c:v>#N/A</c:v>
                </c:pt>
                <c:pt idx="9234">
                  <c:v>#N/A</c:v>
                </c:pt>
                <c:pt idx="9235">
                  <c:v>#N/A</c:v>
                </c:pt>
                <c:pt idx="9236">
                  <c:v>#N/A</c:v>
                </c:pt>
                <c:pt idx="9237">
                  <c:v>3.504109589041096</c:v>
                </c:pt>
                <c:pt idx="9238">
                  <c:v>#N/A</c:v>
                </c:pt>
                <c:pt idx="9239">
                  <c:v>3.504109589041096</c:v>
                </c:pt>
                <c:pt idx="9240">
                  <c:v>3.506849315068493</c:v>
                </c:pt>
                <c:pt idx="9241">
                  <c:v>#N/A</c:v>
                </c:pt>
                <c:pt idx="9242">
                  <c:v>#N/A</c:v>
                </c:pt>
                <c:pt idx="9243">
                  <c:v>3.506849315068493</c:v>
                </c:pt>
                <c:pt idx="9244">
                  <c:v>3.506849315068493</c:v>
                </c:pt>
                <c:pt idx="9245">
                  <c:v>#N/A</c:v>
                </c:pt>
                <c:pt idx="9246">
                  <c:v>#N/A</c:v>
                </c:pt>
                <c:pt idx="9247">
                  <c:v>3.5095890410958903</c:v>
                </c:pt>
                <c:pt idx="9248">
                  <c:v>#N/A</c:v>
                </c:pt>
                <c:pt idx="9249">
                  <c:v>#N/A</c:v>
                </c:pt>
                <c:pt idx="9250">
                  <c:v>3.5095890410958903</c:v>
                </c:pt>
                <c:pt idx="9251">
                  <c:v>#N/A</c:v>
                </c:pt>
                <c:pt idx="9252">
                  <c:v>3.5095890410958903</c:v>
                </c:pt>
                <c:pt idx="9253">
                  <c:v>#N/A</c:v>
                </c:pt>
                <c:pt idx="9254">
                  <c:v>3.5095890410958903</c:v>
                </c:pt>
                <c:pt idx="9255">
                  <c:v>3.5095890410958903</c:v>
                </c:pt>
                <c:pt idx="9256">
                  <c:v>#N/A</c:v>
                </c:pt>
                <c:pt idx="9257">
                  <c:v>3.5095890410958903</c:v>
                </c:pt>
                <c:pt idx="9258">
                  <c:v>#N/A</c:v>
                </c:pt>
                <c:pt idx="9259">
                  <c:v>3.5095890410958903</c:v>
                </c:pt>
                <c:pt idx="9260">
                  <c:v>3.5095890410958903</c:v>
                </c:pt>
                <c:pt idx="9261">
                  <c:v>#N/A</c:v>
                </c:pt>
                <c:pt idx="9262">
                  <c:v>3.5095890410958903</c:v>
                </c:pt>
                <c:pt idx="9263">
                  <c:v>#N/A</c:v>
                </c:pt>
                <c:pt idx="9264">
                  <c:v>#N/A</c:v>
                </c:pt>
                <c:pt idx="9265">
                  <c:v>3.5095890410958903</c:v>
                </c:pt>
                <c:pt idx="9266">
                  <c:v>#N/A</c:v>
                </c:pt>
                <c:pt idx="9267">
                  <c:v>#N/A</c:v>
                </c:pt>
                <c:pt idx="9268">
                  <c:v>#N/A</c:v>
                </c:pt>
                <c:pt idx="9269">
                  <c:v>3.5095890410958903</c:v>
                </c:pt>
                <c:pt idx="9270">
                  <c:v>3.5095890410958903</c:v>
                </c:pt>
                <c:pt idx="9271">
                  <c:v>3.5095890410958903</c:v>
                </c:pt>
                <c:pt idx="9272">
                  <c:v>3.5095890410958903</c:v>
                </c:pt>
                <c:pt idx="9273">
                  <c:v>3.5095890410958903</c:v>
                </c:pt>
                <c:pt idx="9274">
                  <c:v>3.5095890410958903</c:v>
                </c:pt>
                <c:pt idx="9275">
                  <c:v>3.5095890410958903</c:v>
                </c:pt>
                <c:pt idx="9276">
                  <c:v>#N/A</c:v>
                </c:pt>
                <c:pt idx="9277">
                  <c:v>3.5095890410958903</c:v>
                </c:pt>
                <c:pt idx="9278">
                  <c:v>3.5095890410958903</c:v>
                </c:pt>
                <c:pt idx="9279">
                  <c:v>3.5095890410958903</c:v>
                </c:pt>
                <c:pt idx="9280">
                  <c:v>3.5095890410958903</c:v>
                </c:pt>
                <c:pt idx="9281">
                  <c:v>3.5095890410958903</c:v>
                </c:pt>
                <c:pt idx="9282">
                  <c:v>3.5095890410958903</c:v>
                </c:pt>
                <c:pt idx="9283">
                  <c:v>3.5095890410958903</c:v>
                </c:pt>
                <c:pt idx="9284">
                  <c:v>#N/A</c:v>
                </c:pt>
                <c:pt idx="9285">
                  <c:v>3.5095890410958903</c:v>
                </c:pt>
                <c:pt idx="9286">
                  <c:v>3.5095890410958903</c:v>
                </c:pt>
                <c:pt idx="9287">
                  <c:v>#N/A</c:v>
                </c:pt>
                <c:pt idx="9288">
                  <c:v>#N/A</c:v>
                </c:pt>
                <c:pt idx="9289">
                  <c:v>#N/A</c:v>
                </c:pt>
                <c:pt idx="9290">
                  <c:v>#N/A</c:v>
                </c:pt>
                <c:pt idx="9291">
                  <c:v>#N/A</c:v>
                </c:pt>
                <c:pt idx="9292">
                  <c:v>3.5095890410958903</c:v>
                </c:pt>
                <c:pt idx="9293">
                  <c:v>3.5095890410958903</c:v>
                </c:pt>
                <c:pt idx="9294">
                  <c:v>#N/A</c:v>
                </c:pt>
                <c:pt idx="9295">
                  <c:v>#N/A</c:v>
                </c:pt>
                <c:pt idx="9296">
                  <c:v>#N/A</c:v>
                </c:pt>
                <c:pt idx="9297">
                  <c:v>3.5095890410958903</c:v>
                </c:pt>
                <c:pt idx="9298">
                  <c:v>#N/A</c:v>
                </c:pt>
                <c:pt idx="9299">
                  <c:v>3.5095890410958903</c:v>
                </c:pt>
                <c:pt idx="9300">
                  <c:v>#N/A</c:v>
                </c:pt>
                <c:pt idx="9301">
                  <c:v>3.5095890410958903</c:v>
                </c:pt>
                <c:pt idx="9302">
                  <c:v>3.5095890410958903</c:v>
                </c:pt>
                <c:pt idx="9303">
                  <c:v>3.5095890410958903</c:v>
                </c:pt>
                <c:pt idx="9304">
                  <c:v>3.5095890410958903</c:v>
                </c:pt>
                <c:pt idx="9305">
                  <c:v>#N/A</c:v>
                </c:pt>
                <c:pt idx="9306">
                  <c:v>#N/A</c:v>
                </c:pt>
                <c:pt idx="9307">
                  <c:v>3.5095890410958903</c:v>
                </c:pt>
                <c:pt idx="9308">
                  <c:v>#N/A</c:v>
                </c:pt>
                <c:pt idx="9309">
                  <c:v>3.5095890410958903</c:v>
                </c:pt>
                <c:pt idx="9310">
                  <c:v>3.5095890410958903</c:v>
                </c:pt>
                <c:pt idx="9311">
                  <c:v>#N/A</c:v>
                </c:pt>
                <c:pt idx="9312">
                  <c:v>#N/A</c:v>
                </c:pt>
                <c:pt idx="9313">
                  <c:v>3.5095890410958903</c:v>
                </c:pt>
                <c:pt idx="9314">
                  <c:v>3.5095890410958903</c:v>
                </c:pt>
                <c:pt idx="9315">
                  <c:v>3.5095890410958903</c:v>
                </c:pt>
                <c:pt idx="9316">
                  <c:v>3.5095890410958903</c:v>
                </c:pt>
                <c:pt idx="9317">
                  <c:v>#N/A</c:v>
                </c:pt>
                <c:pt idx="9318">
                  <c:v>3.5095890410958903</c:v>
                </c:pt>
                <c:pt idx="9319">
                  <c:v>3.5095890410958903</c:v>
                </c:pt>
                <c:pt idx="9320">
                  <c:v>#N/A</c:v>
                </c:pt>
                <c:pt idx="9321">
                  <c:v>#N/A</c:v>
                </c:pt>
                <c:pt idx="9322">
                  <c:v>3.5095890410958903</c:v>
                </c:pt>
                <c:pt idx="9323">
                  <c:v>#N/A</c:v>
                </c:pt>
                <c:pt idx="9324">
                  <c:v>3.5095890410958903</c:v>
                </c:pt>
                <c:pt idx="9325">
                  <c:v>3.5095890410958903</c:v>
                </c:pt>
                <c:pt idx="9326">
                  <c:v>3.5095890410958903</c:v>
                </c:pt>
                <c:pt idx="9327">
                  <c:v>3.5095890410958903</c:v>
                </c:pt>
                <c:pt idx="9328">
                  <c:v>#N/A</c:v>
                </c:pt>
                <c:pt idx="9329">
                  <c:v>3.5095890410958903</c:v>
                </c:pt>
                <c:pt idx="9330">
                  <c:v>#N/A</c:v>
                </c:pt>
                <c:pt idx="9331">
                  <c:v>3.5095890410958903</c:v>
                </c:pt>
                <c:pt idx="9332">
                  <c:v>#N/A</c:v>
                </c:pt>
                <c:pt idx="9333">
                  <c:v>#N/A</c:v>
                </c:pt>
                <c:pt idx="9334">
                  <c:v>#N/A</c:v>
                </c:pt>
                <c:pt idx="9335">
                  <c:v>3.5095890410958903</c:v>
                </c:pt>
                <c:pt idx="9336">
                  <c:v>3.5095890410958903</c:v>
                </c:pt>
                <c:pt idx="9337">
                  <c:v>#N/A</c:v>
                </c:pt>
                <c:pt idx="9338">
                  <c:v>3.5095890410958903</c:v>
                </c:pt>
                <c:pt idx="9339">
                  <c:v>#N/A</c:v>
                </c:pt>
                <c:pt idx="9340">
                  <c:v>#N/A</c:v>
                </c:pt>
                <c:pt idx="9341">
                  <c:v>#N/A</c:v>
                </c:pt>
                <c:pt idx="9342">
                  <c:v>3.5095890410958903</c:v>
                </c:pt>
                <c:pt idx="9343">
                  <c:v>#N/A</c:v>
                </c:pt>
                <c:pt idx="9344">
                  <c:v>#N/A</c:v>
                </c:pt>
                <c:pt idx="9345">
                  <c:v>#N/A</c:v>
                </c:pt>
                <c:pt idx="9346">
                  <c:v>3.5095890410958903</c:v>
                </c:pt>
                <c:pt idx="9347">
                  <c:v>3.5095890410958903</c:v>
                </c:pt>
                <c:pt idx="9348">
                  <c:v>3.5095890410958903</c:v>
                </c:pt>
                <c:pt idx="9349">
                  <c:v>3.5095890410958903</c:v>
                </c:pt>
                <c:pt idx="9350">
                  <c:v>#N/A</c:v>
                </c:pt>
                <c:pt idx="9351">
                  <c:v>#N/A</c:v>
                </c:pt>
                <c:pt idx="9352">
                  <c:v>#N/A</c:v>
                </c:pt>
                <c:pt idx="9353">
                  <c:v>#N/A</c:v>
                </c:pt>
                <c:pt idx="9354">
                  <c:v>3.5095890410958903</c:v>
                </c:pt>
                <c:pt idx="9355">
                  <c:v>#N/A</c:v>
                </c:pt>
                <c:pt idx="9356">
                  <c:v>3.5095890410958903</c:v>
                </c:pt>
                <c:pt idx="9357">
                  <c:v>#N/A</c:v>
                </c:pt>
                <c:pt idx="9358">
                  <c:v>3.5095890410958903</c:v>
                </c:pt>
                <c:pt idx="9359">
                  <c:v>3.5095890410958903</c:v>
                </c:pt>
                <c:pt idx="9360">
                  <c:v>#N/A</c:v>
                </c:pt>
                <c:pt idx="9361">
                  <c:v>#N/A</c:v>
                </c:pt>
                <c:pt idx="9362">
                  <c:v>#N/A</c:v>
                </c:pt>
                <c:pt idx="9363">
                  <c:v>3.5095890410958903</c:v>
                </c:pt>
                <c:pt idx="9364">
                  <c:v>#N/A</c:v>
                </c:pt>
                <c:pt idx="9365">
                  <c:v>3.5095890410958903</c:v>
                </c:pt>
                <c:pt idx="9366">
                  <c:v>3.5095890410958903</c:v>
                </c:pt>
                <c:pt idx="9367">
                  <c:v>3.5095890410958903</c:v>
                </c:pt>
                <c:pt idx="9368">
                  <c:v>#N/A</c:v>
                </c:pt>
                <c:pt idx="9369">
                  <c:v>3.5095890410958903</c:v>
                </c:pt>
                <c:pt idx="9370">
                  <c:v>3.5095890410958903</c:v>
                </c:pt>
                <c:pt idx="9371">
                  <c:v>3.5095890410958903</c:v>
                </c:pt>
                <c:pt idx="9372">
                  <c:v>3.5095890410958903</c:v>
                </c:pt>
                <c:pt idx="9373">
                  <c:v>#N/A</c:v>
                </c:pt>
                <c:pt idx="9374">
                  <c:v>3.5095890410958903</c:v>
                </c:pt>
                <c:pt idx="9375">
                  <c:v>3.5095890410958903</c:v>
                </c:pt>
                <c:pt idx="9376">
                  <c:v>3.5095890410958903</c:v>
                </c:pt>
                <c:pt idx="9377">
                  <c:v>3.5095890410958903</c:v>
                </c:pt>
                <c:pt idx="9378">
                  <c:v>#N/A</c:v>
                </c:pt>
                <c:pt idx="9379">
                  <c:v>3.5095890410958903</c:v>
                </c:pt>
                <c:pt idx="9380">
                  <c:v>#N/A</c:v>
                </c:pt>
                <c:pt idx="9381">
                  <c:v>3.5095890410958903</c:v>
                </c:pt>
                <c:pt idx="9382">
                  <c:v>3.5095890410958903</c:v>
                </c:pt>
                <c:pt idx="9383">
                  <c:v>3.5095890410958903</c:v>
                </c:pt>
                <c:pt idx="9384">
                  <c:v>3.5095890410958903</c:v>
                </c:pt>
                <c:pt idx="9385">
                  <c:v>#N/A</c:v>
                </c:pt>
                <c:pt idx="9386">
                  <c:v>3.5095890410958903</c:v>
                </c:pt>
                <c:pt idx="9387">
                  <c:v>3.5095890410958903</c:v>
                </c:pt>
                <c:pt idx="9388">
                  <c:v>3.5095890410958903</c:v>
                </c:pt>
                <c:pt idx="9389">
                  <c:v>3.5095890410958903</c:v>
                </c:pt>
                <c:pt idx="9390">
                  <c:v>3.5095890410958903</c:v>
                </c:pt>
                <c:pt idx="9391">
                  <c:v>3.5095890410958903</c:v>
                </c:pt>
                <c:pt idx="9392">
                  <c:v>3.5095890410958903</c:v>
                </c:pt>
                <c:pt idx="9393">
                  <c:v>#N/A</c:v>
                </c:pt>
                <c:pt idx="9394">
                  <c:v>3.5095890410958903</c:v>
                </c:pt>
                <c:pt idx="9395">
                  <c:v>#N/A</c:v>
                </c:pt>
                <c:pt idx="9396">
                  <c:v>3.5095890410958903</c:v>
                </c:pt>
                <c:pt idx="9397">
                  <c:v>3.5095890410958903</c:v>
                </c:pt>
                <c:pt idx="9398">
                  <c:v>#N/A</c:v>
                </c:pt>
                <c:pt idx="9399">
                  <c:v>3.5095890410958903</c:v>
                </c:pt>
                <c:pt idx="9400">
                  <c:v>3.5095890410958903</c:v>
                </c:pt>
                <c:pt idx="9401">
                  <c:v>#N/A</c:v>
                </c:pt>
                <c:pt idx="9402">
                  <c:v>#N/A</c:v>
                </c:pt>
                <c:pt idx="9403">
                  <c:v>#N/A</c:v>
                </c:pt>
                <c:pt idx="9404">
                  <c:v>3.5095890410958903</c:v>
                </c:pt>
                <c:pt idx="9405">
                  <c:v>#N/A</c:v>
                </c:pt>
                <c:pt idx="9406">
                  <c:v>3.5095890410958903</c:v>
                </c:pt>
                <c:pt idx="9407">
                  <c:v>3.5095890410958903</c:v>
                </c:pt>
                <c:pt idx="9408">
                  <c:v>3.5095890410958903</c:v>
                </c:pt>
                <c:pt idx="9409">
                  <c:v>3.5095890410958903</c:v>
                </c:pt>
                <c:pt idx="9410">
                  <c:v>3.5095890410958903</c:v>
                </c:pt>
                <c:pt idx="9411">
                  <c:v>3.5095890410958903</c:v>
                </c:pt>
                <c:pt idx="9412">
                  <c:v>#N/A</c:v>
                </c:pt>
                <c:pt idx="9413">
                  <c:v>3.5095890410958903</c:v>
                </c:pt>
                <c:pt idx="9414">
                  <c:v>3.5095890410958903</c:v>
                </c:pt>
                <c:pt idx="9415">
                  <c:v>3.5095890410958903</c:v>
                </c:pt>
                <c:pt idx="9416">
                  <c:v>3.5095890410958903</c:v>
                </c:pt>
                <c:pt idx="9417">
                  <c:v>#N/A</c:v>
                </c:pt>
                <c:pt idx="9418">
                  <c:v>3.5095890410958903</c:v>
                </c:pt>
                <c:pt idx="9419">
                  <c:v>#N/A</c:v>
                </c:pt>
                <c:pt idx="9420">
                  <c:v>3.5095890410958903</c:v>
                </c:pt>
                <c:pt idx="9421">
                  <c:v>3.5095890410958903</c:v>
                </c:pt>
                <c:pt idx="9422">
                  <c:v>3.5095890410958903</c:v>
                </c:pt>
                <c:pt idx="9423">
                  <c:v>3.5095890410958903</c:v>
                </c:pt>
                <c:pt idx="9424">
                  <c:v>3.5095890410958903</c:v>
                </c:pt>
                <c:pt idx="9425">
                  <c:v>3.5095890410958903</c:v>
                </c:pt>
                <c:pt idx="9426">
                  <c:v>3.5095890410958903</c:v>
                </c:pt>
                <c:pt idx="9427">
                  <c:v>3.5095890410958903</c:v>
                </c:pt>
                <c:pt idx="9428">
                  <c:v>3.5095890410958903</c:v>
                </c:pt>
                <c:pt idx="9429">
                  <c:v>3.5095890410958903</c:v>
                </c:pt>
                <c:pt idx="9430">
                  <c:v>3.5095890410958903</c:v>
                </c:pt>
                <c:pt idx="9431">
                  <c:v>3.5095890410958903</c:v>
                </c:pt>
                <c:pt idx="9432">
                  <c:v>#N/A</c:v>
                </c:pt>
                <c:pt idx="9433">
                  <c:v>3.5095890410958903</c:v>
                </c:pt>
                <c:pt idx="9434">
                  <c:v>#N/A</c:v>
                </c:pt>
                <c:pt idx="9435">
                  <c:v>3.5095890410958903</c:v>
                </c:pt>
                <c:pt idx="9436">
                  <c:v>3.5095890410958903</c:v>
                </c:pt>
                <c:pt idx="9437">
                  <c:v>3.5095890410958903</c:v>
                </c:pt>
                <c:pt idx="9438">
                  <c:v>3.5095890410958903</c:v>
                </c:pt>
                <c:pt idx="9439">
                  <c:v>#N/A</c:v>
                </c:pt>
                <c:pt idx="9440">
                  <c:v>#N/A</c:v>
                </c:pt>
                <c:pt idx="9441">
                  <c:v>#N/A</c:v>
                </c:pt>
                <c:pt idx="9442">
                  <c:v>3.5095890410958903</c:v>
                </c:pt>
                <c:pt idx="9443">
                  <c:v>#N/A</c:v>
                </c:pt>
                <c:pt idx="9444">
                  <c:v>#N/A</c:v>
                </c:pt>
                <c:pt idx="9445">
                  <c:v>3.5095890410958903</c:v>
                </c:pt>
                <c:pt idx="9446">
                  <c:v>#N/A</c:v>
                </c:pt>
                <c:pt idx="9447">
                  <c:v>#N/A</c:v>
                </c:pt>
                <c:pt idx="9448">
                  <c:v>#N/A</c:v>
                </c:pt>
                <c:pt idx="9449">
                  <c:v>#N/A</c:v>
                </c:pt>
                <c:pt idx="9450">
                  <c:v>#N/A</c:v>
                </c:pt>
                <c:pt idx="9451">
                  <c:v>3.5095890410958903</c:v>
                </c:pt>
                <c:pt idx="9452">
                  <c:v>#N/A</c:v>
                </c:pt>
                <c:pt idx="9453">
                  <c:v>#N/A</c:v>
                </c:pt>
                <c:pt idx="9454">
                  <c:v>#N/A</c:v>
                </c:pt>
                <c:pt idx="9455">
                  <c:v>3.5095890410958903</c:v>
                </c:pt>
                <c:pt idx="9456">
                  <c:v>#N/A</c:v>
                </c:pt>
                <c:pt idx="9457">
                  <c:v>3.5095890410958903</c:v>
                </c:pt>
                <c:pt idx="9458">
                  <c:v>#N/A</c:v>
                </c:pt>
                <c:pt idx="9459">
                  <c:v>3.5095890410958903</c:v>
                </c:pt>
                <c:pt idx="9460">
                  <c:v>3.5095890410958903</c:v>
                </c:pt>
                <c:pt idx="9461">
                  <c:v>3.5095890410958903</c:v>
                </c:pt>
                <c:pt idx="9462">
                  <c:v>#N/A</c:v>
                </c:pt>
                <c:pt idx="9463">
                  <c:v>3.5095890410958903</c:v>
                </c:pt>
                <c:pt idx="9464">
                  <c:v>3.5095890410958903</c:v>
                </c:pt>
                <c:pt idx="9465">
                  <c:v>3.5095890410958903</c:v>
                </c:pt>
                <c:pt idx="9466">
                  <c:v>3.5095890410958903</c:v>
                </c:pt>
                <c:pt idx="9467">
                  <c:v>3.5095890410958903</c:v>
                </c:pt>
                <c:pt idx="9468">
                  <c:v>#N/A</c:v>
                </c:pt>
                <c:pt idx="9469">
                  <c:v>#N/A</c:v>
                </c:pt>
                <c:pt idx="9470">
                  <c:v>#N/A</c:v>
                </c:pt>
                <c:pt idx="9471">
                  <c:v>3.5123287671232877</c:v>
                </c:pt>
                <c:pt idx="9472">
                  <c:v>3.5123287671232877</c:v>
                </c:pt>
                <c:pt idx="9473">
                  <c:v>3.5123287671232877</c:v>
                </c:pt>
                <c:pt idx="9474">
                  <c:v>3.5123287671232877</c:v>
                </c:pt>
                <c:pt idx="9475">
                  <c:v>#N/A</c:v>
                </c:pt>
                <c:pt idx="9476">
                  <c:v>3.5123287671232877</c:v>
                </c:pt>
                <c:pt idx="9477">
                  <c:v>3.5123287671232877</c:v>
                </c:pt>
                <c:pt idx="9478">
                  <c:v>#N/A</c:v>
                </c:pt>
                <c:pt idx="9479">
                  <c:v>3.5123287671232877</c:v>
                </c:pt>
                <c:pt idx="9480">
                  <c:v>3.5123287671232877</c:v>
                </c:pt>
                <c:pt idx="9481">
                  <c:v>3.5123287671232877</c:v>
                </c:pt>
                <c:pt idx="9482">
                  <c:v>3.5123287671232877</c:v>
                </c:pt>
                <c:pt idx="9483">
                  <c:v>3.5123287671232877</c:v>
                </c:pt>
                <c:pt idx="9484">
                  <c:v>3.5123287671232877</c:v>
                </c:pt>
                <c:pt idx="9485">
                  <c:v>3.5123287671232877</c:v>
                </c:pt>
                <c:pt idx="9486">
                  <c:v>#N/A</c:v>
                </c:pt>
                <c:pt idx="9487">
                  <c:v>3.5123287671232877</c:v>
                </c:pt>
                <c:pt idx="9488">
                  <c:v>3.5123287671232877</c:v>
                </c:pt>
                <c:pt idx="9489">
                  <c:v>3.5123287671232877</c:v>
                </c:pt>
                <c:pt idx="9490">
                  <c:v>#N/A</c:v>
                </c:pt>
                <c:pt idx="9491">
                  <c:v>3.5123287671232877</c:v>
                </c:pt>
                <c:pt idx="9492">
                  <c:v>#N/A</c:v>
                </c:pt>
                <c:pt idx="9493">
                  <c:v>#N/A</c:v>
                </c:pt>
                <c:pt idx="9494">
                  <c:v>#N/A</c:v>
                </c:pt>
                <c:pt idx="9495">
                  <c:v>#N/A</c:v>
                </c:pt>
                <c:pt idx="9496">
                  <c:v>#N/A</c:v>
                </c:pt>
                <c:pt idx="9497">
                  <c:v>3.5123287671232877</c:v>
                </c:pt>
                <c:pt idx="9498">
                  <c:v>#N/A</c:v>
                </c:pt>
                <c:pt idx="9499">
                  <c:v>3.5123287671232877</c:v>
                </c:pt>
                <c:pt idx="9500">
                  <c:v>3.5123287671232877</c:v>
                </c:pt>
                <c:pt idx="9501">
                  <c:v>#N/A</c:v>
                </c:pt>
                <c:pt idx="9502">
                  <c:v>#N/A</c:v>
                </c:pt>
                <c:pt idx="9503">
                  <c:v>#N/A</c:v>
                </c:pt>
                <c:pt idx="9504">
                  <c:v>3.5123287671232877</c:v>
                </c:pt>
                <c:pt idx="9505">
                  <c:v>3.5123287671232877</c:v>
                </c:pt>
                <c:pt idx="9506">
                  <c:v>#N/A</c:v>
                </c:pt>
                <c:pt idx="9507">
                  <c:v>3.5123287671232877</c:v>
                </c:pt>
                <c:pt idx="9508">
                  <c:v>3.5123287671232877</c:v>
                </c:pt>
                <c:pt idx="9509">
                  <c:v>3.5123287671232877</c:v>
                </c:pt>
                <c:pt idx="9510">
                  <c:v>3.5123287671232877</c:v>
                </c:pt>
                <c:pt idx="9511">
                  <c:v>3.5123287671232877</c:v>
                </c:pt>
                <c:pt idx="9512">
                  <c:v>3.5123287671232877</c:v>
                </c:pt>
                <c:pt idx="9513">
                  <c:v>3.5123287671232877</c:v>
                </c:pt>
                <c:pt idx="9514">
                  <c:v>#N/A</c:v>
                </c:pt>
                <c:pt idx="9515">
                  <c:v>3.5123287671232877</c:v>
                </c:pt>
                <c:pt idx="9516">
                  <c:v>#N/A</c:v>
                </c:pt>
                <c:pt idx="9517">
                  <c:v>3.5123287671232877</c:v>
                </c:pt>
                <c:pt idx="9518">
                  <c:v>3.5123287671232877</c:v>
                </c:pt>
                <c:pt idx="9519">
                  <c:v>#N/A</c:v>
                </c:pt>
                <c:pt idx="9520">
                  <c:v>#N/A</c:v>
                </c:pt>
                <c:pt idx="9521">
                  <c:v>3.5123287671232877</c:v>
                </c:pt>
                <c:pt idx="9522">
                  <c:v>#N/A</c:v>
                </c:pt>
                <c:pt idx="9523">
                  <c:v>3.5123287671232877</c:v>
                </c:pt>
                <c:pt idx="9524">
                  <c:v>#N/A</c:v>
                </c:pt>
                <c:pt idx="9525">
                  <c:v>#N/A</c:v>
                </c:pt>
                <c:pt idx="9526">
                  <c:v>3.5123287671232877</c:v>
                </c:pt>
                <c:pt idx="9527">
                  <c:v>3.5123287671232877</c:v>
                </c:pt>
                <c:pt idx="9528">
                  <c:v>3.5123287671232877</c:v>
                </c:pt>
                <c:pt idx="9529">
                  <c:v>#N/A</c:v>
                </c:pt>
                <c:pt idx="9530">
                  <c:v>3.5123287671232877</c:v>
                </c:pt>
                <c:pt idx="9531">
                  <c:v>#N/A</c:v>
                </c:pt>
                <c:pt idx="9532">
                  <c:v>#N/A</c:v>
                </c:pt>
                <c:pt idx="9533">
                  <c:v>#N/A</c:v>
                </c:pt>
                <c:pt idx="9534">
                  <c:v>3.5123287671232877</c:v>
                </c:pt>
                <c:pt idx="9535">
                  <c:v>3.5123287671232877</c:v>
                </c:pt>
                <c:pt idx="9536">
                  <c:v>3.5123287671232877</c:v>
                </c:pt>
                <c:pt idx="9537">
                  <c:v>#N/A</c:v>
                </c:pt>
                <c:pt idx="9538">
                  <c:v>3.5123287671232877</c:v>
                </c:pt>
                <c:pt idx="9539">
                  <c:v>3.5123287671232877</c:v>
                </c:pt>
                <c:pt idx="9540">
                  <c:v>3.5123287671232877</c:v>
                </c:pt>
                <c:pt idx="9541">
                  <c:v>3.5123287671232877</c:v>
                </c:pt>
                <c:pt idx="9542">
                  <c:v>3.5123287671232877</c:v>
                </c:pt>
                <c:pt idx="9543">
                  <c:v>3.515068493150685</c:v>
                </c:pt>
                <c:pt idx="9544">
                  <c:v>#N/A</c:v>
                </c:pt>
                <c:pt idx="9545">
                  <c:v>#N/A</c:v>
                </c:pt>
                <c:pt idx="9546">
                  <c:v>3.515068493150685</c:v>
                </c:pt>
                <c:pt idx="9547">
                  <c:v>#N/A</c:v>
                </c:pt>
                <c:pt idx="9548">
                  <c:v>#N/A</c:v>
                </c:pt>
                <c:pt idx="9549">
                  <c:v>#N/A</c:v>
                </c:pt>
                <c:pt idx="9550">
                  <c:v>#N/A</c:v>
                </c:pt>
                <c:pt idx="9551">
                  <c:v>3.515068493150685</c:v>
                </c:pt>
                <c:pt idx="9552">
                  <c:v>3.515068493150685</c:v>
                </c:pt>
                <c:pt idx="9553">
                  <c:v>3.515068493150685</c:v>
                </c:pt>
                <c:pt idx="9554">
                  <c:v>#N/A</c:v>
                </c:pt>
                <c:pt idx="9555">
                  <c:v>3.515068493150685</c:v>
                </c:pt>
                <c:pt idx="9556">
                  <c:v>3.515068493150685</c:v>
                </c:pt>
                <c:pt idx="9557">
                  <c:v>#N/A</c:v>
                </c:pt>
                <c:pt idx="9558">
                  <c:v>3.515068493150685</c:v>
                </c:pt>
                <c:pt idx="9559">
                  <c:v>3.5232876712328767</c:v>
                </c:pt>
                <c:pt idx="9560">
                  <c:v>3.5232876712328767</c:v>
                </c:pt>
                <c:pt idx="9561">
                  <c:v>3.5232876712328767</c:v>
                </c:pt>
                <c:pt idx="9562">
                  <c:v>#N/A</c:v>
                </c:pt>
                <c:pt idx="9563">
                  <c:v>#N/A</c:v>
                </c:pt>
                <c:pt idx="9564">
                  <c:v>#N/A</c:v>
                </c:pt>
                <c:pt idx="9565">
                  <c:v>#N/A</c:v>
                </c:pt>
                <c:pt idx="9566">
                  <c:v>#N/A</c:v>
                </c:pt>
                <c:pt idx="9567">
                  <c:v>3.5232876712328767</c:v>
                </c:pt>
                <c:pt idx="9568">
                  <c:v>3.5232876712328767</c:v>
                </c:pt>
                <c:pt idx="9569">
                  <c:v>#N/A</c:v>
                </c:pt>
                <c:pt idx="9570">
                  <c:v>3.5232876712328767</c:v>
                </c:pt>
                <c:pt idx="9571">
                  <c:v>#N/A</c:v>
                </c:pt>
                <c:pt idx="9572">
                  <c:v>#N/A</c:v>
                </c:pt>
                <c:pt idx="9573">
                  <c:v>#N/A</c:v>
                </c:pt>
                <c:pt idx="9574">
                  <c:v>3.5232876712328767</c:v>
                </c:pt>
                <c:pt idx="9575">
                  <c:v>#N/A</c:v>
                </c:pt>
                <c:pt idx="9576">
                  <c:v>#N/A</c:v>
                </c:pt>
                <c:pt idx="9577">
                  <c:v>#N/A</c:v>
                </c:pt>
                <c:pt idx="9578">
                  <c:v>#N/A</c:v>
                </c:pt>
                <c:pt idx="9579">
                  <c:v>#N/A</c:v>
                </c:pt>
                <c:pt idx="9580">
                  <c:v>3.5232876712328767</c:v>
                </c:pt>
                <c:pt idx="9581">
                  <c:v>3.5232876712328767</c:v>
                </c:pt>
                <c:pt idx="9582">
                  <c:v>3.5232876712328767</c:v>
                </c:pt>
                <c:pt idx="9583">
                  <c:v>#N/A</c:v>
                </c:pt>
                <c:pt idx="9584">
                  <c:v>#N/A</c:v>
                </c:pt>
                <c:pt idx="9585">
                  <c:v>3.526027397260274</c:v>
                </c:pt>
                <c:pt idx="9586">
                  <c:v>#N/A</c:v>
                </c:pt>
                <c:pt idx="9587">
                  <c:v>#N/A</c:v>
                </c:pt>
                <c:pt idx="9588">
                  <c:v>3.526027397260274</c:v>
                </c:pt>
                <c:pt idx="9589">
                  <c:v>#N/A</c:v>
                </c:pt>
                <c:pt idx="9590">
                  <c:v>#N/A</c:v>
                </c:pt>
                <c:pt idx="9591">
                  <c:v>#N/A</c:v>
                </c:pt>
                <c:pt idx="9592">
                  <c:v>#N/A</c:v>
                </c:pt>
                <c:pt idx="9593">
                  <c:v>#N/A</c:v>
                </c:pt>
                <c:pt idx="9594">
                  <c:v>3.526027397260274</c:v>
                </c:pt>
                <c:pt idx="9595">
                  <c:v>#N/A</c:v>
                </c:pt>
                <c:pt idx="9596">
                  <c:v>#N/A</c:v>
                </c:pt>
                <c:pt idx="9597">
                  <c:v>3.526027397260274</c:v>
                </c:pt>
                <c:pt idx="9598">
                  <c:v>3.526027397260274</c:v>
                </c:pt>
                <c:pt idx="9599">
                  <c:v>3.526027397260274</c:v>
                </c:pt>
                <c:pt idx="9600">
                  <c:v>#N/A</c:v>
                </c:pt>
                <c:pt idx="9601">
                  <c:v>3.5287671232876714</c:v>
                </c:pt>
                <c:pt idx="9602">
                  <c:v>#N/A</c:v>
                </c:pt>
                <c:pt idx="9603">
                  <c:v>#N/A</c:v>
                </c:pt>
                <c:pt idx="9604">
                  <c:v>#N/A</c:v>
                </c:pt>
                <c:pt idx="9605">
                  <c:v>#N/A</c:v>
                </c:pt>
                <c:pt idx="9606">
                  <c:v>#N/A</c:v>
                </c:pt>
                <c:pt idx="9607">
                  <c:v>#N/A</c:v>
                </c:pt>
                <c:pt idx="9608">
                  <c:v>#N/A</c:v>
                </c:pt>
                <c:pt idx="9609">
                  <c:v>#N/A</c:v>
                </c:pt>
                <c:pt idx="9610">
                  <c:v>#N/A</c:v>
                </c:pt>
                <c:pt idx="9611">
                  <c:v>#N/A</c:v>
                </c:pt>
                <c:pt idx="9612">
                  <c:v>#N/A</c:v>
                </c:pt>
                <c:pt idx="9613">
                  <c:v>3.5287671232876714</c:v>
                </c:pt>
                <c:pt idx="9614">
                  <c:v>3.5287671232876714</c:v>
                </c:pt>
                <c:pt idx="9615">
                  <c:v>#N/A</c:v>
                </c:pt>
                <c:pt idx="9616">
                  <c:v>#N/A</c:v>
                </c:pt>
                <c:pt idx="9617">
                  <c:v>#N/A</c:v>
                </c:pt>
                <c:pt idx="9618">
                  <c:v>3.5315068493150683</c:v>
                </c:pt>
                <c:pt idx="9619">
                  <c:v>#N/A</c:v>
                </c:pt>
                <c:pt idx="9620">
                  <c:v>#N/A</c:v>
                </c:pt>
                <c:pt idx="9621">
                  <c:v>#N/A</c:v>
                </c:pt>
                <c:pt idx="9622">
                  <c:v>#N/A</c:v>
                </c:pt>
                <c:pt idx="9623">
                  <c:v>#N/A</c:v>
                </c:pt>
                <c:pt idx="9624">
                  <c:v>3.5315068493150683</c:v>
                </c:pt>
                <c:pt idx="9625">
                  <c:v>#N/A</c:v>
                </c:pt>
                <c:pt idx="9626">
                  <c:v>#N/A</c:v>
                </c:pt>
                <c:pt idx="9627">
                  <c:v>3.5315068493150683</c:v>
                </c:pt>
                <c:pt idx="9628">
                  <c:v>3.5315068493150683</c:v>
                </c:pt>
                <c:pt idx="9629">
                  <c:v>#N/A</c:v>
                </c:pt>
                <c:pt idx="9630">
                  <c:v>#N/A</c:v>
                </c:pt>
                <c:pt idx="9631">
                  <c:v>#N/A</c:v>
                </c:pt>
                <c:pt idx="9632">
                  <c:v>3.5315068493150683</c:v>
                </c:pt>
                <c:pt idx="9633">
                  <c:v>#N/A</c:v>
                </c:pt>
                <c:pt idx="9634">
                  <c:v>#N/A</c:v>
                </c:pt>
                <c:pt idx="9635">
                  <c:v>3.5315068493150683</c:v>
                </c:pt>
                <c:pt idx="9636">
                  <c:v>#N/A</c:v>
                </c:pt>
                <c:pt idx="9637">
                  <c:v>#N/A</c:v>
                </c:pt>
                <c:pt idx="9638">
                  <c:v>#N/A</c:v>
                </c:pt>
                <c:pt idx="9639">
                  <c:v>3.5342465753424657</c:v>
                </c:pt>
                <c:pt idx="9640">
                  <c:v>#N/A</c:v>
                </c:pt>
                <c:pt idx="9641">
                  <c:v>#N/A</c:v>
                </c:pt>
                <c:pt idx="9642">
                  <c:v>#N/A</c:v>
                </c:pt>
                <c:pt idx="9643">
                  <c:v>3.5342465753424657</c:v>
                </c:pt>
                <c:pt idx="9644">
                  <c:v>3.5342465753424657</c:v>
                </c:pt>
                <c:pt idx="9645">
                  <c:v>#N/A</c:v>
                </c:pt>
                <c:pt idx="9646">
                  <c:v>3.5342465753424657</c:v>
                </c:pt>
                <c:pt idx="9647">
                  <c:v>#N/A</c:v>
                </c:pt>
                <c:pt idx="9648">
                  <c:v>#N/A</c:v>
                </c:pt>
                <c:pt idx="9649">
                  <c:v>#N/A</c:v>
                </c:pt>
                <c:pt idx="9650">
                  <c:v>#N/A</c:v>
                </c:pt>
                <c:pt idx="9651">
                  <c:v>#N/A</c:v>
                </c:pt>
                <c:pt idx="9652">
                  <c:v>#N/A</c:v>
                </c:pt>
                <c:pt idx="9653">
                  <c:v>3.5342465753424657</c:v>
                </c:pt>
                <c:pt idx="9654">
                  <c:v>#N/A</c:v>
                </c:pt>
                <c:pt idx="9655">
                  <c:v>3.5342465753424657</c:v>
                </c:pt>
                <c:pt idx="9656">
                  <c:v>#N/A</c:v>
                </c:pt>
                <c:pt idx="9657">
                  <c:v>3.5342465753424657</c:v>
                </c:pt>
                <c:pt idx="9658">
                  <c:v>3.5424657534246577</c:v>
                </c:pt>
                <c:pt idx="9659">
                  <c:v>#N/A</c:v>
                </c:pt>
                <c:pt idx="9660">
                  <c:v>3.5424657534246577</c:v>
                </c:pt>
                <c:pt idx="9661">
                  <c:v>3.5424657534246577</c:v>
                </c:pt>
                <c:pt idx="9662">
                  <c:v>#N/A</c:v>
                </c:pt>
                <c:pt idx="9663">
                  <c:v>3.5424657534246577</c:v>
                </c:pt>
                <c:pt idx="9664">
                  <c:v>3.5424657534246577</c:v>
                </c:pt>
                <c:pt idx="9665">
                  <c:v>#N/A</c:v>
                </c:pt>
                <c:pt idx="9666">
                  <c:v>#N/A</c:v>
                </c:pt>
                <c:pt idx="9667">
                  <c:v>#N/A</c:v>
                </c:pt>
                <c:pt idx="9668">
                  <c:v>3.5424657534246577</c:v>
                </c:pt>
                <c:pt idx="9669">
                  <c:v>#N/A</c:v>
                </c:pt>
                <c:pt idx="9670">
                  <c:v>#N/A</c:v>
                </c:pt>
                <c:pt idx="9671">
                  <c:v>3.5452054794520547</c:v>
                </c:pt>
                <c:pt idx="9672">
                  <c:v>#N/A</c:v>
                </c:pt>
                <c:pt idx="9673">
                  <c:v>3.5452054794520547</c:v>
                </c:pt>
                <c:pt idx="9674">
                  <c:v>3.5452054794520547</c:v>
                </c:pt>
                <c:pt idx="9675">
                  <c:v>3.5452054794520547</c:v>
                </c:pt>
                <c:pt idx="9676">
                  <c:v>3.5452054794520547</c:v>
                </c:pt>
                <c:pt idx="9677">
                  <c:v>3.5452054794520547</c:v>
                </c:pt>
                <c:pt idx="9678">
                  <c:v>3.5452054794520547</c:v>
                </c:pt>
                <c:pt idx="9679">
                  <c:v>3.5452054794520547</c:v>
                </c:pt>
                <c:pt idx="9680">
                  <c:v>#N/A</c:v>
                </c:pt>
                <c:pt idx="9681">
                  <c:v>3.5452054794520547</c:v>
                </c:pt>
                <c:pt idx="9682">
                  <c:v>#N/A</c:v>
                </c:pt>
                <c:pt idx="9683">
                  <c:v>#N/A</c:v>
                </c:pt>
                <c:pt idx="9684">
                  <c:v>#N/A</c:v>
                </c:pt>
                <c:pt idx="9685">
                  <c:v>3.547945205479452</c:v>
                </c:pt>
                <c:pt idx="9686">
                  <c:v>3.547945205479452</c:v>
                </c:pt>
                <c:pt idx="9687">
                  <c:v>3.547945205479452</c:v>
                </c:pt>
                <c:pt idx="9688">
                  <c:v>3.547945205479452</c:v>
                </c:pt>
                <c:pt idx="9689">
                  <c:v>3.5506849315068494</c:v>
                </c:pt>
                <c:pt idx="9690">
                  <c:v>3.5506849315068494</c:v>
                </c:pt>
                <c:pt idx="9691">
                  <c:v>3.5506849315068494</c:v>
                </c:pt>
                <c:pt idx="9692">
                  <c:v>3.5506849315068494</c:v>
                </c:pt>
                <c:pt idx="9693">
                  <c:v>#N/A</c:v>
                </c:pt>
                <c:pt idx="9694">
                  <c:v>#N/A</c:v>
                </c:pt>
                <c:pt idx="9695">
                  <c:v>#N/A</c:v>
                </c:pt>
                <c:pt idx="9696">
                  <c:v>#N/A</c:v>
                </c:pt>
                <c:pt idx="9697">
                  <c:v>#N/A</c:v>
                </c:pt>
                <c:pt idx="9698">
                  <c:v>#N/A</c:v>
                </c:pt>
                <c:pt idx="9699">
                  <c:v>3.5506849315068494</c:v>
                </c:pt>
                <c:pt idx="9700">
                  <c:v>#N/A</c:v>
                </c:pt>
                <c:pt idx="9701">
                  <c:v>3.5506849315068494</c:v>
                </c:pt>
                <c:pt idx="9702">
                  <c:v>3.5506849315068494</c:v>
                </c:pt>
                <c:pt idx="9703">
                  <c:v>3.5506849315068494</c:v>
                </c:pt>
                <c:pt idx="9704">
                  <c:v>3.5506849315068494</c:v>
                </c:pt>
                <c:pt idx="9705">
                  <c:v>3.5506849315068494</c:v>
                </c:pt>
                <c:pt idx="9706">
                  <c:v>3.5506849315068494</c:v>
                </c:pt>
                <c:pt idx="9707">
                  <c:v>#N/A</c:v>
                </c:pt>
                <c:pt idx="9708">
                  <c:v>#N/A</c:v>
                </c:pt>
                <c:pt idx="9709">
                  <c:v>#N/A</c:v>
                </c:pt>
                <c:pt idx="9710">
                  <c:v>3.5534246575342467</c:v>
                </c:pt>
                <c:pt idx="9711">
                  <c:v>#N/A</c:v>
                </c:pt>
                <c:pt idx="9712">
                  <c:v>3.5534246575342467</c:v>
                </c:pt>
                <c:pt idx="9713">
                  <c:v>3.5534246575342467</c:v>
                </c:pt>
                <c:pt idx="9714">
                  <c:v>3.5534246575342467</c:v>
                </c:pt>
                <c:pt idx="9715">
                  <c:v>3.5534246575342467</c:v>
                </c:pt>
                <c:pt idx="9716">
                  <c:v>#N/A</c:v>
                </c:pt>
                <c:pt idx="9717">
                  <c:v>3.5534246575342467</c:v>
                </c:pt>
                <c:pt idx="9718">
                  <c:v>3.5534246575342467</c:v>
                </c:pt>
                <c:pt idx="9719">
                  <c:v>#N/A</c:v>
                </c:pt>
                <c:pt idx="9720">
                  <c:v>#N/A</c:v>
                </c:pt>
                <c:pt idx="9721">
                  <c:v>#N/A</c:v>
                </c:pt>
                <c:pt idx="9722">
                  <c:v>#N/A</c:v>
                </c:pt>
                <c:pt idx="9723">
                  <c:v>3.5616438356164384</c:v>
                </c:pt>
                <c:pt idx="9724">
                  <c:v>3.5616438356164384</c:v>
                </c:pt>
                <c:pt idx="9725">
                  <c:v>3.5616438356164384</c:v>
                </c:pt>
                <c:pt idx="9726">
                  <c:v>#N/A</c:v>
                </c:pt>
                <c:pt idx="9727">
                  <c:v>#N/A</c:v>
                </c:pt>
                <c:pt idx="9728">
                  <c:v>3.5671232876712327</c:v>
                </c:pt>
                <c:pt idx="9729">
                  <c:v>3.5671232876712327</c:v>
                </c:pt>
                <c:pt idx="9730">
                  <c:v>#N/A</c:v>
                </c:pt>
                <c:pt idx="9731">
                  <c:v>3.5671232876712327</c:v>
                </c:pt>
                <c:pt idx="9732">
                  <c:v>3.5671232876712327</c:v>
                </c:pt>
                <c:pt idx="9733">
                  <c:v>#N/A</c:v>
                </c:pt>
                <c:pt idx="9734">
                  <c:v>#N/A</c:v>
                </c:pt>
                <c:pt idx="9735">
                  <c:v>3.5671232876712327</c:v>
                </c:pt>
                <c:pt idx="9736">
                  <c:v>#N/A</c:v>
                </c:pt>
                <c:pt idx="9737">
                  <c:v>3.56986301369863</c:v>
                </c:pt>
                <c:pt idx="9738">
                  <c:v>3.56986301369863</c:v>
                </c:pt>
                <c:pt idx="9739">
                  <c:v>3.56986301369863</c:v>
                </c:pt>
                <c:pt idx="9740">
                  <c:v>3.56986301369863</c:v>
                </c:pt>
                <c:pt idx="9741">
                  <c:v>3.56986301369863</c:v>
                </c:pt>
                <c:pt idx="9742">
                  <c:v>3.5726027397260274</c:v>
                </c:pt>
                <c:pt idx="9743">
                  <c:v>#N/A</c:v>
                </c:pt>
                <c:pt idx="9744">
                  <c:v>3.5726027397260274</c:v>
                </c:pt>
                <c:pt idx="9745">
                  <c:v>3.5726027397260274</c:v>
                </c:pt>
                <c:pt idx="9746">
                  <c:v>3.5726027397260274</c:v>
                </c:pt>
                <c:pt idx="9747">
                  <c:v>3.580821917808219</c:v>
                </c:pt>
                <c:pt idx="9748">
                  <c:v>#N/A</c:v>
                </c:pt>
                <c:pt idx="9749">
                  <c:v>#N/A</c:v>
                </c:pt>
                <c:pt idx="9750">
                  <c:v>#N/A</c:v>
                </c:pt>
                <c:pt idx="9751">
                  <c:v>3.5835616438356164</c:v>
                </c:pt>
                <c:pt idx="9752">
                  <c:v>#N/A</c:v>
                </c:pt>
                <c:pt idx="9753">
                  <c:v>#N/A</c:v>
                </c:pt>
                <c:pt idx="9754">
                  <c:v>#N/A</c:v>
                </c:pt>
                <c:pt idx="9755">
                  <c:v>#N/A</c:v>
                </c:pt>
                <c:pt idx="9756">
                  <c:v>3.5890410958904111</c:v>
                </c:pt>
                <c:pt idx="9757">
                  <c:v>#N/A</c:v>
                </c:pt>
                <c:pt idx="9758">
                  <c:v>#N/A</c:v>
                </c:pt>
                <c:pt idx="9759">
                  <c:v>#N/A</c:v>
                </c:pt>
                <c:pt idx="9760">
                  <c:v>#N/A</c:v>
                </c:pt>
                <c:pt idx="9761">
                  <c:v>3.591780821917808</c:v>
                </c:pt>
                <c:pt idx="9762">
                  <c:v>3.591780821917808</c:v>
                </c:pt>
                <c:pt idx="9763">
                  <c:v>#N/A</c:v>
                </c:pt>
                <c:pt idx="9764">
                  <c:v>3.591780821917808</c:v>
                </c:pt>
                <c:pt idx="9765">
                  <c:v>3.591780821917808</c:v>
                </c:pt>
                <c:pt idx="9766">
                  <c:v>#N/A</c:v>
                </c:pt>
                <c:pt idx="9767">
                  <c:v>3.5945205479452054</c:v>
                </c:pt>
                <c:pt idx="9768">
                  <c:v>#N/A</c:v>
                </c:pt>
                <c:pt idx="9769">
                  <c:v>3.5972602739726027</c:v>
                </c:pt>
                <c:pt idx="9770">
                  <c:v>3.5972602739726027</c:v>
                </c:pt>
                <c:pt idx="9771">
                  <c:v>3.5972602739726027</c:v>
                </c:pt>
                <c:pt idx="9772">
                  <c:v>3.5972602739726027</c:v>
                </c:pt>
                <c:pt idx="9773">
                  <c:v>3.5972602739726027</c:v>
                </c:pt>
                <c:pt idx="9774">
                  <c:v>3.5972602739726027</c:v>
                </c:pt>
                <c:pt idx="9775">
                  <c:v>3.5972602739726027</c:v>
                </c:pt>
                <c:pt idx="9776">
                  <c:v>3.5972602739726027</c:v>
                </c:pt>
                <c:pt idx="9777">
                  <c:v>3.6</c:v>
                </c:pt>
                <c:pt idx="9778">
                  <c:v>#N/A</c:v>
                </c:pt>
                <c:pt idx="9779">
                  <c:v>#N/A</c:v>
                </c:pt>
                <c:pt idx="9780">
                  <c:v>3.6</c:v>
                </c:pt>
                <c:pt idx="9781">
                  <c:v>3.6</c:v>
                </c:pt>
                <c:pt idx="9782">
                  <c:v>3.6</c:v>
                </c:pt>
                <c:pt idx="9783">
                  <c:v>#N/A</c:v>
                </c:pt>
                <c:pt idx="9784">
                  <c:v>#N/A</c:v>
                </c:pt>
                <c:pt idx="9785">
                  <c:v>3.6</c:v>
                </c:pt>
                <c:pt idx="9786">
                  <c:v>3.6</c:v>
                </c:pt>
                <c:pt idx="9787">
                  <c:v>3.6</c:v>
                </c:pt>
                <c:pt idx="9788">
                  <c:v>3.6</c:v>
                </c:pt>
                <c:pt idx="9789">
                  <c:v>3.6</c:v>
                </c:pt>
                <c:pt idx="9790">
                  <c:v>#N/A</c:v>
                </c:pt>
                <c:pt idx="9791">
                  <c:v>3.6</c:v>
                </c:pt>
                <c:pt idx="9792">
                  <c:v>3.6</c:v>
                </c:pt>
                <c:pt idx="9793">
                  <c:v>3.6</c:v>
                </c:pt>
                <c:pt idx="9794">
                  <c:v>3.6</c:v>
                </c:pt>
                <c:pt idx="9795">
                  <c:v>3.6027397260273974</c:v>
                </c:pt>
                <c:pt idx="9796">
                  <c:v>3.6027397260273974</c:v>
                </c:pt>
                <c:pt idx="9797">
                  <c:v>3.6027397260273974</c:v>
                </c:pt>
                <c:pt idx="9798">
                  <c:v>3.6027397260273974</c:v>
                </c:pt>
                <c:pt idx="9799">
                  <c:v>3.6027397260273974</c:v>
                </c:pt>
                <c:pt idx="9800">
                  <c:v>3.6027397260273974</c:v>
                </c:pt>
                <c:pt idx="9801">
                  <c:v>#N/A</c:v>
                </c:pt>
                <c:pt idx="9802">
                  <c:v>3.6027397260273974</c:v>
                </c:pt>
                <c:pt idx="9803">
                  <c:v>3.6027397260273974</c:v>
                </c:pt>
                <c:pt idx="9804">
                  <c:v>3.6027397260273974</c:v>
                </c:pt>
                <c:pt idx="9805">
                  <c:v>3.6027397260273974</c:v>
                </c:pt>
                <c:pt idx="9806">
                  <c:v>3.6027397260273974</c:v>
                </c:pt>
                <c:pt idx="9807">
                  <c:v>#N/A</c:v>
                </c:pt>
                <c:pt idx="9808">
                  <c:v>#N/A</c:v>
                </c:pt>
                <c:pt idx="9809">
                  <c:v>3.6027397260273974</c:v>
                </c:pt>
                <c:pt idx="9810">
                  <c:v>#N/A</c:v>
                </c:pt>
                <c:pt idx="9811">
                  <c:v>3.6054794520547944</c:v>
                </c:pt>
                <c:pt idx="9812">
                  <c:v>3.6082191780821917</c:v>
                </c:pt>
                <c:pt idx="9813">
                  <c:v>#N/A</c:v>
                </c:pt>
                <c:pt idx="9814">
                  <c:v>3.6082191780821917</c:v>
                </c:pt>
                <c:pt idx="9815">
                  <c:v>#N/A</c:v>
                </c:pt>
                <c:pt idx="9816">
                  <c:v>3.6109589041095891</c:v>
                </c:pt>
                <c:pt idx="9817">
                  <c:v>3.6109589041095891</c:v>
                </c:pt>
                <c:pt idx="9818">
                  <c:v>3.6109589041095891</c:v>
                </c:pt>
                <c:pt idx="9819">
                  <c:v>#N/A</c:v>
                </c:pt>
                <c:pt idx="9820">
                  <c:v>3.6109589041095891</c:v>
                </c:pt>
                <c:pt idx="9821">
                  <c:v>3.6191780821917807</c:v>
                </c:pt>
                <c:pt idx="9822">
                  <c:v>#N/A</c:v>
                </c:pt>
                <c:pt idx="9823">
                  <c:v>3.6219178082191781</c:v>
                </c:pt>
                <c:pt idx="9824">
                  <c:v>3.6273972602739728</c:v>
                </c:pt>
                <c:pt idx="9825">
                  <c:v>3.6301369863013697</c:v>
                </c:pt>
                <c:pt idx="9826">
                  <c:v>3.6301369863013697</c:v>
                </c:pt>
                <c:pt idx="9827">
                  <c:v>#N/A</c:v>
                </c:pt>
                <c:pt idx="9828">
                  <c:v>#N/A</c:v>
                </c:pt>
                <c:pt idx="9829">
                  <c:v>3.6465753424657534</c:v>
                </c:pt>
                <c:pt idx="9830">
                  <c:v>#N/A</c:v>
                </c:pt>
                <c:pt idx="9831">
                  <c:v>#N/A</c:v>
                </c:pt>
                <c:pt idx="9832">
                  <c:v>#N/A</c:v>
                </c:pt>
                <c:pt idx="9833">
                  <c:v>#N/A</c:v>
                </c:pt>
                <c:pt idx="9834">
                  <c:v>#N/A</c:v>
                </c:pt>
                <c:pt idx="9835">
                  <c:v>3.6465753424657534</c:v>
                </c:pt>
                <c:pt idx="9836">
                  <c:v>#N/A</c:v>
                </c:pt>
                <c:pt idx="9837">
                  <c:v>#N/A</c:v>
                </c:pt>
                <c:pt idx="9838">
                  <c:v>#N/A</c:v>
                </c:pt>
                <c:pt idx="9839">
                  <c:v>3.6493150684931508</c:v>
                </c:pt>
                <c:pt idx="9840">
                  <c:v>#N/A</c:v>
                </c:pt>
                <c:pt idx="9841">
                  <c:v>#N/A</c:v>
                </c:pt>
                <c:pt idx="9842">
                  <c:v>3.6602739726027398</c:v>
                </c:pt>
                <c:pt idx="9843">
                  <c:v>#N/A</c:v>
                </c:pt>
                <c:pt idx="9844">
                  <c:v>3.6602739726027398</c:v>
                </c:pt>
                <c:pt idx="9845">
                  <c:v>3.6602739726027398</c:v>
                </c:pt>
                <c:pt idx="9846">
                  <c:v>3.6602739726027398</c:v>
                </c:pt>
                <c:pt idx="9847">
                  <c:v>3.6602739726027398</c:v>
                </c:pt>
                <c:pt idx="9848">
                  <c:v>#N/A</c:v>
                </c:pt>
                <c:pt idx="9849">
                  <c:v>#N/A</c:v>
                </c:pt>
                <c:pt idx="9850">
                  <c:v>#N/A</c:v>
                </c:pt>
                <c:pt idx="9851">
                  <c:v>3.6657534246575341</c:v>
                </c:pt>
                <c:pt idx="9852">
                  <c:v>3.6657534246575341</c:v>
                </c:pt>
                <c:pt idx="9853">
                  <c:v>#N/A</c:v>
                </c:pt>
                <c:pt idx="9854">
                  <c:v>#N/A</c:v>
                </c:pt>
                <c:pt idx="9855">
                  <c:v>#N/A</c:v>
                </c:pt>
                <c:pt idx="9856">
                  <c:v>#N/A</c:v>
                </c:pt>
                <c:pt idx="9857">
                  <c:v>3.6657534246575341</c:v>
                </c:pt>
                <c:pt idx="9858">
                  <c:v>3.6684931506849314</c:v>
                </c:pt>
                <c:pt idx="9859">
                  <c:v>3.6684931506849314</c:v>
                </c:pt>
                <c:pt idx="9860">
                  <c:v>#N/A</c:v>
                </c:pt>
                <c:pt idx="9861">
                  <c:v>#N/A</c:v>
                </c:pt>
                <c:pt idx="9862">
                  <c:v>3.6767123287671235</c:v>
                </c:pt>
                <c:pt idx="9863">
                  <c:v>3.6767123287671235</c:v>
                </c:pt>
                <c:pt idx="9864">
                  <c:v>3.6767123287671235</c:v>
                </c:pt>
                <c:pt idx="9865">
                  <c:v>#N/A</c:v>
                </c:pt>
                <c:pt idx="9866">
                  <c:v>3.6767123287671235</c:v>
                </c:pt>
                <c:pt idx="9867">
                  <c:v>#N/A</c:v>
                </c:pt>
                <c:pt idx="9868">
                  <c:v>3.6767123287671235</c:v>
                </c:pt>
                <c:pt idx="9869">
                  <c:v>#N/A</c:v>
                </c:pt>
                <c:pt idx="9870">
                  <c:v>#N/A</c:v>
                </c:pt>
                <c:pt idx="9871">
                  <c:v>#N/A</c:v>
                </c:pt>
                <c:pt idx="9872">
                  <c:v>#N/A</c:v>
                </c:pt>
                <c:pt idx="9873">
                  <c:v>3.6767123287671235</c:v>
                </c:pt>
                <c:pt idx="9874">
                  <c:v>3.6767123287671235</c:v>
                </c:pt>
                <c:pt idx="9875">
                  <c:v>3.6767123287671235</c:v>
                </c:pt>
                <c:pt idx="9876">
                  <c:v>#N/A</c:v>
                </c:pt>
                <c:pt idx="9877">
                  <c:v>3.6767123287671235</c:v>
                </c:pt>
                <c:pt idx="9878">
                  <c:v>3.6767123287671235</c:v>
                </c:pt>
                <c:pt idx="9879">
                  <c:v>#N/A</c:v>
                </c:pt>
                <c:pt idx="9880">
                  <c:v>#N/A</c:v>
                </c:pt>
                <c:pt idx="9881">
                  <c:v>3.6767123287671235</c:v>
                </c:pt>
                <c:pt idx="9882">
                  <c:v>3.6767123287671235</c:v>
                </c:pt>
                <c:pt idx="9883">
                  <c:v>3.6767123287671235</c:v>
                </c:pt>
                <c:pt idx="9884">
                  <c:v>3.6767123287671235</c:v>
                </c:pt>
                <c:pt idx="9885">
                  <c:v>#N/A</c:v>
                </c:pt>
                <c:pt idx="9886">
                  <c:v>#N/A</c:v>
                </c:pt>
                <c:pt idx="9887">
                  <c:v>#N/A</c:v>
                </c:pt>
                <c:pt idx="9888">
                  <c:v>3.6794520547945204</c:v>
                </c:pt>
                <c:pt idx="9889">
                  <c:v>#N/A</c:v>
                </c:pt>
                <c:pt idx="9890">
                  <c:v>3.6794520547945204</c:v>
                </c:pt>
                <c:pt idx="9891">
                  <c:v>#N/A</c:v>
                </c:pt>
                <c:pt idx="9892">
                  <c:v>#N/A</c:v>
                </c:pt>
                <c:pt idx="9893">
                  <c:v>#N/A</c:v>
                </c:pt>
                <c:pt idx="9894">
                  <c:v>#N/A</c:v>
                </c:pt>
                <c:pt idx="9895">
                  <c:v>#N/A</c:v>
                </c:pt>
                <c:pt idx="9896">
                  <c:v>3.6794520547945204</c:v>
                </c:pt>
                <c:pt idx="9897">
                  <c:v>#N/A</c:v>
                </c:pt>
                <c:pt idx="9898">
                  <c:v>3.6794520547945204</c:v>
                </c:pt>
                <c:pt idx="9899">
                  <c:v>3.6821917808219178</c:v>
                </c:pt>
                <c:pt idx="9900">
                  <c:v>3.6821917808219178</c:v>
                </c:pt>
                <c:pt idx="9901">
                  <c:v>3.6821917808219178</c:v>
                </c:pt>
                <c:pt idx="9902">
                  <c:v>#N/A</c:v>
                </c:pt>
                <c:pt idx="9903">
                  <c:v>#N/A</c:v>
                </c:pt>
                <c:pt idx="9904">
                  <c:v>3.6849315068493151</c:v>
                </c:pt>
                <c:pt idx="9905">
                  <c:v>#N/A</c:v>
                </c:pt>
                <c:pt idx="9906">
                  <c:v>3.6849315068493151</c:v>
                </c:pt>
                <c:pt idx="9907">
                  <c:v>3.6849315068493151</c:v>
                </c:pt>
                <c:pt idx="9908">
                  <c:v>3.6849315068493151</c:v>
                </c:pt>
                <c:pt idx="9909">
                  <c:v>3.6849315068493151</c:v>
                </c:pt>
                <c:pt idx="9910">
                  <c:v>3.6849315068493151</c:v>
                </c:pt>
                <c:pt idx="9911">
                  <c:v>#N/A</c:v>
                </c:pt>
                <c:pt idx="9912">
                  <c:v>3.6849315068493151</c:v>
                </c:pt>
                <c:pt idx="9913">
                  <c:v>#N/A</c:v>
                </c:pt>
                <c:pt idx="9914">
                  <c:v>#N/A</c:v>
                </c:pt>
                <c:pt idx="9915">
                  <c:v>3.6876712328767125</c:v>
                </c:pt>
                <c:pt idx="9916">
                  <c:v>3.6876712328767125</c:v>
                </c:pt>
                <c:pt idx="9917">
                  <c:v>#N/A</c:v>
                </c:pt>
                <c:pt idx="9918">
                  <c:v>3.6876712328767125</c:v>
                </c:pt>
                <c:pt idx="9919">
                  <c:v>#N/A</c:v>
                </c:pt>
                <c:pt idx="9920">
                  <c:v>#N/A</c:v>
                </c:pt>
                <c:pt idx="9921">
                  <c:v>#N/A</c:v>
                </c:pt>
                <c:pt idx="9922">
                  <c:v>#N/A</c:v>
                </c:pt>
                <c:pt idx="9923">
                  <c:v>#N/A</c:v>
                </c:pt>
                <c:pt idx="9924">
                  <c:v>3.6876712328767125</c:v>
                </c:pt>
                <c:pt idx="9925">
                  <c:v>3.6876712328767125</c:v>
                </c:pt>
                <c:pt idx="9926">
                  <c:v>#N/A</c:v>
                </c:pt>
                <c:pt idx="9927">
                  <c:v>#N/A</c:v>
                </c:pt>
                <c:pt idx="9928">
                  <c:v>3.6958904109589041</c:v>
                </c:pt>
                <c:pt idx="9929">
                  <c:v>3.6958904109589041</c:v>
                </c:pt>
                <c:pt idx="9930">
                  <c:v>#N/A</c:v>
                </c:pt>
                <c:pt idx="9931">
                  <c:v>3.6958904109589041</c:v>
                </c:pt>
                <c:pt idx="9932">
                  <c:v>3.6958904109589041</c:v>
                </c:pt>
                <c:pt idx="9933">
                  <c:v>#N/A</c:v>
                </c:pt>
                <c:pt idx="9934">
                  <c:v>#N/A</c:v>
                </c:pt>
                <c:pt idx="9935">
                  <c:v>#N/A</c:v>
                </c:pt>
                <c:pt idx="9936">
                  <c:v>3.6986301369863015</c:v>
                </c:pt>
                <c:pt idx="9937">
                  <c:v>#N/A</c:v>
                </c:pt>
                <c:pt idx="9938">
                  <c:v>3.6986301369863015</c:v>
                </c:pt>
                <c:pt idx="9939">
                  <c:v>3.7013698630136984</c:v>
                </c:pt>
                <c:pt idx="9940">
                  <c:v>#N/A</c:v>
                </c:pt>
                <c:pt idx="9941">
                  <c:v>#N/A</c:v>
                </c:pt>
                <c:pt idx="9942">
                  <c:v>3.7013698630136984</c:v>
                </c:pt>
                <c:pt idx="9943">
                  <c:v>#N/A</c:v>
                </c:pt>
                <c:pt idx="9944">
                  <c:v>#N/A</c:v>
                </c:pt>
                <c:pt idx="9945">
                  <c:v>#N/A</c:v>
                </c:pt>
                <c:pt idx="9946">
                  <c:v>3.7013698630136984</c:v>
                </c:pt>
                <c:pt idx="9947">
                  <c:v>#N/A</c:v>
                </c:pt>
                <c:pt idx="9948">
                  <c:v>3.7013698630136984</c:v>
                </c:pt>
                <c:pt idx="9949">
                  <c:v>3.7013698630136984</c:v>
                </c:pt>
                <c:pt idx="9950">
                  <c:v>3.7013698630136984</c:v>
                </c:pt>
                <c:pt idx="9951">
                  <c:v>3.7041095890410958</c:v>
                </c:pt>
                <c:pt idx="9952">
                  <c:v>#N/A</c:v>
                </c:pt>
                <c:pt idx="9953">
                  <c:v>3.7150684931506848</c:v>
                </c:pt>
                <c:pt idx="9954">
                  <c:v>3.7150684931506848</c:v>
                </c:pt>
                <c:pt idx="9955">
                  <c:v>3.7178082191780821</c:v>
                </c:pt>
                <c:pt idx="9956">
                  <c:v>#N/A</c:v>
                </c:pt>
                <c:pt idx="9957">
                  <c:v>3.7178082191780821</c:v>
                </c:pt>
                <c:pt idx="9958">
                  <c:v>3.7260273972602738</c:v>
                </c:pt>
                <c:pt idx="9959">
                  <c:v>#N/A</c:v>
                </c:pt>
                <c:pt idx="9960">
                  <c:v>#N/A</c:v>
                </c:pt>
                <c:pt idx="9961">
                  <c:v>3.7369863013698632</c:v>
                </c:pt>
                <c:pt idx="9962">
                  <c:v>#N/A</c:v>
                </c:pt>
                <c:pt idx="9963">
                  <c:v>3.7397260273972601</c:v>
                </c:pt>
                <c:pt idx="9964">
                  <c:v>#N/A</c:v>
                </c:pt>
                <c:pt idx="9965">
                  <c:v>3.7397260273972601</c:v>
                </c:pt>
                <c:pt idx="9966">
                  <c:v>#N/A</c:v>
                </c:pt>
                <c:pt idx="9967">
                  <c:v>#N/A</c:v>
                </c:pt>
                <c:pt idx="9968">
                  <c:v>3.7589041095890412</c:v>
                </c:pt>
                <c:pt idx="9969">
                  <c:v>3.7589041095890412</c:v>
                </c:pt>
                <c:pt idx="9970">
                  <c:v>3.7589041095890412</c:v>
                </c:pt>
                <c:pt idx="9971">
                  <c:v>#N/A</c:v>
                </c:pt>
                <c:pt idx="9972">
                  <c:v>3.7589041095890412</c:v>
                </c:pt>
                <c:pt idx="9973">
                  <c:v>#N/A</c:v>
                </c:pt>
                <c:pt idx="9974">
                  <c:v>#N/A</c:v>
                </c:pt>
                <c:pt idx="9975">
                  <c:v>3.7643835616438355</c:v>
                </c:pt>
                <c:pt idx="9976">
                  <c:v>3.7808219178082192</c:v>
                </c:pt>
                <c:pt idx="9977">
                  <c:v>3.7808219178082192</c:v>
                </c:pt>
                <c:pt idx="9978">
                  <c:v>3.7808219178082192</c:v>
                </c:pt>
                <c:pt idx="9979">
                  <c:v>#N/A</c:v>
                </c:pt>
                <c:pt idx="9980">
                  <c:v>#N/A</c:v>
                </c:pt>
                <c:pt idx="9981">
                  <c:v>#N/A</c:v>
                </c:pt>
                <c:pt idx="9982">
                  <c:v>3.7808219178082192</c:v>
                </c:pt>
                <c:pt idx="9983">
                  <c:v>#N/A</c:v>
                </c:pt>
                <c:pt idx="9984">
                  <c:v>3.7808219178082192</c:v>
                </c:pt>
                <c:pt idx="9985">
                  <c:v>#N/A</c:v>
                </c:pt>
                <c:pt idx="9986">
                  <c:v>3.7835616438356166</c:v>
                </c:pt>
                <c:pt idx="9987">
                  <c:v>#N/A</c:v>
                </c:pt>
                <c:pt idx="9988">
                  <c:v>#N/A</c:v>
                </c:pt>
                <c:pt idx="9989">
                  <c:v>3.7835616438356166</c:v>
                </c:pt>
                <c:pt idx="9990">
                  <c:v>3.7835616438356166</c:v>
                </c:pt>
                <c:pt idx="9991">
                  <c:v>3.7945205479452055</c:v>
                </c:pt>
                <c:pt idx="9992">
                  <c:v>3.7945205479452055</c:v>
                </c:pt>
                <c:pt idx="9993">
                  <c:v>3.7945205479452055</c:v>
                </c:pt>
                <c:pt idx="9994">
                  <c:v>3.7945205479452055</c:v>
                </c:pt>
                <c:pt idx="9995">
                  <c:v>#N/A</c:v>
                </c:pt>
                <c:pt idx="9996">
                  <c:v>3.7972602739726029</c:v>
                </c:pt>
                <c:pt idx="9997">
                  <c:v>#N/A</c:v>
                </c:pt>
                <c:pt idx="9998">
                  <c:v>3.7972602739726029</c:v>
                </c:pt>
                <c:pt idx="9999">
                  <c:v>3.7972602739726029</c:v>
                </c:pt>
                <c:pt idx="10000">
                  <c:v>#N/A</c:v>
                </c:pt>
                <c:pt idx="10001">
                  <c:v>#N/A</c:v>
                </c:pt>
                <c:pt idx="10002">
                  <c:v>#N/A</c:v>
                </c:pt>
                <c:pt idx="10003">
                  <c:v>#N/A</c:v>
                </c:pt>
                <c:pt idx="10004">
                  <c:v>#N/A</c:v>
                </c:pt>
                <c:pt idx="10005">
                  <c:v>3.8136986301369862</c:v>
                </c:pt>
                <c:pt idx="10006">
                  <c:v>3.8136986301369862</c:v>
                </c:pt>
                <c:pt idx="10007">
                  <c:v>3.8191780821917809</c:v>
                </c:pt>
                <c:pt idx="10008">
                  <c:v>3.8191780821917809</c:v>
                </c:pt>
                <c:pt idx="10009">
                  <c:v>3.8219178082191783</c:v>
                </c:pt>
                <c:pt idx="10010">
                  <c:v>3.8301369863013699</c:v>
                </c:pt>
                <c:pt idx="10011">
                  <c:v>#N/A</c:v>
                </c:pt>
                <c:pt idx="10012">
                  <c:v>#N/A</c:v>
                </c:pt>
                <c:pt idx="10013">
                  <c:v>3.8301369863013699</c:v>
                </c:pt>
                <c:pt idx="10014">
                  <c:v>3.8328767123287673</c:v>
                </c:pt>
                <c:pt idx="10015">
                  <c:v>#N/A</c:v>
                </c:pt>
                <c:pt idx="10016">
                  <c:v>3.8328767123287673</c:v>
                </c:pt>
                <c:pt idx="10017">
                  <c:v>#N/A</c:v>
                </c:pt>
                <c:pt idx="10018">
                  <c:v>3.8328767123287673</c:v>
                </c:pt>
                <c:pt idx="10019">
                  <c:v>#N/A</c:v>
                </c:pt>
                <c:pt idx="10020">
                  <c:v>3.8328767123287673</c:v>
                </c:pt>
                <c:pt idx="10021">
                  <c:v>#N/A</c:v>
                </c:pt>
                <c:pt idx="10022">
                  <c:v>3.8328767123287673</c:v>
                </c:pt>
                <c:pt idx="10023">
                  <c:v>3.8328767123287673</c:v>
                </c:pt>
                <c:pt idx="10024">
                  <c:v>#N/A</c:v>
                </c:pt>
                <c:pt idx="10025">
                  <c:v>3.8328767123287673</c:v>
                </c:pt>
                <c:pt idx="10026">
                  <c:v>#N/A</c:v>
                </c:pt>
                <c:pt idx="10027">
                  <c:v>#N/A</c:v>
                </c:pt>
                <c:pt idx="10028">
                  <c:v>#N/A</c:v>
                </c:pt>
                <c:pt idx="10029">
                  <c:v>#N/A</c:v>
                </c:pt>
                <c:pt idx="10030">
                  <c:v>#N/A</c:v>
                </c:pt>
                <c:pt idx="10031">
                  <c:v>#N/A</c:v>
                </c:pt>
                <c:pt idx="10032">
                  <c:v>3.8356164383561642</c:v>
                </c:pt>
                <c:pt idx="10033">
                  <c:v>3.8356164383561642</c:v>
                </c:pt>
                <c:pt idx="10034">
                  <c:v>#N/A</c:v>
                </c:pt>
                <c:pt idx="10035">
                  <c:v>3.8410958904109589</c:v>
                </c:pt>
                <c:pt idx="10036">
                  <c:v>3.8410958904109589</c:v>
                </c:pt>
                <c:pt idx="10037">
                  <c:v>#N/A</c:v>
                </c:pt>
                <c:pt idx="10038">
                  <c:v>3.8602739726027395</c:v>
                </c:pt>
                <c:pt idx="10039">
                  <c:v>3.8684931506849316</c:v>
                </c:pt>
                <c:pt idx="10040">
                  <c:v>#N/A</c:v>
                </c:pt>
                <c:pt idx="10041">
                  <c:v>3.8739726027397259</c:v>
                </c:pt>
                <c:pt idx="10042">
                  <c:v>#N/A</c:v>
                </c:pt>
                <c:pt idx="10043">
                  <c:v>#N/A</c:v>
                </c:pt>
                <c:pt idx="10044">
                  <c:v>#N/A</c:v>
                </c:pt>
                <c:pt idx="10045">
                  <c:v>3.8794520547945206</c:v>
                </c:pt>
                <c:pt idx="10046">
                  <c:v>3.8794520547945206</c:v>
                </c:pt>
                <c:pt idx="10047">
                  <c:v>3.8794520547945206</c:v>
                </c:pt>
                <c:pt idx="10048">
                  <c:v>3.8794520547945206</c:v>
                </c:pt>
                <c:pt idx="10049">
                  <c:v>3.8794520547945206</c:v>
                </c:pt>
                <c:pt idx="10050">
                  <c:v>3.8794520547945206</c:v>
                </c:pt>
                <c:pt idx="10051">
                  <c:v>3.8876712328767122</c:v>
                </c:pt>
                <c:pt idx="10052">
                  <c:v>3.8876712328767122</c:v>
                </c:pt>
                <c:pt idx="10053">
                  <c:v>3.893150684931507</c:v>
                </c:pt>
                <c:pt idx="10054">
                  <c:v>#N/A</c:v>
                </c:pt>
                <c:pt idx="10055">
                  <c:v>#N/A</c:v>
                </c:pt>
                <c:pt idx="10056">
                  <c:v>3.8958904109589043</c:v>
                </c:pt>
                <c:pt idx="10057">
                  <c:v>3.8958904109589043</c:v>
                </c:pt>
                <c:pt idx="10058">
                  <c:v>3.8958904109589043</c:v>
                </c:pt>
                <c:pt idx="10059">
                  <c:v>#N/A</c:v>
                </c:pt>
                <c:pt idx="10060">
                  <c:v>3.9095890410958902</c:v>
                </c:pt>
                <c:pt idx="10061">
                  <c:v>#N/A</c:v>
                </c:pt>
                <c:pt idx="10062">
                  <c:v>#N/A</c:v>
                </c:pt>
                <c:pt idx="10063">
                  <c:v>3.9095890410958902</c:v>
                </c:pt>
                <c:pt idx="10064">
                  <c:v>#N/A</c:v>
                </c:pt>
                <c:pt idx="10065">
                  <c:v>#N/A</c:v>
                </c:pt>
                <c:pt idx="10066">
                  <c:v>3.9095890410958902</c:v>
                </c:pt>
                <c:pt idx="10067">
                  <c:v>#N/A</c:v>
                </c:pt>
                <c:pt idx="10068">
                  <c:v>3.9123287671232876</c:v>
                </c:pt>
                <c:pt idx="10069">
                  <c:v>#N/A</c:v>
                </c:pt>
                <c:pt idx="10070">
                  <c:v>#N/A</c:v>
                </c:pt>
                <c:pt idx="10071">
                  <c:v>3.9123287671232876</c:v>
                </c:pt>
                <c:pt idx="10072">
                  <c:v>3.9150684931506849</c:v>
                </c:pt>
                <c:pt idx="10073">
                  <c:v>#N/A</c:v>
                </c:pt>
                <c:pt idx="10074">
                  <c:v>#N/A</c:v>
                </c:pt>
                <c:pt idx="10075">
                  <c:v>3.9260273972602739</c:v>
                </c:pt>
                <c:pt idx="10076">
                  <c:v>3.9260273972602739</c:v>
                </c:pt>
                <c:pt idx="10077">
                  <c:v>3.9342465753424656</c:v>
                </c:pt>
                <c:pt idx="10078">
                  <c:v>#N/A</c:v>
                </c:pt>
                <c:pt idx="10079">
                  <c:v>3.9452054794520546</c:v>
                </c:pt>
                <c:pt idx="10080">
                  <c:v>3.9452054794520546</c:v>
                </c:pt>
                <c:pt idx="10081">
                  <c:v>3.9452054794520546</c:v>
                </c:pt>
                <c:pt idx="10082">
                  <c:v>#N/A</c:v>
                </c:pt>
                <c:pt idx="10083">
                  <c:v>#N/A</c:v>
                </c:pt>
                <c:pt idx="10084">
                  <c:v>3.9452054794520546</c:v>
                </c:pt>
                <c:pt idx="10085">
                  <c:v>3.9452054794520546</c:v>
                </c:pt>
                <c:pt idx="10086">
                  <c:v>3.9452054794520546</c:v>
                </c:pt>
                <c:pt idx="10087">
                  <c:v>#N/A</c:v>
                </c:pt>
                <c:pt idx="10088">
                  <c:v>3.9452054794520546</c:v>
                </c:pt>
                <c:pt idx="10089">
                  <c:v>3.9452054794520546</c:v>
                </c:pt>
                <c:pt idx="10090">
                  <c:v>#N/A</c:v>
                </c:pt>
                <c:pt idx="10091">
                  <c:v>3.9452054794520546</c:v>
                </c:pt>
                <c:pt idx="10092">
                  <c:v>3.9452054794520546</c:v>
                </c:pt>
                <c:pt idx="10093">
                  <c:v>3.9452054794520546</c:v>
                </c:pt>
                <c:pt idx="10094">
                  <c:v>3.9452054794520546</c:v>
                </c:pt>
                <c:pt idx="10095">
                  <c:v>3.9452054794520546</c:v>
                </c:pt>
                <c:pt idx="10096">
                  <c:v>3.9452054794520546</c:v>
                </c:pt>
                <c:pt idx="10097">
                  <c:v>3.9534246575342467</c:v>
                </c:pt>
                <c:pt idx="10098">
                  <c:v>#N/A</c:v>
                </c:pt>
                <c:pt idx="10099">
                  <c:v>#N/A</c:v>
                </c:pt>
                <c:pt idx="10100">
                  <c:v>3.956164383561644</c:v>
                </c:pt>
                <c:pt idx="10101">
                  <c:v>#N/A</c:v>
                </c:pt>
                <c:pt idx="10102">
                  <c:v>3.956164383561644</c:v>
                </c:pt>
                <c:pt idx="10103">
                  <c:v>3.9643835616438357</c:v>
                </c:pt>
                <c:pt idx="10104">
                  <c:v>#N/A</c:v>
                </c:pt>
                <c:pt idx="10105">
                  <c:v>#N/A</c:v>
                </c:pt>
                <c:pt idx="10106">
                  <c:v>#N/A</c:v>
                </c:pt>
                <c:pt idx="10107">
                  <c:v>3.9698630136986299</c:v>
                </c:pt>
                <c:pt idx="10108">
                  <c:v>#N/A</c:v>
                </c:pt>
                <c:pt idx="10109">
                  <c:v>#N/A</c:v>
                </c:pt>
                <c:pt idx="10110">
                  <c:v>3.9698630136986299</c:v>
                </c:pt>
                <c:pt idx="10111">
                  <c:v>#N/A</c:v>
                </c:pt>
                <c:pt idx="10112">
                  <c:v>#N/A</c:v>
                </c:pt>
                <c:pt idx="10113">
                  <c:v>3.9835616438356163</c:v>
                </c:pt>
                <c:pt idx="10114">
                  <c:v>#N/A</c:v>
                </c:pt>
                <c:pt idx="10115">
                  <c:v>3.9863013698630136</c:v>
                </c:pt>
                <c:pt idx="10116">
                  <c:v>3.9863013698630136</c:v>
                </c:pt>
                <c:pt idx="10117">
                  <c:v>3.9863013698630136</c:v>
                </c:pt>
                <c:pt idx="10118">
                  <c:v>#N/A</c:v>
                </c:pt>
                <c:pt idx="10119">
                  <c:v>#N/A</c:v>
                </c:pt>
                <c:pt idx="10120">
                  <c:v>#N/A</c:v>
                </c:pt>
                <c:pt idx="10121">
                  <c:v>3.989041095890411</c:v>
                </c:pt>
                <c:pt idx="10122">
                  <c:v>3.989041095890411</c:v>
                </c:pt>
                <c:pt idx="10123">
                  <c:v>3.989041095890411</c:v>
                </c:pt>
                <c:pt idx="10124">
                  <c:v>#N/A</c:v>
                </c:pt>
                <c:pt idx="10125">
                  <c:v>3.989041095890411</c:v>
                </c:pt>
                <c:pt idx="10126">
                  <c:v>#N/A</c:v>
                </c:pt>
                <c:pt idx="10127">
                  <c:v>3.9917808219178084</c:v>
                </c:pt>
                <c:pt idx="10128">
                  <c:v>3.9945205479452053</c:v>
                </c:pt>
                <c:pt idx="10129">
                  <c:v>4.0027397260273974</c:v>
                </c:pt>
                <c:pt idx="10130">
                  <c:v>#N/A</c:v>
                </c:pt>
                <c:pt idx="10131">
                  <c:v>4.0027397260273974</c:v>
                </c:pt>
                <c:pt idx="10132">
                  <c:v>4.0027397260273974</c:v>
                </c:pt>
                <c:pt idx="10133">
                  <c:v>4.0027397260273974</c:v>
                </c:pt>
                <c:pt idx="10134">
                  <c:v>4.0027397260273974</c:v>
                </c:pt>
                <c:pt idx="10135">
                  <c:v>#N/A</c:v>
                </c:pt>
                <c:pt idx="10136">
                  <c:v>4.0027397260273974</c:v>
                </c:pt>
                <c:pt idx="10137">
                  <c:v>4.0027397260273974</c:v>
                </c:pt>
                <c:pt idx="10138">
                  <c:v>4.0027397260273974</c:v>
                </c:pt>
                <c:pt idx="10139">
                  <c:v>4.0027397260273974</c:v>
                </c:pt>
                <c:pt idx="10140">
                  <c:v>4.0027397260273974</c:v>
                </c:pt>
                <c:pt idx="10141">
                  <c:v>#N/A</c:v>
                </c:pt>
                <c:pt idx="10142">
                  <c:v>4.0027397260273974</c:v>
                </c:pt>
                <c:pt idx="10143">
                  <c:v>4.0027397260273974</c:v>
                </c:pt>
                <c:pt idx="10144">
                  <c:v>4.0054794520547947</c:v>
                </c:pt>
                <c:pt idx="10145">
                  <c:v>4.0054794520547947</c:v>
                </c:pt>
                <c:pt idx="10146">
                  <c:v>4.0054794520547947</c:v>
                </c:pt>
                <c:pt idx="10147">
                  <c:v>4.0054794520547947</c:v>
                </c:pt>
                <c:pt idx="10148">
                  <c:v>4.0054794520547947</c:v>
                </c:pt>
                <c:pt idx="10149">
                  <c:v>#N/A</c:v>
                </c:pt>
                <c:pt idx="10150">
                  <c:v>4.0054794520547947</c:v>
                </c:pt>
                <c:pt idx="10151">
                  <c:v>4.0054794520547947</c:v>
                </c:pt>
                <c:pt idx="10152">
                  <c:v>4.0082191780821921</c:v>
                </c:pt>
                <c:pt idx="10153">
                  <c:v>4.0082191780821921</c:v>
                </c:pt>
                <c:pt idx="10154">
                  <c:v>4.0082191780821921</c:v>
                </c:pt>
                <c:pt idx="10155">
                  <c:v>#N/A</c:v>
                </c:pt>
                <c:pt idx="10156">
                  <c:v>4.0082191780821921</c:v>
                </c:pt>
                <c:pt idx="10157">
                  <c:v>#N/A</c:v>
                </c:pt>
                <c:pt idx="10158">
                  <c:v>#N/A</c:v>
                </c:pt>
                <c:pt idx="10159">
                  <c:v>#N/A</c:v>
                </c:pt>
                <c:pt idx="10160">
                  <c:v>4.0082191780821921</c:v>
                </c:pt>
                <c:pt idx="10161">
                  <c:v>4.0082191780821921</c:v>
                </c:pt>
                <c:pt idx="10162">
                  <c:v>4.0082191780821921</c:v>
                </c:pt>
                <c:pt idx="10163">
                  <c:v>#N/A</c:v>
                </c:pt>
                <c:pt idx="10164">
                  <c:v>#N/A</c:v>
                </c:pt>
                <c:pt idx="10165">
                  <c:v>#N/A</c:v>
                </c:pt>
                <c:pt idx="10166">
                  <c:v>4.0082191780821921</c:v>
                </c:pt>
                <c:pt idx="10167">
                  <c:v>4.0082191780821921</c:v>
                </c:pt>
                <c:pt idx="10168">
                  <c:v>4.0082191780821921</c:v>
                </c:pt>
                <c:pt idx="10169">
                  <c:v>#N/A</c:v>
                </c:pt>
                <c:pt idx="10170">
                  <c:v>4.0082191780821921</c:v>
                </c:pt>
                <c:pt idx="10171">
                  <c:v>#N/A</c:v>
                </c:pt>
                <c:pt idx="10172">
                  <c:v>4.0082191780821921</c:v>
                </c:pt>
                <c:pt idx="10173">
                  <c:v>#N/A</c:v>
                </c:pt>
                <c:pt idx="10174">
                  <c:v>4.0082191780821921</c:v>
                </c:pt>
                <c:pt idx="10175">
                  <c:v>4.0082191780821921</c:v>
                </c:pt>
                <c:pt idx="10176">
                  <c:v>4.0082191780821921</c:v>
                </c:pt>
                <c:pt idx="10177">
                  <c:v>#N/A</c:v>
                </c:pt>
                <c:pt idx="10178">
                  <c:v>4.0082191780821921</c:v>
                </c:pt>
                <c:pt idx="10179">
                  <c:v>#N/A</c:v>
                </c:pt>
                <c:pt idx="10180">
                  <c:v>4.0082191780821921</c:v>
                </c:pt>
                <c:pt idx="10181">
                  <c:v>4.0082191780821921</c:v>
                </c:pt>
                <c:pt idx="10182">
                  <c:v>#N/A</c:v>
                </c:pt>
                <c:pt idx="10183">
                  <c:v>#N/A</c:v>
                </c:pt>
                <c:pt idx="10184">
                  <c:v>#N/A</c:v>
                </c:pt>
                <c:pt idx="10185">
                  <c:v>4.0082191780821921</c:v>
                </c:pt>
                <c:pt idx="10186">
                  <c:v>4.0082191780821921</c:v>
                </c:pt>
                <c:pt idx="10187">
                  <c:v>#N/A</c:v>
                </c:pt>
                <c:pt idx="10188">
                  <c:v>#N/A</c:v>
                </c:pt>
                <c:pt idx="10189">
                  <c:v>#N/A</c:v>
                </c:pt>
                <c:pt idx="10190">
                  <c:v>#N/A</c:v>
                </c:pt>
                <c:pt idx="10191">
                  <c:v>#N/A</c:v>
                </c:pt>
                <c:pt idx="10192">
                  <c:v>4.0082191780821921</c:v>
                </c:pt>
                <c:pt idx="10193">
                  <c:v>4.0082191780821921</c:v>
                </c:pt>
                <c:pt idx="10194">
                  <c:v>4.0082191780821921</c:v>
                </c:pt>
                <c:pt idx="10195">
                  <c:v>4.0082191780821921</c:v>
                </c:pt>
                <c:pt idx="10196">
                  <c:v>#N/A</c:v>
                </c:pt>
                <c:pt idx="10197">
                  <c:v>#N/A</c:v>
                </c:pt>
                <c:pt idx="10198">
                  <c:v>4.0082191780821921</c:v>
                </c:pt>
                <c:pt idx="10199">
                  <c:v>#N/A</c:v>
                </c:pt>
                <c:pt idx="10200">
                  <c:v>4.0082191780821921</c:v>
                </c:pt>
                <c:pt idx="10201">
                  <c:v>#N/A</c:v>
                </c:pt>
                <c:pt idx="10202">
                  <c:v>4.0082191780821921</c:v>
                </c:pt>
                <c:pt idx="10203">
                  <c:v>4.0082191780821921</c:v>
                </c:pt>
                <c:pt idx="10204">
                  <c:v>#N/A</c:v>
                </c:pt>
                <c:pt idx="10205">
                  <c:v>#N/A</c:v>
                </c:pt>
                <c:pt idx="10206">
                  <c:v>4.0082191780821921</c:v>
                </c:pt>
                <c:pt idx="10207">
                  <c:v>4.0082191780821921</c:v>
                </c:pt>
                <c:pt idx="10208">
                  <c:v>4.0082191780821921</c:v>
                </c:pt>
                <c:pt idx="10209">
                  <c:v>4.0082191780821921</c:v>
                </c:pt>
                <c:pt idx="10210">
                  <c:v>4.0082191780821921</c:v>
                </c:pt>
                <c:pt idx="10211">
                  <c:v>4.0082191780821921</c:v>
                </c:pt>
                <c:pt idx="10212">
                  <c:v>4.0082191780821921</c:v>
                </c:pt>
                <c:pt idx="10213">
                  <c:v>#N/A</c:v>
                </c:pt>
                <c:pt idx="10214">
                  <c:v>4.0082191780821921</c:v>
                </c:pt>
                <c:pt idx="10215">
                  <c:v>4.0082191780821921</c:v>
                </c:pt>
                <c:pt idx="10216">
                  <c:v>4.0082191780821921</c:v>
                </c:pt>
                <c:pt idx="10217">
                  <c:v>4.0082191780821921</c:v>
                </c:pt>
                <c:pt idx="10218">
                  <c:v>#N/A</c:v>
                </c:pt>
                <c:pt idx="10219">
                  <c:v>4.0082191780821921</c:v>
                </c:pt>
                <c:pt idx="10220">
                  <c:v>4.0082191780821921</c:v>
                </c:pt>
                <c:pt idx="10221">
                  <c:v>#N/A</c:v>
                </c:pt>
                <c:pt idx="10222">
                  <c:v>#N/A</c:v>
                </c:pt>
                <c:pt idx="10223">
                  <c:v>4.0082191780821921</c:v>
                </c:pt>
                <c:pt idx="10224">
                  <c:v>#N/A</c:v>
                </c:pt>
                <c:pt idx="10225">
                  <c:v>4.0082191780821921</c:v>
                </c:pt>
                <c:pt idx="10226">
                  <c:v>#N/A</c:v>
                </c:pt>
                <c:pt idx="10227">
                  <c:v>4.0082191780821921</c:v>
                </c:pt>
                <c:pt idx="10228">
                  <c:v>#N/A</c:v>
                </c:pt>
                <c:pt idx="10229">
                  <c:v>4.0082191780821921</c:v>
                </c:pt>
                <c:pt idx="10230">
                  <c:v>4.0082191780821921</c:v>
                </c:pt>
                <c:pt idx="10231">
                  <c:v>#N/A</c:v>
                </c:pt>
                <c:pt idx="10232">
                  <c:v>4.0082191780821921</c:v>
                </c:pt>
                <c:pt idx="10233">
                  <c:v>4.0082191780821921</c:v>
                </c:pt>
                <c:pt idx="10234">
                  <c:v>4.0082191780821921</c:v>
                </c:pt>
                <c:pt idx="10235">
                  <c:v>4.0082191780821921</c:v>
                </c:pt>
                <c:pt idx="10236">
                  <c:v>#N/A</c:v>
                </c:pt>
                <c:pt idx="10237">
                  <c:v>4.0082191780821921</c:v>
                </c:pt>
                <c:pt idx="10238">
                  <c:v>4.0082191780821921</c:v>
                </c:pt>
                <c:pt idx="10239">
                  <c:v>4.0082191780821921</c:v>
                </c:pt>
                <c:pt idx="10240">
                  <c:v>4.0082191780821921</c:v>
                </c:pt>
                <c:pt idx="10241">
                  <c:v>4.0082191780821921</c:v>
                </c:pt>
                <c:pt idx="10242">
                  <c:v>#N/A</c:v>
                </c:pt>
                <c:pt idx="10243">
                  <c:v>#N/A</c:v>
                </c:pt>
                <c:pt idx="10244">
                  <c:v>#N/A</c:v>
                </c:pt>
                <c:pt idx="10245">
                  <c:v>#N/A</c:v>
                </c:pt>
                <c:pt idx="10246">
                  <c:v>#N/A</c:v>
                </c:pt>
                <c:pt idx="10247">
                  <c:v>4.0082191780821921</c:v>
                </c:pt>
                <c:pt idx="10248">
                  <c:v>#N/A</c:v>
                </c:pt>
                <c:pt idx="10249">
                  <c:v>#N/A</c:v>
                </c:pt>
                <c:pt idx="10250">
                  <c:v>#N/A</c:v>
                </c:pt>
                <c:pt idx="10251">
                  <c:v>#N/A</c:v>
                </c:pt>
                <c:pt idx="10252">
                  <c:v>#N/A</c:v>
                </c:pt>
                <c:pt idx="10253">
                  <c:v>4.0082191780821921</c:v>
                </c:pt>
                <c:pt idx="10254">
                  <c:v>4.0082191780821921</c:v>
                </c:pt>
                <c:pt idx="10255">
                  <c:v>#N/A</c:v>
                </c:pt>
                <c:pt idx="10256">
                  <c:v>4.0082191780821921</c:v>
                </c:pt>
                <c:pt idx="10257">
                  <c:v>4.0082191780821921</c:v>
                </c:pt>
                <c:pt idx="10258">
                  <c:v>#N/A</c:v>
                </c:pt>
                <c:pt idx="10259">
                  <c:v>#N/A</c:v>
                </c:pt>
                <c:pt idx="10260">
                  <c:v>#N/A</c:v>
                </c:pt>
                <c:pt idx="10261">
                  <c:v>#N/A</c:v>
                </c:pt>
                <c:pt idx="10262">
                  <c:v>4.0082191780821921</c:v>
                </c:pt>
                <c:pt idx="10263">
                  <c:v>4.0082191780821921</c:v>
                </c:pt>
                <c:pt idx="10264">
                  <c:v>4.0082191780821921</c:v>
                </c:pt>
                <c:pt idx="10265">
                  <c:v>#N/A</c:v>
                </c:pt>
                <c:pt idx="10266">
                  <c:v>#N/A</c:v>
                </c:pt>
                <c:pt idx="10267">
                  <c:v>#N/A</c:v>
                </c:pt>
                <c:pt idx="10268">
                  <c:v>#N/A</c:v>
                </c:pt>
                <c:pt idx="10269">
                  <c:v>4.0082191780821921</c:v>
                </c:pt>
                <c:pt idx="10270">
                  <c:v>4.0082191780821921</c:v>
                </c:pt>
                <c:pt idx="10271">
                  <c:v>4.0082191780821921</c:v>
                </c:pt>
                <c:pt idx="10272">
                  <c:v>4.0082191780821921</c:v>
                </c:pt>
                <c:pt idx="10273">
                  <c:v>#N/A</c:v>
                </c:pt>
                <c:pt idx="10274">
                  <c:v>4.0082191780821921</c:v>
                </c:pt>
                <c:pt idx="10275">
                  <c:v>4.0082191780821921</c:v>
                </c:pt>
                <c:pt idx="10276">
                  <c:v>#N/A</c:v>
                </c:pt>
                <c:pt idx="10277">
                  <c:v>4.0082191780821921</c:v>
                </c:pt>
                <c:pt idx="10278">
                  <c:v>4.0082191780821921</c:v>
                </c:pt>
                <c:pt idx="10279">
                  <c:v>#N/A</c:v>
                </c:pt>
                <c:pt idx="10280">
                  <c:v>4.0082191780821921</c:v>
                </c:pt>
                <c:pt idx="10281">
                  <c:v>#N/A</c:v>
                </c:pt>
                <c:pt idx="10282">
                  <c:v>4.0082191780821921</c:v>
                </c:pt>
                <c:pt idx="10283">
                  <c:v>4.0082191780821921</c:v>
                </c:pt>
                <c:pt idx="10284">
                  <c:v>4.0082191780821921</c:v>
                </c:pt>
                <c:pt idx="10285">
                  <c:v>#N/A</c:v>
                </c:pt>
                <c:pt idx="10286">
                  <c:v>#N/A</c:v>
                </c:pt>
                <c:pt idx="10287">
                  <c:v>4.0082191780821921</c:v>
                </c:pt>
                <c:pt idx="10288">
                  <c:v>4.0082191780821921</c:v>
                </c:pt>
                <c:pt idx="10289">
                  <c:v>4.0082191780821921</c:v>
                </c:pt>
                <c:pt idx="10290">
                  <c:v>4.0082191780821921</c:v>
                </c:pt>
                <c:pt idx="10291">
                  <c:v>4.0082191780821921</c:v>
                </c:pt>
                <c:pt idx="10292">
                  <c:v>4.0082191780821921</c:v>
                </c:pt>
                <c:pt idx="10293">
                  <c:v>4.0082191780821921</c:v>
                </c:pt>
                <c:pt idx="10294">
                  <c:v>#N/A</c:v>
                </c:pt>
                <c:pt idx="10295">
                  <c:v>4.0082191780821921</c:v>
                </c:pt>
                <c:pt idx="10296">
                  <c:v>4.0082191780821921</c:v>
                </c:pt>
                <c:pt idx="10297">
                  <c:v>4.0082191780821921</c:v>
                </c:pt>
                <c:pt idx="10298">
                  <c:v>4.0109589041095894</c:v>
                </c:pt>
                <c:pt idx="10299">
                  <c:v>#N/A</c:v>
                </c:pt>
                <c:pt idx="10300">
                  <c:v>4.0109589041095894</c:v>
                </c:pt>
                <c:pt idx="10301">
                  <c:v>#N/A</c:v>
                </c:pt>
                <c:pt idx="10302">
                  <c:v>4.0109589041095894</c:v>
                </c:pt>
                <c:pt idx="10303">
                  <c:v>4.0109589041095894</c:v>
                </c:pt>
                <c:pt idx="10304">
                  <c:v>#N/A</c:v>
                </c:pt>
                <c:pt idx="10305">
                  <c:v>#N/A</c:v>
                </c:pt>
                <c:pt idx="10306">
                  <c:v>#N/A</c:v>
                </c:pt>
                <c:pt idx="10307">
                  <c:v>4.0109589041095894</c:v>
                </c:pt>
                <c:pt idx="10308">
                  <c:v>#N/A</c:v>
                </c:pt>
                <c:pt idx="10309">
                  <c:v>4.0109589041095894</c:v>
                </c:pt>
                <c:pt idx="10310">
                  <c:v>4.0109589041095894</c:v>
                </c:pt>
                <c:pt idx="10311">
                  <c:v>#N/A</c:v>
                </c:pt>
                <c:pt idx="10312">
                  <c:v>4.0109589041095894</c:v>
                </c:pt>
                <c:pt idx="10313">
                  <c:v>4.0109589041095894</c:v>
                </c:pt>
                <c:pt idx="10314">
                  <c:v>4.0109589041095894</c:v>
                </c:pt>
                <c:pt idx="10315">
                  <c:v>#N/A</c:v>
                </c:pt>
                <c:pt idx="10316">
                  <c:v>#N/A</c:v>
                </c:pt>
                <c:pt idx="10317">
                  <c:v>4.0136986301369859</c:v>
                </c:pt>
                <c:pt idx="10318">
                  <c:v>#N/A</c:v>
                </c:pt>
                <c:pt idx="10319">
                  <c:v>#N/A</c:v>
                </c:pt>
                <c:pt idx="10320">
                  <c:v>4.0136986301369859</c:v>
                </c:pt>
                <c:pt idx="10321">
                  <c:v>4.0136986301369859</c:v>
                </c:pt>
                <c:pt idx="10322">
                  <c:v>#N/A</c:v>
                </c:pt>
                <c:pt idx="10323">
                  <c:v>4.0136986301369859</c:v>
                </c:pt>
                <c:pt idx="10324">
                  <c:v>4.0136986301369859</c:v>
                </c:pt>
                <c:pt idx="10325">
                  <c:v>#N/A</c:v>
                </c:pt>
                <c:pt idx="10326">
                  <c:v>#N/A</c:v>
                </c:pt>
                <c:pt idx="10327">
                  <c:v>4.0136986301369859</c:v>
                </c:pt>
                <c:pt idx="10328">
                  <c:v>#N/A</c:v>
                </c:pt>
                <c:pt idx="10329">
                  <c:v>4.0136986301369859</c:v>
                </c:pt>
                <c:pt idx="10330">
                  <c:v>#N/A</c:v>
                </c:pt>
                <c:pt idx="10331">
                  <c:v>4.0136986301369859</c:v>
                </c:pt>
                <c:pt idx="10332">
                  <c:v>#N/A</c:v>
                </c:pt>
                <c:pt idx="10333">
                  <c:v>4.0136986301369859</c:v>
                </c:pt>
                <c:pt idx="10334">
                  <c:v>4.0136986301369859</c:v>
                </c:pt>
                <c:pt idx="10335">
                  <c:v>4.0136986301369859</c:v>
                </c:pt>
                <c:pt idx="10336">
                  <c:v>#N/A</c:v>
                </c:pt>
                <c:pt idx="10337">
                  <c:v>4.021917808219178</c:v>
                </c:pt>
                <c:pt idx="10338">
                  <c:v>4.021917808219178</c:v>
                </c:pt>
                <c:pt idx="10339">
                  <c:v>4.021917808219178</c:v>
                </c:pt>
                <c:pt idx="10340">
                  <c:v>#N/A</c:v>
                </c:pt>
                <c:pt idx="10341">
                  <c:v>4.021917808219178</c:v>
                </c:pt>
                <c:pt idx="10342">
                  <c:v>4.021917808219178</c:v>
                </c:pt>
                <c:pt idx="10343">
                  <c:v>#N/A</c:v>
                </c:pt>
                <c:pt idx="10344">
                  <c:v>#N/A</c:v>
                </c:pt>
                <c:pt idx="10345">
                  <c:v>4.021917808219178</c:v>
                </c:pt>
                <c:pt idx="10346">
                  <c:v>#N/A</c:v>
                </c:pt>
                <c:pt idx="10347">
                  <c:v>4.021917808219178</c:v>
                </c:pt>
                <c:pt idx="10348">
                  <c:v>4.021917808219178</c:v>
                </c:pt>
                <c:pt idx="10349">
                  <c:v>4.021917808219178</c:v>
                </c:pt>
                <c:pt idx="10350">
                  <c:v>#N/A</c:v>
                </c:pt>
                <c:pt idx="10351">
                  <c:v>4.0246575342465754</c:v>
                </c:pt>
                <c:pt idx="10352">
                  <c:v>4.0273972602739727</c:v>
                </c:pt>
                <c:pt idx="10353">
                  <c:v>4.0273972602739727</c:v>
                </c:pt>
                <c:pt idx="10354">
                  <c:v>#N/A</c:v>
                </c:pt>
                <c:pt idx="10355">
                  <c:v>#N/A</c:v>
                </c:pt>
                <c:pt idx="10356">
                  <c:v>#N/A</c:v>
                </c:pt>
                <c:pt idx="10357">
                  <c:v>#N/A</c:v>
                </c:pt>
                <c:pt idx="10358">
                  <c:v>#N/A</c:v>
                </c:pt>
                <c:pt idx="10359">
                  <c:v>4.0273972602739727</c:v>
                </c:pt>
                <c:pt idx="10360">
                  <c:v>4.0301369863013701</c:v>
                </c:pt>
                <c:pt idx="10361">
                  <c:v>#N/A</c:v>
                </c:pt>
                <c:pt idx="10362">
                  <c:v>#N/A</c:v>
                </c:pt>
                <c:pt idx="10363">
                  <c:v>#N/A</c:v>
                </c:pt>
                <c:pt idx="10364">
                  <c:v>#N/A</c:v>
                </c:pt>
                <c:pt idx="10365">
                  <c:v>4.0301369863013701</c:v>
                </c:pt>
                <c:pt idx="10366">
                  <c:v>#N/A</c:v>
                </c:pt>
                <c:pt idx="10367">
                  <c:v>#N/A</c:v>
                </c:pt>
                <c:pt idx="10368">
                  <c:v>4.0383561643835613</c:v>
                </c:pt>
                <c:pt idx="10369">
                  <c:v>4.0410958904109586</c:v>
                </c:pt>
                <c:pt idx="10370">
                  <c:v>4.0410958904109586</c:v>
                </c:pt>
                <c:pt idx="10371">
                  <c:v>#N/A</c:v>
                </c:pt>
                <c:pt idx="10372">
                  <c:v>#N/A</c:v>
                </c:pt>
                <c:pt idx="10373">
                  <c:v>4.0410958904109586</c:v>
                </c:pt>
                <c:pt idx="10374">
                  <c:v>#N/A</c:v>
                </c:pt>
                <c:pt idx="10375">
                  <c:v>#N/A</c:v>
                </c:pt>
                <c:pt idx="10376">
                  <c:v>4.0410958904109586</c:v>
                </c:pt>
                <c:pt idx="10377">
                  <c:v>#N/A</c:v>
                </c:pt>
                <c:pt idx="10378">
                  <c:v>4.043835616438356</c:v>
                </c:pt>
                <c:pt idx="10379">
                  <c:v>#N/A</c:v>
                </c:pt>
                <c:pt idx="10380">
                  <c:v>4.043835616438356</c:v>
                </c:pt>
                <c:pt idx="10381">
                  <c:v>4.043835616438356</c:v>
                </c:pt>
                <c:pt idx="10382">
                  <c:v>4.043835616438356</c:v>
                </c:pt>
                <c:pt idx="10383">
                  <c:v>4.043835616438356</c:v>
                </c:pt>
                <c:pt idx="10384">
                  <c:v>4.0465753424657533</c:v>
                </c:pt>
                <c:pt idx="10385">
                  <c:v>4.0465753424657533</c:v>
                </c:pt>
                <c:pt idx="10386">
                  <c:v>4.0465753424657533</c:v>
                </c:pt>
                <c:pt idx="10387">
                  <c:v>4.0465753424657533</c:v>
                </c:pt>
                <c:pt idx="10388">
                  <c:v>4.0465753424657533</c:v>
                </c:pt>
                <c:pt idx="10389">
                  <c:v>4.0465753424657533</c:v>
                </c:pt>
                <c:pt idx="10390">
                  <c:v>4.0465753424657533</c:v>
                </c:pt>
                <c:pt idx="10391">
                  <c:v>#N/A</c:v>
                </c:pt>
                <c:pt idx="10392">
                  <c:v>4.0465753424657533</c:v>
                </c:pt>
                <c:pt idx="10393">
                  <c:v>4.0465753424657533</c:v>
                </c:pt>
                <c:pt idx="10394">
                  <c:v>4.0465753424657533</c:v>
                </c:pt>
                <c:pt idx="10395">
                  <c:v>4.0465753424657533</c:v>
                </c:pt>
                <c:pt idx="10396">
                  <c:v>#N/A</c:v>
                </c:pt>
                <c:pt idx="10397">
                  <c:v>4.0520547945205481</c:v>
                </c:pt>
                <c:pt idx="10398">
                  <c:v>#N/A</c:v>
                </c:pt>
                <c:pt idx="10399">
                  <c:v>4.0520547945205481</c:v>
                </c:pt>
                <c:pt idx="10400">
                  <c:v>#N/A</c:v>
                </c:pt>
                <c:pt idx="10401">
                  <c:v>#N/A</c:v>
                </c:pt>
                <c:pt idx="10402">
                  <c:v>4.0602739726027401</c:v>
                </c:pt>
                <c:pt idx="10403">
                  <c:v>4.0602739726027401</c:v>
                </c:pt>
                <c:pt idx="10404">
                  <c:v>4.0602739726027401</c:v>
                </c:pt>
                <c:pt idx="10405">
                  <c:v>4.0602739726027401</c:v>
                </c:pt>
                <c:pt idx="10406">
                  <c:v>#N/A</c:v>
                </c:pt>
                <c:pt idx="10407">
                  <c:v>4.0630136986301366</c:v>
                </c:pt>
                <c:pt idx="10408">
                  <c:v>4.0630136986301366</c:v>
                </c:pt>
                <c:pt idx="10409">
                  <c:v>#N/A</c:v>
                </c:pt>
                <c:pt idx="10410">
                  <c:v>#N/A</c:v>
                </c:pt>
                <c:pt idx="10411">
                  <c:v>4.0630136986301366</c:v>
                </c:pt>
                <c:pt idx="10412">
                  <c:v>#N/A</c:v>
                </c:pt>
                <c:pt idx="10413">
                  <c:v>#N/A</c:v>
                </c:pt>
                <c:pt idx="10414">
                  <c:v>#N/A</c:v>
                </c:pt>
                <c:pt idx="10415">
                  <c:v>4.065753424657534</c:v>
                </c:pt>
                <c:pt idx="10416">
                  <c:v>4.065753424657534</c:v>
                </c:pt>
                <c:pt idx="10417">
                  <c:v>4.0794520547945208</c:v>
                </c:pt>
                <c:pt idx="10418">
                  <c:v>4.0794520547945208</c:v>
                </c:pt>
                <c:pt idx="10419">
                  <c:v>#N/A</c:v>
                </c:pt>
                <c:pt idx="10420">
                  <c:v>4.0821917808219181</c:v>
                </c:pt>
                <c:pt idx="10421">
                  <c:v>#N/A</c:v>
                </c:pt>
                <c:pt idx="10422">
                  <c:v>#N/A</c:v>
                </c:pt>
                <c:pt idx="10423">
                  <c:v>4.0849315068493155</c:v>
                </c:pt>
                <c:pt idx="10424">
                  <c:v>4.087671232876712</c:v>
                </c:pt>
                <c:pt idx="10425">
                  <c:v>#N/A</c:v>
                </c:pt>
                <c:pt idx="10426">
                  <c:v>4.0904109589041093</c:v>
                </c:pt>
                <c:pt idx="10427">
                  <c:v>4.0904109589041093</c:v>
                </c:pt>
                <c:pt idx="10428">
                  <c:v>4.0904109589041093</c:v>
                </c:pt>
                <c:pt idx="10429">
                  <c:v>4.0904109589041093</c:v>
                </c:pt>
                <c:pt idx="10430">
                  <c:v>4.0904109589041093</c:v>
                </c:pt>
                <c:pt idx="10431">
                  <c:v>4.0904109589041093</c:v>
                </c:pt>
                <c:pt idx="10432">
                  <c:v>4.0904109589041093</c:v>
                </c:pt>
                <c:pt idx="10433">
                  <c:v>#N/A</c:v>
                </c:pt>
                <c:pt idx="10434">
                  <c:v>4.0904109589041093</c:v>
                </c:pt>
                <c:pt idx="10435">
                  <c:v>4.0986301369863014</c:v>
                </c:pt>
                <c:pt idx="10436">
                  <c:v>4.0986301369863014</c:v>
                </c:pt>
                <c:pt idx="10437">
                  <c:v>4.1013698630136988</c:v>
                </c:pt>
                <c:pt idx="10438">
                  <c:v>#N/A</c:v>
                </c:pt>
                <c:pt idx="10439">
                  <c:v>4.1013698630136988</c:v>
                </c:pt>
                <c:pt idx="10440">
                  <c:v>4.1041095890410961</c:v>
                </c:pt>
                <c:pt idx="10441">
                  <c:v>#N/A</c:v>
                </c:pt>
                <c:pt idx="10442">
                  <c:v>#N/A</c:v>
                </c:pt>
                <c:pt idx="10443">
                  <c:v>4.1068493150684935</c:v>
                </c:pt>
                <c:pt idx="10444">
                  <c:v>#N/A</c:v>
                </c:pt>
                <c:pt idx="10445">
                  <c:v>#N/A</c:v>
                </c:pt>
                <c:pt idx="10446">
                  <c:v>#N/A</c:v>
                </c:pt>
                <c:pt idx="10447">
                  <c:v>4.117808219178082</c:v>
                </c:pt>
                <c:pt idx="10448">
                  <c:v>#N/A</c:v>
                </c:pt>
                <c:pt idx="10449">
                  <c:v>#N/A</c:v>
                </c:pt>
                <c:pt idx="10450">
                  <c:v>4.1232876712328768</c:v>
                </c:pt>
                <c:pt idx="10451">
                  <c:v>4.1232876712328768</c:v>
                </c:pt>
                <c:pt idx="10452">
                  <c:v>4.1232876712328768</c:v>
                </c:pt>
                <c:pt idx="10453">
                  <c:v>4.1232876712328768</c:v>
                </c:pt>
                <c:pt idx="10454">
                  <c:v>4.1232876712328768</c:v>
                </c:pt>
                <c:pt idx="10455">
                  <c:v>4.1232876712328768</c:v>
                </c:pt>
                <c:pt idx="10456">
                  <c:v>4.1232876712328768</c:v>
                </c:pt>
                <c:pt idx="10457">
                  <c:v>4.1232876712328768</c:v>
                </c:pt>
                <c:pt idx="10458">
                  <c:v>4.1232876712328768</c:v>
                </c:pt>
                <c:pt idx="10459">
                  <c:v>4.1232876712328768</c:v>
                </c:pt>
                <c:pt idx="10460">
                  <c:v>4.1260273972602741</c:v>
                </c:pt>
                <c:pt idx="10461">
                  <c:v>4.1260273972602741</c:v>
                </c:pt>
                <c:pt idx="10462">
                  <c:v>4.1260273972602741</c:v>
                </c:pt>
                <c:pt idx="10463">
                  <c:v>4.1369863013698627</c:v>
                </c:pt>
                <c:pt idx="10464">
                  <c:v>4.13972602739726</c:v>
                </c:pt>
                <c:pt idx="10465">
                  <c:v>#N/A</c:v>
                </c:pt>
                <c:pt idx="10466">
                  <c:v>#N/A</c:v>
                </c:pt>
                <c:pt idx="10467">
                  <c:v>4.13972602739726</c:v>
                </c:pt>
                <c:pt idx="10468">
                  <c:v>#N/A</c:v>
                </c:pt>
                <c:pt idx="10469">
                  <c:v>4.1479452054794521</c:v>
                </c:pt>
                <c:pt idx="10470">
                  <c:v>4.1479452054794521</c:v>
                </c:pt>
                <c:pt idx="10471">
                  <c:v>4.1561643835616442</c:v>
                </c:pt>
                <c:pt idx="10472">
                  <c:v>4.1589041095890407</c:v>
                </c:pt>
                <c:pt idx="10473">
                  <c:v>#N/A</c:v>
                </c:pt>
                <c:pt idx="10474">
                  <c:v>#N/A</c:v>
                </c:pt>
                <c:pt idx="10475">
                  <c:v>#N/A</c:v>
                </c:pt>
                <c:pt idx="10476">
                  <c:v>4.1643835616438354</c:v>
                </c:pt>
                <c:pt idx="10477">
                  <c:v>#N/A</c:v>
                </c:pt>
                <c:pt idx="10478">
                  <c:v>#N/A</c:v>
                </c:pt>
                <c:pt idx="10479">
                  <c:v>4.1643835616438354</c:v>
                </c:pt>
                <c:pt idx="10480">
                  <c:v>4.1643835616438354</c:v>
                </c:pt>
                <c:pt idx="10481">
                  <c:v>4.1643835616438354</c:v>
                </c:pt>
                <c:pt idx="10482">
                  <c:v>4.1643835616438354</c:v>
                </c:pt>
                <c:pt idx="10483">
                  <c:v>#N/A</c:v>
                </c:pt>
                <c:pt idx="10484">
                  <c:v>#N/A</c:v>
                </c:pt>
                <c:pt idx="10485">
                  <c:v>#N/A</c:v>
                </c:pt>
                <c:pt idx="10486">
                  <c:v>#N/A</c:v>
                </c:pt>
                <c:pt idx="10487">
                  <c:v>#N/A</c:v>
                </c:pt>
                <c:pt idx="10488">
                  <c:v>#N/A</c:v>
                </c:pt>
                <c:pt idx="10489">
                  <c:v>#N/A</c:v>
                </c:pt>
                <c:pt idx="10490">
                  <c:v>#N/A</c:v>
                </c:pt>
                <c:pt idx="10491">
                  <c:v>#N/A</c:v>
                </c:pt>
                <c:pt idx="10492">
                  <c:v>#N/A</c:v>
                </c:pt>
                <c:pt idx="10493">
                  <c:v>#N/A</c:v>
                </c:pt>
                <c:pt idx="10494">
                  <c:v>4.1753424657534248</c:v>
                </c:pt>
                <c:pt idx="10495">
                  <c:v>#N/A</c:v>
                </c:pt>
                <c:pt idx="10496">
                  <c:v>4.1753424657534248</c:v>
                </c:pt>
                <c:pt idx="10497">
                  <c:v>4.1753424657534248</c:v>
                </c:pt>
                <c:pt idx="10498">
                  <c:v>4.1753424657534248</c:v>
                </c:pt>
                <c:pt idx="10499">
                  <c:v>#N/A</c:v>
                </c:pt>
                <c:pt idx="10500">
                  <c:v>4.1753424657534248</c:v>
                </c:pt>
                <c:pt idx="10501">
                  <c:v>#N/A</c:v>
                </c:pt>
                <c:pt idx="10502">
                  <c:v>4.1780821917808222</c:v>
                </c:pt>
                <c:pt idx="10503">
                  <c:v>#N/A</c:v>
                </c:pt>
                <c:pt idx="10504">
                  <c:v>4.1780821917808222</c:v>
                </c:pt>
                <c:pt idx="10505">
                  <c:v>#N/A</c:v>
                </c:pt>
                <c:pt idx="10506">
                  <c:v>4.1780821917808222</c:v>
                </c:pt>
                <c:pt idx="10507">
                  <c:v>4.1780821917808222</c:v>
                </c:pt>
                <c:pt idx="10508">
                  <c:v>4.1808219178082195</c:v>
                </c:pt>
                <c:pt idx="10509">
                  <c:v>#N/A</c:v>
                </c:pt>
                <c:pt idx="10510">
                  <c:v>#N/A</c:v>
                </c:pt>
                <c:pt idx="10511">
                  <c:v>4.1945205479452055</c:v>
                </c:pt>
                <c:pt idx="10512">
                  <c:v>#N/A</c:v>
                </c:pt>
                <c:pt idx="10513">
                  <c:v>4.1945205479452055</c:v>
                </c:pt>
                <c:pt idx="10514">
                  <c:v>#N/A</c:v>
                </c:pt>
                <c:pt idx="10515">
                  <c:v>#N/A</c:v>
                </c:pt>
                <c:pt idx="10516">
                  <c:v>#N/A</c:v>
                </c:pt>
                <c:pt idx="10517">
                  <c:v>4.1945205479452055</c:v>
                </c:pt>
                <c:pt idx="10518">
                  <c:v>4.1945205479452055</c:v>
                </c:pt>
                <c:pt idx="10519">
                  <c:v>4.1945205479452055</c:v>
                </c:pt>
                <c:pt idx="10520">
                  <c:v>#N/A</c:v>
                </c:pt>
                <c:pt idx="10521">
                  <c:v>#N/A</c:v>
                </c:pt>
                <c:pt idx="10522">
                  <c:v>4.1945205479452055</c:v>
                </c:pt>
                <c:pt idx="10523">
                  <c:v>#N/A</c:v>
                </c:pt>
                <c:pt idx="10524">
                  <c:v>#N/A</c:v>
                </c:pt>
                <c:pt idx="10525">
                  <c:v>4.2027397260273975</c:v>
                </c:pt>
                <c:pt idx="10526">
                  <c:v>4.2027397260273975</c:v>
                </c:pt>
                <c:pt idx="10527">
                  <c:v>4.2027397260273975</c:v>
                </c:pt>
                <c:pt idx="10528">
                  <c:v>4.2027397260273975</c:v>
                </c:pt>
                <c:pt idx="10529">
                  <c:v>4.2027397260273975</c:v>
                </c:pt>
                <c:pt idx="10530">
                  <c:v>4.2027397260273975</c:v>
                </c:pt>
                <c:pt idx="10531">
                  <c:v>4.2027397260273975</c:v>
                </c:pt>
                <c:pt idx="10532">
                  <c:v>4.2027397260273975</c:v>
                </c:pt>
                <c:pt idx="10533">
                  <c:v>4.2027397260273975</c:v>
                </c:pt>
                <c:pt idx="10534">
                  <c:v>4.2027397260273975</c:v>
                </c:pt>
                <c:pt idx="10535">
                  <c:v>4.2027397260273975</c:v>
                </c:pt>
                <c:pt idx="10536">
                  <c:v>4.2027397260273975</c:v>
                </c:pt>
                <c:pt idx="10537">
                  <c:v>4.2027397260273975</c:v>
                </c:pt>
                <c:pt idx="10538">
                  <c:v>4.2027397260273975</c:v>
                </c:pt>
                <c:pt idx="10539">
                  <c:v>4.2027397260273975</c:v>
                </c:pt>
                <c:pt idx="10540">
                  <c:v>#N/A</c:v>
                </c:pt>
                <c:pt idx="10541">
                  <c:v>#N/A</c:v>
                </c:pt>
                <c:pt idx="10542">
                  <c:v>4.2136986301369861</c:v>
                </c:pt>
                <c:pt idx="10543">
                  <c:v>#N/A</c:v>
                </c:pt>
                <c:pt idx="10544">
                  <c:v>#N/A</c:v>
                </c:pt>
                <c:pt idx="10545">
                  <c:v>4.2136986301369861</c:v>
                </c:pt>
                <c:pt idx="10546">
                  <c:v>#N/A</c:v>
                </c:pt>
                <c:pt idx="10547">
                  <c:v>#N/A</c:v>
                </c:pt>
                <c:pt idx="10548">
                  <c:v>#N/A</c:v>
                </c:pt>
                <c:pt idx="10549">
                  <c:v>#N/A</c:v>
                </c:pt>
                <c:pt idx="10550">
                  <c:v>4.2246575342465755</c:v>
                </c:pt>
                <c:pt idx="10551">
                  <c:v>#N/A</c:v>
                </c:pt>
                <c:pt idx="10552">
                  <c:v>#N/A</c:v>
                </c:pt>
                <c:pt idx="10553">
                  <c:v>4.2328767123287667</c:v>
                </c:pt>
                <c:pt idx="10554">
                  <c:v>4.2328767123287667</c:v>
                </c:pt>
                <c:pt idx="10555">
                  <c:v>#N/A</c:v>
                </c:pt>
                <c:pt idx="10556">
                  <c:v>4.2356164383561641</c:v>
                </c:pt>
                <c:pt idx="10557">
                  <c:v>4.2383561643835614</c:v>
                </c:pt>
                <c:pt idx="10558">
                  <c:v>#N/A</c:v>
                </c:pt>
                <c:pt idx="10559">
                  <c:v>4.2547945205479456</c:v>
                </c:pt>
                <c:pt idx="10560">
                  <c:v>#N/A</c:v>
                </c:pt>
                <c:pt idx="10561">
                  <c:v>4.2575342465753421</c:v>
                </c:pt>
                <c:pt idx="10562">
                  <c:v>4.2602739726027394</c:v>
                </c:pt>
                <c:pt idx="10563">
                  <c:v>#N/A</c:v>
                </c:pt>
                <c:pt idx="10564">
                  <c:v>#N/A</c:v>
                </c:pt>
                <c:pt idx="10565">
                  <c:v>4.2712328767123289</c:v>
                </c:pt>
                <c:pt idx="10566">
                  <c:v>4.2712328767123289</c:v>
                </c:pt>
                <c:pt idx="10567">
                  <c:v>#N/A</c:v>
                </c:pt>
                <c:pt idx="10568">
                  <c:v>#N/A</c:v>
                </c:pt>
                <c:pt idx="10569">
                  <c:v>#N/A</c:v>
                </c:pt>
                <c:pt idx="10570">
                  <c:v>4.2739726027397262</c:v>
                </c:pt>
                <c:pt idx="10571">
                  <c:v>#N/A</c:v>
                </c:pt>
                <c:pt idx="10572">
                  <c:v>4.2739726027397262</c:v>
                </c:pt>
                <c:pt idx="10573">
                  <c:v>4.2739726027397262</c:v>
                </c:pt>
                <c:pt idx="10574">
                  <c:v>4.2739726027397262</c:v>
                </c:pt>
                <c:pt idx="10575">
                  <c:v>4.2739726027397262</c:v>
                </c:pt>
                <c:pt idx="10576">
                  <c:v>4.2739726027397262</c:v>
                </c:pt>
                <c:pt idx="10577">
                  <c:v>#N/A</c:v>
                </c:pt>
                <c:pt idx="10578">
                  <c:v>4.2739726027397262</c:v>
                </c:pt>
                <c:pt idx="10579">
                  <c:v>#N/A</c:v>
                </c:pt>
                <c:pt idx="10580">
                  <c:v>4.2739726027397262</c:v>
                </c:pt>
                <c:pt idx="10581">
                  <c:v>#N/A</c:v>
                </c:pt>
                <c:pt idx="10582">
                  <c:v>#N/A</c:v>
                </c:pt>
                <c:pt idx="10583">
                  <c:v>4.2739726027397262</c:v>
                </c:pt>
                <c:pt idx="10584">
                  <c:v>#N/A</c:v>
                </c:pt>
                <c:pt idx="10585">
                  <c:v>#N/A</c:v>
                </c:pt>
                <c:pt idx="10586">
                  <c:v>4.2767123287671236</c:v>
                </c:pt>
                <c:pt idx="10587">
                  <c:v>#N/A</c:v>
                </c:pt>
                <c:pt idx="10588">
                  <c:v>4.2767123287671236</c:v>
                </c:pt>
                <c:pt idx="10589">
                  <c:v>4.2767123287671236</c:v>
                </c:pt>
                <c:pt idx="10590">
                  <c:v>#N/A</c:v>
                </c:pt>
                <c:pt idx="10591">
                  <c:v>4.2767123287671236</c:v>
                </c:pt>
                <c:pt idx="10592">
                  <c:v>4.2767123287671236</c:v>
                </c:pt>
                <c:pt idx="10593">
                  <c:v>#N/A</c:v>
                </c:pt>
                <c:pt idx="10594">
                  <c:v>4.2767123287671236</c:v>
                </c:pt>
                <c:pt idx="10595">
                  <c:v>4.2767123287671236</c:v>
                </c:pt>
                <c:pt idx="10596">
                  <c:v>4.2767123287671236</c:v>
                </c:pt>
                <c:pt idx="10597">
                  <c:v>4.2767123287671236</c:v>
                </c:pt>
                <c:pt idx="10598">
                  <c:v>4.2767123287671236</c:v>
                </c:pt>
                <c:pt idx="10599">
                  <c:v>4.2767123287671236</c:v>
                </c:pt>
                <c:pt idx="10600">
                  <c:v>#N/A</c:v>
                </c:pt>
                <c:pt idx="10601">
                  <c:v>4.2767123287671236</c:v>
                </c:pt>
                <c:pt idx="10602">
                  <c:v>4.2767123287671236</c:v>
                </c:pt>
                <c:pt idx="10603">
                  <c:v>4.2767123287671236</c:v>
                </c:pt>
                <c:pt idx="10604">
                  <c:v>4.2767123287671236</c:v>
                </c:pt>
                <c:pt idx="10605">
                  <c:v>4.279452054794521</c:v>
                </c:pt>
                <c:pt idx="10606">
                  <c:v>4.279452054794521</c:v>
                </c:pt>
                <c:pt idx="10607">
                  <c:v>#N/A</c:v>
                </c:pt>
                <c:pt idx="10608">
                  <c:v>4.279452054794521</c:v>
                </c:pt>
                <c:pt idx="10609">
                  <c:v>4.279452054794521</c:v>
                </c:pt>
                <c:pt idx="10610">
                  <c:v>4.279452054794521</c:v>
                </c:pt>
                <c:pt idx="10611">
                  <c:v>4.279452054794521</c:v>
                </c:pt>
                <c:pt idx="10612">
                  <c:v>4.279452054794521</c:v>
                </c:pt>
                <c:pt idx="10613">
                  <c:v>4.279452054794521</c:v>
                </c:pt>
                <c:pt idx="10614">
                  <c:v>4.279452054794521</c:v>
                </c:pt>
                <c:pt idx="10615">
                  <c:v>4.279452054794521</c:v>
                </c:pt>
                <c:pt idx="10616">
                  <c:v>#N/A</c:v>
                </c:pt>
                <c:pt idx="10617">
                  <c:v>#N/A</c:v>
                </c:pt>
                <c:pt idx="10618">
                  <c:v>4.279452054794521</c:v>
                </c:pt>
                <c:pt idx="10619">
                  <c:v>4.279452054794521</c:v>
                </c:pt>
                <c:pt idx="10620">
                  <c:v>4.279452054794521</c:v>
                </c:pt>
                <c:pt idx="10621">
                  <c:v>4.279452054794521</c:v>
                </c:pt>
                <c:pt idx="10622">
                  <c:v>4.279452054794521</c:v>
                </c:pt>
                <c:pt idx="10623">
                  <c:v>#N/A</c:v>
                </c:pt>
                <c:pt idx="10624">
                  <c:v>4.279452054794521</c:v>
                </c:pt>
                <c:pt idx="10625">
                  <c:v>4.279452054794521</c:v>
                </c:pt>
                <c:pt idx="10626">
                  <c:v>4.279452054794521</c:v>
                </c:pt>
                <c:pt idx="10627">
                  <c:v>4.279452054794521</c:v>
                </c:pt>
                <c:pt idx="10628">
                  <c:v>4.279452054794521</c:v>
                </c:pt>
                <c:pt idx="10629">
                  <c:v>4.279452054794521</c:v>
                </c:pt>
                <c:pt idx="10630">
                  <c:v>4.279452054794521</c:v>
                </c:pt>
                <c:pt idx="10631">
                  <c:v>4.279452054794521</c:v>
                </c:pt>
                <c:pt idx="10632">
                  <c:v>4.279452054794521</c:v>
                </c:pt>
                <c:pt idx="10633">
                  <c:v>#N/A</c:v>
                </c:pt>
                <c:pt idx="10634">
                  <c:v>#N/A</c:v>
                </c:pt>
                <c:pt idx="10635">
                  <c:v>4.279452054794521</c:v>
                </c:pt>
                <c:pt idx="10636">
                  <c:v>4.279452054794521</c:v>
                </c:pt>
                <c:pt idx="10637">
                  <c:v>4.279452054794521</c:v>
                </c:pt>
                <c:pt idx="10638">
                  <c:v>4.2821917808219174</c:v>
                </c:pt>
                <c:pt idx="10639">
                  <c:v>4.2821917808219174</c:v>
                </c:pt>
                <c:pt idx="10640">
                  <c:v>#N/A</c:v>
                </c:pt>
                <c:pt idx="10641">
                  <c:v>4.2821917808219174</c:v>
                </c:pt>
                <c:pt idx="10642">
                  <c:v>4.2821917808219174</c:v>
                </c:pt>
                <c:pt idx="10643">
                  <c:v>4.2821917808219174</c:v>
                </c:pt>
                <c:pt idx="10644">
                  <c:v>4.2821917808219174</c:v>
                </c:pt>
                <c:pt idx="10645">
                  <c:v>4.2821917808219174</c:v>
                </c:pt>
                <c:pt idx="10646">
                  <c:v>4.2821917808219174</c:v>
                </c:pt>
                <c:pt idx="10647">
                  <c:v>4.2821917808219174</c:v>
                </c:pt>
                <c:pt idx="10648">
                  <c:v>4.2821917808219174</c:v>
                </c:pt>
                <c:pt idx="10649">
                  <c:v>4.2821917808219174</c:v>
                </c:pt>
                <c:pt idx="10650">
                  <c:v>#N/A</c:v>
                </c:pt>
                <c:pt idx="10651">
                  <c:v>4.2821917808219174</c:v>
                </c:pt>
                <c:pt idx="10652">
                  <c:v>4.2821917808219174</c:v>
                </c:pt>
                <c:pt idx="10653">
                  <c:v>4.2821917808219174</c:v>
                </c:pt>
                <c:pt idx="10654">
                  <c:v>4.2821917808219174</c:v>
                </c:pt>
                <c:pt idx="10655">
                  <c:v>#N/A</c:v>
                </c:pt>
                <c:pt idx="10656">
                  <c:v>4.2821917808219174</c:v>
                </c:pt>
                <c:pt idx="10657">
                  <c:v>4.2821917808219174</c:v>
                </c:pt>
                <c:pt idx="10658">
                  <c:v>#N/A</c:v>
                </c:pt>
                <c:pt idx="10659">
                  <c:v>4.2821917808219174</c:v>
                </c:pt>
                <c:pt idx="10660">
                  <c:v>4.2876712328767121</c:v>
                </c:pt>
                <c:pt idx="10661">
                  <c:v>4.2876712328767121</c:v>
                </c:pt>
                <c:pt idx="10662">
                  <c:v>#N/A</c:v>
                </c:pt>
                <c:pt idx="10663">
                  <c:v>4.2904109589041095</c:v>
                </c:pt>
                <c:pt idx="10664">
                  <c:v>#N/A</c:v>
                </c:pt>
                <c:pt idx="10665">
                  <c:v>#N/A</c:v>
                </c:pt>
                <c:pt idx="10666">
                  <c:v>#N/A</c:v>
                </c:pt>
                <c:pt idx="10667">
                  <c:v>4.2904109589041095</c:v>
                </c:pt>
                <c:pt idx="10668">
                  <c:v>4.2931506849315069</c:v>
                </c:pt>
                <c:pt idx="10669">
                  <c:v>4.2931506849315069</c:v>
                </c:pt>
                <c:pt idx="10670">
                  <c:v>4.2931506849315069</c:v>
                </c:pt>
                <c:pt idx="10671">
                  <c:v>4.2931506849315069</c:v>
                </c:pt>
                <c:pt idx="10672">
                  <c:v>4.2931506849315069</c:v>
                </c:pt>
                <c:pt idx="10673">
                  <c:v>4.2931506849315069</c:v>
                </c:pt>
                <c:pt idx="10674">
                  <c:v>4.2931506849315069</c:v>
                </c:pt>
                <c:pt idx="10675">
                  <c:v>4.2931506849315069</c:v>
                </c:pt>
                <c:pt idx="10676">
                  <c:v>#N/A</c:v>
                </c:pt>
                <c:pt idx="10677">
                  <c:v>4.2931506849315069</c:v>
                </c:pt>
                <c:pt idx="10678">
                  <c:v>4.2931506849315069</c:v>
                </c:pt>
                <c:pt idx="10679">
                  <c:v>4.2931506849315069</c:v>
                </c:pt>
                <c:pt idx="10680">
                  <c:v>4.2931506849315069</c:v>
                </c:pt>
                <c:pt idx="10681">
                  <c:v>4.2931506849315069</c:v>
                </c:pt>
                <c:pt idx="10682">
                  <c:v>4.2958904109589042</c:v>
                </c:pt>
                <c:pt idx="10683">
                  <c:v>4.2986301369863016</c:v>
                </c:pt>
                <c:pt idx="10684">
                  <c:v>#N/A</c:v>
                </c:pt>
                <c:pt idx="10685">
                  <c:v>4.2986301369863016</c:v>
                </c:pt>
                <c:pt idx="10686">
                  <c:v>4.2986301369863016</c:v>
                </c:pt>
                <c:pt idx="10687">
                  <c:v>4.3013698630136989</c:v>
                </c:pt>
                <c:pt idx="10688">
                  <c:v>4.3013698630136989</c:v>
                </c:pt>
                <c:pt idx="10689">
                  <c:v>4.3013698630136989</c:v>
                </c:pt>
                <c:pt idx="10690">
                  <c:v>4.3041095890410963</c:v>
                </c:pt>
                <c:pt idx="10691">
                  <c:v>4.3041095890410963</c:v>
                </c:pt>
                <c:pt idx="10692">
                  <c:v>4.3095890410958901</c:v>
                </c:pt>
                <c:pt idx="10693">
                  <c:v>4.3095890410958901</c:v>
                </c:pt>
                <c:pt idx="10694">
                  <c:v>4.3123287671232875</c:v>
                </c:pt>
                <c:pt idx="10695">
                  <c:v>4.3123287671232875</c:v>
                </c:pt>
                <c:pt idx="10696">
                  <c:v>4.3150684931506849</c:v>
                </c:pt>
                <c:pt idx="10697">
                  <c:v>4.3150684931506849</c:v>
                </c:pt>
                <c:pt idx="10698">
                  <c:v>4.3150684931506849</c:v>
                </c:pt>
                <c:pt idx="10699">
                  <c:v>4.3178082191780822</c:v>
                </c:pt>
                <c:pt idx="10700">
                  <c:v>#N/A</c:v>
                </c:pt>
                <c:pt idx="10701">
                  <c:v>4.3178082191780822</c:v>
                </c:pt>
                <c:pt idx="10702">
                  <c:v>4.3205479452054796</c:v>
                </c:pt>
                <c:pt idx="10703">
                  <c:v>4.3205479452054796</c:v>
                </c:pt>
                <c:pt idx="10704">
                  <c:v>4.3315068493150681</c:v>
                </c:pt>
                <c:pt idx="10705">
                  <c:v>#N/A</c:v>
                </c:pt>
                <c:pt idx="10706">
                  <c:v>4.3342465753424655</c:v>
                </c:pt>
                <c:pt idx="10707">
                  <c:v>#N/A</c:v>
                </c:pt>
                <c:pt idx="10708">
                  <c:v>#N/A</c:v>
                </c:pt>
                <c:pt idx="10709">
                  <c:v>4.3342465753424655</c:v>
                </c:pt>
                <c:pt idx="10710">
                  <c:v>4.3342465753424655</c:v>
                </c:pt>
                <c:pt idx="10711">
                  <c:v>4.3342465753424655</c:v>
                </c:pt>
                <c:pt idx="10712">
                  <c:v>4.3342465753424655</c:v>
                </c:pt>
                <c:pt idx="10713">
                  <c:v>#N/A</c:v>
                </c:pt>
                <c:pt idx="10714">
                  <c:v>#N/A</c:v>
                </c:pt>
                <c:pt idx="10715">
                  <c:v>#N/A</c:v>
                </c:pt>
                <c:pt idx="10716">
                  <c:v>4.3342465753424655</c:v>
                </c:pt>
                <c:pt idx="10717">
                  <c:v>4.3369863013698629</c:v>
                </c:pt>
                <c:pt idx="10718">
                  <c:v>4.3397260273972602</c:v>
                </c:pt>
                <c:pt idx="10719">
                  <c:v>#N/A</c:v>
                </c:pt>
                <c:pt idx="10720">
                  <c:v>4.3479452054794523</c:v>
                </c:pt>
                <c:pt idx="10721">
                  <c:v>#N/A</c:v>
                </c:pt>
                <c:pt idx="10722">
                  <c:v>4.3561643835616435</c:v>
                </c:pt>
                <c:pt idx="10723">
                  <c:v>4.3561643835616435</c:v>
                </c:pt>
                <c:pt idx="10724">
                  <c:v>#N/A</c:v>
                </c:pt>
                <c:pt idx="10725">
                  <c:v>#N/A</c:v>
                </c:pt>
                <c:pt idx="10726">
                  <c:v>#N/A</c:v>
                </c:pt>
                <c:pt idx="10727">
                  <c:v>#N/A</c:v>
                </c:pt>
                <c:pt idx="10728">
                  <c:v>#N/A</c:v>
                </c:pt>
                <c:pt idx="10729">
                  <c:v>#N/A</c:v>
                </c:pt>
                <c:pt idx="10730">
                  <c:v>#N/A</c:v>
                </c:pt>
                <c:pt idx="10731">
                  <c:v>#N/A</c:v>
                </c:pt>
                <c:pt idx="10732">
                  <c:v>#N/A</c:v>
                </c:pt>
                <c:pt idx="10733">
                  <c:v>4.4054794520547942</c:v>
                </c:pt>
                <c:pt idx="10734">
                  <c:v>#N/A</c:v>
                </c:pt>
                <c:pt idx="10735">
                  <c:v>4.4054794520547942</c:v>
                </c:pt>
                <c:pt idx="10736">
                  <c:v>#N/A</c:v>
                </c:pt>
                <c:pt idx="10737">
                  <c:v>#N/A</c:v>
                </c:pt>
                <c:pt idx="10738">
                  <c:v>4.4136986301369863</c:v>
                </c:pt>
                <c:pt idx="10739">
                  <c:v>#N/A</c:v>
                </c:pt>
                <c:pt idx="10740">
                  <c:v>4.4246575342465757</c:v>
                </c:pt>
                <c:pt idx="10741">
                  <c:v>4.4246575342465757</c:v>
                </c:pt>
                <c:pt idx="10742">
                  <c:v>4.4246575342465757</c:v>
                </c:pt>
                <c:pt idx="10743">
                  <c:v>4.4246575342465757</c:v>
                </c:pt>
                <c:pt idx="10744">
                  <c:v>4.4246575342465757</c:v>
                </c:pt>
                <c:pt idx="10745">
                  <c:v>4.4246575342465757</c:v>
                </c:pt>
                <c:pt idx="10746">
                  <c:v>4.4246575342465757</c:v>
                </c:pt>
                <c:pt idx="10747">
                  <c:v>#N/A</c:v>
                </c:pt>
                <c:pt idx="10748">
                  <c:v>#N/A</c:v>
                </c:pt>
                <c:pt idx="10749">
                  <c:v>4.4273972602739722</c:v>
                </c:pt>
                <c:pt idx="10750">
                  <c:v>4.4273972602739722</c:v>
                </c:pt>
                <c:pt idx="10751">
                  <c:v>4.4273972602739722</c:v>
                </c:pt>
                <c:pt idx="10752">
                  <c:v>#N/A</c:v>
                </c:pt>
                <c:pt idx="10753">
                  <c:v>4.4273972602739722</c:v>
                </c:pt>
                <c:pt idx="10754">
                  <c:v>4.4273972602739722</c:v>
                </c:pt>
                <c:pt idx="10755">
                  <c:v>#N/A</c:v>
                </c:pt>
                <c:pt idx="10756">
                  <c:v>4.4273972602739722</c:v>
                </c:pt>
                <c:pt idx="10757">
                  <c:v>#N/A</c:v>
                </c:pt>
                <c:pt idx="10758">
                  <c:v>4.4273972602739722</c:v>
                </c:pt>
                <c:pt idx="10759">
                  <c:v>#N/A</c:v>
                </c:pt>
                <c:pt idx="10760">
                  <c:v>#N/A</c:v>
                </c:pt>
                <c:pt idx="10761">
                  <c:v>4.4273972602739722</c:v>
                </c:pt>
                <c:pt idx="10762">
                  <c:v>4.4273972602739722</c:v>
                </c:pt>
                <c:pt idx="10763">
                  <c:v>4.4273972602739722</c:v>
                </c:pt>
                <c:pt idx="10764">
                  <c:v>4.4273972602739722</c:v>
                </c:pt>
                <c:pt idx="10765">
                  <c:v>4.4273972602739722</c:v>
                </c:pt>
                <c:pt idx="10766">
                  <c:v>#N/A</c:v>
                </c:pt>
                <c:pt idx="10767">
                  <c:v>#N/A</c:v>
                </c:pt>
                <c:pt idx="10768">
                  <c:v>4.4273972602739722</c:v>
                </c:pt>
                <c:pt idx="10769">
                  <c:v>#N/A</c:v>
                </c:pt>
                <c:pt idx="10770">
                  <c:v>4.4301369863013695</c:v>
                </c:pt>
                <c:pt idx="10771">
                  <c:v>#N/A</c:v>
                </c:pt>
                <c:pt idx="10772">
                  <c:v>#N/A</c:v>
                </c:pt>
                <c:pt idx="10773">
                  <c:v>#N/A</c:v>
                </c:pt>
                <c:pt idx="10774">
                  <c:v>4.4301369863013695</c:v>
                </c:pt>
                <c:pt idx="10775">
                  <c:v>4.4301369863013695</c:v>
                </c:pt>
                <c:pt idx="10776">
                  <c:v>#N/A</c:v>
                </c:pt>
                <c:pt idx="10777">
                  <c:v>4.4301369863013695</c:v>
                </c:pt>
                <c:pt idx="10778">
                  <c:v>4.4301369863013695</c:v>
                </c:pt>
                <c:pt idx="10779">
                  <c:v>#N/A</c:v>
                </c:pt>
                <c:pt idx="10780">
                  <c:v>#N/A</c:v>
                </c:pt>
                <c:pt idx="10781">
                  <c:v>#N/A</c:v>
                </c:pt>
                <c:pt idx="10782">
                  <c:v>#N/A</c:v>
                </c:pt>
                <c:pt idx="10783">
                  <c:v>#N/A</c:v>
                </c:pt>
                <c:pt idx="10784">
                  <c:v>4.4328767123287669</c:v>
                </c:pt>
                <c:pt idx="10785">
                  <c:v>4.4356164383561643</c:v>
                </c:pt>
                <c:pt idx="10786">
                  <c:v>#N/A</c:v>
                </c:pt>
                <c:pt idx="10787">
                  <c:v>#N/A</c:v>
                </c:pt>
                <c:pt idx="10788">
                  <c:v>4.4356164383561643</c:v>
                </c:pt>
                <c:pt idx="10789">
                  <c:v>#N/A</c:v>
                </c:pt>
                <c:pt idx="10790">
                  <c:v>4.4438356164383563</c:v>
                </c:pt>
                <c:pt idx="10791">
                  <c:v>#N/A</c:v>
                </c:pt>
                <c:pt idx="10792">
                  <c:v>#N/A</c:v>
                </c:pt>
                <c:pt idx="10793">
                  <c:v>#N/A</c:v>
                </c:pt>
                <c:pt idx="10794">
                  <c:v>#N/A</c:v>
                </c:pt>
                <c:pt idx="10795">
                  <c:v>4.4465753424657537</c:v>
                </c:pt>
                <c:pt idx="10796">
                  <c:v>4.4465753424657537</c:v>
                </c:pt>
                <c:pt idx="10797">
                  <c:v>4.4465753424657537</c:v>
                </c:pt>
                <c:pt idx="10798">
                  <c:v>#N/A</c:v>
                </c:pt>
                <c:pt idx="10799">
                  <c:v>4.4493150684931511</c:v>
                </c:pt>
                <c:pt idx="10800">
                  <c:v>4.4493150684931511</c:v>
                </c:pt>
                <c:pt idx="10801">
                  <c:v>#N/A</c:v>
                </c:pt>
                <c:pt idx="10802">
                  <c:v>#N/A</c:v>
                </c:pt>
                <c:pt idx="10803">
                  <c:v>#N/A</c:v>
                </c:pt>
                <c:pt idx="10804">
                  <c:v>4.4493150684931511</c:v>
                </c:pt>
                <c:pt idx="10805">
                  <c:v>4.4493150684931511</c:v>
                </c:pt>
                <c:pt idx="10806">
                  <c:v>#N/A</c:v>
                </c:pt>
                <c:pt idx="10807">
                  <c:v>4.4493150684931511</c:v>
                </c:pt>
                <c:pt idx="10808">
                  <c:v>4.4520547945205475</c:v>
                </c:pt>
                <c:pt idx="10809">
                  <c:v>#N/A</c:v>
                </c:pt>
                <c:pt idx="10810">
                  <c:v>#N/A</c:v>
                </c:pt>
                <c:pt idx="10811">
                  <c:v>4.4547945205479449</c:v>
                </c:pt>
                <c:pt idx="10812">
                  <c:v>#N/A</c:v>
                </c:pt>
                <c:pt idx="10813">
                  <c:v>#N/A</c:v>
                </c:pt>
                <c:pt idx="10814">
                  <c:v>4.463013698630137</c:v>
                </c:pt>
                <c:pt idx="10815">
                  <c:v>4.4684931506849317</c:v>
                </c:pt>
                <c:pt idx="10816">
                  <c:v>#N/A</c:v>
                </c:pt>
                <c:pt idx="10817">
                  <c:v>#N/A</c:v>
                </c:pt>
                <c:pt idx="10818">
                  <c:v>#N/A</c:v>
                </c:pt>
                <c:pt idx="10819">
                  <c:v>#N/A</c:v>
                </c:pt>
                <c:pt idx="10820">
                  <c:v>4.4684931506849317</c:v>
                </c:pt>
                <c:pt idx="10821">
                  <c:v>#N/A</c:v>
                </c:pt>
                <c:pt idx="10822">
                  <c:v>4.4684931506849317</c:v>
                </c:pt>
                <c:pt idx="10823">
                  <c:v>4.4684931506849317</c:v>
                </c:pt>
                <c:pt idx="10824">
                  <c:v>#N/A</c:v>
                </c:pt>
                <c:pt idx="10825">
                  <c:v>#N/A</c:v>
                </c:pt>
                <c:pt idx="10826">
                  <c:v>4.4684931506849317</c:v>
                </c:pt>
                <c:pt idx="10827">
                  <c:v>#N/A</c:v>
                </c:pt>
                <c:pt idx="10828">
                  <c:v>#N/A</c:v>
                </c:pt>
                <c:pt idx="10829">
                  <c:v>#N/A</c:v>
                </c:pt>
                <c:pt idx="10830">
                  <c:v>#N/A</c:v>
                </c:pt>
                <c:pt idx="10831">
                  <c:v>#N/A</c:v>
                </c:pt>
                <c:pt idx="10832">
                  <c:v>4.4684931506849317</c:v>
                </c:pt>
                <c:pt idx="10833">
                  <c:v>#N/A</c:v>
                </c:pt>
                <c:pt idx="10834">
                  <c:v>4.4684931506849317</c:v>
                </c:pt>
                <c:pt idx="10835">
                  <c:v>#N/A</c:v>
                </c:pt>
                <c:pt idx="10836">
                  <c:v>4.4684931506849317</c:v>
                </c:pt>
                <c:pt idx="10837">
                  <c:v>#N/A</c:v>
                </c:pt>
                <c:pt idx="10838">
                  <c:v>4.4684931506849317</c:v>
                </c:pt>
                <c:pt idx="10839">
                  <c:v>4.4684931506849317</c:v>
                </c:pt>
                <c:pt idx="10840">
                  <c:v>4.4684931506849317</c:v>
                </c:pt>
                <c:pt idx="10841">
                  <c:v>#N/A</c:v>
                </c:pt>
                <c:pt idx="10842">
                  <c:v>#N/A</c:v>
                </c:pt>
                <c:pt idx="10843">
                  <c:v>#N/A</c:v>
                </c:pt>
                <c:pt idx="10844">
                  <c:v>#N/A</c:v>
                </c:pt>
                <c:pt idx="10845">
                  <c:v>#N/A</c:v>
                </c:pt>
                <c:pt idx="10846">
                  <c:v>#N/A</c:v>
                </c:pt>
                <c:pt idx="10847">
                  <c:v>#N/A</c:v>
                </c:pt>
                <c:pt idx="10848">
                  <c:v>#N/A</c:v>
                </c:pt>
                <c:pt idx="10849">
                  <c:v>#N/A</c:v>
                </c:pt>
                <c:pt idx="10850">
                  <c:v>#N/A</c:v>
                </c:pt>
                <c:pt idx="10851">
                  <c:v>#N/A</c:v>
                </c:pt>
                <c:pt idx="10852">
                  <c:v>#N/A</c:v>
                </c:pt>
                <c:pt idx="10853">
                  <c:v>#N/A</c:v>
                </c:pt>
                <c:pt idx="10854">
                  <c:v>4.4684931506849317</c:v>
                </c:pt>
                <c:pt idx="10855">
                  <c:v>#N/A</c:v>
                </c:pt>
                <c:pt idx="10856">
                  <c:v>#N/A</c:v>
                </c:pt>
                <c:pt idx="10857">
                  <c:v>#N/A</c:v>
                </c:pt>
                <c:pt idx="10858">
                  <c:v>4.4684931506849317</c:v>
                </c:pt>
                <c:pt idx="10859">
                  <c:v>#N/A</c:v>
                </c:pt>
                <c:pt idx="10860">
                  <c:v>#N/A</c:v>
                </c:pt>
                <c:pt idx="10861">
                  <c:v>#N/A</c:v>
                </c:pt>
                <c:pt idx="10862">
                  <c:v>4.4684931506849317</c:v>
                </c:pt>
                <c:pt idx="10863">
                  <c:v>#N/A</c:v>
                </c:pt>
                <c:pt idx="10864">
                  <c:v>#N/A</c:v>
                </c:pt>
                <c:pt idx="10865">
                  <c:v>#N/A</c:v>
                </c:pt>
                <c:pt idx="10866">
                  <c:v>#N/A</c:v>
                </c:pt>
                <c:pt idx="10867">
                  <c:v>#N/A</c:v>
                </c:pt>
                <c:pt idx="10868">
                  <c:v>4.4684931506849317</c:v>
                </c:pt>
                <c:pt idx="10869">
                  <c:v>#N/A</c:v>
                </c:pt>
                <c:pt idx="10870">
                  <c:v>4.4684931506849317</c:v>
                </c:pt>
                <c:pt idx="10871">
                  <c:v>#N/A</c:v>
                </c:pt>
                <c:pt idx="10872">
                  <c:v>#N/A</c:v>
                </c:pt>
                <c:pt idx="10873">
                  <c:v>#N/A</c:v>
                </c:pt>
                <c:pt idx="10874">
                  <c:v>4.4684931506849317</c:v>
                </c:pt>
                <c:pt idx="10875">
                  <c:v>#N/A</c:v>
                </c:pt>
                <c:pt idx="10876">
                  <c:v>#N/A</c:v>
                </c:pt>
                <c:pt idx="10877">
                  <c:v>#N/A</c:v>
                </c:pt>
                <c:pt idx="10878">
                  <c:v>#N/A</c:v>
                </c:pt>
                <c:pt idx="10879">
                  <c:v>#N/A</c:v>
                </c:pt>
                <c:pt idx="10880">
                  <c:v>#N/A</c:v>
                </c:pt>
                <c:pt idx="10881">
                  <c:v>4.4684931506849317</c:v>
                </c:pt>
                <c:pt idx="10882">
                  <c:v>4.4684931506849317</c:v>
                </c:pt>
                <c:pt idx="10883">
                  <c:v>4.4684931506849317</c:v>
                </c:pt>
                <c:pt idx="10884">
                  <c:v>#N/A</c:v>
                </c:pt>
                <c:pt idx="10885">
                  <c:v>4.4684931506849317</c:v>
                </c:pt>
                <c:pt idx="10886">
                  <c:v>4.4684931506849317</c:v>
                </c:pt>
                <c:pt idx="10887">
                  <c:v>#N/A</c:v>
                </c:pt>
                <c:pt idx="10888">
                  <c:v>4.4684931506849317</c:v>
                </c:pt>
                <c:pt idx="10889">
                  <c:v>#N/A</c:v>
                </c:pt>
                <c:pt idx="10890">
                  <c:v>#N/A</c:v>
                </c:pt>
                <c:pt idx="10891">
                  <c:v>#N/A</c:v>
                </c:pt>
                <c:pt idx="10892">
                  <c:v>4.4684931506849317</c:v>
                </c:pt>
                <c:pt idx="10893">
                  <c:v>4.4684931506849317</c:v>
                </c:pt>
                <c:pt idx="10894">
                  <c:v>#N/A</c:v>
                </c:pt>
                <c:pt idx="10895">
                  <c:v>4.4684931506849317</c:v>
                </c:pt>
                <c:pt idx="10896">
                  <c:v>4.4739726027397264</c:v>
                </c:pt>
                <c:pt idx="10897">
                  <c:v>#N/A</c:v>
                </c:pt>
                <c:pt idx="10898">
                  <c:v>4.4739726027397264</c:v>
                </c:pt>
                <c:pt idx="10899">
                  <c:v>#N/A</c:v>
                </c:pt>
                <c:pt idx="10900">
                  <c:v>4.4821917808219176</c:v>
                </c:pt>
                <c:pt idx="10901">
                  <c:v>#N/A</c:v>
                </c:pt>
                <c:pt idx="10902">
                  <c:v>4.4821917808219176</c:v>
                </c:pt>
                <c:pt idx="10903">
                  <c:v>#N/A</c:v>
                </c:pt>
                <c:pt idx="10904">
                  <c:v>4.484931506849315</c:v>
                </c:pt>
                <c:pt idx="10905">
                  <c:v>4.484931506849315</c:v>
                </c:pt>
                <c:pt idx="10906">
                  <c:v>4.484931506849315</c:v>
                </c:pt>
                <c:pt idx="10907">
                  <c:v>4.484931506849315</c:v>
                </c:pt>
                <c:pt idx="10908">
                  <c:v>4.484931506849315</c:v>
                </c:pt>
                <c:pt idx="10909">
                  <c:v>#N/A</c:v>
                </c:pt>
                <c:pt idx="10910">
                  <c:v>#N/A</c:v>
                </c:pt>
                <c:pt idx="10911">
                  <c:v>#N/A</c:v>
                </c:pt>
                <c:pt idx="10912">
                  <c:v>4.484931506849315</c:v>
                </c:pt>
                <c:pt idx="10913">
                  <c:v>4.484931506849315</c:v>
                </c:pt>
                <c:pt idx="10914">
                  <c:v>4.484931506849315</c:v>
                </c:pt>
                <c:pt idx="10915">
                  <c:v>4.484931506849315</c:v>
                </c:pt>
                <c:pt idx="10916">
                  <c:v>#N/A</c:v>
                </c:pt>
                <c:pt idx="10917">
                  <c:v>#N/A</c:v>
                </c:pt>
                <c:pt idx="10918">
                  <c:v>4.484931506849315</c:v>
                </c:pt>
                <c:pt idx="10919">
                  <c:v>#N/A</c:v>
                </c:pt>
                <c:pt idx="10920">
                  <c:v>#N/A</c:v>
                </c:pt>
                <c:pt idx="10921">
                  <c:v>4.484931506849315</c:v>
                </c:pt>
                <c:pt idx="10922">
                  <c:v>4.484931506849315</c:v>
                </c:pt>
                <c:pt idx="10923">
                  <c:v>4.484931506849315</c:v>
                </c:pt>
                <c:pt idx="10924">
                  <c:v>4.484931506849315</c:v>
                </c:pt>
                <c:pt idx="10925">
                  <c:v>#N/A</c:v>
                </c:pt>
                <c:pt idx="10926">
                  <c:v>#N/A</c:v>
                </c:pt>
                <c:pt idx="10927">
                  <c:v>#N/A</c:v>
                </c:pt>
                <c:pt idx="10928">
                  <c:v>4.484931506849315</c:v>
                </c:pt>
                <c:pt idx="10929">
                  <c:v>4.484931506849315</c:v>
                </c:pt>
                <c:pt idx="10930">
                  <c:v>4.484931506849315</c:v>
                </c:pt>
                <c:pt idx="10931">
                  <c:v>#N/A</c:v>
                </c:pt>
                <c:pt idx="10932">
                  <c:v>4.484931506849315</c:v>
                </c:pt>
                <c:pt idx="10933">
                  <c:v>#N/A</c:v>
                </c:pt>
                <c:pt idx="10934">
                  <c:v>#N/A</c:v>
                </c:pt>
                <c:pt idx="10935">
                  <c:v>#N/A</c:v>
                </c:pt>
                <c:pt idx="10936">
                  <c:v>#N/A</c:v>
                </c:pt>
                <c:pt idx="10937">
                  <c:v>4.484931506849315</c:v>
                </c:pt>
                <c:pt idx="10938">
                  <c:v>4.4876712328767123</c:v>
                </c:pt>
                <c:pt idx="10939">
                  <c:v>#N/A</c:v>
                </c:pt>
                <c:pt idx="10940">
                  <c:v>#N/A</c:v>
                </c:pt>
                <c:pt idx="10941">
                  <c:v>4.4876712328767123</c:v>
                </c:pt>
                <c:pt idx="10942">
                  <c:v>#N/A</c:v>
                </c:pt>
                <c:pt idx="10943">
                  <c:v>4.4876712328767123</c:v>
                </c:pt>
                <c:pt idx="10944">
                  <c:v>4.4904109589041097</c:v>
                </c:pt>
                <c:pt idx="10945">
                  <c:v>#N/A</c:v>
                </c:pt>
                <c:pt idx="10946">
                  <c:v>4.4904109589041097</c:v>
                </c:pt>
                <c:pt idx="10947">
                  <c:v>#N/A</c:v>
                </c:pt>
                <c:pt idx="10948">
                  <c:v>4.4904109589041097</c:v>
                </c:pt>
                <c:pt idx="10949">
                  <c:v>4.493150684931507</c:v>
                </c:pt>
                <c:pt idx="10950">
                  <c:v>4.493150684931507</c:v>
                </c:pt>
                <c:pt idx="10951">
                  <c:v>4.493150684931507</c:v>
                </c:pt>
                <c:pt idx="10952">
                  <c:v>4.493150684931507</c:v>
                </c:pt>
                <c:pt idx="10953">
                  <c:v>4.5013698630136982</c:v>
                </c:pt>
                <c:pt idx="10954">
                  <c:v>4.5041095890410956</c:v>
                </c:pt>
                <c:pt idx="10955">
                  <c:v>#N/A</c:v>
                </c:pt>
                <c:pt idx="10956">
                  <c:v>4.506849315068493</c:v>
                </c:pt>
                <c:pt idx="10957">
                  <c:v>4.506849315068493</c:v>
                </c:pt>
                <c:pt idx="10958">
                  <c:v>#N/A</c:v>
                </c:pt>
                <c:pt idx="10959">
                  <c:v>#N/A</c:v>
                </c:pt>
                <c:pt idx="10960">
                  <c:v>4.5095890410958903</c:v>
                </c:pt>
                <c:pt idx="10961">
                  <c:v>4.5095890410958903</c:v>
                </c:pt>
                <c:pt idx="10962">
                  <c:v>#N/A</c:v>
                </c:pt>
                <c:pt idx="10963">
                  <c:v>4.5095890410958903</c:v>
                </c:pt>
                <c:pt idx="10964">
                  <c:v>4.5095890410958903</c:v>
                </c:pt>
                <c:pt idx="10965">
                  <c:v>#N/A</c:v>
                </c:pt>
                <c:pt idx="10966">
                  <c:v>#N/A</c:v>
                </c:pt>
                <c:pt idx="10967">
                  <c:v>#N/A</c:v>
                </c:pt>
                <c:pt idx="10968">
                  <c:v>#N/A</c:v>
                </c:pt>
                <c:pt idx="10969">
                  <c:v>#N/A</c:v>
                </c:pt>
                <c:pt idx="10970">
                  <c:v>#N/A</c:v>
                </c:pt>
                <c:pt idx="10971">
                  <c:v>#N/A</c:v>
                </c:pt>
                <c:pt idx="10972">
                  <c:v>#N/A</c:v>
                </c:pt>
                <c:pt idx="10973">
                  <c:v>#N/A</c:v>
                </c:pt>
                <c:pt idx="10974">
                  <c:v>#N/A</c:v>
                </c:pt>
                <c:pt idx="10975">
                  <c:v>#N/A</c:v>
                </c:pt>
                <c:pt idx="10976">
                  <c:v>#N/A</c:v>
                </c:pt>
                <c:pt idx="10977">
                  <c:v>4.5095890410958903</c:v>
                </c:pt>
                <c:pt idx="10978">
                  <c:v>4.5095890410958903</c:v>
                </c:pt>
                <c:pt idx="10979">
                  <c:v>4.5095890410958903</c:v>
                </c:pt>
                <c:pt idx="10980">
                  <c:v>4.5095890410958903</c:v>
                </c:pt>
                <c:pt idx="10981">
                  <c:v>#N/A</c:v>
                </c:pt>
                <c:pt idx="10982">
                  <c:v>4.5095890410958903</c:v>
                </c:pt>
                <c:pt idx="10983">
                  <c:v>#N/A</c:v>
                </c:pt>
                <c:pt idx="10984">
                  <c:v>4.5095890410958903</c:v>
                </c:pt>
                <c:pt idx="10985">
                  <c:v>#N/A</c:v>
                </c:pt>
                <c:pt idx="10986">
                  <c:v>4.5095890410958903</c:v>
                </c:pt>
                <c:pt idx="10987">
                  <c:v>#N/A</c:v>
                </c:pt>
                <c:pt idx="10988">
                  <c:v>4.5095890410958903</c:v>
                </c:pt>
                <c:pt idx="10989">
                  <c:v>4.5095890410958903</c:v>
                </c:pt>
                <c:pt idx="10990">
                  <c:v>4.5095890410958903</c:v>
                </c:pt>
                <c:pt idx="10991">
                  <c:v>4.5095890410958903</c:v>
                </c:pt>
                <c:pt idx="10992">
                  <c:v>4.5095890410958903</c:v>
                </c:pt>
                <c:pt idx="10993">
                  <c:v>#N/A</c:v>
                </c:pt>
                <c:pt idx="10994">
                  <c:v>#N/A</c:v>
                </c:pt>
                <c:pt idx="10995">
                  <c:v>4.5095890410958903</c:v>
                </c:pt>
                <c:pt idx="10996">
                  <c:v>4.5095890410958903</c:v>
                </c:pt>
                <c:pt idx="10997">
                  <c:v>4.5095890410958903</c:v>
                </c:pt>
                <c:pt idx="10998">
                  <c:v>4.5095890410958903</c:v>
                </c:pt>
                <c:pt idx="10999">
                  <c:v>4.5095890410958903</c:v>
                </c:pt>
                <c:pt idx="11000">
                  <c:v>4.5095890410958903</c:v>
                </c:pt>
                <c:pt idx="11001">
                  <c:v>#N/A</c:v>
                </c:pt>
                <c:pt idx="11002">
                  <c:v>4.5095890410958903</c:v>
                </c:pt>
                <c:pt idx="11003">
                  <c:v>4.5095890410958903</c:v>
                </c:pt>
                <c:pt idx="11004">
                  <c:v>#N/A</c:v>
                </c:pt>
                <c:pt idx="11005">
                  <c:v>4.5095890410958903</c:v>
                </c:pt>
                <c:pt idx="11006">
                  <c:v>#N/A</c:v>
                </c:pt>
                <c:pt idx="11007">
                  <c:v>4.5095890410958903</c:v>
                </c:pt>
                <c:pt idx="11008">
                  <c:v>4.5095890410958903</c:v>
                </c:pt>
                <c:pt idx="11009">
                  <c:v>4.5095890410958903</c:v>
                </c:pt>
                <c:pt idx="11010">
                  <c:v>#N/A</c:v>
                </c:pt>
                <c:pt idx="11011">
                  <c:v>#N/A</c:v>
                </c:pt>
                <c:pt idx="11012">
                  <c:v>#N/A</c:v>
                </c:pt>
                <c:pt idx="11013">
                  <c:v>4.5095890410958903</c:v>
                </c:pt>
                <c:pt idx="11014">
                  <c:v>#N/A</c:v>
                </c:pt>
                <c:pt idx="11015">
                  <c:v>4.5123287671232877</c:v>
                </c:pt>
                <c:pt idx="11016">
                  <c:v>#N/A</c:v>
                </c:pt>
                <c:pt idx="11017">
                  <c:v>#N/A</c:v>
                </c:pt>
                <c:pt idx="11018">
                  <c:v>4.5123287671232877</c:v>
                </c:pt>
                <c:pt idx="11019">
                  <c:v>4.5123287671232877</c:v>
                </c:pt>
                <c:pt idx="11020">
                  <c:v>#N/A</c:v>
                </c:pt>
                <c:pt idx="11021">
                  <c:v>#N/A</c:v>
                </c:pt>
                <c:pt idx="11022">
                  <c:v>4.5123287671232877</c:v>
                </c:pt>
                <c:pt idx="11023">
                  <c:v>4.5123287671232877</c:v>
                </c:pt>
                <c:pt idx="11024">
                  <c:v>#N/A</c:v>
                </c:pt>
                <c:pt idx="11025">
                  <c:v>4.5123287671232877</c:v>
                </c:pt>
                <c:pt idx="11026">
                  <c:v>4.5123287671232877</c:v>
                </c:pt>
                <c:pt idx="11027">
                  <c:v>#N/A</c:v>
                </c:pt>
                <c:pt idx="11028">
                  <c:v>4.5123287671232877</c:v>
                </c:pt>
                <c:pt idx="11029">
                  <c:v>4.5123287671232877</c:v>
                </c:pt>
                <c:pt idx="11030">
                  <c:v>#N/A</c:v>
                </c:pt>
                <c:pt idx="11031">
                  <c:v>4.5123287671232877</c:v>
                </c:pt>
                <c:pt idx="11032">
                  <c:v>4.5123287671232877</c:v>
                </c:pt>
                <c:pt idx="11033">
                  <c:v>4.5123287671232877</c:v>
                </c:pt>
                <c:pt idx="11034">
                  <c:v>4.5123287671232877</c:v>
                </c:pt>
                <c:pt idx="11035">
                  <c:v>#N/A</c:v>
                </c:pt>
                <c:pt idx="11036">
                  <c:v>4.5123287671232877</c:v>
                </c:pt>
                <c:pt idx="11037">
                  <c:v>4.5123287671232877</c:v>
                </c:pt>
                <c:pt idx="11038">
                  <c:v>4.5123287671232877</c:v>
                </c:pt>
                <c:pt idx="11039">
                  <c:v>4.5123287671232877</c:v>
                </c:pt>
                <c:pt idx="11040">
                  <c:v>4.5178082191780824</c:v>
                </c:pt>
                <c:pt idx="11041">
                  <c:v>4.5178082191780824</c:v>
                </c:pt>
                <c:pt idx="11042">
                  <c:v>4.5178082191780824</c:v>
                </c:pt>
                <c:pt idx="11043">
                  <c:v>4.5178082191780824</c:v>
                </c:pt>
                <c:pt idx="11044">
                  <c:v>4.5205479452054798</c:v>
                </c:pt>
                <c:pt idx="11045">
                  <c:v>4.5205479452054798</c:v>
                </c:pt>
                <c:pt idx="11046">
                  <c:v>4.5205479452054798</c:v>
                </c:pt>
                <c:pt idx="11047">
                  <c:v>4.5205479452054798</c:v>
                </c:pt>
                <c:pt idx="11048">
                  <c:v>#N/A</c:v>
                </c:pt>
                <c:pt idx="11049">
                  <c:v>#N/A</c:v>
                </c:pt>
                <c:pt idx="11050">
                  <c:v>4.5205479452054798</c:v>
                </c:pt>
                <c:pt idx="11051">
                  <c:v>4.5232876712328771</c:v>
                </c:pt>
                <c:pt idx="11052">
                  <c:v>4.5232876712328771</c:v>
                </c:pt>
                <c:pt idx="11053">
                  <c:v>#N/A</c:v>
                </c:pt>
                <c:pt idx="11054">
                  <c:v>4.5232876712328771</c:v>
                </c:pt>
                <c:pt idx="11055">
                  <c:v>4.5232876712328771</c:v>
                </c:pt>
                <c:pt idx="11056">
                  <c:v>#N/A</c:v>
                </c:pt>
                <c:pt idx="11057">
                  <c:v>4.5232876712328771</c:v>
                </c:pt>
                <c:pt idx="11058">
                  <c:v>4.5232876712328771</c:v>
                </c:pt>
                <c:pt idx="11059">
                  <c:v>4.5232876712328771</c:v>
                </c:pt>
                <c:pt idx="11060">
                  <c:v>#N/A</c:v>
                </c:pt>
                <c:pt idx="11061">
                  <c:v>4.5232876712328771</c:v>
                </c:pt>
                <c:pt idx="11062">
                  <c:v>#N/A</c:v>
                </c:pt>
                <c:pt idx="11063">
                  <c:v>4.5232876712328771</c:v>
                </c:pt>
                <c:pt idx="11064">
                  <c:v>#N/A</c:v>
                </c:pt>
                <c:pt idx="11065">
                  <c:v>4.5232876712328771</c:v>
                </c:pt>
                <c:pt idx="11066">
                  <c:v>#N/A</c:v>
                </c:pt>
                <c:pt idx="11067">
                  <c:v>4.5260273972602736</c:v>
                </c:pt>
                <c:pt idx="11068">
                  <c:v>4.5260273972602736</c:v>
                </c:pt>
                <c:pt idx="11069">
                  <c:v>#N/A</c:v>
                </c:pt>
                <c:pt idx="11070">
                  <c:v>4.5260273972602736</c:v>
                </c:pt>
                <c:pt idx="11071">
                  <c:v>#N/A</c:v>
                </c:pt>
                <c:pt idx="11072">
                  <c:v>4.5260273972602736</c:v>
                </c:pt>
                <c:pt idx="11073">
                  <c:v>4.5260273972602736</c:v>
                </c:pt>
                <c:pt idx="11074">
                  <c:v>#N/A</c:v>
                </c:pt>
                <c:pt idx="11075">
                  <c:v>4.5260273972602736</c:v>
                </c:pt>
                <c:pt idx="11076">
                  <c:v>4.5260273972602736</c:v>
                </c:pt>
                <c:pt idx="11077">
                  <c:v>4.5260273972602736</c:v>
                </c:pt>
                <c:pt idx="11078">
                  <c:v>#N/A</c:v>
                </c:pt>
                <c:pt idx="11079">
                  <c:v>4.5260273972602736</c:v>
                </c:pt>
                <c:pt idx="11080">
                  <c:v>4.5260273972602736</c:v>
                </c:pt>
                <c:pt idx="11081">
                  <c:v>#N/A</c:v>
                </c:pt>
                <c:pt idx="11082">
                  <c:v>4.5260273972602736</c:v>
                </c:pt>
                <c:pt idx="11083">
                  <c:v>#N/A</c:v>
                </c:pt>
                <c:pt idx="11084">
                  <c:v>4.5287671232876709</c:v>
                </c:pt>
                <c:pt idx="11085">
                  <c:v>4.5287671232876709</c:v>
                </c:pt>
                <c:pt idx="11086">
                  <c:v>#N/A</c:v>
                </c:pt>
                <c:pt idx="11087">
                  <c:v>4.5287671232876709</c:v>
                </c:pt>
                <c:pt idx="11088">
                  <c:v>4.5287671232876709</c:v>
                </c:pt>
                <c:pt idx="11089">
                  <c:v>4.5315068493150683</c:v>
                </c:pt>
                <c:pt idx="11090">
                  <c:v>4.5315068493150683</c:v>
                </c:pt>
                <c:pt idx="11091">
                  <c:v>4.5342465753424657</c:v>
                </c:pt>
                <c:pt idx="11092">
                  <c:v>4.5342465753424657</c:v>
                </c:pt>
                <c:pt idx="11093">
                  <c:v>4.536986301369863</c:v>
                </c:pt>
                <c:pt idx="11094">
                  <c:v>#N/A</c:v>
                </c:pt>
                <c:pt idx="11095">
                  <c:v>4.5424657534246577</c:v>
                </c:pt>
                <c:pt idx="11096">
                  <c:v>4.5424657534246577</c:v>
                </c:pt>
                <c:pt idx="11097">
                  <c:v>4.5424657534246577</c:v>
                </c:pt>
                <c:pt idx="11098">
                  <c:v>4.5452054794520551</c:v>
                </c:pt>
                <c:pt idx="11099">
                  <c:v>4.5452054794520551</c:v>
                </c:pt>
                <c:pt idx="11100">
                  <c:v>4.5452054794520551</c:v>
                </c:pt>
                <c:pt idx="11101">
                  <c:v>4.5452054794520551</c:v>
                </c:pt>
                <c:pt idx="11102">
                  <c:v>4.5452054794520551</c:v>
                </c:pt>
                <c:pt idx="11103">
                  <c:v>4.5452054794520551</c:v>
                </c:pt>
                <c:pt idx="11104">
                  <c:v>4.5452054794520551</c:v>
                </c:pt>
                <c:pt idx="11105">
                  <c:v>4.5452054794520551</c:v>
                </c:pt>
                <c:pt idx="11106">
                  <c:v>4.5452054794520551</c:v>
                </c:pt>
                <c:pt idx="11107">
                  <c:v>4.5452054794520551</c:v>
                </c:pt>
                <c:pt idx="11108">
                  <c:v>4.5452054794520551</c:v>
                </c:pt>
                <c:pt idx="11109">
                  <c:v>4.5452054794520551</c:v>
                </c:pt>
                <c:pt idx="11110">
                  <c:v>4.5452054794520551</c:v>
                </c:pt>
                <c:pt idx="11111">
                  <c:v>4.5452054794520551</c:v>
                </c:pt>
                <c:pt idx="11112">
                  <c:v>4.5506849315068489</c:v>
                </c:pt>
                <c:pt idx="11113">
                  <c:v>#N/A</c:v>
                </c:pt>
                <c:pt idx="11114">
                  <c:v>4.558904109589041</c:v>
                </c:pt>
                <c:pt idx="11115">
                  <c:v>4.5616438356164384</c:v>
                </c:pt>
                <c:pt idx="11116">
                  <c:v>4.5616438356164384</c:v>
                </c:pt>
                <c:pt idx="11117">
                  <c:v>4.5616438356164384</c:v>
                </c:pt>
                <c:pt idx="11118">
                  <c:v>4.5616438356164384</c:v>
                </c:pt>
                <c:pt idx="11119">
                  <c:v>#N/A</c:v>
                </c:pt>
                <c:pt idx="11120">
                  <c:v>4.5643835616438357</c:v>
                </c:pt>
                <c:pt idx="11121">
                  <c:v>4.5671232876712331</c:v>
                </c:pt>
                <c:pt idx="11122">
                  <c:v>#N/A</c:v>
                </c:pt>
                <c:pt idx="11123">
                  <c:v>#N/A</c:v>
                </c:pt>
                <c:pt idx="11124">
                  <c:v>4.5698630136986305</c:v>
                </c:pt>
                <c:pt idx="11125">
                  <c:v>4.5698630136986305</c:v>
                </c:pt>
                <c:pt idx="11126">
                  <c:v>4.5698630136986305</c:v>
                </c:pt>
                <c:pt idx="11127">
                  <c:v>4.5780821917808217</c:v>
                </c:pt>
                <c:pt idx="11128">
                  <c:v>#N/A</c:v>
                </c:pt>
                <c:pt idx="11129">
                  <c:v>4.5780821917808217</c:v>
                </c:pt>
                <c:pt idx="11130">
                  <c:v>4.5780821917808217</c:v>
                </c:pt>
                <c:pt idx="11131">
                  <c:v>#N/A</c:v>
                </c:pt>
                <c:pt idx="11132">
                  <c:v>#N/A</c:v>
                </c:pt>
                <c:pt idx="11133">
                  <c:v>4.5835616438356164</c:v>
                </c:pt>
                <c:pt idx="11134">
                  <c:v>4.5835616438356164</c:v>
                </c:pt>
                <c:pt idx="11135">
                  <c:v>4.5835616438356164</c:v>
                </c:pt>
                <c:pt idx="11136">
                  <c:v>#N/A</c:v>
                </c:pt>
                <c:pt idx="11137">
                  <c:v>4.5945205479452058</c:v>
                </c:pt>
                <c:pt idx="11138">
                  <c:v>#N/A</c:v>
                </c:pt>
                <c:pt idx="11139">
                  <c:v>#N/A</c:v>
                </c:pt>
                <c:pt idx="11140">
                  <c:v>4.5972602739726032</c:v>
                </c:pt>
                <c:pt idx="11141">
                  <c:v>#N/A</c:v>
                </c:pt>
                <c:pt idx="11142">
                  <c:v>4.5972602739726032</c:v>
                </c:pt>
                <c:pt idx="11143">
                  <c:v>4.5972602739726032</c:v>
                </c:pt>
                <c:pt idx="11144">
                  <c:v>4.5972602739726032</c:v>
                </c:pt>
                <c:pt idx="11145">
                  <c:v>4.5972602739726032</c:v>
                </c:pt>
                <c:pt idx="11146">
                  <c:v>4.5972602739726032</c:v>
                </c:pt>
                <c:pt idx="11147">
                  <c:v>4.5972602739726032</c:v>
                </c:pt>
                <c:pt idx="11148">
                  <c:v>4.5972602739726032</c:v>
                </c:pt>
                <c:pt idx="11149">
                  <c:v>4.5972602739726032</c:v>
                </c:pt>
                <c:pt idx="11150">
                  <c:v>4.5972602739726032</c:v>
                </c:pt>
                <c:pt idx="11151">
                  <c:v>4.5999999999999996</c:v>
                </c:pt>
                <c:pt idx="11152">
                  <c:v>4.5999999999999996</c:v>
                </c:pt>
                <c:pt idx="11153">
                  <c:v>#N/A</c:v>
                </c:pt>
                <c:pt idx="11154">
                  <c:v>4.5999999999999996</c:v>
                </c:pt>
                <c:pt idx="11155">
                  <c:v>#N/A</c:v>
                </c:pt>
                <c:pt idx="11156">
                  <c:v>4.5999999999999996</c:v>
                </c:pt>
                <c:pt idx="11157">
                  <c:v>4.602739726027397</c:v>
                </c:pt>
                <c:pt idx="11158">
                  <c:v>4.602739726027397</c:v>
                </c:pt>
                <c:pt idx="11159">
                  <c:v>4.6082191780821917</c:v>
                </c:pt>
                <c:pt idx="11160">
                  <c:v>#N/A</c:v>
                </c:pt>
                <c:pt idx="11161">
                  <c:v>#N/A</c:v>
                </c:pt>
                <c:pt idx="11162">
                  <c:v>4.6109589041095891</c:v>
                </c:pt>
                <c:pt idx="11163">
                  <c:v>#N/A</c:v>
                </c:pt>
                <c:pt idx="11164">
                  <c:v>4.6164383561643838</c:v>
                </c:pt>
                <c:pt idx="11165">
                  <c:v>4.6164383561643838</c:v>
                </c:pt>
                <c:pt idx="11166">
                  <c:v>#N/A</c:v>
                </c:pt>
                <c:pt idx="11167">
                  <c:v>4.6219178082191785</c:v>
                </c:pt>
                <c:pt idx="11168">
                  <c:v>#N/A</c:v>
                </c:pt>
                <c:pt idx="11169">
                  <c:v>4.6383561643835618</c:v>
                </c:pt>
                <c:pt idx="11170">
                  <c:v>4.6410958904109592</c:v>
                </c:pt>
                <c:pt idx="11171">
                  <c:v>4.6410958904109592</c:v>
                </c:pt>
                <c:pt idx="11172">
                  <c:v>4.6410958904109592</c:v>
                </c:pt>
                <c:pt idx="11173">
                  <c:v>4.6410958904109592</c:v>
                </c:pt>
                <c:pt idx="11174">
                  <c:v>4.6410958904109592</c:v>
                </c:pt>
                <c:pt idx="11175">
                  <c:v>4.6410958904109592</c:v>
                </c:pt>
                <c:pt idx="11176">
                  <c:v>#N/A</c:v>
                </c:pt>
                <c:pt idx="11177">
                  <c:v>4.6547945205479451</c:v>
                </c:pt>
                <c:pt idx="11178">
                  <c:v>#N/A</c:v>
                </c:pt>
                <c:pt idx="11179">
                  <c:v>4.6575342465753424</c:v>
                </c:pt>
                <c:pt idx="11180">
                  <c:v>4.6575342465753424</c:v>
                </c:pt>
                <c:pt idx="11181">
                  <c:v>4.6575342465753424</c:v>
                </c:pt>
                <c:pt idx="11182">
                  <c:v>4.6602739726027398</c:v>
                </c:pt>
                <c:pt idx="11183">
                  <c:v>4.6602739726027398</c:v>
                </c:pt>
                <c:pt idx="11184">
                  <c:v>4.6630136986301371</c:v>
                </c:pt>
                <c:pt idx="11185">
                  <c:v>4.6630136986301371</c:v>
                </c:pt>
                <c:pt idx="11186">
                  <c:v>4.6630136986301371</c:v>
                </c:pt>
                <c:pt idx="11187">
                  <c:v>4.6630136986301371</c:v>
                </c:pt>
                <c:pt idx="11188">
                  <c:v>#N/A</c:v>
                </c:pt>
                <c:pt idx="11189">
                  <c:v>4.6657534246575345</c:v>
                </c:pt>
                <c:pt idx="11190">
                  <c:v>4.6657534246575345</c:v>
                </c:pt>
                <c:pt idx="11191">
                  <c:v>4.6712328767123283</c:v>
                </c:pt>
                <c:pt idx="11192">
                  <c:v>#N/A</c:v>
                </c:pt>
                <c:pt idx="11193">
                  <c:v>4.6712328767123283</c:v>
                </c:pt>
                <c:pt idx="11194">
                  <c:v>4.6739726027397257</c:v>
                </c:pt>
                <c:pt idx="11195">
                  <c:v>4.6739726027397257</c:v>
                </c:pt>
                <c:pt idx="11196">
                  <c:v>4.6739726027397257</c:v>
                </c:pt>
                <c:pt idx="11197">
                  <c:v>4.6739726027397257</c:v>
                </c:pt>
                <c:pt idx="11198">
                  <c:v>4.6739726027397257</c:v>
                </c:pt>
                <c:pt idx="11199">
                  <c:v>4.6739726027397257</c:v>
                </c:pt>
                <c:pt idx="11200">
                  <c:v>4.6767123287671231</c:v>
                </c:pt>
                <c:pt idx="11201">
                  <c:v>4.6767123287671231</c:v>
                </c:pt>
                <c:pt idx="11202">
                  <c:v>4.6767123287671231</c:v>
                </c:pt>
                <c:pt idx="11203">
                  <c:v>4.6767123287671231</c:v>
                </c:pt>
                <c:pt idx="11204">
                  <c:v>4.6767123287671231</c:v>
                </c:pt>
                <c:pt idx="11205">
                  <c:v>4.6767123287671231</c:v>
                </c:pt>
                <c:pt idx="11206">
                  <c:v>#N/A</c:v>
                </c:pt>
                <c:pt idx="11207">
                  <c:v>4.6794520547945204</c:v>
                </c:pt>
                <c:pt idx="11208">
                  <c:v>4.6821917808219178</c:v>
                </c:pt>
                <c:pt idx="11209">
                  <c:v>#N/A</c:v>
                </c:pt>
                <c:pt idx="11210">
                  <c:v>#N/A</c:v>
                </c:pt>
                <c:pt idx="11211">
                  <c:v>#N/A</c:v>
                </c:pt>
                <c:pt idx="11212">
                  <c:v>#N/A</c:v>
                </c:pt>
                <c:pt idx="11213">
                  <c:v>#N/A</c:v>
                </c:pt>
                <c:pt idx="11214">
                  <c:v>#N/A</c:v>
                </c:pt>
                <c:pt idx="11215">
                  <c:v>4.6931506849315072</c:v>
                </c:pt>
                <c:pt idx="11216">
                  <c:v>4.6931506849315072</c:v>
                </c:pt>
                <c:pt idx="11217">
                  <c:v>4.6931506849315072</c:v>
                </c:pt>
                <c:pt idx="11218">
                  <c:v>#N/A</c:v>
                </c:pt>
                <c:pt idx="11219">
                  <c:v>#N/A</c:v>
                </c:pt>
                <c:pt idx="11220">
                  <c:v>#N/A</c:v>
                </c:pt>
                <c:pt idx="11221">
                  <c:v>4.6931506849315072</c:v>
                </c:pt>
                <c:pt idx="11222">
                  <c:v>4.6931506849315072</c:v>
                </c:pt>
                <c:pt idx="11223">
                  <c:v>#N/A</c:v>
                </c:pt>
                <c:pt idx="11224">
                  <c:v>4.6986301369863011</c:v>
                </c:pt>
                <c:pt idx="11225">
                  <c:v>4.6986301369863011</c:v>
                </c:pt>
                <c:pt idx="11226">
                  <c:v>4.6986301369863011</c:v>
                </c:pt>
                <c:pt idx="11227">
                  <c:v>4.6986301369863011</c:v>
                </c:pt>
                <c:pt idx="11228">
                  <c:v>4.6986301369863011</c:v>
                </c:pt>
                <c:pt idx="11229">
                  <c:v>#N/A</c:v>
                </c:pt>
                <c:pt idx="11230">
                  <c:v>#N/A</c:v>
                </c:pt>
                <c:pt idx="11231">
                  <c:v>#N/A</c:v>
                </c:pt>
                <c:pt idx="11232">
                  <c:v>#N/A</c:v>
                </c:pt>
                <c:pt idx="11233">
                  <c:v>#N/A</c:v>
                </c:pt>
                <c:pt idx="11234">
                  <c:v>4.7123287671232879</c:v>
                </c:pt>
                <c:pt idx="11235">
                  <c:v>4.7150684931506852</c:v>
                </c:pt>
                <c:pt idx="11236">
                  <c:v>#N/A</c:v>
                </c:pt>
                <c:pt idx="11237">
                  <c:v>#N/A</c:v>
                </c:pt>
                <c:pt idx="11238">
                  <c:v>#N/A</c:v>
                </c:pt>
                <c:pt idx="11239">
                  <c:v>4.7232876712328764</c:v>
                </c:pt>
                <c:pt idx="11240">
                  <c:v>4.7287671232876711</c:v>
                </c:pt>
                <c:pt idx="11241">
                  <c:v>4.7315068493150685</c:v>
                </c:pt>
                <c:pt idx="11242">
                  <c:v>#N/A</c:v>
                </c:pt>
                <c:pt idx="11243">
                  <c:v>#N/A</c:v>
                </c:pt>
                <c:pt idx="11244">
                  <c:v>4.7342465753424658</c:v>
                </c:pt>
                <c:pt idx="11245">
                  <c:v>4.7342465753424658</c:v>
                </c:pt>
                <c:pt idx="11246">
                  <c:v>4.7397260273972606</c:v>
                </c:pt>
                <c:pt idx="11247">
                  <c:v>#N/A</c:v>
                </c:pt>
                <c:pt idx="11248">
                  <c:v>4.7397260273972606</c:v>
                </c:pt>
                <c:pt idx="11249">
                  <c:v>#N/A</c:v>
                </c:pt>
                <c:pt idx="11250">
                  <c:v>#N/A</c:v>
                </c:pt>
                <c:pt idx="11251">
                  <c:v>4.7534246575342465</c:v>
                </c:pt>
                <c:pt idx="11252">
                  <c:v>#N/A</c:v>
                </c:pt>
                <c:pt idx="11253">
                  <c:v>4.7808219178082192</c:v>
                </c:pt>
                <c:pt idx="11254">
                  <c:v>#N/A</c:v>
                </c:pt>
                <c:pt idx="11255">
                  <c:v>4.7890410958904113</c:v>
                </c:pt>
                <c:pt idx="11256">
                  <c:v>4.7890410958904113</c:v>
                </c:pt>
                <c:pt idx="11257">
                  <c:v>4.7890410958904113</c:v>
                </c:pt>
                <c:pt idx="11258">
                  <c:v>#N/A</c:v>
                </c:pt>
                <c:pt idx="11259">
                  <c:v>4.7917808219178086</c:v>
                </c:pt>
                <c:pt idx="11260">
                  <c:v>4.7917808219178086</c:v>
                </c:pt>
                <c:pt idx="11261">
                  <c:v>4.7917808219178086</c:v>
                </c:pt>
                <c:pt idx="11262">
                  <c:v>#N/A</c:v>
                </c:pt>
                <c:pt idx="11263">
                  <c:v>#N/A</c:v>
                </c:pt>
                <c:pt idx="11264">
                  <c:v>4.7945205479452051</c:v>
                </c:pt>
                <c:pt idx="11265">
                  <c:v>#N/A</c:v>
                </c:pt>
                <c:pt idx="11266">
                  <c:v>4.7945205479452051</c:v>
                </c:pt>
                <c:pt idx="11267">
                  <c:v>#N/A</c:v>
                </c:pt>
                <c:pt idx="11268">
                  <c:v>4.7972602739726025</c:v>
                </c:pt>
                <c:pt idx="11269">
                  <c:v>4.8</c:v>
                </c:pt>
                <c:pt idx="11270">
                  <c:v>4.8082191780821919</c:v>
                </c:pt>
                <c:pt idx="11271">
                  <c:v>4.8109589041095893</c:v>
                </c:pt>
                <c:pt idx="11272">
                  <c:v>4.8136986301369866</c:v>
                </c:pt>
                <c:pt idx="11273">
                  <c:v>#N/A</c:v>
                </c:pt>
                <c:pt idx="11274">
                  <c:v>#N/A</c:v>
                </c:pt>
                <c:pt idx="11275">
                  <c:v>#N/A</c:v>
                </c:pt>
                <c:pt idx="11276">
                  <c:v>#N/A</c:v>
                </c:pt>
                <c:pt idx="11277">
                  <c:v>4.816438356164384</c:v>
                </c:pt>
                <c:pt idx="11278">
                  <c:v>#N/A</c:v>
                </c:pt>
                <c:pt idx="11279">
                  <c:v>4.8191780821917805</c:v>
                </c:pt>
                <c:pt idx="11280">
                  <c:v>4.8191780821917805</c:v>
                </c:pt>
                <c:pt idx="11281">
                  <c:v>4.8273972602739725</c:v>
                </c:pt>
                <c:pt idx="11282">
                  <c:v>4.8273972602739725</c:v>
                </c:pt>
                <c:pt idx="11283">
                  <c:v>4.8301369863013699</c:v>
                </c:pt>
                <c:pt idx="11284">
                  <c:v>4.8328767123287673</c:v>
                </c:pt>
                <c:pt idx="11285">
                  <c:v>4.8328767123287673</c:v>
                </c:pt>
                <c:pt idx="11286">
                  <c:v>#N/A</c:v>
                </c:pt>
                <c:pt idx="11287">
                  <c:v>#N/A</c:v>
                </c:pt>
                <c:pt idx="11288">
                  <c:v>#N/A</c:v>
                </c:pt>
                <c:pt idx="11289">
                  <c:v>4.8356164383561646</c:v>
                </c:pt>
                <c:pt idx="11290">
                  <c:v>#N/A</c:v>
                </c:pt>
                <c:pt idx="11291">
                  <c:v>4.8465753424657532</c:v>
                </c:pt>
                <c:pt idx="11292">
                  <c:v>4.8465753424657532</c:v>
                </c:pt>
                <c:pt idx="11293">
                  <c:v>4.8520547945205479</c:v>
                </c:pt>
                <c:pt idx="11294">
                  <c:v>#N/A</c:v>
                </c:pt>
                <c:pt idx="11295">
                  <c:v>4.8547945205479452</c:v>
                </c:pt>
                <c:pt idx="11296">
                  <c:v>4.8657534246575347</c:v>
                </c:pt>
                <c:pt idx="11297">
                  <c:v>4.8657534246575347</c:v>
                </c:pt>
                <c:pt idx="11298">
                  <c:v>4.8657534246575347</c:v>
                </c:pt>
                <c:pt idx="11299">
                  <c:v>4.8657534246575347</c:v>
                </c:pt>
                <c:pt idx="11300">
                  <c:v>4.8657534246575347</c:v>
                </c:pt>
                <c:pt idx="11301">
                  <c:v>4.8684931506849312</c:v>
                </c:pt>
                <c:pt idx="11302">
                  <c:v>4.8767123287671232</c:v>
                </c:pt>
                <c:pt idx="11303">
                  <c:v>4.8849315068493153</c:v>
                </c:pt>
                <c:pt idx="11304">
                  <c:v>#N/A</c:v>
                </c:pt>
                <c:pt idx="11305">
                  <c:v>#N/A</c:v>
                </c:pt>
                <c:pt idx="11306">
                  <c:v>4.8849315068493153</c:v>
                </c:pt>
                <c:pt idx="11307">
                  <c:v>#N/A</c:v>
                </c:pt>
                <c:pt idx="11308">
                  <c:v>#N/A</c:v>
                </c:pt>
                <c:pt idx="11309">
                  <c:v>#N/A</c:v>
                </c:pt>
                <c:pt idx="11310">
                  <c:v>#N/A</c:v>
                </c:pt>
                <c:pt idx="11311">
                  <c:v>4.8958904109589039</c:v>
                </c:pt>
                <c:pt idx="11312">
                  <c:v>4.912328767123288</c:v>
                </c:pt>
                <c:pt idx="11313">
                  <c:v>4.9205479452054792</c:v>
                </c:pt>
                <c:pt idx="11314">
                  <c:v>#N/A</c:v>
                </c:pt>
                <c:pt idx="11315">
                  <c:v>#N/A</c:v>
                </c:pt>
                <c:pt idx="11316">
                  <c:v>4.9232876712328766</c:v>
                </c:pt>
                <c:pt idx="11317">
                  <c:v>4.9232876712328766</c:v>
                </c:pt>
                <c:pt idx="11318">
                  <c:v>4.9232876712328766</c:v>
                </c:pt>
                <c:pt idx="11319">
                  <c:v>#N/A</c:v>
                </c:pt>
                <c:pt idx="11320">
                  <c:v>#N/A</c:v>
                </c:pt>
                <c:pt idx="11321">
                  <c:v>#N/A</c:v>
                </c:pt>
                <c:pt idx="11322">
                  <c:v>#N/A</c:v>
                </c:pt>
                <c:pt idx="11323">
                  <c:v>4.9260273972602739</c:v>
                </c:pt>
                <c:pt idx="11324">
                  <c:v>4.9287671232876713</c:v>
                </c:pt>
                <c:pt idx="11325">
                  <c:v>4.9315068493150687</c:v>
                </c:pt>
                <c:pt idx="11326">
                  <c:v>#N/A</c:v>
                </c:pt>
                <c:pt idx="11327">
                  <c:v>#N/A</c:v>
                </c:pt>
                <c:pt idx="11328">
                  <c:v>#N/A</c:v>
                </c:pt>
                <c:pt idx="11329">
                  <c:v>4.934246575342466</c:v>
                </c:pt>
                <c:pt idx="11330">
                  <c:v>4.934246575342466</c:v>
                </c:pt>
                <c:pt idx="11331">
                  <c:v>4.934246575342466</c:v>
                </c:pt>
                <c:pt idx="11332">
                  <c:v>#N/A</c:v>
                </c:pt>
                <c:pt idx="11333">
                  <c:v>#N/A</c:v>
                </c:pt>
                <c:pt idx="11334">
                  <c:v>4.9424657534246572</c:v>
                </c:pt>
                <c:pt idx="11335">
                  <c:v>#N/A</c:v>
                </c:pt>
                <c:pt idx="11336">
                  <c:v>4.9424657534246572</c:v>
                </c:pt>
                <c:pt idx="11337">
                  <c:v>#N/A</c:v>
                </c:pt>
                <c:pt idx="11338">
                  <c:v>#N/A</c:v>
                </c:pt>
                <c:pt idx="11339">
                  <c:v>4.9506849315068493</c:v>
                </c:pt>
                <c:pt idx="11340">
                  <c:v>#N/A</c:v>
                </c:pt>
                <c:pt idx="11341">
                  <c:v>4.9616438356164387</c:v>
                </c:pt>
                <c:pt idx="11342">
                  <c:v>4.9698630136986299</c:v>
                </c:pt>
                <c:pt idx="11343">
                  <c:v>#N/A</c:v>
                </c:pt>
                <c:pt idx="11344">
                  <c:v>#N/A</c:v>
                </c:pt>
                <c:pt idx="11345">
                  <c:v>4.9808219178082194</c:v>
                </c:pt>
                <c:pt idx="11346">
                  <c:v>4.9835616438356167</c:v>
                </c:pt>
                <c:pt idx="11347">
                  <c:v>4.9863013698630141</c:v>
                </c:pt>
                <c:pt idx="11348">
                  <c:v>#N/A</c:v>
                </c:pt>
                <c:pt idx="11349">
                  <c:v>#N/A</c:v>
                </c:pt>
                <c:pt idx="11350">
                  <c:v>5</c:v>
                </c:pt>
                <c:pt idx="11351">
                  <c:v>5</c:v>
                </c:pt>
                <c:pt idx="11352">
                  <c:v>5</c:v>
                </c:pt>
                <c:pt idx="11353">
                  <c:v>5.0054794520547947</c:v>
                </c:pt>
                <c:pt idx="11354">
                  <c:v>5.0054794520547947</c:v>
                </c:pt>
                <c:pt idx="11355">
                  <c:v>#N/A</c:v>
                </c:pt>
                <c:pt idx="11356">
                  <c:v>5.0082191780821921</c:v>
                </c:pt>
                <c:pt idx="11357">
                  <c:v>#N/A</c:v>
                </c:pt>
                <c:pt idx="11358">
                  <c:v>5.0082191780821921</c:v>
                </c:pt>
                <c:pt idx="11359">
                  <c:v>5.0082191780821921</c:v>
                </c:pt>
                <c:pt idx="11360">
                  <c:v>5.0082191780821921</c:v>
                </c:pt>
                <c:pt idx="11361">
                  <c:v>#N/A</c:v>
                </c:pt>
                <c:pt idx="11362">
                  <c:v>#N/A</c:v>
                </c:pt>
                <c:pt idx="11363">
                  <c:v>#N/A</c:v>
                </c:pt>
                <c:pt idx="11364">
                  <c:v>5.0109589041095894</c:v>
                </c:pt>
                <c:pt idx="11365">
                  <c:v>5.0109589041095894</c:v>
                </c:pt>
                <c:pt idx="11366">
                  <c:v>5.0109589041095894</c:v>
                </c:pt>
                <c:pt idx="11367">
                  <c:v>#N/A</c:v>
                </c:pt>
                <c:pt idx="11368">
                  <c:v>5.0109589041095894</c:v>
                </c:pt>
                <c:pt idx="11369">
                  <c:v>5.0109589041095894</c:v>
                </c:pt>
                <c:pt idx="11370">
                  <c:v>5.0109589041095894</c:v>
                </c:pt>
                <c:pt idx="11371">
                  <c:v>5.0109589041095894</c:v>
                </c:pt>
                <c:pt idx="11372">
                  <c:v>#N/A</c:v>
                </c:pt>
                <c:pt idx="11373">
                  <c:v>#N/A</c:v>
                </c:pt>
                <c:pt idx="11374">
                  <c:v>5.0109589041095894</c:v>
                </c:pt>
                <c:pt idx="11375">
                  <c:v>5.0109589041095894</c:v>
                </c:pt>
                <c:pt idx="11376">
                  <c:v>5.0109589041095894</c:v>
                </c:pt>
                <c:pt idx="11377">
                  <c:v>5.0109589041095894</c:v>
                </c:pt>
                <c:pt idx="11378">
                  <c:v>5.0109589041095894</c:v>
                </c:pt>
                <c:pt idx="11379">
                  <c:v>#N/A</c:v>
                </c:pt>
                <c:pt idx="11380">
                  <c:v>#N/A</c:v>
                </c:pt>
                <c:pt idx="11381">
                  <c:v>#N/A</c:v>
                </c:pt>
                <c:pt idx="11382">
                  <c:v>5.0109589041095894</c:v>
                </c:pt>
                <c:pt idx="11383">
                  <c:v>5.0109589041095894</c:v>
                </c:pt>
                <c:pt idx="11384">
                  <c:v>5.0109589041095894</c:v>
                </c:pt>
                <c:pt idx="11385">
                  <c:v>5.0109589041095894</c:v>
                </c:pt>
                <c:pt idx="11386">
                  <c:v>#N/A</c:v>
                </c:pt>
                <c:pt idx="11387">
                  <c:v>5.0109589041095894</c:v>
                </c:pt>
                <c:pt idx="11388">
                  <c:v>#N/A</c:v>
                </c:pt>
                <c:pt idx="11389">
                  <c:v>#N/A</c:v>
                </c:pt>
                <c:pt idx="11390">
                  <c:v>5.0109589041095894</c:v>
                </c:pt>
                <c:pt idx="11391">
                  <c:v>5.0109589041095894</c:v>
                </c:pt>
                <c:pt idx="11392">
                  <c:v>#N/A</c:v>
                </c:pt>
                <c:pt idx="11393">
                  <c:v>5.0164383561643833</c:v>
                </c:pt>
                <c:pt idx="11394">
                  <c:v>5.0164383561643833</c:v>
                </c:pt>
                <c:pt idx="11395">
                  <c:v>5.0164383561643833</c:v>
                </c:pt>
                <c:pt idx="11396">
                  <c:v>#N/A</c:v>
                </c:pt>
                <c:pt idx="11397">
                  <c:v>#N/A</c:v>
                </c:pt>
                <c:pt idx="11398">
                  <c:v>5.0191780821917806</c:v>
                </c:pt>
                <c:pt idx="11399">
                  <c:v>5.0191780821917806</c:v>
                </c:pt>
                <c:pt idx="11400">
                  <c:v>5.0191780821917806</c:v>
                </c:pt>
                <c:pt idx="11401">
                  <c:v>5.0191780821917806</c:v>
                </c:pt>
                <c:pt idx="11402">
                  <c:v>#N/A</c:v>
                </c:pt>
                <c:pt idx="11403">
                  <c:v>5.0191780821917806</c:v>
                </c:pt>
                <c:pt idx="11404">
                  <c:v>5.0191780821917806</c:v>
                </c:pt>
                <c:pt idx="11405">
                  <c:v>5.0191780821917806</c:v>
                </c:pt>
                <c:pt idx="11406">
                  <c:v>#N/A</c:v>
                </c:pt>
                <c:pt idx="11407">
                  <c:v>#N/A</c:v>
                </c:pt>
                <c:pt idx="11408">
                  <c:v>5.0191780821917806</c:v>
                </c:pt>
                <c:pt idx="11409">
                  <c:v>5.0191780821917806</c:v>
                </c:pt>
                <c:pt idx="11410">
                  <c:v>5.0191780821917806</c:v>
                </c:pt>
                <c:pt idx="11411">
                  <c:v>5.0191780821917806</c:v>
                </c:pt>
                <c:pt idx="11412">
                  <c:v>#N/A</c:v>
                </c:pt>
                <c:pt idx="11413">
                  <c:v>5.0191780821917806</c:v>
                </c:pt>
                <c:pt idx="11414">
                  <c:v>#N/A</c:v>
                </c:pt>
                <c:pt idx="11415">
                  <c:v>5.021917808219178</c:v>
                </c:pt>
                <c:pt idx="11416">
                  <c:v>#N/A</c:v>
                </c:pt>
                <c:pt idx="11417">
                  <c:v>#N/A</c:v>
                </c:pt>
                <c:pt idx="11418">
                  <c:v>5.021917808219178</c:v>
                </c:pt>
                <c:pt idx="11419">
                  <c:v>5.021917808219178</c:v>
                </c:pt>
                <c:pt idx="11420">
                  <c:v>5.021917808219178</c:v>
                </c:pt>
                <c:pt idx="11421">
                  <c:v>5.021917808219178</c:v>
                </c:pt>
                <c:pt idx="11422">
                  <c:v>5.021917808219178</c:v>
                </c:pt>
                <c:pt idx="11423">
                  <c:v>#N/A</c:v>
                </c:pt>
                <c:pt idx="11424">
                  <c:v>#N/A</c:v>
                </c:pt>
                <c:pt idx="11425">
                  <c:v>5.0246575342465754</c:v>
                </c:pt>
                <c:pt idx="11426">
                  <c:v>5.0246575342465754</c:v>
                </c:pt>
                <c:pt idx="11427">
                  <c:v>#N/A</c:v>
                </c:pt>
                <c:pt idx="11428">
                  <c:v>#N/A</c:v>
                </c:pt>
                <c:pt idx="11429">
                  <c:v>5.0246575342465754</c:v>
                </c:pt>
                <c:pt idx="11430">
                  <c:v>5.0273972602739727</c:v>
                </c:pt>
                <c:pt idx="11431">
                  <c:v>#N/A</c:v>
                </c:pt>
                <c:pt idx="11432">
                  <c:v>#N/A</c:v>
                </c:pt>
                <c:pt idx="11433">
                  <c:v>#N/A</c:v>
                </c:pt>
                <c:pt idx="11434">
                  <c:v>5.0273972602739727</c:v>
                </c:pt>
                <c:pt idx="11435">
                  <c:v>#N/A</c:v>
                </c:pt>
                <c:pt idx="11436">
                  <c:v>#N/A</c:v>
                </c:pt>
                <c:pt idx="11437">
                  <c:v>#N/A</c:v>
                </c:pt>
                <c:pt idx="11438">
                  <c:v>5.0301369863013701</c:v>
                </c:pt>
                <c:pt idx="11439">
                  <c:v>5.0301369863013701</c:v>
                </c:pt>
                <c:pt idx="11440">
                  <c:v>5.0301369863013701</c:v>
                </c:pt>
                <c:pt idx="11441">
                  <c:v>5.0301369863013701</c:v>
                </c:pt>
                <c:pt idx="11442">
                  <c:v>5.0301369863013701</c:v>
                </c:pt>
                <c:pt idx="11443">
                  <c:v>5.0301369863013701</c:v>
                </c:pt>
                <c:pt idx="11444">
                  <c:v>#N/A</c:v>
                </c:pt>
                <c:pt idx="11445">
                  <c:v>5.0383561643835613</c:v>
                </c:pt>
                <c:pt idx="11446">
                  <c:v>5.0383561643835613</c:v>
                </c:pt>
                <c:pt idx="11447">
                  <c:v>#N/A</c:v>
                </c:pt>
                <c:pt idx="11448">
                  <c:v>5.0410958904109586</c:v>
                </c:pt>
                <c:pt idx="11449">
                  <c:v>5.0410958904109586</c:v>
                </c:pt>
                <c:pt idx="11450">
                  <c:v>5.0410958904109586</c:v>
                </c:pt>
                <c:pt idx="11451">
                  <c:v>5.0410958904109586</c:v>
                </c:pt>
                <c:pt idx="11452">
                  <c:v>#N/A</c:v>
                </c:pt>
                <c:pt idx="11453">
                  <c:v>5.0410958904109586</c:v>
                </c:pt>
                <c:pt idx="11454">
                  <c:v>#N/A</c:v>
                </c:pt>
                <c:pt idx="11455">
                  <c:v>#N/A</c:v>
                </c:pt>
                <c:pt idx="11456">
                  <c:v>#N/A</c:v>
                </c:pt>
                <c:pt idx="11457">
                  <c:v>5.0410958904109586</c:v>
                </c:pt>
                <c:pt idx="11458">
                  <c:v>#N/A</c:v>
                </c:pt>
                <c:pt idx="11459">
                  <c:v>#N/A</c:v>
                </c:pt>
                <c:pt idx="11460">
                  <c:v>5.043835616438356</c:v>
                </c:pt>
                <c:pt idx="11461">
                  <c:v>#N/A</c:v>
                </c:pt>
                <c:pt idx="11462">
                  <c:v>#N/A</c:v>
                </c:pt>
                <c:pt idx="11463">
                  <c:v>#N/A</c:v>
                </c:pt>
                <c:pt idx="11464">
                  <c:v>5.0493150684931507</c:v>
                </c:pt>
                <c:pt idx="11465">
                  <c:v>5.0493150684931507</c:v>
                </c:pt>
                <c:pt idx="11466">
                  <c:v>5.0575342465753428</c:v>
                </c:pt>
                <c:pt idx="11467">
                  <c:v>5.0575342465753428</c:v>
                </c:pt>
                <c:pt idx="11468">
                  <c:v>#N/A</c:v>
                </c:pt>
                <c:pt idx="11469">
                  <c:v>#N/A</c:v>
                </c:pt>
                <c:pt idx="11470">
                  <c:v>5.0575342465753428</c:v>
                </c:pt>
                <c:pt idx="11471">
                  <c:v>5.0575342465753428</c:v>
                </c:pt>
                <c:pt idx="11472">
                  <c:v>#N/A</c:v>
                </c:pt>
                <c:pt idx="11473">
                  <c:v>5.0602739726027401</c:v>
                </c:pt>
                <c:pt idx="11474">
                  <c:v>#N/A</c:v>
                </c:pt>
                <c:pt idx="11475">
                  <c:v>5.065753424657534</c:v>
                </c:pt>
                <c:pt idx="11476">
                  <c:v>#N/A</c:v>
                </c:pt>
                <c:pt idx="11477">
                  <c:v>5.065753424657534</c:v>
                </c:pt>
                <c:pt idx="11478">
                  <c:v>5.065753424657534</c:v>
                </c:pt>
                <c:pt idx="11479">
                  <c:v>#N/A</c:v>
                </c:pt>
                <c:pt idx="11480">
                  <c:v>#N/A</c:v>
                </c:pt>
                <c:pt idx="11481">
                  <c:v>#N/A</c:v>
                </c:pt>
                <c:pt idx="11482">
                  <c:v>5.0767123287671234</c:v>
                </c:pt>
                <c:pt idx="11483">
                  <c:v>#N/A</c:v>
                </c:pt>
                <c:pt idx="11484">
                  <c:v>#N/A</c:v>
                </c:pt>
                <c:pt idx="11485">
                  <c:v>5.0821917808219181</c:v>
                </c:pt>
                <c:pt idx="11486">
                  <c:v>5.0821917808219181</c:v>
                </c:pt>
                <c:pt idx="11487">
                  <c:v>#N/A</c:v>
                </c:pt>
                <c:pt idx="11488">
                  <c:v>#N/A</c:v>
                </c:pt>
                <c:pt idx="11489">
                  <c:v>5.0821917808219181</c:v>
                </c:pt>
                <c:pt idx="11490">
                  <c:v>5.0849315068493155</c:v>
                </c:pt>
                <c:pt idx="11491">
                  <c:v>5.0849315068493155</c:v>
                </c:pt>
                <c:pt idx="11492">
                  <c:v>5.087671232876712</c:v>
                </c:pt>
                <c:pt idx="11493">
                  <c:v>5.0931506849315067</c:v>
                </c:pt>
                <c:pt idx="11494">
                  <c:v>5.0931506849315067</c:v>
                </c:pt>
                <c:pt idx="11495">
                  <c:v>5.095890410958904</c:v>
                </c:pt>
                <c:pt idx="11496">
                  <c:v>5.095890410958904</c:v>
                </c:pt>
                <c:pt idx="11497">
                  <c:v>5.095890410958904</c:v>
                </c:pt>
                <c:pt idx="11498">
                  <c:v>#N/A</c:v>
                </c:pt>
                <c:pt idx="11499">
                  <c:v>5.095890410958904</c:v>
                </c:pt>
                <c:pt idx="11500">
                  <c:v>#N/A</c:v>
                </c:pt>
                <c:pt idx="11501">
                  <c:v>5.095890410958904</c:v>
                </c:pt>
                <c:pt idx="11502">
                  <c:v>#N/A</c:v>
                </c:pt>
                <c:pt idx="11503">
                  <c:v>5.1013698630136988</c:v>
                </c:pt>
                <c:pt idx="11504">
                  <c:v>#N/A</c:v>
                </c:pt>
                <c:pt idx="11505">
                  <c:v>5.1013698630136988</c:v>
                </c:pt>
                <c:pt idx="11506">
                  <c:v>#N/A</c:v>
                </c:pt>
                <c:pt idx="11507">
                  <c:v>5.1041095890410961</c:v>
                </c:pt>
                <c:pt idx="11508">
                  <c:v>5.1041095890410961</c:v>
                </c:pt>
                <c:pt idx="11509">
                  <c:v>5.1342465753424653</c:v>
                </c:pt>
                <c:pt idx="11510">
                  <c:v>5.1369863013698627</c:v>
                </c:pt>
                <c:pt idx="11511">
                  <c:v>#N/A</c:v>
                </c:pt>
                <c:pt idx="11512">
                  <c:v>#N/A</c:v>
                </c:pt>
                <c:pt idx="11513">
                  <c:v>#N/A</c:v>
                </c:pt>
                <c:pt idx="11514">
                  <c:v>5.1424657534246574</c:v>
                </c:pt>
                <c:pt idx="11515">
                  <c:v>#N/A</c:v>
                </c:pt>
                <c:pt idx="11516">
                  <c:v>5.1534246575342468</c:v>
                </c:pt>
                <c:pt idx="11517">
                  <c:v>#N/A</c:v>
                </c:pt>
                <c:pt idx="11518">
                  <c:v>5.1561643835616442</c:v>
                </c:pt>
                <c:pt idx="11519">
                  <c:v>5.1643835616438354</c:v>
                </c:pt>
                <c:pt idx="11520">
                  <c:v>5.1643835616438354</c:v>
                </c:pt>
                <c:pt idx="11521">
                  <c:v>#N/A</c:v>
                </c:pt>
                <c:pt idx="11522">
                  <c:v>#N/A</c:v>
                </c:pt>
                <c:pt idx="11523">
                  <c:v>5.1753424657534248</c:v>
                </c:pt>
                <c:pt idx="11524">
                  <c:v>5.1753424657534248</c:v>
                </c:pt>
                <c:pt idx="11525">
                  <c:v>5.1780821917808222</c:v>
                </c:pt>
                <c:pt idx="11526">
                  <c:v>5.1780821917808222</c:v>
                </c:pt>
                <c:pt idx="11527">
                  <c:v>#N/A</c:v>
                </c:pt>
                <c:pt idx="11528">
                  <c:v>#N/A</c:v>
                </c:pt>
                <c:pt idx="11529">
                  <c:v>5.1780821917808222</c:v>
                </c:pt>
                <c:pt idx="11530">
                  <c:v>#N/A</c:v>
                </c:pt>
                <c:pt idx="11531">
                  <c:v>5.183561643835616</c:v>
                </c:pt>
                <c:pt idx="11532">
                  <c:v>5.183561643835616</c:v>
                </c:pt>
                <c:pt idx="11533">
                  <c:v>5.2027397260273975</c:v>
                </c:pt>
                <c:pt idx="11534">
                  <c:v>5.2164383561643834</c:v>
                </c:pt>
                <c:pt idx="11535">
                  <c:v>5.2164383561643834</c:v>
                </c:pt>
                <c:pt idx="11536">
                  <c:v>5.2164383561643834</c:v>
                </c:pt>
                <c:pt idx="11537">
                  <c:v>5.2246575342465755</c:v>
                </c:pt>
                <c:pt idx="11538">
                  <c:v>#N/A</c:v>
                </c:pt>
                <c:pt idx="11539">
                  <c:v>5.2301369863013702</c:v>
                </c:pt>
                <c:pt idx="11540">
                  <c:v>5.2301369863013702</c:v>
                </c:pt>
                <c:pt idx="11541">
                  <c:v>5.2328767123287667</c:v>
                </c:pt>
                <c:pt idx="11542">
                  <c:v>5.2328767123287667</c:v>
                </c:pt>
                <c:pt idx="11543">
                  <c:v>5.2328767123287667</c:v>
                </c:pt>
                <c:pt idx="11544">
                  <c:v>5.2328767123287667</c:v>
                </c:pt>
                <c:pt idx="11545">
                  <c:v>#N/A</c:v>
                </c:pt>
                <c:pt idx="11546">
                  <c:v>#N/A</c:v>
                </c:pt>
                <c:pt idx="11547">
                  <c:v>5.2712328767123289</c:v>
                </c:pt>
                <c:pt idx="11548">
                  <c:v>5.2712328767123289</c:v>
                </c:pt>
                <c:pt idx="11549">
                  <c:v>#N/A</c:v>
                </c:pt>
                <c:pt idx="11550">
                  <c:v>5.279452054794521</c:v>
                </c:pt>
                <c:pt idx="11551">
                  <c:v>5.279452054794521</c:v>
                </c:pt>
                <c:pt idx="11552">
                  <c:v>5.2876712328767121</c:v>
                </c:pt>
                <c:pt idx="11553">
                  <c:v>#N/A</c:v>
                </c:pt>
                <c:pt idx="11554">
                  <c:v>#N/A</c:v>
                </c:pt>
                <c:pt idx="11555">
                  <c:v>#N/A</c:v>
                </c:pt>
                <c:pt idx="11556">
                  <c:v>#N/A</c:v>
                </c:pt>
                <c:pt idx="11557">
                  <c:v>#N/A</c:v>
                </c:pt>
                <c:pt idx="11558">
                  <c:v>#N/A</c:v>
                </c:pt>
                <c:pt idx="11559">
                  <c:v>#N/A</c:v>
                </c:pt>
                <c:pt idx="11560">
                  <c:v>#N/A</c:v>
                </c:pt>
                <c:pt idx="11561">
                  <c:v>#N/A</c:v>
                </c:pt>
                <c:pt idx="11562">
                  <c:v>5.3150684931506849</c:v>
                </c:pt>
                <c:pt idx="11563">
                  <c:v>#N/A</c:v>
                </c:pt>
                <c:pt idx="11564">
                  <c:v>5.3150684931506849</c:v>
                </c:pt>
                <c:pt idx="11565">
                  <c:v>#N/A</c:v>
                </c:pt>
                <c:pt idx="11566">
                  <c:v>5.3178082191780822</c:v>
                </c:pt>
                <c:pt idx="11567">
                  <c:v>5.3178082191780822</c:v>
                </c:pt>
                <c:pt idx="11568">
                  <c:v>#N/A</c:v>
                </c:pt>
                <c:pt idx="11569">
                  <c:v>#N/A</c:v>
                </c:pt>
                <c:pt idx="11570">
                  <c:v>5.3178082191780822</c:v>
                </c:pt>
                <c:pt idx="11571">
                  <c:v>5.3178082191780822</c:v>
                </c:pt>
                <c:pt idx="11572">
                  <c:v>5.3232876712328769</c:v>
                </c:pt>
                <c:pt idx="11573">
                  <c:v>5.3315068493150681</c:v>
                </c:pt>
                <c:pt idx="11574">
                  <c:v>5.3315068493150681</c:v>
                </c:pt>
                <c:pt idx="11575">
                  <c:v>5.3342465753424655</c:v>
                </c:pt>
                <c:pt idx="11576">
                  <c:v>5.3342465753424655</c:v>
                </c:pt>
                <c:pt idx="11577">
                  <c:v>#N/A</c:v>
                </c:pt>
                <c:pt idx="11578">
                  <c:v>5.3452054794520549</c:v>
                </c:pt>
                <c:pt idx="11579">
                  <c:v>5.3452054794520549</c:v>
                </c:pt>
                <c:pt idx="11580">
                  <c:v>5.3452054794520549</c:v>
                </c:pt>
                <c:pt idx="11581">
                  <c:v>5.3452054794520549</c:v>
                </c:pt>
                <c:pt idx="11582">
                  <c:v>5.3479452054794523</c:v>
                </c:pt>
                <c:pt idx="11583">
                  <c:v>#N/A</c:v>
                </c:pt>
                <c:pt idx="11584">
                  <c:v>#N/A</c:v>
                </c:pt>
                <c:pt idx="11585">
                  <c:v>5.3479452054794523</c:v>
                </c:pt>
                <c:pt idx="11586">
                  <c:v>5.3506849315068497</c:v>
                </c:pt>
                <c:pt idx="11587">
                  <c:v>5.3506849315068497</c:v>
                </c:pt>
                <c:pt idx="11588">
                  <c:v>5.3506849315068497</c:v>
                </c:pt>
                <c:pt idx="11589">
                  <c:v>5.353424657534247</c:v>
                </c:pt>
                <c:pt idx="11590">
                  <c:v>5.353424657534247</c:v>
                </c:pt>
                <c:pt idx="11591">
                  <c:v>5.3643835616438356</c:v>
                </c:pt>
                <c:pt idx="11592">
                  <c:v>5.3643835616438356</c:v>
                </c:pt>
                <c:pt idx="11593">
                  <c:v>5.3643835616438356</c:v>
                </c:pt>
                <c:pt idx="11594">
                  <c:v>5.3643835616438356</c:v>
                </c:pt>
                <c:pt idx="11595">
                  <c:v>#N/A</c:v>
                </c:pt>
                <c:pt idx="11596">
                  <c:v>5.3643835616438356</c:v>
                </c:pt>
                <c:pt idx="11597">
                  <c:v>5.3643835616438356</c:v>
                </c:pt>
                <c:pt idx="11598">
                  <c:v>#N/A</c:v>
                </c:pt>
                <c:pt idx="11599">
                  <c:v>#N/A</c:v>
                </c:pt>
                <c:pt idx="11600">
                  <c:v>5.3643835616438356</c:v>
                </c:pt>
                <c:pt idx="11601">
                  <c:v>5.3643835616438356</c:v>
                </c:pt>
                <c:pt idx="11602">
                  <c:v>5.3643835616438356</c:v>
                </c:pt>
                <c:pt idx="11603">
                  <c:v>#N/A</c:v>
                </c:pt>
                <c:pt idx="11604">
                  <c:v>5.3643835616438356</c:v>
                </c:pt>
                <c:pt idx="11605">
                  <c:v>#N/A</c:v>
                </c:pt>
                <c:pt idx="11606">
                  <c:v>#N/A</c:v>
                </c:pt>
                <c:pt idx="11607">
                  <c:v>#N/A</c:v>
                </c:pt>
                <c:pt idx="11608">
                  <c:v>#N/A</c:v>
                </c:pt>
                <c:pt idx="11609">
                  <c:v>5.3671232876712329</c:v>
                </c:pt>
                <c:pt idx="11610">
                  <c:v>#N/A</c:v>
                </c:pt>
                <c:pt idx="11611">
                  <c:v>#N/A</c:v>
                </c:pt>
                <c:pt idx="11612">
                  <c:v>5.3726027397260276</c:v>
                </c:pt>
                <c:pt idx="11613">
                  <c:v>5.375342465753425</c:v>
                </c:pt>
                <c:pt idx="11614">
                  <c:v>5.3835616438356162</c:v>
                </c:pt>
                <c:pt idx="11615">
                  <c:v>5.3835616438356162</c:v>
                </c:pt>
                <c:pt idx="11616">
                  <c:v>5.3835616438356162</c:v>
                </c:pt>
                <c:pt idx="11617">
                  <c:v>5.3835616438356162</c:v>
                </c:pt>
                <c:pt idx="11618">
                  <c:v>#N/A</c:v>
                </c:pt>
                <c:pt idx="11619">
                  <c:v>5.3863013698630136</c:v>
                </c:pt>
                <c:pt idx="11620">
                  <c:v>5.3917808219178083</c:v>
                </c:pt>
                <c:pt idx="11621">
                  <c:v>#N/A</c:v>
                </c:pt>
                <c:pt idx="11622">
                  <c:v>5.4027397260273968</c:v>
                </c:pt>
                <c:pt idx="11623">
                  <c:v>#N/A</c:v>
                </c:pt>
                <c:pt idx="11624">
                  <c:v>#N/A</c:v>
                </c:pt>
                <c:pt idx="11625">
                  <c:v>#N/A</c:v>
                </c:pt>
                <c:pt idx="11626">
                  <c:v>5.4082191780821915</c:v>
                </c:pt>
                <c:pt idx="11627">
                  <c:v>#N/A</c:v>
                </c:pt>
                <c:pt idx="11628">
                  <c:v>#N/A</c:v>
                </c:pt>
                <c:pt idx="11629">
                  <c:v>5.4109589041095889</c:v>
                </c:pt>
                <c:pt idx="11630">
                  <c:v>#N/A</c:v>
                </c:pt>
                <c:pt idx="11631">
                  <c:v>5.4109589041095889</c:v>
                </c:pt>
                <c:pt idx="11632">
                  <c:v>#N/A</c:v>
                </c:pt>
                <c:pt idx="11633">
                  <c:v>#N/A</c:v>
                </c:pt>
                <c:pt idx="11634">
                  <c:v>5.4136986301369863</c:v>
                </c:pt>
                <c:pt idx="11635">
                  <c:v>5.4136986301369863</c:v>
                </c:pt>
                <c:pt idx="11636">
                  <c:v>5.4136986301369863</c:v>
                </c:pt>
                <c:pt idx="11637">
                  <c:v>5.4136986301369863</c:v>
                </c:pt>
                <c:pt idx="11638">
                  <c:v>#N/A</c:v>
                </c:pt>
                <c:pt idx="11639">
                  <c:v>5.4219178082191783</c:v>
                </c:pt>
                <c:pt idx="11640">
                  <c:v>5.4246575342465757</c:v>
                </c:pt>
                <c:pt idx="11641">
                  <c:v>5.4246575342465757</c:v>
                </c:pt>
                <c:pt idx="11642">
                  <c:v>#N/A</c:v>
                </c:pt>
                <c:pt idx="11643">
                  <c:v>#N/A</c:v>
                </c:pt>
                <c:pt idx="11644">
                  <c:v>5.4246575342465757</c:v>
                </c:pt>
                <c:pt idx="11645">
                  <c:v>5.4246575342465757</c:v>
                </c:pt>
                <c:pt idx="11646">
                  <c:v>5.4301369863013695</c:v>
                </c:pt>
                <c:pt idx="11647">
                  <c:v>5.4328767123287669</c:v>
                </c:pt>
                <c:pt idx="11648">
                  <c:v>5.4328767123287669</c:v>
                </c:pt>
                <c:pt idx="11649">
                  <c:v>5.4328767123287669</c:v>
                </c:pt>
                <c:pt idx="11650">
                  <c:v>5.4328767123287669</c:v>
                </c:pt>
                <c:pt idx="11651">
                  <c:v>#N/A</c:v>
                </c:pt>
                <c:pt idx="11652">
                  <c:v>5.4328767123287669</c:v>
                </c:pt>
                <c:pt idx="11653">
                  <c:v>5.4328767123287669</c:v>
                </c:pt>
                <c:pt idx="11654">
                  <c:v>#N/A</c:v>
                </c:pt>
                <c:pt idx="11655">
                  <c:v>#N/A</c:v>
                </c:pt>
                <c:pt idx="11656">
                  <c:v>5.4328767123287669</c:v>
                </c:pt>
                <c:pt idx="11657">
                  <c:v>5.4328767123287669</c:v>
                </c:pt>
                <c:pt idx="11658">
                  <c:v>5.4328767123287669</c:v>
                </c:pt>
                <c:pt idx="11659">
                  <c:v>#N/A</c:v>
                </c:pt>
                <c:pt idx="11660">
                  <c:v>#N/A</c:v>
                </c:pt>
                <c:pt idx="11661">
                  <c:v>5.4328767123287669</c:v>
                </c:pt>
                <c:pt idx="11662">
                  <c:v>#N/A</c:v>
                </c:pt>
                <c:pt idx="11663">
                  <c:v>#N/A</c:v>
                </c:pt>
                <c:pt idx="11664">
                  <c:v>#N/A</c:v>
                </c:pt>
                <c:pt idx="11665">
                  <c:v>#N/A</c:v>
                </c:pt>
                <c:pt idx="11666">
                  <c:v>5.4328767123287669</c:v>
                </c:pt>
                <c:pt idx="11667">
                  <c:v>5.4328767123287669</c:v>
                </c:pt>
                <c:pt idx="11668">
                  <c:v>5.4328767123287669</c:v>
                </c:pt>
                <c:pt idx="11669">
                  <c:v>#N/A</c:v>
                </c:pt>
                <c:pt idx="11670">
                  <c:v>5.4328767123287669</c:v>
                </c:pt>
                <c:pt idx="11671">
                  <c:v>5.4328767123287669</c:v>
                </c:pt>
                <c:pt idx="11672">
                  <c:v>#N/A</c:v>
                </c:pt>
                <c:pt idx="11673">
                  <c:v>5.4328767123287669</c:v>
                </c:pt>
                <c:pt idx="11674">
                  <c:v>#N/A</c:v>
                </c:pt>
                <c:pt idx="11675">
                  <c:v>5.4328767123287669</c:v>
                </c:pt>
                <c:pt idx="11676">
                  <c:v>5.4328767123287669</c:v>
                </c:pt>
                <c:pt idx="11677">
                  <c:v>5.4328767123287669</c:v>
                </c:pt>
                <c:pt idx="11678">
                  <c:v>#N/A</c:v>
                </c:pt>
                <c:pt idx="11679">
                  <c:v>5.4328767123287669</c:v>
                </c:pt>
                <c:pt idx="11680">
                  <c:v>5.4328767123287669</c:v>
                </c:pt>
                <c:pt idx="11681">
                  <c:v>5.4328767123287669</c:v>
                </c:pt>
                <c:pt idx="11682">
                  <c:v>5.4328767123287669</c:v>
                </c:pt>
                <c:pt idx="11683">
                  <c:v>5.4328767123287669</c:v>
                </c:pt>
                <c:pt idx="11684">
                  <c:v>5.4328767123287669</c:v>
                </c:pt>
                <c:pt idx="11685">
                  <c:v>#N/A</c:v>
                </c:pt>
                <c:pt idx="11686">
                  <c:v>5.4328767123287669</c:v>
                </c:pt>
                <c:pt idx="11687">
                  <c:v>5.4328767123287669</c:v>
                </c:pt>
                <c:pt idx="11688">
                  <c:v>5.4328767123287669</c:v>
                </c:pt>
                <c:pt idx="11689">
                  <c:v>5.4328767123287669</c:v>
                </c:pt>
                <c:pt idx="11690">
                  <c:v>5.4328767123287669</c:v>
                </c:pt>
                <c:pt idx="11691">
                  <c:v>#N/A</c:v>
                </c:pt>
                <c:pt idx="11692">
                  <c:v>5.4328767123287669</c:v>
                </c:pt>
                <c:pt idx="11693">
                  <c:v>5.4328767123287669</c:v>
                </c:pt>
                <c:pt idx="11694">
                  <c:v>5.4328767123287669</c:v>
                </c:pt>
                <c:pt idx="11695">
                  <c:v>5.4328767123287669</c:v>
                </c:pt>
                <c:pt idx="11696">
                  <c:v>5.4328767123287669</c:v>
                </c:pt>
                <c:pt idx="11697">
                  <c:v>#N/A</c:v>
                </c:pt>
                <c:pt idx="11698">
                  <c:v>5.4328767123287669</c:v>
                </c:pt>
                <c:pt idx="11699">
                  <c:v>5.4328767123287669</c:v>
                </c:pt>
                <c:pt idx="11700">
                  <c:v>5.4328767123287669</c:v>
                </c:pt>
                <c:pt idx="11701">
                  <c:v>5.4328767123287669</c:v>
                </c:pt>
                <c:pt idx="11702">
                  <c:v>5.4328767123287669</c:v>
                </c:pt>
                <c:pt idx="11703">
                  <c:v>5.4328767123287669</c:v>
                </c:pt>
                <c:pt idx="11704">
                  <c:v>#N/A</c:v>
                </c:pt>
                <c:pt idx="11705">
                  <c:v>5.4328767123287669</c:v>
                </c:pt>
                <c:pt idx="11706">
                  <c:v>#N/A</c:v>
                </c:pt>
                <c:pt idx="11707">
                  <c:v>5.4328767123287669</c:v>
                </c:pt>
                <c:pt idx="11708">
                  <c:v>5.4328767123287669</c:v>
                </c:pt>
                <c:pt idx="11709">
                  <c:v>5.4328767123287669</c:v>
                </c:pt>
                <c:pt idx="11710">
                  <c:v>5.4328767123287669</c:v>
                </c:pt>
                <c:pt idx="11711">
                  <c:v>5.4328767123287669</c:v>
                </c:pt>
                <c:pt idx="11712">
                  <c:v>#N/A</c:v>
                </c:pt>
                <c:pt idx="11713">
                  <c:v>5.4328767123287669</c:v>
                </c:pt>
                <c:pt idx="11714">
                  <c:v>5.4328767123287669</c:v>
                </c:pt>
                <c:pt idx="11715">
                  <c:v>#N/A</c:v>
                </c:pt>
                <c:pt idx="11716">
                  <c:v>5.4328767123287669</c:v>
                </c:pt>
                <c:pt idx="11717">
                  <c:v>5.4328767123287669</c:v>
                </c:pt>
                <c:pt idx="11718">
                  <c:v>5.4328767123287669</c:v>
                </c:pt>
                <c:pt idx="11719">
                  <c:v>5.4328767123287669</c:v>
                </c:pt>
                <c:pt idx="11720">
                  <c:v>5.4328767123287669</c:v>
                </c:pt>
                <c:pt idx="11721">
                  <c:v>5.4328767123287669</c:v>
                </c:pt>
                <c:pt idx="11722">
                  <c:v>5.4328767123287669</c:v>
                </c:pt>
                <c:pt idx="11723">
                  <c:v>5.4328767123287669</c:v>
                </c:pt>
                <c:pt idx="11724">
                  <c:v>5.4328767123287669</c:v>
                </c:pt>
                <c:pt idx="11725">
                  <c:v>5.4328767123287669</c:v>
                </c:pt>
                <c:pt idx="11726">
                  <c:v>5.4328767123287669</c:v>
                </c:pt>
                <c:pt idx="11727">
                  <c:v>#N/A</c:v>
                </c:pt>
                <c:pt idx="11728">
                  <c:v>5.4328767123287669</c:v>
                </c:pt>
                <c:pt idx="11729">
                  <c:v>5.4328767123287669</c:v>
                </c:pt>
                <c:pt idx="11730">
                  <c:v>#N/A</c:v>
                </c:pt>
                <c:pt idx="11731">
                  <c:v>5.4328767123287669</c:v>
                </c:pt>
                <c:pt idx="11732">
                  <c:v>#N/A</c:v>
                </c:pt>
                <c:pt idx="11733">
                  <c:v>5.4328767123287669</c:v>
                </c:pt>
                <c:pt idx="11734">
                  <c:v>#N/A</c:v>
                </c:pt>
                <c:pt idx="11735">
                  <c:v>5.4328767123287669</c:v>
                </c:pt>
                <c:pt idx="11736">
                  <c:v>#N/A</c:v>
                </c:pt>
                <c:pt idx="11737">
                  <c:v>5.4328767123287669</c:v>
                </c:pt>
                <c:pt idx="11738">
                  <c:v>5.4328767123287669</c:v>
                </c:pt>
                <c:pt idx="11739">
                  <c:v>#N/A</c:v>
                </c:pt>
                <c:pt idx="11740">
                  <c:v>#N/A</c:v>
                </c:pt>
                <c:pt idx="11741">
                  <c:v>#N/A</c:v>
                </c:pt>
                <c:pt idx="11742">
                  <c:v>5.4328767123287669</c:v>
                </c:pt>
                <c:pt idx="11743">
                  <c:v>5.4328767123287669</c:v>
                </c:pt>
                <c:pt idx="11744">
                  <c:v>#N/A</c:v>
                </c:pt>
                <c:pt idx="11745">
                  <c:v>#N/A</c:v>
                </c:pt>
                <c:pt idx="11746">
                  <c:v>#N/A</c:v>
                </c:pt>
                <c:pt idx="11747">
                  <c:v>#N/A</c:v>
                </c:pt>
                <c:pt idx="11748">
                  <c:v>5.4328767123287669</c:v>
                </c:pt>
                <c:pt idx="11749">
                  <c:v>5.4328767123287669</c:v>
                </c:pt>
                <c:pt idx="11750">
                  <c:v>5.4328767123287669</c:v>
                </c:pt>
                <c:pt idx="11751">
                  <c:v>5.4328767123287669</c:v>
                </c:pt>
                <c:pt idx="11752">
                  <c:v>5.4328767123287669</c:v>
                </c:pt>
                <c:pt idx="11753">
                  <c:v>#N/A</c:v>
                </c:pt>
                <c:pt idx="11754">
                  <c:v>#N/A</c:v>
                </c:pt>
                <c:pt idx="11755">
                  <c:v>5.4328767123287669</c:v>
                </c:pt>
                <c:pt idx="11756">
                  <c:v>5.4328767123287669</c:v>
                </c:pt>
                <c:pt idx="11757">
                  <c:v>5.4328767123287669</c:v>
                </c:pt>
                <c:pt idx="11758">
                  <c:v>5.4328767123287669</c:v>
                </c:pt>
                <c:pt idx="11759">
                  <c:v>5.4328767123287669</c:v>
                </c:pt>
                <c:pt idx="11760">
                  <c:v>#N/A</c:v>
                </c:pt>
                <c:pt idx="11761">
                  <c:v>5.4328767123287669</c:v>
                </c:pt>
                <c:pt idx="11762">
                  <c:v>#N/A</c:v>
                </c:pt>
                <c:pt idx="11763">
                  <c:v>5.4328767123287669</c:v>
                </c:pt>
                <c:pt idx="11764">
                  <c:v>#N/A</c:v>
                </c:pt>
                <c:pt idx="11765">
                  <c:v>5.4328767123287669</c:v>
                </c:pt>
                <c:pt idx="11766">
                  <c:v>5.4328767123287669</c:v>
                </c:pt>
                <c:pt idx="11767">
                  <c:v>#N/A</c:v>
                </c:pt>
                <c:pt idx="11768">
                  <c:v>5.4328767123287669</c:v>
                </c:pt>
                <c:pt idx="11769">
                  <c:v>5.4356164383561643</c:v>
                </c:pt>
                <c:pt idx="11770">
                  <c:v>5.4383561643835616</c:v>
                </c:pt>
                <c:pt idx="11771">
                  <c:v>#N/A</c:v>
                </c:pt>
                <c:pt idx="11772">
                  <c:v>5.4383561643835616</c:v>
                </c:pt>
                <c:pt idx="11773">
                  <c:v>5.4383561643835616</c:v>
                </c:pt>
                <c:pt idx="11774">
                  <c:v>5.4383561643835616</c:v>
                </c:pt>
                <c:pt idx="11775">
                  <c:v>5.4383561643835616</c:v>
                </c:pt>
                <c:pt idx="11776">
                  <c:v>5.4383561643835616</c:v>
                </c:pt>
                <c:pt idx="11777">
                  <c:v>5.4383561643835616</c:v>
                </c:pt>
                <c:pt idx="11778">
                  <c:v>5.4383561643835616</c:v>
                </c:pt>
                <c:pt idx="11779">
                  <c:v>5.4383561643835616</c:v>
                </c:pt>
                <c:pt idx="11780">
                  <c:v>5.4383561643835616</c:v>
                </c:pt>
                <c:pt idx="11781">
                  <c:v>5.4383561643835616</c:v>
                </c:pt>
                <c:pt idx="11782">
                  <c:v>#N/A</c:v>
                </c:pt>
                <c:pt idx="11783">
                  <c:v>5.4438356164383563</c:v>
                </c:pt>
                <c:pt idx="11784">
                  <c:v>#N/A</c:v>
                </c:pt>
                <c:pt idx="11785">
                  <c:v>5.4438356164383563</c:v>
                </c:pt>
                <c:pt idx="11786">
                  <c:v>5.4438356164383563</c:v>
                </c:pt>
                <c:pt idx="11787">
                  <c:v>#N/A</c:v>
                </c:pt>
                <c:pt idx="11788">
                  <c:v>#N/A</c:v>
                </c:pt>
                <c:pt idx="11789">
                  <c:v>#N/A</c:v>
                </c:pt>
                <c:pt idx="11790">
                  <c:v>#N/A</c:v>
                </c:pt>
                <c:pt idx="11791">
                  <c:v>5.4438356164383563</c:v>
                </c:pt>
                <c:pt idx="11792">
                  <c:v>5.4438356164383563</c:v>
                </c:pt>
                <c:pt idx="11793">
                  <c:v>5.4438356164383563</c:v>
                </c:pt>
                <c:pt idx="11794">
                  <c:v>#N/A</c:v>
                </c:pt>
                <c:pt idx="11795">
                  <c:v>5.4438356164383563</c:v>
                </c:pt>
                <c:pt idx="11796">
                  <c:v>5.4465753424657537</c:v>
                </c:pt>
                <c:pt idx="11797">
                  <c:v>#N/A</c:v>
                </c:pt>
                <c:pt idx="11798">
                  <c:v>#N/A</c:v>
                </c:pt>
                <c:pt idx="11799">
                  <c:v>#N/A</c:v>
                </c:pt>
                <c:pt idx="11800">
                  <c:v>#N/A</c:v>
                </c:pt>
                <c:pt idx="11801">
                  <c:v>#N/A</c:v>
                </c:pt>
                <c:pt idx="11802">
                  <c:v>5.4465753424657537</c:v>
                </c:pt>
                <c:pt idx="11803">
                  <c:v>#N/A</c:v>
                </c:pt>
                <c:pt idx="11804">
                  <c:v>#N/A</c:v>
                </c:pt>
                <c:pt idx="11805">
                  <c:v>5.4465753424657537</c:v>
                </c:pt>
                <c:pt idx="11806">
                  <c:v>#N/A</c:v>
                </c:pt>
                <c:pt idx="11807">
                  <c:v>#N/A</c:v>
                </c:pt>
                <c:pt idx="11808">
                  <c:v>#N/A</c:v>
                </c:pt>
                <c:pt idx="11809">
                  <c:v>5.4602739726027396</c:v>
                </c:pt>
                <c:pt idx="11810">
                  <c:v>5.463013698630137</c:v>
                </c:pt>
                <c:pt idx="11811">
                  <c:v>#N/A</c:v>
                </c:pt>
                <c:pt idx="11812">
                  <c:v>5.4657534246575343</c:v>
                </c:pt>
                <c:pt idx="11813">
                  <c:v>5.4657534246575343</c:v>
                </c:pt>
                <c:pt idx="11814">
                  <c:v>5.4657534246575343</c:v>
                </c:pt>
                <c:pt idx="11815">
                  <c:v>5.4684931506849317</c:v>
                </c:pt>
                <c:pt idx="11816">
                  <c:v>5.4684931506849317</c:v>
                </c:pt>
                <c:pt idx="11817">
                  <c:v>5.4712328767123291</c:v>
                </c:pt>
                <c:pt idx="11818">
                  <c:v>#N/A</c:v>
                </c:pt>
                <c:pt idx="11819">
                  <c:v>#N/A</c:v>
                </c:pt>
                <c:pt idx="11820">
                  <c:v>5.4712328767123291</c:v>
                </c:pt>
                <c:pt idx="11821">
                  <c:v>#N/A</c:v>
                </c:pt>
                <c:pt idx="11822">
                  <c:v>#N/A</c:v>
                </c:pt>
                <c:pt idx="11823">
                  <c:v>#N/A</c:v>
                </c:pt>
                <c:pt idx="11824">
                  <c:v>5.4712328767123291</c:v>
                </c:pt>
                <c:pt idx="11825">
                  <c:v>#N/A</c:v>
                </c:pt>
                <c:pt idx="11826">
                  <c:v>5.4712328767123291</c:v>
                </c:pt>
                <c:pt idx="11827">
                  <c:v>5.4712328767123291</c:v>
                </c:pt>
                <c:pt idx="11828">
                  <c:v>5.4712328767123291</c:v>
                </c:pt>
                <c:pt idx="11829">
                  <c:v>#N/A</c:v>
                </c:pt>
                <c:pt idx="11830">
                  <c:v>#N/A</c:v>
                </c:pt>
                <c:pt idx="11831">
                  <c:v>#N/A</c:v>
                </c:pt>
                <c:pt idx="11832">
                  <c:v>5.4712328767123291</c:v>
                </c:pt>
                <c:pt idx="11833">
                  <c:v>#N/A</c:v>
                </c:pt>
                <c:pt idx="11834">
                  <c:v>#N/A</c:v>
                </c:pt>
                <c:pt idx="11835">
                  <c:v>#N/A</c:v>
                </c:pt>
                <c:pt idx="11836">
                  <c:v>5.4712328767123291</c:v>
                </c:pt>
                <c:pt idx="11837">
                  <c:v>#N/A</c:v>
                </c:pt>
                <c:pt idx="11838">
                  <c:v>5.4712328767123291</c:v>
                </c:pt>
                <c:pt idx="11839">
                  <c:v>#N/A</c:v>
                </c:pt>
                <c:pt idx="11840">
                  <c:v>#N/A</c:v>
                </c:pt>
                <c:pt idx="11841">
                  <c:v>5.4712328767123291</c:v>
                </c:pt>
                <c:pt idx="11842">
                  <c:v>#N/A</c:v>
                </c:pt>
                <c:pt idx="11843">
                  <c:v>#N/A</c:v>
                </c:pt>
                <c:pt idx="11844">
                  <c:v>#N/A</c:v>
                </c:pt>
                <c:pt idx="11845">
                  <c:v>#N/A</c:v>
                </c:pt>
                <c:pt idx="11846">
                  <c:v>#N/A</c:v>
                </c:pt>
                <c:pt idx="11847">
                  <c:v>5.4712328767123291</c:v>
                </c:pt>
                <c:pt idx="11848">
                  <c:v>#N/A</c:v>
                </c:pt>
                <c:pt idx="11849">
                  <c:v>#N/A</c:v>
                </c:pt>
                <c:pt idx="11850">
                  <c:v>#N/A</c:v>
                </c:pt>
                <c:pt idx="11851">
                  <c:v>#N/A</c:v>
                </c:pt>
                <c:pt idx="11852">
                  <c:v>#N/A</c:v>
                </c:pt>
                <c:pt idx="11853">
                  <c:v>#N/A</c:v>
                </c:pt>
                <c:pt idx="11854">
                  <c:v>#N/A</c:v>
                </c:pt>
                <c:pt idx="11855">
                  <c:v>#N/A</c:v>
                </c:pt>
                <c:pt idx="11856">
                  <c:v>#N/A</c:v>
                </c:pt>
                <c:pt idx="11857">
                  <c:v>#N/A</c:v>
                </c:pt>
                <c:pt idx="11858">
                  <c:v>#N/A</c:v>
                </c:pt>
                <c:pt idx="11859">
                  <c:v>5.4712328767123291</c:v>
                </c:pt>
                <c:pt idx="11860">
                  <c:v>#N/A</c:v>
                </c:pt>
                <c:pt idx="11861">
                  <c:v>#N/A</c:v>
                </c:pt>
                <c:pt idx="11862">
                  <c:v>#N/A</c:v>
                </c:pt>
                <c:pt idx="11863">
                  <c:v>#N/A</c:v>
                </c:pt>
                <c:pt idx="11864">
                  <c:v>5.4712328767123291</c:v>
                </c:pt>
                <c:pt idx="11865">
                  <c:v>5.4712328767123291</c:v>
                </c:pt>
                <c:pt idx="11866">
                  <c:v>#N/A</c:v>
                </c:pt>
                <c:pt idx="11867">
                  <c:v>#N/A</c:v>
                </c:pt>
                <c:pt idx="11868">
                  <c:v>5.4712328767123291</c:v>
                </c:pt>
                <c:pt idx="11869">
                  <c:v>#N/A</c:v>
                </c:pt>
                <c:pt idx="11870">
                  <c:v>5.4794520547945202</c:v>
                </c:pt>
                <c:pt idx="11871">
                  <c:v>#N/A</c:v>
                </c:pt>
                <c:pt idx="11872">
                  <c:v>#N/A</c:v>
                </c:pt>
                <c:pt idx="11873">
                  <c:v>#N/A</c:v>
                </c:pt>
                <c:pt idx="11874">
                  <c:v>5.4904109589041097</c:v>
                </c:pt>
                <c:pt idx="11875">
                  <c:v>#N/A</c:v>
                </c:pt>
                <c:pt idx="11876">
                  <c:v>#N/A</c:v>
                </c:pt>
                <c:pt idx="11877">
                  <c:v>#N/A</c:v>
                </c:pt>
                <c:pt idx="11878">
                  <c:v>#N/A</c:v>
                </c:pt>
                <c:pt idx="11879">
                  <c:v>#N/A</c:v>
                </c:pt>
                <c:pt idx="11880">
                  <c:v>5.5013698630136982</c:v>
                </c:pt>
                <c:pt idx="11881">
                  <c:v>5.5013698630136982</c:v>
                </c:pt>
                <c:pt idx="11882">
                  <c:v>5.5041095890410956</c:v>
                </c:pt>
                <c:pt idx="11883">
                  <c:v>#N/A</c:v>
                </c:pt>
                <c:pt idx="11884">
                  <c:v>#N/A</c:v>
                </c:pt>
                <c:pt idx="11885">
                  <c:v>5.5041095890410956</c:v>
                </c:pt>
                <c:pt idx="11886">
                  <c:v>#N/A</c:v>
                </c:pt>
                <c:pt idx="11887">
                  <c:v>5.506849315068493</c:v>
                </c:pt>
                <c:pt idx="11888">
                  <c:v>5.506849315068493</c:v>
                </c:pt>
                <c:pt idx="11889">
                  <c:v>5.5095890410958903</c:v>
                </c:pt>
                <c:pt idx="11890">
                  <c:v>#N/A</c:v>
                </c:pt>
                <c:pt idx="11891">
                  <c:v>#N/A</c:v>
                </c:pt>
                <c:pt idx="11892">
                  <c:v>5.5095890410958903</c:v>
                </c:pt>
                <c:pt idx="11893">
                  <c:v>5.5095890410958903</c:v>
                </c:pt>
                <c:pt idx="11894">
                  <c:v>#N/A</c:v>
                </c:pt>
                <c:pt idx="11895">
                  <c:v>5.5123287671232877</c:v>
                </c:pt>
                <c:pt idx="11896">
                  <c:v>5.5123287671232877</c:v>
                </c:pt>
                <c:pt idx="11897">
                  <c:v>5.5123287671232877</c:v>
                </c:pt>
                <c:pt idx="11898">
                  <c:v>5.515068493150685</c:v>
                </c:pt>
                <c:pt idx="11899">
                  <c:v>5.515068493150685</c:v>
                </c:pt>
                <c:pt idx="11900">
                  <c:v>#N/A</c:v>
                </c:pt>
                <c:pt idx="11901">
                  <c:v>#N/A</c:v>
                </c:pt>
                <c:pt idx="11902">
                  <c:v>5.515068493150685</c:v>
                </c:pt>
                <c:pt idx="11903">
                  <c:v>#N/A</c:v>
                </c:pt>
                <c:pt idx="11904">
                  <c:v>5.5178082191780824</c:v>
                </c:pt>
                <c:pt idx="11905">
                  <c:v>#N/A</c:v>
                </c:pt>
                <c:pt idx="11906">
                  <c:v>5.5178082191780824</c:v>
                </c:pt>
                <c:pt idx="11907">
                  <c:v>#N/A</c:v>
                </c:pt>
                <c:pt idx="11908">
                  <c:v>#N/A</c:v>
                </c:pt>
                <c:pt idx="11909">
                  <c:v>5.5178082191780824</c:v>
                </c:pt>
                <c:pt idx="11910">
                  <c:v>#N/A</c:v>
                </c:pt>
                <c:pt idx="11911">
                  <c:v>5.5178082191780824</c:v>
                </c:pt>
                <c:pt idx="11912">
                  <c:v>5.5178082191780824</c:v>
                </c:pt>
                <c:pt idx="11913">
                  <c:v>5.5178082191780824</c:v>
                </c:pt>
                <c:pt idx="11914">
                  <c:v>5.5205479452054798</c:v>
                </c:pt>
                <c:pt idx="11915">
                  <c:v>5.5205479452054798</c:v>
                </c:pt>
                <c:pt idx="11916">
                  <c:v>5.5205479452054798</c:v>
                </c:pt>
                <c:pt idx="11917">
                  <c:v>#N/A</c:v>
                </c:pt>
                <c:pt idx="11918">
                  <c:v>5.5205479452054798</c:v>
                </c:pt>
                <c:pt idx="11919">
                  <c:v>#N/A</c:v>
                </c:pt>
                <c:pt idx="11920">
                  <c:v>5.5205479452054798</c:v>
                </c:pt>
                <c:pt idx="11921">
                  <c:v>5.5205479452054798</c:v>
                </c:pt>
                <c:pt idx="11922">
                  <c:v>#N/A</c:v>
                </c:pt>
                <c:pt idx="11923">
                  <c:v>5.5232876712328771</c:v>
                </c:pt>
                <c:pt idx="11924">
                  <c:v>#N/A</c:v>
                </c:pt>
                <c:pt idx="11925">
                  <c:v>#N/A</c:v>
                </c:pt>
                <c:pt idx="11926">
                  <c:v>5.5232876712328771</c:v>
                </c:pt>
                <c:pt idx="11927">
                  <c:v>#N/A</c:v>
                </c:pt>
                <c:pt idx="11928">
                  <c:v>#N/A</c:v>
                </c:pt>
                <c:pt idx="11929">
                  <c:v>5.5260273972602736</c:v>
                </c:pt>
                <c:pt idx="11930">
                  <c:v>5.5260273972602736</c:v>
                </c:pt>
                <c:pt idx="11931">
                  <c:v>5.5260273972602736</c:v>
                </c:pt>
                <c:pt idx="11932">
                  <c:v>#N/A</c:v>
                </c:pt>
                <c:pt idx="11933">
                  <c:v>5.5260273972602736</c:v>
                </c:pt>
                <c:pt idx="11934">
                  <c:v>5.5260273972602736</c:v>
                </c:pt>
                <c:pt idx="11935">
                  <c:v>5.5287671232876709</c:v>
                </c:pt>
                <c:pt idx="11936">
                  <c:v>5.5287671232876709</c:v>
                </c:pt>
                <c:pt idx="11937">
                  <c:v>#N/A</c:v>
                </c:pt>
                <c:pt idx="11938">
                  <c:v>5.5287671232876709</c:v>
                </c:pt>
                <c:pt idx="11939">
                  <c:v>5.5315068493150683</c:v>
                </c:pt>
                <c:pt idx="11940">
                  <c:v>5.5342465753424657</c:v>
                </c:pt>
                <c:pt idx="11941">
                  <c:v>#N/A</c:v>
                </c:pt>
                <c:pt idx="11942">
                  <c:v>#N/A</c:v>
                </c:pt>
                <c:pt idx="11943">
                  <c:v>5.536986301369863</c:v>
                </c:pt>
                <c:pt idx="11944">
                  <c:v>5.536986301369863</c:v>
                </c:pt>
                <c:pt idx="11945">
                  <c:v>5.536986301369863</c:v>
                </c:pt>
                <c:pt idx="11946">
                  <c:v>5.536986301369863</c:v>
                </c:pt>
                <c:pt idx="11947">
                  <c:v>5.536986301369863</c:v>
                </c:pt>
                <c:pt idx="11948">
                  <c:v>#N/A</c:v>
                </c:pt>
                <c:pt idx="11949">
                  <c:v>#N/A</c:v>
                </c:pt>
                <c:pt idx="11950">
                  <c:v>5.536986301369863</c:v>
                </c:pt>
                <c:pt idx="11951">
                  <c:v>5.536986301369863</c:v>
                </c:pt>
                <c:pt idx="11952">
                  <c:v>5.536986301369863</c:v>
                </c:pt>
                <c:pt idx="11953">
                  <c:v>5.5397260273972604</c:v>
                </c:pt>
                <c:pt idx="11954">
                  <c:v>5.5397260273972604</c:v>
                </c:pt>
                <c:pt idx="11955">
                  <c:v>#N/A</c:v>
                </c:pt>
                <c:pt idx="11956">
                  <c:v>5.5397260273972604</c:v>
                </c:pt>
                <c:pt idx="11957">
                  <c:v>5.5397260273972604</c:v>
                </c:pt>
                <c:pt idx="11958">
                  <c:v>5.5397260273972604</c:v>
                </c:pt>
                <c:pt idx="11959">
                  <c:v>5.5397260273972604</c:v>
                </c:pt>
                <c:pt idx="11960">
                  <c:v>5.5397260273972604</c:v>
                </c:pt>
                <c:pt idx="11961">
                  <c:v>5.5397260273972604</c:v>
                </c:pt>
                <c:pt idx="11962">
                  <c:v>5.5397260273972604</c:v>
                </c:pt>
                <c:pt idx="11963">
                  <c:v>5.5397260273972604</c:v>
                </c:pt>
                <c:pt idx="11964">
                  <c:v>5.5424657534246577</c:v>
                </c:pt>
                <c:pt idx="11965">
                  <c:v>5.5424657534246577</c:v>
                </c:pt>
                <c:pt idx="11966">
                  <c:v>5.5424657534246577</c:v>
                </c:pt>
                <c:pt idx="11967">
                  <c:v>5.5452054794520551</c:v>
                </c:pt>
                <c:pt idx="11968">
                  <c:v>5.5452054794520551</c:v>
                </c:pt>
                <c:pt idx="11969">
                  <c:v>5.5452054794520551</c:v>
                </c:pt>
                <c:pt idx="11970">
                  <c:v>5.5479452054794525</c:v>
                </c:pt>
                <c:pt idx="11971">
                  <c:v>5.5479452054794525</c:v>
                </c:pt>
                <c:pt idx="11972">
                  <c:v>5.5479452054794525</c:v>
                </c:pt>
                <c:pt idx="11973">
                  <c:v>#N/A</c:v>
                </c:pt>
                <c:pt idx="11974">
                  <c:v>5.5534246575342463</c:v>
                </c:pt>
                <c:pt idx="11975">
                  <c:v>#N/A</c:v>
                </c:pt>
                <c:pt idx="11976">
                  <c:v>#N/A</c:v>
                </c:pt>
                <c:pt idx="11977">
                  <c:v>#N/A</c:v>
                </c:pt>
                <c:pt idx="11978">
                  <c:v>#N/A</c:v>
                </c:pt>
                <c:pt idx="11979">
                  <c:v>#N/A</c:v>
                </c:pt>
                <c:pt idx="11980">
                  <c:v>5.5616438356164384</c:v>
                </c:pt>
                <c:pt idx="11981">
                  <c:v>5.5671232876712331</c:v>
                </c:pt>
                <c:pt idx="11982">
                  <c:v>5.5726027397260278</c:v>
                </c:pt>
                <c:pt idx="11983">
                  <c:v>#N/A</c:v>
                </c:pt>
                <c:pt idx="11984">
                  <c:v>5.5753424657534243</c:v>
                </c:pt>
                <c:pt idx="11985">
                  <c:v>5.580821917808219</c:v>
                </c:pt>
                <c:pt idx="11986">
                  <c:v>#N/A</c:v>
                </c:pt>
                <c:pt idx="11987">
                  <c:v>5.5835616438356164</c:v>
                </c:pt>
                <c:pt idx="11988">
                  <c:v>#N/A</c:v>
                </c:pt>
                <c:pt idx="11989">
                  <c:v>5.5863013698630137</c:v>
                </c:pt>
                <c:pt idx="11990">
                  <c:v>5.5917808219178085</c:v>
                </c:pt>
                <c:pt idx="11991">
                  <c:v>5.5917808219178085</c:v>
                </c:pt>
                <c:pt idx="11992">
                  <c:v>5.5945205479452058</c:v>
                </c:pt>
                <c:pt idx="11993">
                  <c:v>5.5945205479452058</c:v>
                </c:pt>
                <c:pt idx="11994">
                  <c:v>5.5972602739726032</c:v>
                </c:pt>
                <c:pt idx="11995">
                  <c:v>#N/A</c:v>
                </c:pt>
                <c:pt idx="11996">
                  <c:v>5.602739726027397</c:v>
                </c:pt>
                <c:pt idx="11997">
                  <c:v>5.602739726027397</c:v>
                </c:pt>
                <c:pt idx="11998">
                  <c:v>5.602739726027397</c:v>
                </c:pt>
                <c:pt idx="11999">
                  <c:v>#N/A</c:v>
                </c:pt>
                <c:pt idx="12000">
                  <c:v>5.602739726027397</c:v>
                </c:pt>
                <c:pt idx="12001">
                  <c:v>5.6054794520547944</c:v>
                </c:pt>
                <c:pt idx="12002">
                  <c:v>5.6136986301369864</c:v>
                </c:pt>
                <c:pt idx="12003">
                  <c:v>#N/A</c:v>
                </c:pt>
                <c:pt idx="12004">
                  <c:v>5.6136986301369864</c:v>
                </c:pt>
                <c:pt idx="12005">
                  <c:v>5.6136986301369864</c:v>
                </c:pt>
                <c:pt idx="12006">
                  <c:v>#N/A</c:v>
                </c:pt>
                <c:pt idx="12007">
                  <c:v>#N/A</c:v>
                </c:pt>
                <c:pt idx="12008">
                  <c:v>#N/A</c:v>
                </c:pt>
                <c:pt idx="12009">
                  <c:v>5.6164383561643838</c:v>
                </c:pt>
                <c:pt idx="12010">
                  <c:v>#N/A</c:v>
                </c:pt>
                <c:pt idx="12011">
                  <c:v>5.6191780821917812</c:v>
                </c:pt>
                <c:pt idx="12012">
                  <c:v>#N/A</c:v>
                </c:pt>
                <c:pt idx="12013">
                  <c:v>5.6191780821917812</c:v>
                </c:pt>
                <c:pt idx="12014">
                  <c:v>5.6328767123287671</c:v>
                </c:pt>
                <c:pt idx="12015">
                  <c:v>5.6328767123287671</c:v>
                </c:pt>
                <c:pt idx="12016">
                  <c:v>5.6328767123287671</c:v>
                </c:pt>
                <c:pt idx="12017">
                  <c:v>#N/A</c:v>
                </c:pt>
                <c:pt idx="12018">
                  <c:v>5.6356164383561644</c:v>
                </c:pt>
                <c:pt idx="12019">
                  <c:v>#N/A</c:v>
                </c:pt>
                <c:pt idx="12020">
                  <c:v>#N/A</c:v>
                </c:pt>
                <c:pt idx="12021">
                  <c:v>#N/A</c:v>
                </c:pt>
                <c:pt idx="12022">
                  <c:v>5.6547945205479451</c:v>
                </c:pt>
                <c:pt idx="12023">
                  <c:v>5.6547945205479451</c:v>
                </c:pt>
                <c:pt idx="12024">
                  <c:v>5.6547945205479451</c:v>
                </c:pt>
                <c:pt idx="12025">
                  <c:v>5.6575342465753424</c:v>
                </c:pt>
                <c:pt idx="12026">
                  <c:v>5.6575342465753424</c:v>
                </c:pt>
                <c:pt idx="12027">
                  <c:v>5.6602739726027398</c:v>
                </c:pt>
                <c:pt idx="12028">
                  <c:v>#N/A</c:v>
                </c:pt>
                <c:pt idx="12029">
                  <c:v>5.6630136986301371</c:v>
                </c:pt>
                <c:pt idx="12030">
                  <c:v>#N/A</c:v>
                </c:pt>
                <c:pt idx="12031">
                  <c:v>5.6630136986301371</c:v>
                </c:pt>
                <c:pt idx="12032">
                  <c:v>5.6684931506849319</c:v>
                </c:pt>
                <c:pt idx="12033">
                  <c:v>5.6684931506849319</c:v>
                </c:pt>
                <c:pt idx="12034">
                  <c:v>5.6712328767123283</c:v>
                </c:pt>
                <c:pt idx="12035">
                  <c:v>5.6739726027397257</c:v>
                </c:pt>
                <c:pt idx="12036">
                  <c:v>5.6739726027397257</c:v>
                </c:pt>
                <c:pt idx="12037">
                  <c:v>5.6739726027397257</c:v>
                </c:pt>
                <c:pt idx="12038">
                  <c:v>5.6767123287671231</c:v>
                </c:pt>
                <c:pt idx="12039">
                  <c:v>5.6767123287671231</c:v>
                </c:pt>
                <c:pt idx="12040">
                  <c:v>5.6794520547945204</c:v>
                </c:pt>
                <c:pt idx="12041">
                  <c:v>5.6904109589041099</c:v>
                </c:pt>
                <c:pt idx="12042">
                  <c:v>5.6904109589041099</c:v>
                </c:pt>
                <c:pt idx="12043">
                  <c:v>#N/A</c:v>
                </c:pt>
                <c:pt idx="12044">
                  <c:v>5.6986301369863011</c:v>
                </c:pt>
                <c:pt idx="12045">
                  <c:v>5.6986301369863011</c:v>
                </c:pt>
                <c:pt idx="12046">
                  <c:v>5.7013698630136984</c:v>
                </c:pt>
                <c:pt idx="12047">
                  <c:v>5.7123287671232879</c:v>
                </c:pt>
                <c:pt idx="12048">
                  <c:v>5.7150684931506852</c:v>
                </c:pt>
                <c:pt idx="12049">
                  <c:v>#N/A</c:v>
                </c:pt>
                <c:pt idx="12050">
                  <c:v>#N/A</c:v>
                </c:pt>
                <c:pt idx="12051">
                  <c:v>#N/A</c:v>
                </c:pt>
                <c:pt idx="12052">
                  <c:v>#N/A</c:v>
                </c:pt>
                <c:pt idx="12053">
                  <c:v>#N/A</c:v>
                </c:pt>
                <c:pt idx="12054">
                  <c:v>5.7232876712328764</c:v>
                </c:pt>
                <c:pt idx="12055">
                  <c:v>#N/A</c:v>
                </c:pt>
                <c:pt idx="12056">
                  <c:v>#N/A</c:v>
                </c:pt>
                <c:pt idx="12057">
                  <c:v>5.7342465753424658</c:v>
                </c:pt>
                <c:pt idx="12058">
                  <c:v>5.7643835616438359</c:v>
                </c:pt>
                <c:pt idx="12059">
                  <c:v>#N/A</c:v>
                </c:pt>
                <c:pt idx="12060">
                  <c:v>#N/A</c:v>
                </c:pt>
                <c:pt idx="12061">
                  <c:v>#N/A</c:v>
                </c:pt>
                <c:pt idx="12062">
                  <c:v>5.7863013698630139</c:v>
                </c:pt>
                <c:pt idx="12063">
                  <c:v>#N/A</c:v>
                </c:pt>
                <c:pt idx="12064">
                  <c:v>#N/A</c:v>
                </c:pt>
                <c:pt idx="12065">
                  <c:v>5.7890410958904113</c:v>
                </c:pt>
                <c:pt idx="12066">
                  <c:v>#N/A</c:v>
                </c:pt>
                <c:pt idx="12067">
                  <c:v>5.7972602739726025</c:v>
                </c:pt>
                <c:pt idx="12068">
                  <c:v>5.7972602739726025</c:v>
                </c:pt>
                <c:pt idx="12069">
                  <c:v>#N/A</c:v>
                </c:pt>
                <c:pt idx="12070">
                  <c:v>#N/A</c:v>
                </c:pt>
                <c:pt idx="12071">
                  <c:v>#N/A</c:v>
                </c:pt>
                <c:pt idx="12072">
                  <c:v>5.8054794520547945</c:v>
                </c:pt>
                <c:pt idx="12073">
                  <c:v>5.8054794520547945</c:v>
                </c:pt>
                <c:pt idx="12074">
                  <c:v>5.8054794520547945</c:v>
                </c:pt>
                <c:pt idx="12075">
                  <c:v>5.8054794520547945</c:v>
                </c:pt>
                <c:pt idx="12076">
                  <c:v>5.8054794520547945</c:v>
                </c:pt>
                <c:pt idx="12077">
                  <c:v>5.8054794520547945</c:v>
                </c:pt>
                <c:pt idx="12078">
                  <c:v>5.8054794520547945</c:v>
                </c:pt>
                <c:pt idx="12079">
                  <c:v>5.8054794520547945</c:v>
                </c:pt>
                <c:pt idx="12080">
                  <c:v>5.8082191780821919</c:v>
                </c:pt>
                <c:pt idx="12081">
                  <c:v>5.8082191780821919</c:v>
                </c:pt>
                <c:pt idx="12082">
                  <c:v>#N/A</c:v>
                </c:pt>
                <c:pt idx="12083">
                  <c:v>5.8109589041095893</c:v>
                </c:pt>
                <c:pt idx="12084">
                  <c:v>#N/A</c:v>
                </c:pt>
                <c:pt idx="12085">
                  <c:v>#N/A</c:v>
                </c:pt>
                <c:pt idx="12086">
                  <c:v>5.8109589041095893</c:v>
                </c:pt>
                <c:pt idx="12087">
                  <c:v>5.8109589041095893</c:v>
                </c:pt>
                <c:pt idx="12088">
                  <c:v>5.8136986301369866</c:v>
                </c:pt>
                <c:pt idx="12089">
                  <c:v>5.8136986301369866</c:v>
                </c:pt>
                <c:pt idx="12090">
                  <c:v>5.8136986301369866</c:v>
                </c:pt>
                <c:pt idx="12091">
                  <c:v>#N/A</c:v>
                </c:pt>
                <c:pt idx="12092">
                  <c:v>5.8246575342465752</c:v>
                </c:pt>
                <c:pt idx="12093">
                  <c:v>5.8273972602739725</c:v>
                </c:pt>
                <c:pt idx="12094">
                  <c:v>#N/A</c:v>
                </c:pt>
                <c:pt idx="12095">
                  <c:v>5.8273972602739725</c:v>
                </c:pt>
                <c:pt idx="12096">
                  <c:v>5.8273972602739725</c:v>
                </c:pt>
                <c:pt idx="12097">
                  <c:v>5.8301369863013699</c:v>
                </c:pt>
                <c:pt idx="12098">
                  <c:v>5.8438356164383558</c:v>
                </c:pt>
                <c:pt idx="12099">
                  <c:v>#N/A</c:v>
                </c:pt>
                <c:pt idx="12100">
                  <c:v>5.8438356164383558</c:v>
                </c:pt>
                <c:pt idx="12101">
                  <c:v>#N/A</c:v>
                </c:pt>
                <c:pt idx="12102">
                  <c:v>#N/A</c:v>
                </c:pt>
                <c:pt idx="12103">
                  <c:v>5.8684931506849312</c:v>
                </c:pt>
                <c:pt idx="12104">
                  <c:v>#N/A</c:v>
                </c:pt>
                <c:pt idx="12105">
                  <c:v>#N/A</c:v>
                </c:pt>
                <c:pt idx="12106">
                  <c:v>#N/A</c:v>
                </c:pt>
                <c:pt idx="12107">
                  <c:v>5.8684931506849312</c:v>
                </c:pt>
                <c:pt idx="12108">
                  <c:v>5.8684931506849312</c:v>
                </c:pt>
                <c:pt idx="12109">
                  <c:v>5.8684931506849312</c:v>
                </c:pt>
                <c:pt idx="12110">
                  <c:v>#N/A</c:v>
                </c:pt>
                <c:pt idx="12111">
                  <c:v>5.8712328767123285</c:v>
                </c:pt>
                <c:pt idx="12112">
                  <c:v>5.8712328767123285</c:v>
                </c:pt>
                <c:pt idx="12113">
                  <c:v>5.8712328767123285</c:v>
                </c:pt>
                <c:pt idx="12114">
                  <c:v>5.8712328767123285</c:v>
                </c:pt>
                <c:pt idx="12115">
                  <c:v>5.8712328767123285</c:v>
                </c:pt>
                <c:pt idx="12116">
                  <c:v>#N/A</c:v>
                </c:pt>
                <c:pt idx="12117">
                  <c:v>#N/A</c:v>
                </c:pt>
                <c:pt idx="12118">
                  <c:v>#N/A</c:v>
                </c:pt>
                <c:pt idx="12119">
                  <c:v>5.8767123287671232</c:v>
                </c:pt>
                <c:pt idx="12120">
                  <c:v>#N/A</c:v>
                </c:pt>
                <c:pt idx="12121">
                  <c:v>5.9068493150684933</c:v>
                </c:pt>
                <c:pt idx="12122">
                  <c:v>5.9068493150684933</c:v>
                </c:pt>
                <c:pt idx="12123">
                  <c:v>5.9068493150684933</c:v>
                </c:pt>
                <c:pt idx="12124">
                  <c:v>5.9068493150684933</c:v>
                </c:pt>
                <c:pt idx="12125">
                  <c:v>#N/A</c:v>
                </c:pt>
                <c:pt idx="12126">
                  <c:v>#N/A</c:v>
                </c:pt>
                <c:pt idx="12127">
                  <c:v>5.912328767123288</c:v>
                </c:pt>
                <c:pt idx="12128">
                  <c:v>5.9205479452054792</c:v>
                </c:pt>
                <c:pt idx="12129">
                  <c:v>5.9232876712328766</c:v>
                </c:pt>
                <c:pt idx="12130">
                  <c:v>#N/A</c:v>
                </c:pt>
                <c:pt idx="12131">
                  <c:v>#N/A</c:v>
                </c:pt>
                <c:pt idx="12132">
                  <c:v>#N/A</c:v>
                </c:pt>
                <c:pt idx="12133">
                  <c:v>#N/A</c:v>
                </c:pt>
                <c:pt idx="12134">
                  <c:v>#N/A</c:v>
                </c:pt>
                <c:pt idx="12135">
                  <c:v>#N/A</c:v>
                </c:pt>
                <c:pt idx="12136">
                  <c:v>5.9452054794520546</c:v>
                </c:pt>
                <c:pt idx="12137">
                  <c:v>#N/A</c:v>
                </c:pt>
                <c:pt idx="12138">
                  <c:v>#N/A</c:v>
                </c:pt>
                <c:pt idx="12139">
                  <c:v>5.9479452054794519</c:v>
                </c:pt>
                <c:pt idx="12140">
                  <c:v>5.9616438356164387</c:v>
                </c:pt>
                <c:pt idx="12141">
                  <c:v>5.9643835616438352</c:v>
                </c:pt>
                <c:pt idx="12142">
                  <c:v>5.9835616438356167</c:v>
                </c:pt>
                <c:pt idx="12143">
                  <c:v>#N/A</c:v>
                </c:pt>
                <c:pt idx="12144">
                  <c:v>#N/A</c:v>
                </c:pt>
                <c:pt idx="12145">
                  <c:v>#N/A</c:v>
                </c:pt>
                <c:pt idx="12146">
                  <c:v>5.9972602739726026</c:v>
                </c:pt>
                <c:pt idx="12147">
                  <c:v>#N/A</c:v>
                </c:pt>
                <c:pt idx="12148">
                  <c:v>6</c:v>
                </c:pt>
                <c:pt idx="12149">
                  <c:v>6.0054794520547947</c:v>
                </c:pt>
                <c:pt idx="12150">
                  <c:v>#N/A</c:v>
                </c:pt>
                <c:pt idx="12151">
                  <c:v>6.0136986301369859</c:v>
                </c:pt>
                <c:pt idx="12152">
                  <c:v>#N/A</c:v>
                </c:pt>
                <c:pt idx="12153">
                  <c:v>#N/A</c:v>
                </c:pt>
                <c:pt idx="12154">
                  <c:v>#N/A</c:v>
                </c:pt>
                <c:pt idx="12155">
                  <c:v>#N/A</c:v>
                </c:pt>
                <c:pt idx="12156">
                  <c:v>#N/A</c:v>
                </c:pt>
                <c:pt idx="12157">
                  <c:v>6.0164383561643833</c:v>
                </c:pt>
                <c:pt idx="12158">
                  <c:v>#N/A</c:v>
                </c:pt>
                <c:pt idx="12159">
                  <c:v>6.0191780821917806</c:v>
                </c:pt>
                <c:pt idx="12160">
                  <c:v>#N/A</c:v>
                </c:pt>
                <c:pt idx="12161">
                  <c:v>6.0191780821917806</c:v>
                </c:pt>
                <c:pt idx="12162">
                  <c:v>#N/A</c:v>
                </c:pt>
                <c:pt idx="12163">
                  <c:v>#N/A</c:v>
                </c:pt>
                <c:pt idx="12164">
                  <c:v>#N/A</c:v>
                </c:pt>
                <c:pt idx="12165">
                  <c:v>6.0191780821917806</c:v>
                </c:pt>
                <c:pt idx="12166">
                  <c:v>6.0191780821917806</c:v>
                </c:pt>
                <c:pt idx="12167">
                  <c:v>#N/A</c:v>
                </c:pt>
                <c:pt idx="12168">
                  <c:v>#N/A</c:v>
                </c:pt>
                <c:pt idx="12169">
                  <c:v>6.021917808219178</c:v>
                </c:pt>
                <c:pt idx="12170">
                  <c:v>#N/A</c:v>
                </c:pt>
                <c:pt idx="12171">
                  <c:v>6.021917808219178</c:v>
                </c:pt>
                <c:pt idx="12172">
                  <c:v>6.021917808219178</c:v>
                </c:pt>
                <c:pt idx="12173">
                  <c:v>6.021917808219178</c:v>
                </c:pt>
                <c:pt idx="12174">
                  <c:v>6.021917808219178</c:v>
                </c:pt>
                <c:pt idx="12175">
                  <c:v>6.021917808219178</c:v>
                </c:pt>
                <c:pt idx="12176">
                  <c:v>6.0246575342465754</c:v>
                </c:pt>
                <c:pt idx="12177">
                  <c:v>6.0246575342465754</c:v>
                </c:pt>
                <c:pt idx="12178">
                  <c:v>6.0246575342465754</c:v>
                </c:pt>
                <c:pt idx="12179">
                  <c:v>6.0246575342465754</c:v>
                </c:pt>
                <c:pt idx="12180">
                  <c:v>6.0246575342465754</c:v>
                </c:pt>
                <c:pt idx="12181">
                  <c:v>6.0246575342465754</c:v>
                </c:pt>
                <c:pt idx="12182">
                  <c:v>#N/A</c:v>
                </c:pt>
                <c:pt idx="12183">
                  <c:v>6.0246575342465754</c:v>
                </c:pt>
                <c:pt idx="12184">
                  <c:v>#N/A</c:v>
                </c:pt>
                <c:pt idx="12185">
                  <c:v>#N/A</c:v>
                </c:pt>
                <c:pt idx="12186">
                  <c:v>6.0273972602739727</c:v>
                </c:pt>
                <c:pt idx="12187">
                  <c:v>6.0273972602739727</c:v>
                </c:pt>
                <c:pt idx="12188">
                  <c:v>6.0273972602739727</c:v>
                </c:pt>
                <c:pt idx="12189">
                  <c:v>#N/A</c:v>
                </c:pt>
                <c:pt idx="12190">
                  <c:v>6.0383561643835613</c:v>
                </c:pt>
                <c:pt idx="12191">
                  <c:v>#N/A</c:v>
                </c:pt>
                <c:pt idx="12192">
                  <c:v>6.043835616438356</c:v>
                </c:pt>
                <c:pt idx="12193">
                  <c:v>6.0465753424657533</c:v>
                </c:pt>
                <c:pt idx="12194">
                  <c:v>#N/A</c:v>
                </c:pt>
                <c:pt idx="12195">
                  <c:v>#N/A</c:v>
                </c:pt>
                <c:pt idx="12196">
                  <c:v>#N/A</c:v>
                </c:pt>
                <c:pt idx="12197">
                  <c:v>#N/A</c:v>
                </c:pt>
                <c:pt idx="12198">
                  <c:v>#N/A</c:v>
                </c:pt>
                <c:pt idx="12199">
                  <c:v>#N/A</c:v>
                </c:pt>
                <c:pt idx="12200">
                  <c:v>6.0465753424657533</c:v>
                </c:pt>
                <c:pt idx="12201">
                  <c:v>#N/A</c:v>
                </c:pt>
                <c:pt idx="12202">
                  <c:v>6.0575342465753428</c:v>
                </c:pt>
                <c:pt idx="12203">
                  <c:v>#N/A</c:v>
                </c:pt>
                <c:pt idx="12204">
                  <c:v>6.0575342465753428</c:v>
                </c:pt>
                <c:pt idx="12205">
                  <c:v>6.0575342465753428</c:v>
                </c:pt>
                <c:pt idx="12206">
                  <c:v>#N/A</c:v>
                </c:pt>
                <c:pt idx="12207">
                  <c:v>6.0602739726027401</c:v>
                </c:pt>
                <c:pt idx="12208">
                  <c:v>#N/A</c:v>
                </c:pt>
                <c:pt idx="12209">
                  <c:v>6.0602739726027401</c:v>
                </c:pt>
                <c:pt idx="12210">
                  <c:v>6.0630136986301366</c:v>
                </c:pt>
                <c:pt idx="12211">
                  <c:v>6.065753424657534</c:v>
                </c:pt>
                <c:pt idx="12212">
                  <c:v>6.065753424657534</c:v>
                </c:pt>
                <c:pt idx="12213">
                  <c:v>#N/A</c:v>
                </c:pt>
                <c:pt idx="12214">
                  <c:v>6.0767123287671234</c:v>
                </c:pt>
                <c:pt idx="12215">
                  <c:v>6.0904109589041093</c:v>
                </c:pt>
                <c:pt idx="12216">
                  <c:v>6.0931506849315067</c:v>
                </c:pt>
                <c:pt idx="12217">
                  <c:v>#N/A</c:v>
                </c:pt>
                <c:pt idx="12218">
                  <c:v>6.0931506849315067</c:v>
                </c:pt>
                <c:pt idx="12219">
                  <c:v>6.0931506849315067</c:v>
                </c:pt>
                <c:pt idx="12220">
                  <c:v>6.1041095890410961</c:v>
                </c:pt>
                <c:pt idx="12221">
                  <c:v>#N/A</c:v>
                </c:pt>
                <c:pt idx="12222">
                  <c:v>#N/A</c:v>
                </c:pt>
                <c:pt idx="12223">
                  <c:v>#N/A</c:v>
                </c:pt>
                <c:pt idx="12224">
                  <c:v>6.1205479452054794</c:v>
                </c:pt>
                <c:pt idx="12225">
                  <c:v>6.1315068493150688</c:v>
                </c:pt>
                <c:pt idx="12226">
                  <c:v>6.1369863013698627</c:v>
                </c:pt>
                <c:pt idx="12227">
                  <c:v>#N/A</c:v>
                </c:pt>
                <c:pt idx="12228">
                  <c:v>6.1424657534246574</c:v>
                </c:pt>
                <c:pt idx="12229">
                  <c:v>#N/A</c:v>
                </c:pt>
                <c:pt idx="12230">
                  <c:v>6.1479452054794521</c:v>
                </c:pt>
                <c:pt idx="12231">
                  <c:v>6.1506849315068495</c:v>
                </c:pt>
                <c:pt idx="12232">
                  <c:v>6.1534246575342468</c:v>
                </c:pt>
                <c:pt idx="12233">
                  <c:v>6.1589041095890407</c:v>
                </c:pt>
                <c:pt idx="12234">
                  <c:v>6.1726027397260275</c:v>
                </c:pt>
                <c:pt idx="12235">
                  <c:v>#N/A</c:v>
                </c:pt>
                <c:pt idx="12236">
                  <c:v>6.1780821917808222</c:v>
                </c:pt>
                <c:pt idx="12237">
                  <c:v>6.1780821917808222</c:v>
                </c:pt>
                <c:pt idx="12238">
                  <c:v>6.1780821917808222</c:v>
                </c:pt>
                <c:pt idx="12239">
                  <c:v>#N/A</c:v>
                </c:pt>
                <c:pt idx="12240">
                  <c:v>6.1808219178082195</c:v>
                </c:pt>
                <c:pt idx="12241">
                  <c:v>#N/A</c:v>
                </c:pt>
                <c:pt idx="12242">
                  <c:v>6.1808219178082195</c:v>
                </c:pt>
                <c:pt idx="12243">
                  <c:v>6.1808219178082195</c:v>
                </c:pt>
                <c:pt idx="12244">
                  <c:v>#N/A</c:v>
                </c:pt>
                <c:pt idx="12245">
                  <c:v>#N/A</c:v>
                </c:pt>
                <c:pt idx="12246">
                  <c:v>#N/A</c:v>
                </c:pt>
                <c:pt idx="12247">
                  <c:v>6.2136986301369861</c:v>
                </c:pt>
                <c:pt idx="12248">
                  <c:v>#N/A</c:v>
                </c:pt>
                <c:pt idx="12249">
                  <c:v>6.2164383561643834</c:v>
                </c:pt>
                <c:pt idx="12250">
                  <c:v>6.2328767123287667</c:v>
                </c:pt>
                <c:pt idx="12251">
                  <c:v>6.2465753424657535</c:v>
                </c:pt>
                <c:pt idx="12252">
                  <c:v>6.2493150684931509</c:v>
                </c:pt>
                <c:pt idx="12253">
                  <c:v>6.2547945205479456</c:v>
                </c:pt>
                <c:pt idx="12254">
                  <c:v>6.2712328767123289</c:v>
                </c:pt>
                <c:pt idx="12255">
                  <c:v>6.2712328767123289</c:v>
                </c:pt>
                <c:pt idx="12256">
                  <c:v>6.2739726027397262</c:v>
                </c:pt>
                <c:pt idx="12257">
                  <c:v>#N/A</c:v>
                </c:pt>
                <c:pt idx="12258">
                  <c:v>#N/A</c:v>
                </c:pt>
                <c:pt idx="12259">
                  <c:v>6.3068493150684928</c:v>
                </c:pt>
                <c:pt idx="12260">
                  <c:v>#N/A</c:v>
                </c:pt>
                <c:pt idx="12261">
                  <c:v>6.3123287671232875</c:v>
                </c:pt>
                <c:pt idx="12262">
                  <c:v>#N/A</c:v>
                </c:pt>
                <c:pt idx="12263">
                  <c:v>6.3260273972602743</c:v>
                </c:pt>
                <c:pt idx="12264">
                  <c:v>6.3260273972602743</c:v>
                </c:pt>
                <c:pt idx="12265">
                  <c:v>#N/A</c:v>
                </c:pt>
                <c:pt idx="12266">
                  <c:v>6.3342465753424655</c:v>
                </c:pt>
                <c:pt idx="12267">
                  <c:v>6.3342465753424655</c:v>
                </c:pt>
                <c:pt idx="12268">
                  <c:v>#N/A</c:v>
                </c:pt>
                <c:pt idx="12269">
                  <c:v>#N/A</c:v>
                </c:pt>
                <c:pt idx="12270">
                  <c:v>6.3506849315068497</c:v>
                </c:pt>
                <c:pt idx="12271">
                  <c:v>#N/A</c:v>
                </c:pt>
                <c:pt idx="12272">
                  <c:v>6.3506849315068497</c:v>
                </c:pt>
                <c:pt idx="12273">
                  <c:v>#N/A</c:v>
                </c:pt>
                <c:pt idx="12274">
                  <c:v>6.3506849315068497</c:v>
                </c:pt>
                <c:pt idx="12275">
                  <c:v>#N/A</c:v>
                </c:pt>
                <c:pt idx="12276">
                  <c:v>#N/A</c:v>
                </c:pt>
                <c:pt idx="12277">
                  <c:v>6.3506849315068497</c:v>
                </c:pt>
                <c:pt idx="12278">
                  <c:v>#N/A</c:v>
                </c:pt>
                <c:pt idx="12279">
                  <c:v>6.3506849315068497</c:v>
                </c:pt>
                <c:pt idx="12280">
                  <c:v>6.3506849315068497</c:v>
                </c:pt>
                <c:pt idx="12281">
                  <c:v>#N/A</c:v>
                </c:pt>
                <c:pt idx="12282">
                  <c:v>#N/A</c:v>
                </c:pt>
                <c:pt idx="12283">
                  <c:v>#N/A</c:v>
                </c:pt>
                <c:pt idx="12284">
                  <c:v>6.3506849315068497</c:v>
                </c:pt>
                <c:pt idx="12285">
                  <c:v>#N/A</c:v>
                </c:pt>
                <c:pt idx="12286">
                  <c:v>6.3616438356164382</c:v>
                </c:pt>
                <c:pt idx="12287">
                  <c:v>6.3643835616438356</c:v>
                </c:pt>
                <c:pt idx="12288">
                  <c:v>6.3671232876712329</c:v>
                </c:pt>
                <c:pt idx="12289">
                  <c:v>#N/A</c:v>
                </c:pt>
                <c:pt idx="12290">
                  <c:v>6.3698630136986303</c:v>
                </c:pt>
                <c:pt idx="12291">
                  <c:v>6.3890410958904109</c:v>
                </c:pt>
                <c:pt idx="12292">
                  <c:v>#N/A</c:v>
                </c:pt>
                <c:pt idx="12293">
                  <c:v>#N/A</c:v>
                </c:pt>
                <c:pt idx="12294">
                  <c:v>6.4054794520547942</c:v>
                </c:pt>
                <c:pt idx="12295">
                  <c:v>#N/A</c:v>
                </c:pt>
                <c:pt idx="12296">
                  <c:v>6.419178082191781</c:v>
                </c:pt>
                <c:pt idx="12297">
                  <c:v>#N/A</c:v>
                </c:pt>
                <c:pt idx="12298">
                  <c:v>6.4219178082191783</c:v>
                </c:pt>
                <c:pt idx="12299">
                  <c:v>6.4219178082191783</c:v>
                </c:pt>
                <c:pt idx="12300">
                  <c:v>6.4219178082191783</c:v>
                </c:pt>
                <c:pt idx="12301">
                  <c:v>#N/A</c:v>
                </c:pt>
                <c:pt idx="12302">
                  <c:v>6.4383561643835616</c:v>
                </c:pt>
                <c:pt idx="12303">
                  <c:v>#N/A</c:v>
                </c:pt>
                <c:pt idx="12304">
                  <c:v>#N/A</c:v>
                </c:pt>
                <c:pt idx="12305">
                  <c:v>#N/A</c:v>
                </c:pt>
                <c:pt idx="12306">
                  <c:v>#N/A</c:v>
                </c:pt>
                <c:pt idx="12307">
                  <c:v>#N/A</c:v>
                </c:pt>
                <c:pt idx="12308">
                  <c:v>#N/A</c:v>
                </c:pt>
                <c:pt idx="12309">
                  <c:v>6.441095890410959</c:v>
                </c:pt>
                <c:pt idx="12310">
                  <c:v>#N/A</c:v>
                </c:pt>
                <c:pt idx="12311">
                  <c:v>#N/A</c:v>
                </c:pt>
                <c:pt idx="12312">
                  <c:v>6.4438356164383563</c:v>
                </c:pt>
                <c:pt idx="12313">
                  <c:v>#N/A</c:v>
                </c:pt>
                <c:pt idx="12314">
                  <c:v>6.4684931506849317</c:v>
                </c:pt>
                <c:pt idx="12315">
                  <c:v>6.4684931506849317</c:v>
                </c:pt>
                <c:pt idx="12316">
                  <c:v>#N/A</c:v>
                </c:pt>
                <c:pt idx="12317">
                  <c:v>6.4684931506849317</c:v>
                </c:pt>
                <c:pt idx="12318">
                  <c:v>#N/A</c:v>
                </c:pt>
                <c:pt idx="12319">
                  <c:v>6.4684931506849317</c:v>
                </c:pt>
                <c:pt idx="12320">
                  <c:v>#N/A</c:v>
                </c:pt>
                <c:pt idx="12321">
                  <c:v>#N/A</c:v>
                </c:pt>
                <c:pt idx="12322">
                  <c:v>#N/A</c:v>
                </c:pt>
                <c:pt idx="12323">
                  <c:v>#N/A</c:v>
                </c:pt>
                <c:pt idx="12324">
                  <c:v>#N/A</c:v>
                </c:pt>
                <c:pt idx="12325">
                  <c:v>#N/A</c:v>
                </c:pt>
                <c:pt idx="12326">
                  <c:v>#N/A</c:v>
                </c:pt>
                <c:pt idx="12327">
                  <c:v>#N/A</c:v>
                </c:pt>
                <c:pt idx="12328">
                  <c:v>6.4684931506849317</c:v>
                </c:pt>
                <c:pt idx="12329">
                  <c:v>#N/A</c:v>
                </c:pt>
                <c:pt idx="12330">
                  <c:v>6.4684931506849317</c:v>
                </c:pt>
                <c:pt idx="12331">
                  <c:v>#N/A</c:v>
                </c:pt>
                <c:pt idx="12332">
                  <c:v>#N/A</c:v>
                </c:pt>
                <c:pt idx="12333">
                  <c:v>#N/A</c:v>
                </c:pt>
                <c:pt idx="12334">
                  <c:v>6.4684931506849317</c:v>
                </c:pt>
                <c:pt idx="12335">
                  <c:v>#N/A</c:v>
                </c:pt>
                <c:pt idx="12336">
                  <c:v>#N/A</c:v>
                </c:pt>
                <c:pt idx="12337">
                  <c:v>#N/A</c:v>
                </c:pt>
                <c:pt idx="12338">
                  <c:v>#N/A</c:v>
                </c:pt>
                <c:pt idx="12339">
                  <c:v>6.4684931506849317</c:v>
                </c:pt>
                <c:pt idx="12340">
                  <c:v>#N/A</c:v>
                </c:pt>
                <c:pt idx="12341">
                  <c:v>6.4684931506849317</c:v>
                </c:pt>
                <c:pt idx="12342">
                  <c:v>#N/A</c:v>
                </c:pt>
                <c:pt idx="12343">
                  <c:v>6.4684931506849317</c:v>
                </c:pt>
                <c:pt idx="12344">
                  <c:v>#N/A</c:v>
                </c:pt>
                <c:pt idx="12345">
                  <c:v>#N/A</c:v>
                </c:pt>
                <c:pt idx="12346">
                  <c:v>6.4684931506849317</c:v>
                </c:pt>
                <c:pt idx="12347">
                  <c:v>#N/A</c:v>
                </c:pt>
                <c:pt idx="12348">
                  <c:v>#N/A</c:v>
                </c:pt>
                <c:pt idx="12349">
                  <c:v>6.4684931506849317</c:v>
                </c:pt>
                <c:pt idx="12350">
                  <c:v>6.4684931506849317</c:v>
                </c:pt>
                <c:pt idx="12351">
                  <c:v>#N/A</c:v>
                </c:pt>
                <c:pt idx="12352">
                  <c:v>6.4794520547945202</c:v>
                </c:pt>
                <c:pt idx="12353">
                  <c:v>6.4821917808219176</c:v>
                </c:pt>
                <c:pt idx="12354">
                  <c:v>6.493150684931507</c:v>
                </c:pt>
                <c:pt idx="12355">
                  <c:v>6.4958904109589044</c:v>
                </c:pt>
                <c:pt idx="12356">
                  <c:v>6.506849315068493</c:v>
                </c:pt>
                <c:pt idx="12357">
                  <c:v>6.515068493150685</c:v>
                </c:pt>
                <c:pt idx="12358">
                  <c:v>6.515068493150685</c:v>
                </c:pt>
                <c:pt idx="12359">
                  <c:v>#N/A</c:v>
                </c:pt>
                <c:pt idx="12360">
                  <c:v>#N/A</c:v>
                </c:pt>
                <c:pt idx="12361">
                  <c:v>#N/A</c:v>
                </c:pt>
                <c:pt idx="12362">
                  <c:v>#N/A</c:v>
                </c:pt>
                <c:pt idx="12363">
                  <c:v>#N/A</c:v>
                </c:pt>
                <c:pt idx="12364">
                  <c:v>6.5178082191780824</c:v>
                </c:pt>
                <c:pt idx="12365">
                  <c:v>#N/A</c:v>
                </c:pt>
                <c:pt idx="12366">
                  <c:v>6.5205479452054798</c:v>
                </c:pt>
                <c:pt idx="12367">
                  <c:v>6.5205479452054798</c:v>
                </c:pt>
                <c:pt idx="12368">
                  <c:v>6.5315068493150683</c:v>
                </c:pt>
                <c:pt idx="12369">
                  <c:v>6.5315068493150683</c:v>
                </c:pt>
                <c:pt idx="12370">
                  <c:v>6.5342465753424657</c:v>
                </c:pt>
                <c:pt idx="12371">
                  <c:v>6.536986301369863</c:v>
                </c:pt>
                <c:pt idx="12372">
                  <c:v>#N/A</c:v>
                </c:pt>
                <c:pt idx="12373">
                  <c:v>6.5397260273972604</c:v>
                </c:pt>
                <c:pt idx="12374">
                  <c:v>6.5397260273972604</c:v>
                </c:pt>
                <c:pt idx="12375">
                  <c:v>#N/A</c:v>
                </c:pt>
                <c:pt idx="12376">
                  <c:v>6.5397260273972604</c:v>
                </c:pt>
                <c:pt idx="12377">
                  <c:v>#N/A</c:v>
                </c:pt>
                <c:pt idx="12378">
                  <c:v>6.5424657534246577</c:v>
                </c:pt>
                <c:pt idx="12379">
                  <c:v>6.5452054794520551</c:v>
                </c:pt>
                <c:pt idx="12380">
                  <c:v>#N/A</c:v>
                </c:pt>
                <c:pt idx="12381">
                  <c:v>#N/A</c:v>
                </c:pt>
                <c:pt idx="12382">
                  <c:v>6.5643835616438357</c:v>
                </c:pt>
                <c:pt idx="12383">
                  <c:v>6.5643835616438357</c:v>
                </c:pt>
                <c:pt idx="12384">
                  <c:v>6.5643835616438357</c:v>
                </c:pt>
                <c:pt idx="12385">
                  <c:v>6.5643835616438357</c:v>
                </c:pt>
                <c:pt idx="12386">
                  <c:v>#N/A</c:v>
                </c:pt>
                <c:pt idx="12387">
                  <c:v>6.5643835616438357</c:v>
                </c:pt>
                <c:pt idx="12388">
                  <c:v>#N/A</c:v>
                </c:pt>
                <c:pt idx="12389">
                  <c:v>6.5643835616438357</c:v>
                </c:pt>
                <c:pt idx="12390">
                  <c:v>6.5643835616438357</c:v>
                </c:pt>
                <c:pt idx="12391">
                  <c:v>6.5643835616438357</c:v>
                </c:pt>
                <c:pt idx="12392">
                  <c:v>#N/A</c:v>
                </c:pt>
                <c:pt idx="12393">
                  <c:v>#N/A</c:v>
                </c:pt>
                <c:pt idx="12394">
                  <c:v>6.5643835616438357</c:v>
                </c:pt>
                <c:pt idx="12395">
                  <c:v>6.5643835616438357</c:v>
                </c:pt>
                <c:pt idx="12396">
                  <c:v>#N/A</c:v>
                </c:pt>
                <c:pt idx="12397">
                  <c:v>6.5643835616438357</c:v>
                </c:pt>
                <c:pt idx="12398">
                  <c:v>6.5643835616438357</c:v>
                </c:pt>
                <c:pt idx="12399">
                  <c:v>#N/A</c:v>
                </c:pt>
                <c:pt idx="12400">
                  <c:v>6.5643835616438357</c:v>
                </c:pt>
                <c:pt idx="12401">
                  <c:v>6.5643835616438357</c:v>
                </c:pt>
                <c:pt idx="12402">
                  <c:v>6.5643835616438357</c:v>
                </c:pt>
                <c:pt idx="12403">
                  <c:v>6.5643835616438357</c:v>
                </c:pt>
                <c:pt idx="12404">
                  <c:v>#N/A</c:v>
                </c:pt>
                <c:pt idx="12405">
                  <c:v>6.5643835616438357</c:v>
                </c:pt>
                <c:pt idx="12406">
                  <c:v>#N/A</c:v>
                </c:pt>
                <c:pt idx="12407">
                  <c:v>6.5643835616438357</c:v>
                </c:pt>
                <c:pt idx="12408">
                  <c:v>6.5643835616438357</c:v>
                </c:pt>
                <c:pt idx="12409">
                  <c:v>#N/A</c:v>
                </c:pt>
                <c:pt idx="12410">
                  <c:v>6.5643835616438357</c:v>
                </c:pt>
                <c:pt idx="12411">
                  <c:v>6.5643835616438357</c:v>
                </c:pt>
                <c:pt idx="12412">
                  <c:v>6.5643835616438357</c:v>
                </c:pt>
                <c:pt idx="12413">
                  <c:v>6.5643835616438357</c:v>
                </c:pt>
                <c:pt idx="12414">
                  <c:v>6.5643835616438357</c:v>
                </c:pt>
                <c:pt idx="12415">
                  <c:v>6.5643835616438357</c:v>
                </c:pt>
                <c:pt idx="12416">
                  <c:v>6.5643835616438357</c:v>
                </c:pt>
                <c:pt idx="12417">
                  <c:v>6.5643835616438357</c:v>
                </c:pt>
                <c:pt idx="12418">
                  <c:v>6.5643835616438357</c:v>
                </c:pt>
                <c:pt idx="12419">
                  <c:v>6.5643835616438357</c:v>
                </c:pt>
                <c:pt idx="12420">
                  <c:v>#N/A</c:v>
                </c:pt>
                <c:pt idx="12421">
                  <c:v>6.5643835616438357</c:v>
                </c:pt>
                <c:pt idx="12422">
                  <c:v>6.5643835616438357</c:v>
                </c:pt>
                <c:pt idx="12423">
                  <c:v>6.5643835616438357</c:v>
                </c:pt>
                <c:pt idx="12424">
                  <c:v>6.5643835616438357</c:v>
                </c:pt>
                <c:pt idx="12425">
                  <c:v>6.5643835616438357</c:v>
                </c:pt>
                <c:pt idx="12426">
                  <c:v>6.5643835616438357</c:v>
                </c:pt>
                <c:pt idx="12427">
                  <c:v>6.5643835616438357</c:v>
                </c:pt>
                <c:pt idx="12428">
                  <c:v>#N/A</c:v>
                </c:pt>
                <c:pt idx="12429">
                  <c:v>6.5643835616438357</c:v>
                </c:pt>
                <c:pt idx="12430">
                  <c:v>#N/A</c:v>
                </c:pt>
                <c:pt idx="12431">
                  <c:v>6.5643835616438357</c:v>
                </c:pt>
                <c:pt idx="12432">
                  <c:v>6.5643835616438357</c:v>
                </c:pt>
                <c:pt idx="12433">
                  <c:v>6.5726027397260278</c:v>
                </c:pt>
                <c:pt idx="12434">
                  <c:v>#N/A</c:v>
                </c:pt>
                <c:pt idx="12435">
                  <c:v>#N/A</c:v>
                </c:pt>
                <c:pt idx="12436">
                  <c:v>6.5753424657534243</c:v>
                </c:pt>
                <c:pt idx="12437">
                  <c:v>#N/A</c:v>
                </c:pt>
                <c:pt idx="12438">
                  <c:v>6.5753424657534243</c:v>
                </c:pt>
                <c:pt idx="12439">
                  <c:v>6.5835616438356164</c:v>
                </c:pt>
                <c:pt idx="12440">
                  <c:v>#N/A</c:v>
                </c:pt>
                <c:pt idx="12441">
                  <c:v>6.5945205479452058</c:v>
                </c:pt>
                <c:pt idx="12442">
                  <c:v>#N/A</c:v>
                </c:pt>
                <c:pt idx="12443">
                  <c:v>6.6164383561643838</c:v>
                </c:pt>
                <c:pt idx="12444">
                  <c:v>6.6383561643835618</c:v>
                </c:pt>
                <c:pt idx="12445">
                  <c:v>6.6520547945205477</c:v>
                </c:pt>
                <c:pt idx="12446">
                  <c:v>6.6712328767123283</c:v>
                </c:pt>
                <c:pt idx="12447">
                  <c:v>#N/A</c:v>
                </c:pt>
                <c:pt idx="12448">
                  <c:v>#N/A</c:v>
                </c:pt>
                <c:pt idx="12449">
                  <c:v>6.6767123287671231</c:v>
                </c:pt>
                <c:pt idx="12450">
                  <c:v>#N/A</c:v>
                </c:pt>
                <c:pt idx="12451">
                  <c:v>6.7041095890410958</c:v>
                </c:pt>
                <c:pt idx="12452">
                  <c:v>#N/A</c:v>
                </c:pt>
                <c:pt idx="12453">
                  <c:v>6.7123287671232879</c:v>
                </c:pt>
                <c:pt idx="12454">
                  <c:v>6.7479452054794518</c:v>
                </c:pt>
                <c:pt idx="12455">
                  <c:v>6.7479452054794518</c:v>
                </c:pt>
                <c:pt idx="12456">
                  <c:v>6.7698630136986298</c:v>
                </c:pt>
                <c:pt idx="12457">
                  <c:v>#N/A</c:v>
                </c:pt>
                <c:pt idx="12458">
                  <c:v>#N/A</c:v>
                </c:pt>
                <c:pt idx="12459">
                  <c:v>6.8</c:v>
                </c:pt>
                <c:pt idx="12460">
                  <c:v>#N/A</c:v>
                </c:pt>
                <c:pt idx="12461">
                  <c:v>6.8438356164383558</c:v>
                </c:pt>
                <c:pt idx="12462">
                  <c:v>#N/A</c:v>
                </c:pt>
                <c:pt idx="12463">
                  <c:v>6.8438356164383558</c:v>
                </c:pt>
                <c:pt idx="12464">
                  <c:v>6.8438356164383558</c:v>
                </c:pt>
                <c:pt idx="12465">
                  <c:v>6.8438356164383558</c:v>
                </c:pt>
                <c:pt idx="12466">
                  <c:v>#N/A</c:v>
                </c:pt>
                <c:pt idx="12467">
                  <c:v>6.8438356164383558</c:v>
                </c:pt>
                <c:pt idx="12468">
                  <c:v>#N/A</c:v>
                </c:pt>
                <c:pt idx="12469">
                  <c:v>#N/A</c:v>
                </c:pt>
                <c:pt idx="12470">
                  <c:v>#N/A</c:v>
                </c:pt>
                <c:pt idx="12471">
                  <c:v>#N/A</c:v>
                </c:pt>
                <c:pt idx="12472">
                  <c:v>6.8438356164383558</c:v>
                </c:pt>
                <c:pt idx="12473">
                  <c:v>6.8438356164383558</c:v>
                </c:pt>
                <c:pt idx="12474">
                  <c:v>#N/A</c:v>
                </c:pt>
                <c:pt idx="12475">
                  <c:v>#N/A</c:v>
                </c:pt>
                <c:pt idx="12476">
                  <c:v>6.8438356164383558</c:v>
                </c:pt>
                <c:pt idx="12477">
                  <c:v>#N/A</c:v>
                </c:pt>
                <c:pt idx="12478">
                  <c:v>6.8438356164383558</c:v>
                </c:pt>
                <c:pt idx="12479">
                  <c:v>#N/A</c:v>
                </c:pt>
                <c:pt idx="12480">
                  <c:v>6.8465753424657532</c:v>
                </c:pt>
                <c:pt idx="12481">
                  <c:v>6.8465753424657532</c:v>
                </c:pt>
                <c:pt idx="12482">
                  <c:v>#N/A</c:v>
                </c:pt>
                <c:pt idx="12483">
                  <c:v>#N/A</c:v>
                </c:pt>
                <c:pt idx="12484">
                  <c:v>#N/A</c:v>
                </c:pt>
                <c:pt idx="12485">
                  <c:v>6.8465753424657532</c:v>
                </c:pt>
                <c:pt idx="12486">
                  <c:v>#N/A</c:v>
                </c:pt>
                <c:pt idx="12487">
                  <c:v>6.8465753424657532</c:v>
                </c:pt>
                <c:pt idx="12488">
                  <c:v>#N/A</c:v>
                </c:pt>
                <c:pt idx="12489">
                  <c:v>#N/A</c:v>
                </c:pt>
                <c:pt idx="12490">
                  <c:v>#N/A</c:v>
                </c:pt>
                <c:pt idx="12491">
                  <c:v>6.8465753424657532</c:v>
                </c:pt>
                <c:pt idx="12492">
                  <c:v>6.8465753424657532</c:v>
                </c:pt>
                <c:pt idx="12493">
                  <c:v>#N/A</c:v>
                </c:pt>
                <c:pt idx="12494">
                  <c:v>6.8493150684931505</c:v>
                </c:pt>
                <c:pt idx="12495">
                  <c:v>#N/A</c:v>
                </c:pt>
                <c:pt idx="12496">
                  <c:v>6.8493150684931505</c:v>
                </c:pt>
                <c:pt idx="12497">
                  <c:v>6.8493150684931505</c:v>
                </c:pt>
                <c:pt idx="12498">
                  <c:v>#N/A</c:v>
                </c:pt>
                <c:pt idx="12499">
                  <c:v>6.8493150684931505</c:v>
                </c:pt>
                <c:pt idx="12500">
                  <c:v>#N/A</c:v>
                </c:pt>
                <c:pt idx="12501">
                  <c:v>#N/A</c:v>
                </c:pt>
                <c:pt idx="12502">
                  <c:v>#N/A</c:v>
                </c:pt>
                <c:pt idx="12503">
                  <c:v>6.8657534246575347</c:v>
                </c:pt>
                <c:pt idx="12504">
                  <c:v>#N/A</c:v>
                </c:pt>
                <c:pt idx="12505">
                  <c:v>#N/A</c:v>
                </c:pt>
                <c:pt idx="12506">
                  <c:v>#N/A</c:v>
                </c:pt>
                <c:pt idx="12507">
                  <c:v>6.8657534246575347</c:v>
                </c:pt>
                <c:pt idx="12508">
                  <c:v>6.8684931506849312</c:v>
                </c:pt>
                <c:pt idx="12509">
                  <c:v>#N/A</c:v>
                </c:pt>
                <c:pt idx="12510">
                  <c:v>6.8712328767123285</c:v>
                </c:pt>
                <c:pt idx="12511">
                  <c:v>#N/A</c:v>
                </c:pt>
                <c:pt idx="12512">
                  <c:v>#N/A</c:v>
                </c:pt>
                <c:pt idx="12513">
                  <c:v>#N/A</c:v>
                </c:pt>
                <c:pt idx="12514">
                  <c:v>#N/A</c:v>
                </c:pt>
                <c:pt idx="12515">
                  <c:v>6.8904109589041092</c:v>
                </c:pt>
                <c:pt idx="12516">
                  <c:v>#N/A</c:v>
                </c:pt>
                <c:pt idx="12517">
                  <c:v>#N/A</c:v>
                </c:pt>
                <c:pt idx="12518">
                  <c:v>#N/A</c:v>
                </c:pt>
                <c:pt idx="12519">
                  <c:v>6.9205479452054792</c:v>
                </c:pt>
                <c:pt idx="12520">
                  <c:v>6.9424657534246572</c:v>
                </c:pt>
                <c:pt idx="12521">
                  <c:v>6.9616438356164387</c:v>
                </c:pt>
                <c:pt idx="12522">
                  <c:v>#N/A</c:v>
                </c:pt>
                <c:pt idx="12523">
                  <c:v>6.9671232876712326</c:v>
                </c:pt>
                <c:pt idx="12524">
                  <c:v>#N/A</c:v>
                </c:pt>
                <c:pt idx="12525">
                  <c:v>6.9671232876712326</c:v>
                </c:pt>
                <c:pt idx="12526">
                  <c:v>#N/A</c:v>
                </c:pt>
                <c:pt idx="12527">
                  <c:v>7.0054794520547947</c:v>
                </c:pt>
                <c:pt idx="12528">
                  <c:v>7.0136986301369859</c:v>
                </c:pt>
                <c:pt idx="12529">
                  <c:v>#N/A</c:v>
                </c:pt>
                <c:pt idx="12530">
                  <c:v>7.0136986301369859</c:v>
                </c:pt>
                <c:pt idx="12531">
                  <c:v>#N/A</c:v>
                </c:pt>
                <c:pt idx="12532">
                  <c:v>#N/A</c:v>
                </c:pt>
                <c:pt idx="12533">
                  <c:v>7.0191780821917806</c:v>
                </c:pt>
                <c:pt idx="12534">
                  <c:v>7.0191780821917806</c:v>
                </c:pt>
                <c:pt idx="12535">
                  <c:v>7.0191780821917806</c:v>
                </c:pt>
                <c:pt idx="12536">
                  <c:v>7.0301369863013701</c:v>
                </c:pt>
                <c:pt idx="12537">
                  <c:v>#N/A</c:v>
                </c:pt>
                <c:pt idx="12538">
                  <c:v>7.0328767123287674</c:v>
                </c:pt>
                <c:pt idx="12539">
                  <c:v>7.0328767123287674</c:v>
                </c:pt>
                <c:pt idx="12540">
                  <c:v>7.0356164383561648</c:v>
                </c:pt>
                <c:pt idx="12541">
                  <c:v>7.0356164383561648</c:v>
                </c:pt>
                <c:pt idx="12542">
                  <c:v>#N/A</c:v>
                </c:pt>
                <c:pt idx="12543">
                  <c:v>7.0520547945205481</c:v>
                </c:pt>
                <c:pt idx="12544">
                  <c:v>7.0575342465753428</c:v>
                </c:pt>
                <c:pt idx="12545">
                  <c:v>#N/A</c:v>
                </c:pt>
                <c:pt idx="12546">
                  <c:v>#N/A</c:v>
                </c:pt>
                <c:pt idx="12547">
                  <c:v>7.0767123287671234</c:v>
                </c:pt>
                <c:pt idx="12548">
                  <c:v>#N/A</c:v>
                </c:pt>
                <c:pt idx="12549">
                  <c:v>7.0904109589041093</c:v>
                </c:pt>
                <c:pt idx="12550">
                  <c:v>7.0931506849315067</c:v>
                </c:pt>
                <c:pt idx="12551">
                  <c:v>7.0931506849315067</c:v>
                </c:pt>
                <c:pt idx="12552">
                  <c:v>7.1068493150684935</c:v>
                </c:pt>
                <c:pt idx="12553">
                  <c:v>#N/A</c:v>
                </c:pt>
                <c:pt idx="12554">
                  <c:v>#N/A</c:v>
                </c:pt>
                <c:pt idx="12555">
                  <c:v>7.13972602739726</c:v>
                </c:pt>
                <c:pt idx="12556">
                  <c:v>7.13972602739726</c:v>
                </c:pt>
                <c:pt idx="12557">
                  <c:v>#N/A</c:v>
                </c:pt>
                <c:pt idx="12558">
                  <c:v>7.13972602739726</c:v>
                </c:pt>
                <c:pt idx="12559">
                  <c:v>7.1698630136986301</c:v>
                </c:pt>
                <c:pt idx="12560">
                  <c:v>7.1780821917808222</c:v>
                </c:pt>
                <c:pt idx="12561">
                  <c:v>7.1780821917808222</c:v>
                </c:pt>
                <c:pt idx="12562">
                  <c:v>7.1780821917808222</c:v>
                </c:pt>
                <c:pt idx="12563">
                  <c:v>7.1863013698630134</c:v>
                </c:pt>
                <c:pt idx="12564">
                  <c:v>7.1917808219178081</c:v>
                </c:pt>
                <c:pt idx="12565">
                  <c:v>7.1917808219178081</c:v>
                </c:pt>
                <c:pt idx="12566">
                  <c:v>7.1917808219178081</c:v>
                </c:pt>
                <c:pt idx="12567">
                  <c:v>7.1945205479452055</c:v>
                </c:pt>
                <c:pt idx="12568">
                  <c:v>7.1945205479452055</c:v>
                </c:pt>
                <c:pt idx="12569">
                  <c:v>7.1972602739726028</c:v>
                </c:pt>
                <c:pt idx="12570">
                  <c:v>#N/A</c:v>
                </c:pt>
                <c:pt idx="12571">
                  <c:v>7.2301369863013702</c:v>
                </c:pt>
                <c:pt idx="12572">
                  <c:v>#N/A</c:v>
                </c:pt>
                <c:pt idx="12573">
                  <c:v>7.2301369863013702</c:v>
                </c:pt>
                <c:pt idx="12574">
                  <c:v>#N/A</c:v>
                </c:pt>
                <c:pt idx="12575">
                  <c:v>#N/A</c:v>
                </c:pt>
                <c:pt idx="12576">
                  <c:v>7.2301369863013702</c:v>
                </c:pt>
                <c:pt idx="12577">
                  <c:v>7.2328767123287667</c:v>
                </c:pt>
                <c:pt idx="12578">
                  <c:v>#N/A</c:v>
                </c:pt>
                <c:pt idx="12579">
                  <c:v>7.2657534246575342</c:v>
                </c:pt>
                <c:pt idx="12580">
                  <c:v>7.2657534246575342</c:v>
                </c:pt>
                <c:pt idx="12581">
                  <c:v>7.2684931506849315</c:v>
                </c:pt>
                <c:pt idx="12582">
                  <c:v>7.2712328767123289</c:v>
                </c:pt>
                <c:pt idx="12583">
                  <c:v>7.2712328767123289</c:v>
                </c:pt>
                <c:pt idx="12584">
                  <c:v>7.2712328767123289</c:v>
                </c:pt>
                <c:pt idx="12585">
                  <c:v>7.2712328767123289</c:v>
                </c:pt>
                <c:pt idx="12586">
                  <c:v>7.2712328767123289</c:v>
                </c:pt>
                <c:pt idx="12587">
                  <c:v>7.2821917808219174</c:v>
                </c:pt>
                <c:pt idx="12588">
                  <c:v>7.2821917808219174</c:v>
                </c:pt>
                <c:pt idx="12589">
                  <c:v>7.2849315068493148</c:v>
                </c:pt>
                <c:pt idx="12590">
                  <c:v>7.2931506849315069</c:v>
                </c:pt>
                <c:pt idx="12591">
                  <c:v>#N/A</c:v>
                </c:pt>
                <c:pt idx="12592">
                  <c:v>#N/A</c:v>
                </c:pt>
                <c:pt idx="12593">
                  <c:v>7.3013698630136989</c:v>
                </c:pt>
                <c:pt idx="12594">
                  <c:v>7.3013698630136989</c:v>
                </c:pt>
                <c:pt idx="12595">
                  <c:v>7.3013698630136989</c:v>
                </c:pt>
                <c:pt idx="12596">
                  <c:v>7.3013698630136989</c:v>
                </c:pt>
                <c:pt idx="12597">
                  <c:v>7.3013698630136989</c:v>
                </c:pt>
                <c:pt idx="12598">
                  <c:v>7.3013698630136989</c:v>
                </c:pt>
                <c:pt idx="12599">
                  <c:v>7.3013698630136989</c:v>
                </c:pt>
                <c:pt idx="12600">
                  <c:v>7.3013698630136989</c:v>
                </c:pt>
                <c:pt idx="12601">
                  <c:v>7.3013698630136989</c:v>
                </c:pt>
                <c:pt idx="12602">
                  <c:v>7.3013698630136989</c:v>
                </c:pt>
                <c:pt idx="12603">
                  <c:v>7.3013698630136989</c:v>
                </c:pt>
                <c:pt idx="12604">
                  <c:v>#N/A</c:v>
                </c:pt>
                <c:pt idx="12605">
                  <c:v>7.3013698630136989</c:v>
                </c:pt>
                <c:pt idx="12606">
                  <c:v>7.3013698630136989</c:v>
                </c:pt>
                <c:pt idx="12607">
                  <c:v>#N/A</c:v>
                </c:pt>
                <c:pt idx="12608">
                  <c:v>7.3013698630136989</c:v>
                </c:pt>
                <c:pt idx="12609">
                  <c:v>7.3013698630136989</c:v>
                </c:pt>
                <c:pt idx="12610">
                  <c:v>7.3013698630136989</c:v>
                </c:pt>
                <c:pt idx="12611">
                  <c:v>7.3013698630136989</c:v>
                </c:pt>
                <c:pt idx="12612">
                  <c:v>7.3013698630136989</c:v>
                </c:pt>
                <c:pt idx="12613">
                  <c:v>7.3013698630136989</c:v>
                </c:pt>
                <c:pt idx="12614">
                  <c:v>7.3013698630136989</c:v>
                </c:pt>
                <c:pt idx="12615">
                  <c:v>7.3013698630136989</c:v>
                </c:pt>
                <c:pt idx="12616">
                  <c:v>7.3013698630136989</c:v>
                </c:pt>
                <c:pt idx="12617">
                  <c:v>7.3013698630136989</c:v>
                </c:pt>
                <c:pt idx="12618">
                  <c:v>7.3013698630136989</c:v>
                </c:pt>
                <c:pt idx="12619">
                  <c:v>7.3013698630136989</c:v>
                </c:pt>
                <c:pt idx="12620">
                  <c:v>#N/A</c:v>
                </c:pt>
                <c:pt idx="12621">
                  <c:v>7.3013698630136989</c:v>
                </c:pt>
                <c:pt idx="12622">
                  <c:v>7.3013698630136989</c:v>
                </c:pt>
                <c:pt idx="12623">
                  <c:v>#N/A</c:v>
                </c:pt>
                <c:pt idx="12624">
                  <c:v>#N/A</c:v>
                </c:pt>
                <c:pt idx="12625">
                  <c:v>#N/A</c:v>
                </c:pt>
                <c:pt idx="12626">
                  <c:v>7.3452054794520549</c:v>
                </c:pt>
                <c:pt idx="12627">
                  <c:v>#N/A</c:v>
                </c:pt>
                <c:pt idx="12628">
                  <c:v>7.3452054794520549</c:v>
                </c:pt>
                <c:pt idx="12629">
                  <c:v>7.3452054794520549</c:v>
                </c:pt>
                <c:pt idx="12630">
                  <c:v>7.3452054794520549</c:v>
                </c:pt>
                <c:pt idx="12631">
                  <c:v>7.3452054794520549</c:v>
                </c:pt>
                <c:pt idx="12632">
                  <c:v>7.3479452054794523</c:v>
                </c:pt>
                <c:pt idx="12633">
                  <c:v>7.3479452054794523</c:v>
                </c:pt>
                <c:pt idx="12634">
                  <c:v>7.3479452054794523</c:v>
                </c:pt>
                <c:pt idx="12635">
                  <c:v>7.3479452054794523</c:v>
                </c:pt>
                <c:pt idx="12636">
                  <c:v>7.353424657534247</c:v>
                </c:pt>
                <c:pt idx="12637">
                  <c:v>7.353424657534247</c:v>
                </c:pt>
                <c:pt idx="12638">
                  <c:v>7.353424657534247</c:v>
                </c:pt>
                <c:pt idx="12639">
                  <c:v>7.353424657534247</c:v>
                </c:pt>
                <c:pt idx="12640">
                  <c:v>7.353424657534247</c:v>
                </c:pt>
                <c:pt idx="12641">
                  <c:v>7.353424657534247</c:v>
                </c:pt>
                <c:pt idx="12642">
                  <c:v>7.353424657534247</c:v>
                </c:pt>
                <c:pt idx="12643">
                  <c:v>7.353424657534247</c:v>
                </c:pt>
                <c:pt idx="12644">
                  <c:v>#N/A</c:v>
                </c:pt>
                <c:pt idx="12645">
                  <c:v>7.3671232876712329</c:v>
                </c:pt>
                <c:pt idx="12646">
                  <c:v>7.3671232876712329</c:v>
                </c:pt>
                <c:pt idx="12647">
                  <c:v>#N/A</c:v>
                </c:pt>
                <c:pt idx="12648">
                  <c:v>#N/A</c:v>
                </c:pt>
                <c:pt idx="12649">
                  <c:v>7.3835616438356162</c:v>
                </c:pt>
                <c:pt idx="12650">
                  <c:v>7.3863013698630136</c:v>
                </c:pt>
                <c:pt idx="12651">
                  <c:v>#N/A</c:v>
                </c:pt>
                <c:pt idx="12652">
                  <c:v>#N/A</c:v>
                </c:pt>
                <c:pt idx="12653">
                  <c:v>#N/A</c:v>
                </c:pt>
                <c:pt idx="12654">
                  <c:v>7.4054794520547942</c:v>
                </c:pt>
                <c:pt idx="12655">
                  <c:v>#N/A</c:v>
                </c:pt>
                <c:pt idx="12656">
                  <c:v>#N/A</c:v>
                </c:pt>
                <c:pt idx="12657">
                  <c:v>7.4273972602739722</c:v>
                </c:pt>
                <c:pt idx="12658">
                  <c:v>7.4273972602739722</c:v>
                </c:pt>
                <c:pt idx="12659">
                  <c:v>#N/A</c:v>
                </c:pt>
                <c:pt idx="12660">
                  <c:v>#N/A</c:v>
                </c:pt>
                <c:pt idx="12661">
                  <c:v>7.4273972602739722</c:v>
                </c:pt>
                <c:pt idx="12662">
                  <c:v>#N/A</c:v>
                </c:pt>
                <c:pt idx="12663">
                  <c:v>7.4273972602739722</c:v>
                </c:pt>
                <c:pt idx="12664">
                  <c:v>7.4273972602739722</c:v>
                </c:pt>
                <c:pt idx="12665">
                  <c:v>#N/A</c:v>
                </c:pt>
                <c:pt idx="12666">
                  <c:v>7.4273972602739722</c:v>
                </c:pt>
                <c:pt idx="12667">
                  <c:v>#N/A</c:v>
                </c:pt>
                <c:pt idx="12668">
                  <c:v>7.4273972602739722</c:v>
                </c:pt>
                <c:pt idx="12669">
                  <c:v>#N/A</c:v>
                </c:pt>
                <c:pt idx="12670">
                  <c:v>#N/A</c:v>
                </c:pt>
                <c:pt idx="12671">
                  <c:v>#N/A</c:v>
                </c:pt>
                <c:pt idx="12672">
                  <c:v>7.4273972602739722</c:v>
                </c:pt>
                <c:pt idx="12673">
                  <c:v>7.4273972602739722</c:v>
                </c:pt>
                <c:pt idx="12674">
                  <c:v>#N/A</c:v>
                </c:pt>
                <c:pt idx="12675">
                  <c:v>7.4273972602739722</c:v>
                </c:pt>
                <c:pt idx="12676">
                  <c:v>7.4273972602739722</c:v>
                </c:pt>
                <c:pt idx="12677">
                  <c:v>7.4438356164383563</c:v>
                </c:pt>
                <c:pt idx="12678">
                  <c:v>7.4575342465753423</c:v>
                </c:pt>
                <c:pt idx="12679">
                  <c:v>#N/A</c:v>
                </c:pt>
                <c:pt idx="12680">
                  <c:v>#N/A</c:v>
                </c:pt>
                <c:pt idx="12681">
                  <c:v>#N/A</c:v>
                </c:pt>
                <c:pt idx="12682">
                  <c:v>#N/A</c:v>
                </c:pt>
                <c:pt idx="12683">
                  <c:v>7.4958904109589044</c:v>
                </c:pt>
                <c:pt idx="12684">
                  <c:v>#N/A</c:v>
                </c:pt>
                <c:pt idx="12685">
                  <c:v>7.5095890410958903</c:v>
                </c:pt>
                <c:pt idx="12686">
                  <c:v>7.5095890410958903</c:v>
                </c:pt>
                <c:pt idx="12687">
                  <c:v>7.515068493150685</c:v>
                </c:pt>
                <c:pt idx="12688">
                  <c:v>7.515068493150685</c:v>
                </c:pt>
                <c:pt idx="12689">
                  <c:v>7.5178082191780824</c:v>
                </c:pt>
                <c:pt idx="12690">
                  <c:v>7.5178082191780824</c:v>
                </c:pt>
                <c:pt idx="12691">
                  <c:v>#N/A</c:v>
                </c:pt>
                <c:pt idx="12692">
                  <c:v>7.5232876712328771</c:v>
                </c:pt>
                <c:pt idx="12693">
                  <c:v>7.5232876712328771</c:v>
                </c:pt>
                <c:pt idx="12694">
                  <c:v>7.5232876712328771</c:v>
                </c:pt>
                <c:pt idx="12695">
                  <c:v>7.5424657534246577</c:v>
                </c:pt>
                <c:pt idx="12696">
                  <c:v>7.5561643835616437</c:v>
                </c:pt>
                <c:pt idx="12697">
                  <c:v>7.558904109589041</c:v>
                </c:pt>
                <c:pt idx="12698">
                  <c:v>7.5780821917808217</c:v>
                </c:pt>
                <c:pt idx="12699">
                  <c:v>7.580821917808219</c:v>
                </c:pt>
                <c:pt idx="12700">
                  <c:v>#N/A</c:v>
                </c:pt>
                <c:pt idx="12701">
                  <c:v>7.5945205479452058</c:v>
                </c:pt>
                <c:pt idx="12702">
                  <c:v>#N/A</c:v>
                </c:pt>
                <c:pt idx="12703">
                  <c:v>7.5972602739726032</c:v>
                </c:pt>
                <c:pt idx="12704">
                  <c:v>7.6</c:v>
                </c:pt>
                <c:pt idx="12705">
                  <c:v>#N/A</c:v>
                </c:pt>
                <c:pt idx="12706">
                  <c:v>7.6136986301369864</c:v>
                </c:pt>
                <c:pt idx="12707">
                  <c:v>7.6136986301369864</c:v>
                </c:pt>
                <c:pt idx="12708">
                  <c:v>7.6136986301369864</c:v>
                </c:pt>
                <c:pt idx="12709">
                  <c:v>#N/A</c:v>
                </c:pt>
                <c:pt idx="12710">
                  <c:v>7.624657534246575</c:v>
                </c:pt>
                <c:pt idx="12711">
                  <c:v>7.6273972602739724</c:v>
                </c:pt>
                <c:pt idx="12712">
                  <c:v>7.6273972602739724</c:v>
                </c:pt>
                <c:pt idx="12713">
                  <c:v>7.6547945205479451</c:v>
                </c:pt>
                <c:pt idx="12714">
                  <c:v>7.6849315068493151</c:v>
                </c:pt>
                <c:pt idx="12715">
                  <c:v>#N/A</c:v>
                </c:pt>
                <c:pt idx="12716">
                  <c:v>7.6876712328767125</c:v>
                </c:pt>
                <c:pt idx="12717">
                  <c:v>7.6904109589041099</c:v>
                </c:pt>
                <c:pt idx="12718">
                  <c:v>7.7068493150684931</c:v>
                </c:pt>
                <c:pt idx="12719">
                  <c:v>#N/A</c:v>
                </c:pt>
                <c:pt idx="12720">
                  <c:v>7.7315068493150685</c:v>
                </c:pt>
                <c:pt idx="12721">
                  <c:v>#N/A</c:v>
                </c:pt>
                <c:pt idx="12722">
                  <c:v>7.7643835616438359</c:v>
                </c:pt>
                <c:pt idx="12723">
                  <c:v>7.7863013698630139</c:v>
                </c:pt>
                <c:pt idx="12724">
                  <c:v>7.7863013698630139</c:v>
                </c:pt>
                <c:pt idx="12725">
                  <c:v>7.7863013698630139</c:v>
                </c:pt>
                <c:pt idx="12726">
                  <c:v>7.7863013698630139</c:v>
                </c:pt>
                <c:pt idx="12727">
                  <c:v>7.8027397260273972</c:v>
                </c:pt>
                <c:pt idx="12728">
                  <c:v>7.8027397260273972</c:v>
                </c:pt>
                <c:pt idx="12729">
                  <c:v>#N/A</c:v>
                </c:pt>
                <c:pt idx="12730">
                  <c:v>7.8191780821917805</c:v>
                </c:pt>
                <c:pt idx="12731">
                  <c:v>#N/A</c:v>
                </c:pt>
                <c:pt idx="12732">
                  <c:v>7.8219178082191778</c:v>
                </c:pt>
                <c:pt idx="12733">
                  <c:v>7.8273972602739725</c:v>
                </c:pt>
                <c:pt idx="12734">
                  <c:v>#N/A</c:v>
                </c:pt>
                <c:pt idx="12735">
                  <c:v>#N/A</c:v>
                </c:pt>
                <c:pt idx="12736">
                  <c:v>7.838356164383562</c:v>
                </c:pt>
                <c:pt idx="12737">
                  <c:v>7.838356164383562</c:v>
                </c:pt>
                <c:pt idx="12738">
                  <c:v>7.838356164383562</c:v>
                </c:pt>
                <c:pt idx="12739">
                  <c:v>#N/A</c:v>
                </c:pt>
                <c:pt idx="12740">
                  <c:v>7.8410958904109593</c:v>
                </c:pt>
                <c:pt idx="12741">
                  <c:v>#N/A</c:v>
                </c:pt>
                <c:pt idx="12742">
                  <c:v>#N/A</c:v>
                </c:pt>
                <c:pt idx="12743">
                  <c:v>#N/A</c:v>
                </c:pt>
                <c:pt idx="12744">
                  <c:v>#N/A</c:v>
                </c:pt>
                <c:pt idx="12745">
                  <c:v>7.8438356164383558</c:v>
                </c:pt>
                <c:pt idx="12746">
                  <c:v>#N/A</c:v>
                </c:pt>
                <c:pt idx="12747">
                  <c:v>#N/A</c:v>
                </c:pt>
                <c:pt idx="12748">
                  <c:v>#N/A</c:v>
                </c:pt>
                <c:pt idx="12749">
                  <c:v>#N/A</c:v>
                </c:pt>
                <c:pt idx="12750">
                  <c:v>#N/A</c:v>
                </c:pt>
                <c:pt idx="12751">
                  <c:v>#N/A</c:v>
                </c:pt>
                <c:pt idx="12752">
                  <c:v>#N/A</c:v>
                </c:pt>
                <c:pt idx="12753">
                  <c:v>#N/A</c:v>
                </c:pt>
                <c:pt idx="12754">
                  <c:v>#N/A</c:v>
                </c:pt>
                <c:pt idx="12755">
                  <c:v>7.8465753424657532</c:v>
                </c:pt>
                <c:pt idx="12756">
                  <c:v>#N/A</c:v>
                </c:pt>
                <c:pt idx="12757">
                  <c:v>#N/A</c:v>
                </c:pt>
                <c:pt idx="12758">
                  <c:v>#N/A</c:v>
                </c:pt>
                <c:pt idx="12759">
                  <c:v>7.8657534246575347</c:v>
                </c:pt>
                <c:pt idx="12760">
                  <c:v>7.8657534246575347</c:v>
                </c:pt>
                <c:pt idx="12761">
                  <c:v>7.8684931506849312</c:v>
                </c:pt>
                <c:pt idx="12762">
                  <c:v>7.8849315068493153</c:v>
                </c:pt>
                <c:pt idx="12763">
                  <c:v>7.8876712328767127</c:v>
                </c:pt>
                <c:pt idx="12764">
                  <c:v>7.8876712328767127</c:v>
                </c:pt>
                <c:pt idx="12765">
                  <c:v>7.8876712328767127</c:v>
                </c:pt>
                <c:pt idx="12766">
                  <c:v>#N/A</c:v>
                </c:pt>
                <c:pt idx="12767">
                  <c:v>7.904109589041096</c:v>
                </c:pt>
                <c:pt idx="12768">
                  <c:v>7.9068493150684933</c:v>
                </c:pt>
                <c:pt idx="12769">
                  <c:v>#N/A</c:v>
                </c:pt>
                <c:pt idx="12770">
                  <c:v>#N/A</c:v>
                </c:pt>
                <c:pt idx="12771">
                  <c:v>#N/A</c:v>
                </c:pt>
                <c:pt idx="12772">
                  <c:v>7.9205479452054792</c:v>
                </c:pt>
                <c:pt idx="12773">
                  <c:v>7.9205479452054792</c:v>
                </c:pt>
                <c:pt idx="12774">
                  <c:v>7.9205479452054792</c:v>
                </c:pt>
                <c:pt idx="12775">
                  <c:v>7.9205479452054792</c:v>
                </c:pt>
                <c:pt idx="12776">
                  <c:v>7.9205479452054792</c:v>
                </c:pt>
                <c:pt idx="12777">
                  <c:v>7.9232876712328766</c:v>
                </c:pt>
                <c:pt idx="12778">
                  <c:v>7.9260273972602739</c:v>
                </c:pt>
                <c:pt idx="12779">
                  <c:v>7.9260273972602739</c:v>
                </c:pt>
                <c:pt idx="12780">
                  <c:v>7.9260273972602739</c:v>
                </c:pt>
                <c:pt idx="12781">
                  <c:v>7.9589041095890414</c:v>
                </c:pt>
                <c:pt idx="12782">
                  <c:v>7.9698630136986299</c:v>
                </c:pt>
                <c:pt idx="12783">
                  <c:v>#N/A</c:v>
                </c:pt>
                <c:pt idx="12784">
                  <c:v>7.978082191780822</c:v>
                </c:pt>
                <c:pt idx="12785">
                  <c:v>#N/A</c:v>
                </c:pt>
                <c:pt idx="12786">
                  <c:v>7.9808219178082194</c:v>
                </c:pt>
                <c:pt idx="12787">
                  <c:v>7.9945205479452053</c:v>
                </c:pt>
                <c:pt idx="12788">
                  <c:v>8.0054794520547947</c:v>
                </c:pt>
                <c:pt idx="12789">
                  <c:v>8.0082191780821912</c:v>
                </c:pt>
                <c:pt idx="12790">
                  <c:v>#N/A</c:v>
                </c:pt>
                <c:pt idx="12791">
                  <c:v>8.0109589041095894</c:v>
                </c:pt>
                <c:pt idx="12792">
                  <c:v>8.0109589041095894</c:v>
                </c:pt>
                <c:pt idx="12793">
                  <c:v>8.0164383561643842</c:v>
                </c:pt>
                <c:pt idx="12794">
                  <c:v>#N/A</c:v>
                </c:pt>
                <c:pt idx="12795">
                  <c:v>8.0164383561643842</c:v>
                </c:pt>
                <c:pt idx="12796">
                  <c:v>8.0164383561643842</c:v>
                </c:pt>
                <c:pt idx="12797">
                  <c:v>8.0328767123287665</c:v>
                </c:pt>
                <c:pt idx="12798">
                  <c:v>#N/A</c:v>
                </c:pt>
                <c:pt idx="12799">
                  <c:v>8.0383561643835613</c:v>
                </c:pt>
                <c:pt idx="12800">
                  <c:v>8.0383561643835613</c:v>
                </c:pt>
                <c:pt idx="12801">
                  <c:v>8.0383561643835613</c:v>
                </c:pt>
                <c:pt idx="12802">
                  <c:v>#N/A</c:v>
                </c:pt>
                <c:pt idx="12803">
                  <c:v>#N/A</c:v>
                </c:pt>
                <c:pt idx="12804">
                  <c:v>8.0493150684931507</c:v>
                </c:pt>
                <c:pt idx="12805">
                  <c:v>8.0575342465753419</c:v>
                </c:pt>
                <c:pt idx="12806">
                  <c:v>8.0739726027397261</c:v>
                </c:pt>
                <c:pt idx="12807">
                  <c:v>8.0767123287671225</c:v>
                </c:pt>
                <c:pt idx="12808">
                  <c:v>8.0767123287671225</c:v>
                </c:pt>
                <c:pt idx="12809">
                  <c:v>8.0904109589041102</c:v>
                </c:pt>
                <c:pt idx="12810">
                  <c:v>#N/A</c:v>
                </c:pt>
                <c:pt idx="12811">
                  <c:v>#N/A</c:v>
                </c:pt>
                <c:pt idx="12812">
                  <c:v>#N/A</c:v>
                </c:pt>
                <c:pt idx="12813">
                  <c:v>8.0931506849315067</c:v>
                </c:pt>
                <c:pt idx="12814">
                  <c:v>8.1068493150684926</c:v>
                </c:pt>
                <c:pt idx="12815">
                  <c:v>8.1479452054794521</c:v>
                </c:pt>
                <c:pt idx="12816">
                  <c:v>8.1561643835616433</c:v>
                </c:pt>
                <c:pt idx="12817">
                  <c:v>8.1561643835616433</c:v>
                </c:pt>
                <c:pt idx="12818">
                  <c:v>#N/A</c:v>
                </c:pt>
                <c:pt idx="12819">
                  <c:v>#N/A</c:v>
                </c:pt>
                <c:pt idx="12820">
                  <c:v>#N/A</c:v>
                </c:pt>
                <c:pt idx="12821">
                  <c:v>#N/A</c:v>
                </c:pt>
                <c:pt idx="12822">
                  <c:v>#N/A</c:v>
                </c:pt>
                <c:pt idx="12823">
                  <c:v>8.1671232876712327</c:v>
                </c:pt>
                <c:pt idx="12824">
                  <c:v>8.169863013698631</c:v>
                </c:pt>
                <c:pt idx="12825">
                  <c:v>#N/A</c:v>
                </c:pt>
                <c:pt idx="12826">
                  <c:v>8.1890410958904116</c:v>
                </c:pt>
                <c:pt idx="12827">
                  <c:v>8.1945205479452063</c:v>
                </c:pt>
                <c:pt idx="12828">
                  <c:v>8.1945205479452063</c:v>
                </c:pt>
                <c:pt idx="12829">
                  <c:v>8.2273972602739729</c:v>
                </c:pt>
                <c:pt idx="12830">
                  <c:v>#N/A</c:v>
                </c:pt>
                <c:pt idx="12831">
                  <c:v>#N/A</c:v>
                </c:pt>
                <c:pt idx="12832">
                  <c:v>8.2273972602739729</c:v>
                </c:pt>
                <c:pt idx="12833">
                  <c:v>8.2328767123287676</c:v>
                </c:pt>
                <c:pt idx="12834">
                  <c:v>#N/A</c:v>
                </c:pt>
                <c:pt idx="12835">
                  <c:v>#N/A</c:v>
                </c:pt>
                <c:pt idx="12836">
                  <c:v>#N/A</c:v>
                </c:pt>
                <c:pt idx="12837">
                  <c:v>#N/A</c:v>
                </c:pt>
                <c:pt idx="12838">
                  <c:v>#N/A</c:v>
                </c:pt>
                <c:pt idx="12839">
                  <c:v>#N/A</c:v>
                </c:pt>
                <c:pt idx="12840">
                  <c:v>#N/A</c:v>
                </c:pt>
                <c:pt idx="12841">
                  <c:v>#N/A</c:v>
                </c:pt>
                <c:pt idx="12842">
                  <c:v>8.2438356164383571</c:v>
                </c:pt>
                <c:pt idx="12843">
                  <c:v>8.2849315068493148</c:v>
                </c:pt>
                <c:pt idx="12844">
                  <c:v>#N/A</c:v>
                </c:pt>
                <c:pt idx="12845">
                  <c:v>#N/A</c:v>
                </c:pt>
                <c:pt idx="12846">
                  <c:v>#N/A</c:v>
                </c:pt>
                <c:pt idx="12847">
                  <c:v>8.3643835616438356</c:v>
                </c:pt>
                <c:pt idx="12848">
                  <c:v>8.3863013698630144</c:v>
                </c:pt>
                <c:pt idx="12849">
                  <c:v>8.3863013698630144</c:v>
                </c:pt>
                <c:pt idx="12850">
                  <c:v>8.3972602739726021</c:v>
                </c:pt>
                <c:pt idx="12851">
                  <c:v>8.4054794520547951</c:v>
                </c:pt>
                <c:pt idx="12852">
                  <c:v>8.4054794520547951</c:v>
                </c:pt>
                <c:pt idx="12853">
                  <c:v>8.4054794520547951</c:v>
                </c:pt>
                <c:pt idx="12854">
                  <c:v>#N/A</c:v>
                </c:pt>
                <c:pt idx="12855">
                  <c:v>#N/A</c:v>
                </c:pt>
                <c:pt idx="12856">
                  <c:v>8.4246575342465757</c:v>
                </c:pt>
                <c:pt idx="12857">
                  <c:v>8.4246575342465757</c:v>
                </c:pt>
                <c:pt idx="12858">
                  <c:v>#N/A</c:v>
                </c:pt>
                <c:pt idx="12859">
                  <c:v>8.4246575342465757</c:v>
                </c:pt>
                <c:pt idx="12860">
                  <c:v>#N/A</c:v>
                </c:pt>
                <c:pt idx="12861">
                  <c:v>8.4246575342465757</c:v>
                </c:pt>
                <c:pt idx="12862">
                  <c:v>#N/A</c:v>
                </c:pt>
                <c:pt idx="12863">
                  <c:v>#N/A</c:v>
                </c:pt>
                <c:pt idx="12864">
                  <c:v>#N/A</c:v>
                </c:pt>
                <c:pt idx="12865">
                  <c:v>#N/A</c:v>
                </c:pt>
                <c:pt idx="12866">
                  <c:v>#N/A</c:v>
                </c:pt>
                <c:pt idx="12867">
                  <c:v>8.4246575342465757</c:v>
                </c:pt>
                <c:pt idx="12868">
                  <c:v>#N/A</c:v>
                </c:pt>
                <c:pt idx="12869">
                  <c:v>#N/A</c:v>
                </c:pt>
                <c:pt idx="12870">
                  <c:v>8.4246575342465757</c:v>
                </c:pt>
                <c:pt idx="12871">
                  <c:v>8.4246575342465757</c:v>
                </c:pt>
                <c:pt idx="12872">
                  <c:v>8.4246575342465757</c:v>
                </c:pt>
                <c:pt idx="12873">
                  <c:v>#N/A</c:v>
                </c:pt>
                <c:pt idx="12874">
                  <c:v>#N/A</c:v>
                </c:pt>
                <c:pt idx="12875">
                  <c:v>#N/A</c:v>
                </c:pt>
                <c:pt idx="12876">
                  <c:v>8.4246575342465757</c:v>
                </c:pt>
                <c:pt idx="12877">
                  <c:v>#N/A</c:v>
                </c:pt>
                <c:pt idx="12878">
                  <c:v>8.4246575342465757</c:v>
                </c:pt>
                <c:pt idx="12879">
                  <c:v>8.4301369863013704</c:v>
                </c:pt>
                <c:pt idx="12880">
                  <c:v>8.4301369863013704</c:v>
                </c:pt>
                <c:pt idx="12881">
                  <c:v>#N/A</c:v>
                </c:pt>
                <c:pt idx="12882">
                  <c:v>8.4328767123287669</c:v>
                </c:pt>
                <c:pt idx="12883">
                  <c:v>#N/A</c:v>
                </c:pt>
                <c:pt idx="12884">
                  <c:v>8.4602739726027405</c:v>
                </c:pt>
                <c:pt idx="12885">
                  <c:v>#N/A</c:v>
                </c:pt>
                <c:pt idx="12886">
                  <c:v>#N/A</c:v>
                </c:pt>
                <c:pt idx="12887">
                  <c:v>8.5150684931506841</c:v>
                </c:pt>
                <c:pt idx="12888">
                  <c:v>8.5150684931506841</c:v>
                </c:pt>
                <c:pt idx="12889">
                  <c:v>#N/A</c:v>
                </c:pt>
                <c:pt idx="12890">
                  <c:v>#N/A</c:v>
                </c:pt>
                <c:pt idx="12891">
                  <c:v>8.5150684931506841</c:v>
                </c:pt>
                <c:pt idx="12892">
                  <c:v>#N/A</c:v>
                </c:pt>
                <c:pt idx="12893">
                  <c:v>8.5150684931506841</c:v>
                </c:pt>
                <c:pt idx="12894">
                  <c:v>#N/A</c:v>
                </c:pt>
                <c:pt idx="12895">
                  <c:v>#N/A</c:v>
                </c:pt>
                <c:pt idx="12896">
                  <c:v>8.5205479452054789</c:v>
                </c:pt>
                <c:pt idx="12897">
                  <c:v>8.5397260273972595</c:v>
                </c:pt>
                <c:pt idx="12898">
                  <c:v>8.5479452054794525</c:v>
                </c:pt>
                <c:pt idx="12899">
                  <c:v>8.5479452054794525</c:v>
                </c:pt>
                <c:pt idx="12900">
                  <c:v>#N/A</c:v>
                </c:pt>
                <c:pt idx="12901">
                  <c:v>8.5589041095890419</c:v>
                </c:pt>
                <c:pt idx="12902">
                  <c:v>#N/A</c:v>
                </c:pt>
                <c:pt idx="12903">
                  <c:v>8.5863013698630137</c:v>
                </c:pt>
                <c:pt idx="12904">
                  <c:v>#N/A</c:v>
                </c:pt>
                <c:pt idx="12905">
                  <c:v>8.5917808219178085</c:v>
                </c:pt>
                <c:pt idx="12906">
                  <c:v>8.6054794520547944</c:v>
                </c:pt>
                <c:pt idx="12907">
                  <c:v>8.6054794520547944</c:v>
                </c:pt>
                <c:pt idx="12908">
                  <c:v>8.6136986301369856</c:v>
                </c:pt>
                <c:pt idx="12909">
                  <c:v>8.6657534246575345</c:v>
                </c:pt>
                <c:pt idx="12910">
                  <c:v>#N/A</c:v>
                </c:pt>
                <c:pt idx="12911">
                  <c:v>8.742465753424657</c:v>
                </c:pt>
                <c:pt idx="12912">
                  <c:v>8.742465753424657</c:v>
                </c:pt>
                <c:pt idx="12913">
                  <c:v>#N/A</c:v>
                </c:pt>
                <c:pt idx="12914">
                  <c:v>#N/A</c:v>
                </c:pt>
                <c:pt idx="12915">
                  <c:v>#N/A</c:v>
                </c:pt>
                <c:pt idx="12916">
                  <c:v>#N/A</c:v>
                </c:pt>
                <c:pt idx="12917">
                  <c:v>8.8849315068493144</c:v>
                </c:pt>
                <c:pt idx="12918">
                  <c:v>8.8931506849315074</c:v>
                </c:pt>
                <c:pt idx="12919">
                  <c:v>#N/A</c:v>
                </c:pt>
                <c:pt idx="12920">
                  <c:v>8.9150684931506845</c:v>
                </c:pt>
                <c:pt idx="12921">
                  <c:v>#N/A</c:v>
                </c:pt>
                <c:pt idx="12922">
                  <c:v>8.9232876712328775</c:v>
                </c:pt>
                <c:pt idx="12923">
                  <c:v>8.9315068493150687</c:v>
                </c:pt>
                <c:pt idx="12924">
                  <c:v>8.9315068493150687</c:v>
                </c:pt>
                <c:pt idx="12925">
                  <c:v>#N/A</c:v>
                </c:pt>
                <c:pt idx="12926">
                  <c:v>#N/A</c:v>
                </c:pt>
                <c:pt idx="12927">
                  <c:v>8.9342465753424651</c:v>
                </c:pt>
                <c:pt idx="12928">
                  <c:v>#N/A</c:v>
                </c:pt>
                <c:pt idx="12929">
                  <c:v>#N/A</c:v>
                </c:pt>
                <c:pt idx="12930">
                  <c:v>#N/A</c:v>
                </c:pt>
                <c:pt idx="12931">
                  <c:v>#N/A</c:v>
                </c:pt>
                <c:pt idx="12932">
                  <c:v>8.9589041095890405</c:v>
                </c:pt>
                <c:pt idx="12933">
                  <c:v>#N/A</c:v>
                </c:pt>
                <c:pt idx="12934">
                  <c:v>#N/A</c:v>
                </c:pt>
                <c:pt idx="12935">
                  <c:v>#N/A</c:v>
                </c:pt>
                <c:pt idx="12936">
                  <c:v>#N/A</c:v>
                </c:pt>
                <c:pt idx="12937">
                  <c:v>#N/A</c:v>
                </c:pt>
                <c:pt idx="12938">
                  <c:v>#N/A</c:v>
                </c:pt>
                <c:pt idx="12939">
                  <c:v>9.0136986301369859</c:v>
                </c:pt>
                <c:pt idx="12940">
                  <c:v>9.0465753424657542</c:v>
                </c:pt>
                <c:pt idx="12941">
                  <c:v>9.0575342465753419</c:v>
                </c:pt>
                <c:pt idx="12942">
                  <c:v>#N/A</c:v>
                </c:pt>
                <c:pt idx="12943">
                  <c:v>#N/A</c:v>
                </c:pt>
                <c:pt idx="12944">
                  <c:v>9.0931506849315067</c:v>
                </c:pt>
                <c:pt idx="12945">
                  <c:v>#N/A</c:v>
                </c:pt>
                <c:pt idx="12946">
                  <c:v>#N/A</c:v>
                </c:pt>
                <c:pt idx="12947">
                  <c:v>9.2684931506849306</c:v>
                </c:pt>
                <c:pt idx="12948">
                  <c:v>#N/A</c:v>
                </c:pt>
                <c:pt idx="12949">
                  <c:v>#N/A</c:v>
                </c:pt>
                <c:pt idx="12950">
                  <c:v>#N/A</c:v>
                </c:pt>
                <c:pt idx="12951">
                  <c:v>#N/A</c:v>
                </c:pt>
                <c:pt idx="12952">
                  <c:v>#N/A</c:v>
                </c:pt>
                <c:pt idx="12953">
                  <c:v>9.4027397260273968</c:v>
                </c:pt>
                <c:pt idx="12954">
                  <c:v>9.419178082191781</c:v>
                </c:pt>
                <c:pt idx="12955">
                  <c:v>#N/A</c:v>
                </c:pt>
                <c:pt idx="12956">
                  <c:v>#N/A</c:v>
                </c:pt>
                <c:pt idx="12957">
                  <c:v>9.4328767123287669</c:v>
                </c:pt>
                <c:pt idx="12958">
                  <c:v>9.4328767123287669</c:v>
                </c:pt>
                <c:pt idx="12959">
                  <c:v>#N/A</c:v>
                </c:pt>
                <c:pt idx="12960">
                  <c:v>9.4328767123287669</c:v>
                </c:pt>
                <c:pt idx="12961">
                  <c:v>#N/A</c:v>
                </c:pt>
                <c:pt idx="12962">
                  <c:v>9.4328767123287669</c:v>
                </c:pt>
                <c:pt idx="12963">
                  <c:v>#N/A</c:v>
                </c:pt>
                <c:pt idx="12964">
                  <c:v>#N/A</c:v>
                </c:pt>
                <c:pt idx="12965">
                  <c:v>9.4328767123287669</c:v>
                </c:pt>
                <c:pt idx="12966">
                  <c:v>#N/A</c:v>
                </c:pt>
                <c:pt idx="12967">
                  <c:v>#N/A</c:v>
                </c:pt>
                <c:pt idx="12968">
                  <c:v>#N/A</c:v>
                </c:pt>
                <c:pt idx="12969">
                  <c:v>9.4328767123287669</c:v>
                </c:pt>
                <c:pt idx="12970">
                  <c:v>#N/A</c:v>
                </c:pt>
                <c:pt idx="12971">
                  <c:v>#N/A</c:v>
                </c:pt>
                <c:pt idx="12972">
                  <c:v>9.5095890410958912</c:v>
                </c:pt>
                <c:pt idx="12973">
                  <c:v>9.6520547945205486</c:v>
                </c:pt>
                <c:pt idx="12974">
                  <c:v>#N/A</c:v>
                </c:pt>
                <c:pt idx="12975">
                  <c:v>#N/A</c:v>
                </c:pt>
                <c:pt idx="12976">
                  <c:v>9.838356164383562</c:v>
                </c:pt>
                <c:pt idx="12977">
                  <c:v>9.9315068493150687</c:v>
                </c:pt>
                <c:pt idx="12978">
                  <c:v>#N/A</c:v>
                </c:pt>
                <c:pt idx="12979">
                  <c:v>10.027397260273972</c:v>
                </c:pt>
                <c:pt idx="12980">
                  <c:v>#N/A</c:v>
                </c:pt>
                <c:pt idx="12981">
                  <c:v>10.027397260273972</c:v>
                </c:pt>
                <c:pt idx="12982">
                  <c:v>#N/A</c:v>
                </c:pt>
                <c:pt idx="12983">
                  <c:v>10.12054794520548</c:v>
                </c:pt>
                <c:pt idx="12984">
                  <c:v>#N/A</c:v>
                </c:pt>
                <c:pt idx="12985">
                  <c:v>10.295890410958904</c:v>
                </c:pt>
                <c:pt idx="12986">
                  <c:v>#N/A</c:v>
                </c:pt>
                <c:pt idx="12987">
                  <c:v>#N/A</c:v>
                </c:pt>
                <c:pt idx="12988">
                  <c:v>#N/A</c:v>
                </c:pt>
                <c:pt idx="12989">
                  <c:v>#N/A</c:v>
                </c:pt>
                <c:pt idx="12990">
                  <c:v>#N/A</c:v>
                </c:pt>
                <c:pt idx="12991">
                  <c:v>10.432876712328767</c:v>
                </c:pt>
                <c:pt idx="12992">
                  <c:v>#N/A</c:v>
                </c:pt>
                <c:pt idx="12993">
                  <c:v>#N/A</c:v>
                </c:pt>
                <c:pt idx="12994">
                  <c:v>#N/A</c:v>
                </c:pt>
                <c:pt idx="12995">
                  <c:v>10.835616438356164</c:v>
                </c:pt>
                <c:pt idx="12996">
                  <c:v>11.04109589041096</c:v>
                </c:pt>
                <c:pt idx="12997">
                  <c:v>#N/A</c:v>
                </c:pt>
                <c:pt idx="12998">
                  <c:v>#N/A</c:v>
                </c:pt>
                <c:pt idx="12999">
                  <c:v>#N/A</c:v>
                </c:pt>
                <c:pt idx="13000">
                  <c:v>#N/A</c:v>
                </c:pt>
                <c:pt idx="13001">
                  <c:v>#N/A</c:v>
                </c:pt>
                <c:pt idx="13002">
                  <c:v>#N/A</c:v>
                </c:pt>
                <c:pt idx="13003">
                  <c:v>#N/A</c:v>
                </c:pt>
                <c:pt idx="13004">
                  <c:v>11.432876712328767</c:v>
                </c:pt>
                <c:pt idx="13005">
                  <c:v>#N/A</c:v>
                </c:pt>
                <c:pt idx="13006">
                  <c:v>11.432876712328767</c:v>
                </c:pt>
                <c:pt idx="13007">
                  <c:v>11.468493150684932</c:v>
                </c:pt>
                <c:pt idx="13008">
                  <c:v>#N/A</c:v>
                </c:pt>
                <c:pt idx="13009">
                  <c:v>#N/A</c:v>
                </c:pt>
                <c:pt idx="13010">
                  <c:v>11.597260273972603</c:v>
                </c:pt>
                <c:pt idx="13011">
                  <c:v>#N/A</c:v>
                </c:pt>
                <c:pt idx="13012">
                  <c:v>#N/A</c:v>
                </c:pt>
                <c:pt idx="13013">
                  <c:v>11.852054794520548</c:v>
                </c:pt>
                <c:pt idx="13014">
                  <c:v>11.96986301369863</c:v>
                </c:pt>
                <c:pt idx="13015">
                  <c:v>#N/A</c:v>
                </c:pt>
                <c:pt idx="13016">
                  <c:v>#N/A</c:v>
                </c:pt>
                <c:pt idx="13017">
                  <c:v>#N/A</c:v>
                </c:pt>
                <c:pt idx="13018">
                  <c:v>12.079452054794521</c:v>
                </c:pt>
                <c:pt idx="13019">
                  <c:v>#N/A</c:v>
                </c:pt>
                <c:pt idx="13020">
                  <c:v>12.104109589041096</c:v>
                </c:pt>
                <c:pt idx="13021">
                  <c:v>#N/A</c:v>
                </c:pt>
                <c:pt idx="13022">
                  <c:v>#N/A</c:v>
                </c:pt>
                <c:pt idx="13023">
                  <c:v>#N/A</c:v>
                </c:pt>
                <c:pt idx="13024">
                  <c:v>13.517808219178082</c:v>
                </c:pt>
                <c:pt idx="13025">
                  <c:v>#N/A</c:v>
                </c:pt>
                <c:pt idx="13026">
                  <c:v>#N/A</c:v>
                </c:pt>
                <c:pt idx="13027">
                  <c:v>#N/A</c:v>
                </c:pt>
                <c:pt idx="13028">
                  <c:v>13.517808219178082</c:v>
                </c:pt>
                <c:pt idx="13029">
                  <c:v>#N/A</c:v>
                </c:pt>
                <c:pt idx="13030">
                  <c:v>#N/A</c:v>
                </c:pt>
                <c:pt idx="13031">
                  <c:v>#N/A</c:v>
                </c:pt>
                <c:pt idx="13032">
                  <c:v>#N/A</c:v>
                </c:pt>
                <c:pt idx="13033">
                  <c:v>#N/A</c:v>
                </c:pt>
                <c:pt idx="13034">
                  <c:v>13.980821917808219</c:v>
                </c:pt>
                <c:pt idx="13035">
                  <c:v>#N/A</c:v>
                </c:pt>
                <c:pt idx="13036">
                  <c:v>#N/A</c:v>
                </c:pt>
                <c:pt idx="13037">
                  <c:v>#N/A</c:v>
                </c:pt>
                <c:pt idx="13038">
                  <c:v>#N/A</c:v>
                </c:pt>
                <c:pt idx="13039">
                  <c:v>14.8</c:v>
                </c:pt>
                <c:pt idx="13040">
                  <c:v>#N/A</c:v>
                </c:pt>
                <c:pt idx="13041">
                  <c:v>#N/A</c:v>
                </c:pt>
                <c:pt idx="13042">
                  <c:v>#N/A</c:v>
                </c:pt>
                <c:pt idx="13043">
                  <c:v>#N/A</c:v>
                </c:pt>
                <c:pt idx="13044">
                  <c:v>#N/A</c:v>
                </c:pt>
                <c:pt idx="13045">
                  <c:v>15.128767123287671</c:v>
                </c:pt>
                <c:pt idx="13046">
                  <c:v>15.183561643835617</c:v>
                </c:pt>
                <c:pt idx="13047">
                  <c:v>15.347945205479451</c:v>
                </c:pt>
                <c:pt idx="13048">
                  <c:v>15.347945205479451</c:v>
                </c:pt>
                <c:pt idx="13049">
                  <c:v>#N/A</c:v>
                </c:pt>
                <c:pt idx="13050">
                  <c:v>#N/A</c:v>
                </c:pt>
                <c:pt idx="13051">
                  <c:v>#N/A</c:v>
                </c:pt>
                <c:pt idx="13052">
                  <c:v>15.531506849315068</c:v>
                </c:pt>
                <c:pt idx="13053">
                  <c:v>#N/A</c:v>
                </c:pt>
                <c:pt idx="13054">
                  <c:v>#N/A</c:v>
                </c:pt>
                <c:pt idx="13055">
                  <c:v>#N/A</c:v>
                </c:pt>
                <c:pt idx="13056">
                  <c:v>#N/A</c:v>
                </c:pt>
                <c:pt idx="13057">
                  <c:v>#N/A</c:v>
                </c:pt>
                <c:pt idx="13058">
                  <c:v>#N/A</c:v>
                </c:pt>
                <c:pt idx="13059">
                  <c:v>#N/A</c:v>
                </c:pt>
                <c:pt idx="13060">
                  <c:v>#N/A</c:v>
                </c:pt>
                <c:pt idx="13061">
                  <c:v>#N/A</c:v>
                </c:pt>
                <c:pt idx="13062">
                  <c:v>#N/A</c:v>
                </c:pt>
                <c:pt idx="13063">
                  <c:v>#N/A</c:v>
                </c:pt>
                <c:pt idx="13064">
                  <c:v>#N/A</c:v>
                </c:pt>
                <c:pt idx="13065">
                  <c:v>#N/A</c:v>
                </c:pt>
                <c:pt idx="13066">
                  <c:v>#N/A</c:v>
                </c:pt>
                <c:pt idx="13067">
                  <c:v>#N/A</c:v>
                </c:pt>
                <c:pt idx="13068">
                  <c:v>#N/A</c:v>
                </c:pt>
                <c:pt idx="13069">
                  <c:v>#N/A</c:v>
                </c:pt>
                <c:pt idx="13070">
                  <c:v>#N/A</c:v>
                </c:pt>
                <c:pt idx="13071">
                  <c:v>#N/A</c:v>
                </c:pt>
                <c:pt idx="13072">
                  <c:v>#N/A</c:v>
                </c:pt>
                <c:pt idx="13073">
                  <c:v>#N/A</c:v>
                </c:pt>
                <c:pt idx="13074">
                  <c:v>#N/A</c:v>
                </c:pt>
                <c:pt idx="13075">
                  <c:v>#N/A</c:v>
                </c:pt>
                <c:pt idx="13076">
                  <c:v>#N/A</c:v>
                </c:pt>
                <c:pt idx="13077">
                  <c:v>#N/A</c:v>
                </c:pt>
                <c:pt idx="13078">
                  <c:v>#N/A</c:v>
                </c:pt>
                <c:pt idx="13079">
                  <c:v>#N/A</c:v>
                </c:pt>
                <c:pt idx="13080">
                  <c:v>#N/A</c:v>
                </c:pt>
              </c:numCache>
            </c:numRef>
          </c:xVal>
          <c:yVal>
            <c:numRef>
              <c:f>'power_generator-2024-09-23T (2)'!$U$2:$U$13082</c:f>
              <c:numCache>
                <c:formatCode>General</c:formatCode>
                <c:ptCount val="13081"/>
                <c:pt idx="0">
                  <c:v>5.0423620058489318</c:v>
                </c:pt>
                <c:pt idx="1">
                  <c:v>5.9984969734300204</c:v>
                </c:pt>
                <c:pt idx="2">
                  <c:v>6.028243266869449</c:v>
                </c:pt>
                <c:pt idx="3">
                  <c:v>6.027615680892267</c:v>
                </c:pt>
                <c:pt idx="4">
                  <c:v>6.0968802963641044</c:v>
                </c:pt>
                <c:pt idx="5">
                  <c:v>5.0833740576969442</c:v>
                </c:pt>
                <c:pt idx="6">
                  <c:v>4.8649706859237121</c:v>
                </c:pt>
                <c:pt idx="7">
                  <c:v>4.9838127763822371</c:v>
                </c:pt>
                <c:pt idx="8">
                  <c:v>3.9330733837753398</c:v>
                </c:pt>
                <c:pt idx="9">
                  <c:v>5.0274272656549748</c:v>
                </c:pt>
                <c:pt idx="10">
                  <c:v>4.2713519971552012</c:v>
                </c:pt>
                <c:pt idx="11">
                  <c:v>4.0230424193938301</c:v>
                </c:pt>
                <c:pt idx="12">
                  <c:v>5.1093266698785786</c:v>
                </c:pt>
                <c:pt idx="13">
                  <c:v>3.7789549155485394</c:v>
                </c:pt>
                <c:pt idx="14">
                  <c:v>5.1135823180669</c:v>
                </c:pt>
                <c:pt idx="15">
                  <c:v>5.1470967119613782</c:v>
                </c:pt>
                <c:pt idx="16">
                  <c:v>5.0933798732621636</c:v>
                </c:pt>
                <c:pt idx="17">
                  <c:v>6.1148849603222679</c:v>
                </c:pt>
                <c:pt idx="18">
                  <c:v>5.1840351127786324</c:v>
                </c:pt>
                <c:pt idx="19">
                  <c:v>4.9326101929562061</c:v>
                </c:pt>
                <c:pt idx="20">
                  <c:v>4.891495675253843</c:v>
                </c:pt>
                <c:pt idx="21">
                  <c:v>5.0342251415695536</c:v>
                </c:pt>
                <c:pt idx="22">
                  <c:v>5.0857390895175936</c:v>
                </c:pt>
                <c:pt idx="23">
                  <c:v>6.0305374433227987</c:v>
                </c:pt>
                <c:pt idx="24">
                  <c:v>5.867703502113379</c:v>
                </c:pt>
                <c:pt idx="25">
                  <c:v>5.2281367546392428</c:v>
                </c:pt>
                <c:pt idx="26">
                  <c:v>6.0403565569171107</c:v>
                </c:pt>
                <c:pt idx="27">
                  <c:v>4.9230729141968723</c:v>
                </c:pt>
                <c:pt idx="28">
                  <c:v>5.0047761039437617</c:v>
                </c:pt>
                <c:pt idx="29">
                  <c:v>4.1601352771088891</c:v>
                </c:pt>
                <c:pt idx="30">
                  <c:v>4.8531316785957088</c:v>
                </c:pt>
                <c:pt idx="31">
                  <c:v>5.1731757707995758</c:v>
                </c:pt>
                <c:pt idx="32">
                  <c:v>3.8841641575482173</c:v>
                </c:pt>
                <c:pt idx="33">
                  <c:v>4.9633263593285042</c:v>
                </c:pt>
                <c:pt idx="34">
                  <c:v>5.7934833686737042</c:v>
                </c:pt>
                <c:pt idx="35">
                  <c:v>5.776250892404355</c:v>
                </c:pt>
                <c:pt idx="36">
                  <c:v>4.9795114960604261</c:v>
                </c:pt>
                <c:pt idx="37">
                  <c:v>7.0567515492551678</c:v>
                </c:pt>
                <c:pt idx="38">
                  <c:v>5.9107818677330508</c:v>
                </c:pt>
                <c:pt idx="39">
                  <c:v>3.9863828012207243</c:v>
                </c:pt>
                <c:pt idx="40">
                  <c:v>5.0730218962980711</c:v>
                </c:pt>
                <c:pt idx="41">
                  <c:v>4.912029944991863</c:v>
                </c:pt>
                <c:pt idx="42">
                  <c:v>5.0048101777829253</c:v>
                </c:pt>
                <c:pt idx="43">
                  <c:v>5.8595127855509057</c:v>
                </c:pt>
                <c:pt idx="44">
                  <c:v>4.1076766125286248</c:v>
                </c:pt>
                <c:pt idx="45">
                  <c:v>6.9813927063759165</c:v>
                </c:pt>
                <c:pt idx="46">
                  <c:v>6.1455680024709345</c:v>
                </c:pt>
                <c:pt idx="47">
                  <c:v>5.002322790238539</c:v>
                </c:pt>
                <c:pt idx="48">
                  <c:v>3.9556188004152095</c:v>
                </c:pt>
                <c:pt idx="49">
                  <c:v>5.9668690691198574</c:v>
                </c:pt>
                <c:pt idx="50">
                  <c:v>6.1061528519625874</c:v>
                </c:pt>
                <c:pt idx="51">
                  <c:v>4.9568554683781558</c:v>
                </c:pt>
                <c:pt idx="52">
                  <c:v>5.9705560961442199</c:v>
                </c:pt>
                <c:pt idx="53">
                  <c:v>3.8649575757968564</c:v>
                </c:pt>
                <c:pt idx="54">
                  <c:v>5.0505858619730901</c:v>
                </c:pt>
                <c:pt idx="55">
                  <c:v>5.094145874629155</c:v>
                </c:pt>
                <c:pt idx="56">
                  <c:v>5.8074269643065435</c:v>
                </c:pt>
                <c:pt idx="57">
                  <c:v>5.953659090889821</c:v>
                </c:pt>
                <c:pt idx="58">
                  <c:v>4.8031963268992515</c:v>
                </c:pt>
                <c:pt idx="59">
                  <c:v>4.0680530396243464</c:v>
                </c:pt>
                <c:pt idx="60">
                  <c:v>5.1313087767133325</c:v>
                </c:pt>
                <c:pt idx="61">
                  <c:v>3.8579803787173397</c:v>
                </c:pt>
                <c:pt idx="62">
                  <c:v>5.8664847588884204</c:v>
                </c:pt>
                <c:pt idx="63">
                  <c:v>9.0794018642177576</c:v>
                </c:pt>
                <c:pt idx="64">
                  <c:v>5.0592714449641276</c:v>
                </c:pt>
                <c:pt idx="65">
                  <c:v>6.1206365581012303</c:v>
                </c:pt>
                <c:pt idx="66">
                  <c:v>4.8865991374950877</c:v>
                </c:pt>
                <c:pt idx="67">
                  <c:v>4.9021862801652549</c:v>
                </c:pt>
                <c:pt idx="68">
                  <c:v>5.1710506636393925</c:v>
                </c:pt>
                <c:pt idx="69">
                  <c:v>6.1361049125818008</c:v>
                </c:pt>
                <c:pt idx="70">
                  <c:v>5.9186018762335406</c:v>
                </c:pt>
                <c:pt idx="71">
                  <c:v>6.0127675753564214</c:v>
                </c:pt>
                <c:pt idx="72">
                  <c:v>5.9751240711200326</c:v>
                </c:pt>
                <c:pt idx="73">
                  <c:v>5.9048754423423997</c:v>
                </c:pt>
                <c:pt idx="74">
                  <c:v>6.0030827812151504</c:v>
                </c:pt>
                <c:pt idx="75">
                  <c:v>5.9356058018936881</c:v>
                </c:pt>
                <c:pt idx="76">
                  <c:v>4.9025467418290649</c:v>
                </c:pt>
                <c:pt idx="77">
                  <c:v>5.8577519470087003</c:v>
                </c:pt>
                <c:pt idx="78">
                  <c:v>4.917646632103513</c:v>
                </c:pt>
                <c:pt idx="79">
                  <c:v>4.9490580642890647</c:v>
                </c:pt>
                <c:pt idx="80">
                  <c:v>5.0974975255379489</c:v>
                </c:pt>
                <c:pt idx="81">
                  <c:v>5.9318785407512555</c:v>
                </c:pt>
                <c:pt idx="82">
                  <c:v>4.9220516310285447</c:v>
                </c:pt>
                <c:pt idx="83">
                  <c:v>5.078016067201184</c:v>
                </c:pt>
                <c:pt idx="84">
                  <c:v>5.1051260061440606</c:v>
                </c:pt>
                <c:pt idx="85">
                  <c:v>4.9754304970155259</c:v>
                </c:pt>
                <c:pt idx="86">
                  <c:v>5.9431455999129463</c:v>
                </c:pt>
                <c:pt idx="87">
                  <c:v>6.0190873451923839</c:v>
                </c:pt>
                <c:pt idx="88">
                  <c:v>5.1276009043277524</c:v>
                </c:pt>
                <c:pt idx="89">
                  <c:v>6.0970598419303919</c:v>
                </c:pt>
                <c:pt idx="90">
                  <c:v>5.0061002985165173</c:v>
                </c:pt>
                <c:pt idx="91">
                  <c:v>6.0247791384179923</c:v>
                </c:pt>
                <c:pt idx="92">
                  <c:v>5.9782425106237085</c:v>
                </c:pt>
                <c:pt idx="93">
                  <c:v>4.9007286570651205</c:v>
                </c:pt>
                <c:pt idx="94">
                  <c:v>5.962445986496177</c:v>
                </c:pt>
                <c:pt idx="95">
                  <c:v>6.1226960261946486</c:v>
                </c:pt>
                <c:pt idx="96">
                  <c:v>5.0999749424204692</c:v>
                </c:pt>
                <c:pt idx="97">
                  <c:v>5.0223016162710925</c:v>
                </c:pt>
                <c:pt idx="98">
                  <c:v>5.925556808952706</c:v>
                </c:pt>
                <c:pt idx="99">
                  <c:v>5.9122627195450885</c:v>
                </c:pt>
                <c:pt idx="100">
                  <c:v>5.9604077256928312</c:v>
                </c:pt>
                <c:pt idx="101">
                  <c:v>6.0114538526580734</c:v>
                </c:pt>
                <c:pt idx="102">
                  <c:v>6.2095468873314248</c:v>
                </c:pt>
                <c:pt idx="103">
                  <c:v>4.9598970253977299</c:v>
                </c:pt>
                <c:pt idx="104">
                  <c:v>6.1295661774850361</c:v>
                </c:pt>
                <c:pt idx="105">
                  <c:v>6.0973062095551605</c:v>
                </c:pt>
                <c:pt idx="106">
                  <c:v>4.973498553324597</c:v>
                </c:pt>
                <c:pt idx="107">
                  <c:v>4.9186300478743785</c:v>
                </c:pt>
                <c:pt idx="108">
                  <c:v>5.0099753647069001</c:v>
                </c:pt>
                <c:pt idx="109">
                  <c:v>4.9343798874746421</c:v>
                </c:pt>
                <c:pt idx="110">
                  <c:v>4.8266720303695108</c:v>
                </c:pt>
                <c:pt idx="111">
                  <c:v>4.9887374921046366</c:v>
                </c:pt>
                <c:pt idx="112">
                  <c:v>5.9214695848801044</c:v>
                </c:pt>
                <c:pt idx="113">
                  <c:v>5.2496843542288083</c:v>
                </c:pt>
                <c:pt idx="114">
                  <c:v>6.9017115400496101</c:v>
                </c:pt>
                <c:pt idx="115">
                  <c:v>4.8642807759450353</c:v>
                </c:pt>
                <c:pt idx="116">
                  <c:v>4.0107633082364842</c:v>
                </c:pt>
                <c:pt idx="117">
                  <c:v>5.716100812085207</c:v>
                </c:pt>
                <c:pt idx="118">
                  <c:v>3.9643128178614315</c:v>
                </c:pt>
                <c:pt idx="119">
                  <c:v>4.9274400474862983</c:v>
                </c:pt>
                <c:pt idx="120">
                  <c:v>5.9118105434917032</c:v>
                </c:pt>
                <c:pt idx="121">
                  <c:v>4.9687323800346315</c:v>
                </c:pt>
                <c:pt idx="122">
                  <c:v>5.0709090838859856</c:v>
                </c:pt>
                <c:pt idx="123">
                  <c:v>6.1895441805595812</c:v>
                </c:pt>
                <c:pt idx="124">
                  <c:v>5.0240952862107973</c:v>
                </c:pt>
                <c:pt idx="125">
                  <c:v>5.0158145501548654</c:v>
                </c:pt>
                <c:pt idx="126">
                  <c:v>4.9110702561664219</c:v>
                </c:pt>
                <c:pt idx="127">
                  <c:v>4.9505232340569609</c:v>
                </c:pt>
                <c:pt idx="128">
                  <c:v>4.9914528394628972</c:v>
                </c:pt>
                <c:pt idx="129">
                  <c:v>5.0485988376627606</c:v>
                </c:pt>
                <c:pt idx="130">
                  <c:v>5.9040392126915098</c:v>
                </c:pt>
                <c:pt idx="131">
                  <c:v>5.1263152877492377</c:v>
                </c:pt>
                <c:pt idx="132">
                  <c:v>3.8780653190770926</c:v>
                </c:pt>
                <c:pt idx="133">
                  <c:v>7.0810924603937728</c:v>
                </c:pt>
                <c:pt idx="134">
                  <c:v>4.1695790557500478</c:v>
                </c:pt>
                <c:pt idx="135">
                  <c:v>4.8333544444253231</c:v>
                </c:pt>
                <c:pt idx="136">
                  <c:v>5.047786140001068</c:v>
                </c:pt>
                <c:pt idx="137">
                  <c:v>4.9850374742404373</c:v>
                </c:pt>
                <c:pt idx="138">
                  <c:v>5.9966655440644159</c:v>
                </c:pt>
                <c:pt idx="139">
                  <c:v>5.9464070761871151</c:v>
                </c:pt>
                <c:pt idx="140">
                  <c:v>5.0261577459183897</c:v>
                </c:pt>
                <c:pt idx="141">
                  <c:v>6.0492630038458195</c:v>
                </c:pt>
                <c:pt idx="142">
                  <c:v>5.9904079223632039</c:v>
                </c:pt>
                <c:pt idx="143">
                  <c:v>5.1123386361373644</c:v>
                </c:pt>
                <c:pt idx="144">
                  <c:v>5.9627487621356012</c:v>
                </c:pt>
                <c:pt idx="145">
                  <c:v>5.0191285834595094</c:v>
                </c:pt>
                <c:pt idx="146">
                  <c:v>4.8464054626331707</c:v>
                </c:pt>
                <c:pt idx="147">
                  <c:v>6.1887514766896352</c:v>
                </c:pt>
                <c:pt idx="148">
                  <c:v>5.0198268604449474</c:v>
                </c:pt>
                <c:pt idx="149">
                  <c:v>4.9449494860754672</c:v>
                </c:pt>
                <c:pt idx="150">
                  <c:v>6.0367281491066711</c:v>
                </c:pt>
                <c:pt idx="151">
                  <c:v>5.0934908623560897</c:v>
                </c:pt>
                <c:pt idx="152">
                  <c:v>3.9807678242223608</c:v>
                </c:pt>
                <c:pt idx="153">
                  <c:v>6.0355725917546055</c:v>
                </c:pt>
                <c:pt idx="154">
                  <c:v>5.9603480468779209</c:v>
                </c:pt>
                <c:pt idx="155">
                  <c:v>5.9638408615907457</c:v>
                </c:pt>
                <c:pt idx="156">
                  <c:v>3.9539837663113113</c:v>
                </c:pt>
                <c:pt idx="157">
                  <c:v>4.1731656536706145</c:v>
                </c:pt>
                <c:pt idx="158">
                  <c:v>4.0214970395963894</c:v>
                </c:pt>
                <c:pt idx="159">
                  <c:v>6.8408029881742465</c:v>
                </c:pt>
                <c:pt idx="160">
                  <c:v>4.910736369240956</c:v>
                </c:pt>
                <c:pt idx="161">
                  <c:v>3.803027586613863</c:v>
                </c:pt>
                <c:pt idx="162">
                  <c:v>4.8912904841671416</c:v>
                </c:pt>
                <c:pt idx="163">
                  <c:v>5.0828837914567213</c:v>
                </c:pt>
                <c:pt idx="164">
                  <c:v>5.9008980929160826</c:v>
                </c:pt>
                <c:pt idx="165">
                  <c:v>5.0204716450650793</c:v>
                </c:pt>
                <c:pt idx="166">
                  <c:v>5.8305132069850591</c:v>
                </c:pt>
                <c:pt idx="167">
                  <c:v>7.0406017735940996</c:v>
                </c:pt>
                <c:pt idx="168">
                  <c:v>5.9859054573296024</c:v>
                </c:pt>
                <c:pt idx="169">
                  <c:v>4.9997223872251988</c:v>
                </c:pt>
                <c:pt idx="170">
                  <c:v>6.0103278301842487</c:v>
                </c:pt>
                <c:pt idx="171">
                  <c:v>7.1055740348015242</c:v>
                </c:pt>
                <c:pt idx="172">
                  <c:v>5.0173008044384222</c:v>
                </c:pt>
                <c:pt idx="173">
                  <c:v>6.1730306603458152</c:v>
                </c:pt>
                <c:pt idx="174">
                  <c:v>6.1826816457524929</c:v>
                </c:pt>
                <c:pt idx="175">
                  <c:v>4.9729191662701808</c:v>
                </c:pt>
                <c:pt idx="176">
                  <c:v>5.0330274337650973</c:v>
                </c:pt>
                <c:pt idx="177">
                  <c:v>7.1317304266108064</c:v>
                </c:pt>
                <c:pt idx="178">
                  <c:v>5.0889509198750593</c:v>
                </c:pt>
                <c:pt idx="179">
                  <c:v>6.8172523782089272</c:v>
                </c:pt>
                <c:pt idx="180">
                  <c:v>6.1648282916004895</c:v>
                </c:pt>
                <c:pt idx="181">
                  <c:v>6.9722014193880693</c:v>
                </c:pt>
                <c:pt idx="182">
                  <c:v>4.9969252129256176</c:v>
                </c:pt>
                <c:pt idx="183">
                  <c:v>4.8497439597186318</c:v>
                </c:pt>
                <c:pt idx="184">
                  <c:v>6.1491410038074044</c:v>
                </c:pt>
                <c:pt idx="185">
                  <c:v>6.8212694297105489</c:v>
                </c:pt>
                <c:pt idx="186">
                  <c:v>4.9067617809449633</c:v>
                </c:pt>
                <c:pt idx="187">
                  <c:v>5.9926035340808115</c:v>
                </c:pt>
                <c:pt idx="188">
                  <c:v>5.1682307987036351</c:v>
                </c:pt>
                <c:pt idx="189">
                  <c:v>4.9957825970204937</c:v>
                </c:pt>
                <c:pt idx="190">
                  <c:v>5.0982241597762847</c:v>
                </c:pt>
                <c:pt idx="191">
                  <c:v>6.0282998980335787</c:v>
                </c:pt>
                <c:pt idx="192">
                  <c:v>5.0541895358524371</c:v>
                </c:pt>
                <c:pt idx="193">
                  <c:v>4.9970709057776794</c:v>
                </c:pt>
                <c:pt idx="194">
                  <c:v>3.8003804184922676</c:v>
                </c:pt>
                <c:pt idx="195">
                  <c:v>7.0466582274554277</c:v>
                </c:pt>
                <c:pt idx="196">
                  <c:v>6.0212963952618574</c:v>
                </c:pt>
                <c:pt idx="197">
                  <c:v>4.793230031026722</c:v>
                </c:pt>
                <c:pt idx="198">
                  <c:v>6.080865798418067</c:v>
                </c:pt>
                <c:pt idx="199">
                  <c:v>4.8861636674611866</c:v>
                </c:pt>
                <c:pt idx="200">
                  <c:v>6.1234908645295203</c:v>
                </c:pt>
                <c:pt idx="201">
                  <c:v>4.999357389225942</c:v>
                </c:pt>
                <c:pt idx="202">
                  <c:v>5.980716292650639</c:v>
                </c:pt>
                <c:pt idx="203">
                  <c:v>6.0332082211200744</c:v>
                </c:pt>
                <c:pt idx="204">
                  <c:v>6.0915285932885723</c:v>
                </c:pt>
                <c:pt idx="205">
                  <c:v>6.0278542981032821</c:v>
                </c:pt>
                <c:pt idx="206">
                  <c:v>2.9477775731227913</c:v>
                </c:pt>
                <c:pt idx="207">
                  <c:v>6.0840400342303207</c:v>
                </c:pt>
                <c:pt idx="208">
                  <c:v>6.1682895985196717</c:v>
                </c:pt>
                <c:pt idx="209">
                  <c:v>5.0584110563120026</c:v>
                </c:pt>
                <c:pt idx="210">
                  <c:v>5.9020192961825133</c:v>
                </c:pt>
                <c:pt idx="211">
                  <c:v>5.0820017355251439</c:v>
                </c:pt>
                <c:pt idx="212">
                  <c:v>6.1041879349566557</c:v>
                </c:pt>
                <c:pt idx="213">
                  <c:v>4.842808517381517</c:v>
                </c:pt>
                <c:pt idx="214">
                  <c:v>5.0700700097661784</c:v>
                </c:pt>
                <c:pt idx="215">
                  <c:v>5.9056577603186318</c:v>
                </c:pt>
                <c:pt idx="216">
                  <c:v>5.9642940476681057</c:v>
                </c:pt>
                <c:pt idx="217">
                  <c:v>5.8165689246558028</c:v>
                </c:pt>
                <c:pt idx="218">
                  <c:v>6.0108322739224</c:v>
                </c:pt>
                <c:pt idx="219">
                  <c:v>4.8831536474413122</c:v>
                </c:pt>
                <c:pt idx="220">
                  <c:v>4.9390785790196503</c:v>
                </c:pt>
                <c:pt idx="221">
                  <c:v>6.8765981783800934</c:v>
                </c:pt>
                <c:pt idx="222">
                  <c:v>5.8793298720437672</c:v>
                </c:pt>
                <c:pt idx="223">
                  <c:v>5.962042194731616</c:v>
                </c:pt>
                <c:pt idx="224">
                  <c:v>7.1114495938419244</c:v>
                </c:pt>
                <c:pt idx="225">
                  <c:v>4.9892365360762199</c:v>
                </c:pt>
                <c:pt idx="226">
                  <c:v>4.9188345427678497</c:v>
                </c:pt>
                <c:pt idx="227">
                  <c:v>4.843636773135592</c:v>
                </c:pt>
                <c:pt idx="228">
                  <c:v>4.8146486174694072</c:v>
                </c:pt>
                <c:pt idx="229">
                  <c:v>6.9030673957482822</c:v>
                </c:pt>
                <c:pt idx="230">
                  <c:v>4.880718752787109</c:v>
                </c:pt>
                <c:pt idx="231">
                  <c:v>4.9002960353052485</c:v>
                </c:pt>
                <c:pt idx="232">
                  <c:v>4.7193027084078878</c:v>
                </c:pt>
                <c:pt idx="233">
                  <c:v>2.8697434451342234</c:v>
                </c:pt>
                <c:pt idx="234">
                  <c:v>5.0756071344489966</c:v>
                </c:pt>
                <c:pt idx="235">
                  <c:v>5.8944544926968101</c:v>
                </c:pt>
                <c:pt idx="236">
                  <c:v>4.9127453877650717</c:v>
                </c:pt>
                <c:pt idx="237">
                  <c:v>4.8017985781301844</c:v>
                </c:pt>
                <c:pt idx="238">
                  <c:v>5.9327315458412953</c:v>
                </c:pt>
                <c:pt idx="239">
                  <c:v>5.9041896594131291</c:v>
                </c:pt>
                <c:pt idx="240">
                  <c:v>4.8016771338059607</c:v>
                </c:pt>
                <c:pt idx="241">
                  <c:v>5.9641380952762617</c:v>
                </c:pt>
                <c:pt idx="242">
                  <c:v>5.952300035164785</c:v>
                </c:pt>
                <c:pt idx="243">
                  <c:v>6.0619676921819243</c:v>
                </c:pt>
                <c:pt idx="244">
                  <c:v>6.0111006631843953</c:v>
                </c:pt>
                <c:pt idx="245">
                  <c:v>4.851244598195402</c:v>
                </c:pt>
                <c:pt idx="246">
                  <c:v>4.9906080186302466</c:v>
                </c:pt>
                <c:pt idx="247">
                  <c:v>4.9064243993438685</c:v>
                </c:pt>
                <c:pt idx="248">
                  <c:v>5.8970273293123032</c:v>
                </c:pt>
                <c:pt idx="249">
                  <c:v>5.0452739296327449</c:v>
                </c:pt>
                <c:pt idx="250">
                  <c:v>5.1689640835037789</c:v>
                </c:pt>
                <c:pt idx="251">
                  <c:v>5.7823981166963154</c:v>
                </c:pt>
                <c:pt idx="252">
                  <c:v>5.9882387546657707</c:v>
                </c:pt>
                <c:pt idx="253">
                  <c:v>4.9312738496139774</c:v>
                </c:pt>
                <c:pt idx="254">
                  <c:v>4.9625860723113746</c:v>
                </c:pt>
                <c:pt idx="255">
                  <c:v>5.0109173225453576</c:v>
                </c:pt>
                <c:pt idx="256">
                  <c:v>5.2733558191826919</c:v>
                </c:pt>
                <c:pt idx="257">
                  <c:v>4.9274546571206894</c:v>
                </c:pt>
                <c:pt idx="258">
                  <c:v>5.9450012077590904</c:v>
                </c:pt>
                <c:pt idx="259">
                  <c:v>4.7775452926105935</c:v>
                </c:pt>
                <c:pt idx="260">
                  <c:v>5.073238990658262</c:v>
                </c:pt>
                <c:pt idx="261">
                  <c:v>5.0522821710366914</c:v>
                </c:pt>
                <c:pt idx="262">
                  <c:v>5.2364283529770788</c:v>
                </c:pt>
                <c:pt idx="263">
                  <c:v>5.0524473201889153</c:v>
                </c:pt>
                <c:pt idx="264">
                  <c:v>5.9465842556328274</c:v>
                </c:pt>
                <c:pt idx="265">
                  <c:v>4.8895291818552256</c:v>
                </c:pt>
                <c:pt idx="266">
                  <c:v>5.0805123652886399</c:v>
                </c:pt>
                <c:pt idx="267">
                  <c:v>4.8794320382777912</c:v>
                </c:pt>
                <c:pt idx="268">
                  <c:v>5.01838177870472</c:v>
                </c:pt>
                <c:pt idx="269">
                  <c:v>4.9918274488573955</c:v>
                </c:pt>
                <c:pt idx="270">
                  <c:v>6.1200409172211074</c:v>
                </c:pt>
                <c:pt idx="271">
                  <c:v>5.932653920391326</c:v>
                </c:pt>
                <c:pt idx="272">
                  <c:v>5.9701727787049306</c:v>
                </c:pt>
                <c:pt idx="273">
                  <c:v>6.1478878161993809</c:v>
                </c:pt>
                <c:pt idx="274">
                  <c:v>4.8317009545328231</c:v>
                </c:pt>
                <c:pt idx="275">
                  <c:v>2.9634620591025471</c:v>
                </c:pt>
                <c:pt idx="276">
                  <c:v>3.9806464797880272</c:v>
                </c:pt>
                <c:pt idx="277">
                  <c:v>5.9867573979320845</c:v>
                </c:pt>
                <c:pt idx="278">
                  <c:v>6.0781911475850325</c:v>
                </c:pt>
                <c:pt idx="279">
                  <c:v>6.0342051834257191</c:v>
                </c:pt>
                <c:pt idx="280">
                  <c:v>5.9271561542908229</c:v>
                </c:pt>
                <c:pt idx="281">
                  <c:v>6.1122342121904909</c:v>
                </c:pt>
                <c:pt idx="282">
                  <c:v>5.815451475759053</c:v>
                </c:pt>
                <c:pt idx="283">
                  <c:v>5.8798628396886503</c:v>
                </c:pt>
                <c:pt idx="284">
                  <c:v>4.9700053532855195</c:v>
                </c:pt>
                <c:pt idx="285">
                  <c:v>5.1303753972439967</c:v>
                </c:pt>
                <c:pt idx="286">
                  <c:v>4.9920553925093136</c:v>
                </c:pt>
                <c:pt idx="287">
                  <c:v>6.9827118123280414</c:v>
                </c:pt>
                <c:pt idx="288">
                  <c:v>5.9880190527504773</c:v>
                </c:pt>
                <c:pt idx="289">
                  <c:v>3.9919881112683298</c:v>
                </c:pt>
                <c:pt idx="290">
                  <c:v>6.0840417778173324</c:v>
                </c:pt>
                <c:pt idx="291">
                  <c:v>6.0194571192955193</c:v>
                </c:pt>
                <c:pt idx="292">
                  <c:v>6.1022896422957089</c:v>
                </c:pt>
                <c:pt idx="293">
                  <c:v>5.0392997264935273</c:v>
                </c:pt>
                <c:pt idx="294">
                  <c:v>6.0363952575660953</c:v>
                </c:pt>
                <c:pt idx="295">
                  <c:v>4.9871365582278697</c:v>
                </c:pt>
                <c:pt idx="296">
                  <c:v>6.0088966354097133</c:v>
                </c:pt>
                <c:pt idx="297">
                  <c:v>5.0622778632756074</c:v>
                </c:pt>
                <c:pt idx="298">
                  <c:v>3.9427991134193787</c:v>
                </c:pt>
                <c:pt idx="299">
                  <c:v>4.8892441963980575</c:v>
                </c:pt>
                <c:pt idx="300">
                  <c:v>5.0413153770015597</c:v>
                </c:pt>
                <c:pt idx="301">
                  <c:v>5.0652707849752199</c:v>
                </c:pt>
                <c:pt idx="302">
                  <c:v>5.0239740289447949</c:v>
                </c:pt>
                <c:pt idx="303">
                  <c:v>5.968839313017182</c:v>
                </c:pt>
                <c:pt idx="304">
                  <c:v>6.033625409387751</c:v>
                </c:pt>
                <c:pt idx="305">
                  <c:v>4.9154251328101868</c:v>
                </c:pt>
                <c:pt idx="306">
                  <c:v>5.0960135237818402</c:v>
                </c:pt>
                <c:pt idx="307">
                  <c:v>4.9013306189490136</c:v>
                </c:pt>
                <c:pt idx="308">
                  <c:v>5.8767408005972879</c:v>
                </c:pt>
                <c:pt idx="309">
                  <c:v>3.8219548454663124</c:v>
                </c:pt>
                <c:pt idx="310">
                  <c:v>5.1852830532321361</c:v>
                </c:pt>
                <c:pt idx="311">
                  <c:v>5.9895204201191588</c:v>
                </c:pt>
                <c:pt idx="312">
                  <c:v>6.2069554504064888</c:v>
                </c:pt>
                <c:pt idx="313">
                  <c:v>5.161462854999523</c:v>
                </c:pt>
                <c:pt idx="314">
                  <c:v>5.1493373094064729</c:v>
                </c:pt>
                <c:pt idx="315">
                  <c:v>4.8440120114589256</c:v>
                </c:pt>
                <c:pt idx="316">
                  <c:v>3.9032997784716916</c:v>
                </c:pt>
                <c:pt idx="317">
                  <c:v>4.9576213770016144</c:v>
                </c:pt>
                <c:pt idx="318">
                  <c:v>4.8503244241720846</c:v>
                </c:pt>
                <c:pt idx="319">
                  <c:v>5.9600145107325364</c:v>
                </c:pt>
                <c:pt idx="320">
                  <c:v>5.8987295344287523</c:v>
                </c:pt>
                <c:pt idx="321">
                  <c:v>6.057050866882923</c:v>
                </c:pt>
                <c:pt idx="322">
                  <c:v>6.0487230419033526</c:v>
                </c:pt>
                <c:pt idx="323">
                  <c:v>6.1336847944682846</c:v>
                </c:pt>
                <c:pt idx="324">
                  <c:v>6.9544399674089181</c:v>
                </c:pt>
                <c:pt idx="325">
                  <c:v>4.808816710036723</c:v>
                </c:pt>
                <c:pt idx="326">
                  <c:v>4.9794913942623946</c:v>
                </c:pt>
                <c:pt idx="327">
                  <c:v>6.1644405081891041</c:v>
                </c:pt>
                <c:pt idx="328">
                  <c:v>3.9218760587372112</c:v>
                </c:pt>
                <c:pt idx="329">
                  <c:v>4.8872602261411595</c:v>
                </c:pt>
                <c:pt idx="330">
                  <c:v>4.9853337761105507</c:v>
                </c:pt>
                <c:pt idx="331">
                  <c:v>7.065037717679794</c:v>
                </c:pt>
                <c:pt idx="332">
                  <c:v>5.2737874926974966</c:v>
                </c:pt>
                <c:pt idx="333">
                  <c:v>6.0572261608642428</c:v>
                </c:pt>
                <c:pt idx="334">
                  <c:v>4.8764830148170111</c:v>
                </c:pt>
                <c:pt idx="335">
                  <c:v>5.9679167828210709</c:v>
                </c:pt>
                <c:pt idx="336">
                  <c:v>5.1131043128302176</c:v>
                </c:pt>
                <c:pt idx="337">
                  <c:v>6.1343592522027919</c:v>
                </c:pt>
                <c:pt idx="338">
                  <c:v>6.0301297223411812</c:v>
                </c:pt>
                <c:pt idx="339">
                  <c:v>4.9457066337093911</c:v>
                </c:pt>
                <c:pt idx="340">
                  <c:v>5.0605160671991198</c:v>
                </c:pt>
                <c:pt idx="341">
                  <c:v>5.9550894755082133</c:v>
                </c:pt>
                <c:pt idx="342">
                  <c:v>6.0746855578257133</c:v>
                </c:pt>
                <c:pt idx="343">
                  <c:v>6.0978608957887674</c:v>
                </c:pt>
                <c:pt idx="344">
                  <c:v>5.8756101884225522</c:v>
                </c:pt>
                <c:pt idx="345">
                  <c:v>4.9188368870531995</c:v>
                </c:pt>
                <c:pt idx="346">
                  <c:v>5.0844212910354836</c:v>
                </c:pt>
                <c:pt idx="347">
                  <c:v>4.9181079764859836</c:v>
                </c:pt>
                <c:pt idx="348">
                  <c:v>5.044646254830921</c:v>
                </c:pt>
                <c:pt idx="349">
                  <c:v>5.8356833278369562</c:v>
                </c:pt>
                <c:pt idx="350">
                  <c:v>5.0884302924375566</c:v>
                </c:pt>
                <c:pt idx="351">
                  <c:v>5.0422446718746547</c:v>
                </c:pt>
                <c:pt idx="352">
                  <c:v>4.9106652376792059</c:v>
                </c:pt>
                <c:pt idx="353">
                  <c:v>6.0630771991423824</c:v>
                </c:pt>
                <c:pt idx="354">
                  <c:v>6.1129968480713783</c:v>
                </c:pt>
                <c:pt idx="355">
                  <c:v>6.0094966980013664</c:v>
                </c:pt>
                <c:pt idx="356">
                  <c:v>4.9610035780420514</c:v>
                </c:pt>
                <c:pt idx="357">
                  <c:v>4.9157121492655946</c:v>
                </c:pt>
                <c:pt idx="358">
                  <c:v>5.8033729384724273</c:v>
                </c:pt>
                <c:pt idx="359">
                  <c:v>4.9302084871776231</c:v>
                </c:pt>
                <c:pt idx="360">
                  <c:v>6.1025270978055346</c:v>
                </c:pt>
                <c:pt idx="361">
                  <c:v>5.0724853358064692</c:v>
                </c:pt>
                <c:pt idx="362">
                  <c:v>5.9053768351829614</c:v>
                </c:pt>
                <c:pt idx="363">
                  <c:v>5.926839235613806</c:v>
                </c:pt>
                <c:pt idx="364">
                  <c:v>6.0328040695080274</c:v>
                </c:pt>
                <c:pt idx="365">
                  <c:v>5.0406055666312701</c:v>
                </c:pt>
                <c:pt idx="366">
                  <c:v>4.9025989861004344</c:v>
                </c:pt>
                <c:pt idx="367">
                  <c:v>5.0939324641028891</c:v>
                </c:pt>
                <c:pt idx="368">
                  <c:v>4.9662255802727948</c:v>
                </c:pt>
                <c:pt idx="369">
                  <c:v>4.8765438556883014</c:v>
                </c:pt>
                <c:pt idx="370">
                  <c:v>4.9015945723515708</c:v>
                </c:pt>
                <c:pt idx="371">
                  <c:v>5.9417459041058338</c:v>
                </c:pt>
                <c:pt idx="372">
                  <c:v>4.9331555610057825</c:v>
                </c:pt>
                <c:pt idx="373">
                  <c:v>4.7366043874871453</c:v>
                </c:pt>
                <c:pt idx="374">
                  <c:v>6.0078344154387979</c:v>
                </c:pt>
                <c:pt idx="375">
                  <c:v>6.0603739624748609</c:v>
                </c:pt>
                <c:pt idx="376">
                  <c:v>6.0991121085320419</c:v>
                </c:pt>
                <c:pt idx="377">
                  <c:v>5.9089415303033306</c:v>
                </c:pt>
                <c:pt idx="378">
                  <c:v>5.0495417255407711</c:v>
                </c:pt>
                <c:pt idx="379">
                  <c:v>6.93794890130473</c:v>
                </c:pt>
                <c:pt idx="380">
                  <c:v>6.0602720675591666</c:v>
                </c:pt>
                <c:pt idx="381">
                  <c:v>5.0993048867104873</c:v>
                </c:pt>
                <c:pt idx="382">
                  <c:v>4.9905666272203675</c:v>
                </c:pt>
                <c:pt idx="383">
                  <c:v>6.1090324312273285</c:v>
                </c:pt>
                <c:pt idx="384">
                  <c:v>5.9780361767082599</c:v>
                </c:pt>
                <c:pt idx="385">
                  <c:v>5.8890602924289173</c:v>
                </c:pt>
                <c:pt idx="386">
                  <c:v>5.056646385808234</c:v>
                </c:pt>
                <c:pt idx="387">
                  <c:v>5.284458925171287</c:v>
                </c:pt>
                <c:pt idx="388">
                  <c:v>5.1113687628078281</c:v>
                </c:pt>
                <c:pt idx="389">
                  <c:v>4.9183420952386276</c:v>
                </c:pt>
                <c:pt idx="390">
                  <c:v>5.030871823904314</c:v>
                </c:pt>
                <c:pt idx="391">
                  <c:v>4.8765433610651749</c:v>
                </c:pt>
                <c:pt idx="392">
                  <c:v>7.0124312933875661</c:v>
                </c:pt>
                <c:pt idx="393">
                  <c:v>7.0693160854753057</c:v>
                </c:pt>
                <c:pt idx="394">
                  <c:v>6.9371584626636755</c:v>
                </c:pt>
                <c:pt idx="395">
                  <c:v>6.0898278013704354</c:v>
                </c:pt>
                <c:pt idx="396">
                  <c:v>6.0426094078689827</c:v>
                </c:pt>
                <c:pt idx="397">
                  <c:v>5.9611745825794724</c:v>
                </c:pt>
                <c:pt idx="398">
                  <c:v>7.0412816939840264</c:v>
                </c:pt>
                <c:pt idx="399">
                  <c:v>4.9447325019026582</c:v>
                </c:pt>
                <c:pt idx="400">
                  <c:v>6.2075700765928659</c:v>
                </c:pt>
                <c:pt idx="401">
                  <c:v>5.0110885648677801</c:v>
                </c:pt>
                <c:pt idx="402">
                  <c:v>4.9623912758908704</c:v>
                </c:pt>
                <c:pt idx="403">
                  <c:v>6.9167230423717045</c:v>
                </c:pt>
                <c:pt idx="404">
                  <c:v>5.9956243446709019</c:v>
                </c:pt>
                <c:pt idx="405">
                  <c:v>3.9446384928454195</c:v>
                </c:pt>
                <c:pt idx="406">
                  <c:v>3.9870649018227589</c:v>
                </c:pt>
                <c:pt idx="407">
                  <c:v>5.0742112911596777</c:v>
                </c:pt>
                <c:pt idx="408">
                  <c:v>1.7600022717928372</c:v>
                </c:pt>
                <c:pt idx="409">
                  <c:v>5.9346645359748305</c:v>
                </c:pt>
                <c:pt idx="410">
                  <c:v>6.0801702978504073</c:v>
                </c:pt>
                <c:pt idx="411">
                  <c:v>5.0839586460577895</c:v>
                </c:pt>
                <c:pt idx="412">
                  <c:v>4.9558819881149896</c:v>
                </c:pt>
                <c:pt idx="413">
                  <c:v>4.8559971816590046</c:v>
                </c:pt>
                <c:pt idx="414">
                  <c:v>5.0313173037435819</c:v>
                </c:pt>
                <c:pt idx="415">
                  <c:v>6.1549351502432712</c:v>
                </c:pt>
                <c:pt idx="416">
                  <c:v>4.8927343512993247</c:v>
                </c:pt>
                <c:pt idx="417">
                  <c:v>5.8652685620920781</c:v>
                </c:pt>
                <c:pt idx="418">
                  <c:v>4.7475229628460927</c:v>
                </c:pt>
                <c:pt idx="419">
                  <c:v>6.1363518309517993</c:v>
                </c:pt>
                <c:pt idx="420">
                  <c:v>6.2697334490773962</c:v>
                </c:pt>
                <c:pt idx="421">
                  <c:v>6.0831397145979444</c:v>
                </c:pt>
                <c:pt idx="422">
                  <c:v>4.8768987171812483</c:v>
                </c:pt>
                <c:pt idx="423">
                  <c:v>4.9988179492249971</c:v>
                </c:pt>
                <c:pt idx="424">
                  <c:v>5.1273767037704152</c:v>
                </c:pt>
                <c:pt idx="425">
                  <c:v>6.0770025717210405</c:v>
                </c:pt>
                <c:pt idx="426">
                  <c:v>5.0407145733156238</c:v>
                </c:pt>
                <c:pt idx="427">
                  <c:v>6.0124995025209005</c:v>
                </c:pt>
                <c:pt idx="428">
                  <c:v>4.95841273892598</c:v>
                </c:pt>
                <c:pt idx="429">
                  <c:v>5.9838594759965966</c:v>
                </c:pt>
                <c:pt idx="430">
                  <c:v>5.1257689989498116</c:v>
                </c:pt>
                <c:pt idx="431">
                  <c:v>6.1442562333815882</c:v>
                </c:pt>
                <c:pt idx="432">
                  <c:v>4.9527336553167869</c:v>
                </c:pt>
                <c:pt idx="433">
                  <c:v>4.8830023036906276</c:v>
                </c:pt>
                <c:pt idx="434">
                  <c:v>6.0424297172320465</c:v>
                </c:pt>
                <c:pt idx="435">
                  <c:v>7.0730754837387675</c:v>
                </c:pt>
                <c:pt idx="436">
                  <c:v>5.1106844708238697</c:v>
                </c:pt>
                <c:pt idx="437">
                  <c:v>4.9243033397499616</c:v>
                </c:pt>
                <c:pt idx="438">
                  <c:v>7.142942607756491</c:v>
                </c:pt>
                <c:pt idx="439">
                  <c:v>4.9392168898925641</c:v>
                </c:pt>
                <c:pt idx="440">
                  <c:v>4.9087847398426492</c:v>
                </c:pt>
                <c:pt idx="441">
                  <c:v>4.9832167176425646</c:v>
                </c:pt>
                <c:pt idx="442">
                  <c:v>4.976125437489392</c:v>
                </c:pt>
                <c:pt idx="443">
                  <c:v>6.9590335179699041</c:v>
                </c:pt>
                <c:pt idx="444">
                  <c:v>5.9202017444246904</c:v>
                </c:pt>
                <c:pt idx="445">
                  <c:v>4.9046364658992578</c:v>
                </c:pt>
                <c:pt idx="446">
                  <c:v>4.7539650406056442</c:v>
                </c:pt>
                <c:pt idx="447">
                  <c:v>4.8640678087130818</c:v>
                </c:pt>
                <c:pt idx="448">
                  <c:v>4.9710367438373471</c:v>
                </c:pt>
                <c:pt idx="449">
                  <c:v>5.046449567870396</c:v>
                </c:pt>
                <c:pt idx="450">
                  <c:v>6.0133449032723583</c:v>
                </c:pt>
                <c:pt idx="451">
                  <c:v>4.9882724840849413</c:v>
                </c:pt>
                <c:pt idx="452">
                  <c:v>6.0699392675876291</c:v>
                </c:pt>
                <c:pt idx="453">
                  <c:v>5.9879698578349432</c:v>
                </c:pt>
                <c:pt idx="454">
                  <c:v>4.8818067925804618</c:v>
                </c:pt>
                <c:pt idx="455">
                  <c:v>5.1562528075250125</c:v>
                </c:pt>
                <c:pt idx="456">
                  <c:v>5.0053652935344379</c:v>
                </c:pt>
                <c:pt idx="457">
                  <c:v>5.8727677645621474</c:v>
                </c:pt>
                <c:pt idx="458">
                  <c:v>5.0227111564056708</c:v>
                </c:pt>
                <c:pt idx="459">
                  <c:v>5.1001965331268959</c:v>
                </c:pt>
                <c:pt idx="460">
                  <c:v>5.9644951933147752</c:v>
                </c:pt>
                <c:pt idx="461">
                  <c:v>5.932992221100875</c:v>
                </c:pt>
                <c:pt idx="462">
                  <c:v>5.9399762568550099</c:v>
                </c:pt>
                <c:pt idx="463">
                  <c:v>6.2171061850162017</c:v>
                </c:pt>
                <c:pt idx="464">
                  <c:v>4.9800882624731342</c:v>
                </c:pt>
                <c:pt idx="465">
                  <c:v>5.8591225369495694</c:v>
                </c:pt>
                <c:pt idx="466">
                  <c:v>7.0686959545127346</c:v>
                </c:pt>
                <c:pt idx="467">
                  <c:v>4.8891792626019779</c:v>
                </c:pt>
                <c:pt idx="468">
                  <c:v>2.0789821234075188</c:v>
                </c:pt>
                <c:pt idx="469">
                  <c:v>5.144535094063575</c:v>
                </c:pt>
                <c:pt idx="470">
                  <c:v>5.8112500471987278</c:v>
                </c:pt>
                <c:pt idx="471">
                  <c:v>5.0253740512820171</c:v>
                </c:pt>
                <c:pt idx="472">
                  <c:v>5.0038668143292737</c:v>
                </c:pt>
                <c:pt idx="473">
                  <c:v>5.9977404018087057</c:v>
                </c:pt>
                <c:pt idx="474">
                  <c:v>4.9569426596837083</c:v>
                </c:pt>
                <c:pt idx="475">
                  <c:v>7.1971207960538592</c:v>
                </c:pt>
                <c:pt idx="476">
                  <c:v>5.9641893202534995</c:v>
                </c:pt>
                <c:pt idx="477">
                  <c:v>7.0047404854594966</c:v>
                </c:pt>
                <c:pt idx="478">
                  <c:v>6.0773687954956026</c:v>
                </c:pt>
                <c:pt idx="479">
                  <c:v>4.8875322584532306</c:v>
                </c:pt>
                <c:pt idx="480">
                  <c:v>4.8729472162900382</c:v>
                </c:pt>
                <c:pt idx="481">
                  <c:v>4.955627760016867</c:v>
                </c:pt>
                <c:pt idx="482">
                  <c:v>4.0566347213905187</c:v>
                </c:pt>
                <c:pt idx="483">
                  <c:v>4.8760667485759575</c:v>
                </c:pt>
                <c:pt idx="484">
                  <c:v>5.1049491871044372</c:v>
                </c:pt>
                <c:pt idx="485">
                  <c:v>5.7092205972022043</c:v>
                </c:pt>
                <c:pt idx="486">
                  <c:v>4.9594590522043731</c:v>
                </c:pt>
                <c:pt idx="487">
                  <c:v>4.9845482241049632</c:v>
                </c:pt>
                <c:pt idx="488">
                  <c:v>6.0150473616108071</c:v>
                </c:pt>
                <c:pt idx="489">
                  <c:v>4.174348773748056</c:v>
                </c:pt>
                <c:pt idx="490">
                  <c:v>6.9914659195835176</c:v>
                </c:pt>
                <c:pt idx="491">
                  <c:v>5.9400590151004051</c:v>
                </c:pt>
                <c:pt idx="492">
                  <c:v>4.9900032418761509</c:v>
                </c:pt>
                <c:pt idx="493">
                  <c:v>5.9498861002395707</c:v>
                </c:pt>
                <c:pt idx="494">
                  <c:v>4.8429191507405829</c:v>
                </c:pt>
                <c:pt idx="495">
                  <c:v>6.010832665229441</c:v>
                </c:pt>
                <c:pt idx="496">
                  <c:v>5.0234638782179513</c:v>
                </c:pt>
                <c:pt idx="497">
                  <c:v>5.9791631416215747</c:v>
                </c:pt>
                <c:pt idx="498">
                  <c:v>5.8490511271560894</c:v>
                </c:pt>
                <c:pt idx="499">
                  <c:v>4.8819831735620518</c:v>
                </c:pt>
                <c:pt idx="500">
                  <c:v>5.99716102455087</c:v>
                </c:pt>
                <c:pt idx="501">
                  <c:v>4.9830454288073369</c:v>
                </c:pt>
                <c:pt idx="502">
                  <c:v>4.9558829228165244</c:v>
                </c:pt>
                <c:pt idx="503">
                  <c:v>6.0557071127145399</c:v>
                </c:pt>
                <c:pt idx="504">
                  <c:v>6.0418878242014182</c:v>
                </c:pt>
                <c:pt idx="505">
                  <c:v>4.9783429164453548</c:v>
                </c:pt>
                <c:pt idx="506">
                  <c:v>5.8539470259696778</c:v>
                </c:pt>
                <c:pt idx="507">
                  <c:v>5.9516471558783577</c:v>
                </c:pt>
                <c:pt idx="508">
                  <c:v>5.9596734318073983</c:v>
                </c:pt>
                <c:pt idx="509">
                  <c:v>4.9641565685302149</c:v>
                </c:pt>
                <c:pt idx="510">
                  <c:v>6.9370217508740888</c:v>
                </c:pt>
                <c:pt idx="511">
                  <c:v>4.9280293121360668</c:v>
                </c:pt>
                <c:pt idx="512">
                  <c:v>4.9972366971669961</c:v>
                </c:pt>
                <c:pt idx="513">
                  <c:v>4.9268457886269648</c:v>
                </c:pt>
                <c:pt idx="514">
                  <c:v>5.9818627829398769</c:v>
                </c:pt>
                <c:pt idx="515">
                  <c:v>5.8209843973272148</c:v>
                </c:pt>
                <c:pt idx="516">
                  <c:v>5.9691501049851512</c:v>
                </c:pt>
                <c:pt idx="517">
                  <c:v>5.864935341405797</c:v>
                </c:pt>
                <c:pt idx="518">
                  <c:v>4.9843645371099674</c:v>
                </c:pt>
                <c:pt idx="519">
                  <c:v>4.09479677216813</c:v>
                </c:pt>
                <c:pt idx="520">
                  <c:v>6.1147883997539214</c:v>
                </c:pt>
                <c:pt idx="521">
                  <c:v>6.1117924724012855</c:v>
                </c:pt>
                <c:pt idx="522">
                  <c:v>5.1571815579707181</c:v>
                </c:pt>
                <c:pt idx="523">
                  <c:v>6.0620587845262177</c:v>
                </c:pt>
                <c:pt idx="524">
                  <c:v>4.9390376884006697</c:v>
                </c:pt>
                <c:pt idx="525">
                  <c:v>6.0779986422861629</c:v>
                </c:pt>
                <c:pt idx="526">
                  <c:v>6.0761853083399675</c:v>
                </c:pt>
                <c:pt idx="527">
                  <c:v>5.836437396181795</c:v>
                </c:pt>
                <c:pt idx="528">
                  <c:v>5.089248381933249</c:v>
                </c:pt>
                <c:pt idx="529">
                  <c:v>4.8920484673590945</c:v>
                </c:pt>
                <c:pt idx="530">
                  <c:v>5.0069960578263428</c:v>
                </c:pt>
                <c:pt idx="531">
                  <c:v>5.0705690019953193</c:v>
                </c:pt>
                <c:pt idx="532">
                  <c:v>5.9311126295820946</c:v>
                </c:pt>
                <c:pt idx="533">
                  <c:v>6.1071057909256607</c:v>
                </c:pt>
                <c:pt idx="534">
                  <c:v>7.1907957106306268</c:v>
                </c:pt>
                <c:pt idx="535">
                  <c:v>5.967270109776976</c:v>
                </c:pt>
                <c:pt idx="536">
                  <c:v>6.8813375871100027</c:v>
                </c:pt>
                <c:pt idx="537">
                  <c:v>6.1119370594381772</c:v>
                </c:pt>
                <c:pt idx="538">
                  <c:v>4.9812148007211556</c:v>
                </c:pt>
                <c:pt idx="539">
                  <c:v>4.9429126646839352</c:v>
                </c:pt>
                <c:pt idx="540">
                  <c:v>4.9320082423108946</c:v>
                </c:pt>
                <c:pt idx="541">
                  <c:v>6.0601631704968622</c:v>
                </c:pt>
                <c:pt idx="542">
                  <c:v>6.0556232472663432</c:v>
                </c:pt>
                <c:pt idx="543">
                  <c:v>5.1511358126799012</c:v>
                </c:pt>
                <c:pt idx="544">
                  <c:v>6.1293449254959667</c:v>
                </c:pt>
                <c:pt idx="545">
                  <c:v>4.9243692058923338</c:v>
                </c:pt>
                <c:pt idx="546">
                  <c:v>6.1027027544233379</c:v>
                </c:pt>
                <c:pt idx="547">
                  <c:v>6.0018490055461706</c:v>
                </c:pt>
                <c:pt idx="548">
                  <c:v>5.9663473222944203</c:v>
                </c:pt>
                <c:pt idx="549">
                  <c:v>6.1427213087020904</c:v>
                </c:pt>
                <c:pt idx="550">
                  <c:v>5.0047458646239464</c:v>
                </c:pt>
                <c:pt idx="551">
                  <c:v>5.8326016540467611</c:v>
                </c:pt>
                <c:pt idx="552">
                  <c:v>5.0193388266842085</c:v>
                </c:pt>
                <c:pt idx="553">
                  <c:v>6.0663035500825657</c:v>
                </c:pt>
                <c:pt idx="554">
                  <c:v>7.0357569489189942</c:v>
                </c:pt>
                <c:pt idx="555">
                  <c:v>5.9285337621616705</c:v>
                </c:pt>
                <c:pt idx="556">
                  <c:v>4.1234153126108888</c:v>
                </c:pt>
                <c:pt idx="557">
                  <c:v>5.8927965560181841</c:v>
                </c:pt>
                <c:pt idx="558">
                  <c:v>4.9718655718117288</c:v>
                </c:pt>
                <c:pt idx="559">
                  <c:v>7.1178711692216599</c:v>
                </c:pt>
                <c:pt idx="560">
                  <c:v>5.92141689027462</c:v>
                </c:pt>
                <c:pt idx="561">
                  <c:v>6.9773375268472062</c:v>
                </c:pt>
                <c:pt idx="562">
                  <c:v>7.0036115778822632</c:v>
                </c:pt>
                <c:pt idx="563">
                  <c:v>6.0197897211962292</c:v>
                </c:pt>
                <c:pt idx="564">
                  <c:v>6.1235295898718629</c:v>
                </c:pt>
                <c:pt idx="565">
                  <c:v>5.0927209876131938</c:v>
                </c:pt>
                <c:pt idx="566">
                  <c:v>5.1281030787682367</c:v>
                </c:pt>
                <c:pt idx="567">
                  <c:v>6.8730891328019066</c:v>
                </c:pt>
                <c:pt idx="568">
                  <c:v>5.9686392646104345</c:v>
                </c:pt>
                <c:pt idx="569">
                  <c:v>4.971714375725556</c:v>
                </c:pt>
                <c:pt idx="570">
                  <c:v>5.8854602361295667</c:v>
                </c:pt>
                <c:pt idx="571">
                  <c:v>7.0398045222047756</c:v>
                </c:pt>
                <c:pt idx="572">
                  <c:v>5.9335411534803546</c:v>
                </c:pt>
                <c:pt idx="573">
                  <c:v>6.0035084357344166</c:v>
                </c:pt>
                <c:pt idx="574">
                  <c:v>7.1612744563814932</c:v>
                </c:pt>
                <c:pt idx="575">
                  <c:v>5.9452007217816636</c:v>
                </c:pt>
                <c:pt idx="576">
                  <c:v>7.055492723278312</c:v>
                </c:pt>
                <c:pt idx="577">
                  <c:v>5.8867145007453718</c:v>
                </c:pt>
                <c:pt idx="578">
                  <c:v>6.980548029110988</c:v>
                </c:pt>
                <c:pt idx="579">
                  <c:v>5.8752362394512714</c:v>
                </c:pt>
                <c:pt idx="580">
                  <c:v>5.8603638362785668</c:v>
                </c:pt>
                <c:pt idx="581">
                  <c:v>5.8677916975003814</c:v>
                </c:pt>
                <c:pt idx="582">
                  <c:v>5.9861379334826763</c:v>
                </c:pt>
                <c:pt idx="583">
                  <c:v>7.0565611747645836</c:v>
                </c:pt>
                <c:pt idx="584">
                  <c:v>5.8768930731023001</c:v>
                </c:pt>
                <c:pt idx="585">
                  <c:v>7.0621236672951646</c:v>
                </c:pt>
                <c:pt idx="586">
                  <c:v>5.089166866244045</c:v>
                </c:pt>
                <c:pt idx="587">
                  <c:v>5.9636188153419383</c:v>
                </c:pt>
                <c:pt idx="588">
                  <c:v>4.8648246674029867</c:v>
                </c:pt>
                <c:pt idx="589">
                  <c:v>6.0143599725321515</c:v>
                </c:pt>
                <c:pt idx="590">
                  <c:v>4.8998527678363448</c:v>
                </c:pt>
                <c:pt idx="591">
                  <c:v>6.8797959050947535</c:v>
                </c:pt>
                <c:pt idx="592">
                  <c:v>5.029047616128377</c:v>
                </c:pt>
                <c:pt idx="593">
                  <c:v>7.0347699581971446</c:v>
                </c:pt>
                <c:pt idx="594">
                  <c:v>4.8291517897494671</c:v>
                </c:pt>
                <c:pt idx="595">
                  <c:v>4.031403780656226</c:v>
                </c:pt>
                <c:pt idx="596">
                  <c:v>6.1269427418719715</c:v>
                </c:pt>
                <c:pt idx="597">
                  <c:v>4.9142345699245169</c:v>
                </c:pt>
                <c:pt idx="598">
                  <c:v>6.1943912085750386</c:v>
                </c:pt>
                <c:pt idx="599">
                  <c:v>6.7639804192699682</c:v>
                </c:pt>
                <c:pt idx="600">
                  <c:v>5.7436495356945851</c:v>
                </c:pt>
                <c:pt idx="601">
                  <c:v>5.9006472239152803</c:v>
                </c:pt>
                <c:pt idx="602">
                  <c:v>6.8903700477329828</c:v>
                </c:pt>
                <c:pt idx="603">
                  <c:v>5.9847035858058328</c:v>
                </c:pt>
                <c:pt idx="604">
                  <c:v>6.1014073460012321</c:v>
                </c:pt>
                <c:pt idx="605">
                  <c:v>6.9476119244658614</c:v>
                </c:pt>
                <c:pt idx="606">
                  <c:v>5.9183023279340778</c:v>
                </c:pt>
                <c:pt idx="607">
                  <c:v>6.9949621686481036</c:v>
                </c:pt>
                <c:pt idx="608">
                  <c:v>4.8182265516766343</c:v>
                </c:pt>
                <c:pt idx="609">
                  <c:v>6.0707340111036299</c:v>
                </c:pt>
                <c:pt idx="610">
                  <c:v>5.0141668880829009</c:v>
                </c:pt>
                <c:pt idx="611">
                  <c:v>6.0134030899012973</c:v>
                </c:pt>
                <c:pt idx="612">
                  <c:v>5.7998851498196577</c:v>
                </c:pt>
                <c:pt idx="613">
                  <c:v>5.9863590122170613</c:v>
                </c:pt>
                <c:pt idx="614">
                  <c:v>4.9356085556178781</c:v>
                </c:pt>
                <c:pt idx="615">
                  <c:v>4.8900164311956553</c:v>
                </c:pt>
                <c:pt idx="616">
                  <c:v>7.1121094455930685</c:v>
                </c:pt>
                <c:pt idx="617">
                  <c:v>4.8710757785302858</c:v>
                </c:pt>
                <c:pt idx="618">
                  <c:v>6.023599076821478</c:v>
                </c:pt>
                <c:pt idx="619">
                  <c:v>3.030097819577978</c:v>
                </c:pt>
                <c:pt idx="620">
                  <c:v>5.0438936748186922</c:v>
                </c:pt>
                <c:pt idx="621">
                  <c:v>4.8237993741904495</c:v>
                </c:pt>
                <c:pt idx="622">
                  <c:v>5.0269797190947543</c:v>
                </c:pt>
                <c:pt idx="623">
                  <c:v>6.0275580308425916</c:v>
                </c:pt>
                <c:pt idx="624">
                  <c:v>7.1054191459963194</c:v>
                </c:pt>
                <c:pt idx="625">
                  <c:v>6.0152244191930873</c:v>
                </c:pt>
                <c:pt idx="626">
                  <c:v>6.0580160494681419</c:v>
                </c:pt>
                <c:pt idx="627">
                  <c:v>6.9082141625157547</c:v>
                </c:pt>
                <c:pt idx="628">
                  <c:v>5.0435697615513568</c:v>
                </c:pt>
                <c:pt idx="629">
                  <c:v>4.8827759191360167</c:v>
                </c:pt>
                <c:pt idx="630">
                  <c:v>4.9174590834182901</c:v>
                </c:pt>
                <c:pt idx="631">
                  <c:v>6.0576916913892918</c:v>
                </c:pt>
                <c:pt idx="632">
                  <c:v>5.8728421651923384</c:v>
                </c:pt>
                <c:pt idx="633">
                  <c:v>6.9778702641966337</c:v>
                </c:pt>
                <c:pt idx="634">
                  <c:v>5.9792270220913908</c:v>
                </c:pt>
                <c:pt idx="635">
                  <c:v>5.997971492755326</c:v>
                </c:pt>
                <c:pt idx="636">
                  <c:v>5.0679384448401565</c:v>
                </c:pt>
                <c:pt idx="637">
                  <c:v>6.9044002479461462</c:v>
                </c:pt>
                <c:pt idx="638">
                  <c:v>5.7691517499992608</c:v>
                </c:pt>
                <c:pt idx="639">
                  <c:v>7.096003893743382</c:v>
                </c:pt>
                <c:pt idx="640">
                  <c:v>4.9027893845836044</c:v>
                </c:pt>
                <c:pt idx="641">
                  <c:v>6.0980826625567834</c:v>
                </c:pt>
                <c:pt idx="642">
                  <c:v>5.9331690126096257</c:v>
                </c:pt>
                <c:pt idx="643">
                  <c:v>5.0583774211971164</c:v>
                </c:pt>
                <c:pt idx="644">
                  <c:v>5.9593419816854363</c:v>
                </c:pt>
                <c:pt idx="645">
                  <c:v>4.9867513000124042</c:v>
                </c:pt>
                <c:pt idx="646">
                  <c:v>6.0504145213085572</c:v>
                </c:pt>
                <c:pt idx="647">
                  <c:v>5.0125710764540754</c:v>
                </c:pt>
                <c:pt idx="648">
                  <c:v>6.0214535101464532</c:v>
                </c:pt>
                <c:pt idx="649">
                  <c:v>7.013959127165835</c:v>
                </c:pt>
                <c:pt idx="650">
                  <c:v>5.1181213579530249</c:v>
                </c:pt>
                <c:pt idx="651">
                  <c:v>5.8899754547095826</c:v>
                </c:pt>
                <c:pt idx="652">
                  <c:v>7.0677057228342699</c:v>
                </c:pt>
                <c:pt idx="653">
                  <c:v>5.0297295721735544</c:v>
                </c:pt>
                <c:pt idx="654">
                  <c:v>5.9521601889807512</c:v>
                </c:pt>
                <c:pt idx="655">
                  <c:v>5.8833212712352916</c:v>
                </c:pt>
                <c:pt idx="656">
                  <c:v>6.1239388457086781</c:v>
                </c:pt>
                <c:pt idx="657">
                  <c:v>5.8651524146257907</c:v>
                </c:pt>
                <c:pt idx="658">
                  <c:v>5.8538554542600352</c:v>
                </c:pt>
                <c:pt idx="659">
                  <c:v>5.9516342646591021</c:v>
                </c:pt>
                <c:pt idx="660">
                  <c:v>4.8607865505231613</c:v>
                </c:pt>
                <c:pt idx="661">
                  <c:v>7.0454579172298297</c:v>
                </c:pt>
                <c:pt idx="662">
                  <c:v>4.9037723259106434</c:v>
                </c:pt>
                <c:pt idx="663">
                  <c:v>5.9861973870843954</c:v>
                </c:pt>
                <c:pt idx="664">
                  <c:v>5.8659859631213065</c:v>
                </c:pt>
                <c:pt idx="665">
                  <c:v>7.1094859313012355</c:v>
                </c:pt>
                <c:pt idx="666">
                  <c:v>6.0834839658043203</c:v>
                </c:pt>
                <c:pt idx="667">
                  <c:v>6.012323560754127</c:v>
                </c:pt>
                <c:pt idx="668">
                  <c:v>6.0103491501487598</c:v>
                </c:pt>
                <c:pt idx="669">
                  <c:v>4.8930707977688952</c:v>
                </c:pt>
                <c:pt idx="670">
                  <c:v>6.0846969200908889</c:v>
                </c:pt>
                <c:pt idx="671">
                  <c:v>6.0475143532445577</c:v>
                </c:pt>
                <c:pt idx="672">
                  <c:v>4.0327839027679211</c:v>
                </c:pt>
                <c:pt idx="673">
                  <c:v>4.9152307621705917</c:v>
                </c:pt>
                <c:pt idx="674">
                  <c:v>6.1517742633524408</c:v>
                </c:pt>
                <c:pt idx="675">
                  <c:v>5.789051433536323</c:v>
                </c:pt>
                <c:pt idx="676">
                  <c:v>5.9784793280406721</c:v>
                </c:pt>
                <c:pt idx="677">
                  <c:v>4.9556223170404055</c:v>
                </c:pt>
                <c:pt idx="678">
                  <c:v>4.979502177483476</c:v>
                </c:pt>
                <c:pt idx="679">
                  <c:v>5.7842397610883216</c:v>
                </c:pt>
                <c:pt idx="680">
                  <c:v>5.077071400108883</c:v>
                </c:pt>
                <c:pt idx="681">
                  <c:v>4.852694990757815</c:v>
                </c:pt>
                <c:pt idx="682">
                  <c:v>6.1605018138623064</c:v>
                </c:pt>
                <c:pt idx="683">
                  <c:v>4.9516845940075589</c:v>
                </c:pt>
                <c:pt idx="684">
                  <c:v>5.8998864420676229</c:v>
                </c:pt>
                <c:pt idx="685">
                  <c:v>6.9503215079455209</c:v>
                </c:pt>
                <c:pt idx="686">
                  <c:v>7.0085356648546933</c:v>
                </c:pt>
                <c:pt idx="687">
                  <c:v>3.9778997973554486</c:v>
                </c:pt>
                <c:pt idx="688">
                  <c:v>4.8399531395618522</c:v>
                </c:pt>
                <c:pt idx="689">
                  <c:v>6.16960366363051</c:v>
                </c:pt>
                <c:pt idx="690">
                  <c:v>5.9020755639961333</c:v>
                </c:pt>
                <c:pt idx="691">
                  <c:v>5.985567106456573</c:v>
                </c:pt>
                <c:pt idx="692">
                  <c:v>5.240237020499106</c:v>
                </c:pt>
                <c:pt idx="693">
                  <c:v>6.1141759877248854</c:v>
                </c:pt>
                <c:pt idx="694">
                  <c:v>5.9548714025466847</c:v>
                </c:pt>
                <c:pt idx="695">
                  <c:v>5.2447775159633645</c:v>
                </c:pt>
                <c:pt idx="696">
                  <c:v>5.8271842296203431</c:v>
                </c:pt>
                <c:pt idx="697">
                  <c:v>4.9248630477986426</c:v>
                </c:pt>
                <c:pt idx="698">
                  <c:v>5.7138960203288987</c:v>
                </c:pt>
                <c:pt idx="699">
                  <c:v>6.062984410203522</c:v>
                </c:pt>
                <c:pt idx="700">
                  <c:v>5.071695813188084</c:v>
                </c:pt>
                <c:pt idx="701">
                  <c:v>5.0393378175552161</c:v>
                </c:pt>
                <c:pt idx="702">
                  <c:v>5.8839010460873507</c:v>
                </c:pt>
                <c:pt idx="703">
                  <c:v>4.9160592059606332</c:v>
                </c:pt>
                <c:pt idx="704">
                  <c:v>7.001859122520858</c:v>
                </c:pt>
                <c:pt idx="705">
                  <c:v>5.9583545022985716</c:v>
                </c:pt>
                <c:pt idx="706">
                  <c:v>5.9485476612870398</c:v>
                </c:pt>
                <c:pt idx="707">
                  <c:v>5.7671051006638931</c:v>
                </c:pt>
                <c:pt idx="708">
                  <c:v>4.1087069779647249</c:v>
                </c:pt>
                <c:pt idx="709">
                  <c:v>5.8203750980134012</c:v>
                </c:pt>
                <c:pt idx="710">
                  <c:v>5.9367377825053653</c:v>
                </c:pt>
                <c:pt idx="711">
                  <c:v>5.9574234285617624</c:v>
                </c:pt>
                <c:pt idx="712">
                  <c:v>4.8816364909532748</c:v>
                </c:pt>
                <c:pt idx="713">
                  <c:v>4.966545764200375</c:v>
                </c:pt>
                <c:pt idx="714">
                  <c:v>7.0494294721736388</c:v>
                </c:pt>
                <c:pt idx="715">
                  <c:v>5.997431175120207</c:v>
                </c:pt>
                <c:pt idx="716">
                  <c:v>6.1705777825956272</c:v>
                </c:pt>
                <c:pt idx="717">
                  <c:v>7.0527832885124928</c:v>
                </c:pt>
                <c:pt idx="718">
                  <c:v>4.9335782430709729</c:v>
                </c:pt>
                <c:pt idx="719">
                  <c:v>5.9674931496114079</c:v>
                </c:pt>
                <c:pt idx="720">
                  <c:v>5.1360164023790382</c:v>
                </c:pt>
                <c:pt idx="721">
                  <c:v>5.0405618615207493</c:v>
                </c:pt>
                <c:pt idx="722">
                  <c:v>6.1827801898479207</c:v>
                </c:pt>
                <c:pt idx="723">
                  <c:v>5.0406365618325184</c:v>
                </c:pt>
                <c:pt idx="724">
                  <c:v>5.8609124534205419</c:v>
                </c:pt>
                <c:pt idx="725">
                  <c:v>5.9130838098849345</c:v>
                </c:pt>
                <c:pt idx="726">
                  <c:v>5.0553302493755554</c:v>
                </c:pt>
                <c:pt idx="727">
                  <c:v>6.015942493556719</c:v>
                </c:pt>
                <c:pt idx="728">
                  <c:v>5.0513696387559595</c:v>
                </c:pt>
                <c:pt idx="729">
                  <c:v>7.1277211120771549</c:v>
                </c:pt>
                <c:pt idx="730">
                  <c:v>7.1348879575039135</c:v>
                </c:pt>
                <c:pt idx="731">
                  <c:v>7.0458042552761073</c:v>
                </c:pt>
                <c:pt idx="732">
                  <c:v>6.046245962920473</c:v>
                </c:pt>
                <c:pt idx="733">
                  <c:v>3.8544608910195532</c:v>
                </c:pt>
                <c:pt idx="734">
                  <c:v>7.1207531400216855</c:v>
                </c:pt>
                <c:pt idx="735">
                  <c:v>7.0614368142566812</c:v>
                </c:pt>
                <c:pt idx="736">
                  <c:v>5.9369369946447179</c:v>
                </c:pt>
                <c:pt idx="737">
                  <c:v>4.9066319239341363</c:v>
                </c:pt>
                <c:pt idx="738">
                  <c:v>5.1040302234343242</c:v>
                </c:pt>
                <c:pt idx="739">
                  <c:v>6.1776592527352356</c:v>
                </c:pt>
                <c:pt idx="740">
                  <c:v>7.0776761252081224</c:v>
                </c:pt>
                <c:pt idx="741">
                  <c:v>4.9735445587587606</c:v>
                </c:pt>
                <c:pt idx="742">
                  <c:v>3.9638340558752256</c:v>
                </c:pt>
                <c:pt idx="743">
                  <c:v>4.0282277927915757</c:v>
                </c:pt>
                <c:pt idx="744">
                  <c:v>6.978967942546995</c:v>
                </c:pt>
                <c:pt idx="745">
                  <c:v>5.9287941896140728</c:v>
                </c:pt>
                <c:pt idx="746">
                  <c:v>3.9830338785105321</c:v>
                </c:pt>
                <c:pt idx="747">
                  <c:v>5.9372304509173057</c:v>
                </c:pt>
                <c:pt idx="748">
                  <c:v>6.0499601620319892</c:v>
                </c:pt>
                <c:pt idx="749">
                  <c:v>6.0287392345630169</c:v>
                </c:pt>
                <c:pt idx="750">
                  <c:v>3.9785380952296183</c:v>
                </c:pt>
                <c:pt idx="751">
                  <c:v>4.8558962662704142</c:v>
                </c:pt>
                <c:pt idx="752">
                  <c:v>5.8872295683394498</c:v>
                </c:pt>
                <c:pt idx="753">
                  <c:v>4.0286727066372725</c:v>
                </c:pt>
                <c:pt idx="754">
                  <c:v>6.1007255320643781</c:v>
                </c:pt>
                <c:pt idx="755">
                  <c:v>6.1142092748035726</c:v>
                </c:pt>
                <c:pt idx="756">
                  <c:v>6.7647031750322757</c:v>
                </c:pt>
                <c:pt idx="757">
                  <c:v>4.8579594584882555</c:v>
                </c:pt>
                <c:pt idx="758">
                  <c:v>6.9875093373978263</c:v>
                </c:pt>
                <c:pt idx="759">
                  <c:v>6.0348146587576332</c:v>
                </c:pt>
                <c:pt idx="760">
                  <c:v>7.0420993778991186</c:v>
                </c:pt>
                <c:pt idx="761">
                  <c:v>6.9875112787319225</c:v>
                </c:pt>
                <c:pt idx="762">
                  <c:v>6.1150124822105631</c:v>
                </c:pt>
                <c:pt idx="763">
                  <c:v>6.1124094299093414</c:v>
                </c:pt>
                <c:pt idx="764">
                  <c:v>5.1241850666039879</c:v>
                </c:pt>
                <c:pt idx="765">
                  <c:v>5.9969423478700232</c:v>
                </c:pt>
                <c:pt idx="766">
                  <c:v>4.0288689739788888</c:v>
                </c:pt>
                <c:pt idx="767">
                  <c:v>7.1657511020335001</c:v>
                </c:pt>
                <c:pt idx="768">
                  <c:v>6.0248594583677448</c:v>
                </c:pt>
                <c:pt idx="769">
                  <c:v>6.0620097518403826</c:v>
                </c:pt>
                <c:pt idx="770">
                  <c:v>6.0631564673239033</c:v>
                </c:pt>
                <c:pt idx="771">
                  <c:v>5.9602952854345395</c:v>
                </c:pt>
                <c:pt idx="772">
                  <c:v>6.022706270436017</c:v>
                </c:pt>
                <c:pt idx="773">
                  <c:v>7.1620687599989177</c:v>
                </c:pt>
                <c:pt idx="774">
                  <c:v>5.8756435383941801</c:v>
                </c:pt>
                <c:pt idx="775">
                  <c:v>4.9639742620202281</c:v>
                </c:pt>
                <c:pt idx="776">
                  <c:v>6.1838736033217536</c:v>
                </c:pt>
                <c:pt idx="777">
                  <c:v>5.9639107702160201</c:v>
                </c:pt>
                <c:pt idx="778">
                  <c:v>4.9368071688932904</c:v>
                </c:pt>
                <c:pt idx="779">
                  <c:v>5.0621748528312072</c:v>
                </c:pt>
                <c:pt idx="780">
                  <c:v>5.856551748277699</c:v>
                </c:pt>
                <c:pt idx="781">
                  <c:v>4.9505028481606432</c:v>
                </c:pt>
                <c:pt idx="782">
                  <c:v>5.8756016234608008</c:v>
                </c:pt>
                <c:pt idx="783">
                  <c:v>4.0509162802827658</c:v>
                </c:pt>
                <c:pt idx="784">
                  <c:v>5.0178427292095273</c:v>
                </c:pt>
                <c:pt idx="785">
                  <c:v>4.8952445371369961</c:v>
                </c:pt>
                <c:pt idx="786">
                  <c:v>4.8973502476456012</c:v>
                </c:pt>
                <c:pt idx="787">
                  <c:v>6.0263964982924492</c:v>
                </c:pt>
                <c:pt idx="788">
                  <c:v>4.8297668107338509</c:v>
                </c:pt>
                <c:pt idx="789">
                  <c:v>6.0141083970772442</c:v>
                </c:pt>
                <c:pt idx="790">
                  <c:v>4.0112816868375889</c:v>
                </c:pt>
                <c:pt idx="791">
                  <c:v>6.0379931744781041</c:v>
                </c:pt>
                <c:pt idx="792">
                  <c:v>4.9770591439736682</c:v>
                </c:pt>
                <c:pt idx="793">
                  <c:v>6.0007836547433433</c:v>
                </c:pt>
                <c:pt idx="794">
                  <c:v>5.9813766968460298</c:v>
                </c:pt>
                <c:pt idx="795">
                  <c:v>6.1089928407146417</c:v>
                </c:pt>
                <c:pt idx="796">
                  <c:v>6.122121980080216</c:v>
                </c:pt>
                <c:pt idx="797">
                  <c:v>4.1055534308908053</c:v>
                </c:pt>
                <c:pt idx="798">
                  <c:v>6.0349238720149927</c:v>
                </c:pt>
                <c:pt idx="799">
                  <c:v>4.9973939743865516</c:v>
                </c:pt>
                <c:pt idx="800">
                  <c:v>5.1067164232216999</c:v>
                </c:pt>
                <c:pt idx="801">
                  <c:v>6.1934782714673293</c:v>
                </c:pt>
                <c:pt idx="802">
                  <c:v>6.006057224487952</c:v>
                </c:pt>
                <c:pt idx="803">
                  <c:v>6.8252063077723424</c:v>
                </c:pt>
                <c:pt idx="804">
                  <c:v>6.0643699451897941</c:v>
                </c:pt>
                <c:pt idx="805">
                  <c:v>6.043804330140671</c:v>
                </c:pt>
                <c:pt idx="806">
                  <c:v>5.116290615961133</c:v>
                </c:pt>
                <c:pt idx="807">
                  <c:v>5.9150392433899839</c:v>
                </c:pt>
                <c:pt idx="808">
                  <c:v>5.1623743612193653</c:v>
                </c:pt>
                <c:pt idx="809">
                  <c:v>5.1306127339122742</c:v>
                </c:pt>
                <c:pt idx="810">
                  <c:v>5.0023875144900858</c:v>
                </c:pt>
                <c:pt idx="811">
                  <c:v>6.0000242496083205</c:v>
                </c:pt>
                <c:pt idx="812">
                  <c:v>3.7911259443148637</c:v>
                </c:pt>
                <c:pt idx="813">
                  <c:v>6.1140787335836873</c:v>
                </c:pt>
                <c:pt idx="814">
                  <c:v>5.0190798336904745</c:v>
                </c:pt>
                <c:pt idx="815">
                  <c:v>6.0280939314997095</c:v>
                </c:pt>
                <c:pt idx="816">
                  <c:v>7.1194130032016325</c:v>
                </c:pt>
                <c:pt idx="817">
                  <c:v>6.068858140036915</c:v>
                </c:pt>
                <c:pt idx="818">
                  <c:v>6.9848586749113659</c:v>
                </c:pt>
                <c:pt idx="819">
                  <c:v>6.1318449598935976</c:v>
                </c:pt>
                <c:pt idx="820">
                  <c:v>5.0177554448607999</c:v>
                </c:pt>
                <c:pt idx="821">
                  <c:v>5.005417260514502</c:v>
                </c:pt>
                <c:pt idx="822">
                  <c:v>6.1003114967705532</c:v>
                </c:pt>
                <c:pt idx="823">
                  <c:v>6.0207621682761232</c:v>
                </c:pt>
                <c:pt idx="824">
                  <c:v>5.9971871915989308</c:v>
                </c:pt>
                <c:pt idx="825">
                  <c:v>6.0593277441675006</c:v>
                </c:pt>
                <c:pt idx="826">
                  <c:v>5.0494401026641951</c:v>
                </c:pt>
                <c:pt idx="827">
                  <c:v>5.9066200881038089</c:v>
                </c:pt>
                <c:pt idx="828">
                  <c:v>6.0512585448868128</c:v>
                </c:pt>
                <c:pt idx="829">
                  <c:v>6.0614691645466703</c:v>
                </c:pt>
                <c:pt idx="830">
                  <c:v>5.0018436561632678</c:v>
                </c:pt>
                <c:pt idx="831">
                  <c:v>7.1135294376657425</c:v>
                </c:pt>
                <c:pt idx="832">
                  <c:v>5.0589578424734363</c:v>
                </c:pt>
                <c:pt idx="833">
                  <c:v>5.1023055811659974</c:v>
                </c:pt>
                <c:pt idx="834">
                  <c:v>5.0237768638580169</c:v>
                </c:pt>
                <c:pt idx="835">
                  <c:v>5.0701649328321849</c:v>
                </c:pt>
                <c:pt idx="836">
                  <c:v>6.0126540138380058</c:v>
                </c:pt>
                <c:pt idx="837">
                  <c:v>7.0630501682634481</c:v>
                </c:pt>
                <c:pt idx="838">
                  <c:v>4.9567667568314393</c:v>
                </c:pt>
                <c:pt idx="839">
                  <c:v>4.9640115256924764</c:v>
                </c:pt>
                <c:pt idx="840">
                  <c:v>5.0414799214725585</c:v>
                </c:pt>
                <c:pt idx="841">
                  <c:v>4.8477445209853309</c:v>
                </c:pt>
                <c:pt idx="842">
                  <c:v>5.1204633024957893</c:v>
                </c:pt>
                <c:pt idx="843">
                  <c:v>4.9043029658105182</c:v>
                </c:pt>
                <c:pt idx="844">
                  <c:v>5.0210310522825052</c:v>
                </c:pt>
                <c:pt idx="845">
                  <c:v>4.0134933752688369</c:v>
                </c:pt>
                <c:pt idx="846">
                  <c:v>5.9650133408702271</c:v>
                </c:pt>
                <c:pt idx="847">
                  <c:v>5.9473834304652478</c:v>
                </c:pt>
                <c:pt idx="848">
                  <c:v>6.9080573491115524</c:v>
                </c:pt>
                <c:pt idx="849">
                  <c:v>4.964684548303544</c:v>
                </c:pt>
                <c:pt idx="850">
                  <c:v>4.0003085600062898</c:v>
                </c:pt>
                <c:pt idx="851">
                  <c:v>6.1365548992331327</c:v>
                </c:pt>
                <c:pt idx="852">
                  <c:v>5.9173810314860118</c:v>
                </c:pt>
                <c:pt idx="853">
                  <c:v>6.0059492824562994</c:v>
                </c:pt>
                <c:pt idx="854">
                  <c:v>6.0967667345234391</c:v>
                </c:pt>
                <c:pt idx="855">
                  <c:v>6.0779837494195537</c:v>
                </c:pt>
                <c:pt idx="856">
                  <c:v>5.0498823639165868</c:v>
                </c:pt>
                <c:pt idx="857">
                  <c:v>3.9670239660117046</c:v>
                </c:pt>
                <c:pt idx="858">
                  <c:v>4.9188677274937422</c:v>
                </c:pt>
                <c:pt idx="859">
                  <c:v>5.9754812553843504</c:v>
                </c:pt>
                <c:pt idx="860">
                  <c:v>5.2847792141901859</c:v>
                </c:pt>
                <c:pt idx="861">
                  <c:v>5.8712158286888041</c:v>
                </c:pt>
                <c:pt idx="862">
                  <c:v>6.0301776063826606</c:v>
                </c:pt>
                <c:pt idx="863">
                  <c:v>4.8600828078083245</c:v>
                </c:pt>
                <c:pt idx="864">
                  <c:v>6.0030917777830952</c:v>
                </c:pt>
                <c:pt idx="865">
                  <c:v>6.0585358897557144</c:v>
                </c:pt>
                <c:pt idx="866">
                  <c:v>6.0553802398676622</c:v>
                </c:pt>
                <c:pt idx="867">
                  <c:v>6.9486274246651636</c:v>
                </c:pt>
                <c:pt idx="868">
                  <c:v>5.0723803958118152</c:v>
                </c:pt>
                <c:pt idx="869">
                  <c:v>3.8382710890088449</c:v>
                </c:pt>
                <c:pt idx="870">
                  <c:v>5.9516736415968037</c:v>
                </c:pt>
                <c:pt idx="871">
                  <c:v>5.9050895065832449</c:v>
                </c:pt>
                <c:pt idx="872">
                  <c:v>7.0277092355540942</c:v>
                </c:pt>
                <c:pt idx="873">
                  <c:v>6.1219900202880373</c:v>
                </c:pt>
                <c:pt idx="874">
                  <c:v>6.9758359612121961</c:v>
                </c:pt>
                <c:pt idx="875">
                  <c:v>6.1207044627386988</c:v>
                </c:pt>
                <c:pt idx="876">
                  <c:v>6.1228377691718059</c:v>
                </c:pt>
                <c:pt idx="877">
                  <c:v>6.0578642215836851</c:v>
                </c:pt>
                <c:pt idx="878">
                  <c:v>4.844428767952019</c:v>
                </c:pt>
                <c:pt idx="879">
                  <c:v>6.9535215737507841</c:v>
                </c:pt>
                <c:pt idx="880">
                  <c:v>5.8793146336187467</c:v>
                </c:pt>
                <c:pt idx="881">
                  <c:v>6.1475129872445873</c:v>
                </c:pt>
                <c:pt idx="882">
                  <c:v>6.0948848599190208</c:v>
                </c:pt>
                <c:pt idx="883">
                  <c:v>6.0572501991170133</c:v>
                </c:pt>
                <c:pt idx="884">
                  <c:v>5.9295454518542305</c:v>
                </c:pt>
                <c:pt idx="885">
                  <c:v>7.1386272851174475</c:v>
                </c:pt>
                <c:pt idx="886">
                  <c:v>5.9000831533647382</c:v>
                </c:pt>
                <c:pt idx="887">
                  <c:v>6.1030878441115597</c:v>
                </c:pt>
                <c:pt idx="888">
                  <c:v>6.1534991448845968</c:v>
                </c:pt>
                <c:pt idx="889">
                  <c:v>4.9525350316955956</c:v>
                </c:pt>
                <c:pt idx="890">
                  <c:v>4.0460458038214098</c:v>
                </c:pt>
                <c:pt idx="891">
                  <c:v>4.978883531507444</c:v>
                </c:pt>
                <c:pt idx="892">
                  <c:v>4.8946780322056389</c:v>
                </c:pt>
                <c:pt idx="893">
                  <c:v>6.0859875182900653</c:v>
                </c:pt>
                <c:pt idx="894">
                  <c:v>4.071537229956494</c:v>
                </c:pt>
                <c:pt idx="895">
                  <c:v>5.0762892116051761</c:v>
                </c:pt>
                <c:pt idx="896">
                  <c:v>4.9652310584216712</c:v>
                </c:pt>
                <c:pt idx="897">
                  <c:v>6.959391390476414</c:v>
                </c:pt>
                <c:pt idx="898">
                  <c:v>6.09071639422221</c:v>
                </c:pt>
                <c:pt idx="899">
                  <c:v>6.0470404938803224</c:v>
                </c:pt>
                <c:pt idx="900">
                  <c:v>7.0601493640390673</c:v>
                </c:pt>
                <c:pt idx="901">
                  <c:v>6.1641700429508361</c:v>
                </c:pt>
                <c:pt idx="902">
                  <c:v>7.1149391367029571</c:v>
                </c:pt>
                <c:pt idx="903">
                  <c:v>4.8354568202326949</c:v>
                </c:pt>
                <c:pt idx="904">
                  <c:v>4.9854366724571113</c:v>
                </c:pt>
                <c:pt idx="905">
                  <c:v>6.0306160859396494</c:v>
                </c:pt>
                <c:pt idx="906">
                  <c:v>5.8142483484516987</c:v>
                </c:pt>
                <c:pt idx="907">
                  <c:v>6.0442836243940237</c:v>
                </c:pt>
                <c:pt idx="908">
                  <c:v>4.6804394592949006</c:v>
                </c:pt>
                <c:pt idx="909">
                  <c:v>5.863265140007738</c:v>
                </c:pt>
                <c:pt idx="910">
                  <c:v>4.8624745337823629</c:v>
                </c:pt>
                <c:pt idx="911">
                  <c:v>4.9438793167837964</c:v>
                </c:pt>
                <c:pt idx="912">
                  <c:v>5.7433109205260191</c:v>
                </c:pt>
                <c:pt idx="913">
                  <c:v>6.1871972408344833</c:v>
                </c:pt>
                <c:pt idx="914">
                  <c:v>4.9824725284955491</c:v>
                </c:pt>
                <c:pt idx="915">
                  <c:v>6.2691389178725165</c:v>
                </c:pt>
                <c:pt idx="916">
                  <c:v>5.0204197926301886</c:v>
                </c:pt>
                <c:pt idx="917">
                  <c:v>5.00337170300197</c:v>
                </c:pt>
                <c:pt idx="918">
                  <c:v>5.0079438060825865</c:v>
                </c:pt>
                <c:pt idx="919">
                  <c:v>5.6966615132923168</c:v>
                </c:pt>
                <c:pt idx="920">
                  <c:v>6.1076127106342115</c:v>
                </c:pt>
                <c:pt idx="921">
                  <c:v>7.0739069323434629</c:v>
                </c:pt>
                <c:pt idx="922">
                  <c:v>5.0312090146245625</c:v>
                </c:pt>
                <c:pt idx="923">
                  <c:v>4.7094172847978832</c:v>
                </c:pt>
                <c:pt idx="924">
                  <c:v>6.7958250194545382</c:v>
                </c:pt>
                <c:pt idx="925">
                  <c:v>6.990700684606252</c:v>
                </c:pt>
                <c:pt idx="926">
                  <c:v>6.970441882034244</c:v>
                </c:pt>
                <c:pt idx="927">
                  <c:v>6.0299929431429211</c:v>
                </c:pt>
                <c:pt idx="928">
                  <c:v>6.312741385739864</c:v>
                </c:pt>
                <c:pt idx="929">
                  <c:v>6.053224781560635</c:v>
                </c:pt>
                <c:pt idx="930">
                  <c:v>5.174974989632152</c:v>
                </c:pt>
                <c:pt idx="931">
                  <c:v>5.1747556327084725</c:v>
                </c:pt>
                <c:pt idx="932">
                  <c:v>5.0801015988579152</c:v>
                </c:pt>
                <c:pt idx="933">
                  <c:v>5.7619396679183419</c:v>
                </c:pt>
                <c:pt idx="934">
                  <c:v>5.9213350058212937</c:v>
                </c:pt>
                <c:pt idx="935">
                  <c:v>6.0514727486381394</c:v>
                </c:pt>
                <c:pt idx="936">
                  <c:v>5.0174263034462028</c:v>
                </c:pt>
                <c:pt idx="937">
                  <c:v>5.9095902500144684</c:v>
                </c:pt>
                <c:pt idx="938">
                  <c:v>7.017391779112593</c:v>
                </c:pt>
                <c:pt idx="939">
                  <c:v>5.0872515108566176</c:v>
                </c:pt>
                <c:pt idx="940">
                  <c:v>5.9071605665773559</c:v>
                </c:pt>
                <c:pt idx="941">
                  <c:v>5.1005728985179317</c:v>
                </c:pt>
                <c:pt idx="942">
                  <c:v>4.8685566156969546</c:v>
                </c:pt>
                <c:pt idx="943">
                  <c:v>6.156165719566113</c:v>
                </c:pt>
                <c:pt idx="944">
                  <c:v>5.8647693934870828</c:v>
                </c:pt>
                <c:pt idx="945">
                  <c:v>5.9843310335340147</c:v>
                </c:pt>
                <c:pt idx="946">
                  <c:v>7.0155951698143131</c:v>
                </c:pt>
                <c:pt idx="947">
                  <c:v>6.1119619242546346</c:v>
                </c:pt>
                <c:pt idx="948">
                  <c:v>5.9713134176075293</c:v>
                </c:pt>
                <c:pt idx="949">
                  <c:v>5.1921044650501988</c:v>
                </c:pt>
                <c:pt idx="950">
                  <c:v>4.9517360047542516</c:v>
                </c:pt>
                <c:pt idx="951">
                  <c:v>4.8640810556490699</c:v>
                </c:pt>
                <c:pt idx="952">
                  <c:v>4.9567643580437837</c:v>
                </c:pt>
                <c:pt idx="953">
                  <c:v>5.8654044329838504</c:v>
                </c:pt>
                <c:pt idx="954">
                  <c:v>4.988333021295885</c:v>
                </c:pt>
                <c:pt idx="955">
                  <c:v>6.037842134619325</c:v>
                </c:pt>
                <c:pt idx="956">
                  <c:v>4.9807179799714874</c:v>
                </c:pt>
                <c:pt idx="957">
                  <c:v>6.1216887893635166</c:v>
                </c:pt>
                <c:pt idx="958">
                  <c:v>4.920965192217726</c:v>
                </c:pt>
                <c:pt idx="959">
                  <c:v>5.8224171278872481</c:v>
                </c:pt>
                <c:pt idx="960">
                  <c:v>7.1666342108251042</c:v>
                </c:pt>
                <c:pt idx="961">
                  <c:v>6.8545225042416424</c:v>
                </c:pt>
                <c:pt idx="962">
                  <c:v>5.9519490479133728</c:v>
                </c:pt>
                <c:pt idx="963">
                  <c:v>6.0461278506257115</c:v>
                </c:pt>
                <c:pt idx="964">
                  <c:v>4.8565759163348075</c:v>
                </c:pt>
                <c:pt idx="965">
                  <c:v>5.908935374250512</c:v>
                </c:pt>
                <c:pt idx="966">
                  <c:v>5.7845222864471335</c:v>
                </c:pt>
                <c:pt idx="967">
                  <c:v>6.065377642791554</c:v>
                </c:pt>
                <c:pt idx="968">
                  <c:v>6.0504867611032829</c:v>
                </c:pt>
                <c:pt idx="969">
                  <c:v>7.0101787763309931</c:v>
                </c:pt>
                <c:pt idx="970">
                  <c:v>4.9968760136781425</c:v>
                </c:pt>
                <c:pt idx="971">
                  <c:v>4.9214411420843795</c:v>
                </c:pt>
                <c:pt idx="972">
                  <c:v>7.0553312560323498</c:v>
                </c:pt>
                <c:pt idx="973">
                  <c:v>4.9716817422120565</c:v>
                </c:pt>
                <c:pt idx="974">
                  <c:v>4.839310295791619</c:v>
                </c:pt>
                <c:pt idx="975">
                  <c:v>6.0168149141882461</c:v>
                </c:pt>
                <c:pt idx="976">
                  <c:v>5.0547430271997049</c:v>
                </c:pt>
                <c:pt idx="977">
                  <c:v>6.0755411528715326</c:v>
                </c:pt>
                <c:pt idx="978">
                  <c:v>5.1546814934983587</c:v>
                </c:pt>
                <c:pt idx="979">
                  <c:v>5.1836480298721712</c:v>
                </c:pt>
                <c:pt idx="980">
                  <c:v>5.0004366801315658</c:v>
                </c:pt>
                <c:pt idx="981">
                  <c:v>4.9802795943895353</c:v>
                </c:pt>
                <c:pt idx="982">
                  <c:v>5.0451624051801991</c:v>
                </c:pt>
                <c:pt idx="983">
                  <c:v>6.1000362388280109</c:v>
                </c:pt>
                <c:pt idx="984">
                  <c:v>4.9029631448508253</c:v>
                </c:pt>
                <c:pt idx="985">
                  <c:v>6.0547112734188975</c:v>
                </c:pt>
                <c:pt idx="986">
                  <c:v>4.9525064308429583</c:v>
                </c:pt>
                <c:pt idx="987">
                  <c:v>5.8488194596365819</c:v>
                </c:pt>
                <c:pt idx="988">
                  <c:v>6.0460220774941016</c:v>
                </c:pt>
                <c:pt idx="989">
                  <c:v>4.9966243890728173</c:v>
                </c:pt>
                <c:pt idx="990">
                  <c:v>5.9987729705280586</c:v>
                </c:pt>
                <c:pt idx="991">
                  <c:v>4.9817285880514799</c:v>
                </c:pt>
                <c:pt idx="992">
                  <c:v>6.0300810672983651</c:v>
                </c:pt>
                <c:pt idx="993">
                  <c:v>5.0245837035817873</c:v>
                </c:pt>
                <c:pt idx="994">
                  <c:v>4.6962356533655987</c:v>
                </c:pt>
                <c:pt idx="995">
                  <c:v>6.0806397384360347</c:v>
                </c:pt>
                <c:pt idx="996">
                  <c:v>6.0384929110691239</c:v>
                </c:pt>
                <c:pt idx="997">
                  <c:v>4.8857231785234889</c:v>
                </c:pt>
                <c:pt idx="998">
                  <c:v>5.9624120036314681</c:v>
                </c:pt>
                <c:pt idx="999">
                  <c:v>6.0876370056968581</c:v>
                </c:pt>
                <c:pt idx="1000">
                  <c:v>6.00750628026596</c:v>
                </c:pt>
                <c:pt idx="1001">
                  <c:v>6.0598575542225008</c:v>
                </c:pt>
                <c:pt idx="1002">
                  <c:v>6.118437401325262</c:v>
                </c:pt>
                <c:pt idx="1003">
                  <c:v>5.9781909117473671</c:v>
                </c:pt>
                <c:pt idx="1004">
                  <c:v>6.0182884812290451</c:v>
                </c:pt>
                <c:pt idx="1005">
                  <c:v>5.037060460229128</c:v>
                </c:pt>
                <c:pt idx="1006">
                  <c:v>6.034238654538699</c:v>
                </c:pt>
                <c:pt idx="1007">
                  <c:v>5.1357186012924458</c:v>
                </c:pt>
                <c:pt idx="1008">
                  <c:v>5.9683448823380134</c:v>
                </c:pt>
                <c:pt idx="1009">
                  <c:v>5.0172715460527808</c:v>
                </c:pt>
                <c:pt idx="1010">
                  <c:v>4.9366325934173743</c:v>
                </c:pt>
                <c:pt idx="1011">
                  <c:v>4.8600545734431915</c:v>
                </c:pt>
                <c:pt idx="1012">
                  <c:v>4.9682970041332046</c:v>
                </c:pt>
                <c:pt idx="1013">
                  <c:v>5.0105608574516065</c:v>
                </c:pt>
                <c:pt idx="1014">
                  <c:v>4.9423992236916554</c:v>
                </c:pt>
                <c:pt idx="1015">
                  <c:v>5.9445190236830756</c:v>
                </c:pt>
                <c:pt idx="1016">
                  <c:v>6.0801427988981338</c:v>
                </c:pt>
                <c:pt idx="1017">
                  <c:v>5.1329012867515802</c:v>
                </c:pt>
                <c:pt idx="1018">
                  <c:v>6.004748960132086</c:v>
                </c:pt>
                <c:pt idx="1019">
                  <c:v>4.9595290805728469</c:v>
                </c:pt>
                <c:pt idx="1020">
                  <c:v>5.9740008951881265</c:v>
                </c:pt>
                <c:pt idx="1021">
                  <c:v>5.0004176042915685</c:v>
                </c:pt>
                <c:pt idx="1022">
                  <c:v>6.2001474738687818</c:v>
                </c:pt>
                <c:pt idx="1023">
                  <c:v>4.8819066741586612</c:v>
                </c:pt>
                <c:pt idx="1024">
                  <c:v>4.9495867344097784</c:v>
                </c:pt>
                <c:pt idx="1025">
                  <c:v>5.9159248409278229</c:v>
                </c:pt>
                <c:pt idx="1026">
                  <c:v>5.0048953091008892</c:v>
                </c:pt>
                <c:pt idx="1027">
                  <c:v>6.053598410237119</c:v>
                </c:pt>
                <c:pt idx="1028">
                  <c:v>6.0332816011095884</c:v>
                </c:pt>
                <c:pt idx="1029">
                  <c:v>5.1112891395629223</c:v>
                </c:pt>
                <c:pt idx="1030">
                  <c:v>4.9223358018006733</c:v>
                </c:pt>
                <c:pt idx="1031">
                  <c:v>4.8852460864742495</c:v>
                </c:pt>
                <c:pt idx="1032">
                  <c:v>6.1218974448867742</c:v>
                </c:pt>
                <c:pt idx="1033">
                  <c:v>5.0881465611073518</c:v>
                </c:pt>
                <c:pt idx="1034">
                  <c:v>5.1133327137901867</c:v>
                </c:pt>
                <c:pt idx="1035">
                  <c:v>4.9415019277643166</c:v>
                </c:pt>
                <c:pt idx="1036">
                  <c:v>6.0480171780265195</c:v>
                </c:pt>
                <c:pt idx="1037">
                  <c:v>5.2435714191000455</c:v>
                </c:pt>
                <c:pt idx="1038">
                  <c:v>4.8690930718758567</c:v>
                </c:pt>
                <c:pt idx="1039">
                  <c:v>5.9460558520155624</c:v>
                </c:pt>
                <c:pt idx="1040">
                  <c:v>6.9279696608418897</c:v>
                </c:pt>
                <c:pt idx="1041">
                  <c:v>6.8402356024202238</c:v>
                </c:pt>
                <c:pt idx="1042">
                  <c:v>6.0364155301419746</c:v>
                </c:pt>
                <c:pt idx="1043">
                  <c:v>4.9785560646985081</c:v>
                </c:pt>
                <c:pt idx="1044">
                  <c:v>4.9392511284872533</c:v>
                </c:pt>
                <c:pt idx="1045">
                  <c:v>5.1020693786701008</c:v>
                </c:pt>
                <c:pt idx="1046">
                  <c:v>4.8769594640057843</c:v>
                </c:pt>
                <c:pt idx="1047">
                  <c:v>6.0933982771622617</c:v>
                </c:pt>
                <c:pt idx="1048">
                  <c:v>5.0848456254239593</c:v>
                </c:pt>
                <c:pt idx="1049">
                  <c:v>6.1289201227865018</c:v>
                </c:pt>
                <c:pt idx="1050">
                  <c:v>5.061692310818291</c:v>
                </c:pt>
                <c:pt idx="1051">
                  <c:v>6.0369344369402622</c:v>
                </c:pt>
                <c:pt idx="1052">
                  <c:v>5.8428009143610389</c:v>
                </c:pt>
                <c:pt idx="1053">
                  <c:v>6.0150586130096784</c:v>
                </c:pt>
                <c:pt idx="1054">
                  <c:v>5.9586639380716191</c:v>
                </c:pt>
                <c:pt idx="1055">
                  <c:v>4.8692216019165215</c:v>
                </c:pt>
                <c:pt idx="1056">
                  <c:v>5.8464858747693063</c:v>
                </c:pt>
                <c:pt idx="1057">
                  <c:v>6.1958178944125901</c:v>
                </c:pt>
                <c:pt idx="1058">
                  <c:v>5.9768001325465256</c:v>
                </c:pt>
                <c:pt idx="1059">
                  <c:v>5.0355992473164193</c:v>
                </c:pt>
                <c:pt idx="1060">
                  <c:v>7.03602977681029</c:v>
                </c:pt>
                <c:pt idx="1061">
                  <c:v>7.2141396315667778</c:v>
                </c:pt>
                <c:pt idx="1062">
                  <c:v>5.942366251177579</c:v>
                </c:pt>
                <c:pt idx="1063">
                  <c:v>6.994436044260433</c:v>
                </c:pt>
                <c:pt idx="1064">
                  <c:v>6.0101999717973174</c:v>
                </c:pt>
                <c:pt idx="1065">
                  <c:v>6.920836631288986</c:v>
                </c:pt>
                <c:pt idx="1066">
                  <c:v>5.0941478421408126</c:v>
                </c:pt>
                <c:pt idx="1067">
                  <c:v>6.9227427207498522</c:v>
                </c:pt>
                <c:pt idx="1068">
                  <c:v>5.7758711596886636</c:v>
                </c:pt>
                <c:pt idx="1069">
                  <c:v>6.0936985955903538</c:v>
                </c:pt>
                <c:pt idx="1070">
                  <c:v>6.0399325857778914</c:v>
                </c:pt>
                <c:pt idx="1071">
                  <c:v>5.9436313347603509</c:v>
                </c:pt>
                <c:pt idx="1072">
                  <c:v>6.0937451638781353</c:v>
                </c:pt>
                <c:pt idx="1073">
                  <c:v>6.9709166776727223</c:v>
                </c:pt>
                <c:pt idx="1074">
                  <c:v>6.0497560704099413</c:v>
                </c:pt>
                <c:pt idx="1075">
                  <c:v>7.048980394854695</c:v>
                </c:pt>
                <c:pt idx="1076">
                  <c:v>4.9620480362098647</c:v>
                </c:pt>
                <c:pt idx="1077">
                  <c:v>5.8404736875863117</c:v>
                </c:pt>
                <c:pt idx="1078">
                  <c:v>6.0149249696513252</c:v>
                </c:pt>
                <c:pt idx="1079">
                  <c:v>1.8020404022741703</c:v>
                </c:pt>
                <c:pt idx="1080">
                  <c:v>4.9608694385285821</c:v>
                </c:pt>
                <c:pt idx="1081">
                  <c:v>2.0842096056649915</c:v>
                </c:pt>
                <c:pt idx="1082">
                  <c:v>2.0579764488184389</c:v>
                </c:pt>
                <c:pt idx="1083">
                  <c:v>4.9480537703392278</c:v>
                </c:pt>
                <c:pt idx="1084">
                  <c:v>4.9716474125309302</c:v>
                </c:pt>
                <c:pt idx="1085">
                  <c:v>4.7815276216284008</c:v>
                </c:pt>
                <c:pt idx="1086">
                  <c:v>5.0884955727283394</c:v>
                </c:pt>
                <c:pt idx="1087">
                  <c:v>4.8789376459622398</c:v>
                </c:pt>
                <c:pt idx="1088">
                  <c:v>4.0228247636492869</c:v>
                </c:pt>
                <c:pt idx="1089">
                  <c:v>5.0087963483019209</c:v>
                </c:pt>
                <c:pt idx="1090">
                  <c:v>3.9926765530203046</c:v>
                </c:pt>
                <c:pt idx="1091">
                  <c:v>4.9913314043258907</c:v>
                </c:pt>
                <c:pt idx="1092">
                  <c:v>7.0678872191635858</c:v>
                </c:pt>
                <c:pt idx="1093">
                  <c:v>3.8762940355032804</c:v>
                </c:pt>
                <c:pt idx="1094">
                  <c:v>5.969322668158707</c:v>
                </c:pt>
                <c:pt idx="1095">
                  <c:v>6.1297201505746903</c:v>
                </c:pt>
                <c:pt idx="1096">
                  <c:v>6.8308096943748362</c:v>
                </c:pt>
                <c:pt idx="1097">
                  <c:v>6.9983263017224955</c:v>
                </c:pt>
                <c:pt idx="1098">
                  <c:v>6.0903983451463075</c:v>
                </c:pt>
                <c:pt idx="1099">
                  <c:v>6.0540902055188912</c:v>
                </c:pt>
                <c:pt idx="1100">
                  <c:v>6.0275675224655831</c:v>
                </c:pt>
                <c:pt idx="1101">
                  <c:v>6.1304209594871697</c:v>
                </c:pt>
                <c:pt idx="1102">
                  <c:v>6.9535174674094327</c:v>
                </c:pt>
                <c:pt idx="1103">
                  <c:v>6.1367203196466846</c:v>
                </c:pt>
                <c:pt idx="1104">
                  <c:v>5.0017461076024583</c:v>
                </c:pt>
                <c:pt idx="1105">
                  <c:v>6.0006581460278072</c:v>
                </c:pt>
                <c:pt idx="1106">
                  <c:v>6.8578150117009073</c:v>
                </c:pt>
                <c:pt idx="1107">
                  <c:v>5.9670126782502821</c:v>
                </c:pt>
                <c:pt idx="1108">
                  <c:v>6.0370172988503681</c:v>
                </c:pt>
                <c:pt idx="1109">
                  <c:v>4.9646233495839143</c:v>
                </c:pt>
                <c:pt idx="1110">
                  <c:v>5.0113204694098581</c:v>
                </c:pt>
                <c:pt idx="1111">
                  <c:v>4.8511085198431552</c:v>
                </c:pt>
                <c:pt idx="1112">
                  <c:v>4.9958837406795205</c:v>
                </c:pt>
                <c:pt idx="1113">
                  <c:v>5.0639348083019051</c:v>
                </c:pt>
                <c:pt idx="1114">
                  <c:v>6.0695405520546863</c:v>
                </c:pt>
                <c:pt idx="1115">
                  <c:v>5.1033911301702064</c:v>
                </c:pt>
                <c:pt idx="1116">
                  <c:v>4.0188097688577864</c:v>
                </c:pt>
                <c:pt idx="1117">
                  <c:v>5.1182746610944214</c:v>
                </c:pt>
                <c:pt idx="1118">
                  <c:v>4.9880447994259285</c:v>
                </c:pt>
                <c:pt idx="1119">
                  <c:v>6.8322729272032952</c:v>
                </c:pt>
                <c:pt idx="1120">
                  <c:v>5.1579672963696765</c:v>
                </c:pt>
                <c:pt idx="1121">
                  <c:v>5.0989848067206358</c:v>
                </c:pt>
                <c:pt idx="1122">
                  <c:v>4.8097196849473303</c:v>
                </c:pt>
                <c:pt idx="1123">
                  <c:v>5.1994404060124344</c:v>
                </c:pt>
                <c:pt idx="1124">
                  <c:v>4.7613275411598508</c:v>
                </c:pt>
                <c:pt idx="1125">
                  <c:v>6.0459858455444291</c:v>
                </c:pt>
                <c:pt idx="1126">
                  <c:v>5.8297177066167007</c:v>
                </c:pt>
                <c:pt idx="1127">
                  <c:v>6.0142923320201715</c:v>
                </c:pt>
                <c:pt idx="1128">
                  <c:v>6.969184187942087</c:v>
                </c:pt>
                <c:pt idx="1129">
                  <c:v>6.0390193979694047</c:v>
                </c:pt>
                <c:pt idx="1130">
                  <c:v>6.1264251904412861</c:v>
                </c:pt>
                <c:pt idx="1131">
                  <c:v>4.9596808429260513</c:v>
                </c:pt>
                <c:pt idx="1132">
                  <c:v>4.9198843581666987</c:v>
                </c:pt>
                <c:pt idx="1133">
                  <c:v>5.1170589232618093</c:v>
                </c:pt>
                <c:pt idx="1134">
                  <c:v>5.9140812401904794</c:v>
                </c:pt>
                <c:pt idx="1135">
                  <c:v>5.9634419156769241</c:v>
                </c:pt>
                <c:pt idx="1136">
                  <c:v>4.855980348851431</c:v>
                </c:pt>
                <c:pt idx="1137">
                  <c:v>6.2731576660144057</c:v>
                </c:pt>
                <c:pt idx="1138">
                  <c:v>6.0494790695568303</c:v>
                </c:pt>
                <c:pt idx="1139">
                  <c:v>4.9291168063837816</c:v>
                </c:pt>
                <c:pt idx="1140">
                  <c:v>5.7806460050958348</c:v>
                </c:pt>
                <c:pt idx="1141">
                  <c:v>4.8952100478639116</c:v>
                </c:pt>
                <c:pt idx="1142">
                  <c:v>4.849459012689521</c:v>
                </c:pt>
                <c:pt idx="1143">
                  <c:v>1.880461267430666</c:v>
                </c:pt>
                <c:pt idx="1144">
                  <c:v>4.9628394212364748</c:v>
                </c:pt>
                <c:pt idx="1145">
                  <c:v>4.9883034826306547</c:v>
                </c:pt>
                <c:pt idx="1146">
                  <c:v>4.9571178109552472</c:v>
                </c:pt>
                <c:pt idx="1147">
                  <c:v>4.9096935146834015</c:v>
                </c:pt>
                <c:pt idx="1148">
                  <c:v>4.9176829499414758</c:v>
                </c:pt>
                <c:pt idx="1149">
                  <c:v>5.9930982989444725</c:v>
                </c:pt>
                <c:pt idx="1150">
                  <c:v>5.8668775259382651</c:v>
                </c:pt>
                <c:pt idx="1151">
                  <c:v>6.1857443889640011</c:v>
                </c:pt>
                <c:pt idx="1152">
                  <c:v>6.172905002901544</c:v>
                </c:pt>
                <c:pt idx="1153">
                  <c:v>5.9684888083657297</c:v>
                </c:pt>
                <c:pt idx="1154">
                  <c:v>6.1545983028293145</c:v>
                </c:pt>
                <c:pt idx="1155">
                  <c:v>5.9736281795041517</c:v>
                </c:pt>
                <c:pt idx="1156">
                  <c:v>5.014424150386648</c:v>
                </c:pt>
                <c:pt idx="1157">
                  <c:v>4.7742834610029083</c:v>
                </c:pt>
                <c:pt idx="1158">
                  <c:v>5.9246862839447099</c:v>
                </c:pt>
                <c:pt idx="1159">
                  <c:v>5.9905533351908407</c:v>
                </c:pt>
                <c:pt idx="1160">
                  <c:v>6.0101028293552918</c:v>
                </c:pt>
                <c:pt idx="1161">
                  <c:v>6.0927237371024408</c:v>
                </c:pt>
                <c:pt idx="1162">
                  <c:v>4.9876894904153897</c:v>
                </c:pt>
                <c:pt idx="1163">
                  <c:v>4.8698358071745806</c:v>
                </c:pt>
                <c:pt idx="1164">
                  <c:v>6.1100311959223275</c:v>
                </c:pt>
                <c:pt idx="1165">
                  <c:v>5.1078641938878873</c:v>
                </c:pt>
                <c:pt idx="1166">
                  <c:v>6.8102438011207695</c:v>
                </c:pt>
                <c:pt idx="1167">
                  <c:v>5.9125924875234155</c:v>
                </c:pt>
                <c:pt idx="1168">
                  <c:v>5.0470289887937501</c:v>
                </c:pt>
                <c:pt idx="1169">
                  <c:v>5.9826063123410398</c:v>
                </c:pt>
                <c:pt idx="1170">
                  <c:v>4.9539123793248567</c:v>
                </c:pt>
                <c:pt idx="1171">
                  <c:v>5.793857577840412</c:v>
                </c:pt>
                <c:pt idx="1172">
                  <c:v>4.9944382091493633</c:v>
                </c:pt>
                <c:pt idx="1173">
                  <c:v>5.9913409313068495</c:v>
                </c:pt>
                <c:pt idx="1174">
                  <c:v>5.1529224057098455</c:v>
                </c:pt>
                <c:pt idx="1175">
                  <c:v>5.8551416207356324</c:v>
                </c:pt>
                <c:pt idx="1176">
                  <c:v>5.1469082790601624</c:v>
                </c:pt>
                <c:pt idx="1177">
                  <c:v>5.8309547820159757</c:v>
                </c:pt>
                <c:pt idx="1178">
                  <c:v>5.9044394537169822</c:v>
                </c:pt>
                <c:pt idx="1179">
                  <c:v>4.8584504402623967</c:v>
                </c:pt>
                <c:pt idx="1180">
                  <c:v>5.0791902510254676</c:v>
                </c:pt>
                <c:pt idx="1181">
                  <c:v>5.129236014518904</c:v>
                </c:pt>
                <c:pt idx="1182">
                  <c:v>5.1237175345299901</c:v>
                </c:pt>
                <c:pt idx="1183">
                  <c:v>4.8603742478369787</c:v>
                </c:pt>
                <c:pt idx="1184">
                  <c:v>5.1397845164377811</c:v>
                </c:pt>
                <c:pt idx="1185">
                  <c:v>5.8918350631344225</c:v>
                </c:pt>
                <c:pt idx="1186">
                  <c:v>5.8780112019879684</c:v>
                </c:pt>
                <c:pt idx="1187">
                  <c:v>4.7807559994769901</c:v>
                </c:pt>
                <c:pt idx="1188">
                  <c:v>4.9999332308235553</c:v>
                </c:pt>
                <c:pt idx="1189">
                  <c:v>5.1128366620468526</c:v>
                </c:pt>
                <c:pt idx="1190">
                  <c:v>4.9679515436143955</c:v>
                </c:pt>
                <c:pt idx="1191">
                  <c:v>6.1287444069815438</c:v>
                </c:pt>
                <c:pt idx="1192">
                  <c:v>5.2343301958928157</c:v>
                </c:pt>
                <c:pt idx="1193">
                  <c:v>5.8796517497125862</c:v>
                </c:pt>
                <c:pt idx="1194">
                  <c:v>6.0647752622294782</c:v>
                </c:pt>
                <c:pt idx="1195">
                  <c:v>6.0470114279335725</c:v>
                </c:pt>
                <c:pt idx="1196">
                  <c:v>5.0223933274248633</c:v>
                </c:pt>
                <c:pt idx="1197">
                  <c:v>5.9684086545060433</c:v>
                </c:pt>
                <c:pt idx="1198">
                  <c:v>6.11181466536146</c:v>
                </c:pt>
                <c:pt idx="1199">
                  <c:v>4.9216550036654461</c:v>
                </c:pt>
                <c:pt idx="1200">
                  <c:v>4.9846980866382156</c:v>
                </c:pt>
                <c:pt idx="1201">
                  <c:v>5.9136421376089405</c:v>
                </c:pt>
                <c:pt idx="1202">
                  <c:v>4.9752609183981242</c:v>
                </c:pt>
                <c:pt idx="1203">
                  <c:v>5.9963957675584654</c:v>
                </c:pt>
                <c:pt idx="1204">
                  <c:v>5.8750779725188238</c:v>
                </c:pt>
                <c:pt idx="1205">
                  <c:v>5.9506684984529459</c:v>
                </c:pt>
                <c:pt idx="1206">
                  <c:v>6.0167739971013638</c:v>
                </c:pt>
                <c:pt idx="1207">
                  <c:v>6.9727659793367502</c:v>
                </c:pt>
                <c:pt idx="1208">
                  <c:v>4.9480154595479009</c:v>
                </c:pt>
                <c:pt idx="1209">
                  <c:v>6.0138021592680753</c:v>
                </c:pt>
                <c:pt idx="1210">
                  <c:v>5.0341250447693167</c:v>
                </c:pt>
                <c:pt idx="1211">
                  <c:v>4.8707639023168605</c:v>
                </c:pt>
                <c:pt idx="1212">
                  <c:v>6.9618781097786879</c:v>
                </c:pt>
                <c:pt idx="1213">
                  <c:v>5.9142751381327274</c:v>
                </c:pt>
                <c:pt idx="1214">
                  <c:v>6.1428492939065595</c:v>
                </c:pt>
                <c:pt idx="1215">
                  <c:v>4.8967339175505682</c:v>
                </c:pt>
                <c:pt idx="1216">
                  <c:v>6.1237999196329227</c:v>
                </c:pt>
                <c:pt idx="1217">
                  <c:v>4.8211062624990495</c:v>
                </c:pt>
                <c:pt idx="1218">
                  <c:v>5.9965030496854554</c:v>
                </c:pt>
                <c:pt idx="1219">
                  <c:v>6.0775477176425428</c:v>
                </c:pt>
                <c:pt idx="1220">
                  <c:v>5.9732250081347678</c:v>
                </c:pt>
                <c:pt idx="1221">
                  <c:v>5.0133360421380111</c:v>
                </c:pt>
                <c:pt idx="1222">
                  <c:v>6.0034424187009767</c:v>
                </c:pt>
                <c:pt idx="1223">
                  <c:v>4.9347105635491788</c:v>
                </c:pt>
                <c:pt idx="1224">
                  <c:v>6.0422732372380015</c:v>
                </c:pt>
                <c:pt idx="1225">
                  <c:v>6.0384262018229302</c:v>
                </c:pt>
                <c:pt idx="1226">
                  <c:v>6.0778971374403152</c:v>
                </c:pt>
                <c:pt idx="1227">
                  <c:v>5.9804993965635198</c:v>
                </c:pt>
                <c:pt idx="1228">
                  <c:v>4.9215229964939304</c:v>
                </c:pt>
                <c:pt idx="1229">
                  <c:v>6.0312728741344577</c:v>
                </c:pt>
                <c:pt idx="1230">
                  <c:v>4.9469514960824377</c:v>
                </c:pt>
                <c:pt idx="1231">
                  <c:v>6.0320368389289545</c:v>
                </c:pt>
                <c:pt idx="1232">
                  <c:v>4.9861494589567554</c:v>
                </c:pt>
                <c:pt idx="1233">
                  <c:v>5.9336837570864471</c:v>
                </c:pt>
                <c:pt idx="1234">
                  <c:v>5.9393038349390039</c:v>
                </c:pt>
                <c:pt idx="1235">
                  <c:v>5.161600397741255</c:v>
                </c:pt>
                <c:pt idx="1236">
                  <c:v>7.1799318068910338</c:v>
                </c:pt>
                <c:pt idx="1237">
                  <c:v>5.8982305502841221</c:v>
                </c:pt>
                <c:pt idx="1238">
                  <c:v>5.0976875196955822</c:v>
                </c:pt>
                <c:pt idx="1239">
                  <c:v>5.0279030556485784</c:v>
                </c:pt>
                <c:pt idx="1240">
                  <c:v>5.0727419810020855</c:v>
                </c:pt>
                <c:pt idx="1241">
                  <c:v>6.0374538485421629</c:v>
                </c:pt>
                <c:pt idx="1242">
                  <c:v>4.886885684819811</c:v>
                </c:pt>
                <c:pt idx="1243">
                  <c:v>4.9880982104190048</c:v>
                </c:pt>
                <c:pt idx="1244">
                  <c:v>5.8493883801285689</c:v>
                </c:pt>
                <c:pt idx="1245">
                  <c:v>6.1805386434566003</c:v>
                </c:pt>
                <c:pt idx="1246">
                  <c:v>5.9396342783185592</c:v>
                </c:pt>
                <c:pt idx="1247">
                  <c:v>6.2160644657873334</c:v>
                </c:pt>
                <c:pt idx="1248">
                  <c:v>5.9825210356691496</c:v>
                </c:pt>
                <c:pt idx="1249">
                  <c:v>5.1369690041724763</c:v>
                </c:pt>
                <c:pt idx="1250">
                  <c:v>5.0221966236123219</c:v>
                </c:pt>
                <c:pt idx="1251">
                  <c:v>6.0154054347101535</c:v>
                </c:pt>
                <c:pt idx="1252">
                  <c:v>6.0867566745558239</c:v>
                </c:pt>
                <c:pt idx="1253">
                  <c:v>4.873243441785422</c:v>
                </c:pt>
                <c:pt idx="1254">
                  <c:v>4.9957323869107446</c:v>
                </c:pt>
                <c:pt idx="1255">
                  <c:v>4.889870112321975</c:v>
                </c:pt>
                <c:pt idx="1256">
                  <c:v>4.9599819746119298</c:v>
                </c:pt>
                <c:pt idx="1257">
                  <c:v>5.171621569218896</c:v>
                </c:pt>
                <c:pt idx="1258">
                  <c:v>6.8553231298788431</c:v>
                </c:pt>
                <c:pt idx="1259">
                  <c:v>6.0482897909055104</c:v>
                </c:pt>
                <c:pt idx="1260">
                  <c:v>6.0579560362997871</c:v>
                </c:pt>
                <c:pt idx="1261">
                  <c:v>4.8199923853267377</c:v>
                </c:pt>
                <c:pt idx="1262">
                  <c:v>4.9046135088136902</c:v>
                </c:pt>
                <c:pt idx="1263">
                  <c:v>6.2039967967010679</c:v>
                </c:pt>
                <c:pt idx="1264">
                  <c:v>4.0240260664449075</c:v>
                </c:pt>
                <c:pt idx="1265">
                  <c:v>6.0061902554062243</c:v>
                </c:pt>
                <c:pt idx="1266">
                  <c:v>5.0310594323256046</c:v>
                </c:pt>
                <c:pt idx="1267">
                  <c:v>5.0517036643949256</c:v>
                </c:pt>
                <c:pt idx="1268">
                  <c:v>4.7861088688639457</c:v>
                </c:pt>
                <c:pt idx="1269">
                  <c:v>4.9463953038497817</c:v>
                </c:pt>
                <c:pt idx="1270">
                  <c:v>5.9953765175932272</c:v>
                </c:pt>
                <c:pt idx="1271">
                  <c:v>4.9911525067395255</c:v>
                </c:pt>
                <c:pt idx="1272">
                  <c:v>5.0828147471179834</c:v>
                </c:pt>
                <c:pt idx="1273">
                  <c:v>4.9806501227196183</c:v>
                </c:pt>
                <c:pt idx="1274">
                  <c:v>4.9942868029490546</c:v>
                </c:pt>
                <c:pt idx="1275">
                  <c:v>4.9345697470396814</c:v>
                </c:pt>
                <c:pt idx="1276">
                  <c:v>5.9774752413790813</c:v>
                </c:pt>
                <c:pt idx="1277">
                  <c:v>5.8637488992337143</c:v>
                </c:pt>
                <c:pt idx="1278">
                  <c:v>4.9277256376821423</c:v>
                </c:pt>
                <c:pt idx="1279">
                  <c:v>4.9255483004024754</c:v>
                </c:pt>
                <c:pt idx="1280">
                  <c:v>5.0822149117891469</c:v>
                </c:pt>
                <c:pt idx="1281">
                  <c:v>4.9102393078799569</c:v>
                </c:pt>
                <c:pt idx="1282">
                  <c:v>5.0359681131119878</c:v>
                </c:pt>
                <c:pt idx="1283">
                  <c:v>6.0722855727548426</c:v>
                </c:pt>
                <c:pt idx="1284">
                  <c:v>6.0295110839206876</c:v>
                </c:pt>
                <c:pt idx="1285">
                  <c:v>5.9767608520710152</c:v>
                </c:pt>
                <c:pt idx="1286">
                  <c:v>5.9164507493710774</c:v>
                </c:pt>
                <c:pt idx="1287">
                  <c:v>5.9870766083004172</c:v>
                </c:pt>
                <c:pt idx="1288">
                  <c:v>5.0392672788402608</c:v>
                </c:pt>
                <c:pt idx="1289">
                  <c:v>7.0014514135287067</c:v>
                </c:pt>
                <c:pt idx="1290">
                  <c:v>3.898410058709044</c:v>
                </c:pt>
                <c:pt idx="1291">
                  <c:v>5.9402127550990134</c:v>
                </c:pt>
                <c:pt idx="1292">
                  <c:v>6.0582402894423986</c:v>
                </c:pt>
                <c:pt idx="1293">
                  <c:v>6.0138218529128622</c:v>
                </c:pt>
                <c:pt idx="1294">
                  <c:v>5.873374104205249</c:v>
                </c:pt>
                <c:pt idx="1295">
                  <c:v>5.9342478379668648</c:v>
                </c:pt>
                <c:pt idx="1296">
                  <c:v>6.9811545445836893</c:v>
                </c:pt>
                <c:pt idx="1297">
                  <c:v>4.0137913029180075</c:v>
                </c:pt>
                <c:pt idx="1298">
                  <c:v>6.0987711270121583</c:v>
                </c:pt>
                <c:pt idx="1299">
                  <c:v>4.1424189347965541</c:v>
                </c:pt>
                <c:pt idx="1300">
                  <c:v>7.0743652401819785</c:v>
                </c:pt>
                <c:pt idx="1301">
                  <c:v>3.8959814801654926</c:v>
                </c:pt>
                <c:pt idx="1302">
                  <c:v>5.1212353435677</c:v>
                </c:pt>
                <c:pt idx="1303">
                  <c:v>4.8971437179423463</c:v>
                </c:pt>
                <c:pt idx="1304">
                  <c:v>4.060143560013584</c:v>
                </c:pt>
                <c:pt idx="1305">
                  <c:v>3.9474749458040508</c:v>
                </c:pt>
                <c:pt idx="1306">
                  <c:v>5.9242919043409721</c:v>
                </c:pt>
                <c:pt idx="1307">
                  <c:v>5.9278610418376845</c:v>
                </c:pt>
                <c:pt idx="1308">
                  <c:v>4.0831830561481182</c:v>
                </c:pt>
                <c:pt idx="1309">
                  <c:v>3.9045467394547448</c:v>
                </c:pt>
                <c:pt idx="1310">
                  <c:v>6.0059351610928928</c:v>
                </c:pt>
                <c:pt idx="1311">
                  <c:v>3.8607298906425154</c:v>
                </c:pt>
                <c:pt idx="1312">
                  <c:v>3.9196966763330217</c:v>
                </c:pt>
                <c:pt idx="1313">
                  <c:v>5.9885758632359156</c:v>
                </c:pt>
                <c:pt idx="1314">
                  <c:v>4.0415946338975459</c:v>
                </c:pt>
                <c:pt idx="1315">
                  <c:v>5.8653770470749391</c:v>
                </c:pt>
                <c:pt idx="1316">
                  <c:v>6.908043134992595</c:v>
                </c:pt>
                <c:pt idx="1317">
                  <c:v>5.8382174903226112</c:v>
                </c:pt>
                <c:pt idx="1318">
                  <c:v>3.0764210309773001</c:v>
                </c:pt>
                <c:pt idx="1319">
                  <c:v>4.9830200083195217</c:v>
                </c:pt>
                <c:pt idx="1320">
                  <c:v>5.9646493233462472</c:v>
                </c:pt>
                <c:pt idx="1321">
                  <c:v>4.9817455511156616</c:v>
                </c:pt>
                <c:pt idx="1322">
                  <c:v>4.9805737109812762</c:v>
                </c:pt>
                <c:pt idx="1323">
                  <c:v>5.9242752769108984</c:v>
                </c:pt>
                <c:pt idx="1324">
                  <c:v>5.9834618256863266</c:v>
                </c:pt>
                <c:pt idx="1325">
                  <c:v>5.9788862064182302</c:v>
                </c:pt>
                <c:pt idx="1326">
                  <c:v>6.0663888091662379</c:v>
                </c:pt>
                <c:pt idx="1327">
                  <c:v>5.0056757942699868</c:v>
                </c:pt>
                <c:pt idx="1328">
                  <c:v>4.9205242738598924</c:v>
                </c:pt>
                <c:pt idx="1329">
                  <c:v>5.1929855674517915</c:v>
                </c:pt>
                <c:pt idx="1330">
                  <c:v>5.9386583149666867</c:v>
                </c:pt>
                <c:pt idx="1331">
                  <c:v>6.1178138351065137</c:v>
                </c:pt>
                <c:pt idx="1332">
                  <c:v>5.9549584175971759</c:v>
                </c:pt>
                <c:pt idx="1333">
                  <c:v>5.8114799877316798</c:v>
                </c:pt>
                <c:pt idx="1334">
                  <c:v>6.0536752726426659</c:v>
                </c:pt>
                <c:pt idx="1335">
                  <c:v>5.006035343239704</c:v>
                </c:pt>
                <c:pt idx="1336">
                  <c:v>5.8377112580218764</c:v>
                </c:pt>
                <c:pt idx="1337">
                  <c:v>6.0729296513079252</c:v>
                </c:pt>
                <c:pt idx="1338">
                  <c:v>4.9267095791197804</c:v>
                </c:pt>
                <c:pt idx="1339">
                  <c:v>5.869148650606216</c:v>
                </c:pt>
                <c:pt idx="1340">
                  <c:v>5.9994889858098546</c:v>
                </c:pt>
                <c:pt idx="1341">
                  <c:v>5.0332614606429678</c:v>
                </c:pt>
                <c:pt idx="1342">
                  <c:v>4.9629550034342165</c:v>
                </c:pt>
                <c:pt idx="1343">
                  <c:v>4.8232071816765316</c:v>
                </c:pt>
                <c:pt idx="1344">
                  <c:v>6.0744932362099204</c:v>
                </c:pt>
                <c:pt idx="1345">
                  <c:v>4.841822659327657</c:v>
                </c:pt>
                <c:pt idx="1346">
                  <c:v>5.1051303114906545</c:v>
                </c:pt>
                <c:pt idx="1347">
                  <c:v>4.8303257228659167</c:v>
                </c:pt>
                <c:pt idx="1348">
                  <c:v>4.881233584551679</c:v>
                </c:pt>
                <c:pt idx="1349">
                  <c:v>5.0062349146591387</c:v>
                </c:pt>
                <c:pt idx="1350">
                  <c:v>4.9451875923022657</c:v>
                </c:pt>
                <c:pt idx="1351">
                  <c:v>4.9409947632190443</c:v>
                </c:pt>
                <c:pt idx="1352">
                  <c:v>5.0232576741344825</c:v>
                </c:pt>
                <c:pt idx="1353">
                  <c:v>5.0105978597858938</c:v>
                </c:pt>
                <c:pt idx="1354">
                  <c:v>7.0942246347704927</c:v>
                </c:pt>
                <c:pt idx="1355">
                  <c:v>5.987480026826602</c:v>
                </c:pt>
                <c:pt idx="1356">
                  <c:v>6.0246276848364992</c:v>
                </c:pt>
                <c:pt idx="1357">
                  <c:v>5.8962077728354014</c:v>
                </c:pt>
                <c:pt idx="1358">
                  <c:v>4.934880258800864</c:v>
                </c:pt>
                <c:pt idx="1359">
                  <c:v>5.0014357001490151</c:v>
                </c:pt>
                <c:pt idx="1360">
                  <c:v>5.0511400536336311</c:v>
                </c:pt>
                <c:pt idx="1361">
                  <c:v>5.0820162551342483</c:v>
                </c:pt>
                <c:pt idx="1362">
                  <c:v>4.9603223592627783</c:v>
                </c:pt>
                <c:pt idx="1363">
                  <c:v>6.9792695705815149</c:v>
                </c:pt>
                <c:pt idx="1364">
                  <c:v>6.9445393156323583</c:v>
                </c:pt>
                <c:pt idx="1365">
                  <c:v>7.1712692504040003</c:v>
                </c:pt>
                <c:pt idx="1366">
                  <c:v>6.9792710739848971</c:v>
                </c:pt>
                <c:pt idx="1367">
                  <c:v>7.0513999009911155</c:v>
                </c:pt>
                <c:pt idx="1368">
                  <c:v>1.9793943847948936</c:v>
                </c:pt>
                <c:pt idx="1369">
                  <c:v>5.080627825660434</c:v>
                </c:pt>
                <c:pt idx="1370">
                  <c:v>5.0768117786924902</c:v>
                </c:pt>
                <c:pt idx="1371">
                  <c:v>5.9863907183798997</c:v>
                </c:pt>
                <c:pt idx="1372">
                  <c:v>7.0097455584935489</c:v>
                </c:pt>
                <c:pt idx="1373">
                  <c:v>4.9323637479060043</c:v>
                </c:pt>
                <c:pt idx="1374">
                  <c:v>3.9594953769512626</c:v>
                </c:pt>
                <c:pt idx="1375">
                  <c:v>6.1259545423670856</c:v>
                </c:pt>
                <c:pt idx="1376">
                  <c:v>6.0155176735457863</c:v>
                </c:pt>
                <c:pt idx="1377">
                  <c:v>4.9648324611698573</c:v>
                </c:pt>
                <c:pt idx="1378">
                  <c:v>5.8230115379932172</c:v>
                </c:pt>
                <c:pt idx="1379">
                  <c:v>4.8840219819051205</c:v>
                </c:pt>
                <c:pt idx="1380">
                  <c:v>4.9113812998690785</c:v>
                </c:pt>
                <c:pt idx="1381">
                  <c:v>5.1251622912547123</c:v>
                </c:pt>
                <c:pt idx="1382">
                  <c:v>4.9388626220239304</c:v>
                </c:pt>
                <c:pt idx="1383">
                  <c:v>5.0397902297288244</c:v>
                </c:pt>
                <c:pt idx="1384">
                  <c:v>5.963786773601818</c:v>
                </c:pt>
                <c:pt idx="1385">
                  <c:v>4.8984293157617911</c:v>
                </c:pt>
                <c:pt idx="1386">
                  <c:v>5.1965480594019633</c:v>
                </c:pt>
                <c:pt idx="1387">
                  <c:v>4.0686126281394532</c:v>
                </c:pt>
                <c:pt idx="1388">
                  <c:v>4.798171037923936</c:v>
                </c:pt>
                <c:pt idx="1389">
                  <c:v>5.1190927719649029</c:v>
                </c:pt>
                <c:pt idx="1390">
                  <c:v>5.0476955555260723</c:v>
                </c:pt>
                <c:pt idx="1391">
                  <c:v>4.8976018669312307</c:v>
                </c:pt>
                <c:pt idx="1392">
                  <c:v>5.1779858978338682</c:v>
                </c:pt>
                <c:pt idx="1393">
                  <c:v>4.9290939816535992</c:v>
                </c:pt>
                <c:pt idx="1394">
                  <c:v>5.0001841419889406</c:v>
                </c:pt>
                <c:pt idx="1395">
                  <c:v>5.0807904249191616</c:v>
                </c:pt>
                <c:pt idx="1396">
                  <c:v>5.1799587623890373</c:v>
                </c:pt>
                <c:pt idx="1397">
                  <c:v>5.9796873852068009</c:v>
                </c:pt>
                <c:pt idx="1398">
                  <c:v>5.9691198156768799</c:v>
                </c:pt>
                <c:pt idx="1399">
                  <c:v>5.0123888640240617</c:v>
                </c:pt>
                <c:pt idx="1400">
                  <c:v>6.1133864167127872</c:v>
                </c:pt>
                <c:pt idx="1401">
                  <c:v>5.1436884479239211</c:v>
                </c:pt>
                <c:pt idx="1402">
                  <c:v>4.9410037378272014</c:v>
                </c:pt>
                <c:pt idx="1403">
                  <c:v>4.9295508033281932</c:v>
                </c:pt>
                <c:pt idx="1404">
                  <c:v>5.1554477348669465</c:v>
                </c:pt>
                <c:pt idx="1405">
                  <c:v>4.9977165106870194</c:v>
                </c:pt>
                <c:pt idx="1406">
                  <c:v>4.9719489191025446</c:v>
                </c:pt>
                <c:pt idx="1407">
                  <c:v>4.928060510215035</c:v>
                </c:pt>
                <c:pt idx="1408">
                  <c:v>5.9093728722460446</c:v>
                </c:pt>
                <c:pt idx="1409">
                  <c:v>5.9068608806681473</c:v>
                </c:pt>
                <c:pt idx="1410">
                  <c:v>4.9614862669910256</c:v>
                </c:pt>
                <c:pt idx="1411">
                  <c:v>5.1034139978938091</c:v>
                </c:pt>
                <c:pt idx="1412">
                  <c:v>4.8336695059631474</c:v>
                </c:pt>
                <c:pt idx="1413">
                  <c:v>6.0544046773089972</c:v>
                </c:pt>
                <c:pt idx="1414">
                  <c:v>4.9103532390083018</c:v>
                </c:pt>
                <c:pt idx="1415">
                  <c:v>5.9873769656755185</c:v>
                </c:pt>
                <c:pt idx="1416">
                  <c:v>6.0413923748262501</c:v>
                </c:pt>
                <c:pt idx="1417">
                  <c:v>5.050596756365838</c:v>
                </c:pt>
                <c:pt idx="1418">
                  <c:v>6.0091084948240203</c:v>
                </c:pt>
                <c:pt idx="1419">
                  <c:v>5.0636938607266098</c:v>
                </c:pt>
                <c:pt idx="1420">
                  <c:v>4.76490557917404</c:v>
                </c:pt>
                <c:pt idx="1421">
                  <c:v>6.0031929132650177</c:v>
                </c:pt>
                <c:pt idx="1422">
                  <c:v>6.2309384834672752</c:v>
                </c:pt>
                <c:pt idx="1423">
                  <c:v>5.9340190164528055</c:v>
                </c:pt>
                <c:pt idx="1424">
                  <c:v>5.0061494600984418</c:v>
                </c:pt>
                <c:pt idx="1425">
                  <c:v>4.0866424694728192</c:v>
                </c:pt>
                <c:pt idx="1426">
                  <c:v>5.0794036309425659</c:v>
                </c:pt>
                <c:pt idx="1427">
                  <c:v>6.2221107199630348</c:v>
                </c:pt>
                <c:pt idx="1428">
                  <c:v>5.1006731088775634</c:v>
                </c:pt>
                <c:pt idx="1429">
                  <c:v>3.9671980336702366</c:v>
                </c:pt>
                <c:pt idx="1430">
                  <c:v>4.960111809379419</c:v>
                </c:pt>
                <c:pt idx="1431">
                  <c:v>4.9946245141371062</c:v>
                </c:pt>
                <c:pt idx="1432">
                  <c:v>6.0081300559175848</c:v>
                </c:pt>
                <c:pt idx="1433">
                  <c:v>5.1077217826048074</c:v>
                </c:pt>
                <c:pt idx="1434">
                  <c:v>4.7857215788933356</c:v>
                </c:pt>
                <c:pt idx="1435">
                  <c:v>4.0185837209383299</c:v>
                </c:pt>
                <c:pt idx="1436">
                  <c:v>5.803840817283505</c:v>
                </c:pt>
                <c:pt idx="1437">
                  <c:v>5.0768424395758398</c:v>
                </c:pt>
                <c:pt idx="1438">
                  <c:v>5.942387681661125</c:v>
                </c:pt>
                <c:pt idx="1439">
                  <c:v>4.9306598793130565</c:v>
                </c:pt>
                <c:pt idx="1440">
                  <c:v>5.0609695230528962</c:v>
                </c:pt>
                <c:pt idx="1441">
                  <c:v>4.8264570712997896</c:v>
                </c:pt>
                <c:pt idx="1442">
                  <c:v>6.013104687216928</c:v>
                </c:pt>
                <c:pt idx="1443">
                  <c:v>4.8261587874841521</c:v>
                </c:pt>
                <c:pt idx="1444">
                  <c:v>5.0748590455741267</c:v>
                </c:pt>
                <c:pt idx="1445">
                  <c:v>5.9105886004566166</c:v>
                </c:pt>
                <c:pt idx="1446">
                  <c:v>5.127280408851802</c:v>
                </c:pt>
                <c:pt idx="1447">
                  <c:v>5.1667941397074184</c:v>
                </c:pt>
                <c:pt idx="1448">
                  <c:v>6.0001812221193971</c:v>
                </c:pt>
                <c:pt idx="1449">
                  <c:v>5.0951106336919114</c:v>
                </c:pt>
                <c:pt idx="1450">
                  <c:v>5.0912139543028703</c:v>
                </c:pt>
                <c:pt idx="1451">
                  <c:v>6.0587822331602652</c:v>
                </c:pt>
                <c:pt idx="1452">
                  <c:v>3.0125944993891767</c:v>
                </c:pt>
                <c:pt idx="1453">
                  <c:v>4.957947351554056</c:v>
                </c:pt>
                <c:pt idx="1454">
                  <c:v>5.8034542487009251</c:v>
                </c:pt>
                <c:pt idx="1455">
                  <c:v>6.1094647571735221</c:v>
                </c:pt>
                <c:pt idx="1456">
                  <c:v>6.0049705405221889</c:v>
                </c:pt>
                <c:pt idx="1457">
                  <c:v>4.2234822839722597</c:v>
                </c:pt>
                <c:pt idx="1458">
                  <c:v>5.9360942756479274</c:v>
                </c:pt>
                <c:pt idx="1459">
                  <c:v>3.9256748416193856</c:v>
                </c:pt>
                <c:pt idx="1460">
                  <c:v>7.0754724328139691</c:v>
                </c:pt>
                <c:pt idx="1461">
                  <c:v>4.2068758414270819</c:v>
                </c:pt>
                <c:pt idx="1462">
                  <c:v>3.8464166921739213</c:v>
                </c:pt>
                <c:pt idx="1463">
                  <c:v>5.9589041719070011</c:v>
                </c:pt>
                <c:pt idx="1464">
                  <c:v>6.1208132326889269</c:v>
                </c:pt>
                <c:pt idx="1465">
                  <c:v>5.8886609250135384</c:v>
                </c:pt>
                <c:pt idx="1466">
                  <c:v>5.0460561376856106</c:v>
                </c:pt>
                <c:pt idx="1467">
                  <c:v>4.8198742997931969</c:v>
                </c:pt>
                <c:pt idx="1468">
                  <c:v>4.9295587074474696</c:v>
                </c:pt>
                <c:pt idx="1469">
                  <c:v>5.0062397146295501</c:v>
                </c:pt>
                <c:pt idx="1470">
                  <c:v>4.9377848731278249</c:v>
                </c:pt>
                <c:pt idx="1471">
                  <c:v>6.166417736570815</c:v>
                </c:pt>
                <c:pt idx="1472">
                  <c:v>5.9681733384796232</c:v>
                </c:pt>
                <c:pt idx="1473">
                  <c:v>6.2288233801681869</c:v>
                </c:pt>
                <c:pt idx="1474">
                  <c:v>5.0018259817421304</c:v>
                </c:pt>
                <c:pt idx="1475">
                  <c:v>4.8655432909700629</c:v>
                </c:pt>
                <c:pt idx="1476">
                  <c:v>6.0851694506913061</c:v>
                </c:pt>
                <c:pt idx="1477">
                  <c:v>5.937423178829663</c:v>
                </c:pt>
                <c:pt idx="1478">
                  <c:v>6.1474050634347366</c:v>
                </c:pt>
                <c:pt idx="1479">
                  <c:v>5.0689121840075853</c:v>
                </c:pt>
                <c:pt idx="1480">
                  <c:v>6.0565132522056944</c:v>
                </c:pt>
                <c:pt idx="1481">
                  <c:v>5.0811605290360795</c:v>
                </c:pt>
                <c:pt idx="1482">
                  <c:v>6.1170220653615548</c:v>
                </c:pt>
                <c:pt idx="1483">
                  <c:v>5.9547202219675244</c:v>
                </c:pt>
                <c:pt idx="1484">
                  <c:v>5.9967052923574222</c:v>
                </c:pt>
                <c:pt idx="1485">
                  <c:v>5.867229812440141</c:v>
                </c:pt>
                <c:pt idx="1486">
                  <c:v>5.0047521938986765</c:v>
                </c:pt>
                <c:pt idx="1487">
                  <c:v>5.0873052644601984</c:v>
                </c:pt>
                <c:pt idx="1488">
                  <c:v>6.824897125124723</c:v>
                </c:pt>
                <c:pt idx="1489">
                  <c:v>5.8697049294707702</c:v>
                </c:pt>
                <c:pt idx="1490">
                  <c:v>5.0449656711705382</c:v>
                </c:pt>
                <c:pt idx="1491">
                  <c:v>6.0023947426902664</c:v>
                </c:pt>
                <c:pt idx="1492">
                  <c:v>4.9595013318108974</c:v>
                </c:pt>
                <c:pt idx="1493">
                  <c:v>6.9822484941734739</c:v>
                </c:pt>
                <c:pt idx="1494">
                  <c:v>6.0416476113902942</c:v>
                </c:pt>
                <c:pt idx="1495">
                  <c:v>6.0408243042656284</c:v>
                </c:pt>
                <c:pt idx="1496">
                  <c:v>5.0231741696928225</c:v>
                </c:pt>
                <c:pt idx="1497">
                  <c:v>7.0111092441233875</c:v>
                </c:pt>
                <c:pt idx="1498">
                  <c:v>5.1850180564593389</c:v>
                </c:pt>
                <c:pt idx="1499">
                  <c:v>4.9447529385054105</c:v>
                </c:pt>
                <c:pt idx="1500">
                  <c:v>4.9491127328295796</c:v>
                </c:pt>
                <c:pt idx="1501">
                  <c:v>4.9171128588765258</c:v>
                </c:pt>
                <c:pt idx="1502">
                  <c:v>4.9570236729721371</c:v>
                </c:pt>
                <c:pt idx="1503">
                  <c:v>6.0348319279866391</c:v>
                </c:pt>
                <c:pt idx="1504">
                  <c:v>6.132555238612408</c:v>
                </c:pt>
                <c:pt idx="1505">
                  <c:v>4.0916030770846445</c:v>
                </c:pt>
                <c:pt idx="1506">
                  <c:v>5.8985141638030365</c:v>
                </c:pt>
                <c:pt idx="1507">
                  <c:v>4.9198960450744851</c:v>
                </c:pt>
                <c:pt idx="1508">
                  <c:v>3.9897154610321497</c:v>
                </c:pt>
                <c:pt idx="1509">
                  <c:v>5.1214094591127628</c:v>
                </c:pt>
                <c:pt idx="1510">
                  <c:v>4.9853155500174013</c:v>
                </c:pt>
                <c:pt idx="1511">
                  <c:v>5.845340387382949</c:v>
                </c:pt>
                <c:pt idx="1512">
                  <c:v>5.9613120285002772</c:v>
                </c:pt>
                <c:pt idx="1513">
                  <c:v>5.9976844460363532</c:v>
                </c:pt>
                <c:pt idx="1514">
                  <c:v>5.8490509193759559</c:v>
                </c:pt>
                <c:pt idx="1515">
                  <c:v>5.8668597343559705</c:v>
                </c:pt>
                <c:pt idx="1516">
                  <c:v>5.9962755347430585</c:v>
                </c:pt>
                <c:pt idx="1517">
                  <c:v>5.8398314730361607</c:v>
                </c:pt>
                <c:pt idx="1518">
                  <c:v>4.8924849355596374</c:v>
                </c:pt>
                <c:pt idx="1519">
                  <c:v>3.80005061718412</c:v>
                </c:pt>
                <c:pt idx="1520">
                  <c:v>6.1082069735763804</c:v>
                </c:pt>
                <c:pt idx="1521">
                  <c:v>6.0095975437153797</c:v>
                </c:pt>
                <c:pt idx="1522">
                  <c:v>6.050015229774159</c:v>
                </c:pt>
                <c:pt idx="1523">
                  <c:v>5.9789608443947246</c:v>
                </c:pt>
                <c:pt idx="1524">
                  <c:v>5.0810875706787408</c:v>
                </c:pt>
                <c:pt idx="1525">
                  <c:v>6.0089238318436884</c:v>
                </c:pt>
                <c:pt idx="1526">
                  <c:v>4.9589766269081865</c:v>
                </c:pt>
                <c:pt idx="1527">
                  <c:v>5.9611178247271734</c:v>
                </c:pt>
                <c:pt idx="1528">
                  <c:v>5.0825362569435022</c:v>
                </c:pt>
                <c:pt idx="1529">
                  <c:v>5.0827426836464635</c:v>
                </c:pt>
                <c:pt idx="1530">
                  <c:v>5.1003037719494486</c:v>
                </c:pt>
                <c:pt idx="1531">
                  <c:v>6.0279643208098097</c:v>
                </c:pt>
                <c:pt idx="1532">
                  <c:v>4.9839882418753607</c:v>
                </c:pt>
                <c:pt idx="1533">
                  <c:v>5.0493054115778877</c:v>
                </c:pt>
                <c:pt idx="1534">
                  <c:v>4.9861222900984492</c:v>
                </c:pt>
                <c:pt idx="1535">
                  <c:v>4.9357568475741074</c:v>
                </c:pt>
                <c:pt idx="1536">
                  <c:v>6.0461429726130911</c:v>
                </c:pt>
                <c:pt idx="1537">
                  <c:v>5.9494815782719543</c:v>
                </c:pt>
                <c:pt idx="1538">
                  <c:v>6.0038469414858948</c:v>
                </c:pt>
                <c:pt idx="1539">
                  <c:v>6.9367057866765238</c:v>
                </c:pt>
                <c:pt idx="1540">
                  <c:v>4.9301986046023707</c:v>
                </c:pt>
                <c:pt idx="1541">
                  <c:v>6.0208611233070659</c:v>
                </c:pt>
                <c:pt idx="1542">
                  <c:v>4.9680537468823802</c:v>
                </c:pt>
                <c:pt idx="1543">
                  <c:v>4.9586338018187623</c:v>
                </c:pt>
                <c:pt idx="1544">
                  <c:v>5.9662026325308553</c:v>
                </c:pt>
                <c:pt idx="1545">
                  <c:v>5.0892076914677906</c:v>
                </c:pt>
                <c:pt idx="1546">
                  <c:v>5.9781483995940707</c:v>
                </c:pt>
                <c:pt idx="1547">
                  <c:v>4.9893715651338493</c:v>
                </c:pt>
                <c:pt idx="1548">
                  <c:v>4.842799659739053</c:v>
                </c:pt>
                <c:pt idx="1549">
                  <c:v>4.9734519425762747</c:v>
                </c:pt>
                <c:pt idx="1550">
                  <c:v>5.020292087287717</c:v>
                </c:pt>
                <c:pt idx="1551">
                  <c:v>6.0068706048375207</c:v>
                </c:pt>
                <c:pt idx="1552">
                  <c:v>6.0718880310546481</c:v>
                </c:pt>
                <c:pt idx="1553">
                  <c:v>5.998508225613949</c:v>
                </c:pt>
                <c:pt idx="1554">
                  <c:v>6.0716885945889638</c:v>
                </c:pt>
                <c:pt idx="1555">
                  <c:v>5.0859131990079707</c:v>
                </c:pt>
                <c:pt idx="1556">
                  <c:v>4.9464327856672323</c:v>
                </c:pt>
                <c:pt idx="1557">
                  <c:v>5.8791336148930418</c:v>
                </c:pt>
                <c:pt idx="1558">
                  <c:v>5.1766695391056103</c:v>
                </c:pt>
                <c:pt idx="1559">
                  <c:v>4.8618784390254053</c:v>
                </c:pt>
                <c:pt idx="1560">
                  <c:v>5.0449327600918412</c:v>
                </c:pt>
                <c:pt idx="1561">
                  <c:v>4.9111122226586978</c:v>
                </c:pt>
                <c:pt idx="1562">
                  <c:v>4.8186737710605234</c:v>
                </c:pt>
                <c:pt idx="1563">
                  <c:v>6.9457952130843079</c:v>
                </c:pt>
                <c:pt idx="1564">
                  <c:v>4.9709100423699129</c:v>
                </c:pt>
                <c:pt idx="1565">
                  <c:v>5.9577685815713579</c:v>
                </c:pt>
                <c:pt idx="1566">
                  <c:v>4.934277153790779</c:v>
                </c:pt>
                <c:pt idx="1567">
                  <c:v>5.9040487725448729</c:v>
                </c:pt>
                <c:pt idx="1568">
                  <c:v>5.8285529105939844</c:v>
                </c:pt>
                <c:pt idx="1569">
                  <c:v>4.9837375453025823</c:v>
                </c:pt>
                <c:pt idx="1570">
                  <c:v>4.9242642634943348</c:v>
                </c:pt>
                <c:pt idx="1571">
                  <c:v>4.9688893393770837</c:v>
                </c:pt>
                <c:pt idx="1572">
                  <c:v>6.032121785399104</c:v>
                </c:pt>
                <c:pt idx="1573">
                  <c:v>5.0155669475592015</c:v>
                </c:pt>
                <c:pt idx="1574">
                  <c:v>4.8680456786225319</c:v>
                </c:pt>
                <c:pt idx="1575">
                  <c:v>5.0530441721977386</c:v>
                </c:pt>
                <c:pt idx="1576">
                  <c:v>5.0849779806945614</c:v>
                </c:pt>
                <c:pt idx="1577">
                  <c:v>6.1540344951898067</c:v>
                </c:pt>
                <c:pt idx="1578">
                  <c:v>4.7086337071285058</c:v>
                </c:pt>
                <c:pt idx="1579">
                  <c:v>4.814989713853139</c:v>
                </c:pt>
                <c:pt idx="1580">
                  <c:v>4.9764006832320486</c:v>
                </c:pt>
                <c:pt idx="1581">
                  <c:v>6.9741159047159256</c:v>
                </c:pt>
                <c:pt idx="1582">
                  <c:v>5.0064865789554736</c:v>
                </c:pt>
                <c:pt idx="1583">
                  <c:v>5.0645121141125049</c:v>
                </c:pt>
                <c:pt idx="1584">
                  <c:v>5.8480751106768398</c:v>
                </c:pt>
                <c:pt idx="1585">
                  <c:v>4.9174315224445513</c:v>
                </c:pt>
                <c:pt idx="1586">
                  <c:v>5.1358141486388256</c:v>
                </c:pt>
                <c:pt idx="1587">
                  <c:v>6.0550148369395904</c:v>
                </c:pt>
                <c:pt idx="1588">
                  <c:v>6.0388756549651772</c:v>
                </c:pt>
                <c:pt idx="1589">
                  <c:v>5.9456037897608294</c:v>
                </c:pt>
                <c:pt idx="1590">
                  <c:v>4.8876612059468556</c:v>
                </c:pt>
                <c:pt idx="1591">
                  <c:v>4.9302834662293611</c:v>
                </c:pt>
                <c:pt idx="1592">
                  <c:v>5.1248780853269942</c:v>
                </c:pt>
                <c:pt idx="1593">
                  <c:v>4.9889656192643015</c:v>
                </c:pt>
                <c:pt idx="1594">
                  <c:v>6.0423308486376932</c:v>
                </c:pt>
                <c:pt idx="1595">
                  <c:v>5.1482429645527796</c:v>
                </c:pt>
                <c:pt idx="1596">
                  <c:v>6.0698520783869965</c:v>
                </c:pt>
                <c:pt idx="1597">
                  <c:v>6.0198787373307292</c:v>
                </c:pt>
                <c:pt idx="1598">
                  <c:v>5.0239392257237467</c:v>
                </c:pt>
                <c:pt idx="1599">
                  <c:v>6.8994519357586439</c:v>
                </c:pt>
                <c:pt idx="1600">
                  <c:v>5.9426898908134733</c:v>
                </c:pt>
                <c:pt idx="1601">
                  <c:v>4.9512737368493571</c:v>
                </c:pt>
                <c:pt idx="1602">
                  <c:v>5.016811751011204</c:v>
                </c:pt>
                <c:pt idx="1603">
                  <c:v>6.0769687858037562</c:v>
                </c:pt>
                <c:pt idx="1604">
                  <c:v>5.02756902148887</c:v>
                </c:pt>
                <c:pt idx="1605">
                  <c:v>6.0794510723030273</c:v>
                </c:pt>
                <c:pt idx="1606">
                  <c:v>4.8138925518741527</c:v>
                </c:pt>
                <c:pt idx="1607">
                  <c:v>6.097146003314041</c:v>
                </c:pt>
                <c:pt idx="1608">
                  <c:v>6.1640262583258547</c:v>
                </c:pt>
                <c:pt idx="1609">
                  <c:v>5.1013682409547076</c:v>
                </c:pt>
                <c:pt idx="1610">
                  <c:v>5.8740073363986181</c:v>
                </c:pt>
                <c:pt idx="1611">
                  <c:v>5.9468040461806471</c:v>
                </c:pt>
                <c:pt idx="1612">
                  <c:v>6.0935087929108755</c:v>
                </c:pt>
                <c:pt idx="1613">
                  <c:v>5.8299598981463721</c:v>
                </c:pt>
                <c:pt idx="1614">
                  <c:v>6.0754805607255946</c:v>
                </c:pt>
                <c:pt idx="1615">
                  <c:v>5.8292385078480349</c:v>
                </c:pt>
                <c:pt idx="1616">
                  <c:v>6.0644635907741922</c:v>
                </c:pt>
                <c:pt idx="1617">
                  <c:v>6.0222869053474186</c:v>
                </c:pt>
                <c:pt idx="1618">
                  <c:v>5.0072494557642573</c:v>
                </c:pt>
                <c:pt idx="1619">
                  <c:v>6.0446459550889147</c:v>
                </c:pt>
                <c:pt idx="1620">
                  <c:v>5.9832665587517972</c:v>
                </c:pt>
                <c:pt idx="1621">
                  <c:v>5.0484286958392097</c:v>
                </c:pt>
                <c:pt idx="1622">
                  <c:v>4.8636805950710738</c:v>
                </c:pt>
                <c:pt idx="1623">
                  <c:v>6.1621290160024627</c:v>
                </c:pt>
                <c:pt idx="1624">
                  <c:v>4.9402358825573875</c:v>
                </c:pt>
                <c:pt idx="1625">
                  <c:v>5.7991090339238625</c:v>
                </c:pt>
                <c:pt idx="1626">
                  <c:v>5.7918254713655486</c:v>
                </c:pt>
                <c:pt idx="1627">
                  <c:v>5.9632265721059179</c:v>
                </c:pt>
                <c:pt idx="1628">
                  <c:v>4.8876202473119834</c:v>
                </c:pt>
                <c:pt idx="1629">
                  <c:v>6.1437152396836439</c:v>
                </c:pt>
                <c:pt idx="1630">
                  <c:v>6.1221903983915524</c:v>
                </c:pt>
                <c:pt idx="1631">
                  <c:v>4.9624739134349811</c:v>
                </c:pt>
                <c:pt idx="1632">
                  <c:v>4.9683110444877849</c:v>
                </c:pt>
                <c:pt idx="1633">
                  <c:v>5.2480588608432202</c:v>
                </c:pt>
                <c:pt idx="1634">
                  <c:v>4.74735852812295</c:v>
                </c:pt>
                <c:pt idx="1635">
                  <c:v>7.1588568522628044</c:v>
                </c:pt>
                <c:pt idx="1636">
                  <c:v>5.0122034919857708</c:v>
                </c:pt>
                <c:pt idx="1637">
                  <c:v>4.8858732119302015</c:v>
                </c:pt>
                <c:pt idx="1638">
                  <c:v>5.0445430634380815</c:v>
                </c:pt>
                <c:pt idx="1639">
                  <c:v>4.8368747116876625</c:v>
                </c:pt>
                <c:pt idx="1640">
                  <c:v>4.9130102368451931</c:v>
                </c:pt>
                <c:pt idx="1641">
                  <c:v>4.0568087796770982</c:v>
                </c:pt>
                <c:pt idx="1642">
                  <c:v>4.0717940008802334</c:v>
                </c:pt>
                <c:pt idx="1643">
                  <c:v>4.8460173896114078</c:v>
                </c:pt>
                <c:pt idx="1644">
                  <c:v>3.9652083442792754</c:v>
                </c:pt>
                <c:pt idx="1645">
                  <c:v>4.8560107311468821</c:v>
                </c:pt>
                <c:pt idx="1646">
                  <c:v>4.9902981786801428</c:v>
                </c:pt>
                <c:pt idx="1647">
                  <c:v>5.0519511087515392</c:v>
                </c:pt>
                <c:pt idx="1648">
                  <c:v>5.9849069029894393</c:v>
                </c:pt>
                <c:pt idx="1649">
                  <c:v>4.9805979476424724</c:v>
                </c:pt>
                <c:pt idx="1650">
                  <c:v>4.9518561966153616</c:v>
                </c:pt>
                <c:pt idx="1651">
                  <c:v>6.1268435304747006</c:v>
                </c:pt>
                <c:pt idx="1652">
                  <c:v>5.9277779476882824</c:v>
                </c:pt>
                <c:pt idx="1653">
                  <c:v>6.0044324793110224</c:v>
                </c:pt>
                <c:pt idx="1654">
                  <c:v>4.9794921156654501</c:v>
                </c:pt>
                <c:pt idx="1655">
                  <c:v>5.8965083023047935</c:v>
                </c:pt>
                <c:pt idx="1656">
                  <c:v>6.1129733354065028</c:v>
                </c:pt>
                <c:pt idx="1657">
                  <c:v>6.0824156767470159</c:v>
                </c:pt>
                <c:pt idx="1658">
                  <c:v>6.0056174527730937</c:v>
                </c:pt>
                <c:pt idx="1659">
                  <c:v>5.9551203512054007</c:v>
                </c:pt>
                <c:pt idx="1660">
                  <c:v>5.0800268402610413</c:v>
                </c:pt>
                <c:pt idx="1661">
                  <c:v>6.0953871116214504</c:v>
                </c:pt>
                <c:pt idx="1662">
                  <c:v>5.9780243316345674</c:v>
                </c:pt>
                <c:pt idx="1663">
                  <c:v>5.9467183379880728</c:v>
                </c:pt>
                <c:pt idx="1664">
                  <c:v>5.8480393291786585</c:v>
                </c:pt>
                <c:pt idx="1665">
                  <c:v>4.946190586525085</c:v>
                </c:pt>
                <c:pt idx="1666">
                  <c:v>5.1425426393122367</c:v>
                </c:pt>
                <c:pt idx="1667">
                  <c:v>5.0231568680827436</c:v>
                </c:pt>
                <c:pt idx="1668">
                  <c:v>5.1124419254701312</c:v>
                </c:pt>
                <c:pt idx="1669">
                  <c:v>5.9345883324534938</c:v>
                </c:pt>
                <c:pt idx="1670">
                  <c:v>4.9552258568370311</c:v>
                </c:pt>
                <c:pt idx="1671">
                  <c:v>5.8927047473224166</c:v>
                </c:pt>
                <c:pt idx="1672">
                  <c:v>5.1849156909881531</c:v>
                </c:pt>
                <c:pt idx="1673">
                  <c:v>4.9808950406419763</c:v>
                </c:pt>
                <c:pt idx="1674">
                  <c:v>5.989677831311548</c:v>
                </c:pt>
                <c:pt idx="1675">
                  <c:v>5.9834037971231284</c:v>
                </c:pt>
                <c:pt idx="1676">
                  <c:v>5.8324936232081148</c:v>
                </c:pt>
                <c:pt idx="1677">
                  <c:v>6.116095836878543</c:v>
                </c:pt>
                <c:pt idx="1678">
                  <c:v>5.0078871522200297</c:v>
                </c:pt>
                <c:pt idx="1679">
                  <c:v>4.8590788787663</c:v>
                </c:pt>
                <c:pt idx="1680">
                  <c:v>6.2000239635277765</c:v>
                </c:pt>
                <c:pt idx="1681">
                  <c:v>5.1116560927838535</c:v>
                </c:pt>
                <c:pt idx="1682">
                  <c:v>6.0350862199330519</c:v>
                </c:pt>
                <c:pt idx="1683">
                  <c:v>4.9431397368560051</c:v>
                </c:pt>
                <c:pt idx="1684">
                  <c:v>6.0529166820082789</c:v>
                </c:pt>
                <c:pt idx="1685">
                  <c:v>5.937878870251426</c:v>
                </c:pt>
                <c:pt idx="1686">
                  <c:v>5.9030984466826073</c:v>
                </c:pt>
                <c:pt idx="1687">
                  <c:v>5.9663760687832061</c:v>
                </c:pt>
                <c:pt idx="1688">
                  <c:v>4.9958593621578995</c:v>
                </c:pt>
                <c:pt idx="1689">
                  <c:v>5.956308523364144</c:v>
                </c:pt>
                <c:pt idx="1690">
                  <c:v>5.2379020443299034</c:v>
                </c:pt>
                <c:pt idx="1691">
                  <c:v>4.9019466371206377</c:v>
                </c:pt>
                <c:pt idx="1692">
                  <c:v>6.0422790651991205</c:v>
                </c:pt>
                <c:pt idx="1693">
                  <c:v>7.0536372004064978</c:v>
                </c:pt>
                <c:pt idx="1694">
                  <c:v>5.1463293766966212</c:v>
                </c:pt>
                <c:pt idx="1695">
                  <c:v>4.9174754394265676</c:v>
                </c:pt>
                <c:pt idx="1696">
                  <c:v>5.1675038119243979</c:v>
                </c:pt>
                <c:pt idx="1697">
                  <c:v>6.142760437741388</c:v>
                </c:pt>
                <c:pt idx="1698">
                  <c:v>5.003157606942624</c:v>
                </c:pt>
                <c:pt idx="1699">
                  <c:v>4.7997180646578732</c:v>
                </c:pt>
                <c:pt idx="1700">
                  <c:v>7.010775156421472</c:v>
                </c:pt>
                <c:pt idx="1701">
                  <c:v>6.0642888112883773</c:v>
                </c:pt>
                <c:pt idx="1702">
                  <c:v>5.8794314586448877</c:v>
                </c:pt>
                <c:pt idx="1703">
                  <c:v>6.1073940019664716</c:v>
                </c:pt>
                <c:pt idx="1704">
                  <c:v>6.1173287459887611</c:v>
                </c:pt>
                <c:pt idx="1705">
                  <c:v>4.8421319744324975</c:v>
                </c:pt>
                <c:pt idx="1706">
                  <c:v>4.9481736878241378</c:v>
                </c:pt>
                <c:pt idx="1707">
                  <c:v>5.9997440973033127</c:v>
                </c:pt>
                <c:pt idx="1708">
                  <c:v>5.9998158504125998</c:v>
                </c:pt>
                <c:pt idx="1709">
                  <c:v>5.8872233950937289</c:v>
                </c:pt>
                <c:pt idx="1710">
                  <c:v>5.0577872971097904</c:v>
                </c:pt>
                <c:pt idx="1711">
                  <c:v>6.0402280299672482</c:v>
                </c:pt>
                <c:pt idx="1712">
                  <c:v>5.0369402998500341</c:v>
                </c:pt>
                <c:pt idx="1713">
                  <c:v>6.0687542663535732</c:v>
                </c:pt>
                <c:pt idx="1714">
                  <c:v>5.1074470609559572</c:v>
                </c:pt>
                <c:pt idx="1715">
                  <c:v>4.9591039636061085</c:v>
                </c:pt>
                <c:pt idx="1716">
                  <c:v>4.9589175018003067</c:v>
                </c:pt>
                <c:pt idx="1717">
                  <c:v>6.0324211720092968</c:v>
                </c:pt>
                <c:pt idx="1718">
                  <c:v>4.9557464030816485</c:v>
                </c:pt>
                <c:pt idx="1719">
                  <c:v>5.0073470099336355</c:v>
                </c:pt>
                <c:pt idx="1720">
                  <c:v>4.9585231271684975</c:v>
                </c:pt>
                <c:pt idx="1721">
                  <c:v>4.9536980162583486</c:v>
                </c:pt>
                <c:pt idx="1722">
                  <c:v>5.0104799381652452</c:v>
                </c:pt>
                <c:pt idx="1723">
                  <c:v>4.9535526185937231</c:v>
                </c:pt>
                <c:pt idx="1724">
                  <c:v>5.8030444491984543</c:v>
                </c:pt>
                <c:pt idx="1725">
                  <c:v>8.0813146389412704</c:v>
                </c:pt>
                <c:pt idx="1726">
                  <c:v>6.0318079781479916</c:v>
                </c:pt>
                <c:pt idx="1727">
                  <c:v>6.0818817929035802</c:v>
                </c:pt>
                <c:pt idx="1728">
                  <c:v>5.0428860601789696</c:v>
                </c:pt>
                <c:pt idx="1729">
                  <c:v>6.0640122191981476</c:v>
                </c:pt>
                <c:pt idx="1730">
                  <c:v>4.8299553514755331</c:v>
                </c:pt>
                <c:pt idx="1731">
                  <c:v>4.8820492691416222</c:v>
                </c:pt>
                <c:pt idx="1732">
                  <c:v>6.0178369732750516</c:v>
                </c:pt>
                <c:pt idx="1733">
                  <c:v>6.0749891336618438</c:v>
                </c:pt>
                <c:pt idx="1734">
                  <c:v>5.0981179937987813</c:v>
                </c:pt>
                <c:pt idx="1735">
                  <c:v>6.0193022339934394</c:v>
                </c:pt>
                <c:pt idx="1736">
                  <c:v>5.9783379240996233</c:v>
                </c:pt>
                <c:pt idx="1737">
                  <c:v>4.9935769857790069</c:v>
                </c:pt>
                <c:pt idx="1738">
                  <c:v>6.0173771631129753</c:v>
                </c:pt>
                <c:pt idx="1739">
                  <c:v>5.9564139151139628</c:v>
                </c:pt>
                <c:pt idx="1740">
                  <c:v>6.0186644143235517</c:v>
                </c:pt>
                <c:pt idx="1741">
                  <c:v>6.0841275744077707</c:v>
                </c:pt>
                <c:pt idx="1742">
                  <c:v>4.939363854198823</c:v>
                </c:pt>
                <c:pt idx="1743">
                  <c:v>5.0209056256243576</c:v>
                </c:pt>
                <c:pt idx="1744">
                  <c:v>5.0896914770945445</c:v>
                </c:pt>
                <c:pt idx="1745">
                  <c:v>4.8843353109940315</c:v>
                </c:pt>
                <c:pt idx="1746">
                  <c:v>5.8573581035146836</c:v>
                </c:pt>
                <c:pt idx="1747">
                  <c:v>5.1464830439188232</c:v>
                </c:pt>
                <c:pt idx="1748">
                  <c:v>4.9875841425473002</c:v>
                </c:pt>
                <c:pt idx="1749">
                  <c:v>5.137286263988261</c:v>
                </c:pt>
                <c:pt idx="1750">
                  <c:v>4.9382685892016598</c:v>
                </c:pt>
                <c:pt idx="1751">
                  <c:v>5.0948724969759258</c:v>
                </c:pt>
                <c:pt idx="1752">
                  <c:v>4.95963643336645</c:v>
                </c:pt>
                <c:pt idx="1753">
                  <c:v>6.1155271975919199</c:v>
                </c:pt>
                <c:pt idx="1754">
                  <c:v>6.1934810136891558</c:v>
                </c:pt>
                <c:pt idx="1755">
                  <c:v>5.9722855793114773</c:v>
                </c:pt>
                <c:pt idx="1756">
                  <c:v>5.0330797874487541</c:v>
                </c:pt>
                <c:pt idx="1757">
                  <c:v>5.8649112305885911</c:v>
                </c:pt>
                <c:pt idx="1758">
                  <c:v>5.0288746708351661</c:v>
                </c:pt>
                <c:pt idx="1759">
                  <c:v>5.0759050376335875</c:v>
                </c:pt>
                <c:pt idx="1760">
                  <c:v>6.1808745233986278</c:v>
                </c:pt>
                <c:pt idx="1761">
                  <c:v>5.0849757094733441</c:v>
                </c:pt>
                <c:pt idx="1762">
                  <c:v>5.9705043357779886</c:v>
                </c:pt>
                <c:pt idx="1763">
                  <c:v>6.9432394029726252</c:v>
                </c:pt>
                <c:pt idx="1764">
                  <c:v>5.1736793779655557</c:v>
                </c:pt>
                <c:pt idx="1765">
                  <c:v>6.0415193177578388</c:v>
                </c:pt>
                <c:pt idx="1766">
                  <c:v>4.9525124879857083</c:v>
                </c:pt>
                <c:pt idx="1767">
                  <c:v>6.0577004633358085</c:v>
                </c:pt>
                <c:pt idx="1768">
                  <c:v>5.9480296879828245</c:v>
                </c:pt>
                <c:pt idx="1769">
                  <c:v>7.1208564105923857</c:v>
                </c:pt>
                <c:pt idx="1770">
                  <c:v>5.7847013161717866</c:v>
                </c:pt>
                <c:pt idx="1771">
                  <c:v>5.1916110196543119</c:v>
                </c:pt>
                <c:pt idx="1772">
                  <c:v>4.8849252239357535</c:v>
                </c:pt>
                <c:pt idx="1773">
                  <c:v>5.0728877469520119</c:v>
                </c:pt>
                <c:pt idx="1774">
                  <c:v>5.1090630346135741</c:v>
                </c:pt>
                <c:pt idx="1775">
                  <c:v>5.0460749940729777</c:v>
                </c:pt>
                <c:pt idx="1776">
                  <c:v>4.9338329237332026</c:v>
                </c:pt>
                <c:pt idx="1777">
                  <c:v>6.0756324752865707</c:v>
                </c:pt>
                <c:pt idx="1778">
                  <c:v>4.9998709419589282</c:v>
                </c:pt>
                <c:pt idx="1779">
                  <c:v>7.0985852971509864</c:v>
                </c:pt>
                <c:pt idx="1780">
                  <c:v>6.0140461442834425</c:v>
                </c:pt>
                <c:pt idx="1781">
                  <c:v>6.9825589629116482</c:v>
                </c:pt>
                <c:pt idx="1782">
                  <c:v>7.2185148878607013</c:v>
                </c:pt>
                <c:pt idx="1783">
                  <c:v>7.0078224728425278</c:v>
                </c:pt>
                <c:pt idx="1784">
                  <c:v>5.1230315443199412</c:v>
                </c:pt>
                <c:pt idx="1785">
                  <c:v>6.1878968537699546</c:v>
                </c:pt>
                <c:pt idx="1786">
                  <c:v>4.9935645686681669</c:v>
                </c:pt>
                <c:pt idx="1787">
                  <c:v>6.0023284724834332</c:v>
                </c:pt>
                <c:pt idx="1788">
                  <c:v>5.0262893481954203</c:v>
                </c:pt>
                <c:pt idx="1789">
                  <c:v>5.9382634541594994</c:v>
                </c:pt>
                <c:pt idx="1790">
                  <c:v>5.8400088778920471</c:v>
                </c:pt>
                <c:pt idx="1791">
                  <c:v>5.0536722797038207</c:v>
                </c:pt>
                <c:pt idx="1792">
                  <c:v>6.0152948395605774</c:v>
                </c:pt>
                <c:pt idx="1793">
                  <c:v>6.1051945765989455</c:v>
                </c:pt>
                <c:pt idx="1794">
                  <c:v>5.9485971436265626</c:v>
                </c:pt>
                <c:pt idx="1795">
                  <c:v>6.0994079050710681</c:v>
                </c:pt>
                <c:pt idx="1796">
                  <c:v>5.9605744693683071</c:v>
                </c:pt>
                <c:pt idx="1797">
                  <c:v>5.0236891580984402</c:v>
                </c:pt>
                <c:pt idx="1798">
                  <c:v>6.1593456100323625</c:v>
                </c:pt>
                <c:pt idx="1799">
                  <c:v>6.8705454235806798</c:v>
                </c:pt>
                <c:pt idx="1800">
                  <c:v>5.0574122244510091</c:v>
                </c:pt>
                <c:pt idx="1801">
                  <c:v>6.0501801321697926</c:v>
                </c:pt>
                <c:pt idx="1802">
                  <c:v>6.0045373223512968</c:v>
                </c:pt>
                <c:pt idx="1803">
                  <c:v>5.1425369371948211</c:v>
                </c:pt>
                <c:pt idx="1804">
                  <c:v>6.9094969449193639</c:v>
                </c:pt>
                <c:pt idx="1805">
                  <c:v>5.9816075003194928</c:v>
                </c:pt>
                <c:pt idx="1806">
                  <c:v>5.1240520206668814</c:v>
                </c:pt>
                <c:pt idx="1807">
                  <c:v>6.9828091622477046</c:v>
                </c:pt>
                <c:pt idx="1808">
                  <c:v>4.9648246369158358</c:v>
                </c:pt>
                <c:pt idx="1809">
                  <c:v>7.0948237282542603</c:v>
                </c:pt>
                <c:pt idx="1810">
                  <c:v>5.9185876423196371</c:v>
                </c:pt>
                <c:pt idx="1811">
                  <c:v>6.6928135937604365</c:v>
                </c:pt>
                <c:pt idx="1812">
                  <c:v>7.0282815141466841</c:v>
                </c:pt>
                <c:pt idx="1813">
                  <c:v>5.0153821084628545</c:v>
                </c:pt>
                <c:pt idx="1814">
                  <c:v>6.0114208270581546</c:v>
                </c:pt>
                <c:pt idx="1815">
                  <c:v>4.0784058792096687</c:v>
                </c:pt>
                <c:pt idx="1816">
                  <c:v>6.0778495647403474</c:v>
                </c:pt>
                <c:pt idx="1817">
                  <c:v>5.8753582455585649</c:v>
                </c:pt>
                <c:pt idx="1818">
                  <c:v>7.0697175170187849</c:v>
                </c:pt>
                <c:pt idx="1819">
                  <c:v>5.927838985661924</c:v>
                </c:pt>
                <c:pt idx="1820">
                  <c:v>5.7897193056260097</c:v>
                </c:pt>
                <c:pt idx="1821">
                  <c:v>5.063664285905813</c:v>
                </c:pt>
                <c:pt idx="1822">
                  <c:v>6.0337025687798889</c:v>
                </c:pt>
                <c:pt idx="1823">
                  <c:v>6.1096741120324429</c:v>
                </c:pt>
                <c:pt idx="1824">
                  <c:v>6.1021831526157611</c:v>
                </c:pt>
                <c:pt idx="1825">
                  <c:v>5.9030721402528537</c:v>
                </c:pt>
                <c:pt idx="1826">
                  <c:v>9.0264528855788395</c:v>
                </c:pt>
                <c:pt idx="1827">
                  <c:v>4.9722096660373989</c:v>
                </c:pt>
                <c:pt idx="1828">
                  <c:v>4.9955433140996455</c:v>
                </c:pt>
                <c:pt idx="1829">
                  <c:v>4.9052724023850178</c:v>
                </c:pt>
                <c:pt idx="1830">
                  <c:v>4.8319370422073895</c:v>
                </c:pt>
                <c:pt idx="1831">
                  <c:v>3.8452586645193469</c:v>
                </c:pt>
                <c:pt idx="1832">
                  <c:v>4.9736679309340319</c:v>
                </c:pt>
                <c:pt idx="1833">
                  <c:v>5.2016210025587339</c:v>
                </c:pt>
                <c:pt idx="1834">
                  <c:v>5.0365078410291551</c:v>
                </c:pt>
                <c:pt idx="1835">
                  <c:v>6.0234611055650644</c:v>
                </c:pt>
                <c:pt idx="1836">
                  <c:v>4.9337381282089101</c:v>
                </c:pt>
                <c:pt idx="1837">
                  <c:v>5.0018988814874339</c:v>
                </c:pt>
                <c:pt idx="1838">
                  <c:v>4.8986097686540955</c:v>
                </c:pt>
                <c:pt idx="1839">
                  <c:v>3.9371597052199263</c:v>
                </c:pt>
                <c:pt idx="1840">
                  <c:v>6.0051959529422065</c:v>
                </c:pt>
                <c:pt idx="1841">
                  <c:v>3.9764402739304296</c:v>
                </c:pt>
                <c:pt idx="1842">
                  <c:v>5.1612670897312363</c:v>
                </c:pt>
                <c:pt idx="1843">
                  <c:v>4.9464850020154456</c:v>
                </c:pt>
                <c:pt idx="1844">
                  <c:v>5.9201482252619035</c:v>
                </c:pt>
                <c:pt idx="1845">
                  <c:v>5.0399797319303916</c:v>
                </c:pt>
                <c:pt idx="1846">
                  <c:v>5.9733481112363345</c:v>
                </c:pt>
                <c:pt idx="1847">
                  <c:v>6.9959540668243907</c:v>
                </c:pt>
                <c:pt idx="1848">
                  <c:v>5.9726826650189535</c:v>
                </c:pt>
                <c:pt idx="1849">
                  <c:v>5.1643763870214432</c:v>
                </c:pt>
                <c:pt idx="1850">
                  <c:v>6.9997728129432053</c:v>
                </c:pt>
                <c:pt idx="1851">
                  <c:v>6.2093573522551004</c:v>
                </c:pt>
                <c:pt idx="1852">
                  <c:v>5.9736306742073797</c:v>
                </c:pt>
                <c:pt idx="1853">
                  <c:v>6.164324825083189</c:v>
                </c:pt>
                <c:pt idx="1854">
                  <c:v>5.9377180463280697</c:v>
                </c:pt>
                <c:pt idx="1855">
                  <c:v>6.8469999152980749</c:v>
                </c:pt>
                <c:pt idx="1856">
                  <c:v>7.2107083768768581</c:v>
                </c:pt>
                <c:pt idx="1857">
                  <c:v>4.9827418743435326</c:v>
                </c:pt>
                <c:pt idx="1858">
                  <c:v>7.0158578223459189</c:v>
                </c:pt>
                <c:pt idx="1859">
                  <c:v>6.8634451223068647</c:v>
                </c:pt>
                <c:pt idx="1860">
                  <c:v>5.8691784540447642</c:v>
                </c:pt>
                <c:pt idx="1861">
                  <c:v>6.9767166690993552</c:v>
                </c:pt>
                <c:pt idx="1862">
                  <c:v>6.7847223872921925</c:v>
                </c:pt>
                <c:pt idx="1863">
                  <c:v>7.0048115452333963</c:v>
                </c:pt>
                <c:pt idx="1864">
                  <c:v>4.9926160491588263</c:v>
                </c:pt>
                <c:pt idx="1865">
                  <c:v>6.0090736399530753</c:v>
                </c:pt>
                <c:pt idx="1866">
                  <c:v>4.9345205908277388</c:v>
                </c:pt>
                <c:pt idx="1867">
                  <c:v>5.9671194134384713</c:v>
                </c:pt>
                <c:pt idx="1868">
                  <c:v>5.098150801505021</c:v>
                </c:pt>
                <c:pt idx="1869">
                  <c:v>5.0027293020226296</c:v>
                </c:pt>
                <c:pt idx="1870">
                  <c:v>4.9821591746138054</c:v>
                </c:pt>
                <c:pt idx="1871">
                  <c:v>7.236976377514746</c:v>
                </c:pt>
                <c:pt idx="1872">
                  <c:v>5.990309492725971</c:v>
                </c:pt>
                <c:pt idx="1873">
                  <c:v>7.0523038038789458</c:v>
                </c:pt>
                <c:pt idx="1874">
                  <c:v>6.050852088859072</c:v>
                </c:pt>
                <c:pt idx="1875">
                  <c:v>3.9546035724120947</c:v>
                </c:pt>
                <c:pt idx="1876">
                  <c:v>5.9237584542453376</c:v>
                </c:pt>
                <c:pt idx="1877">
                  <c:v>4.8266800447999074</c:v>
                </c:pt>
                <c:pt idx="1878">
                  <c:v>4.9894959677160786</c:v>
                </c:pt>
                <c:pt idx="1879">
                  <c:v>4.9443488125340407</c:v>
                </c:pt>
                <c:pt idx="1880">
                  <c:v>5.1154399311175309</c:v>
                </c:pt>
                <c:pt idx="1881">
                  <c:v>7.0624530791436699</c:v>
                </c:pt>
                <c:pt idx="1882">
                  <c:v>5.9684993877819945</c:v>
                </c:pt>
                <c:pt idx="1883">
                  <c:v>6.7399487272290592</c:v>
                </c:pt>
                <c:pt idx="1884">
                  <c:v>5.1098282424249888</c:v>
                </c:pt>
                <c:pt idx="1885">
                  <c:v>6.0495952957151369</c:v>
                </c:pt>
                <c:pt idx="1886">
                  <c:v>6.0379423850912843</c:v>
                </c:pt>
                <c:pt idx="1887">
                  <c:v>5.0454735206953538</c:v>
                </c:pt>
                <c:pt idx="1888">
                  <c:v>4.8600351507445456</c:v>
                </c:pt>
                <c:pt idx="1889">
                  <c:v>3.9244732684930441</c:v>
                </c:pt>
                <c:pt idx="1890">
                  <c:v>4.8916104560981752</c:v>
                </c:pt>
                <c:pt idx="1891">
                  <c:v>5.9768451022882125</c:v>
                </c:pt>
                <c:pt idx="1892">
                  <c:v>5.9541704901579449</c:v>
                </c:pt>
                <c:pt idx="1893">
                  <c:v>5.900173842055831</c:v>
                </c:pt>
                <c:pt idx="1894">
                  <c:v>5.9961541018956339</c:v>
                </c:pt>
                <c:pt idx="1895">
                  <c:v>6.0541956601608318</c:v>
                </c:pt>
                <c:pt idx="1896">
                  <c:v>5.0906290641826812</c:v>
                </c:pt>
                <c:pt idx="1897">
                  <c:v>5.0255564854339845</c:v>
                </c:pt>
                <c:pt idx="1898">
                  <c:v>6.0626070962485867</c:v>
                </c:pt>
                <c:pt idx="1899">
                  <c:v>4.8829600865698453</c:v>
                </c:pt>
                <c:pt idx="1900">
                  <c:v>6.1724697856415291</c:v>
                </c:pt>
                <c:pt idx="1901">
                  <c:v>6.0028870091899318</c:v>
                </c:pt>
                <c:pt idx="1902">
                  <c:v>6.0423748444841854</c:v>
                </c:pt>
                <c:pt idx="1903">
                  <c:v>6.1468604925921388</c:v>
                </c:pt>
                <c:pt idx="1904">
                  <c:v>6.1579492756514176</c:v>
                </c:pt>
                <c:pt idx="1905">
                  <c:v>5.0223187403029517</c:v>
                </c:pt>
                <c:pt idx="1906">
                  <c:v>4.9821010100152145</c:v>
                </c:pt>
                <c:pt idx="1907">
                  <c:v>4.9311953469482468</c:v>
                </c:pt>
                <c:pt idx="1908">
                  <c:v>3.9742719081528666</c:v>
                </c:pt>
                <c:pt idx="1909">
                  <c:v>4.9987070934797702</c:v>
                </c:pt>
                <c:pt idx="1910">
                  <c:v>5.2375940601534801</c:v>
                </c:pt>
                <c:pt idx="1911">
                  <c:v>5.0544509451820296</c:v>
                </c:pt>
                <c:pt idx="1912">
                  <c:v>7.0848699782358366</c:v>
                </c:pt>
                <c:pt idx="1913">
                  <c:v>4.8439263444115408</c:v>
                </c:pt>
                <c:pt idx="1914">
                  <c:v>5.1335664016556457</c:v>
                </c:pt>
                <c:pt idx="1915">
                  <c:v>5.0478045656623065</c:v>
                </c:pt>
                <c:pt idx="1916">
                  <c:v>4.9115574321741704</c:v>
                </c:pt>
                <c:pt idx="1917">
                  <c:v>5.8900067926553143</c:v>
                </c:pt>
                <c:pt idx="1918">
                  <c:v>6.1599049583320671</c:v>
                </c:pt>
                <c:pt idx="1919">
                  <c:v>5.0890651847006643</c:v>
                </c:pt>
                <c:pt idx="1920">
                  <c:v>4.8854062854152707</c:v>
                </c:pt>
                <c:pt idx="1921">
                  <c:v>5.9211598840395965</c:v>
                </c:pt>
                <c:pt idx="1922">
                  <c:v>5.2352997497559546</c:v>
                </c:pt>
                <c:pt idx="1923">
                  <c:v>4.8753165222245887</c:v>
                </c:pt>
                <c:pt idx="1924">
                  <c:v>5.0623654828201197</c:v>
                </c:pt>
                <c:pt idx="1925">
                  <c:v>4.9877180592343304</c:v>
                </c:pt>
                <c:pt idx="1926">
                  <c:v>5.0381475471163926</c:v>
                </c:pt>
                <c:pt idx="1927">
                  <c:v>5.1132958907190122</c:v>
                </c:pt>
                <c:pt idx="1928">
                  <c:v>5.973265708379496</c:v>
                </c:pt>
                <c:pt idx="1929">
                  <c:v>6.0380260803014423</c:v>
                </c:pt>
                <c:pt idx="1930">
                  <c:v>5.1243461755671502</c:v>
                </c:pt>
                <c:pt idx="1931">
                  <c:v>5.2682552168417711</c:v>
                </c:pt>
                <c:pt idx="1932">
                  <c:v>5.9044223634971589</c:v>
                </c:pt>
                <c:pt idx="1933">
                  <c:v>5.1731981729495997</c:v>
                </c:pt>
                <c:pt idx="1934">
                  <c:v>5.1571840674846952</c:v>
                </c:pt>
                <c:pt idx="1935">
                  <c:v>5.8648746132395058</c:v>
                </c:pt>
                <c:pt idx="1936">
                  <c:v>6.0815479551659237</c:v>
                </c:pt>
                <c:pt idx="1937">
                  <c:v>5.0747648859491594</c:v>
                </c:pt>
                <c:pt idx="1938">
                  <c:v>5.9076631291276129</c:v>
                </c:pt>
                <c:pt idx="1939">
                  <c:v>4.9607035691445738</c:v>
                </c:pt>
                <c:pt idx="1940">
                  <c:v>5.1195092703349276</c:v>
                </c:pt>
                <c:pt idx="1941">
                  <c:v>6.1426128237295812</c:v>
                </c:pt>
                <c:pt idx="1942">
                  <c:v>6.1430170196857503</c:v>
                </c:pt>
                <c:pt idx="1943">
                  <c:v>5.0779475503779654</c:v>
                </c:pt>
                <c:pt idx="1944">
                  <c:v>3.8988316500062763</c:v>
                </c:pt>
                <c:pt idx="1945">
                  <c:v>4.1718932029342506</c:v>
                </c:pt>
                <c:pt idx="1946">
                  <c:v>5.9871867617552645</c:v>
                </c:pt>
                <c:pt idx="1947">
                  <c:v>4.9032504043529075</c:v>
                </c:pt>
                <c:pt idx="1948">
                  <c:v>5.1555794910644837</c:v>
                </c:pt>
                <c:pt idx="1949">
                  <c:v>6.0477721353514786</c:v>
                </c:pt>
                <c:pt idx="1950">
                  <c:v>7.1139018533435969</c:v>
                </c:pt>
                <c:pt idx="1951">
                  <c:v>5.9877073230997349</c:v>
                </c:pt>
                <c:pt idx="1952">
                  <c:v>6.8317610331480001</c:v>
                </c:pt>
                <c:pt idx="1953">
                  <c:v>7.0689215210281127</c:v>
                </c:pt>
                <c:pt idx="1954">
                  <c:v>6.9297816574994116</c:v>
                </c:pt>
                <c:pt idx="1955">
                  <c:v>6.9107329068019219</c:v>
                </c:pt>
                <c:pt idx="1956">
                  <c:v>2.797583864084964</c:v>
                </c:pt>
                <c:pt idx="1957">
                  <c:v>3.197216439017426</c:v>
                </c:pt>
                <c:pt idx="1958">
                  <c:v>5.0770728902413271</c:v>
                </c:pt>
                <c:pt idx="1959">
                  <c:v>6.0166256968430218</c:v>
                </c:pt>
                <c:pt idx="1960">
                  <c:v>5.9886367569074839</c:v>
                </c:pt>
                <c:pt idx="1961">
                  <c:v>4.0305606253963555</c:v>
                </c:pt>
                <c:pt idx="1962">
                  <c:v>4.8665892393337984</c:v>
                </c:pt>
                <c:pt idx="1963">
                  <c:v>6.1718954041466905</c:v>
                </c:pt>
                <c:pt idx="1964">
                  <c:v>5.1029006991763328</c:v>
                </c:pt>
                <c:pt idx="1965">
                  <c:v>5.9020042574259666</c:v>
                </c:pt>
                <c:pt idx="1966">
                  <c:v>6.0844835021909818</c:v>
                </c:pt>
                <c:pt idx="1967">
                  <c:v>5.1401193917595478</c:v>
                </c:pt>
                <c:pt idx="1968">
                  <c:v>4.9715652921437314</c:v>
                </c:pt>
                <c:pt idx="1969">
                  <c:v>6.0878675711627519</c:v>
                </c:pt>
                <c:pt idx="1970">
                  <c:v>5.0131134139539606</c:v>
                </c:pt>
                <c:pt idx="1971">
                  <c:v>5.7964402549602712</c:v>
                </c:pt>
                <c:pt idx="1972">
                  <c:v>4.9401197265655039</c:v>
                </c:pt>
                <c:pt idx="1973">
                  <c:v>4.7997627548285005</c:v>
                </c:pt>
                <c:pt idx="1974">
                  <c:v>4.9638669211834365</c:v>
                </c:pt>
                <c:pt idx="1975">
                  <c:v>4.8983820726440364</c:v>
                </c:pt>
                <c:pt idx="1976">
                  <c:v>5.0993948533761726</c:v>
                </c:pt>
                <c:pt idx="1977">
                  <c:v>5.9142214611728505</c:v>
                </c:pt>
                <c:pt idx="1978">
                  <c:v>6.0432246853087488</c:v>
                </c:pt>
                <c:pt idx="1979">
                  <c:v>7.1272966162828757</c:v>
                </c:pt>
                <c:pt idx="1980">
                  <c:v>5.0256909776592238</c:v>
                </c:pt>
                <c:pt idx="1981">
                  <c:v>4.1064953581291173</c:v>
                </c:pt>
                <c:pt idx="1982">
                  <c:v>5.9510808574532215</c:v>
                </c:pt>
                <c:pt idx="1983">
                  <c:v>5.8985813047496203</c:v>
                </c:pt>
                <c:pt idx="1984">
                  <c:v>5.086771792815119</c:v>
                </c:pt>
                <c:pt idx="1985">
                  <c:v>5.1399639989610071</c:v>
                </c:pt>
                <c:pt idx="1986">
                  <c:v>6.1416787002541895</c:v>
                </c:pt>
                <c:pt idx="1987">
                  <c:v>4.9412500369435968</c:v>
                </c:pt>
                <c:pt idx="1988">
                  <c:v>4.9982725344325134</c:v>
                </c:pt>
                <c:pt idx="1989">
                  <c:v>6.1570457573228579</c:v>
                </c:pt>
                <c:pt idx="1990">
                  <c:v>5.9907953317181324</c:v>
                </c:pt>
                <c:pt idx="1991">
                  <c:v>5.0628328959894606</c:v>
                </c:pt>
                <c:pt idx="1992">
                  <c:v>4.9932476108637616</c:v>
                </c:pt>
                <c:pt idx="1993">
                  <c:v>4.9484983798102267</c:v>
                </c:pt>
                <c:pt idx="1994">
                  <c:v>5.8724310046679893</c:v>
                </c:pt>
                <c:pt idx="1995">
                  <c:v>5.0961987707497736</c:v>
                </c:pt>
                <c:pt idx="1996">
                  <c:v>4.9756522556913056</c:v>
                </c:pt>
                <c:pt idx="1997">
                  <c:v>4.9624995185135985</c:v>
                </c:pt>
                <c:pt idx="1998">
                  <c:v>5.0033239730765242</c:v>
                </c:pt>
                <c:pt idx="1999">
                  <c:v>5.1305913396836127</c:v>
                </c:pt>
                <c:pt idx="2000">
                  <c:v>4.8632111624174668</c:v>
                </c:pt>
                <c:pt idx="2001">
                  <c:v>5.9666202691926182</c:v>
                </c:pt>
                <c:pt idx="2002">
                  <c:v>6.0642225536139094</c:v>
                </c:pt>
                <c:pt idx="2003">
                  <c:v>4.909228998199481</c:v>
                </c:pt>
                <c:pt idx="2004">
                  <c:v>5.8184983044560177</c:v>
                </c:pt>
                <c:pt idx="2005">
                  <c:v>5.9571472657548519</c:v>
                </c:pt>
                <c:pt idx="2006">
                  <c:v>6.9592142640214831</c:v>
                </c:pt>
                <c:pt idx="2007">
                  <c:v>6.8312585848229599</c:v>
                </c:pt>
                <c:pt idx="2008">
                  <c:v>6.8717917282909662</c:v>
                </c:pt>
                <c:pt idx="2009">
                  <c:v>4.732988008414404</c:v>
                </c:pt>
                <c:pt idx="2010">
                  <c:v>4.9905935034364557</c:v>
                </c:pt>
                <c:pt idx="2011">
                  <c:v>6.9725267509328699</c:v>
                </c:pt>
                <c:pt idx="2012">
                  <c:v>4.9466032194469927</c:v>
                </c:pt>
                <c:pt idx="2013">
                  <c:v>4.8389718095562637</c:v>
                </c:pt>
                <c:pt idx="2014">
                  <c:v>4.957193180011795</c:v>
                </c:pt>
                <c:pt idx="2015">
                  <c:v>5.9924268124107751</c:v>
                </c:pt>
                <c:pt idx="2016">
                  <c:v>5.9684256053215039</c:v>
                </c:pt>
                <c:pt idx="2017">
                  <c:v>5.0119620073564093</c:v>
                </c:pt>
                <c:pt idx="2018">
                  <c:v>4.8814558838820759</c:v>
                </c:pt>
                <c:pt idx="2019">
                  <c:v>7.0952098356679718</c:v>
                </c:pt>
                <c:pt idx="2020">
                  <c:v>5.1795951622734302</c:v>
                </c:pt>
                <c:pt idx="2021">
                  <c:v>4.8964069592354473</c:v>
                </c:pt>
                <c:pt idx="2022">
                  <c:v>5.0128001711244474</c:v>
                </c:pt>
                <c:pt idx="2023">
                  <c:v>5.0583833684213566</c:v>
                </c:pt>
                <c:pt idx="2024">
                  <c:v>6.2088767909185165</c:v>
                </c:pt>
                <c:pt idx="2025">
                  <c:v>4.8177481906763679</c:v>
                </c:pt>
                <c:pt idx="2026">
                  <c:v>6.073236050552814</c:v>
                </c:pt>
                <c:pt idx="2027">
                  <c:v>5.2044437246253779</c:v>
                </c:pt>
                <c:pt idx="2028">
                  <c:v>5.0020409726491275</c:v>
                </c:pt>
                <c:pt idx="2029">
                  <c:v>5.1581391191424784</c:v>
                </c:pt>
                <c:pt idx="2030">
                  <c:v>4.9267707365389981</c:v>
                </c:pt>
                <c:pt idx="2031">
                  <c:v>4.9946770950291954</c:v>
                </c:pt>
                <c:pt idx="2032">
                  <c:v>5.0406911646214771</c:v>
                </c:pt>
                <c:pt idx="2033">
                  <c:v>4.9353287474741219</c:v>
                </c:pt>
                <c:pt idx="2034">
                  <c:v>5.9149084403950551</c:v>
                </c:pt>
                <c:pt idx="2035">
                  <c:v>6.0718350787802153</c:v>
                </c:pt>
                <c:pt idx="2036">
                  <c:v>6.1528167900553381</c:v>
                </c:pt>
                <c:pt idx="2037">
                  <c:v>4.8800224922546427</c:v>
                </c:pt>
                <c:pt idx="2038">
                  <c:v>5.0935168488012987</c:v>
                </c:pt>
                <c:pt idx="2039">
                  <c:v>6.0525226120756352</c:v>
                </c:pt>
                <c:pt idx="2040">
                  <c:v>6.1170333153119785</c:v>
                </c:pt>
                <c:pt idx="2041">
                  <c:v>5.9854568557757988</c:v>
                </c:pt>
                <c:pt idx="2042">
                  <c:v>5.9943228691460169</c:v>
                </c:pt>
                <c:pt idx="2043">
                  <c:v>6.2497312548658535</c:v>
                </c:pt>
                <c:pt idx="2044">
                  <c:v>5.9340655124191475</c:v>
                </c:pt>
                <c:pt idx="2045">
                  <c:v>4.1260549176157317</c:v>
                </c:pt>
                <c:pt idx="2046">
                  <c:v>4.9588575920326603</c:v>
                </c:pt>
                <c:pt idx="2047">
                  <c:v>5.9675651103412628</c:v>
                </c:pt>
                <c:pt idx="2048">
                  <c:v>4.7877509085392482</c:v>
                </c:pt>
                <c:pt idx="2049">
                  <c:v>7.0976084138947657</c:v>
                </c:pt>
                <c:pt idx="2050">
                  <c:v>4.9403013646466185</c:v>
                </c:pt>
                <c:pt idx="2051">
                  <c:v>6.0775840907101264</c:v>
                </c:pt>
                <c:pt idx="2052">
                  <c:v>5.9501502801054231</c:v>
                </c:pt>
                <c:pt idx="2053">
                  <c:v>6.1081217018798233</c:v>
                </c:pt>
                <c:pt idx="2054">
                  <c:v>4.8879480753050384</c:v>
                </c:pt>
                <c:pt idx="2055">
                  <c:v>4.0157927779781062</c:v>
                </c:pt>
                <c:pt idx="2056">
                  <c:v>4.9824919416600437</c:v>
                </c:pt>
                <c:pt idx="2057">
                  <c:v>6.0318449466710709</c:v>
                </c:pt>
                <c:pt idx="2058">
                  <c:v>4.9873248135916404</c:v>
                </c:pt>
                <c:pt idx="2059">
                  <c:v>5.0404414499775907</c:v>
                </c:pt>
                <c:pt idx="2060">
                  <c:v>6.0129688685603391</c:v>
                </c:pt>
                <c:pt idx="2061">
                  <c:v>4.0013527550873684</c:v>
                </c:pt>
                <c:pt idx="2062">
                  <c:v>4.9352462959747099</c:v>
                </c:pt>
                <c:pt idx="2063">
                  <c:v>6.9591024149118681</c:v>
                </c:pt>
                <c:pt idx="2064">
                  <c:v>7.2020437798898218</c:v>
                </c:pt>
                <c:pt idx="2065">
                  <c:v>5.0610092768702577</c:v>
                </c:pt>
                <c:pt idx="2066">
                  <c:v>5.0056435520762035</c:v>
                </c:pt>
                <c:pt idx="2067">
                  <c:v>6.1565089527234704</c:v>
                </c:pt>
                <c:pt idx="2068">
                  <c:v>5.9943241372244751</c:v>
                </c:pt>
                <c:pt idx="2069">
                  <c:v>4.9975117094762354</c:v>
                </c:pt>
                <c:pt idx="2070">
                  <c:v>4.7205717881093436</c:v>
                </c:pt>
                <c:pt idx="2071">
                  <c:v>5.9728146728888483</c:v>
                </c:pt>
                <c:pt idx="2072">
                  <c:v>6.0126982772054891</c:v>
                </c:pt>
                <c:pt idx="2073">
                  <c:v>5.9071173769918497</c:v>
                </c:pt>
                <c:pt idx="2074">
                  <c:v>5.1547477647318765</c:v>
                </c:pt>
                <c:pt idx="2075">
                  <c:v>4.8993930631815559</c:v>
                </c:pt>
                <c:pt idx="2076">
                  <c:v>6.2471290559528549</c:v>
                </c:pt>
                <c:pt idx="2077">
                  <c:v>6.1698759858208634</c:v>
                </c:pt>
                <c:pt idx="2078">
                  <c:v>4.8712650523003456</c:v>
                </c:pt>
                <c:pt idx="2079">
                  <c:v>4.9182634091703292</c:v>
                </c:pt>
                <c:pt idx="2080">
                  <c:v>5.9810778329331784</c:v>
                </c:pt>
                <c:pt idx="2081">
                  <c:v>5.8907794259055999</c:v>
                </c:pt>
                <c:pt idx="2082">
                  <c:v>5.8688067163532853</c:v>
                </c:pt>
                <c:pt idx="2083">
                  <c:v>6.0863452995340968</c:v>
                </c:pt>
                <c:pt idx="2084">
                  <c:v>4.8953438120863266</c:v>
                </c:pt>
                <c:pt idx="2085">
                  <c:v>7.0504616180091615</c:v>
                </c:pt>
                <c:pt idx="2086">
                  <c:v>5.0807022812056593</c:v>
                </c:pt>
                <c:pt idx="2087">
                  <c:v>5.0289677864723332</c:v>
                </c:pt>
                <c:pt idx="2088">
                  <c:v>6.098027344168365</c:v>
                </c:pt>
                <c:pt idx="2089">
                  <c:v>4.8770355949143767</c:v>
                </c:pt>
                <c:pt idx="2090">
                  <c:v>6.1327441785871537</c:v>
                </c:pt>
                <c:pt idx="2091">
                  <c:v>5.1973508615915414</c:v>
                </c:pt>
                <c:pt idx="2092">
                  <c:v>4.9393591140679156</c:v>
                </c:pt>
                <c:pt idx="2093">
                  <c:v>4.9084625387215208</c:v>
                </c:pt>
                <c:pt idx="2094">
                  <c:v>6.2965374800106284</c:v>
                </c:pt>
                <c:pt idx="2095">
                  <c:v>5.0315894267007533</c:v>
                </c:pt>
                <c:pt idx="2096">
                  <c:v>5.9397068305523018</c:v>
                </c:pt>
                <c:pt idx="2097">
                  <c:v>5.1062822587290926</c:v>
                </c:pt>
                <c:pt idx="2098">
                  <c:v>7.0386900855139229</c:v>
                </c:pt>
                <c:pt idx="2099">
                  <c:v>4.9721037187322255</c:v>
                </c:pt>
                <c:pt idx="2100">
                  <c:v>5.9845909145634026</c:v>
                </c:pt>
                <c:pt idx="2101">
                  <c:v>5.9232133451933269</c:v>
                </c:pt>
                <c:pt idx="2102">
                  <c:v>4.8692358374414733</c:v>
                </c:pt>
                <c:pt idx="2103">
                  <c:v>5.9607534392818708</c:v>
                </c:pt>
                <c:pt idx="2104">
                  <c:v>5.0168322231368077</c:v>
                </c:pt>
                <c:pt idx="2105">
                  <c:v>6.8989660640341777</c:v>
                </c:pt>
                <c:pt idx="2106">
                  <c:v>6.2257658284564759</c:v>
                </c:pt>
                <c:pt idx="2107">
                  <c:v>6.0971127679752524</c:v>
                </c:pt>
                <c:pt idx="2108">
                  <c:v>5.9372251073109146</c:v>
                </c:pt>
                <c:pt idx="2109">
                  <c:v>6.044574697859181</c:v>
                </c:pt>
                <c:pt idx="2110">
                  <c:v>6.0093470718561175</c:v>
                </c:pt>
                <c:pt idx="2111">
                  <c:v>3.9350798519012797</c:v>
                </c:pt>
                <c:pt idx="2112">
                  <c:v>6.0385416291666534</c:v>
                </c:pt>
                <c:pt idx="2113">
                  <c:v>5.082657933278238</c:v>
                </c:pt>
                <c:pt idx="2114">
                  <c:v>5.9679280727255284</c:v>
                </c:pt>
                <c:pt idx="2115">
                  <c:v>5.875762456634015</c:v>
                </c:pt>
                <c:pt idx="2116">
                  <c:v>4.9949461536617896</c:v>
                </c:pt>
                <c:pt idx="2117">
                  <c:v>3.9730948533739969</c:v>
                </c:pt>
                <c:pt idx="2118">
                  <c:v>4.9995064144102264</c:v>
                </c:pt>
                <c:pt idx="2119">
                  <c:v>4.8781058671262416</c:v>
                </c:pt>
                <c:pt idx="2120">
                  <c:v>6.0028372538918502</c:v>
                </c:pt>
                <c:pt idx="2121">
                  <c:v>5.0988182562572799</c:v>
                </c:pt>
                <c:pt idx="2122">
                  <c:v>5.0612987385647266</c:v>
                </c:pt>
                <c:pt idx="2123">
                  <c:v>3.9791676460793348</c:v>
                </c:pt>
                <c:pt idx="2124">
                  <c:v>6.844902585206837</c:v>
                </c:pt>
                <c:pt idx="2125">
                  <c:v>5.0611579440179932</c:v>
                </c:pt>
                <c:pt idx="2126">
                  <c:v>5.0615656297046048</c:v>
                </c:pt>
                <c:pt idx="2127">
                  <c:v>4.8409953861462114</c:v>
                </c:pt>
                <c:pt idx="2128">
                  <c:v>6.0752019627370801</c:v>
                </c:pt>
                <c:pt idx="2129">
                  <c:v>5.0077872331149216</c:v>
                </c:pt>
                <c:pt idx="2130">
                  <c:v>4.8567218803642813</c:v>
                </c:pt>
                <c:pt idx="2131">
                  <c:v>7.0017895086351629</c:v>
                </c:pt>
                <c:pt idx="2132">
                  <c:v>6.0919314126813049</c:v>
                </c:pt>
                <c:pt idx="2133">
                  <c:v>7.0320585800120599</c:v>
                </c:pt>
                <c:pt idx="2134">
                  <c:v>4.7994444368880451</c:v>
                </c:pt>
                <c:pt idx="2135">
                  <c:v>5.9882568419975222</c:v>
                </c:pt>
                <c:pt idx="2136">
                  <c:v>6.1948932108900499</c:v>
                </c:pt>
                <c:pt idx="2137">
                  <c:v>4.970643803248552</c:v>
                </c:pt>
                <c:pt idx="2138">
                  <c:v>5.7994721932798159</c:v>
                </c:pt>
                <c:pt idx="2139">
                  <c:v>6.0206851483075345</c:v>
                </c:pt>
                <c:pt idx="2140">
                  <c:v>5.8732340715989553</c:v>
                </c:pt>
                <c:pt idx="2141">
                  <c:v>5.9849238827516835</c:v>
                </c:pt>
                <c:pt idx="2142">
                  <c:v>7.0639405023431125</c:v>
                </c:pt>
                <c:pt idx="2143">
                  <c:v>4.8859979770253039</c:v>
                </c:pt>
                <c:pt idx="2144">
                  <c:v>4.9660576255723301</c:v>
                </c:pt>
                <c:pt idx="2145">
                  <c:v>4.9862814890747709</c:v>
                </c:pt>
                <c:pt idx="2146">
                  <c:v>6.0705314182641619</c:v>
                </c:pt>
                <c:pt idx="2147">
                  <c:v>7.1423640555957277</c:v>
                </c:pt>
                <c:pt idx="2148">
                  <c:v>5.0225126077016924</c:v>
                </c:pt>
                <c:pt idx="2149">
                  <c:v>6.1099777142617313</c:v>
                </c:pt>
                <c:pt idx="2150">
                  <c:v>5.1050253322222554</c:v>
                </c:pt>
                <c:pt idx="2151">
                  <c:v>5.9311155431875129</c:v>
                </c:pt>
                <c:pt idx="2152">
                  <c:v>6.0665120938680168</c:v>
                </c:pt>
                <c:pt idx="2153">
                  <c:v>5.0040457789447252</c:v>
                </c:pt>
                <c:pt idx="2154">
                  <c:v>4.802387087403666</c:v>
                </c:pt>
                <c:pt idx="2155">
                  <c:v>5.0337835161708639</c:v>
                </c:pt>
                <c:pt idx="2156">
                  <c:v>5.9699547471546612</c:v>
                </c:pt>
                <c:pt idx="2157">
                  <c:v>4.9139546737630466</c:v>
                </c:pt>
                <c:pt idx="2158">
                  <c:v>6.9960604435499354</c:v>
                </c:pt>
                <c:pt idx="2159">
                  <c:v>6.1136913790554397</c:v>
                </c:pt>
                <c:pt idx="2160">
                  <c:v>7.0050345974415755</c:v>
                </c:pt>
                <c:pt idx="2161">
                  <c:v>4.8692878164079945</c:v>
                </c:pt>
                <c:pt idx="2162">
                  <c:v>5.1117133972111111</c:v>
                </c:pt>
                <c:pt idx="2163">
                  <c:v>5.0124258573382612</c:v>
                </c:pt>
                <c:pt idx="2164">
                  <c:v>6.8804304783939942</c:v>
                </c:pt>
                <c:pt idx="2165">
                  <c:v>4.8716336011871126</c:v>
                </c:pt>
                <c:pt idx="2166">
                  <c:v>5.9781125053205812</c:v>
                </c:pt>
                <c:pt idx="2167">
                  <c:v>5.9378455972992406</c:v>
                </c:pt>
                <c:pt idx="2168">
                  <c:v>5.9113929634969127</c:v>
                </c:pt>
                <c:pt idx="2169">
                  <c:v>5.8884850542118707</c:v>
                </c:pt>
                <c:pt idx="2170">
                  <c:v>3.9343123065467309</c:v>
                </c:pt>
                <c:pt idx="2171">
                  <c:v>5.0326199331190011</c:v>
                </c:pt>
                <c:pt idx="2172">
                  <c:v>6.1040969207003553</c:v>
                </c:pt>
                <c:pt idx="2173">
                  <c:v>4.89309558232946</c:v>
                </c:pt>
                <c:pt idx="2174">
                  <c:v>6.0550845859342717</c:v>
                </c:pt>
                <c:pt idx="2175">
                  <c:v>5.0974959696802848</c:v>
                </c:pt>
                <c:pt idx="2176">
                  <c:v>4.974289014318293</c:v>
                </c:pt>
                <c:pt idx="2177">
                  <c:v>3.8632293904689292</c:v>
                </c:pt>
                <c:pt idx="2178">
                  <c:v>5.9575205737631718</c:v>
                </c:pt>
                <c:pt idx="2179">
                  <c:v>5.8352162774121528</c:v>
                </c:pt>
                <c:pt idx="2180">
                  <c:v>5.9537055080054921</c:v>
                </c:pt>
                <c:pt idx="2181">
                  <c:v>5.9792052205799342</c:v>
                </c:pt>
                <c:pt idx="2182">
                  <c:v>6.1266564549767972</c:v>
                </c:pt>
                <c:pt idx="2183">
                  <c:v>6.094267625558933</c:v>
                </c:pt>
                <c:pt idx="2184">
                  <c:v>5.8922799799159753</c:v>
                </c:pt>
                <c:pt idx="2185">
                  <c:v>6.055423359629768</c:v>
                </c:pt>
                <c:pt idx="2186">
                  <c:v>5.8911078938114789</c:v>
                </c:pt>
                <c:pt idx="2187">
                  <c:v>5.883567899258602</c:v>
                </c:pt>
                <c:pt idx="2188">
                  <c:v>6.0030942466853077</c:v>
                </c:pt>
                <c:pt idx="2189">
                  <c:v>5.900474291171208</c:v>
                </c:pt>
                <c:pt idx="2190">
                  <c:v>5.947508763618103</c:v>
                </c:pt>
                <c:pt idx="2191">
                  <c:v>5.9205576025524973</c:v>
                </c:pt>
                <c:pt idx="2192">
                  <c:v>5.9332161508831671</c:v>
                </c:pt>
                <c:pt idx="2193">
                  <c:v>6.1838498016278294</c:v>
                </c:pt>
                <c:pt idx="2194">
                  <c:v>4.9718635431837841</c:v>
                </c:pt>
                <c:pt idx="2195">
                  <c:v>6.0221266717525932</c:v>
                </c:pt>
                <c:pt idx="2196">
                  <c:v>6.0277784124143938</c:v>
                </c:pt>
                <c:pt idx="2197">
                  <c:v>6.0876184867294478</c:v>
                </c:pt>
                <c:pt idx="2198">
                  <c:v>6.0581339040978133</c:v>
                </c:pt>
                <c:pt idx="2199">
                  <c:v>4.989135461505386</c:v>
                </c:pt>
                <c:pt idx="2200">
                  <c:v>5.07847261005102</c:v>
                </c:pt>
                <c:pt idx="2201">
                  <c:v>4.958498640361463</c:v>
                </c:pt>
                <c:pt idx="2202">
                  <c:v>5.0378221447085387</c:v>
                </c:pt>
                <c:pt idx="2203">
                  <c:v>5.9980384182629738</c:v>
                </c:pt>
                <c:pt idx="2204">
                  <c:v>5.8789491498782507</c:v>
                </c:pt>
                <c:pt idx="2205">
                  <c:v>6.9423905871917224</c:v>
                </c:pt>
                <c:pt idx="2206">
                  <c:v>5.9578847447816079</c:v>
                </c:pt>
                <c:pt idx="2207">
                  <c:v>4.9471416142183591</c:v>
                </c:pt>
                <c:pt idx="2208">
                  <c:v>5.0446026674137814</c:v>
                </c:pt>
                <c:pt idx="2209">
                  <c:v>5.0224437817703667</c:v>
                </c:pt>
                <c:pt idx="2210">
                  <c:v>4.9142830734166898</c:v>
                </c:pt>
                <c:pt idx="2211">
                  <c:v>5.9252890026219607</c:v>
                </c:pt>
                <c:pt idx="2212">
                  <c:v>5.8805224115659582</c:v>
                </c:pt>
                <c:pt idx="2213">
                  <c:v>5.7997518151041447</c:v>
                </c:pt>
                <c:pt idx="2214">
                  <c:v>2.0089465280072418</c:v>
                </c:pt>
                <c:pt idx="2215">
                  <c:v>4.9622694296182113</c:v>
                </c:pt>
                <c:pt idx="2216">
                  <c:v>5.9109846797498964</c:v>
                </c:pt>
                <c:pt idx="2217">
                  <c:v>2.2111931190340686</c:v>
                </c:pt>
                <c:pt idx="2218">
                  <c:v>5.9952364071715465</c:v>
                </c:pt>
                <c:pt idx="2219">
                  <c:v>5.8302510149512923</c:v>
                </c:pt>
                <c:pt idx="2220">
                  <c:v>1.8950131147393481</c:v>
                </c:pt>
                <c:pt idx="2221">
                  <c:v>6.1051260791468858</c:v>
                </c:pt>
                <c:pt idx="2222">
                  <c:v>2.1066048450870163</c:v>
                </c:pt>
                <c:pt idx="2223">
                  <c:v>5.8640100532914845</c:v>
                </c:pt>
                <c:pt idx="2224">
                  <c:v>6.0411665790376512</c:v>
                </c:pt>
                <c:pt idx="2225">
                  <c:v>6.022014771025388</c:v>
                </c:pt>
                <c:pt idx="2226">
                  <c:v>6.0058503327747124</c:v>
                </c:pt>
                <c:pt idx="2227">
                  <c:v>5.0182272453110528</c:v>
                </c:pt>
                <c:pt idx="2228">
                  <c:v>6.0579111469513087</c:v>
                </c:pt>
                <c:pt idx="2229">
                  <c:v>6.1032097258013795</c:v>
                </c:pt>
                <c:pt idx="2230">
                  <c:v>3.9666654740055711</c:v>
                </c:pt>
                <c:pt idx="2231">
                  <c:v>5.974450042599166</c:v>
                </c:pt>
                <c:pt idx="2232">
                  <c:v>5.8188350944389313</c:v>
                </c:pt>
                <c:pt idx="2233">
                  <c:v>6.1981999535772534</c:v>
                </c:pt>
                <c:pt idx="2234">
                  <c:v>3.9582802369069667</c:v>
                </c:pt>
                <c:pt idx="2235">
                  <c:v>5.0730173334154589</c:v>
                </c:pt>
                <c:pt idx="2236">
                  <c:v>5.7939645871962009</c:v>
                </c:pt>
                <c:pt idx="2237">
                  <c:v>1.9634612099840498</c:v>
                </c:pt>
                <c:pt idx="2238">
                  <c:v>5.9336198252783952</c:v>
                </c:pt>
                <c:pt idx="2239">
                  <c:v>6.0831818502897512</c:v>
                </c:pt>
                <c:pt idx="2240">
                  <c:v>5.9919524261868959</c:v>
                </c:pt>
                <c:pt idx="2241">
                  <c:v>5.982103853787426</c:v>
                </c:pt>
                <c:pt idx="2242">
                  <c:v>5.0190983705948771</c:v>
                </c:pt>
                <c:pt idx="2243">
                  <c:v>6.0900482179291133</c:v>
                </c:pt>
                <c:pt idx="2244">
                  <c:v>5.0019588138983284</c:v>
                </c:pt>
                <c:pt idx="2245">
                  <c:v>6.0400970515821157</c:v>
                </c:pt>
                <c:pt idx="2246">
                  <c:v>5.0507314934723526</c:v>
                </c:pt>
                <c:pt idx="2247">
                  <c:v>5.1163952375860937</c:v>
                </c:pt>
                <c:pt idx="2248">
                  <c:v>5.005845240151868</c:v>
                </c:pt>
                <c:pt idx="2249">
                  <c:v>5.0763239198890524</c:v>
                </c:pt>
                <c:pt idx="2250">
                  <c:v>5.9543878284761469</c:v>
                </c:pt>
                <c:pt idx="2251">
                  <c:v>7.0264946613070869</c:v>
                </c:pt>
                <c:pt idx="2252">
                  <c:v>5.9090359798759611</c:v>
                </c:pt>
                <c:pt idx="2253">
                  <c:v>6.0256638602461861</c:v>
                </c:pt>
                <c:pt idx="2254">
                  <c:v>4.8738881690485085</c:v>
                </c:pt>
                <c:pt idx="2255">
                  <c:v>6.0445775917309712</c:v>
                </c:pt>
                <c:pt idx="2256">
                  <c:v>4.993500513574479</c:v>
                </c:pt>
                <c:pt idx="2257">
                  <c:v>5.1679157411120933</c:v>
                </c:pt>
                <c:pt idx="2258">
                  <c:v>5.0801971198356188</c:v>
                </c:pt>
                <c:pt idx="2259">
                  <c:v>5.9369422949526172</c:v>
                </c:pt>
                <c:pt idx="2260">
                  <c:v>5.0344675514870243</c:v>
                </c:pt>
                <c:pt idx="2261">
                  <c:v>5.0708340723223184</c:v>
                </c:pt>
                <c:pt idx="2262">
                  <c:v>5.0129133027062363</c:v>
                </c:pt>
                <c:pt idx="2263">
                  <c:v>6.2057409596141655</c:v>
                </c:pt>
                <c:pt idx="2264">
                  <c:v>5.020866495385234</c:v>
                </c:pt>
                <c:pt idx="2265">
                  <c:v>6.009072142658014</c:v>
                </c:pt>
                <c:pt idx="2266">
                  <c:v>5.0072914647669835</c:v>
                </c:pt>
                <c:pt idx="2267">
                  <c:v>4.098084744128168</c:v>
                </c:pt>
                <c:pt idx="2268">
                  <c:v>5.0162638819120042</c:v>
                </c:pt>
                <c:pt idx="2269">
                  <c:v>6.1508551294039098</c:v>
                </c:pt>
                <c:pt idx="2270">
                  <c:v>5.9776504223873621</c:v>
                </c:pt>
                <c:pt idx="2271">
                  <c:v>5.9873766209352315</c:v>
                </c:pt>
                <c:pt idx="2272">
                  <c:v>5.9970685311422853</c:v>
                </c:pt>
                <c:pt idx="2273">
                  <c:v>5.9462409092923441</c:v>
                </c:pt>
                <c:pt idx="2274">
                  <c:v>6.0947429657137597</c:v>
                </c:pt>
                <c:pt idx="2275">
                  <c:v>5.9984256205549258</c:v>
                </c:pt>
                <c:pt idx="2276">
                  <c:v>7.0156268451035499</c:v>
                </c:pt>
                <c:pt idx="2277">
                  <c:v>5.0692561793128545</c:v>
                </c:pt>
                <c:pt idx="2278">
                  <c:v>5.0570223664417187</c:v>
                </c:pt>
                <c:pt idx="2279">
                  <c:v>4.9441418251656142</c:v>
                </c:pt>
                <c:pt idx="2280">
                  <c:v>4.9214097073824483</c:v>
                </c:pt>
                <c:pt idx="2281">
                  <c:v>5.9224803002861783</c:v>
                </c:pt>
                <c:pt idx="2282">
                  <c:v>5.0809632877125885</c:v>
                </c:pt>
                <c:pt idx="2283">
                  <c:v>6.0997025809721661</c:v>
                </c:pt>
                <c:pt idx="2284">
                  <c:v>4.0753381597852369</c:v>
                </c:pt>
                <c:pt idx="2285">
                  <c:v>3.9129080312986497</c:v>
                </c:pt>
                <c:pt idx="2286">
                  <c:v>5.9486779474057752</c:v>
                </c:pt>
                <c:pt idx="2287">
                  <c:v>4.9321674579299408</c:v>
                </c:pt>
                <c:pt idx="2288">
                  <c:v>6.1900690531276759</c:v>
                </c:pt>
                <c:pt idx="2289">
                  <c:v>5.9507327258948131</c:v>
                </c:pt>
                <c:pt idx="2290">
                  <c:v>6.0503781417856173</c:v>
                </c:pt>
                <c:pt idx="2291">
                  <c:v>5.0841337053594273</c:v>
                </c:pt>
                <c:pt idx="2292">
                  <c:v>6.0604877164099644</c:v>
                </c:pt>
                <c:pt idx="2293">
                  <c:v>6.0146743791454309</c:v>
                </c:pt>
                <c:pt idx="2294">
                  <c:v>5.0439303989943101</c:v>
                </c:pt>
                <c:pt idx="2295">
                  <c:v>4.9643056035647852</c:v>
                </c:pt>
                <c:pt idx="2296">
                  <c:v>6.8338258169025394</c:v>
                </c:pt>
                <c:pt idx="2297">
                  <c:v>5.9090735315262828</c:v>
                </c:pt>
                <c:pt idx="2298">
                  <c:v>5.1054204866197823</c:v>
                </c:pt>
                <c:pt idx="2299">
                  <c:v>5.9796484632310332</c:v>
                </c:pt>
                <c:pt idx="2300">
                  <c:v>6.0725676266335844</c:v>
                </c:pt>
                <c:pt idx="2301">
                  <c:v>6.0349939294188193</c:v>
                </c:pt>
                <c:pt idx="2302">
                  <c:v>6.0110715553844054</c:v>
                </c:pt>
                <c:pt idx="2303">
                  <c:v>7.0285506932165385</c:v>
                </c:pt>
                <c:pt idx="2304">
                  <c:v>6.9465341034090837</c:v>
                </c:pt>
                <c:pt idx="2305">
                  <c:v>6.202106001856496</c:v>
                </c:pt>
                <c:pt idx="2306">
                  <c:v>4.8986678942838582</c:v>
                </c:pt>
                <c:pt idx="2307">
                  <c:v>4.7827372193094675</c:v>
                </c:pt>
                <c:pt idx="2308">
                  <c:v>5.0737617592447695</c:v>
                </c:pt>
                <c:pt idx="2309">
                  <c:v>4.8455845092617063</c:v>
                </c:pt>
                <c:pt idx="2310">
                  <c:v>4.9937695709932548</c:v>
                </c:pt>
                <c:pt idx="2311">
                  <c:v>5.0013794794093176</c:v>
                </c:pt>
                <c:pt idx="2312">
                  <c:v>4.8448912004173765</c:v>
                </c:pt>
                <c:pt idx="2313">
                  <c:v>5.93968687666609</c:v>
                </c:pt>
                <c:pt idx="2314">
                  <c:v>5.8733765089434584</c:v>
                </c:pt>
                <c:pt idx="2315">
                  <c:v>4.9548886875971396</c:v>
                </c:pt>
                <c:pt idx="2316">
                  <c:v>6.0128130900128154</c:v>
                </c:pt>
                <c:pt idx="2317">
                  <c:v>5.8678729008914852</c:v>
                </c:pt>
                <c:pt idx="2318">
                  <c:v>5.9073206759017269</c:v>
                </c:pt>
                <c:pt idx="2319">
                  <c:v>6.8473669280492606</c:v>
                </c:pt>
                <c:pt idx="2320">
                  <c:v>5.9532400171302129</c:v>
                </c:pt>
                <c:pt idx="2321">
                  <c:v>5.0255744335271846</c:v>
                </c:pt>
                <c:pt idx="2322">
                  <c:v>4.9735694590715402</c:v>
                </c:pt>
                <c:pt idx="2323">
                  <c:v>6.1346473623740829</c:v>
                </c:pt>
                <c:pt idx="2324">
                  <c:v>5.0655488032895359</c:v>
                </c:pt>
                <c:pt idx="2325">
                  <c:v>6.1552401663414713</c:v>
                </c:pt>
                <c:pt idx="2326">
                  <c:v>5.0638272047439665</c:v>
                </c:pt>
                <c:pt idx="2327">
                  <c:v>6.0192619705485786</c:v>
                </c:pt>
                <c:pt idx="2328">
                  <c:v>6.0216059257337911</c:v>
                </c:pt>
                <c:pt idx="2329">
                  <c:v>5.0150578520527516</c:v>
                </c:pt>
                <c:pt idx="2330">
                  <c:v>4.7974649415006878</c:v>
                </c:pt>
                <c:pt idx="2331">
                  <c:v>4.8669737237992026</c:v>
                </c:pt>
                <c:pt idx="2332">
                  <c:v>6.0652477204084656</c:v>
                </c:pt>
                <c:pt idx="2333">
                  <c:v>7.0816668625169505</c:v>
                </c:pt>
                <c:pt idx="2334">
                  <c:v>6.2033832056303728</c:v>
                </c:pt>
                <c:pt idx="2335">
                  <c:v>5.8156697206809493</c:v>
                </c:pt>
                <c:pt idx="2336">
                  <c:v>5.0214856632577058</c:v>
                </c:pt>
                <c:pt idx="2337">
                  <c:v>5.007136447575121</c:v>
                </c:pt>
                <c:pt idx="2338">
                  <c:v>5.9934332376027948</c:v>
                </c:pt>
                <c:pt idx="2339">
                  <c:v>4.8919149485698341</c:v>
                </c:pt>
                <c:pt idx="2340">
                  <c:v>5.9649760474823568</c:v>
                </c:pt>
                <c:pt idx="2341">
                  <c:v>5.0420645621059865</c:v>
                </c:pt>
                <c:pt idx="2342">
                  <c:v>5.9521563203336019</c:v>
                </c:pt>
                <c:pt idx="2343">
                  <c:v>5.0862142321887278</c:v>
                </c:pt>
                <c:pt idx="2344">
                  <c:v>6.0471797404845189</c:v>
                </c:pt>
                <c:pt idx="2345">
                  <c:v>7.1094116378903722</c:v>
                </c:pt>
                <c:pt idx="2346">
                  <c:v>5.0341159188462665</c:v>
                </c:pt>
                <c:pt idx="2347">
                  <c:v>5.0407509107320747</c:v>
                </c:pt>
                <c:pt idx="2348">
                  <c:v>6.0277518085296924</c:v>
                </c:pt>
                <c:pt idx="2349">
                  <c:v>4.9480025719207639</c:v>
                </c:pt>
                <c:pt idx="2350">
                  <c:v>4.8967238160517299</c:v>
                </c:pt>
                <c:pt idx="2351">
                  <c:v>6.6925553689334629</c:v>
                </c:pt>
                <c:pt idx="2352">
                  <c:v>5.9046225252189579</c:v>
                </c:pt>
                <c:pt idx="2353">
                  <c:v>7.0377790318779345</c:v>
                </c:pt>
                <c:pt idx="2354">
                  <c:v>6.0570347233391919</c:v>
                </c:pt>
                <c:pt idx="2355">
                  <c:v>6.9140070927016639</c:v>
                </c:pt>
                <c:pt idx="2356">
                  <c:v>5.9561908375342121</c:v>
                </c:pt>
                <c:pt idx="2357">
                  <c:v>5.0810416116497299</c:v>
                </c:pt>
                <c:pt idx="2358">
                  <c:v>5.0580026365133426</c:v>
                </c:pt>
                <c:pt idx="2359">
                  <c:v>6.1159038339935936</c:v>
                </c:pt>
                <c:pt idx="2360">
                  <c:v>5.1718752747766628</c:v>
                </c:pt>
                <c:pt idx="2361">
                  <c:v>5.0312972890359253</c:v>
                </c:pt>
                <c:pt idx="2362">
                  <c:v>5.9817050618348802</c:v>
                </c:pt>
                <c:pt idx="2363">
                  <c:v>4.8497194824603422</c:v>
                </c:pt>
                <c:pt idx="2364">
                  <c:v>5.0496286336823548</c:v>
                </c:pt>
                <c:pt idx="2365">
                  <c:v>6.0336272203528871</c:v>
                </c:pt>
                <c:pt idx="2366">
                  <c:v>5.9217162248415081</c:v>
                </c:pt>
                <c:pt idx="2367">
                  <c:v>4.8911996052594864</c:v>
                </c:pt>
                <c:pt idx="2368">
                  <c:v>5.1720157995039644</c:v>
                </c:pt>
                <c:pt idx="2369">
                  <c:v>6.0253239626776649</c:v>
                </c:pt>
                <c:pt idx="2370">
                  <c:v>5.0768149861396044</c:v>
                </c:pt>
                <c:pt idx="2371">
                  <c:v>5.0060675064659392</c:v>
                </c:pt>
                <c:pt idx="2372">
                  <c:v>5.9822984391393907</c:v>
                </c:pt>
                <c:pt idx="2373">
                  <c:v>5.8379873256981378</c:v>
                </c:pt>
                <c:pt idx="2374">
                  <c:v>4.9778184039221989</c:v>
                </c:pt>
                <c:pt idx="2375">
                  <c:v>6.0615909086565356</c:v>
                </c:pt>
                <c:pt idx="2376">
                  <c:v>5.182785365216283</c:v>
                </c:pt>
                <c:pt idx="2377">
                  <c:v>8.9693284511431042</c:v>
                </c:pt>
                <c:pt idx="2378">
                  <c:v>6.9988780991351707</c:v>
                </c:pt>
                <c:pt idx="2379">
                  <c:v>6.0450034708587603</c:v>
                </c:pt>
                <c:pt idx="2380">
                  <c:v>4.9352856096522082</c:v>
                </c:pt>
                <c:pt idx="2381">
                  <c:v>5.0852168979423373</c:v>
                </c:pt>
                <c:pt idx="2382">
                  <c:v>6.1227525371855851</c:v>
                </c:pt>
                <c:pt idx="2383">
                  <c:v>4.9212337205297816</c:v>
                </c:pt>
                <c:pt idx="2384">
                  <c:v>5.3076856437737252</c:v>
                </c:pt>
                <c:pt idx="2385">
                  <c:v>4.946677651082716</c:v>
                </c:pt>
                <c:pt idx="2386">
                  <c:v>6.1297405840115609</c:v>
                </c:pt>
                <c:pt idx="2387">
                  <c:v>6.0363261825063201</c:v>
                </c:pt>
                <c:pt idx="2388">
                  <c:v>5.0538746438061377</c:v>
                </c:pt>
                <c:pt idx="2389">
                  <c:v>5.1995529049196669</c:v>
                </c:pt>
                <c:pt idx="2390">
                  <c:v>5.0840126966917749</c:v>
                </c:pt>
                <c:pt idx="2391">
                  <c:v>4.8924830266373673</c:v>
                </c:pt>
                <c:pt idx="2392">
                  <c:v>5.8709770341918368</c:v>
                </c:pt>
                <c:pt idx="2393">
                  <c:v>4.8604976628686636</c:v>
                </c:pt>
                <c:pt idx="2394">
                  <c:v>4.8351235349497852</c:v>
                </c:pt>
                <c:pt idx="2395">
                  <c:v>5.8887965416510433</c:v>
                </c:pt>
                <c:pt idx="2396">
                  <c:v>4.0232532089182627</c:v>
                </c:pt>
                <c:pt idx="2397">
                  <c:v>4.9221528420798135</c:v>
                </c:pt>
                <c:pt idx="2398">
                  <c:v>6.0297913285094564</c:v>
                </c:pt>
                <c:pt idx="2399">
                  <c:v>5.9125830946513123</c:v>
                </c:pt>
                <c:pt idx="2400">
                  <c:v>5.0746959747338183</c:v>
                </c:pt>
                <c:pt idx="2401">
                  <c:v>4.8549359087497805</c:v>
                </c:pt>
                <c:pt idx="2402">
                  <c:v>5.0554585654366502</c:v>
                </c:pt>
                <c:pt idx="2403">
                  <c:v>6.141269084005752</c:v>
                </c:pt>
                <c:pt idx="2404">
                  <c:v>7.0153771863644776</c:v>
                </c:pt>
                <c:pt idx="2405">
                  <c:v>5.9889043617268021</c:v>
                </c:pt>
                <c:pt idx="2406">
                  <c:v>5.8475928541848639</c:v>
                </c:pt>
                <c:pt idx="2407">
                  <c:v>4.9597468607114958</c:v>
                </c:pt>
                <c:pt idx="2408">
                  <c:v>5.0281490253919809</c:v>
                </c:pt>
                <c:pt idx="2409">
                  <c:v>6.913294389228299</c:v>
                </c:pt>
                <c:pt idx="2410">
                  <c:v>6.0195838440372684</c:v>
                </c:pt>
                <c:pt idx="2411">
                  <c:v>5.0867945311115728</c:v>
                </c:pt>
                <c:pt idx="2412">
                  <c:v>5.0136429138632703</c:v>
                </c:pt>
                <c:pt idx="2413">
                  <c:v>4.9573713632105765</c:v>
                </c:pt>
                <c:pt idx="2414">
                  <c:v>4.1850661159427087</c:v>
                </c:pt>
                <c:pt idx="2415">
                  <c:v>3.7620822821371807</c:v>
                </c:pt>
                <c:pt idx="2416">
                  <c:v>4.0675778510880258</c:v>
                </c:pt>
                <c:pt idx="2417">
                  <c:v>5.8960688191361772</c:v>
                </c:pt>
                <c:pt idx="2418">
                  <c:v>5.1476511634571116</c:v>
                </c:pt>
                <c:pt idx="2419">
                  <c:v>5.1944161100793806</c:v>
                </c:pt>
                <c:pt idx="2420">
                  <c:v>4.9748212967115224</c:v>
                </c:pt>
                <c:pt idx="2421">
                  <c:v>6.9991682724874806</c:v>
                </c:pt>
                <c:pt idx="2422">
                  <c:v>4.8449550730816746</c:v>
                </c:pt>
                <c:pt idx="2423">
                  <c:v>5.9156438582234774</c:v>
                </c:pt>
                <c:pt idx="2424">
                  <c:v>5.0722447859389179</c:v>
                </c:pt>
                <c:pt idx="2425">
                  <c:v>5.963224450656492</c:v>
                </c:pt>
                <c:pt idx="2426">
                  <c:v>4.993199139145263</c:v>
                </c:pt>
                <c:pt idx="2427">
                  <c:v>6.094436643625202</c:v>
                </c:pt>
                <c:pt idx="2428">
                  <c:v>5.9777991188252573</c:v>
                </c:pt>
                <c:pt idx="2429">
                  <c:v>6.0421265216528122</c:v>
                </c:pt>
                <c:pt idx="2430">
                  <c:v>5.9535763605098975</c:v>
                </c:pt>
                <c:pt idx="2431">
                  <c:v>5.9064562083097272</c:v>
                </c:pt>
                <c:pt idx="2432">
                  <c:v>7.1560545167643301</c:v>
                </c:pt>
                <c:pt idx="2433">
                  <c:v>3.9480728043286279</c:v>
                </c:pt>
                <c:pt idx="2434">
                  <c:v>3.9703972167724957</c:v>
                </c:pt>
                <c:pt idx="2435">
                  <c:v>4.0545945711472857</c:v>
                </c:pt>
                <c:pt idx="2436">
                  <c:v>6.0608755806184824</c:v>
                </c:pt>
                <c:pt idx="2437">
                  <c:v>5.9586001028708289</c:v>
                </c:pt>
                <c:pt idx="2438">
                  <c:v>6.0229910218420057</c:v>
                </c:pt>
                <c:pt idx="2439">
                  <c:v>5.2367000317076657</c:v>
                </c:pt>
                <c:pt idx="2440">
                  <c:v>4.8709532630691337</c:v>
                </c:pt>
                <c:pt idx="2441">
                  <c:v>5.0093234039033385</c:v>
                </c:pt>
                <c:pt idx="2442">
                  <c:v>5.8452392482821836</c:v>
                </c:pt>
                <c:pt idx="2443">
                  <c:v>4.951017763662616</c:v>
                </c:pt>
                <c:pt idx="2444">
                  <c:v>4.8208351725737639</c:v>
                </c:pt>
                <c:pt idx="2445">
                  <c:v>5.0553071179573221</c:v>
                </c:pt>
                <c:pt idx="2446">
                  <c:v>4.9811324029830724</c:v>
                </c:pt>
                <c:pt idx="2447">
                  <c:v>5.9521816683183291</c:v>
                </c:pt>
                <c:pt idx="2448">
                  <c:v>5.2714400500523748</c:v>
                </c:pt>
                <c:pt idx="2449">
                  <c:v>4.9034456363123171</c:v>
                </c:pt>
                <c:pt idx="2450">
                  <c:v>6.092864693177324</c:v>
                </c:pt>
                <c:pt idx="2451">
                  <c:v>6.0111678754628315</c:v>
                </c:pt>
                <c:pt idx="2452">
                  <c:v>6.1355334081052648</c:v>
                </c:pt>
                <c:pt idx="2453">
                  <c:v>4.8766580927776726</c:v>
                </c:pt>
                <c:pt idx="2454">
                  <c:v>6.0746564665803371</c:v>
                </c:pt>
                <c:pt idx="2455">
                  <c:v>4.8040599031604634</c:v>
                </c:pt>
                <c:pt idx="2456">
                  <c:v>5.9544971249241421</c:v>
                </c:pt>
                <c:pt idx="2457">
                  <c:v>6.1770834356449837</c:v>
                </c:pt>
                <c:pt idx="2458">
                  <c:v>6.0806366425468363</c:v>
                </c:pt>
                <c:pt idx="2459">
                  <c:v>6.0669202059885867</c:v>
                </c:pt>
                <c:pt idx="2460">
                  <c:v>6.0500472931355631</c:v>
                </c:pt>
                <c:pt idx="2461">
                  <c:v>5.9891095435746537</c:v>
                </c:pt>
                <c:pt idx="2462">
                  <c:v>6.0768012195204459</c:v>
                </c:pt>
                <c:pt idx="2463">
                  <c:v>6.0176032709316827</c:v>
                </c:pt>
                <c:pt idx="2464">
                  <c:v>6.0839421951371282</c:v>
                </c:pt>
                <c:pt idx="2465">
                  <c:v>5.9909519282683767</c:v>
                </c:pt>
                <c:pt idx="2466">
                  <c:v>5.948111449797822</c:v>
                </c:pt>
                <c:pt idx="2467">
                  <c:v>6.0792639184521367</c:v>
                </c:pt>
                <c:pt idx="2468">
                  <c:v>6.0716196910885509</c:v>
                </c:pt>
                <c:pt idx="2469">
                  <c:v>6.1174653472451324</c:v>
                </c:pt>
                <c:pt idx="2470">
                  <c:v>6.0691645180808251</c:v>
                </c:pt>
                <c:pt idx="2471">
                  <c:v>6.012966599484681</c:v>
                </c:pt>
                <c:pt idx="2472">
                  <c:v>6.0391783481041763</c:v>
                </c:pt>
                <c:pt idx="2473">
                  <c:v>5.8929698416924667</c:v>
                </c:pt>
                <c:pt idx="2474">
                  <c:v>4.8543155393363095</c:v>
                </c:pt>
                <c:pt idx="2475">
                  <c:v>5.9843318344761833</c:v>
                </c:pt>
                <c:pt idx="2476">
                  <c:v>6.0834402377585581</c:v>
                </c:pt>
                <c:pt idx="2477">
                  <c:v>5.1098390562453675</c:v>
                </c:pt>
                <c:pt idx="2478">
                  <c:v>5.0872009317603624</c:v>
                </c:pt>
                <c:pt idx="2479">
                  <c:v>6.0853739912129177</c:v>
                </c:pt>
                <c:pt idx="2480">
                  <c:v>5.015947372813641</c:v>
                </c:pt>
                <c:pt idx="2481">
                  <c:v>4.9306063198111145</c:v>
                </c:pt>
                <c:pt idx="2482">
                  <c:v>5.9821926836883845</c:v>
                </c:pt>
                <c:pt idx="2483">
                  <c:v>6.1126023523015993</c:v>
                </c:pt>
                <c:pt idx="2484">
                  <c:v>3.9622357754936384</c:v>
                </c:pt>
                <c:pt idx="2485">
                  <c:v>4.8872685791962205</c:v>
                </c:pt>
                <c:pt idx="2486">
                  <c:v>5.0577861029170217</c:v>
                </c:pt>
                <c:pt idx="2487">
                  <c:v>3.9874253958147117</c:v>
                </c:pt>
                <c:pt idx="2488">
                  <c:v>4.9043579820659469</c:v>
                </c:pt>
                <c:pt idx="2489">
                  <c:v>7.1049720601006952</c:v>
                </c:pt>
                <c:pt idx="2490">
                  <c:v>6.0761776874487197</c:v>
                </c:pt>
                <c:pt idx="2491">
                  <c:v>4.8594825245064195</c:v>
                </c:pt>
                <c:pt idx="2492">
                  <c:v>5.939517925921824</c:v>
                </c:pt>
                <c:pt idx="2493">
                  <c:v>4.9692311616489659</c:v>
                </c:pt>
                <c:pt idx="2494">
                  <c:v>4.984307977808685</c:v>
                </c:pt>
                <c:pt idx="2495">
                  <c:v>5.8965405189024915</c:v>
                </c:pt>
                <c:pt idx="2496">
                  <c:v>4.9084801855317721</c:v>
                </c:pt>
                <c:pt idx="2497">
                  <c:v>5.9538421470285154</c:v>
                </c:pt>
                <c:pt idx="2498">
                  <c:v>5.9428668474940931</c:v>
                </c:pt>
                <c:pt idx="2499">
                  <c:v>6.0377019905913158</c:v>
                </c:pt>
                <c:pt idx="2500">
                  <c:v>6.0415411400794738</c:v>
                </c:pt>
                <c:pt idx="2501">
                  <c:v>5.9674164071598108</c:v>
                </c:pt>
                <c:pt idx="2502">
                  <c:v>6.013269735965511</c:v>
                </c:pt>
                <c:pt idx="2503">
                  <c:v>5.1103067912291307</c:v>
                </c:pt>
                <c:pt idx="2504">
                  <c:v>6.0541100603746614</c:v>
                </c:pt>
                <c:pt idx="2505">
                  <c:v>6.0856352355477954</c:v>
                </c:pt>
                <c:pt idx="2506">
                  <c:v>4.9440537612667796</c:v>
                </c:pt>
                <c:pt idx="2507">
                  <c:v>5.7965080303224683</c:v>
                </c:pt>
                <c:pt idx="2508">
                  <c:v>6.0122696688737394</c:v>
                </c:pt>
                <c:pt idx="2509">
                  <c:v>5.085702644337867</c:v>
                </c:pt>
                <c:pt idx="2510">
                  <c:v>6.0976599587923044</c:v>
                </c:pt>
                <c:pt idx="2511">
                  <c:v>5.0570222259685487</c:v>
                </c:pt>
                <c:pt idx="2512">
                  <c:v>6.8986057901847166</c:v>
                </c:pt>
                <c:pt idx="2513">
                  <c:v>4.9306689766975822</c:v>
                </c:pt>
                <c:pt idx="2514">
                  <c:v>5.8800045957260503</c:v>
                </c:pt>
                <c:pt idx="2515">
                  <c:v>6.0531733934922176</c:v>
                </c:pt>
                <c:pt idx="2516">
                  <c:v>5.1334904198465976</c:v>
                </c:pt>
                <c:pt idx="2517">
                  <c:v>6.1272677051390136</c:v>
                </c:pt>
                <c:pt idx="2518">
                  <c:v>6.0866595820700153</c:v>
                </c:pt>
                <c:pt idx="2519">
                  <c:v>4.9081899468018069</c:v>
                </c:pt>
                <c:pt idx="2520">
                  <c:v>5.0616589576431155</c:v>
                </c:pt>
                <c:pt idx="2521">
                  <c:v>4.8005263543139796</c:v>
                </c:pt>
                <c:pt idx="2522">
                  <c:v>6.0870124839832798</c:v>
                </c:pt>
                <c:pt idx="2523">
                  <c:v>5.0520122529460014</c:v>
                </c:pt>
                <c:pt idx="2524">
                  <c:v>6.0071074816933878</c:v>
                </c:pt>
                <c:pt idx="2525">
                  <c:v>3.8408279126004565</c:v>
                </c:pt>
                <c:pt idx="2526">
                  <c:v>5.1566655400333845</c:v>
                </c:pt>
                <c:pt idx="2527">
                  <c:v>6.0561429351577569</c:v>
                </c:pt>
                <c:pt idx="2528">
                  <c:v>4.9917183689486482</c:v>
                </c:pt>
                <c:pt idx="2529">
                  <c:v>6.0577230439833549</c:v>
                </c:pt>
                <c:pt idx="2530">
                  <c:v>5.0472861999443257</c:v>
                </c:pt>
                <c:pt idx="2531">
                  <c:v>4.8578739665534192</c:v>
                </c:pt>
                <c:pt idx="2532">
                  <c:v>5.0288707907589618</c:v>
                </c:pt>
                <c:pt idx="2533">
                  <c:v>5.2015575218177208</c:v>
                </c:pt>
                <c:pt idx="2534">
                  <c:v>6.0019639233055031</c:v>
                </c:pt>
                <c:pt idx="2535">
                  <c:v>7.1844024949557967</c:v>
                </c:pt>
                <c:pt idx="2536">
                  <c:v>6.1327200770558292</c:v>
                </c:pt>
                <c:pt idx="2537">
                  <c:v>4.7960220354903793</c:v>
                </c:pt>
                <c:pt idx="2538">
                  <c:v>5.00492067495931</c:v>
                </c:pt>
                <c:pt idx="2539">
                  <c:v>4.9681947124621164</c:v>
                </c:pt>
                <c:pt idx="2540">
                  <c:v>4.9860224802143573</c:v>
                </c:pt>
                <c:pt idx="2541">
                  <c:v>4.996882834491319</c:v>
                </c:pt>
                <c:pt idx="2542">
                  <c:v>4.9364329709090953</c:v>
                </c:pt>
                <c:pt idx="2543">
                  <c:v>5.9992251364965448</c:v>
                </c:pt>
                <c:pt idx="2544">
                  <c:v>5.0397288634711908</c:v>
                </c:pt>
                <c:pt idx="2545">
                  <c:v>5.8559885668752649</c:v>
                </c:pt>
                <c:pt idx="2546">
                  <c:v>5.1327580127454002</c:v>
                </c:pt>
                <c:pt idx="2547">
                  <c:v>5.826429056504435</c:v>
                </c:pt>
                <c:pt idx="2548">
                  <c:v>4.8514888051819778</c:v>
                </c:pt>
                <c:pt idx="2549">
                  <c:v>6.071713955561254</c:v>
                </c:pt>
                <c:pt idx="2550">
                  <c:v>4.9504552550016641</c:v>
                </c:pt>
                <c:pt idx="2551">
                  <c:v>6.0366217520638861</c:v>
                </c:pt>
                <c:pt idx="2552">
                  <c:v>4.9008374201761686</c:v>
                </c:pt>
                <c:pt idx="2553">
                  <c:v>5.9374280066023113</c:v>
                </c:pt>
                <c:pt idx="2554">
                  <c:v>5.0737027499721847</c:v>
                </c:pt>
                <c:pt idx="2555">
                  <c:v>6.1465540659459847</c:v>
                </c:pt>
                <c:pt idx="2556">
                  <c:v>6.8754152699111595</c:v>
                </c:pt>
                <c:pt idx="2557">
                  <c:v>5.9232413848584731</c:v>
                </c:pt>
                <c:pt idx="2558">
                  <c:v>5.162535956926674</c:v>
                </c:pt>
                <c:pt idx="2559">
                  <c:v>6.0995300819903946</c:v>
                </c:pt>
                <c:pt idx="2560">
                  <c:v>7.0110943036507729</c:v>
                </c:pt>
                <c:pt idx="2561">
                  <c:v>6.0035609440245814</c:v>
                </c:pt>
                <c:pt idx="2562">
                  <c:v>6.1185942611634117</c:v>
                </c:pt>
                <c:pt idx="2563">
                  <c:v>4.8935349083257487</c:v>
                </c:pt>
                <c:pt idx="2564">
                  <c:v>5.1205977674223311</c:v>
                </c:pt>
                <c:pt idx="2565">
                  <c:v>4.8942744382541123</c:v>
                </c:pt>
                <c:pt idx="2566">
                  <c:v>5.0038663785345792</c:v>
                </c:pt>
                <c:pt idx="2567">
                  <c:v>6.0687873139274071</c:v>
                </c:pt>
                <c:pt idx="2568">
                  <c:v>5.92154383539589</c:v>
                </c:pt>
                <c:pt idx="2569">
                  <c:v>6.0142957732288389</c:v>
                </c:pt>
                <c:pt idx="2570">
                  <c:v>4.8954616694267026</c:v>
                </c:pt>
                <c:pt idx="2571">
                  <c:v>6.0677900612419267</c:v>
                </c:pt>
                <c:pt idx="2572">
                  <c:v>5.9305056489271903</c:v>
                </c:pt>
                <c:pt idx="2573">
                  <c:v>5.0974647427491533</c:v>
                </c:pt>
                <c:pt idx="2574">
                  <c:v>5.0041454004838464</c:v>
                </c:pt>
                <c:pt idx="2575">
                  <c:v>6.0429469408276235</c:v>
                </c:pt>
                <c:pt idx="2576">
                  <c:v>4.9065530513225459</c:v>
                </c:pt>
                <c:pt idx="2577">
                  <c:v>5.0115333325499307</c:v>
                </c:pt>
                <c:pt idx="2578">
                  <c:v>5.0532150222705763</c:v>
                </c:pt>
                <c:pt idx="2579">
                  <c:v>5.9125682600452469</c:v>
                </c:pt>
                <c:pt idx="2580">
                  <c:v>6.0096264164435915</c:v>
                </c:pt>
                <c:pt idx="2581">
                  <c:v>5.0149185486346299</c:v>
                </c:pt>
                <c:pt idx="2582">
                  <c:v>5.8916615854205299</c:v>
                </c:pt>
                <c:pt idx="2583">
                  <c:v>6.1470382794860363</c:v>
                </c:pt>
                <c:pt idx="2584">
                  <c:v>6.0744622739866028</c:v>
                </c:pt>
                <c:pt idx="2585">
                  <c:v>7.1397231674523693</c:v>
                </c:pt>
                <c:pt idx="2586">
                  <c:v>5.9961672423361998</c:v>
                </c:pt>
                <c:pt idx="2587">
                  <c:v>4.8772987144475213</c:v>
                </c:pt>
                <c:pt idx="2588">
                  <c:v>5.0326282854480189</c:v>
                </c:pt>
                <c:pt idx="2589">
                  <c:v>6.1945722244010604</c:v>
                </c:pt>
                <c:pt idx="2590">
                  <c:v>5.9732025164339024</c:v>
                </c:pt>
                <c:pt idx="2591">
                  <c:v>6.0617042364514226</c:v>
                </c:pt>
                <c:pt idx="2592">
                  <c:v>5.8234613180889081</c:v>
                </c:pt>
                <c:pt idx="2593">
                  <c:v>4.9925844897629883</c:v>
                </c:pt>
                <c:pt idx="2594">
                  <c:v>5.8287512164183557</c:v>
                </c:pt>
                <c:pt idx="2595">
                  <c:v>6.0792643343976298</c:v>
                </c:pt>
                <c:pt idx="2596">
                  <c:v>4.9291717889185209</c:v>
                </c:pt>
                <c:pt idx="2597">
                  <c:v>5.9587693590891124</c:v>
                </c:pt>
                <c:pt idx="2598">
                  <c:v>5.0480770796375474</c:v>
                </c:pt>
                <c:pt idx="2599">
                  <c:v>6.0209332339017712</c:v>
                </c:pt>
                <c:pt idx="2600">
                  <c:v>5.9715366065071755</c:v>
                </c:pt>
                <c:pt idx="2601">
                  <c:v>4.8708988934479391</c:v>
                </c:pt>
                <c:pt idx="2602">
                  <c:v>6.0335936895427649</c:v>
                </c:pt>
                <c:pt idx="2603">
                  <c:v>6.2938335455363807</c:v>
                </c:pt>
                <c:pt idx="2604">
                  <c:v>5.9856815120684006</c:v>
                </c:pt>
                <c:pt idx="2605">
                  <c:v>7.0596212708866402</c:v>
                </c:pt>
                <c:pt idx="2606">
                  <c:v>6.026066124470038</c:v>
                </c:pt>
                <c:pt idx="2607">
                  <c:v>5.9086390144749794</c:v>
                </c:pt>
                <c:pt idx="2608">
                  <c:v>5.9028082426598489</c:v>
                </c:pt>
                <c:pt idx="2609">
                  <c:v>5.8122032318314183</c:v>
                </c:pt>
                <c:pt idx="2610">
                  <c:v>4.8502572523481327</c:v>
                </c:pt>
                <c:pt idx="2611">
                  <c:v>4.8930648443206923</c:v>
                </c:pt>
                <c:pt idx="2612">
                  <c:v>4.8686860235669371</c:v>
                </c:pt>
                <c:pt idx="2613">
                  <c:v>5.1060114503204304</c:v>
                </c:pt>
                <c:pt idx="2614">
                  <c:v>7.089366131956047</c:v>
                </c:pt>
                <c:pt idx="2615">
                  <c:v>5.8983872874971688</c:v>
                </c:pt>
                <c:pt idx="2616">
                  <c:v>6.164918615262053</c:v>
                </c:pt>
                <c:pt idx="2617">
                  <c:v>5.9102828767499123</c:v>
                </c:pt>
                <c:pt idx="2618">
                  <c:v>7.0647199738836077</c:v>
                </c:pt>
                <c:pt idx="2619">
                  <c:v>3.9364676096566713</c:v>
                </c:pt>
                <c:pt idx="2620">
                  <c:v>5.0866368812741722</c:v>
                </c:pt>
                <c:pt idx="2621">
                  <c:v>4.9787681033556375</c:v>
                </c:pt>
                <c:pt idx="2622">
                  <c:v>4.7888275216880318</c:v>
                </c:pt>
                <c:pt idx="2623">
                  <c:v>6.1791424824549823</c:v>
                </c:pt>
                <c:pt idx="2624">
                  <c:v>5.0939187717532528</c:v>
                </c:pt>
                <c:pt idx="2625">
                  <c:v>6.0140977383496539</c:v>
                </c:pt>
                <c:pt idx="2626">
                  <c:v>6.0579830343415404</c:v>
                </c:pt>
                <c:pt idx="2627">
                  <c:v>6.0204417118218387</c:v>
                </c:pt>
                <c:pt idx="2628">
                  <c:v>4.8947638609658757</c:v>
                </c:pt>
                <c:pt idx="2629">
                  <c:v>6.0429527616385101</c:v>
                </c:pt>
                <c:pt idx="2630">
                  <c:v>4.8825191813925164</c:v>
                </c:pt>
                <c:pt idx="2631">
                  <c:v>6.1335283089705648</c:v>
                </c:pt>
                <c:pt idx="2632">
                  <c:v>2.0019872462384649</c:v>
                </c:pt>
                <c:pt idx="2633">
                  <c:v>3.080783958541979</c:v>
                </c:pt>
                <c:pt idx="2634">
                  <c:v>5.0100978255472368</c:v>
                </c:pt>
                <c:pt idx="2635">
                  <c:v>4.9212878674049723</c:v>
                </c:pt>
                <c:pt idx="2636">
                  <c:v>5.0380285317440254</c:v>
                </c:pt>
                <c:pt idx="2637">
                  <c:v>2.9598307045521244</c:v>
                </c:pt>
                <c:pt idx="2638">
                  <c:v>6.1175484118078227</c:v>
                </c:pt>
                <c:pt idx="2639">
                  <c:v>6.8973666588171305</c:v>
                </c:pt>
                <c:pt idx="2640">
                  <c:v>5.9683945036660822</c:v>
                </c:pt>
                <c:pt idx="2641">
                  <c:v>6.9803537453395048</c:v>
                </c:pt>
                <c:pt idx="2642">
                  <c:v>4.9696708150620061</c:v>
                </c:pt>
                <c:pt idx="2643">
                  <c:v>5.9285534946359384</c:v>
                </c:pt>
                <c:pt idx="2644">
                  <c:v>4.8632471211097279</c:v>
                </c:pt>
                <c:pt idx="2645">
                  <c:v>5.0245881745168575</c:v>
                </c:pt>
                <c:pt idx="2646">
                  <c:v>5.1227616957049369</c:v>
                </c:pt>
                <c:pt idx="2647">
                  <c:v>4.047950356467573</c:v>
                </c:pt>
                <c:pt idx="2648">
                  <c:v>5.0476382184363784</c:v>
                </c:pt>
                <c:pt idx="2649">
                  <c:v>4.9352579923116799</c:v>
                </c:pt>
                <c:pt idx="2650">
                  <c:v>5.0812050927651367</c:v>
                </c:pt>
                <c:pt idx="2651">
                  <c:v>5.0445168000952822</c:v>
                </c:pt>
                <c:pt idx="2652">
                  <c:v>5.8309898967946463</c:v>
                </c:pt>
                <c:pt idx="2653">
                  <c:v>6.0153250425696028</c:v>
                </c:pt>
                <c:pt idx="2654">
                  <c:v>4.0333117956132174</c:v>
                </c:pt>
                <c:pt idx="2655">
                  <c:v>2.9287696178667368</c:v>
                </c:pt>
                <c:pt idx="2656">
                  <c:v>4.8481380164172201</c:v>
                </c:pt>
                <c:pt idx="2657">
                  <c:v>4.7916464094709781</c:v>
                </c:pt>
                <c:pt idx="2658">
                  <c:v>5.0806479052675426</c:v>
                </c:pt>
                <c:pt idx="2659">
                  <c:v>4.8861720436130325</c:v>
                </c:pt>
                <c:pt idx="2660">
                  <c:v>3.8487782947857894</c:v>
                </c:pt>
                <c:pt idx="2661">
                  <c:v>6.0812425538231363</c:v>
                </c:pt>
                <c:pt idx="2662">
                  <c:v>4.0435566821510847</c:v>
                </c:pt>
                <c:pt idx="2663">
                  <c:v>3.9584363625461059</c:v>
                </c:pt>
                <c:pt idx="2664">
                  <c:v>4.8276991875232982</c:v>
                </c:pt>
                <c:pt idx="2665">
                  <c:v>4.8697619248380768</c:v>
                </c:pt>
                <c:pt idx="2666">
                  <c:v>2.9051017967003747</c:v>
                </c:pt>
                <c:pt idx="2667">
                  <c:v>4.0301861747171497</c:v>
                </c:pt>
                <c:pt idx="2668">
                  <c:v>5.0084596790686753</c:v>
                </c:pt>
                <c:pt idx="2669">
                  <c:v>5.9719106107932669</c:v>
                </c:pt>
                <c:pt idx="2670">
                  <c:v>5.9761738245806626</c:v>
                </c:pt>
                <c:pt idx="2671">
                  <c:v>4.9662829058169926</c:v>
                </c:pt>
                <c:pt idx="2672">
                  <c:v>5.9160805288338203</c:v>
                </c:pt>
                <c:pt idx="2673">
                  <c:v>2.9136450868945389</c:v>
                </c:pt>
                <c:pt idx="2674">
                  <c:v>4.8151517212207544</c:v>
                </c:pt>
                <c:pt idx="2675">
                  <c:v>5.8528684239077684</c:v>
                </c:pt>
                <c:pt idx="2676">
                  <c:v>6.9807557040252881</c:v>
                </c:pt>
                <c:pt idx="2677">
                  <c:v>4.9895889827432374</c:v>
                </c:pt>
                <c:pt idx="2678">
                  <c:v>5.9749666813374871</c:v>
                </c:pt>
                <c:pt idx="2679">
                  <c:v>4.9731926436916387</c:v>
                </c:pt>
                <c:pt idx="2680">
                  <c:v>4.995176272170271</c:v>
                </c:pt>
                <c:pt idx="2681">
                  <c:v>4.8942081705575555</c:v>
                </c:pt>
                <c:pt idx="2682">
                  <c:v>6.0288775921519555</c:v>
                </c:pt>
                <c:pt idx="2683">
                  <c:v>6.0882043814713809</c:v>
                </c:pt>
                <c:pt idx="2684">
                  <c:v>5.0261025173891634</c:v>
                </c:pt>
                <c:pt idx="2685">
                  <c:v>4.0067496110208065</c:v>
                </c:pt>
                <c:pt idx="2686">
                  <c:v>5.9784748866812647</c:v>
                </c:pt>
                <c:pt idx="2687">
                  <c:v>3.9775589269959362</c:v>
                </c:pt>
                <c:pt idx="2688">
                  <c:v>6.0265191764657624</c:v>
                </c:pt>
                <c:pt idx="2689">
                  <c:v>4.8007867530719279</c:v>
                </c:pt>
                <c:pt idx="2690">
                  <c:v>6.0773664626404811</c:v>
                </c:pt>
                <c:pt idx="2691">
                  <c:v>5.0545764203414727</c:v>
                </c:pt>
                <c:pt idx="2692">
                  <c:v>5.8032267297427822</c:v>
                </c:pt>
                <c:pt idx="2693">
                  <c:v>4.874297447991645</c:v>
                </c:pt>
                <c:pt idx="2694">
                  <c:v>5.9071480698802432</c:v>
                </c:pt>
                <c:pt idx="2695">
                  <c:v>4.9713236903023272</c:v>
                </c:pt>
                <c:pt idx="2696">
                  <c:v>5.9958751245830673</c:v>
                </c:pt>
                <c:pt idx="2697">
                  <c:v>6.1066067715632872</c:v>
                </c:pt>
                <c:pt idx="2698">
                  <c:v>4.975442965803281</c:v>
                </c:pt>
                <c:pt idx="2699">
                  <c:v>5.0956840726930128</c:v>
                </c:pt>
                <c:pt idx="2700">
                  <c:v>6.0929042740208077</c:v>
                </c:pt>
                <c:pt idx="2701">
                  <c:v>6.1326737025625562</c:v>
                </c:pt>
                <c:pt idx="2702">
                  <c:v>5.9037766056190932</c:v>
                </c:pt>
                <c:pt idx="2703">
                  <c:v>5.1239397687255597</c:v>
                </c:pt>
                <c:pt idx="2704">
                  <c:v>5.0109875296615041</c:v>
                </c:pt>
                <c:pt idx="2705">
                  <c:v>5.9952519812194964</c:v>
                </c:pt>
                <c:pt idx="2706">
                  <c:v>5.0572122528446561</c:v>
                </c:pt>
                <c:pt idx="2707">
                  <c:v>5.0197701237582377</c:v>
                </c:pt>
                <c:pt idx="2708">
                  <c:v>4.7541207485551933</c:v>
                </c:pt>
                <c:pt idx="2709">
                  <c:v>5.9414831444017375</c:v>
                </c:pt>
                <c:pt idx="2710">
                  <c:v>5.0253224629586999</c:v>
                </c:pt>
                <c:pt idx="2711">
                  <c:v>4.9069660103782073</c:v>
                </c:pt>
                <c:pt idx="2712">
                  <c:v>4.988477996485047</c:v>
                </c:pt>
                <c:pt idx="2713">
                  <c:v>6.0434392077676229</c:v>
                </c:pt>
                <c:pt idx="2714">
                  <c:v>5.0556750440481428</c:v>
                </c:pt>
                <c:pt idx="2715">
                  <c:v>3.7544630509847403</c:v>
                </c:pt>
                <c:pt idx="2716">
                  <c:v>4.9690133988510308</c:v>
                </c:pt>
                <c:pt idx="2717">
                  <c:v>5.8869180769289624</c:v>
                </c:pt>
                <c:pt idx="2718">
                  <c:v>4.9135376704763996</c:v>
                </c:pt>
                <c:pt idx="2719">
                  <c:v>3.7770996940627959</c:v>
                </c:pt>
                <c:pt idx="2720">
                  <c:v>4.9955778844798591</c:v>
                </c:pt>
                <c:pt idx="2721">
                  <c:v>3.8348362285517239</c:v>
                </c:pt>
                <c:pt idx="2722">
                  <c:v>5.8337823661418442</c:v>
                </c:pt>
                <c:pt idx="2723">
                  <c:v>5.1534573921188809</c:v>
                </c:pt>
                <c:pt idx="2724">
                  <c:v>3.6421782317195408</c:v>
                </c:pt>
                <c:pt idx="2725">
                  <c:v>5.9298715521920426</c:v>
                </c:pt>
                <c:pt idx="2726">
                  <c:v>8.9662551027221831</c:v>
                </c:pt>
                <c:pt idx="2727">
                  <c:v>6.049415517059308</c:v>
                </c:pt>
                <c:pt idx="2728">
                  <c:v>5.8575430940055879</c:v>
                </c:pt>
                <c:pt idx="2729">
                  <c:v>6.2239201865486047</c:v>
                </c:pt>
                <c:pt idx="2730">
                  <c:v>4.9135614596075445</c:v>
                </c:pt>
                <c:pt idx="2731">
                  <c:v>5.0294151451494962</c:v>
                </c:pt>
                <c:pt idx="2732">
                  <c:v>6.1162437083022656</c:v>
                </c:pt>
                <c:pt idx="2733">
                  <c:v>5.1325283207192269</c:v>
                </c:pt>
                <c:pt idx="2734">
                  <c:v>5.0866470906814758</c:v>
                </c:pt>
                <c:pt idx="2735">
                  <c:v>5.912631303011473</c:v>
                </c:pt>
                <c:pt idx="2736">
                  <c:v>6.0395828004568912</c:v>
                </c:pt>
                <c:pt idx="2737">
                  <c:v>4.8363684269320046</c:v>
                </c:pt>
                <c:pt idx="2738">
                  <c:v>4.8351611045881988</c:v>
                </c:pt>
                <c:pt idx="2739">
                  <c:v>6.0483389647255379</c:v>
                </c:pt>
                <c:pt idx="2740">
                  <c:v>5.872516478881793</c:v>
                </c:pt>
                <c:pt idx="2741">
                  <c:v>5.1314808340631863</c:v>
                </c:pt>
                <c:pt idx="2742">
                  <c:v>5.8965797038045178</c:v>
                </c:pt>
                <c:pt idx="2743">
                  <c:v>5.1185617648917301</c:v>
                </c:pt>
                <c:pt idx="2744">
                  <c:v>5.9608630237704823</c:v>
                </c:pt>
                <c:pt idx="2745">
                  <c:v>6.1066902063829422</c:v>
                </c:pt>
                <c:pt idx="2746">
                  <c:v>5.0248386530855935</c:v>
                </c:pt>
                <c:pt idx="2747">
                  <c:v>5.0503767182877057</c:v>
                </c:pt>
                <c:pt idx="2748">
                  <c:v>6.1855879765845163</c:v>
                </c:pt>
                <c:pt idx="2749">
                  <c:v>4.9721846100818015</c:v>
                </c:pt>
                <c:pt idx="2750">
                  <c:v>5.1077358196481635</c:v>
                </c:pt>
                <c:pt idx="2751">
                  <c:v>4.9573433010231245</c:v>
                </c:pt>
                <c:pt idx="2752">
                  <c:v>4.9672223159350652</c:v>
                </c:pt>
                <c:pt idx="2753">
                  <c:v>5.0013821165121524</c:v>
                </c:pt>
                <c:pt idx="2754">
                  <c:v>5.0033561916900995</c:v>
                </c:pt>
                <c:pt idx="2755">
                  <c:v>6.0169965755310999</c:v>
                </c:pt>
                <c:pt idx="2756">
                  <c:v>3.9851384003763592</c:v>
                </c:pt>
                <c:pt idx="2757">
                  <c:v>7.0778944145423965</c:v>
                </c:pt>
                <c:pt idx="2758">
                  <c:v>5.015295965438554</c:v>
                </c:pt>
                <c:pt idx="2759">
                  <c:v>4.9142487593140958</c:v>
                </c:pt>
                <c:pt idx="2760">
                  <c:v>5.0843278846029314</c:v>
                </c:pt>
                <c:pt idx="2761">
                  <c:v>5.0132137548147018</c:v>
                </c:pt>
                <c:pt idx="2762">
                  <c:v>5.8479829282031313</c:v>
                </c:pt>
                <c:pt idx="2763">
                  <c:v>4.879712510809803</c:v>
                </c:pt>
                <c:pt idx="2764">
                  <c:v>5.1938484426406175</c:v>
                </c:pt>
                <c:pt idx="2765">
                  <c:v>5.1491618960681329</c:v>
                </c:pt>
                <c:pt idx="2766">
                  <c:v>5.0503662861144258</c:v>
                </c:pt>
                <c:pt idx="2767">
                  <c:v>5.1619827383979366</c:v>
                </c:pt>
                <c:pt idx="2768">
                  <c:v>6.0131091378319583</c:v>
                </c:pt>
                <c:pt idx="2769">
                  <c:v>4.032626752804501</c:v>
                </c:pt>
                <c:pt idx="2770">
                  <c:v>5.1098297446247045</c:v>
                </c:pt>
                <c:pt idx="2771">
                  <c:v>5.0305168103225153</c:v>
                </c:pt>
                <c:pt idx="2772">
                  <c:v>4.9233644299508628</c:v>
                </c:pt>
                <c:pt idx="2773">
                  <c:v>4.8915625754910845</c:v>
                </c:pt>
                <c:pt idx="2774">
                  <c:v>4.1431789811746631</c:v>
                </c:pt>
                <c:pt idx="2775">
                  <c:v>6.0419529227073436</c:v>
                </c:pt>
                <c:pt idx="2776">
                  <c:v>6.063193689346833</c:v>
                </c:pt>
                <c:pt idx="2777">
                  <c:v>5.8792679915756763</c:v>
                </c:pt>
                <c:pt idx="2778">
                  <c:v>4.1566937478611248</c:v>
                </c:pt>
                <c:pt idx="2779">
                  <c:v>6.0804915319780175</c:v>
                </c:pt>
                <c:pt idx="2780">
                  <c:v>5.9730918141946558</c:v>
                </c:pt>
                <c:pt idx="2781">
                  <c:v>6.0402745645335409</c:v>
                </c:pt>
                <c:pt idx="2782">
                  <c:v>4.9428547247483232</c:v>
                </c:pt>
                <c:pt idx="2783">
                  <c:v>6.0753365467313127</c:v>
                </c:pt>
                <c:pt idx="2784">
                  <c:v>6.0876459217547554</c:v>
                </c:pt>
                <c:pt idx="2785">
                  <c:v>5.9641061083658</c:v>
                </c:pt>
                <c:pt idx="2786">
                  <c:v>6.0023836307066647</c:v>
                </c:pt>
                <c:pt idx="2787">
                  <c:v>6.1193967229152086</c:v>
                </c:pt>
                <c:pt idx="2788">
                  <c:v>5.9757748729616003</c:v>
                </c:pt>
                <c:pt idx="2789">
                  <c:v>6.0460208259711221</c:v>
                </c:pt>
                <c:pt idx="2790">
                  <c:v>6.3167523813677882</c:v>
                </c:pt>
                <c:pt idx="2791">
                  <c:v>5.9574804745879479</c:v>
                </c:pt>
                <c:pt idx="2792">
                  <c:v>5.0944894386381856</c:v>
                </c:pt>
                <c:pt idx="2793">
                  <c:v>6.016920268248132</c:v>
                </c:pt>
                <c:pt idx="2794">
                  <c:v>6.0959944216221764</c:v>
                </c:pt>
                <c:pt idx="2795">
                  <c:v>5.1675642100854562</c:v>
                </c:pt>
                <c:pt idx="2796">
                  <c:v>6.2405267956523121</c:v>
                </c:pt>
                <c:pt idx="2797">
                  <c:v>7.0751631375727309</c:v>
                </c:pt>
                <c:pt idx="2798">
                  <c:v>4.9159084185687387</c:v>
                </c:pt>
                <c:pt idx="2799">
                  <c:v>6.1114575796116526</c:v>
                </c:pt>
                <c:pt idx="2800">
                  <c:v>7.0240130497895858</c:v>
                </c:pt>
                <c:pt idx="2801">
                  <c:v>5.8659363404440992</c:v>
                </c:pt>
                <c:pt idx="2802">
                  <c:v>6.0615731067701821</c:v>
                </c:pt>
                <c:pt idx="2803">
                  <c:v>5.9078089320424496</c:v>
                </c:pt>
                <c:pt idx="2804">
                  <c:v>6.0557225191949939</c:v>
                </c:pt>
                <c:pt idx="2805">
                  <c:v>5.9421686878922362</c:v>
                </c:pt>
                <c:pt idx="2806">
                  <c:v>5.9173437316996518</c:v>
                </c:pt>
                <c:pt idx="2807">
                  <c:v>5.0108313699572893</c:v>
                </c:pt>
                <c:pt idx="2808">
                  <c:v>4.1182387941867926</c:v>
                </c:pt>
                <c:pt idx="2809">
                  <c:v>5.9650330992386182</c:v>
                </c:pt>
                <c:pt idx="2810">
                  <c:v>5.0220753320646256</c:v>
                </c:pt>
                <c:pt idx="2811">
                  <c:v>5.9949434775291275</c:v>
                </c:pt>
                <c:pt idx="2812">
                  <c:v>4.8501145403290113</c:v>
                </c:pt>
                <c:pt idx="2813">
                  <c:v>5.9881815126894029</c:v>
                </c:pt>
                <c:pt idx="2814">
                  <c:v>6.0973414177970389</c:v>
                </c:pt>
                <c:pt idx="2815">
                  <c:v>6.2345785571258743</c:v>
                </c:pt>
                <c:pt idx="2816">
                  <c:v>6.0352478836200589</c:v>
                </c:pt>
                <c:pt idx="2817">
                  <c:v>3.961124982474117</c:v>
                </c:pt>
                <c:pt idx="2818">
                  <c:v>6.0230942749956204</c:v>
                </c:pt>
                <c:pt idx="2819">
                  <c:v>4.9903703754053179</c:v>
                </c:pt>
                <c:pt idx="2820">
                  <c:v>3.9500256702121037</c:v>
                </c:pt>
                <c:pt idx="2821">
                  <c:v>3.8989394408782769</c:v>
                </c:pt>
                <c:pt idx="2822">
                  <c:v>5.1526899863499622</c:v>
                </c:pt>
                <c:pt idx="2823">
                  <c:v>5.9926623941433785</c:v>
                </c:pt>
                <c:pt idx="2824">
                  <c:v>4.9396947252278824</c:v>
                </c:pt>
                <c:pt idx="2825">
                  <c:v>5.9220883420844537</c:v>
                </c:pt>
                <c:pt idx="2826">
                  <c:v>6.0349330509719472</c:v>
                </c:pt>
                <c:pt idx="2827">
                  <c:v>5.950386215993162</c:v>
                </c:pt>
                <c:pt idx="2828">
                  <c:v>5.9989588523568091</c:v>
                </c:pt>
                <c:pt idx="2829">
                  <c:v>4.8951462167317619</c:v>
                </c:pt>
                <c:pt idx="2830">
                  <c:v>5.0806566026001461</c:v>
                </c:pt>
                <c:pt idx="2831">
                  <c:v>4.0176046622027464</c:v>
                </c:pt>
                <c:pt idx="2832">
                  <c:v>4.9956005049410974</c:v>
                </c:pt>
                <c:pt idx="2833">
                  <c:v>4.8430160002117502</c:v>
                </c:pt>
                <c:pt idx="2834">
                  <c:v>5.9504148263106034</c:v>
                </c:pt>
                <c:pt idx="2835">
                  <c:v>4.9058119336605266</c:v>
                </c:pt>
                <c:pt idx="2836">
                  <c:v>3.9550900428509701</c:v>
                </c:pt>
                <c:pt idx="2837">
                  <c:v>4.0253574279285331</c:v>
                </c:pt>
                <c:pt idx="2838">
                  <c:v>6.0919859544519364</c:v>
                </c:pt>
                <c:pt idx="2839">
                  <c:v>6.0213922521712124</c:v>
                </c:pt>
                <c:pt idx="2840">
                  <c:v>4.9353851190001459</c:v>
                </c:pt>
                <c:pt idx="2841">
                  <c:v>3.924329957336417</c:v>
                </c:pt>
                <c:pt idx="2842">
                  <c:v>4.9179551721301911</c:v>
                </c:pt>
                <c:pt idx="2843">
                  <c:v>6.0727420160288101</c:v>
                </c:pt>
                <c:pt idx="2844">
                  <c:v>4.0020317550408437</c:v>
                </c:pt>
                <c:pt idx="2845">
                  <c:v>6.1090249208861991</c:v>
                </c:pt>
                <c:pt idx="2846">
                  <c:v>5.0832734537023319</c:v>
                </c:pt>
                <c:pt idx="2847">
                  <c:v>5.9047063767205445</c:v>
                </c:pt>
                <c:pt idx="2848">
                  <c:v>4.8633640612113744</c:v>
                </c:pt>
                <c:pt idx="2849">
                  <c:v>5.0892098373345798</c:v>
                </c:pt>
                <c:pt idx="2850">
                  <c:v>5.8213735765218839</c:v>
                </c:pt>
                <c:pt idx="2851">
                  <c:v>5.8760777058449118</c:v>
                </c:pt>
                <c:pt idx="2852">
                  <c:v>4.9096190045401826</c:v>
                </c:pt>
                <c:pt idx="2853">
                  <c:v>4.9989571736930092</c:v>
                </c:pt>
                <c:pt idx="2854">
                  <c:v>6.1018874072117972</c:v>
                </c:pt>
                <c:pt idx="2855">
                  <c:v>5.954907304431539</c:v>
                </c:pt>
                <c:pt idx="2856">
                  <c:v>5.9842078977183437</c:v>
                </c:pt>
                <c:pt idx="2857">
                  <c:v>5.8948286008358544</c:v>
                </c:pt>
                <c:pt idx="2858">
                  <c:v>4.8145527621091606</c:v>
                </c:pt>
                <c:pt idx="2859">
                  <c:v>4.984340622139233</c:v>
                </c:pt>
                <c:pt idx="2860">
                  <c:v>6.0332240346492183</c:v>
                </c:pt>
                <c:pt idx="2861">
                  <c:v>7.1475247844747578</c:v>
                </c:pt>
                <c:pt idx="2862">
                  <c:v>5.9964774606390847</c:v>
                </c:pt>
                <c:pt idx="2863">
                  <c:v>5.0080339420433777</c:v>
                </c:pt>
                <c:pt idx="2864">
                  <c:v>6.1081097819818879</c:v>
                </c:pt>
                <c:pt idx="2865">
                  <c:v>6.0434386399048794</c:v>
                </c:pt>
                <c:pt idx="2866">
                  <c:v>5.888154693152134</c:v>
                </c:pt>
                <c:pt idx="2867">
                  <c:v>5.0232077532361581</c:v>
                </c:pt>
                <c:pt idx="2868">
                  <c:v>4.873421600832593</c:v>
                </c:pt>
                <c:pt idx="2869">
                  <c:v>5.9325094367185844</c:v>
                </c:pt>
                <c:pt idx="2870">
                  <c:v>4.9014595754155446</c:v>
                </c:pt>
                <c:pt idx="2871">
                  <c:v>6.9637479509646596</c:v>
                </c:pt>
                <c:pt idx="2872">
                  <c:v>4.9231327576228026</c:v>
                </c:pt>
                <c:pt idx="2873">
                  <c:v>6.0077958599872803</c:v>
                </c:pt>
                <c:pt idx="2874">
                  <c:v>6.1017998546466901</c:v>
                </c:pt>
                <c:pt idx="2875">
                  <c:v>5.008947591066268</c:v>
                </c:pt>
                <c:pt idx="2876">
                  <c:v>5.9728885259541116</c:v>
                </c:pt>
                <c:pt idx="2877">
                  <c:v>5.1552439782164914</c:v>
                </c:pt>
                <c:pt idx="2878">
                  <c:v>4.8304206219878489</c:v>
                </c:pt>
                <c:pt idx="2879">
                  <c:v>6.1397422107711872</c:v>
                </c:pt>
                <c:pt idx="2880">
                  <c:v>6.1116687181186524</c:v>
                </c:pt>
                <c:pt idx="2881">
                  <c:v>5.8097615342968965</c:v>
                </c:pt>
                <c:pt idx="2882">
                  <c:v>5.0459622909538595</c:v>
                </c:pt>
                <c:pt idx="2883">
                  <c:v>5.6017887509581126</c:v>
                </c:pt>
                <c:pt idx="2884">
                  <c:v>6.9056090615372687</c:v>
                </c:pt>
                <c:pt idx="2885">
                  <c:v>4.875649856655472</c:v>
                </c:pt>
                <c:pt idx="2886">
                  <c:v>5.1223383913646225</c:v>
                </c:pt>
                <c:pt idx="2887">
                  <c:v>4.9820488002532617</c:v>
                </c:pt>
                <c:pt idx="2888">
                  <c:v>4.96348275640345</c:v>
                </c:pt>
                <c:pt idx="2889">
                  <c:v>7.0057823202157232</c:v>
                </c:pt>
                <c:pt idx="2890">
                  <c:v>5.1075251082778612</c:v>
                </c:pt>
                <c:pt idx="2891">
                  <c:v>4.9354404529603144</c:v>
                </c:pt>
                <c:pt idx="2892">
                  <c:v>6.148992393805675</c:v>
                </c:pt>
                <c:pt idx="2893">
                  <c:v>5.0249834922026286</c:v>
                </c:pt>
                <c:pt idx="2894">
                  <c:v>5.0056499575928539</c:v>
                </c:pt>
                <c:pt idx="2895">
                  <c:v>4.9829489332641925</c:v>
                </c:pt>
                <c:pt idx="2896">
                  <c:v>4.9030268743007133</c:v>
                </c:pt>
                <c:pt idx="2897">
                  <c:v>6.1967015692036433</c:v>
                </c:pt>
                <c:pt idx="2898">
                  <c:v>6.9381339802947908</c:v>
                </c:pt>
                <c:pt idx="2899">
                  <c:v>6.0619853098002556</c:v>
                </c:pt>
                <c:pt idx="2900">
                  <c:v>4.8619483063095545</c:v>
                </c:pt>
                <c:pt idx="2901">
                  <c:v>4.963517954739407</c:v>
                </c:pt>
                <c:pt idx="2902">
                  <c:v>5.9660399229940611</c:v>
                </c:pt>
                <c:pt idx="2903">
                  <c:v>6.9788986229887966</c:v>
                </c:pt>
                <c:pt idx="2904">
                  <c:v>7.0716555255776949</c:v>
                </c:pt>
                <c:pt idx="2905">
                  <c:v>5.0936499968392219</c:v>
                </c:pt>
                <c:pt idx="2906">
                  <c:v>6.125897014889226</c:v>
                </c:pt>
                <c:pt idx="2907">
                  <c:v>6.9761037796297147</c:v>
                </c:pt>
                <c:pt idx="2908">
                  <c:v>5.0067208670434331</c:v>
                </c:pt>
                <c:pt idx="2909">
                  <c:v>4.9956632407372714</c:v>
                </c:pt>
                <c:pt idx="2910">
                  <c:v>6.0329453589333006</c:v>
                </c:pt>
                <c:pt idx="2911">
                  <c:v>7.0198298641989254</c:v>
                </c:pt>
                <c:pt idx="2912">
                  <c:v>4.905863056912291</c:v>
                </c:pt>
                <c:pt idx="2913">
                  <c:v>5.0404384240951012</c:v>
                </c:pt>
                <c:pt idx="2914">
                  <c:v>5.9492519181822292</c:v>
                </c:pt>
                <c:pt idx="2915">
                  <c:v>5.0817652677880787</c:v>
                </c:pt>
                <c:pt idx="2916">
                  <c:v>5.0180621660288569</c:v>
                </c:pt>
                <c:pt idx="2917">
                  <c:v>6.9560618511466501</c:v>
                </c:pt>
                <c:pt idx="2918">
                  <c:v>5.0245730735936336</c:v>
                </c:pt>
                <c:pt idx="2919">
                  <c:v>5.1383574098352325</c:v>
                </c:pt>
                <c:pt idx="2920">
                  <c:v>6.1232976922532325</c:v>
                </c:pt>
                <c:pt idx="2921">
                  <c:v>5.0192540756905526</c:v>
                </c:pt>
                <c:pt idx="2922">
                  <c:v>5.9301647912924675</c:v>
                </c:pt>
                <c:pt idx="2923">
                  <c:v>5.0596875386437539</c:v>
                </c:pt>
                <c:pt idx="2924">
                  <c:v>5.8386039894531532</c:v>
                </c:pt>
                <c:pt idx="2925">
                  <c:v>6.1979944043807738</c:v>
                </c:pt>
                <c:pt idx="2926">
                  <c:v>5.1413949364584983</c:v>
                </c:pt>
                <c:pt idx="2927">
                  <c:v>5.9674310878643597</c:v>
                </c:pt>
                <c:pt idx="2928">
                  <c:v>5.0241066934888536</c:v>
                </c:pt>
                <c:pt idx="2929">
                  <c:v>5.9760881388882465</c:v>
                </c:pt>
                <c:pt idx="2930">
                  <c:v>5.9097380261017101</c:v>
                </c:pt>
                <c:pt idx="2931">
                  <c:v>4.892008265889757</c:v>
                </c:pt>
                <c:pt idx="2932">
                  <c:v>4.9275825378513538</c:v>
                </c:pt>
                <c:pt idx="2933">
                  <c:v>5.0562802625303469</c:v>
                </c:pt>
                <c:pt idx="2934">
                  <c:v>4.818545182284578</c:v>
                </c:pt>
                <c:pt idx="2935">
                  <c:v>5.0857536536019055</c:v>
                </c:pt>
                <c:pt idx="2936">
                  <c:v>6.0409469551921422</c:v>
                </c:pt>
                <c:pt idx="2937">
                  <c:v>4.8699735788735614</c:v>
                </c:pt>
                <c:pt idx="2938">
                  <c:v>4.9209622066097749</c:v>
                </c:pt>
                <c:pt idx="2939">
                  <c:v>3.9032332907816656</c:v>
                </c:pt>
                <c:pt idx="2940">
                  <c:v>4.9193255389468149</c:v>
                </c:pt>
                <c:pt idx="2941">
                  <c:v>5.9290804733414317</c:v>
                </c:pt>
                <c:pt idx="2942">
                  <c:v>5.9887875854379766</c:v>
                </c:pt>
                <c:pt idx="2943">
                  <c:v>4.8888152539737693</c:v>
                </c:pt>
                <c:pt idx="2944">
                  <c:v>5.0830444060228892</c:v>
                </c:pt>
                <c:pt idx="2945">
                  <c:v>4.8469075911575885</c:v>
                </c:pt>
                <c:pt idx="2946">
                  <c:v>5.8944782920973298</c:v>
                </c:pt>
                <c:pt idx="2947">
                  <c:v>6.0757437402098597</c:v>
                </c:pt>
                <c:pt idx="2948">
                  <c:v>5.8407229695124823</c:v>
                </c:pt>
                <c:pt idx="2949">
                  <c:v>4.9458884114053108</c:v>
                </c:pt>
                <c:pt idx="2950">
                  <c:v>4.9517177091993547</c:v>
                </c:pt>
                <c:pt idx="2951">
                  <c:v>6.2050173175007357</c:v>
                </c:pt>
                <c:pt idx="2952">
                  <c:v>4.8931074474657592</c:v>
                </c:pt>
                <c:pt idx="2953">
                  <c:v>6.1767108265342987</c:v>
                </c:pt>
                <c:pt idx="2954">
                  <c:v>4.8895192286047502</c:v>
                </c:pt>
                <c:pt idx="2955">
                  <c:v>5.9321357659252039</c:v>
                </c:pt>
                <c:pt idx="2956">
                  <c:v>6.0260895440517546</c:v>
                </c:pt>
                <c:pt idx="2957">
                  <c:v>6.0218450216457979</c:v>
                </c:pt>
                <c:pt idx="2958">
                  <c:v>6.0450111511169666</c:v>
                </c:pt>
                <c:pt idx="2959">
                  <c:v>5.9709909477148537</c:v>
                </c:pt>
                <c:pt idx="2960">
                  <c:v>5.9479220267201889</c:v>
                </c:pt>
                <c:pt idx="2961">
                  <c:v>4.9345107042089875</c:v>
                </c:pt>
                <c:pt idx="2962">
                  <c:v>4.8867799825411566</c:v>
                </c:pt>
                <c:pt idx="2963">
                  <c:v>4.9638366318085145</c:v>
                </c:pt>
                <c:pt idx="2964">
                  <c:v>6.1444920552531626</c:v>
                </c:pt>
                <c:pt idx="2965">
                  <c:v>4.9662499538727678</c:v>
                </c:pt>
                <c:pt idx="2966">
                  <c:v>4.8857799875696815</c:v>
                </c:pt>
                <c:pt idx="2967">
                  <c:v>5.0959104390189411</c:v>
                </c:pt>
                <c:pt idx="2968">
                  <c:v>4.9687422386951647</c:v>
                </c:pt>
                <c:pt idx="2969">
                  <c:v>5.7312775628434451</c:v>
                </c:pt>
                <c:pt idx="2970">
                  <c:v>5.9116562012025522</c:v>
                </c:pt>
                <c:pt idx="2971">
                  <c:v>5.0206328060219523</c:v>
                </c:pt>
                <c:pt idx="2972">
                  <c:v>4.8777787602622906</c:v>
                </c:pt>
                <c:pt idx="2973">
                  <c:v>6.0863734297576411</c:v>
                </c:pt>
                <c:pt idx="2974">
                  <c:v>5.874241660513257</c:v>
                </c:pt>
                <c:pt idx="2975">
                  <c:v>5.9861899815068833</c:v>
                </c:pt>
                <c:pt idx="2976">
                  <c:v>5.109243874640276</c:v>
                </c:pt>
                <c:pt idx="2977">
                  <c:v>5.8096743831078319</c:v>
                </c:pt>
                <c:pt idx="2978">
                  <c:v>6.0064917735407093</c:v>
                </c:pt>
                <c:pt idx="2979">
                  <c:v>5.931564205971501</c:v>
                </c:pt>
                <c:pt idx="2980">
                  <c:v>5.0819653782712857</c:v>
                </c:pt>
                <c:pt idx="2981">
                  <c:v>5.0443851650820868</c:v>
                </c:pt>
                <c:pt idx="2982">
                  <c:v>5.193843136586235</c:v>
                </c:pt>
                <c:pt idx="2983">
                  <c:v>6.1677016278124963</c:v>
                </c:pt>
                <c:pt idx="2984">
                  <c:v>4.8539782620645147</c:v>
                </c:pt>
                <c:pt idx="2985">
                  <c:v>4.9517506665105424</c:v>
                </c:pt>
                <c:pt idx="2986">
                  <c:v>5.1150743928150346</c:v>
                </c:pt>
                <c:pt idx="2987">
                  <c:v>4.7574386320052584</c:v>
                </c:pt>
                <c:pt idx="2988">
                  <c:v>5.0913291252602066</c:v>
                </c:pt>
                <c:pt idx="2989">
                  <c:v>6.1357508997813648</c:v>
                </c:pt>
                <c:pt idx="2990">
                  <c:v>4.9964791885364415</c:v>
                </c:pt>
                <c:pt idx="2991">
                  <c:v>6.0487166010749043</c:v>
                </c:pt>
                <c:pt idx="2992">
                  <c:v>5.0532062828564781</c:v>
                </c:pt>
                <c:pt idx="2993">
                  <c:v>5.0433915545234251</c:v>
                </c:pt>
                <c:pt idx="2994">
                  <c:v>6.0502945759139575</c:v>
                </c:pt>
                <c:pt idx="2995">
                  <c:v>6.1173824866224606</c:v>
                </c:pt>
                <c:pt idx="2996">
                  <c:v>6.0373141824889194</c:v>
                </c:pt>
                <c:pt idx="2997">
                  <c:v>5.1736675318943988</c:v>
                </c:pt>
                <c:pt idx="2998">
                  <c:v>5.104219345512603</c:v>
                </c:pt>
                <c:pt idx="2999">
                  <c:v>4.9530183945985309</c:v>
                </c:pt>
                <c:pt idx="3000">
                  <c:v>5.0136228609982494</c:v>
                </c:pt>
                <c:pt idx="3001">
                  <c:v>5.9688464242601977</c:v>
                </c:pt>
                <c:pt idx="3002">
                  <c:v>5.9628702564721632</c:v>
                </c:pt>
                <c:pt idx="3003">
                  <c:v>5.7841462993714412</c:v>
                </c:pt>
                <c:pt idx="3004">
                  <c:v>5.1169793677571702</c:v>
                </c:pt>
                <c:pt idx="3005">
                  <c:v>4.9892799765676203</c:v>
                </c:pt>
                <c:pt idx="3006">
                  <c:v>6.0888098975381926</c:v>
                </c:pt>
                <c:pt idx="3007">
                  <c:v>6.0481156096598276</c:v>
                </c:pt>
                <c:pt idx="3008">
                  <c:v>4.999787561404295</c:v>
                </c:pt>
                <c:pt idx="3009">
                  <c:v>6.0841350901568081</c:v>
                </c:pt>
                <c:pt idx="3010">
                  <c:v>5.9684544888300692</c:v>
                </c:pt>
                <c:pt idx="3011">
                  <c:v>5.0870028359950723</c:v>
                </c:pt>
                <c:pt idx="3012">
                  <c:v>5.9834479528475928</c:v>
                </c:pt>
                <c:pt idx="3013">
                  <c:v>6.1144871787684583</c:v>
                </c:pt>
                <c:pt idx="3014">
                  <c:v>5.9971792222490876</c:v>
                </c:pt>
                <c:pt idx="3015">
                  <c:v>4.8682342557684226</c:v>
                </c:pt>
                <c:pt idx="3016">
                  <c:v>4.8746512354316707</c:v>
                </c:pt>
                <c:pt idx="3017">
                  <c:v>4.8409680602118765</c:v>
                </c:pt>
                <c:pt idx="3018">
                  <c:v>6.0265399970627165</c:v>
                </c:pt>
                <c:pt idx="3019">
                  <c:v>4.9928539830874978</c:v>
                </c:pt>
                <c:pt idx="3020">
                  <c:v>6.089791800071569</c:v>
                </c:pt>
                <c:pt idx="3021">
                  <c:v>6.0174645801363127</c:v>
                </c:pt>
                <c:pt idx="3022">
                  <c:v>4.9234010270288007</c:v>
                </c:pt>
                <c:pt idx="3023">
                  <c:v>5.0826783352618499</c:v>
                </c:pt>
                <c:pt idx="3024">
                  <c:v>5.0559740580380108</c:v>
                </c:pt>
                <c:pt idx="3025">
                  <c:v>6.1112700158625319</c:v>
                </c:pt>
                <c:pt idx="3026">
                  <c:v>5.7752595366751809</c:v>
                </c:pt>
                <c:pt idx="3027">
                  <c:v>5.9665880384078669</c:v>
                </c:pt>
                <c:pt idx="3028">
                  <c:v>4.9895250271598321</c:v>
                </c:pt>
                <c:pt idx="3029">
                  <c:v>4.9784488941624234</c:v>
                </c:pt>
                <c:pt idx="3030">
                  <c:v>4.9815032897103446</c:v>
                </c:pt>
                <c:pt idx="3031">
                  <c:v>4.8785555474562949</c:v>
                </c:pt>
                <c:pt idx="3032">
                  <c:v>6.1427370979617129</c:v>
                </c:pt>
                <c:pt idx="3033">
                  <c:v>5.0294513295842469</c:v>
                </c:pt>
                <c:pt idx="3034">
                  <c:v>5.830853242525281</c:v>
                </c:pt>
                <c:pt idx="3035">
                  <c:v>5.0780389708028038</c:v>
                </c:pt>
                <c:pt idx="3036">
                  <c:v>4.9505081761825016</c:v>
                </c:pt>
                <c:pt idx="3037">
                  <c:v>6.1734209170173466</c:v>
                </c:pt>
                <c:pt idx="3038">
                  <c:v>6.0945572192069548</c:v>
                </c:pt>
                <c:pt idx="3039">
                  <c:v>4.0084647361630248</c:v>
                </c:pt>
                <c:pt idx="3040">
                  <c:v>5.0523016788658612</c:v>
                </c:pt>
                <c:pt idx="3041">
                  <c:v>4.91675697452854</c:v>
                </c:pt>
                <c:pt idx="3042">
                  <c:v>6.0452370329441223</c:v>
                </c:pt>
                <c:pt idx="3043">
                  <c:v>5.072621405645557</c:v>
                </c:pt>
                <c:pt idx="3044">
                  <c:v>4.9283634937607541</c:v>
                </c:pt>
                <c:pt idx="3045">
                  <c:v>5.0551994446588706</c:v>
                </c:pt>
                <c:pt idx="3046">
                  <c:v>5.1311937166072186</c:v>
                </c:pt>
                <c:pt idx="3047">
                  <c:v>6.0315350504810539</c:v>
                </c:pt>
                <c:pt idx="3048">
                  <c:v>6.0042553840580313</c:v>
                </c:pt>
                <c:pt idx="3049">
                  <c:v>4.6495444375815191</c:v>
                </c:pt>
                <c:pt idx="3050">
                  <c:v>5.0164956693811309</c:v>
                </c:pt>
                <c:pt idx="3051">
                  <c:v>5.9455085377012287</c:v>
                </c:pt>
                <c:pt idx="3052">
                  <c:v>5.7812715587096246</c:v>
                </c:pt>
                <c:pt idx="3053">
                  <c:v>5.1678290061982253</c:v>
                </c:pt>
                <c:pt idx="3054">
                  <c:v>5.02973562231288</c:v>
                </c:pt>
                <c:pt idx="3055">
                  <c:v>4.8796010327735813</c:v>
                </c:pt>
                <c:pt idx="3056">
                  <c:v>5.0413804094136285</c:v>
                </c:pt>
                <c:pt idx="3057">
                  <c:v>5.8895297181617874</c:v>
                </c:pt>
                <c:pt idx="3058">
                  <c:v>5.0828374205656672</c:v>
                </c:pt>
                <c:pt idx="3059">
                  <c:v>5.986112219121388</c:v>
                </c:pt>
                <c:pt idx="3060">
                  <c:v>6.1396289750241664</c:v>
                </c:pt>
                <c:pt idx="3061">
                  <c:v>5.7955633897386756</c:v>
                </c:pt>
                <c:pt idx="3062">
                  <c:v>4.9536775016220957</c:v>
                </c:pt>
                <c:pt idx="3063">
                  <c:v>5.9648799135558059</c:v>
                </c:pt>
                <c:pt idx="3064">
                  <c:v>5.0348184657764286</c:v>
                </c:pt>
                <c:pt idx="3065">
                  <c:v>6.0646475832774591</c:v>
                </c:pt>
                <c:pt idx="3066">
                  <c:v>5.0021791288001278</c:v>
                </c:pt>
                <c:pt idx="3067">
                  <c:v>5.9318697540166836</c:v>
                </c:pt>
                <c:pt idx="3068">
                  <c:v>5.0721205435648793</c:v>
                </c:pt>
                <c:pt idx="3069">
                  <c:v>5.1204007673582241</c:v>
                </c:pt>
                <c:pt idx="3070">
                  <c:v>6.1464262242771879</c:v>
                </c:pt>
                <c:pt idx="3071">
                  <c:v>4.9308306519422906</c:v>
                </c:pt>
                <c:pt idx="3072">
                  <c:v>6.1176229716791362</c:v>
                </c:pt>
                <c:pt idx="3073">
                  <c:v>5.0560637921248466</c:v>
                </c:pt>
                <c:pt idx="3074">
                  <c:v>4.8227622579600302</c:v>
                </c:pt>
                <c:pt idx="3075">
                  <c:v>5.8978036321624634</c:v>
                </c:pt>
                <c:pt idx="3076">
                  <c:v>5.8553295479539678</c:v>
                </c:pt>
                <c:pt idx="3077">
                  <c:v>5.1384303538077791</c:v>
                </c:pt>
                <c:pt idx="3078">
                  <c:v>5.0415496488869778</c:v>
                </c:pt>
                <c:pt idx="3079">
                  <c:v>4.8972121373363402</c:v>
                </c:pt>
                <c:pt idx="3080">
                  <c:v>4.9737354331990389</c:v>
                </c:pt>
                <c:pt idx="3081">
                  <c:v>5.1107373651577293</c:v>
                </c:pt>
                <c:pt idx="3082">
                  <c:v>4.8752015090494929</c:v>
                </c:pt>
                <c:pt idx="3083">
                  <c:v>5.0809849092070181</c:v>
                </c:pt>
                <c:pt idx="3084">
                  <c:v>4.933450353971339</c:v>
                </c:pt>
                <c:pt idx="3085">
                  <c:v>6.85809939002338</c:v>
                </c:pt>
                <c:pt idx="3086">
                  <c:v>5.1685460188382697</c:v>
                </c:pt>
                <c:pt idx="3087">
                  <c:v>5.9730710665126407</c:v>
                </c:pt>
                <c:pt idx="3088">
                  <c:v>3.9835324160956116</c:v>
                </c:pt>
                <c:pt idx="3089">
                  <c:v>5.1439258993317551</c:v>
                </c:pt>
                <c:pt idx="3090">
                  <c:v>4.9223128018624935</c:v>
                </c:pt>
                <c:pt idx="3091">
                  <c:v>6.0691681866951868</c:v>
                </c:pt>
                <c:pt idx="3092">
                  <c:v>4.8696740104071656</c:v>
                </c:pt>
                <c:pt idx="3093">
                  <c:v>6.0698451894303496</c:v>
                </c:pt>
                <c:pt idx="3094">
                  <c:v>5.9528397076534265</c:v>
                </c:pt>
                <c:pt idx="3095">
                  <c:v>4.9223428469931507</c:v>
                </c:pt>
                <c:pt idx="3096">
                  <c:v>3.7957362477976408</c:v>
                </c:pt>
                <c:pt idx="3097">
                  <c:v>4.966167961061621</c:v>
                </c:pt>
                <c:pt idx="3098">
                  <c:v>5.0048679905664262</c:v>
                </c:pt>
                <c:pt idx="3099">
                  <c:v>6.0925605946355459</c:v>
                </c:pt>
                <c:pt idx="3100">
                  <c:v>5.0993062276918248</c:v>
                </c:pt>
                <c:pt idx="3101">
                  <c:v>6.0309818080215702</c:v>
                </c:pt>
                <c:pt idx="3102">
                  <c:v>4.9403750766116454</c:v>
                </c:pt>
                <c:pt idx="3103">
                  <c:v>6.1350486330822429</c:v>
                </c:pt>
                <c:pt idx="3104">
                  <c:v>6.9204307649185646</c:v>
                </c:pt>
                <c:pt idx="3105">
                  <c:v>5.0016072431254477</c:v>
                </c:pt>
                <c:pt idx="3106">
                  <c:v>5.0644193554298802</c:v>
                </c:pt>
                <c:pt idx="3107">
                  <c:v>5.9281071269822148</c:v>
                </c:pt>
                <c:pt idx="3108">
                  <c:v>3.044502515767967</c:v>
                </c:pt>
                <c:pt idx="3109">
                  <c:v>6.1487810824817783</c:v>
                </c:pt>
                <c:pt idx="3110">
                  <c:v>5.9837925874843263</c:v>
                </c:pt>
                <c:pt idx="3111">
                  <c:v>7.0247053125195889</c:v>
                </c:pt>
                <c:pt idx="3112">
                  <c:v>6.1110279815590669</c:v>
                </c:pt>
                <c:pt idx="3113">
                  <c:v>2.0120504609962389</c:v>
                </c:pt>
                <c:pt idx="3114">
                  <c:v>4.9690895889441347</c:v>
                </c:pt>
                <c:pt idx="3115">
                  <c:v>5.1429589049825193</c:v>
                </c:pt>
                <c:pt idx="3116">
                  <c:v>1.9501203725964871</c:v>
                </c:pt>
                <c:pt idx="3117">
                  <c:v>5.9643922917608121</c:v>
                </c:pt>
                <c:pt idx="3118">
                  <c:v>5.0482274104189395</c:v>
                </c:pt>
                <c:pt idx="3119">
                  <c:v>5.9493709538986623</c:v>
                </c:pt>
                <c:pt idx="3120">
                  <c:v>5.0682115262702414</c:v>
                </c:pt>
                <c:pt idx="3121">
                  <c:v>2.0151657986977329</c:v>
                </c:pt>
                <c:pt idx="3122">
                  <c:v>5.9736743683580773</c:v>
                </c:pt>
                <c:pt idx="3123">
                  <c:v>6.0246578770310952</c:v>
                </c:pt>
                <c:pt idx="3124">
                  <c:v>7.0893216516547266</c:v>
                </c:pt>
                <c:pt idx="3125">
                  <c:v>5.9771984911801974</c:v>
                </c:pt>
                <c:pt idx="3126">
                  <c:v>5.052119943962496</c:v>
                </c:pt>
                <c:pt idx="3127">
                  <c:v>4.9628247938045718</c:v>
                </c:pt>
                <c:pt idx="3128">
                  <c:v>7.1143531943091807</c:v>
                </c:pt>
                <c:pt idx="3129">
                  <c:v>4.9317393198034578</c:v>
                </c:pt>
                <c:pt idx="3130">
                  <c:v>5.8765071931060655</c:v>
                </c:pt>
                <c:pt idx="3131">
                  <c:v>6.2223388680473724</c:v>
                </c:pt>
                <c:pt idx="3132">
                  <c:v>4.9425660461557666</c:v>
                </c:pt>
                <c:pt idx="3133">
                  <c:v>5.8390731410513705</c:v>
                </c:pt>
                <c:pt idx="3134">
                  <c:v>6.7315754947929447</c:v>
                </c:pt>
                <c:pt idx="3135">
                  <c:v>4.969779865486541</c:v>
                </c:pt>
                <c:pt idx="3136">
                  <c:v>5.8773895293998555</c:v>
                </c:pt>
                <c:pt idx="3137">
                  <c:v>5.0784576891512634</c:v>
                </c:pt>
                <c:pt idx="3138">
                  <c:v>5.9547643362628664</c:v>
                </c:pt>
                <c:pt idx="3139">
                  <c:v>7.0294427613976485</c:v>
                </c:pt>
                <c:pt idx="3140">
                  <c:v>6.8209027353597529</c:v>
                </c:pt>
                <c:pt idx="3141">
                  <c:v>5.0773697406659348</c:v>
                </c:pt>
                <c:pt idx="3142">
                  <c:v>5.004735590826539</c:v>
                </c:pt>
                <c:pt idx="3143">
                  <c:v>5.9415582764780499</c:v>
                </c:pt>
                <c:pt idx="3144">
                  <c:v>6.1247538788857003</c:v>
                </c:pt>
                <c:pt idx="3145">
                  <c:v>6.0006792921565175</c:v>
                </c:pt>
                <c:pt idx="3146">
                  <c:v>5.9270136771546165</c:v>
                </c:pt>
                <c:pt idx="3147">
                  <c:v>4.9294684462451874</c:v>
                </c:pt>
                <c:pt idx="3148">
                  <c:v>6.0317942369888824</c:v>
                </c:pt>
                <c:pt idx="3149">
                  <c:v>7.1268308639443978</c:v>
                </c:pt>
                <c:pt idx="3150">
                  <c:v>5.1981891218126126</c:v>
                </c:pt>
                <c:pt idx="3151">
                  <c:v>6.0745049909906754</c:v>
                </c:pt>
                <c:pt idx="3152">
                  <c:v>5.0082161353620087</c:v>
                </c:pt>
                <c:pt idx="3153">
                  <c:v>5.1711494151552477</c:v>
                </c:pt>
                <c:pt idx="3154">
                  <c:v>5.0254948701616504</c:v>
                </c:pt>
                <c:pt idx="3155">
                  <c:v>5.0789078699107018</c:v>
                </c:pt>
                <c:pt idx="3156">
                  <c:v>4.8775384720723522</c:v>
                </c:pt>
                <c:pt idx="3157">
                  <c:v>6.0318730087856771</c:v>
                </c:pt>
                <c:pt idx="3158">
                  <c:v>4.0004578595790017</c:v>
                </c:pt>
                <c:pt idx="3159">
                  <c:v>7.0894765041473429</c:v>
                </c:pt>
                <c:pt idx="3160">
                  <c:v>3.9123309861812507</c:v>
                </c:pt>
                <c:pt idx="3161">
                  <c:v>4.9069234146238792</c:v>
                </c:pt>
                <c:pt idx="3162">
                  <c:v>5.1569758255884324</c:v>
                </c:pt>
                <c:pt idx="3163">
                  <c:v>5.995740790450272</c:v>
                </c:pt>
                <c:pt idx="3164">
                  <c:v>4.9646321915326475</c:v>
                </c:pt>
                <c:pt idx="3165">
                  <c:v>4.9323367384300409</c:v>
                </c:pt>
                <c:pt idx="3166">
                  <c:v>5.0243879812769654</c:v>
                </c:pt>
                <c:pt idx="3167">
                  <c:v>5.1121796270948794</c:v>
                </c:pt>
                <c:pt idx="3168">
                  <c:v>6.9644571470069883</c:v>
                </c:pt>
                <c:pt idx="3169">
                  <c:v>4.9055322837360515</c:v>
                </c:pt>
                <c:pt idx="3170">
                  <c:v>4.880839157472054</c:v>
                </c:pt>
                <c:pt idx="3171">
                  <c:v>4.7485175775521249</c:v>
                </c:pt>
                <c:pt idx="3172">
                  <c:v>5.2273107223857371</c:v>
                </c:pt>
                <c:pt idx="3173">
                  <c:v>5.0138217737712951</c:v>
                </c:pt>
                <c:pt idx="3174">
                  <c:v>5.9630753942229227</c:v>
                </c:pt>
                <c:pt idx="3175">
                  <c:v>4.8151361712564116</c:v>
                </c:pt>
                <c:pt idx="3176">
                  <c:v>4.9717572401782038</c:v>
                </c:pt>
                <c:pt idx="3177">
                  <c:v>5.0813792834656839</c:v>
                </c:pt>
                <c:pt idx="3178">
                  <c:v>4.9284480661231118</c:v>
                </c:pt>
                <c:pt idx="3179">
                  <c:v>6.1947627481410006</c:v>
                </c:pt>
                <c:pt idx="3180">
                  <c:v>5.9622839704668937</c:v>
                </c:pt>
                <c:pt idx="3181">
                  <c:v>5.0041742004570056</c:v>
                </c:pt>
                <c:pt idx="3182">
                  <c:v>6.9792183348791177</c:v>
                </c:pt>
                <c:pt idx="3183">
                  <c:v>6.0159419337223969</c:v>
                </c:pt>
                <c:pt idx="3184">
                  <c:v>7.0334694640591602</c:v>
                </c:pt>
                <c:pt idx="3185">
                  <c:v>5.1143661605418282</c:v>
                </c:pt>
                <c:pt idx="3186">
                  <c:v>5.1289045163578928</c:v>
                </c:pt>
                <c:pt idx="3187">
                  <c:v>5.9806892129348599</c:v>
                </c:pt>
                <c:pt idx="3188">
                  <c:v>5.0246594507505229</c:v>
                </c:pt>
                <c:pt idx="3189">
                  <c:v>5.8759415565638156</c:v>
                </c:pt>
                <c:pt idx="3190">
                  <c:v>4.9389362497397897</c:v>
                </c:pt>
                <c:pt idx="3191">
                  <c:v>4.9504954538764956</c:v>
                </c:pt>
                <c:pt idx="3192">
                  <c:v>6.0160487451528528</c:v>
                </c:pt>
                <c:pt idx="3193">
                  <c:v>5.9092915315105241</c:v>
                </c:pt>
                <c:pt idx="3194">
                  <c:v>4.8827470912132291</c:v>
                </c:pt>
                <c:pt idx="3195">
                  <c:v>5.0080559803567102</c:v>
                </c:pt>
                <c:pt idx="3196">
                  <c:v>6.7794179863662549</c:v>
                </c:pt>
                <c:pt idx="3197">
                  <c:v>5.0954766991707672</c:v>
                </c:pt>
                <c:pt idx="3198">
                  <c:v>6.0378921324573822</c:v>
                </c:pt>
                <c:pt idx="3199">
                  <c:v>6.9383656811045302</c:v>
                </c:pt>
                <c:pt idx="3200">
                  <c:v>4.9809282489560252</c:v>
                </c:pt>
                <c:pt idx="3201">
                  <c:v>5.1278392411238567</c:v>
                </c:pt>
                <c:pt idx="3202">
                  <c:v>5.8998474380631496</c:v>
                </c:pt>
                <c:pt idx="3203">
                  <c:v>4.8361955433020061</c:v>
                </c:pt>
                <c:pt idx="3204">
                  <c:v>4.8146560294032827</c:v>
                </c:pt>
                <c:pt idx="3205">
                  <c:v>5.0146292960375911</c:v>
                </c:pt>
                <c:pt idx="3206">
                  <c:v>5.0426782758996023</c:v>
                </c:pt>
                <c:pt idx="3207">
                  <c:v>5.9027360998097151</c:v>
                </c:pt>
                <c:pt idx="3208">
                  <c:v>5.7336051344263854</c:v>
                </c:pt>
                <c:pt idx="3209">
                  <c:v>6.0122811937052356</c:v>
                </c:pt>
                <c:pt idx="3210">
                  <c:v>5.9319937730338639</c:v>
                </c:pt>
                <c:pt idx="3211">
                  <c:v>5.07719644203575</c:v>
                </c:pt>
                <c:pt idx="3212">
                  <c:v>5.9204238418083062</c:v>
                </c:pt>
                <c:pt idx="3213">
                  <c:v>5.0194070133407029</c:v>
                </c:pt>
                <c:pt idx="3214">
                  <c:v>4.9545489644941005</c:v>
                </c:pt>
                <c:pt idx="3215">
                  <c:v>5.0137543640225033</c:v>
                </c:pt>
                <c:pt idx="3216">
                  <c:v>4.9208068719151399</c:v>
                </c:pt>
                <c:pt idx="3217">
                  <c:v>5.8724098235081383</c:v>
                </c:pt>
                <c:pt idx="3218">
                  <c:v>6.0395657060564378</c:v>
                </c:pt>
                <c:pt idx="3219">
                  <c:v>5.0454666454252619</c:v>
                </c:pt>
                <c:pt idx="3220">
                  <c:v>4.9197052345020875</c:v>
                </c:pt>
                <c:pt idx="3221">
                  <c:v>5.011888294136587</c:v>
                </c:pt>
                <c:pt idx="3222">
                  <c:v>4.9925523335469615</c:v>
                </c:pt>
                <c:pt idx="3223">
                  <c:v>5.0046380317481063</c:v>
                </c:pt>
                <c:pt idx="3224">
                  <c:v>5.0495076891636792</c:v>
                </c:pt>
                <c:pt idx="3225">
                  <c:v>4.9171593157475</c:v>
                </c:pt>
                <c:pt idx="3226">
                  <c:v>4.7733157332284737</c:v>
                </c:pt>
                <c:pt idx="3227">
                  <c:v>5.0701046947392188</c:v>
                </c:pt>
                <c:pt idx="3228">
                  <c:v>5.9211693587466945</c:v>
                </c:pt>
                <c:pt idx="3229">
                  <c:v>5.9245478912605822</c:v>
                </c:pt>
                <c:pt idx="3230">
                  <c:v>4.926030847292302</c:v>
                </c:pt>
                <c:pt idx="3231">
                  <c:v>4.8396418146813547</c:v>
                </c:pt>
                <c:pt idx="3232">
                  <c:v>5.0847948515285939</c:v>
                </c:pt>
                <c:pt idx="3233">
                  <c:v>5.0829854293317709</c:v>
                </c:pt>
                <c:pt idx="3234">
                  <c:v>4.9297413662631175</c:v>
                </c:pt>
                <c:pt idx="3235">
                  <c:v>5.0532484177936565</c:v>
                </c:pt>
                <c:pt idx="3236">
                  <c:v>5.7779848882831342</c:v>
                </c:pt>
                <c:pt idx="3237">
                  <c:v>6.0068377119969725</c:v>
                </c:pt>
                <c:pt idx="3238">
                  <c:v>6.0641596835949745</c:v>
                </c:pt>
                <c:pt idx="3239">
                  <c:v>5.1459039910132836</c:v>
                </c:pt>
                <c:pt idx="3240">
                  <c:v>4.9827669096602278</c:v>
                </c:pt>
                <c:pt idx="3241">
                  <c:v>6.1521092848467651</c:v>
                </c:pt>
                <c:pt idx="3242">
                  <c:v>5.0887263905087581</c:v>
                </c:pt>
                <c:pt idx="3243">
                  <c:v>5.0421599666686578</c:v>
                </c:pt>
                <c:pt idx="3244">
                  <c:v>4.9890399087475963</c:v>
                </c:pt>
                <c:pt idx="3245">
                  <c:v>6.0057703575299115</c:v>
                </c:pt>
                <c:pt idx="3246">
                  <c:v>4.9941073000951581</c:v>
                </c:pt>
                <c:pt idx="3247">
                  <c:v>4.7704496102120615</c:v>
                </c:pt>
                <c:pt idx="3248">
                  <c:v>5.0601972580178947</c:v>
                </c:pt>
                <c:pt idx="3249">
                  <c:v>6.0678866311397393</c:v>
                </c:pt>
                <c:pt idx="3250">
                  <c:v>5.0569958636713439</c:v>
                </c:pt>
                <c:pt idx="3251">
                  <c:v>5.0174436806610281</c:v>
                </c:pt>
                <c:pt idx="3252">
                  <c:v>5.073853377331079</c:v>
                </c:pt>
                <c:pt idx="3253">
                  <c:v>5.0082690976194151</c:v>
                </c:pt>
                <c:pt idx="3254">
                  <c:v>6.112602344441421</c:v>
                </c:pt>
                <c:pt idx="3255">
                  <c:v>6.0721405943614863</c:v>
                </c:pt>
                <c:pt idx="3256">
                  <c:v>5.9220067888104317</c:v>
                </c:pt>
                <c:pt idx="3257">
                  <c:v>5.0133202927463305</c:v>
                </c:pt>
                <c:pt idx="3258">
                  <c:v>5.0928392497621058</c:v>
                </c:pt>
                <c:pt idx="3259">
                  <c:v>5.9706978924360161</c:v>
                </c:pt>
                <c:pt idx="3260">
                  <c:v>6.1598807359154097</c:v>
                </c:pt>
                <c:pt idx="3261">
                  <c:v>4.9362116746919673</c:v>
                </c:pt>
                <c:pt idx="3262">
                  <c:v>6.086926288083732</c:v>
                </c:pt>
                <c:pt idx="3263">
                  <c:v>7.0727462723487688</c:v>
                </c:pt>
                <c:pt idx="3264">
                  <c:v>5.0402124460231477</c:v>
                </c:pt>
                <c:pt idx="3265">
                  <c:v>5.0584426236875508</c:v>
                </c:pt>
                <c:pt idx="3266">
                  <c:v>5.9758360326710793</c:v>
                </c:pt>
                <c:pt idx="3267">
                  <c:v>4.9014605297018123</c:v>
                </c:pt>
                <c:pt idx="3268">
                  <c:v>4.9198877198744313</c:v>
                </c:pt>
                <c:pt idx="3269">
                  <c:v>6.2142250341082015</c:v>
                </c:pt>
                <c:pt idx="3270">
                  <c:v>7.016849462993723</c:v>
                </c:pt>
                <c:pt idx="3271">
                  <c:v>4.9612617276271012</c:v>
                </c:pt>
                <c:pt idx="3272">
                  <c:v>6.1270422395790334</c:v>
                </c:pt>
                <c:pt idx="3273">
                  <c:v>4.9202338754618316</c:v>
                </c:pt>
                <c:pt idx="3274">
                  <c:v>5.0770370077296914</c:v>
                </c:pt>
                <c:pt idx="3275">
                  <c:v>5.0647160505548836</c:v>
                </c:pt>
                <c:pt idx="3276">
                  <c:v>4.912959959877357</c:v>
                </c:pt>
                <c:pt idx="3277">
                  <c:v>5.9840344514663082</c:v>
                </c:pt>
                <c:pt idx="3278">
                  <c:v>4.9787954316430136</c:v>
                </c:pt>
                <c:pt idx="3279">
                  <c:v>5.0959065036353062</c:v>
                </c:pt>
                <c:pt idx="3280">
                  <c:v>4.9858332569565311</c:v>
                </c:pt>
                <c:pt idx="3281">
                  <c:v>6.1102397290716777</c:v>
                </c:pt>
                <c:pt idx="3282">
                  <c:v>5.0878427450970225</c:v>
                </c:pt>
                <c:pt idx="3283">
                  <c:v>5.935681689005829</c:v>
                </c:pt>
                <c:pt idx="3284">
                  <c:v>6.1062524220405772</c:v>
                </c:pt>
                <c:pt idx="3285">
                  <c:v>5.0680159415917982</c:v>
                </c:pt>
                <c:pt idx="3286">
                  <c:v>5.0457699154527624</c:v>
                </c:pt>
                <c:pt idx="3287">
                  <c:v>6.0062759243854664</c:v>
                </c:pt>
                <c:pt idx="3288">
                  <c:v>5.0595690670647322</c:v>
                </c:pt>
                <c:pt idx="3289">
                  <c:v>5.1584890435460391</c:v>
                </c:pt>
                <c:pt idx="3290">
                  <c:v>5.094462195108366</c:v>
                </c:pt>
                <c:pt idx="3291">
                  <c:v>4.8817052802211451</c:v>
                </c:pt>
                <c:pt idx="3292">
                  <c:v>5.0640200778038036</c:v>
                </c:pt>
                <c:pt idx="3293">
                  <c:v>5.9877007004569283</c:v>
                </c:pt>
                <c:pt idx="3294">
                  <c:v>5.1236922845063715</c:v>
                </c:pt>
                <c:pt idx="3295">
                  <c:v>5.0289938571772659</c:v>
                </c:pt>
                <c:pt idx="3296">
                  <c:v>5.900465557765763</c:v>
                </c:pt>
                <c:pt idx="3297">
                  <c:v>4.8899241404823321</c:v>
                </c:pt>
                <c:pt idx="3298">
                  <c:v>4.8787246439503171</c:v>
                </c:pt>
                <c:pt idx="3299">
                  <c:v>4.8360982759062772</c:v>
                </c:pt>
                <c:pt idx="3300">
                  <c:v>4.9109434449124416</c:v>
                </c:pt>
                <c:pt idx="3301">
                  <c:v>6.1067567242531515</c:v>
                </c:pt>
                <c:pt idx="3302">
                  <c:v>4.9768601226388842</c:v>
                </c:pt>
                <c:pt idx="3303">
                  <c:v>4.9843552779073068</c:v>
                </c:pt>
                <c:pt idx="3304">
                  <c:v>4.991044934248384</c:v>
                </c:pt>
                <c:pt idx="3305">
                  <c:v>4.9802013327852652</c:v>
                </c:pt>
                <c:pt idx="3306">
                  <c:v>6.241554493008187</c:v>
                </c:pt>
                <c:pt idx="3307">
                  <c:v>4.8403866462638545</c:v>
                </c:pt>
                <c:pt idx="3308">
                  <c:v>5.0196913361377735</c:v>
                </c:pt>
                <c:pt idx="3309">
                  <c:v>5.0277352027508444</c:v>
                </c:pt>
                <c:pt idx="3310">
                  <c:v>6.101227512457946</c:v>
                </c:pt>
                <c:pt idx="3311">
                  <c:v>6.1962998100959004</c:v>
                </c:pt>
                <c:pt idx="3312">
                  <c:v>6.0416299789721819</c:v>
                </c:pt>
                <c:pt idx="3313">
                  <c:v>5.0227679078365748</c:v>
                </c:pt>
                <c:pt idx="3314">
                  <c:v>5.0185456775918187</c:v>
                </c:pt>
                <c:pt idx="3315">
                  <c:v>7.1151087972039218</c:v>
                </c:pt>
                <c:pt idx="3316">
                  <c:v>5.1067569670710569</c:v>
                </c:pt>
                <c:pt idx="3317">
                  <c:v>5.1993390718766817</c:v>
                </c:pt>
                <c:pt idx="3318">
                  <c:v>6.0015579943093886</c:v>
                </c:pt>
                <c:pt idx="3319">
                  <c:v>4.8613566950834226</c:v>
                </c:pt>
                <c:pt idx="3320">
                  <c:v>5.9458458710683928</c:v>
                </c:pt>
                <c:pt idx="3321">
                  <c:v>4.9444231144620696</c:v>
                </c:pt>
                <c:pt idx="3322">
                  <c:v>5.9408779673245737</c:v>
                </c:pt>
                <c:pt idx="3323">
                  <c:v>5.0101000602853132</c:v>
                </c:pt>
                <c:pt idx="3324">
                  <c:v>5.0401460526684101</c:v>
                </c:pt>
                <c:pt idx="3325">
                  <c:v>4.9557478594427185</c:v>
                </c:pt>
                <c:pt idx="3326">
                  <c:v>6.0349152527579291</c:v>
                </c:pt>
                <c:pt idx="3327">
                  <c:v>5.9741148514725166</c:v>
                </c:pt>
                <c:pt idx="3328">
                  <c:v>4.8518220406522587</c:v>
                </c:pt>
                <c:pt idx="3329">
                  <c:v>6.0943009073697691</c:v>
                </c:pt>
                <c:pt idx="3330">
                  <c:v>5.9374525387135781</c:v>
                </c:pt>
                <c:pt idx="3331">
                  <c:v>4.948060602694448</c:v>
                </c:pt>
                <c:pt idx="3332">
                  <c:v>6.1676803479470683</c:v>
                </c:pt>
                <c:pt idx="3333">
                  <c:v>5.0485031259486703</c:v>
                </c:pt>
                <c:pt idx="3334">
                  <c:v>4.8796668357453603</c:v>
                </c:pt>
                <c:pt idx="3335">
                  <c:v>5.0667564626265786</c:v>
                </c:pt>
                <c:pt idx="3336">
                  <c:v>5.1124629690054659</c:v>
                </c:pt>
                <c:pt idx="3337">
                  <c:v>5.1433351762136637</c:v>
                </c:pt>
                <c:pt idx="3338">
                  <c:v>4.8356097413729868</c:v>
                </c:pt>
                <c:pt idx="3339">
                  <c:v>5.0120694520417253</c:v>
                </c:pt>
                <c:pt idx="3340">
                  <c:v>4.9474361362265027</c:v>
                </c:pt>
                <c:pt idx="3341">
                  <c:v>5.1425248176913376</c:v>
                </c:pt>
                <c:pt idx="3342">
                  <c:v>5.9502268082747198</c:v>
                </c:pt>
                <c:pt idx="3343">
                  <c:v>5.842853341376367</c:v>
                </c:pt>
                <c:pt idx="3344">
                  <c:v>5.8435387317662322</c:v>
                </c:pt>
                <c:pt idx="3345">
                  <c:v>5.0127538356277253</c:v>
                </c:pt>
                <c:pt idx="3346">
                  <c:v>6.0545655149289743</c:v>
                </c:pt>
                <c:pt idx="3347">
                  <c:v>5.9789698387180703</c:v>
                </c:pt>
                <c:pt idx="3348">
                  <c:v>4.9614720481947225</c:v>
                </c:pt>
                <c:pt idx="3349">
                  <c:v>5.9713580179423937</c:v>
                </c:pt>
                <c:pt idx="3350">
                  <c:v>4.9463542750295009</c:v>
                </c:pt>
                <c:pt idx="3351">
                  <c:v>4.9069349441470491</c:v>
                </c:pt>
                <c:pt idx="3352">
                  <c:v>6.0526601858308515</c:v>
                </c:pt>
                <c:pt idx="3353">
                  <c:v>3.0137917626950004</c:v>
                </c:pt>
                <c:pt idx="3354">
                  <c:v>5.1480449665583059</c:v>
                </c:pt>
                <c:pt idx="3355">
                  <c:v>6.0832633011922681</c:v>
                </c:pt>
                <c:pt idx="3356">
                  <c:v>4.9845152185535309</c:v>
                </c:pt>
                <c:pt idx="3357">
                  <c:v>4.9937903849868208</c:v>
                </c:pt>
                <c:pt idx="3358">
                  <c:v>5.0602246971104794</c:v>
                </c:pt>
                <c:pt idx="3359">
                  <c:v>5.9194226096994011</c:v>
                </c:pt>
                <c:pt idx="3360">
                  <c:v>4.9398980880532868</c:v>
                </c:pt>
                <c:pt idx="3361">
                  <c:v>5.0511356591061949</c:v>
                </c:pt>
                <c:pt idx="3362">
                  <c:v>5.0983999900777164</c:v>
                </c:pt>
                <c:pt idx="3363">
                  <c:v>5.8116227644942882</c:v>
                </c:pt>
                <c:pt idx="3364">
                  <c:v>5.2860288176197274</c:v>
                </c:pt>
                <c:pt idx="3365">
                  <c:v>5.0654527157151339</c:v>
                </c:pt>
                <c:pt idx="3366">
                  <c:v>5.1659574724623223</c:v>
                </c:pt>
                <c:pt idx="3367">
                  <c:v>5.0740723900742157</c:v>
                </c:pt>
                <c:pt idx="3368">
                  <c:v>4.9958377450485267</c:v>
                </c:pt>
                <c:pt idx="3369">
                  <c:v>5.155111351322442</c:v>
                </c:pt>
                <c:pt idx="3370">
                  <c:v>5.0685104055767889</c:v>
                </c:pt>
                <c:pt idx="3371">
                  <c:v>5.045436046729411</c:v>
                </c:pt>
                <c:pt idx="3372">
                  <c:v>4.9954526082115374</c:v>
                </c:pt>
                <c:pt idx="3373">
                  <c:v>4.9241413493928929</c:v>
                </c:pt>
                <c:pt idx="3374">
                  <c:v>5.7932252836849791</c:v>
                </c:pt>
                <c:pt idx="3375">
                  <c:v>5.8327110645984535</c:v>
                </c:pt>
                <c:pt idx="3376">
                  <c:v>5.0616054105357469</c:v>
                </c:pt>
                <c:pt idx="3377">
                  <c:v>5.9063029094624673</c:v>
                </c:pt>
                <c:pt idx="3378">
                  <c:v>5.9376153670588376</c:v>
                </c:pt>
                <c:pt idx="3379">
                  <c:v>4.8343594581334965</c:v>
                </c:pt>
                <c:pt idx="3380">
                  <c:v>5.0684054399985552</c:v>
                </c:pt>
                <c:pt idx="3381">
                  <c:v>5.1211909311264456</c:v>
                </c:pt>
                <c:pt idx="3382">
                  <c:v>5.055809452584203</c:v>
                </c:pt>
                <c:pt idx="3383">
                  <c:v>6.0580638670976468</c:v>
                </c:pt>
                <c:pt idx="3384">
                  <c:v>5.014265749108997</c:v>
                </c:pt>
                <c:pt idx="3385">
                  <c:v>5.1941679481513319</c:v>
                </c:pt>
                <c:pt idx="3386">
                  <c:v>4.9757067178495378</c:v>
                </c:pt>
                <c:pt idx="3387">
                  <c:v>4.9312731905444966</c:v>
                </c:pt>
                <c:pt idx="3388">
                  <c:v>5.7544124394277087</c:v>
                </c:pt>
                <c:pt idx="3389">
                  <c:v>5.0330062893472691</c:v>
                </c:pt>
                <c:pt idx="3390">
                  <c:v>4.9282103130241888</c:v>
                </c:pt>
                <c:pt idx="3391">
                  <c:v>6.0374293578587395</c:v>
                </c:pt>
                <c:pt idx="3392">
                  <c:v>4.9652635538936476</c:v>
                </c:pt>
                <c:pt idx="3393">
                  <c:v>6.0885197551787034</c:v>
                </c:pt>
                <c:pt idx="3394">
                  <c:v>5.0530629935761748</c:v>
                </c:pt>
                <c:pt idx="3395">
                  <c:v>5.0027739059334388</c:v>
                </c:pt>
                <c:pt idx="3396">
                  <c:v>4.917857636030881</c:v>
                </c:pt>
                <c:pt idx="3397">
                  <c:v>4.903517384218457</c:v>
                </c:pt>
                <c:pt idx="3398">
                  <c:v>5.0996423547302143</c:v>
                </c:pt>
                <c:pt idx="3399">
                  <c:v>4.9533512520606129</c:v>
                </c:pt>
                <c:pt idx="3400">
                  <c:v>4.9231202930271962</c:v>
                </c:pt>
                <c:pt idx="3401">
                  <c:v>5.0317039401757206</c:v>
                </c:pt>
                <c:pt idx="3402">
                  <c:v>5.0817555657441833</c:v>
                </c:pt>
                <c:pt idx="3403">
                  <c:v>5.0349317610308661</c:v>
                </c:pt>
                <c:pt idx="3404">
                  <c:v>5.0539861700181161</c:v>
                </c:pt>
                <c:pt idx="3405">
                  <c:v>5.0518084884491934</c:v>
                </c:pt>
                <c:pt idx="3406">
                  <c:v>6.1945155132076994</c:v>
                </c:pt>
                <c:pt idx="3407">
                  <c:v>5.9820520348554131</c:v>
                </c:pt>
                <c:pt idx="3408">
                  <c:v>5.9358418057719273</c:v>
                </c:pt>
                <c:pt idx="3409">
                  <c:v>5.9899057955854147</c:v>
                </c:pt>
                <c:pt idx="3410">
                  <c:v>5.1279632341902559</c:v>
                </c:pt>
                <c:pt idx="3411">
                  <c:v>5.0424394228215483</c:v>
                </c:pt>
                <c:pt idx="3412">
                  <c:v>4.9840780918756078</c:v>
                </c:pt>
                <c:pt idx="3413">
                  <c:v>4.8281353299414622</c:v>
                </c:pt>
                <c:pt idx="3414">
                  <c:v>5.176913800509281</c:v>
                </c:pt>
                <c:pt idx="3415">
                  <c:v>4.9239398142601658</c:v>
                </c:pt>
                <c:pt idx="3416">
                  <c:v>5.9071814801800686</c:v>
                </c:pt>
                <c:pt idx="3417">
                  <c:v>5.0237271025253945</c:v>
                </c:pt>
                <c:pt idx="3418">
                  <c:v>5.0009828100434017</c:v>
                </c:pt>
                <c:pt idx="3419">
                  <c:v>4.9105992894150239</c:v>
                </c:pt>
                <c:pt idx="3420">
                  <c:v>5.9740910814993713</c:v>
                </c:pt>
                <c:pt idx="3421">
                  <c:v>4.8590548652679004</c:v>
                </c:pt>
                <c:pt idx="3422">
                  <c:v>5.0804108620070245</c:v>
                </c:pt>
                <c:pt idx="3423">
                  <c:v>6.2299993989953695</c:v>
                </c:pt>
                <c:pt idx="3424">
                  <c:v>4.8729778334103839</c:v>
                </c:pt>
                <c:pt idx="3425">
                  <c:v>4.9580784582497381</c:v>
                </c:pt>
                <c:pt idx="3426">
                  <c:v>4.9621643657051706</c:v>
                </c:pt>
                <c:pt idx="3427">
                  <c:v>5.0915944160358331</c:v>
                </c:pt>
                <c:pt idx="3428">
                  <c:v>6.2516033571012528</c:v>
                </c:pt>
                <c:pt idx="3429">
                  <c:v>4.9947100773287403</c:v>
                </c:pt>
                <c:pt idx="3430">
                  <c:v>5.0097309857104078</c:v>
                </c:pt>
                <c:pt idx="3431">
                  <c:v>4.9578807513309746</c:v>
                </c:pt>
                <c:pt idx="3432">
                  <c:v>5.138256589211406</c:v>
                </c:pt>
                <c:pt idx="3433">
                  <c:v>4.9025726799813434</c:v>
                </c:pt>
                <c:pt idx="3434">
                  <c:v>5.9328544352118557</c:v>
                </c:pt>
                <c:pt idx="3435">
                  <c:v>4.8887012443904858</c:v>
                </c:pt>
                <c:pt idx="3436">
                  <c:v>4.9976343411434589</c:v>
                </c:pt>
                <c:pt idx="3437">
                  <c:v>5.2760713346855184</c:v>
                </c:pt>
                <c:pt idx="3438">
                  <c:v>4.9234458039225402</c:v>
                </c:pt>
                <c:pt idx="3439">
                  <c:v>7.1686470201596659</c:v>
                </c:pt>
                <c:pt idx="3440">
                  <c:v>6.0831107705601157</c:v>
                </c:pt>
                <c:pt idx="3441">
                  <c:v>5.9227537584304013</c:v>
                </c:pt>
                <c:pt idx="3442">
                  <c:v>5.0155654786880204</c:v>
                </c:pt>
                <c:pt idx="3443">
                  <c:v>5.9281468745672266</c:v>
                </c:pt>
                <c:pt idx="3444">
                  <c:v>5.2269153898867673</c:v>
                </c:pt>
                <c:pt idx="3445">
                  <c:v>5.9297947558416721</c:v>
                </c:pt>
                <c:pt idx="3446">
                  <c:v>5.9243593189215522</c:v>
                </c:pt>
                <c:pt idx="3447">
                  <c:v>5.9047255078885685</c:v>
                </c:pt>
                <c:pt idx="3448">
                  <c:v>5.0558989027199379</c:v>
                </c:pt>
                <c:pt idx="3449">
                  <c:v>6.8648405875368228</c:v>
                </c:pt>
                <c:pt idx="3450">
                  <c:v>5.9330083770643327</c:v>
                </c:pt>
                <c:pt idx="3451">
                  <c:v>4.9883565471356199</c:v>
                </c:pt>
                <c:pt idx="3452">
                  <c:v>5.108631254163476</c:v>
                </c:pt>
                <c:pt idx="3453">
                  <c:v>5.0779510228604714</c:v>
                </c:pt>
                <c:pt idx="3454">
                  <c:v>4.8386246633988428</c:v>
                </c:pt>
                <c:pt idx="3455">
                  <c:v>5.1367521039866322</c:v>
                </c:pt>
                <c:pt idx="3456">
                  <c:v>6.0631309507242941</c:v>
                </c:pt>
                <c:pt idx="3457">
                  <c:v>5.0365459018328416</c:v>
                </c:pt>
                <c:pt idx="3458">
                  <c:v>5.0942469231372964</c:v>
                </c:pt>
                <c:pt idx="3459">
                  <c:v>6.0876237233379191</c:v>
                </c:pt>
                <c:pt idx="3460">
                  <c:v>6.0056818556725675</c:v>
                </c:pt>
                <c:pt idx="3461">
                  <c:v>6.8106164465895178</c:v>
                </c:pt>
                <c:pt idx="3462">
                  <c:v>4.9726950373206344</c:v>
                </c:pt>
                <c:pt idx="3463">
                  <c:v>4.8503453817182969</c:v>
                </c:pt>
                <c:pt idx="3464">
                  <c:v>5.0334425957807785</c:v>
                </c:pt>
                <c:pt idx="3465">
                  <c:v>5.1356463410592212</c:v>
                </c:pt>
                <c:pt idx="3466">
                  <c:v>4.9806606804912397</c:v>
                </c:pt>
                <c:pt idx="3467">
                  <c:v>5.9983352760434254</c:v>
                </c:pt>
                <c:pt idx="3468">
                  <c:v>5.9554545409317585</c:v>
                </c:pt>
                <c:pt idx="3469">
                  <c:v>4.9515883279358262</c:v>
                </c:pt>
                <c:pt idx="3470">
                  <c:v>6.0266517748293005</c:v>
                </c:pt>
                <c:pt idx="3471">
                  <c:v>5.1432026920571632</c:v>
                </c:pt>
                <c:pt idx="3472">
                  <c:v>5.0234089411862914</c:v>
                </c:pt>
                <c:pt idx="3473">
                  <c:v>4.960120398252359</c:v>
                </c:pt>
                <c:pt idx="3474">
                  <c:v>5.9969781898937526</c:v>
                </c:pt>
                <c:pt idx="3475">
                  <c:v>5.0377466295747322</c:v>
                </c:pt>
                <c:pt idx="3476">
                  <c:v>5.0169540442927314</c:v>
                </c:pt>
                <c:pt idx="3477">
                  <c:v>5.9616383109727726</c:v>
                </c:pt>
                <c:pt idx="3478">
                  <c:v>5.0302126827943514</c:v>
                </c:pt>
                <c:pt idx="3479">
                  <c:v>5.0024585433633542</c:v>
                </c:pt>
                <c:pt idx="3480">
                  <c:v>5.8558136865376014</c:v>
                </c:pt>
                <c:pt idx="3481">
                  <c:v>4.8599625181549424</c:v>
                </c:pt>
                <c:pt idx="3482">
                  <c:v>6.0716489493550698</c:v>
                </c:pt>
                <c:pt idx="3483">
                  <c:v>4.8425593036805452</c:v>
                </c:pt>
                <c:pt idx="3484">
                  <c:v>4.864086550772778</c:v>
                </c:pt>
                <c:pt idx="3485">
                  <c:v>5.0647609381732197</c:v>
                </c:pt>
                <c:pt idx="3486">
                  <c:v>4.7665817579781713</c:v>
                </c:pt>
                <c:pt idx="3487">
                  <c:v>4.9423047289852313</c:v>
                </c:pt>
                <c:pt idx="3488">
                  <c:v>4.925738614142122</c:v>
                </c:pt>
                <c:pt idx="3489">
                  <c:v>4.9256436882898695</c:v>
                </c:pt>
                <c:pt idx="3490">
                  <c:v>4.9179212593625508</c:v>
                </c:pt>
                <c:pt idx="3491">
                  <c:v>5.971060535593022</c:v>
                </c:pt>
                <c:pt idx="3492">
                  <c:v>5.8595130059852689</c:v>
                </c:pt>
                <c:pt idx="3493">
                  <c:v>4.9746575817907761</c:v>
                </c:pt>
                <c:pt idx="3494">
                  <c:v>4.8901168011068314</c:v>
                </c:pt>
                <c:pt idx="3495">
                  <c:v>5.0984465866470208</c:v>
                </c:pt>
                <c:pt idx="3496">
                  <c:v>4.9075888062389934</c:v>
                </c:pt>
                <c:pt idx="3497">
                  <c:v>5.055413384032394</c:v>
                </c:pt>
                <c:pt idx="3498">
                  <c:v>7.1242229946166393</c:v>
                </c:pt>
                <c:pt idx="3499">
                  <c:v>5.1489087396608859</c:v>
                </c:pt>
                <c:pt idx="3500">
                  <c:v>6.2180138572777439</c:v>
                </c:pt>
                <c:pt idx="3501">
                  <c:v>6.0371125095543245</c:v>
                </c:pt>
                <c:pt idx="3502">
                  <c:v>5.0450630215899084</c:v>
                </c:pt>
                <c:pt idx="3503">
                  <c:v>5.019545859548237</c:v>
                </c:pt>
                <c:pt idx="3504">
                  <c:v>6.0035491429712504</c:v>
                </c:pt>
                <c:pt idx="3505">
                  <c:v>4.8546330212731696</c:v>
                </c:pt>
                <c:pt idx="3506">
                  <c:v>5.0151314095961004</c:v>
                </c:pt>
                <c:pt idx="3507">
                  <c:v>4.9682323265172394</c:v>
                </c:pt>
                <c:pt idx="3508">
                  <c:v>5.1643944222363656</c:v>
                </c:pt>
                <c:pt idx="3509">
                  <c:v>5.9116287300624393</c:v>
                </c:pt>
                <c:pt idx="3510">
                  <c:v>4.9608049512487495</c:v>
                </c:pt>
                <c:pt idx="3511">
                  <c:v>4.9515176439084181</c:v>
                </c:pt>
                <c:pt idx="3512">
                  <c:v>5.9864442196315242</c:v>
                </c:pt>
                <c:pt idx="3513">
                  <c:v>5.1827599494916408</c:v>
                </c:pt>
                <c:pt idx="3514">
                  <c:v>6.0391361597717674</c:v>
                </c:pt>
                <c:pt idx="3515">
                  <c:v>5.901004240047464</c:v>
                </c:pt>
                <c:pt idx="3516">
                  <c:v>4.9564809305846165</c:v>
                </c:pt>
                <c:pt idx="3517">
                  <c:v>6.081222053083347</c:v>
                </c:pt>
                <c:pt idx="3518">
                  <c:v>6.8910459644913065</c:v>
                </c:pt>
                <c:pt idx="3519">
                  <c:v>5.0579131727821993</c:v>
                </c:pt>
                <c:pt idx="3520">
                  <c:v>5.0509853566263896</c:v>
                </c:pt>
                <c:pt idx="3521">
                  <c:v>4.7481852301240011</c:v>
                </c:pt>
                <c:pt idx="3522">
                  <c:v>4.7995247886221364</c:v>
                </c:pt>
                <c:pt idx="3523">
                  <c:v>4.9869838363301477</c:v>
                </c:pt>
                <c:pt idx="3524">
                  <c:v>5.0589066433394114</c:v>
                </c:pt>
                <c:pt idx="3525">
                  <c:v>4.9759461924201407</c:v>
                </c:pt>
                <c:pt idx="3526">
                  <c:v>5.003108200122127</c:v>
                </c:pt>
                <c:pt idx="3527">
                  <c:v>5.0501744920259517</c:v>
                </c:pt>
                <c:pt idx="3528">
                  <c:v>5.0164368118242768</c:v>
                </c:pt>
                <c:pt idx="3529">
                  <c:v>5.0270221538786899</c:v>
                </c:pt>
                <c:pt idx="3530">
                  <c:v>4.9583070340556175</c:v>
                </c:pt>
                <c:pt idx="3531">
                  <c:v>6.0540341285947852</c:v>
                </c:pt>
                <c:pt idx="3532">
                  <c:v>4.9671977771007212</c:v>
                </c:pt>
                <c:pt idx="3533">
                  <c:v>5.0224983050243637</c:v>
                </c:pt>
                <c:pt idx="3534">
                  <c:v>7.0243721594059467</c:v>
                </c:pt>
                <c:pt idx="3535">
                  <c:v>5.0546283227948878</c:v>
                </c:pt>
                <c:pt idx="3536">
                  <c:v>5.0589149878622379</c:v>
                </c:pt>
                <c:pt idx="3537">
                  <c:v>5.0117334307966477</c:v>
                </c:pt>
                <c:pt idx="3538">
                  <c:v>5.0532342864011666</c:v>
                </c:pt>
                <c:pt idx="3539">
                  <c:v>5.8886200952965906</c:v>
                </c:pt>
                <c:pt idx="3540">
                  <c:v>4.9394067245292277</c:v>
                </c:pt>
                <c:pt idx="3541">
                  <c:v>5.1559449969212396</c:v>
                </c:pt>
                <c:pt idx="3542">
                  <c:v>4.9425987244457472</c:v>
                </c:pt>
                <c:pt idx="3543">
                  <c:v>5.1448086416063878</c:v>
                </c:pt>
                <c:pt idx="3544">
                  <c:v>5.9497860658882802</c:v>
                </c:pt>
                <c:pt idx="3545">
                  <c:v>5.0420024396537002</c:v>
                </c:pt>
                <c:pt idx="3546">
                  <c:v>5.0282312865948899</c:v>
                </c:pt>
                <c:pt idx="3547">
                  <c:v>5.0256214322045256</c:v>
                </c:pt>
                <c:pt idx="3548">
                  <c:v>5.0716007756689807</c:v>
                </c:pt>
                <c:pt idx="3549">
                  <c:v>4.8963887817075209</c:v>
                </c:pt>
                <c:pt idx="3550">
                  <c:v>4.9090543342436881</c:v>
                </c:pt>
                <c:pt idx="3551">
                  <c:v>6.1329260362647489</c:v>
                </c:pt>
                <c:pt idx="3552">
                  <c:v>5.9779194817100132</c:v>
                </c:pt>
                <c:pt idx="3553">
                  <c:v>5.9721011666909991</c:v>
                </c:pt>
                <c:pt idx="3554">
                  <c:v>5.799900483256649</c:v>
                </c:pt>
                <c:pt idx="3555">
                  <c:v>4.8832886407943956</c:v>
                </c:pt>
                <c:pt idx="3556">
                  <c:v>4.9967517220151842</c:v>
                </c:pt>
                <c:pt idx="3557">
                  <c:v>5.034808963911126</c:v>
                </c:pt>
                <c:pt idx="3558">
                  <c:v>5.0546988930767833</c:v>
                </c:pt>
                <c:pt idx="3559">
                  <c:v>5.9576229072672264</c:v>
                </c:pt>
                <c:pt idx="3560">
                  <c:v>5.1354155383270506</c:v>
                </c:pt>
                <c:pt idx="3561">
                  <c:v>5.1051403464226421</c:v>
                </c:pt>
                <c:pt idx="3562">
                  <c:v>5.9359972667845815</c:v>
                </c:pt>
                <c:pt idx="3563">
                  <c:v>4.9431014026503188</c:v>
                </c:pt>
                <c:pt idx="3564">
                  <c:v>6.1238265262053124</c:v>
                </c:pt>
                <c:pt idx="3565">
                  <c:v>4.9218883081741716</c:v>
                </c:pt>
                <c:pt idx="3566">
                  <c:v>5.2497884739473237</c:v>
                </c:pt>
                <c:pt idx="3567">
                  <c:v>5.055701743566595</c:v>
                </c:pt>
                <c:pt idx="3568">
                  <c:v>4.9731883584577643</c:v>
                </c:pt>
                <c:pt idx="3569">
                  <c:v>4.7943951503908977</c:v>
                </c:pt>
                <c:pt idx="3570">
                  <c:v>4.9358770425050524</c:v>
                </c:pt>
                <c:pt idx="3571">
                  <c:v>5.6878149825030535</c:v>
                </c:pt>
                <c:pt idx="3572">
                  <c:v>5.2042713800849905</c:v>
                </c:pt>
                <c:pt idx="3573">
                  <c:v>4.9622003420586598</c:v>
                </c:pt>
                <c:pt idx="3574">
                  <c:v>4.9461864426804087</c:v>
                </c:pt>
                <c:pt idx="3575">
                  <c:v>5.0079286404284602</c:v>
                </c:pt>
                <c:pt idx="3576">
                  <c:v>4.8321083567262875</c:v>
                </c:pt>
                <c:pt idx="3577">
                  <c:v>5.1299056384230859</c:v>
                </c:pt>
                <c:pt idx="3578">
                  <c:v>5.0193115856954185</c:v>
                </c:pt>
                <c:pt idx="3579">
                  <c:v>5.1561186026410484</c:v>
                </c:pt>
                <c:pt idx="3580">
                  <c:v>6.020069803723846</c:v>
                </c:pt>
                <c:pt idx="3581">
                  <c:v>5.0346002901140086</c:v>
                </c:pt>
                <c:pt idx="3582">
                  <c:v>5.0021112033127029</c:v>
                </c:pt>
                <c:pt idx="3583">
                  <c:v>4.8507879451899161</c:v>
                </c:pt>
                <c:pt idx="3584">
                  <c:v>5.0927040272866053</c:v>
                </c:pt>
                <c:pt idx="3585">
                  <c:v>5.0397105884043683</c:v>
                </c:pt>
                <c:pt idx="3586">
                  <c:v>5.1489730890664394</c:v>
                </c:pt>
                <c:pt idx="3587">
                  <c:v>4.8696544766310339</c:v>
                </c:pt>
                <c:pt idx="3588">
                  <c:v>4.9176581152882965</c:v>
                </c:pt>
                <c:pt idx="3589">
                  <c:v>5.1584469149073229</c:v>
                </c:pt>
                <c:pt idx="3590">
                  <c:v>5.0311717012464836</c:v>
                </c:pt>
                <c:pt idx="3591">
                  <c:v>4.9612113428969744</c:v>
                </c:pt>
                <c:pt idx="3592">
                  <c:v>4.9299631899100511</c:v>
                </c:pt>
                <c:pt idx="3593">
                  <c:v>5.9745834131266786</c:v>
                </c:pt>
                <c:pt idx="3594">
                  <c:v>4.9893831941452653</c:v>
                </c:pt>
                <c:pt idx="3595">
                  <c:v>5.0914508246616155</c:v>
                </c:pt>
                <c:pt idx="3596">
                  <c:v>4.994328288328088</c:v>
                </c:pt>
                <c:pt idx="3597">
                  <c:v>5.0400154650223925</c:v>
                </c:pt>
                <c:pt idx="3598">
                  <c:v>4.8393521460457469</c:v>
                </c:pt>
                <c:pt idx="3599">
                  <c:v>4.8902579775715891</c:v>
                </c:pt>
                <c:pt idx="3600">
                  <c:v>4.9960064820158276</c:v>
                </c:pt>
                <c:pt idx="3601">
                  <c:v>5.0206952657313781</c:v>
                </c:pt>
                <c:pt idx="3602">
                  <c:v>4.9699504546416122</c:v>
                </c:pt>
                <c:pt idx="3603">
                  <c:v>5.9196407882042372</c:v>
                </c:pt>
                <c:pt idx="3604">
                  <c:v>6.109687114460014</c:v>
                </c:pt>
                <c:pt idx="3605">
                  <c:v>6.0942469105752055</c:v>
                </c:pt>
                <c:pt idx="3606">
                  <c:v>4.8933131502032579</c:v>
                </c:pt>
                <c:pt idx="3607">
                  <c:v>5.9876962526381892</c:v>
                </c:pt>
                <c:pt idx="3608">
                  <c:v>4.9952339480811263</c:v>
                </c:pt>
                <c:pt idx="3609">
                  <c:v>5.0396435591599005</c:v>
                </c:pt>
                <c:pt idx="3610">
                  <c:v>4.9007866460867548</c:v>
                </c:pt>
                <c:pt idx="3611">
                  <c:v>4.9199583861233975</c:v>
                </c:pt>
                <c:pt idx="3612">
                  <c:v>5.7899820159414226</c:v>
                </c:pt>
                <c:pt idx="3613">
                  <c:v>4.9044137293143333</c:v>
                </c:pt>
                <c:pt idx="3614">
                  <c:v>5.0756274097673222</c:v>
                </c:pt>
                <c:pt idx="3615">
                  <c:v>4.8941088844443081</c:v>
                </c:pt>
                <c:pt idx="3616">
                  <c:v>5.0917102054522969</c:v>
                </c:pt>
                <c:pt idx="3617">
                  <c:v>5.0350493988730687</c:v>
                </c:pt>
                <c:pt idx="3618">
                  <c:v>5.8919327135314603</c:v>
                </c:pt>
                <c:pt idx="3619">
                  <c:v>5.0628316684529588</c:v>
                </c:pt>
                <c:pt idx="3620">
                  <c:v>4.9819069581147479</c:v>
                </c:pt>
                <c:pt idx="3621">
                  <c:v>4.9831812550347845</c:v>
                </c:pt>
                <c:pt idx="3622">
                  <c:v>5.1853958871015546</c:v>
                </c:pt>
                <c:pt idx="3623">
                  <c:v>6.1330951310626407</c:v>
                </c:pt>
                <c:pt idx="3624">
                  <c:v>5.1453646045755175</c:v>
                </c:pt>
                <c:pt idx="3625">
                  <c:v>5.1748869884940305</c:v>
                </c:pt>
                <c:pt idx="3626">
                  <c:v>4.9446531820799402</c:v>
                </c:pt>
                <c:pt idx="3627">
                  <c:v>5.1715788617507652</c:v>
                </c:pt>
                <c:pt idx="3628">
                  <c:v>5.9348137692323801</c:v>
                </c:pt>
                <c:pt idx="3629">
                  <c:v>4.7982050172666337</c:v>
                </c:pt>
                <c:pt idx="3630">
                  <c:v>5.0751341416474096</c:v>
                </c:pt>
                <c:pt idx="3631">
                  <c:v>4.9089586670246472</c:v>
                </c:pt>
                <c:pt idx="3632">
                  <c:v>6.0075918619050457</c:v>
                </c:pt>
                <c:pt idx="3633">
                  <c:v>4.8934301457013003</c:v>
                </c:pt>
                <c:pt idx="3634">
                  <c:v>4.9837502463669416</c:v>
                </c:pt>
                <c:pt idx="3635">
                  <c:v>5.1075042519283631</c:v>
                </c:pt>
                <c:pt idx="3636">
                  <c:v>5.0570412066990311</c:v>
                </c:pt>
                <c:pt idx="3637">
                  <c:v>5.0231693032336864</c:v>
                </c:pt>
                <c:pt idx="3638">
                  <c:v>5.0304101708411313</c:v>
                </c:pt>
                <c:pt idx="3639">
                  <c:v>6.0163809382345965</c:v>
                </c:pt>
                <c:pt idx="3640">
                  <c:v>5.9975190296377452</c:v>
                </c:pt>
                <c:pt idx="3641">
                  <c:v>5.9984211958141405</c:v>
                </c:pt>
                <c:pt idx="3642">
                  <c:v>5.0099229154346938</c:v>
                </c:pt>
                <c:pt idx="3643">
                  <c:v>5.0356436716805328</c:v>
                </c:pt>
                <c:pt idx="3644">
                  <c:v>5.9260757818274739</c:v>
                </c:pt>
                <c:pt idx="3645">
                  <c:v>5.1337939162131683</c:v>
                </c:pt>
                <c:pt idx="3646">
                  <c:v>5.0622029306302307</c:v>
                </c:pt>
                <c:pt idx="3647">
                  <c:v>4.9199443665624898</c:v>
                </c:pt>
                <c:pt idx="3648">
                  <c:v>5.0626330610024315</c:v>
                </c:pt>
                <c:pt idx="3649">
                  <c:v>4.9804879010867937</c:v>
                </c:pt>
                <c:pt idx="3650">
                  <c:v>5.9129421027085893</c:v>
                </c:pt>
                <c:pt idx="3651">
                  <c:v>4.8701865841654355</c:v>
                </c:pt>
                <c:pt idx="3652">
                  <c:v>6.1490032472601293</c:v>
                </c:pt>
                <c:pt idx="3653">
                  <c:v>5.0040860490836154</c:v>
                </c:pt>
                <c:pt idx="3654">
                  <c:v>5.1755531123864902</c:v>
                </c:pt>
                <c:pt idx="3655">
                  <c:v>5.8942061998147013</c:v>
                </c:pt>
                <c:pt idx="3656">
                  <c:v>5.0619072017618922</c:v>
                </c:pt>
                <c:pt idx="3657">
                  <c:v>6.0565720605471984</c:v>
                </c:pt>
                <c:pt idx="3658">
                  <c:v>4.9914688694131444</c:v>
                </c:pt>
                <c:pt idx="3659">
                  <c:v>5.0206154279002142</c:v>
                </c:pt>
                <c:pt idx="3660">
                  <c:v>4.9528284790360999</c:v>
                </c:pt>
                <c:pt idx="3661">
                  <c:v>5.1600848247327553</c:v>
                </c:pt>
                <c:pt idx="3662">
                  <c:v>5.9272316016477724</c:v>
                </c:pt>
                <c:pt idx="3663">
                  <c:v>6.0131488798304682</c:v>
                </c:pt>
                <c:pt idx="3664">
                  <c:v>5.1070239839642415</c:v>
                </c:pt>
                <c:pt idx="3665">
                  <c:v>4.9742927096415555</c:v>
                </c:pt>
                <c:pt idx="3666">
                  <c:v>4.9089206043298299</c:v>
                </c:pt>
                <c:pt idx="3667">
                  <c:v>6.0513814759654405</c:v>
                </c:pt>
                <c:pt idx="3668">
                  <c:v>4.8925689849000076</c:v>
                </c:pt>
                <c:pt idx="3669">
                  <c:v>5.054836681886572</c:v>
                </c:pt>
                <c:pt idx="3670">
                  <c:v>5.1080028235952692</c:v>
                </c:pt>
                <c:pt idx="3671">
                  <c:v>5.0939475333253244</c:v>
                </c:pt>
                <c:pt idx="3672">
                  <c:v>5.1073846483190106</c:v>
                </c:pt>
                <c:pt idx="3673">
                  <c:v>4.9189346641492353</c:v>
                </c:pt>
                <c:pt idx="3674">
                  <c:v>5.0751828125281495</c:v>
                </c:pt>
                <c:pt idx="3675">
                  <c:v>5.9785521239284742</c:v>
                </c:pt>
                <c:pt idx="3676">
                  <c:v>4.9589209968814991</c:v>
                </c:pt>
                <c:pt idx="3677">
                  <c:v>5.0548996607683359</c:v>
                </c:pt>
                <c:pt idx="3678">
                  <c:v>5.9703789433342633</c:v>
                </c:pt>
                <c:pt idx="3679">
                  <c:v>6.1016998904915623</c:v>
                </c:pt>
                <c:pt idx="3680">
                  <c:v>4.9105623530716693</c:v>
                </c:pt>
                <c:pt idx="3681">
                  <c:v>5.9222573848132729</c:v>
                </c:pt>
                <c:pt idx="3682">
                  <c:v>5.9477192047162664</c:v>
                </c:pt>
                <c:pt idx="3683">
                  <c:v>6.1295114875804675</c:v>
                </c:pt>
                <c:pt idx="3684">
                  <c:v>6.0703917730643937</c:v>
                </c:pt>
                <c:pt idx="3685">
                  <c:v>4.9743300871469129</c:v>
                </c:pt>
                <c:pt idx="3686">
                  <c:v>6.0371619023966758</c:v>
                </c:pt>
                <c:pt idx="3687">
                  <c:v>6.0265845471883797</c:v>
                </c:pt>
                <c:pt idx="3688">
                  <c:v>6.9495440425538968</c:v>
                </c:pt>
                <c:pt idx="3689">
                  <c:v>5.0860638229653183</c:v>
                </c:pt>
                <c:pt idx="3690">
                  <c:v>4.95310703035637</c:v>
                </c:pt>
                <c:pt idx="3691">
                  <c:v>5.9842830741770934</c:v>
                </c:pt>
                <c:pt idx="3692">
                  <c:v>6.8930192613259997</c:v>
                </c:pt>
                <c:pt idx="3693">
                  <c:v>4.9937220466490988</c:v>
                </c:pt>
                <c:pt idx="3694">
                  <c:v>4.8863127129533082</c:v>
                </c:pt>
                <c:pt idx="3695">
                  <c:v>4.8365637979484344</c:v>
                </c:pt>
                <c:pt idx="3696">
                  <c:v>5.1246255001976628</c:v>
                </c:pt>
                <c:pt idx="3697">
                  <c:v>4.9222153015795858</c:v>
                </c:pt>
                <c:pt idx="3698">
                  <c:v>4.9351757422499674</c:v>
                </c:pt>
                <c:pt idx="3699">
                  <c:v>5.1736673956825285</c:v>
                </c:pt>
                <c:pt idx="3700">
                  <c:v>4.8684345607464881</c:v>
                </c:pt>
                <c:pt idx="3701">
                  <c:v>4.8726783464715249</c:v>
                </c:pt>
                <c:pt idx="3702">
                  <c:v>6.0638124808339189</c:v>
                </c:pt>
                <c:pt idx="3703">
                  <c:v>6.0945862283443395</c:v>
                </c:pt>
                <c:pt idx="3704">
                  <c:v>7.0063075547995624</c:v>
                </c:pt>
                <c:pt idx="3705">
                  <c:v>6.1091316121936892</c:v>
                </c:pt>
                <c:pt idx="3706">
                  <c:v>6.0092524596069934</c:v>
                </c:pt>
                <c:pt idx="3707">
                  <c:v>5.0046875836449463</c:v>
                </c:pt>
                <c:pt idx="3708">
                  <c:v>5.0243127905909368</c:v>
                </c:pt>
                <c:pt idx="3709">
                  <c:v>5.8882482795299982</c:v>
                </c:pt>
                <c:pt idx="3710">
                  <c:v>4.8741213260132197</c:v>
                </c:pt>
                <c:pt idx="3711">
                  <c:v>5.0611074866792132</c:v>
                </c:pt>
                <c:pt idx="3712">
                  <c:v>5.1874826732858406</c:v>
                </c:pt>
                <c:pt idx="3713">
                  <c:v>6.2075434925156312</c:v>
                </c:pt>
                <c:pt idx="3714">
                  <c:v>5.9977953046786645</c:v>
                </c:pt>
                <c:pt idx="3715">
                  <c:v>5.9252131617741997</c:v>
                </c:pt>
                <c:pt idx="3716">
                  <c:v>5.9303549935326538</c:v>
                </c:pt>
                <c:pt idx="3717">
                  <c:v>6.0172842176797028</c:v>
                </c:pt>
                <c:pt idx="3718">
                  <c:v>4.9709357487304677</c:v>
                </c:pt>
                <c:pt idx="3719">
                  <c:v>5.0624487380197838</c:v>
                </c:pt>
                <c:pt idx="3720">
                  <c:v>5.8449861717630833</c:v>
                </c:pt>
                <c:pt idx="3721">
                  <c:v>4.9193802511630853</c:v>
                </c:pt>
                <c:pt idx="3722">
                  <c:v>4.9399914430780258</c:v>
                </c:pt>
                <c:pt idx="3723">
                  <c:v>4.947883894804078</c:v>
                </c:pt>
                <c:pt idx="3724">
                  <c:v>5.1437212985500356</c:v>
                </c:pt>
                <c:pt idx="3725">
                  <c:v>5.1529023559200242</c:v>
                </c:pt>
                <c:pt idx="3726">
                  <c:v>6.0196152503180507</c:v>
                </c:pt>
                <c:pt idx="3727">
                  <c:v>5.0276996725487031</c:v>
                </c:pt>
                <c:pt idx="3728">
                  <c:v>4.8835658401284592</c:v>
                </c:pt>
                <c:pt idx="3729">
                  <c:v>6.0476216094302462</c:v>
                </c:pt>
                <c:pt idx="3730">
                  <c:v>5.8403158742761212</c:v>
                </c:pt>
                <c:pt idx="3731">
                  <c:v>5.2191237704543987</c:v>
                </c:pt>
                <c:pt idx="3732">
                  <c:v>5.1533357984584445</c:v>
                </c:pt>
                <c:pt idx="3733">
                  <c:v>4.9032043233710407</c:v>
                </c:pt>
                <c:pt idx="3734">
                  <c:v>5.0867583590299903</c:v>
                </c:pt>
                <c:pt idx="3735">
                  <c:v>6.1235226574483361</c:v>
                </c:pt>
                <c:pt idx="3736">
                  <c:v>5.0658359137203863</c:v>
                </c:pt>
                <c:pt idx="3737">
                  <c:v>6.0326755064905742</c:v>
                </c:pt>
                <c:pt idx="3738">
                  <c:v>4.9078775462414628</c:v>
                </c:pt>
                <c:pt idx="3739">
                  <c:v>5.0787344525900071</c:v>
                </c:pt>
                <c:pt idx="3740">
                  <c:v>4.9191309026073009</c:v>
                </c:pt>
                <c:pt idx="3741">
                  <c:v>5.9648098734585693</c:v>
                </c:pt>
                <c:pt idx="3742">
                  <c:v>5.0029906361592165</c:v>
                </c:pt>
                <c:pt idx="3743">
                  <c:v>4.9982125410221752</c:v>
                </c:pt>
                <c:pt idx="3744">
                  <c:v>5.0414706455659113</c:v>
                </c:pt>
                <c:pt idx="3745">
                  <c:v>4.9545346356216946</c:v>
                </c:pt>
                <c:pt idx="3746">
                  <c:v>5.1665729740001645</c:v>
                </c:pt>
                <c:pt idx="3747">
                  <c:v>6.2317246845692749</c:v>
                </c:pt>
                <c:pt idx="3748">
                  <c:v>4.883374972482545</c:v>
                </c:pt>
                <c:pt idx="3749">
                  <c:v>4.932252775498406</c:v>
                </c:pt>
                <c:pt idx="3750">
                  <c:v>4.9897227155000845</c:v>
                </c:pt>
                <c:pt idx="3751">
                  <c:v>5.9779805134004782</c:v>
                </c:pt>
                <c:pt idx="3752">
                  <c:v>4.8646498650782792</c:v>
                </c:pt>
                <c:pt idx="3753">
                  <c:v>5.9615522555765681</c:v>
                </c:pt>
                <c:pt idx="3754">
                  <c:v>6.1029479759428336</c:v>
                </c:pt>
                <c:pt idx="3755">
                  <c:v>5.0946704235295881</c:v>
                </c:pt>
                <c:pt idx="3756">
                  <c:v>5.9525920674458304</c:v>
                </c:pt>
                <c:pt idx="3757">
                  <c:v>4.9632618107782527</c:v>
                </c:pt>
                <c:pt idx="3758">
                  <c:v>6.933680276826192</c:v>
                </c:pt>
                <c:pt idx="3759">
                  <c:v>6.0333553343201416</c:v>
                </c:pt>
                <c:pt idx="3760">
                  <c:v>5.0131262581381097</c:v>
                </c:pt>
                <c:pt idx="3761">
                  <c:v>5.9628191184004695</c:v>
                </c:pt>
                <c:pt idx="3762">
                  <c:v>6.126460808681232</c:v>
                </c:pt>
                <c:pt idx="3763">
                  <c:v>6.0517370698775625</c:v>
                </c:pt>
                <c:pt idx="3764">
                  <c:v>5.0364437744554467</c:v>
                </c:pt>
                <c:pt idx="3765">
                  <c:v>6.0395059575574974</c:v>
                </c:pt>
                <c:pt idx="3766">
                  <c:v>5.0404698908249115</c:v>
                </c:pt>
                <c:pt idx="3767">
                  <c:v>4.9140184154826105</c:v>
                </c:pt>
                <c:pt idx="3768">
                  <c:v>6.0321920637959661</c:v>
                </c:pt>
                <c:pt idx="3769">
                  <c:v>6.1436562954473288</c:v>
                </c:pt>
                <c:pt idx="3770">
                  <c:v>5.0705074356910007</c:v>
                </c:pt>
                <c:pt idx="3771">
                  <c:v>5.9396379648880604</c:v>
                </c:pt>
                <c:pt idx="3772">
                  <c:v>4.9444867690980843</c:v>
                </c:pt>
                <c:pt idx="3773">
                  <c:v>6.0276603890067415</c:v>
                </c:pt>
                <c:pt idx="3774">
                  <c:v>4.9490293391915312</c:v>
                </c:pt>
                <c:pt idx="3775">
                  <c:v>5.8938267548433174</c:v>
                </c:pt>
                <c:pt idx="3776">
                  <c:v>5.0735618551604142</c:v>
                </c:pt>
                <c:pt idx="3777">
                  <c:v>5.1121872367380172</c:v>
                </c:pt>
                <c:pt idx="3778">
                  <c:v>5.825614669074092</c:v>
                </c:pt>
                <c:pt idx="3779">
                  <c:v>5.2318318386078513</c:v>
                </c:pt>
                <c:pt idx="3780">
                  <c:v>4.8567728759028288</c:v>
                </c:pt>
                <c:pt idx="3781">
                  <c:v>5.9580883839005594</c:v>
                </c:pt>
                <c:pt idx="3782">
                  <c:v>5.0354203340699328</c:v>
                </c:pt>
                <c:pt idx="3783">
                  <c:v>6.0006764553796827</c:v>
                </c:pt>
                <c:pt idx="3784">
                  <c:v>4.8678725708153783</c:v>
                </c:pt>
                <c:pt idx="3785">
                  <c:v>4.8144902494156199</c:v>
                </c:pt>
                <c:pt idx="3786">
                  <c:v>6.0244221174428265</c:v>
                </c:pt>
                <c:pt idx="3787">
                  <c:v>6.1112737257240983</c:v>
                </c:pt>
                <c:pt idx="3788">
                  <c:v>4.8253354378161282</c:v>
                </c:pt>
                <c:pt idx="3789">
                  <c:v>5.0300389167446626</c:v>
                </c:pt>
                <c:pt idx="3790">
                  <c:v>5.9575739499038258</c:v>
                </c:pt>
                <c:pt idx="3791">
                  <c:v>6.1151145142275531</c:v>
                </c:pt>
                <c:pt idx="3792">
                  <c:v>6.1513846030478172</c:v>
                </c:pt>
                <c:pt idx="3793">
                  <c:v>4.9938151490601097</c:v>
                </c:pt>
                <c:pt idx="3794">
                  <c:v>4.8164556280098587</c:v>
                </c:pt>
                <c:pt idx="3795">
                  <c:v>4.9367284607157442</c:v>
                </c:pt>
                <c:pt idx="3796">
                  <c:v>5.1115144916093129</c:v>
                </c:pt>
                <c:pt idx="3797">
                  <c:v>5.7473592104673941</c:v>
                </c:pt>
                <c:pt idx="3798">
                  <c:v>5.1730926983644911</c:v>
                </c:pt>
                <c:pt idx="3799">
                  <c:v>4.8830818053913649</c:v>
                </c:pt>
                <c:pt idx="3800">
                  <c:v>6.2423828482970887</c:v>
                </c:pt>
                <c:pt idx="3801">
                  <c:v>4.9639218474209237</c:v>
                </c:pt>
                <c:pt idx="3802">
                  <c:v>5.8145799562762299</c:v>
                </c:pt>
                <c:pt idx="3803">
                  <c:v>5.9404468051231438</c:v>
                </c:pt>
                <c:pt idx="3804">
                  <c:v>5.1018952972448988</c:v>
                </c:pt>
                <c:pt idx="3805">
                  <c:v>4.7852921395073071</c:v>
                </c:pt>
                <c:pt idx="3806">
                  <c:v>5.9338012208514295</c:v>
                </c:pt>
                <c:pt idx="3807">
                  <c:v>5.0484906113328494</c:v>
                </c:pt>
                <c:pt idx="3808">
                  <c:v>4.9262500389111494</c:v>
                </c:pt>
                <c:pt idx="3809">
                  <c:v>4.9627833997181821</c:v>
                </c:pt>
                <c:pt idx="3810">
                  <c:v>4.9638952727532741</c:v>
                </c:pt>
                <c:pt idx="3811">
                  <c:v>5.0041020448045783</c:v>
                </c:pt>
                <c:pt idx="3812">
                  <c:v>5.1186917365778708</c:v>
                </c:pt>
                <c:pt idx="3813">
                  <c:v>5.142570660938139</c:v>
                </c:pt>
                <c:pt idx="3814">
                  <c:v>5.0884637227419933</c:v>
                </c:pt>
                <c:pt idx="3815">
                  <c:v>5.0319356138252713</c:v>
                </c:pt>
                <c:pt idx="3816">
                  <c:v>7.0694194412339506</c:v>
                </c:pt>
                <c:pt idx="3817">
                  <c:v>5.1539176748106428</c:v>
                </c:pt>
                <c:pt idx="3818">
                  <c:v>4.9970786080145952</c:v>
                </c:pt>
                <c:pt idx="3819">
                  <c:v>4.9861193990231438</c:v>
                </c:pt>
                <c:pt idx="3820">
                  <c:v>6.2013286390872988</c:v>
                </c:pt>
                <c:pt idx="3821">
                  <c:v>6.0084323139771252</c:v>
                </c:pt>
                <c:pt idx="3822">
                  <c:v>5.0746833543808778</c:v>
                </c:pt>
                <c:pt idx="3823">
                  <c:v>4.8556043562332096</c:v>
                </c:pt>
                <c:pt idx="3824">
                  <c:v>4.899735758616548</c:v>
                </c:pt>
                <c:pt idx="3825">
                  <c:v>6.0149075778485148</c:v>
                </c:pt>
                <c:pt idx="3826">
                  <c:v>5.8336868372436772</c:v>
                </c:pt>
                <c:pt idx="3827">
                  <c:v>4.9983600244469963</c:v>
                </c:pt>
                <c:pt idx="3828">
                  <c:v>6.0819463619223004</c:v>
                </c:pt>
                <c:pt idx="3829">
                  <c:v>4.9775051374231634</c:v>
                </c:pt>
                <c:pt idx="3830">
                  <c:v>4.940018857945593</c:v>
                </c:pt>
                <c:pt idx="3831">
                  <c:v>6.0485926328236275</c:v>
                </c:pt>
                <c:pt idx="3832">
                  <c:v>6.0293022442270097</c:v>
                </c:pt>
                <c:pt idx="3833">
                  <c:v>4.9187660736978556</c:v>
                </c:pt>
                <c:pt idx="3834">
                  <c:v>5.9605261776785738</c:v>
                </c:pt>
                <c:pt idx="3835">
                  <c:v>5.0544937301616946</c:v>
                </c:pt>
                <c:pt idx="3836">
                  <c:v>4.955057426028497</c:v>
                </c:pt>
                <c:pt idx="3837">
                  <c:v>4.9498581425158283</c:v>
                </c:pt>
                <c:pt idx="3838">
                  <c:v>6.0218880938455808</c:v>
                </c:pt>
                <c:pt idx="3839">
                  <c:v>5.0623893059286775</c:v>
                </c:pt>
                <c:pt idx="3840">
                  <c:v>6.0713572015117583</c:v>
                </c:pt>
                <c:pt idx="3841">
                  <c:v>5.0099351654213766</c:v>
                </c:pt>
                <c:pt idx="3842">
                  <c:v>6.9035909676492695</c:v>
                </c:pt>
                <c:pt idx="3843">
                  <c:v>5.0186737263141881</c:v>
                </c:pt>
                <c:pt idx="3844">
                  <c:v>6.8923909513706318</c:v>
                </c:pt>
                <c:pt idx="3845">
                  <c:v>6.0211021264138971</c:v>
                </c:pt>
                <c:pt idx="3846">
                  <c:v>4.9875989165341936</c:v>
                </c:pt>
                <c:pt idx="3847">
                  <c:v>5.0463071759874172</c:v>
                </c:pt>
                <c:pt idx="3848">
                  <c:v>5.0402406742591328</c:v>
                </c:pt>
                <c:pt idx="3849">
                  <c:v>5.1181200575725043</c:v>
                </c:pt>
                <c:pt idx="3850">
                  <c:v>6.1265884778960755</c:v>
                </c:pt>
                <c:pt idx="3851">
                  <c:v>4.9880887413682506</c:v>
                </c:pt>
                <c:pt idx="3852">
                  <c:v>4.9893615954586954</c:v>
                </c:pt>
                <c:pt idx="3853">
                  <c:v>5.1434890307685937</c:v>
                </c:pt>
                <c:pt idx="3854">
                  <c:v>5.0083705967005114</c:v>
                </c:pt>
                <c:pt idx="3855">
                  <c:v>4.9417213759824783</c:v>
                </c:pt>
                <c:pt idx="3856">
                  <c:v>6.1328176802534831</c:v>
                </c:pt>
                <c:pt idx="3857">
                  <c:v>5.9635343822755189</c:v>
                </c:pt>
                <c:pt idx="3858">
                  <c:v>4.6973758673558432</c:v>
                </c:pt>
                <c:pt idx="3859">
                  <c:v>4.768116013846381</c:v>
                </c:pt>
                <c:pt idx="3860">
                  <c:v>5.9534695505908317</c:v>
                </c:pt>
                <c:pt idx="3861">
                  <c:v>6.0767925658620694</c:v>
                </c:pt>
                <c:pt idx="3862">
                  <c:v>5.076808740012023</c:v>
                </c:pt>
                <c:pt idx="3863">
                  <c:v>4.9629331751657135</c:v>
                </c:pt>
                <c:pt idx="3864">
                  <c:v>4.9843911654639887</c:v>
                </c:pt>
                <c:pt idx="3865">
                  <c:v>4.9021198746322314</c:v>
                </c:pt>
                <c:pt idx="3866">
                  <c:v>5.0386105455289547</c:v>
                </c:pt>
                <c:pt idx="3867">
                  <c:v>5.0816998729115994</c:v>
                </c:pt>
                <c:pt idx="3868">
                  <c:v>4.8404672114446052</c:v>
                </c:pt>
                <c:pt idx="3869">
                  <c:v>5.0418312700645114</c:v>
                </c:pt>
                <c:pt idx="3870">
                  <c:v>5.0749750191180327</c:v>
                </c:pt>
                <c:pt idx="3871">
                  <c:v>5.0936099857040631</c:v>
                </c:pt>
                <c:pt idx="3872">
                  <c:v>5.1576053237886628</c:v>
                </c:pt>
                <c:pt idx="3873">
                  <c:v>5.0049930889379395</c:v>
                </c:pt>
                <c:pt idx="3874">
                  <c:v>4.9205590634286969</c:v>
                </c:pt>
                <c:pt idx="3875">
                  <c:v>5.022311354407198</c:v>
                </c:pt>
                <c:pt idx="3876">
                  <c:v>5.1430413524672351</c:v>
                </c:pt>
                <c:pt idx="3877">
                  <c:v>6.0028482242710091</c:v>
                </c:pt>
                <c:pt idx="3878">
                  <c:v>5.0642095437986736</c:v>
                </c:pt>
                <c:pt idx="3879">
                  <c:v>4.9035343340970989</c:v>
                </c:pt>
                <c:pt idx="3880">
                  <c:v>6.0500594336943259</c:v>
                </c:pt>
                <c:pt idx="3881">
                  <c:v>5.1298403978226625</c:v>
                </c:pt>
                <c:pt idx="3882">
                  <c:v>4.9588723917466409</c:v>
                </c:pt>
                <c:pt idx="3883">
                  <c:v>4.8887896113671827</c:v>
                </c:pt>
                <c:pt idx="3884">
                  <c:v>4.9565792975421008</c:v>
                </c:pt>
                <c:pt idx="3885">
                  <c:v>6.0164816580145217</c:v>
                </c:pt>
                <c:pt idx="3886">
                  <c:v>4.9289419147774538</c:v>
                </c:pt>
                <c:pt idx="3887">
                  <c:v>4.8873414246923419</c:v>
                </c:pt>
                <c:pt idx="3888">
                  <c:v>5.0168609940242028</c:v>
                </c:pt>
                <c:pt idx="3889">
                  <c:v>6.0124215578027655</c:v>
                </c:pt>
                <c:pt idx="3890">
                  <c:v>5.9562936550828738</c:v>
                </c:pt>
                <c:pt idx="3891">
                  <c:v>5.0370822415492711</c:v>
                </c:pt>
                <c:pt idx="3892">
                  <c:v>4.9067502558387917</c:v>
                </c:pt>
                <c:pt idx="3893">
                  <c:v>4.941000885638033</c:v>
                </c:pt>
                <c:pt idx="3894">
                  <c:v>5.9246038415522486</c:v>
                </c:pt>
                <c:pt idx="3895">
                  <c:v>4.9646122583731369</c:v>
                </c:pt>
                <c:pt idx="3896">
                  <c:v>5.0186541680382506</c:v>
                </c:pt>
                <c:pt idx="3897">
                  <c:v>4.9999341602565313</c:v>
                </c:pt>
                <c:pt idx="3898">
                  <c:v>5.0376627566436101</c:v>
                </c:pt>
                <c:pt idx="3899">
                  <c:v>4.9686607315152234</c:v>
                </c:pt>
                <c:pt idx="3900">
                  <c:v>5.0469942775129368</c:v>
                </c:pt>
                <c:pt idx="3901">
                  <c:v>4.9644740808799579</c:v>
                </c:pt>
                <c:pt idx="3902">
                  <c:v>6.0219606110500692</c:v>
                </c:pt>
                <c:pt idx="3903">
                  <c:v>5.9985875992934172</c:v>
                </c:pt>
                <c:pt idx="3904">
                  <c:v>4.9707918881630668</c:v>
                </c:pt>
                <c:pt idx="3905">
                  <c:v>5.191753675082718</c:v>
                </c:pt>
                <c:pt idx="3906">
                  <c:v>4.9039467992800212</c:v>
                </c:pt>
                <c:pt idx="3907">
                  <c:v>5.0015916234784648</c:v>
                </c:pt>
                <c:pt idx="3908">
                  <c:v>4.9976394464038147</c:v>
                </c:pt>
                <c:pt idx="3909">
                  <c:v>5.9476447933905128</c:v>
                </c:pt>
                <c:pt idx="3910">
                  <c:v>5.1572638301911056</c:v>
                </c:pt>
                <c:pt idx="3911">
                  <c:v>6.033982938280082</c:v>
                </c:pt>
                <c:pt idx="3912">
                  <c:v>5.1876980708394926</c:v>
                </c:pt>
                <c:pt idx="3913">
                  <c:v>4.949010613260584</c:v>
                </c:pt>
                <c:pt idx="3914">
                  <c:v>3.8695712749384379</c:v>
                </c:pt>
                <c:pt idx="3915">
                  <c:v>4.9408046387440985</c:v>
                </c:pt>
                <c:pt idx="3916">
                  <c:v>3.9463057054216435</c:v>
                </c:pt>
                <c:pt idx="3917">
                  <c:v>6.998980599338041</c:v>
                </c:pt>
                <c:pt idx="3918">
                  <c:v>6.7972194441897331</c:v>
                </c:pt>
                <c:pt idx="3919">
                  <c:v>6.0356343541459143</c:v>
                </c:pt>
                <c:pt idx="3920">
                  <c:v>5.8044495306427581</c:v>
                </c:pt>
                <c:pt idx="3921">
                  <c:v>5.9633222113700963</c:v>
                </c:pt>
                <c:pt idx="3922">
                  <c:v>5.0660931111983381</c:v>
                </c:pt>
                <c:pt idx="3923">
                  <c:v>4.970279919655912</c:v>
                </c:pt>
                <c:pt idx="3924">
                  <c:v>5.8951310198741966</c:v>
                </c:pt>
                <c:pt idx="3925">
                  <c:v>6.0741019817055015</c:v>
                </c:pt>
                <c:pt idx="3926">
                  <c:v>5.8201156154297378</c:v>
                </c:pt>
                <c:pt idx="3927">
                  <c:v>5.0400125024655242</c:v>
                </c:pt>
                <c:pt idx="3928">
                  <c:v>5.0762007631740049</c:v>
                </c:pt>
                <c:pt idx="3929">
                  <c:v>5.8956115007972896</c:v>
                </c:pt>
                <c:pt idx="3930">
                  <c:v>5.8573235633302057</c:v>
                </c:pt>
                <c:pt idx="3931">
                  <c:v>7.0843660487004412</c:v>
                </c:pt>
                <c:pt idx="3932">
                  <c:v>5.0414620499700566</c:v>
                </c:pt>
                <c:pt idx="3933">
                  <c:v>4.9612410692456672</c:v>
                </c:pt>
                <c:pt idx="3934">
                  <c:v>4.8114032640729683</c:v>
                </c:pt>
                <c:pt idx="3935">
                  <c:v>7.0110495002471902</c:v>
                </c:pt>
                <c:pt idx="3936">
                  <c:v>6.0551294477728828</c:v>
                </c:pt>
                <c:pt idx="3937">
                  <c:v>6.0751753075367612</c:v>
                </c:pt>
                <c:pt idx="3938">
                  <c:v>5.9954987484442892</c:v>
                </c:pt>
                <c:pt idx="3939">
                  <c:v>4.9323693242257711</c:v>
                </c:pt>
                <c:pt idx="3940">
                  <c:v>4.9260640932082191</c:v>
                </c:pt>
                <c:pt idx="3941">
                  <c:v>6.0147391217239639</c:v>
                </c:pt>
                <c:pt idx="3942">
                  <c:v>5.0391908357947841</c:v>
                </c:pt>
                <c:pt idx="3943">
                  <c:v>4.9197403013302523</c:v>
                </c:pt>
                <c:pt idx="3944">
                  <c:v>4.9933080266167371</c:v>
                </c:pt>
                <c:pt idx="3945">
                  <c:v>6.1440328785806733</c:v>
                </c:pt>
                <c:pt idx="3946">
                  <c:v>6.1339713902342803</c:v>
                </c:pt>
                <c:pt idx="3947">
                  <c:v>6.0521509326796181</c:v>
                </c:pt>
                <c:pt idx="3948">
                  <c:v>4.9810349044767097</c:v>
                </c:pt>
                <c:pt idx="3949">
                  <c:v>5.9661787452254442</c:v>
                </c:pt>
                <c:pt idx="3950">
                  <c:v>6.1264318749619582</c:v>
                </c:pt>
                <c:pt idx="3951">
                  <c:v>4.8901262679023398</c:v>
                </c:pt>
                <c:pt idx="3952">
                  <c:v>5.049527832024082</c:v>
                </c:pt>
                <c:pt idx="3953">
                  <c:v>6.0562756100646693</c:v>
                </c:pt>
                <c:pt idx="3954">
                  <c:v>5.0415882385597488</c:v>
                </c:pt>
                <c:pt idx="3955">
                  <c:v>5.1485620651856872</c:v>
                </c:pt>
                <c:pt idx="3956">
                  <c:v>5.8364833427866483</c:v>
                </c:pt>
                <c:pt idx="3957">
                  <c:v>5.9795854629645904</c:v>
                </c:pt>
                <c:pt idx="3958">
                  <c:v>6.9903463275957884</c:v>
                </c:pt>
                <c:pt idx="3959">
                  <c:v>5.0744835444368785</c:v>
                </c:pt>
                <c:pt idx="3960">
                  <c:v>7.0034987028199644</c:v>
                </c:pt>
                <c:pt idx="3961">
                  <c:v>5.8440663706247848</c:v>
                </c:pt>
                <c:pt idx="3962">
                  <c:v>5.8830617446906617</c:v>
                </c:pt>
                <c:pt idx="3963">
                  <c:v>5.9252768667850333</c:v>
                </c:pt>
                <c:pt idx="3964">
                  <c:v>4.8895950743321954</c:v>
                </c:pt>
                <c:pt idx="3965">
                  <c:v>5.0817201524737881</c:v>
                </c:pt>
                <c:pt idx="3966">
                  <c:v>4.9477242420020628</c:v>
                </c:pt>
                <c:pt idx="3967">
                  <c:v>6.0762497795815973</c:v>
                </c:pt>
                <c:pt idx="3968">
                  <c:v>3.9604721961326539</c:v>
                </c:pt>
                <c:pt idx="3969">
                  <c:v>5.0512456635789738</c:v>
                </c:pt>
                <c:pt idx="3970">
                  <c:v>4.7269149414454938</c:v>
                </c:pt>
                <c:pt idx="3971">
                  <c:v>5.1628244430074233</c:v>
                </c:pt>
                <c:pt idx="3972">
                  <c:v>5.9732294846212657</c:v>
                </c:pt>
                <c:pt idx="3973">
                  <c:v>5.1888349294066778</c:v>
                </c:pt>
                <c:pt idx="3974">
                  <c:v>6.9439485471590787</c:v>
                </c:pt>
                <c:pt idx="3975">
                  <c:v>7.0916388548225511</c:v>
                </c:pt>
                <c:pt idx="3976">
                  <c:v>6.1254831643905172</c:v>
                </c:pt>
                <c:pt idx="3977">
                  <c:v>5.7772601540626782</c:v>
                </c:pt>
                <c:pt idx="3978">
                  <c:v>5.9866418410510542</c:v>
                </c:pt>
                <c:pt idx="3979">
                  <c:v>5.1084671607779555</c:v>
                </c:pt>
                <c:pt idx="3980">
                  <c:v>5.0421119276789659</c:v>
                </c:pt>
                <c:pt idx="3981">
                  <c:v>4.9742858897737454</c:v>
                </c:pt>
                <c:pt idx="3982">
                  <c:v>5.9922445959806359</c:v>
                </c:pt>
                <c:pt idx="3983">
                  <c:v>5.0742270582203881</c:v>
                </c:pt>
                <c:pt idx="3984">
                  <c:v>6.0134245141051235</c:v>
                </c:pt>
                <c:pt idx="3985">
                  <c:v>4.9773683186188427</c:v>
                </c:pt>
                <c:pt idx="3986">
                  <c:v>4.8217609195084661</c:v>
                </c:pt>
                <c:pt idx="3987">
                  <c:v>5.9950992337676139</c:v>
                </c:pt>
                <c:pt idx="3988">
                  <c:v>5.0504307260447829</c:v>
                </c:pt>
                <c:pt idx="3989">
                  <c:v>5.0107657118750346</c:v>
                </c:pt>
                <c:pt idx="3990">
                  <c:v>5.1076407086282929</c:v>
                </c:pt>
                <c:pt idx="3991">
                  <c:v>5.0602229767873679</c:v>
                </c:pt>
                <c:pt idx="3992">
                  <c:v>4.9644089803703331</c:v>
                </c:pt>
                <c:pt idx="3993">
                  <c:v>5.0910152779007554</c:v>
                </c:pt>
                <c:pt idx="3994">
                  <c:v>5.0640717167841025</c:v>
                </c:pt>
                <c:pt idx="3995">
                  <c:v>4.7931523193411669</c:v>
                </c:pt>
                <c:pt idx="3996">
                  <c:v>5.9531797726619757</c:v>
                </c:pt>
                <c:pt idx="3997">
                  <c:v>4.8997441675702174</c:v>
                </c:pt>
                <c:pt idx="3998">
                  <c:v>6.096541227283196</c:v>
                </c:pt>
                <c:pt idx="3999">
                  <c:v>4.901534350867637</c:v>
                </c:pt>
                <c:pt idx="4000">
                  <c:v>5.9611337611562494</c:v>
                </c:pt>
                <c:pt idx="4001">
                  <c:v>6.0445188768097013</c:v>
                </c:pt>
                <c:pt idx="4002">
                  <c:v>4.9653458861754212</c:v>
                </c:pt>
                <c:pt idx="4003">
                  <c:v>5.9404137906361054</c:v>
                </c:pt>
                <c:pt idx="4004">
                  <c:v>5.9653080994172019</c:v>
                </c:pt>
                <c:pt idx="4005">
                  <c:v>4.8272382034028603</c:v>
                </c:pt>
                <c:pt idx="4006">
                  <c:v>6.0759994792390319</c:v>
                </c:pt>
                <c:pt idx="4007">
                  <c:v>5.9836379634203878</c:v>
                </c:pt>
                <c:pt idx="4008">
                  <c:v>5.0472173511071752</c:v>
                </c:pt>
                <c:pt idx="4009">
                  <c:v>5.0135065042194986</c:v>
                </c:pt>
                <c:pt idx="4010">
                  <c:v>4.9344184034892917</c:v>
                </c:pt>
                <c:pt idx="4011">
                  <c:v>4.9867777460686673</c:v>
                </c:pt>
                <c:pt idx="4012">
                  <c:v>6.0062734313588289</c:v>
                </c:pt>
                <c:pt idx="4013">
                  <c:v>7.1150379674672708</c:v>
                </c:pt>
                <c:pt idx="4014">
                  <c:v>5.1369547282374368</c:v>
                </c:pt>
                <c:pt idx="4015">
                  <c:v>5.0495308171256825</c:v>
                </c:pt>
                <c:pt idx="4016">
                  <c:v>5.0575881482230409</c:v>
                </c:pt>
                <c:pt idx="4017">
                  <c:v>4.9733616189892649</c:v>
                </c:pt>
                <c:pt idx="4018">
                  <c:v>5.109662293481132</c:v>
                </c:pt>
                <c:pt idx="4019">
                  <c:v>4.7949054487304963</c:v>
                </c:pt>
                <c:pt idx="4020">
                  <c:v>4.9217830269898544</c:v>
                </c:pt>
                <c:pt idx="4021">
                  <c:v>4.957198446443666</c:v>
                </c:pt>
                <c:pt idx="4022">
                  <c:v>5.8046266120735366</c:v>
                </c:pt>
                <c:pt idx="4023">
                  <c:v>5.9534785828701633</c:v>
                </c:pt>
                <c:pt idx="4024">
                  <c:v>4.9552569313220971</c:v>
                </c:pt>
                <c:pt idx="4025">
                  <c:v>5.0610447213437295</c:v>
                </c:pt>
                <c:pt idx="4026">
                  <c:v>5.1259217323702222</c:v>
                </c:pt>
                <c:pt idx="4027">
                  <c:v>5.7906408308810349</c:v>
                </c:pt>
                <c:pt idx="4028">
                  <c:v>5.93688548309742</c:v>
                </c:pt>
                <c:pt idx="4029">
                  <c:v>6.2201041571186364</c:v>
                </c:pt>
                <c:pt idx="4030">
                  <c:v>4.8842224498140432</c:v>
                </c:pt>
                <c:pt idx="4031">
                  <c:v>7.034773252022374</c:v>
                </c:pt>
                <c:pt idx="4032">
                  <c:v>5.9637980044367493</c:v>
                </c:pt>
                <c:pt idx="4033">
                  <c:v>5.0756214145510858</c:v>
                </c:pt>
                <c:pt idx="4034">
                  <c:v>5.0458980342867568</c:v>
                </c:pt>
                <c:pt idx="4035">
                  <c:v>5.0237730093026123</c:v>
                </c:pt>
                <c:pt idx="4036">
                  <c:v>5.7610386755219976</c:v>
                </c:pt>
                <c:pt idx="4037">
                  <c:v>5.7379868839178583</c:v>
                </c:pt>
                <c:pt idx="4038">
                  <c:v>6.0242406111236351</c:v>
                </c:pt>
                <c:pt idx="4039">
                  <c:v>6.0496796146405698</c:v>
                </c:pt>
                <c:pt idx="4040">
                  <c:v>5.0984328228003557</c:v>
                </c:pt>
                <c:pt idx="4041">
                  <c:v>6.1350270035102428</c:v>
                </c:pt>
                <c:pt idx="4042">
                  <c:v>4.8691942608820469</c:v>
                </c:pt>
                <c:pt idx="4043">
                  <c:v>5.1496853388025903</c:v>
                </c:pt>
                <c:pt idx="4044">
                  <c:v>5.9526650222941706</c:v>
                </c:pt>
                <c:pt idx="4045">
                  <c:v>5.902435800432114</c:v>
                </c:pt>
                <c:pt idx="4046">
                  <c:v>5.0005942884679957</c:v>
                </c:pt>
                <c:pt idx="4047">
                  <c:v>5.9509370954632281</c:v>
                </c:pt>
                <c:pt idx="4048">
                  <c:v>5.1050311054347803</c:v>
                </c:pt>
                <c:pt idx="4049">
                  <c:v>5.0269718276093247</c:v>
                </c:pt>
                <c:pt idx="4050">
                  <c:v>6.0113548497670388</c:v>
                </c:pt>
                <c:pt idx="4051">
                  <c:v>4.9734897634390132</c:v>
                </c:pt>
                <c:pt idx="4052">
                  <c:v>5.0323609348160412</c:v>
                </c:pt>
                <c:pt idx="4053">
                  <c:v>6.0148812406540291</c:v>
                </c:pt>
                <c:pt idx="4054">
                  <c:v>6.0427155796833896</c:v>
                </c:pt>
                <c:pt idx="4055">
                  <c:v>5.0089777627719823</c:v>
                </c:pt>
                <c:pt idx="4056">
                  <c:v>5.9725111914354185</c:v>
                </c:pt>
                <c:pt idx="4057">
                  <c:v>6.050270421926121</c:v>
                </c:pt>
                <c:pt idx="4058">
                  <c:v>7.0999589438252695</c:v>
                </c:pt>
                <c:pt idx="4059">
                  <c:v>5.1340364086216033</c:v>
                </c:pt>
                <c:pt idx="4060">
                  <c:v>5.9953001306355613</c:v>
                </c:pt>
                <c:pt idx="4061">
                  <c:v>5.8685530434543658</c:v>
                </c:pt>
                <c:pt idx="4062">
                  <c:v>6.1707316009106297</c:v>
                </c:pt>
                <c:pt idx="4063">
                  <c:v>5.0551493212182104</c:v>
                </c:pt>
                <c:pt idx="4064">
                  <c:v>6.8971093721827295</c:v>
                </c:pt>
                <c:pt idx="4065">
                  <c:v>6.0682492543646394</c:v>
                </c:pt>
                <c:pt idx="4066">
                  <c:v>5.0636394091450248</c:v>
                </c:pt>
                <c:pt idx="4067">
                  <c:v>6.9923514705955405</c:v>
                </c:pt>
                <c:pt idx="4068">
                  <c:v>5.0303154629897602</c:v>
                </c:pt>
                <c:pt idx="4069">
                  <c:v>7.0475938871263883</c:v>
                </c:pt>
                <c:pt idx="4070">
                  <c:v>6.0501303823920392</c:v>
                </c:pt>
                <c:pt idx="4071">
                  <c:v>4.9414958031981469</c:v>
                </c:pt>
                <c:pt idx="4072">
                  <c:v>6.871810362223937</c:v>
                </c:pt>
                <c:pt idx="4073">
                  <c:v>7.0049773491910505</c:v>
                </c:pt>
                <c:pt idx="4074">
                  <c:v>5.9722893395312289</c:v>
                </c:pt>
                <c:pt idx="4075">
                  <c:v>5.0763663164909962</c:v>
                </c:pt>
                <c:pt idx="4076">
                  <c:v>4.0950245083037862</c:v>
                </c:pt>
                <c:pt idx="4077">
                  <c:v>5.0813879013226675</c:v>
                </c:pt>
                <c:pt idx="4078">
                  <c:v>3.8960831876132604</c:v>
                </c:pt>
                <c:pt idx="4079">
                  <c:v>4.9552722591246523</c:v>
                </c:pt>
                <c:pt idx="4080">
                  <c:v>5.8970996750677509</c:v>
                </c:pt>
                <c:pt idx="4081">
                  <c:v>5.0448975151210078</c:v>
                </c:pt>
                <c:pt idx="4082">
                  <c:v>5.9894576823621932</c:v>
                </c:pt>
                <c:pt idx="4083">
                  <c:v>5.0100576441539522</c:v>
                </c:pt>
                <c:pt idx="4084">
                  <c:v>4.8305270802996958</c:v>
                </c:pt>
                <c:pt idx="4085">
                  <c:v>6.0227697289652706</c:v>
                </c:pt>
                <c:pt idx="4086">
                  <c:v>6.0776469108529758</c:v>
                </c:pt>
                <c:pt idx="4087">
                  <c:v>7.0196183663879559</c:v>
                </c:pt>
                <c:pt idx="4088">
                  <c:v>4.9873990827833241</c:v>
                </c:pt>
                <c:pt idx="4089">
                  <c:v>5.0536217225754294</c:v>
                </c:pt>
                <c:pt idx="4090">
                  <c:v>4.9839711213727167</c:v>
                </c:pt>
                <c:pt idx="4091">
                  <c:v>5.0809858437595006</c:v>
                </c:pt>
                <c:pt idx="4092">
                  <c:v>5.0864984503288042</c:v>
                </c:pt>
                <c:pt idx="4093">
                  <c:v>5.8790900148510143</c:v>
                </c:pt>
                <c:pt idx="4094">
                  <c:v>6.0395159643750276</c:v>
                </c:pt>
                <c:pt idx="4095">
                  <c:v>4.9823813173840703</c:v>
                </c:pt>
                <c:pt idx="4096">
                  <c:v>7.0351168782158275</c:v>
                </c:pt>
                <c:pt idx="4097">
                  <c:v>5.0667081478428901</c:v>
                </c:pt>
                <c:pt idx="4098">
                  <c:v>4.9475803315368463</c:v>
                </c:pt>
                <c:pt idx="4099">
                  <c:v>2.9858527516942246</c:v>
                </c:pt>
                <c:pt idx="4100">
                  <c:v>7.1217313055201599</c:v>
                </c:pt>
                <c:pt idx="4101">
                  <c:v>6.0666463427966448</c:v>
                </c:pt>
                <c:pt idx="4102">
                  <c:v>6.204059728254391</c:v>
                </c:pt>
                <c:pt idx="4103">
                  <c:v>6.0436903082615272</c:v>
                </c:pt>
                <c:pt idx="4104">
                  <c:v>5.8654170002334576</c:v>
                </c:pt>
                <c:pt idx="4105">
                  <c:v>5.8908105806382096</c:v>
                </c:pt>
                <c:pt idx="4106">
                  <c:v>4.9149620112420935</c:v>
                </c:pt>
                <c:pt idx="4107">
                  <c:v>5.9234589640474553</c:v>
                </c:pt>
                <c:pt idx="4108">
                  <c:v>5.9406724760605734</c:v>
                </c:pt>
                <c:pt idx="4109">
                  <c:v>5.9051657821816095</c:v>
                </c:pt>
                <c:pt idx="4110">
                  <c:v>5.2457270881376949</c:v>
                </c:pt>
                <c:pt idx="4111">
                  <c:v>5.0372900296404231</c:v>
                </c:pt>
                <c:pt idx="4112">
                  <c:v>4.9283286453870661</c:v>
                </c:pt>
                <c:pt idx="4113">
                  <c:v>5.9981927209936226</c:v>
                </c:pt>
                <c:pt idx="4114">
                  <c:v>4.8431357933351187</c:v>
                </c:pt>
                <c:pt idx="4115">
                  <c:v>5.0405070642741112</c:v>
                </c:pt>
                <c:pt idx="4116">
                  <c:v>6.0674727910519852</c:v>
                </c:pt>
                <c:pt idx="4117">
                  <c:v>6.2372352381349137</c:v>
                </c:pt>
                <c:pt idx="4118">
                  <c:v>4.9840690070352993</c:v>
                </c:pt>
                <c:pt idx="4119">
                  <c:v>6.0736013546764847</c:v>
                </c:pt>
                <c:pt idx="4120">
                  <c:v>5.0266469388181241</c:v>
                </c:pt>
                <c:pt idx="4121">
                  <c:v>5.9423032914582539</c:v>
                </c:pt>
                <c:pt idx="4122">
                  <c:v>4.9450244462720274</c:v>
                </c:pt>
                <c:pt idx="4123">
                  <c:v>7.0955673809816968</c:v>
                </c:pt>
                <c:pt idx="4124">
                  <c:v>4.904906641314839</c:v>
                </c:pt>
                <c:pt idx="4125">
                  <c:v>5.8839770459029799</c:v>
                </c:pt>
                <c:pt idx="4126">
                  <c:v>4.9453494082015013</c:v>
                </c:pt>
                <c:pt idx="4127">
                  <c:v>5.1088836623833398</c:v>
                </c:pt>
                <c:pt idx="4128">
                  <c:v>5.9793234737306991</c:v>
                </c:pt>
                <c:pt idx="4129">
                  <c:v>4.8994675806974879</c:v>
                </c:pt>
                <c:pt idx="4130">
                  <c:v>4.8948902246717658</c:v>
                </c:pt>
                <c:pt idx="4131">
                  <c:v>4.9483863462425539</c:v>
                </c:pt>
                <c:pt idx="4132">
                  <c:v>4.816304734368023</c:v>
                </c:pt>
                <c:pt idx="4133">
                  <c:v>5.9641116287156271</c:v>
                </c:pt>
                <c:pt idx="4134">
                  <c:v>5.0544281514561575</c:v>
                </c:pt>
                <c:pt idx="4135">
                  <c:v>5.1689779300914811</c:v>
                </c:pt>
                <c:pt idx="4136">
                  <c:v>5.0181521143589176</c:v>
                </c:pt>
                <c:pt idx="4137">
                  <c:v>5.9972767501978588</c:v>
                </c:pt>
                <c:pt idx="4138">
                  <c:v>4.9547000327977972</c:v>
                </c:pt>
                <c:pt idx="4139">
                  <c:v>5.1179297721862298</c:v>
                </c:pt>
                <c:pt idx="4140">
                  <c:v>4.7830351467226144</c:v>
                </c:pt>
                <c:pt idx="4141">
                  <c:v>6.0015790385254739</c:v>
                </c:pt>
                <c:pt idx="4142">
                  <c:v>6.0998743166582647</c:v>
                </c:pt>
                <c:pt idx="4143">
                  <c:v>4.9639798217177304</c:v>
                </c:pt>
                <c:pt idx="4144">
                  <c:v>4.9692878383242265</c:v>
                </c:pt>
                <c:pt idx="4145">
                  <c:v>5.0990854611478804</c:v>
                </c:pt>
                <c:pt idx="4146">
                  <c:v>5.9681043855993181</c:v>
                </c:pt>
                <c:pt idx="4147">
                  <c:v>7.1050843731017714</c:v>
                </c:pt>
                <c:pt idx="4148">
                  <c:v>5.0068709656507435</c:v>
                </c:pt>
                <c:pt idx="4149">
                  <c:v>5.9451790847733017</c:v>
                </c:pt>
                <c:pt idx="4150">
                  <c:v>5.0255094519959709</c:v>
                </c:pt>
                <c:pt idx="4151">
                  <c:v>6.0827622868830549</c:v>
                </c:pt>
                <c:pt idx="4152">
                  <c:v>6.9852511164241911</c:v>
                </c:pt>
                <c:pt idx="4153">
                  <c:v>7.0300231794764398</c:v>
                </c:pt>
                <c:pt idx="4154">
                  <c:v>4.9876816584992785</c:v>
                </c:pt>
                <c:pt idx="4155">
                  <c:v>7.0846695007332938</c:v>
                </c:pt>
                <c:pt idx="4156">
                  <c:v>5.9412605599630899</c:v>
                </c:pt>
                <c:pt idx="4157">
                  <c:v>6.0542632734920954</c:v>
                </c:pt>
                <c:pt idx="4158">
                  <c:v>6.9021337463812573</c:v>
                </c:pt>
                <c:pt idx="4159">
                  <c:v>6.8359920332431727</c:v>
                </c:pt>
                <c:pt idx="4160">
                  <c:v>5.0042710897424261</c:v>
                </c:pt>
                <c:pt idx="4161">
                  <c:v>7.0349376929078797</c:v>
                </c:pt>
                <c:pt idx="4162">
                  <c:v>6.95758891337434</c:v>
                </c:pt>
                <c:pt idx="4163">
                  <c:v>7.0638933810207742</c:v>
                </c:pt>
                <c:pt idx="4164">
                  <c:v>6.9729377311048797</c:v>
                </c:pt>
                <c:pt idx="4165">
                  <c:v>5.1774553328357182</c:v>
                </c:pt>
                <c:pt idx="4166">
                  <c:v>5.1034425083149628</c:v>
                </c:pt>
                <c:pt idx="4167">
                  <c:v>6.8353910816923626</c:v>
                </c:pt>
                <c:pt idx="4168">
                  <c:v>5.1685895386687708</c:v>
                </c:pt>
                <c:pt idx="4169">
                  <c:v>6.9555287115909188</c:v>
                </c:pt>
                <c:pt idx="4170">
                  <c:v>5.9468233191474811</c:v>
                </c:pt>
                <c:pt idx="4171">
                  <c:v>4.9584947037997216</c:v>
                </c:pt>
                <c:pt idx="4172">
                  <c:v>5.9708250157113341</c:v>
                </c:pt>
                <c:pt idx="4173">
                  <c:v>5.0151903322428577</c:v>
                </c:pt>
                <c:pt idx="4174">
                  <c:v>4.999301519924531</c:v>
                </c:pt>
                <c:pt idx="4175">
                  <c:v>6.2639142802026626</c:v>
                </c:pt>
                <c:pt idx="4176">
                  <c:v>4.845676869750581</c:v>
                </c:pt>
                <c:pt idx="4177">
                  <c:v>4.9638270451256652</c:v>
                </c:pt>
                <c:pt idx="4178">
                  <c:v>5.938493867635902</c:v>
                </c:pt>
                <c:pt idx="4179">
                  <c:v>5.076317090221738</c:v>
                </c:pt>
                <c:pt idx="4180">
                  <c:v>5.1009443732012052</c:v>
                </c:pt>
                <c:pt idx="4181">
                  <c:v>5.9855841959641625</c:v>
                </c:pt>
                <c:pt idx="4182">
                  <c:v>4.9858395934218063</c:v>
                </c:pt>
                <c:pt idx="4183">
                  <c:v>5.0939396820832821</c:v>
                </c:pt>
                <c:pt idx="4184">
                  <c:v>5.0940516443009383</c:v>
                </c:pt>
                <c:pt idx="4185">
                  <c:v>4.9802398608153116</c:v>
                </c:pt>
                <c:pt idx="4186">
                  <c:v>4.9570743970165445</c:v>
                </c:pt>
                <c:pt idx="4187">
                  <c:v>4.9801661030050095</c:v>
                </c:pt>
                <c:pt idx="4188">
                  <c:v>6.0808983850632989</c:v>
                </c:pt>
                <c:pt idx="4189">
                  <c:v>5.0624186387232974</c:v>
                </c:pt>
                <c:pt idx="4190">
                  <c:v>5.0967858440275018</c:v>
                </c:pt>
                <c:pt idx="4191">
                  <c:v>5.0124754090250105</c:v>
                </c:pt>
                <c:pt idx="4192">
                  <c:v>4.940550430354512</c:v>
                </c:pt>
                <c:pt idx="4193">
                  <c:v>5.0207281347389872</c:v>
                </c:pt>
                <c:pt idx="4194">
                  <c:v>4.796709736630576</c:v>
                </c:pt>
                <c:pt idx="4195">
                  <c:v>5.2421566813666818</c:v>
                </c:pt>
                <c:pt idx="4196">
                  <c:v>4.9646693303753739</c:v>
                </c:pt>
                <c:pt idx="4197">
                  <c:v>6.0533817062977215</c:v>
                </c:pt>
                <c:pt idx="4198">
                  <c:v>4.9996104967819885</c:v>
                </c:pt>
                <c:pt idx="4199">
                  <c:v>5.1080685670502133</c:v>
                </c:pt>
                <c:pt idx="4200">
                  <c:v>4.8495836710543294</c:v>
                </c:pt>
                <c:pt idx="4201">
                  <c:v>5.1439292987220711</c:v>
                </c:pt>
                <c:pt idx="4202">
                  <c:v>5.0131620468278495</c:v>
                </c:pt>
                <c:pt idx="4203">
                  <c:v>6.0069969215233465</c:v>
                </c:pt>
                <c:pt idx="4204">
                  <c:v>5.881495391323452</c:v>
                </c:pt>
                <c:pt idx="4205">
                  <c:v>4.9040017682447248</c:v>
                </c:pt>
                <c:pt idx="4206">
                  <c:v>6.1061869502246084</c:v>
                </c:pt>
                <c:pt idx="4207">
                  <c:v>5.1023393592353807</c:v>
                </c:pt>
                <c:pt idx="4208">
                  <c:v>5.2121969480851629</c:v>
                </c:pt>
                <c:pt idx="4209">
                  <c:v>5.0101988706000329</c:v>
                </c:pt>
                <c:pt idx="4210">
                  <c:v>6.0902990788972442</c:v>
                </c:pt>
                <c:pt idx="4211">
                  <c:v>5.8348237130656431</c:v>
                </c:pt>
                <c:pt idx="4212">
                  <c:v>4.9871845453153654</c:v>
                </c:pt>
                <c:pt idx="4213">
                  <c:v>5.1158533847677852</c:v>
                </c:pt>
                <c:pt idx="4214">
                  <c:v>5.0037863524838206</c:v>
                </c:pt>
                <c:pt idx="4215">
                  <c:v>4.9375397674493247</c:v>
                </c:pt>
                <c:pt idx="4216">
                  <c:v>6.0075643693815568</c:v>
                </c:pt>
                <c:pt idx="4217">
                  <c:v>6.2541813711160801</c:v>
                </c:pt>
                <c:pt idx="4218">
                  <c:v>5.0682547920137306</c:v>
                </c:pt>
                <c:pt idx="4219">
                  <c:v>5.9616824043380099</c:v>
                </c:pt>
                <c:pt idx="4220">
                  <c:v>4.9709264885830002</c:v>
                </c:pt>
                <c:pt idx="4221">
                  <c:v>6.8526353576480172</c:v>
                </c:pt>
                <c:pt idx="4222">
                  <c:v>5.0186457323913505</c:v>
                </c:pt>
                <c:pt idx="4223">
                  <c:v>5.9560673969735571</c:v>
                </c:pt>
                <c:pt idx="4224">
                  <c:v>5.0061484695645682</c:v>
                </c:pt>
                <c:pt idx="4225">
                  <c:v>4.996240113671707</c:v>
                </c:pt>
                <c:pt idx="4226">
                  <c:v>6.203164573123404</c:v>
                </c:pt>
                <c:pt idx="4227">
                  <c:v>6.0444419250822818</c:v>
                </c:pt>
                <c:pt idx="4228">
                  <c:v>5.9685293435859288</c:v>
                </c:pt>
                <c:pt idx="4229">
                  <c:v>6.022884598454973</c:v>
                </c:pt>
                <c:pt idx="4230">
                  <c:v>4.957508191623508</c:v>
                </c:pt>
                <c:pt idx="4231">
                  <c:v>4.9906317689686093</c:v>
                </c:pt>
                <c:pt idx="4232">
                  <c:v>5.1539669833683481</c:v>
                </c:pt>
                <c:pt idx="4233">
                  <c:v>5.0276943246612005</c:v>
                </c:pt>
                <c:pt idx="4234">
                  <c:v>6.0058727994010033</c:v>
                </c:pt>
                <c:pt idx="4235">
                  <c:v>4.9934643738223885</c:v>
                </c:pt>
                <c:pt idx="4236">
                  <c:v>7.0806514830218648</c:v>
                </c:pt>
                <c:pt idx="4237">
                  <c:v>6.1490610094068936</c:v>
                </c:pt>
                <c:pt idx="4238">
                  <c:v>4.8949542418686791</c:v>
                </c:pt>
                <c:pt idx="4239">
                  <c:v>7.0181128736973974</c:v>
                </c:pt>
                <c:pt idx="4240">
                  <c:v>4.8943534369859476</c:v>
                </c:pt>
                <c:pt idx="4241">
                  <c:v>5.1790671608481249</c:v>
                </c:pt>
                <c:pt idx="4242">
                  <c:v>4.9172663373812142</c:v>
                </c:pt>
                <c:pt idx="4243">
                  <c:v>4.9470796207801415</c:v>
                </c:pt>
                <c:pt idx="4244">
                  <c:v>7.1528561955491679</c:v>
                </c:pt>
                <c:pt idx="4245">
                  <c:v>5.082182005906013</c:v>
                </c:pt>
                <c:pt idx="4246">
                  <c:v>4.8608196337160896</c:v>
                </c:pt>
                <c:pt idx="4247">
                  <c:v>5.054267784338915</c:v>
                </c:pt>
                <c:pt idx="4248">
                  <c:v>4.8730188084038124</c:v>
                </c:pt>
                <c:pt idx="4249">
                  <c:v>7.1112782733891411</c:v>
                </c:pt>
                <c:pt idx="4250">
                  <c:v>6.0670046444795567</c:v>
                </c:pt>
                <c:pt idx="4251">
                  <c:v>5.8872623240941024</c:v>
                </c:pt>
                <c:pt idx="4252">
                  <c:v>5.8638665714793898</c:v>
                </c:pt>
                <c:pt idx="4253">
                  <c:v>5.054638854852981</c:v>
                </c:pt>
                <c:pt idx="4254">
                  <c:v>5.067060520031891</c:v>
                </c:pt>
                <c:pt idx="4255">
                  <c:v>5.0976067957522648</c:v>
                </c:pt>
                <c:pt idx="4256">
                  <c:v>6.0638676888185969</c:v>
                </c:pt>
                <c:pt idx="4257">
                  <c:v>5.1005859741225619</c:v>
                </c:pt>
                <c:pt idx="4258">
                  <c:v>4.8672217410461265</c:v>
                </c:pt>
                <c:pt idx="4259">
                  <c:v>5.9952141840946389</c:v>
                </c:pt>
                <c:pt idx="4260">
                  <c:v>5.9709242755722096</c:v>
                </c:pt>
                <c:pt idx="4261">
                  <c:v>4.9519821510157174</c:v>
                </c:pt>
                <c:pt idx="4262">
                  <c:v>5.048076721828135</c:v>
                </c:pt>
                <c:pt idx="4263">
                  <c:v>4.9286067499500437</c:v>
                </c:pt>
                <c:pt idx="4264">
                  <c:v>5.1402578139269322</c:v>
                </c:pt>
                <c:pt idx="4265">
                  <c:v>4.001051704878523</c:v>
                </c:pt>
                <c:pt idx="4266">
                  <c:v>5.0644185562626216</c:v>
                </c:pt>
                <c:pt idx="4267">
                  <c:v>4.8665391111037808</c:v>
                </c:pt>
                <c:pt idx="4268">
                  <c:v>5.0823181867790241</c:v>
                </c:pt>
                <c:pt idx="4269">
                  <c:v>5.0352845017196763</c:v>
                </c:pt>
                <c:pt idx="4270">
                  <c:v>5.1675983201723179</c:v>
                </c:pt>
                <c:pt idx="4271">
                  <c:v>4.9262849338175005</c:v>
                </c:pt>
                <c:pt idx="4272">
                  <c:v>5.0335966597793957</c:v>
                </c:pt>
                <c:pt idx="4273">
                  <c:v>5.0029192518405488</c:v>
                </c:pt>
                <c:pt idx="4274">
                  <c:v>5.1015228573719593</c:v>
                </c:pt>
                <c:pt idx="4275">
                  <c:v>4.9335208045431305</c:v>
                </c:pt>
                <c:pt idx="4276">
                  <c:v>4.8899598407951723</c:v>
                </c:pt>
                <c:pt idx="4277">
                  <c:v>4.9233370701545898</c:v>
                </c:pt>
                <c:pt idx="4278">
                  <c:v>5.7124374656304955</c:v>
                </c:pt>
                <c:pt idx="4279">
                  <c:v>4.816716662051153</c:v>
                </c:pt>
                <c:pt idx="4280">
                  <c:v>5.8534355051522811</c:v>
                </c:pt>
                <c:pt idx="4281">
                  <c:v>6.9889303456971321</c:v>
                </c:pt>
                <c:pt idx="4282">
                  <c:v>6.0584593967564055</c:v>
                </c:pt>
                <c:pt idx="4283">
                  <c:v>6.0455986443636043</c:v>
                </c:pt>
                <c:pt idx="4284">
                  <c:v>4.9970752040470749</c:v>
                </c:pt>
                <c:pt idx="4285">
                  <c:v>5.0354453607152214</c:v>
                </c:pt>
                <c:pt idx="4286">
                  <c:v>4.8580635906206933</c:v>
                </c:pt>
                <c:pt idx="4287">
                  <c:v>5.8213498668139545</c:v>
                </c:pt>
                <c:pt idx="4288">
                  <c:v>5.9040762246902183</c:v>
                </c:pt>
                <c:pt idx="4289">
                  <c:v>7.0462244935927609</c:v>
                </c:pt>
                <c:pt idx="4290">
                  <c:v>4.9808702486954095</c:v>
                </c:pt>
                <c:pt idx="4291">
                  <c:v>6.022757765848298</c:v>
                </c:pt>
                <c:pt idx="4292">
                  <c:v>6.12633890626332</c:v>
                </c:pt>
                <c:pt idx="4293">
                  <c:v>4.9350172564717099</c:v>
                </c:pt>
                <c:pt idx="4294">
                  <c:v>7.1826944257398182</c:v>
                </c:pt>
                <c:pt idx="4295">
                  <c:v>5.9904704379232578</c:v>
                </c:pt>
                <c:pt idx="4296">
                  <c:v>6.0086313262418587</c:v>
                </c:pt>
                <c:pt idx="4297">
                  <c:v>7.1654905327753085</c:v>
                </c:pt>
                <c:pt idx="4298">
                  <c:v>4.8719061240977677</c:v>
                </c:pt>
                <c:pt idx="4299">
                  <c:v>5.1873565700874851</c:v>
                </c:pt>
                <c:pt idx="4300">
                  <c:v>5.95769125587214</c:v>
                </c:pt>
                <c:pt idx="4301">
                  <c:v>5.0148647413630778</c:v>
                </c:pt>
                <c:pt idx="4302">
                  <c:v>5.930826813092696</c:v>
                </c:pt>
                <c:pt idx="4303">
                  <c:v>6.7365037901870526</c:v>
                </c:pt>
                <c:pt idx="4304">
                  <c:v>5.0383512581651253</c:v>
                </c:pt>
                <c:pt idx="4305">
                  <c:v>5.0231168774549584</c:v>
                </c:pt>
                <c:pt idx="4306">
                  <c:v>6.9342681573570006</c:v>
                </c:pt>
                <c:pt idx="4307">
                  <c:v>5.8970699485571174</c:v>
                </c:pt>
                <c:pt idx="4308">
                  <c:v>5.8988291481711208</c:v>
                </c:pt>
                <c:pt idx="4309">
                  <c:v>4.9562653814578983</c:v>
                </c:pt>
                <c:pt idx="4310">
                  <c:v>6.0312412364382864</c:v>
                </c:pt>
                <c:pt idx="4311">
                  <c:v>5.1062760232943969</c:v>
                </c:pt>
                <c:pt idx="4312">
                  <c:v>5.1089588142446578</c:v>
                </c:pt>
                <c:pt idx="4313">
                  <c:v>4.0104242328298305</c:v>
                </c:pt>
                <c:pt idx="4314">
                  <c:v>7.0647931145077747</c:v>
                </c:pt>
                <c:pt idx="4315">
                  <c:v>5.0250303512713632</c:v>
                </c:pt>
                <c:pt idx="4316">
                  <c:v>4.98075799060768</c:v>
                </c:pt>
                <c:pt idx="4317">
                  <c:v>5.8922050296338551</c:v>
                </c:pt>
                <c:pt idx="4318">
                  <c:v>5.0770697222577095</c:v>
                </c:pt>
                <c:pt idx="4319">
                  <c:v>4.9915302499395828</c:v>
                </c:pt>
                <c:pt idx="4320">
                  <c:v>5.021385771033291</c:v>
                </c:pt>
                <c:pt idx="4321">
                  <c:v>5.9051499325790653</c:v>
                </c:pt>
                <c:pt idx="4322">
                  <c:v>5.2192914262392707</c:v>
                </c:pt>
                <c:pt idx="4323">
                  <c:v>5.9127378560679498</c:v>
                </c:pt>
                <c:pt idx="4324">
                  <c:v>4.9989106253741999</c:v>
                </c:pt>
                <c:pt idx="4325">
                  <c:v>6.2320720087940922</c:v>
                </c:pt>
                <c:pt idx="4326">
                  <c:v>6.0406498227701544</c:v>
                </c:pt>
                <c:pt idx="4327">
                  <c:v>4.8265640902047249</c:v>
                </c:pt>
                <c:pt idx="4328">
                  <c:v>4.9172905364027502</c:v>
                </c:pt>
                <c:pt idx="4329">
                  <c:v>5.0672938993402781</c:v>
                </c:pt>
                <c:pt idx="4330">
                  <c:v>5.12638488995833</c:v>
                </c:pt>
                <c:pt idx="4331">
                  <c:v>4.881319188625862</c:v>
                </c:pt>
                <c:pt idx="4332">
                  <c:v>5.0072780504468124</c:v>
                </c:pt>
                <c:pt idx="4333">
                  <c:v>3.9532258124489594</c:v>
                </c:pt>
                <c:pt idx="4334">
                  <c:v>5.8685619479914228</c:v>
                </c:pt>
                <c:pt idx="4335">
                  <c:v>4.9533749010400463</c:v>
                </c:pt>
                <c:pt idx="4336">
                  <c:v>5.9335782455842629</c:v>
                </c:pt>
                <c:pt idx="4337">
                  <c:v>4.940809966335113</c:v>
                </c:pt>
                <c:pt idx="4338">
                  <c:v>5.9135304060300689</c:v>
                </c:pt>
                <c:pt idx="4339">
                  <c:v>4.8950138783734722</c:v>
                </c:pt>
                <c:pt idx="4340">
                  <c:v>6.9261938617824637</c:v>
                </c:pt>
                <c:pt idx="4341">
                  <c:v>5.8074734873857219</c:v>
                </c:pt>
                <c:pt idx="4342">
                  <c:v>5.8606645363485343</c:v>
                </c:pt>
                <c:pt idx="4343">
                  <c:v>5.184677652780314</c:v>
                </c:pt>
                <c:pt idx="4344">
                  <c:v>5.0982591839163991</c:v>
                </c:pt>
                <c:pt idx="4345">
                  <c:v>5.0757304703781569</c:v>
                </c:pt>
                <c:pt idx="4346">
                  <c:v>4.9078298626039389</c:v>
                </c:pt>
                <c:pt idx="4347">
                  <c:v>4.9616392143715435</c:v>
                </c:pt>
                <c:pt idx="4348">
                  <c:v>6.0366235142175499</c:v>
                </c:pt>
                <c:pt idx="4349">
                  <c:v>4.9089619366734034</c:v>
                </c:pt>
                <c:pt idx="4350">
                  <c:v>5.2305171485189765</c:v>
                </c:pt>
                <c:pt idx="4351">
                  <c:v>5.7914741143575954</c:v>
                </c:pt>
                <c:pt idx="4352">
                  <c:v>6.0202545718980334</c:v>
                </c:pt>
                <c:pt idx="4353">
                  <c:v>5.1212090333774869</c:v>
                </c:pt>
                <c:pt idx="4354">
                  <c:v>5.8992712285292468</c:v>
                </c:pt>
                <c:pt idx="4355">
                  <c:v>5.0653259795651833</c:v>
                </c:pt>
                <c:pt idx="4356">
                  <c:v>5.9425318921478603</c:v>
                </c:pt>
                <c:pt idx="4357">
                  <c:v>7.1326119897817533</c:v>
                </c:pt>
                <c:pt idx="4358">
                  <c:v>4.9600075250717719</c:v>
                </c:pt>
                <c:pt idx="4359">
                  <c:v>4.9329346128770535</c:v>
                </c:pt>
                <c:pt idx="4360">
                  <c:v>4.9323708260837735</c:v>
                </c:pt>
                <c:pt idx="4361">
                  <c:v>4.8816622871550646</c:v>
                </c:pt>
                <c:pt idx="4362">
                  <c:v>6.0268582967730993</c:v>
                </c:pt>
                <c:pt idx="4363">
                  <c:v>6.9230645750695938</c:v>
                </c:pt>
                <c:pt idx="4364">
                  <c:v>5.0600515320743522</c:v>
                </c:pt>
                <c:pt idx="4365">
                  <c:v>4.9867877438202379</c:v>
                </c:pt>
                <c:pt idx="4366">
                  <c:v>5.1255253170298971</c:v>
                </c:pt>
                <c:pt idx="4367">
                  <c:v>4.8326919707836122</c:v>
                </c:pt>
                <c:pt idx="4368">
                  <c:v>5.0147927453911647</c:v>
                </c:pt>
                <c:pt idx="4369">
                  <c:v>5.0489568293068485</c:v>
                </c:pt>
                <c:pt idx="4370">
                  <c:v>5.9256638668980308</c:v>
                </c:pt>
                <c:pt idx="4371">
                  <c:v>6.1550627260674062</c:v>
                </c:pt>
                <c:pt idx="4372">
                  <c:v>4.8931620267337497</c:v>
                </c:pt>
                <c:pt idx="4373">
                  <c:v>5.9372161693032588</c:v>
                </c:pt>
                <c:pt idx="4374">
                  <c:v>6.2408843863311638</c:v>
                </c:pt>
                <c:pt idx="4375">
                  <c:v>5.0729594326674352</c:v>
                </c:pt>
                <c:pt idx="4376">
                  <c:v>6.0304339884616613</c:v>
                </c:pt>
                <c:pt idx="4377">
                  <c:v>5.0468347205032922</c:v>
                </c:pt>
                <c:pt idx="4378">
                  <c:v>6.0173969112747185</c:v>
                </c:pt>
                <c:pt idx="4379">
                  <c:v>4.9482203755249641</c:v>
                </c:pt>
                <c:pt idx="4380">
                  <c:v>6.0208030413290752</c:v>
                </c:pt>
                <c:pt idx="4381">
                  <c:v>6.031888318143853</c:v>
                </c:pt>
                <c:pt idx="4382">
                  <c:v>4.9040572713472086</c:v>
                </c:pt>
                <c:pt idx="4383">
                  <c:v>5.9714432335224412</c:v>
                </c:pt>
                <c:pt idx="4384">
                  <c:v>3.9194828788431773</c:v>
                </c:pt>
                <c:pt idx="4385">
                  <c:v>6.018907437381892</c:v>
                </c:pt>
                <c:pt idx="4386">
                  <c:v>6.01260572748199</c:v>
                </c:pt>
                <c:pt idx="4387">
                  <c:v>6.1725326868410377</c:v>
                </c:pt>
                <c:pt idx="4388">
                  <c:v>4.9725071993809999</c:v>
                </c:pt>
                <c:pt idx="4389">
                  <c:v>6.07346432980414</c:v>
                </c:pt>
                <c:pt idx="4390">
                  <c:v>6.0127524814991622</c:v>
                </c:pt>
                <c:pt idx="4391">
                  <c:v>6.0532880826277085</c:v>
                </c:pt>
                <c:pt idx="4392">
                  <c:v>5.2472564792408232</c:v>
                </c:pt>
                <c:pt idx="4393">
                  <c:v>5.040987169282527</c:v>
                </c:pt>
                <c:pt idx="4394">
                  <c:v>5.0517204979314743</c:v>
                </c:pt>
                <c:pt idx="4395">
                  <c:v>5.1228095948705175</c:v>
                </c:pt>
                <c:pt idx="4396">
                  <c:v>4.9589218562201705</c:v>
                </c:pt>
                <c:pt idx="4397">
                  <c:v>6.0532419229516572</c:v>
                </c:pt>
                <c:pt idx="4398">
                  <c:v>5.7710897647848451</c:v>
                </c:pt>
                <c:pt idx="4399">
                  <c:v>6.0644832739141448</c:v>
                </c:pt>
                <c:pt idx="4400">
                  <c:v>6.7976613293641215</c:v>
                </c:pt>
                <c:pt idx="4401">
                  <c:v>6.0467245722116623</c:v>
                </c:pt>
                <c:pt idx="4402">
                  <c:v>5.9295970809296037</c:v>
                </c:pt>
                <c:pt idx="4403">
                  <c:v>4.9536868122626174</c:v>
                </c:pt>
                <c:pt idx="4404">
                  <c:v>6.0238408445145151</c:v>
                </c:pt>
                <c:pt idx="4405">
                  <c:v>4.9895155619139002</c:v>
                </c:pt>
                <c:pt idx="4406">
                  <c:v>5.0000492243247328</c:v>
                </c:pt>
                <c:pt idx="4407">
                  <c:v>5.9240558796837712</c:v>
                </c:pt>
                <c:pt idx="4408">
                  <c:v>5.0741816038360668</c:v>
                </c:pt>
                <c:pt idx="4409">
                  <c:v>7.0637482485241883</c:v>
                </c:pt>
                <c:pt idx="4410">
                  <c:v>5.0159517990226261</c:v>
                </c:pt>
                <c:pt idx="4411">
                  <c:v>4.9510991546549832</c:v>
                </c:pt>
                <c:pt idx="4412">
                  <c:v>6.1973375841573404</c:v>
                </c:pt>
                <c:pt idx="4413">
                  <c:v>5.778807440347542</c:v>
                </c:pt>
                <c:pt idx="4414">
                  <c:v>4.9219790562460952</c:v>
                </c:pt>
                <c:pt idx="4415">
                  <c:v>5.8745180669394479</c:v>
                </c:pt>
                <c:pt idx="4416">
                  <c:v>5.8878336068015598</c:v>
                </c:pt>
                <c:pt idx="4417">
                  <c:v>5.978245889932964</c:v>
                </c:pt>
                <c:pt idx="4418">
                  <c:v>5.0436382344335309</c:v>
                </c:pt>
                <c:pt idx="4419">
                  <c:v>6.0453154587982629</c:v>
                </c:pt>
                <c:pt idx="4420">
                  <c:v>6.0655151430853849</c:v>
                </c:pt>
                <c:pt idx="4421">
                  <c:v>5.1292954068926822</c:v>
                </c:pt>
                <c:pt idx="4422">
                  <c:v>5.0523986888736356</c:v>
                </c:pt>
                <c:pt idx="4423">
                  <c:v>5.0908507299765775</c:v>
                </c:pt>
                <c:pt idx="4424">
                  <c:v>6.0206193974796758</c:v>
                </c:pt>
                <c:pt idx="4425">
                  <c:v>4.9978527682802447</c:v>
                </c:pt>
                <c:pt idx="4426">
                  <c:v>4.8852175577188603</c:v>
                </c:pt>
                <c:pt idx="4427">
                  <c:v>8.0317367771759542</c:v>
                </c:pt>
                <c:pt idx="4428">
                  <c:v>4.0370747812271359</c:v>
                </c:pt>
                <c:pt idx="4429">
                  <c:v>4.9334587520663407</c:v>
                </c:pt>
                <c:pt idx="4430">
                  <c:v>5.2263468579476493</c:v>
                </c:pt>
                <c:pt idx="4431">
                  <c:v>5.9408971687346233</c:v>
                </c:pt>
                <c:pt idx="4432">
                  <c:v>5.1163165832143171</c:v>
                </c:pt>
                <c:pt idx="4433">
                  <c:v>5.0768354344127067</c:v>
                </c:pt>
                <c:pt idx="4434">
                  <c:v>5.0507421571195481</c:v>
                </c:pt>
                <c:pt idx="4435">
                  <c:v>6.0963058359162723</c:v>
                </c:pt>
                <c:pt idx="4436">
                  <c:v>5.9485043071321995</c:v>
                </c:pt>
                <c:pt idx="4437">
                  <c:v>4.0151443755956517</c:v>
                </c:pt>
                <c:pt idx="4438">
                  <c:v>5.1613926877667913</c:v>
                </c:pt>
                <c:pt idx="4439">
                  <c:v>4.8894846589136227</c:v>
                </c:pt>
                <c:pt idx="4440">
                  <c:v>5.9962749196134055</c:v>
                </c:pt>
                <c:pt idx="4441">
                  <c:v>6.1957948576605002</c:v>
                </c:pt>
                <c:pt idx="4442">
                  <c:v>4.947813652811524</c:v>
                </c:pt>
                <c:pt idx="4443">
                  <c:v>5.089408386384239</c:v>
                </c:pt>
                <c:pt idx="4444">
                  <c:v>5.1288795631506749</c:v>
                </c:pt>
                <c:pt idx="4445">
                  <c:v>5.8237314125220072</c:v>
                </c:pt>
                <c:pt idx="4446">
                  <c:v>4.9686409164167804</c:v>
                </c:pt>
                <c:pt idx="4447">
                  <c:v>4.9296324995156144</c:v>
                </c:pt>
                <c:pt idx="4448">
                  <c:v>5.0473012942733906</c:v>
                </c:pt>
                <c:pt idx="4449">
                  <c:v>4.9094090347038506</c:v>
                </c:pt>
                <c:pt idx="4450">
                  <c:v>5.1258121333574644</c:v>
                </c:pt>
                <c:pt idx="4451">
                  <c:v>5.9773368941781175</c:v>
                </c:pt>
                <c:pt idx="4452">
                  <c:v>4.985885688346646</c:v>
                </c:pt>
                <c:pt idx="4453">
                  <c:v>4.9460573489328263</c:v>
                </c:pt>
                <c:pt idx="4454">
                  <c:v>6.0233817045387914</c:v>
                </c:pt>
                <c:pt idx="4455">
                  <c:v>4.9342280363534785</c:v>
                </c:pt>
                <c:pt idx="4456">
                  <c:v>6.0011031747578132</c:v>
                </c:pt>
                <c:pt idx="4457">
                  <c:v>5.9645945394469289</c:v>
                </c:pt>
                <c:pt idx="4458">
                  <c:v>6.1086746618135619</c:v>
                </c:pt>
                <c:pt idx="4459">
                  <c:v>5.9875714139365845</c:v>
                </c:pt>
                <c:pt idx="4460">
                  <c:v>4.02547647041541</c:v>
                </c:pt>
                <c:pt idx="4461">
                  <c:v>4.9845244938278128</c:v>
                </c:pt>
                <c:pt idx="4462">
                  <c:v>6.1388157601178053</c:v>
                </c:pt>
                <c:pt idx="4463">
                  <c:v>6.009744332618526</c:v>
                </c:pt>
                <c:pt idx="4464">
                  <c:v>5.924209244080104</c:v>
                </c:pt>
                <c:pt idx="4465">
                  <c:v>4.9533549304865563</c:v>
                </c:pt>
                <c:pt idx="4466">
                  <c:v>5.9450106576197896</c:v>
                </c:pt>
                <c:pt idx="4467">
                  <c:v>4.9498588570791089</c:v>
                </c:pt>
                <c:pt idx="4468">
                  <c:v>6.0393399903717393</c:v>
                </c:pt>
                <c:pt idx="4469">
                  <c:v>6.0380979401283659</c:v>
                </c:pt>
                <c:pt idx="4470">
                  <c:v>4.9254946527994212</c:v>
                </c:pt>
                <c:pt idx="4471">
                  <c:v>5.0081728873816616</c:v>
                </c:pt>
                <c:pt idx="4472">
                  <c:v>5.0384671474631713</c:v>
                </c:pt>
                <c:pt idx="4473">
                  <c:v>6.1429297779774323</c:v>
                </c:pt>
                <c:pt idx="4474">
                  <c:v>4.8763519556220842</c:v>
                </c:pt>
                <c:pt idx="4475">
                  <c:v>4.9547935756292469</c:v>
                </c:pt>
                <c:pt idx="4476">
                  <c:v>6.1332362986789102</c:v>
                </c:pt>
                <c:pt idx="4477">
                  <c:v>6.0162783005311509</c:v>
                </c:pt>
                <c:pt idx="4478">
                  <c:v>6.0021251321205584</c:v>
                </c:pt>
                <c:pt idx="4479">
                  <c:v>6.0282634577148331</c:v>
                </c:pt>
                <c:pt idx="4480">
                  <c:v>5.9438011834839308</c:v>
                </c:pt>
                <c:pt idx="4481">
                  <c:v>5.9307557279523939</c:v>
                </c:pt>
                <c:pt idx="4482">
                  <c:v>5.956678134922778</c:v>
                </c:pt>
                <c:pt idx="4483">
                  <c:v>5.890405435745758</c:v>
                </c:pt>
                <c:pt idx="4484">
                  <c:v>6.0231710279700241</c:v>
                </c:pt>
                <c:pt idx="4485">
                  <c:v>5.9674630832998341</c:v>
                </c:pt>
                <c:pt idx="4486">
                  <c:v>6.0813366072409663</c:v>
                </c:pt>
                <c:pt idx="4487">
                  <c:v>6.033557579933353</c:v>
                </c:pt>
                <c:pt idx="4488">
                  <c:v>6.0152782187897582</c:v>
                </c:pt>
                <c:pt idx="4489">
                  <c:v>5.903699736674251</c:v>
                </c:pt>
                <c:pt idx="4490">
                  <c:v>5.9846873733158219</c:v>
                </c:pt>
                <c:pt idx="4491">
                  <c:v>6.0962889523619426</c:v>
                </c:pt>
                <c:pt idx="4492">
                  <c:v>6.1307360883036051</c:v>
                </c:pt>
                <c:pt idx="4493">
                  <c:v>5.7689787545653886</c:v>
                </c:pt>
                <c:pt idx="4494">
                  <c:v>5.9522691630265054</c:v>
                </c:pt>
                <c:pt idx="4495">
                  <c:v>5.9294301827296341</c:v>
                </c:pt>
                <c:pt idx="4496">
                  <c:v>5.9256148932843411</c:v>
                </c:pt>
                <c:pt idx="4497">
                  <c:v>5.9212308509033065</c:v>
                </c:pt>
                <c:pt idx="4498">
                  <c:v>6.067994863582971</c:v>
                </c:pt>
                <c:pt idx="4499">
                  <c:v>5.9016880023885072</c:v>
                </c:pt>
                <c:pt idx="4500">
                  <c:v>6.0979470151355297</c:v>
                </c:pt>
                <c:pt idx="4501">
                  <c:v>6.0144701004376913</c:v>
                </c:pt>
                <c:pt idx="4502">
                  <c:v>5.8536861051056306</c:v>
                </c:pt>
                <c:pt idx="4503">
                  <c:v>5.9769463959509199</c:v>
                </c:pt>
                <c:pt idx="4504">
                  <c:v>5.9809233488784166</c:v>
                </c:pt>
                <c:pt idx="4505">
                  <c:v>5.975999335785894</c:v>
                </c:pt>
                <c:pt idx="4506">
                  <c:v>6.0591537286188926</c:v>
                </c:pt>
                <c:pt idx="4507">
                  <c:v>6.0830724455216707</c:v>
                </c:pt>
                <c:pt idx="4508">
                  <c:v>6.1240832044739015</c:v>
                </c:pt>
                <c:pt idx="4509">
                  <c:v>5.9322312212464583</c:v>
                </c:pt>
                <c:pt idx="4510">
                  <c:v>6.0752421408750097</c:v>
                </c:pt>
                <c:pt idx="4511">
                  <c:v>5.9896142645638966</c:v>
                </c:pt>
                <c:pt idx="4512">
                  <c:v>5.9972960913812994</c:v>
                </c:pt>
                <c:pt idx="4513">
                  <c:v>5.8886840668526323</c:v>
                </c:pt>
                <c:pt idx="4514">
                  <c:v>5.8266013513251345</c:v>
                </c:pt>
                <c:pt idx="4515">
                  <c:v>6.0990420057124597</c:v>
                </c:pt>
                <c:pt idx="4516">
                  <c:v>4.9745591808025171</c:v>
                </c:pt>
                <c:pt idx="4517">
                  <c:v>6.0469427430922176</c:v>
                </c:pt>
                <c:pt idx="4518">
                  <c:v>6.0474178385768562</c:v>
                </c:pt>
                <c:pt idx="4519">
                  <c:v>5.9628973219343369</c:v>
                </c:pt>
                <c:pt idx="4520">
                  <c:v>5.886287722288114</c:v>
                </c:pt>
                <c:pt idx="4521">
                  <c:v>5.7467431741679889</c:v>
                </c:pt>
                <c:pt idx="4522">
                  <c:v>5.8105443952452216</c:v>
                </c:pt>
                <c:pt idx="4523">
                  <c:v>5.9272121798424431</c:v>
                </c:pt>
                <c:pt idx="4524">
                  <c:v>5.8879291396578468</c:v>
                </c:pt>
                <c:pt idx="4525">
                  <c:v>6.042857695947438</c:v>
                </c:pt>
                <c:pt idx="4526">
                  <c:v>5.9846430783226685</c:v>
                </c:pt>
                <c:pt idx="4527">
                  <c:v>6.078838627148893</c:v>
                </c:pt>
                <c:pt idx="4528">
                  <c:v>5.8968726542306777</c:v>
                </c:pt>
                <c:pt idx="4529">
                  <c:v>5.9277183785267091</c:v>
                </c:pt>
                <c:pt idx="4530">
                  <c:v>5.0593030680265576</c:v>
                </c:pt>
                <c:pt idx="4531">
                  <c:v>6.0197545796630241</c:v>
                </c:pt>
                <c:pt idx="4532">
                  <c:v>6.0725961468795058</c:v>
                </c:pt>
                <c:pt idx="4533">
                  <c:v>6.0484303822624037</c:v>
                </c:pt>
                <c:pt idx="4534">
                  <c:v>5.919059293146395</c:v>
                </c:pt>
                <c:pt idx="4535">
                  <c:v>6.1203902386272455</c:v>
                </c:pt>
                <c:pt idx="4536">
                  <c:v>5.9540270915312146</c:v>
                </c:pt>
                <c:pt idx="4537">
                  <c:v>6.1262507841959515</c:v>
                </c:pt>
                <c:pt idx="4538">
                  <c:v>6.1477078067356654</c:v>
                </c:pt>
                <c:pt idx="4539">
                  <c:v>5.8430018812538247</c:v>
                </c:pt>
                <c:pt idx="4540">
                  <c:v>6.0447835061844568</c:v>
                </c:pt>
                <c:pt idx="4541">
                  <c:v>6.0871567469709902</c:v>
                </c:pt>
                <c:pt idx="4542">
                  <c:v>5.0657909389867104</c:v>
                </c:pt>
                <c:pt idx="4543">
                  <c:v>4.9675313859927401</c:v>
                </c:pt>
                <c:pt idx="4544">
                  <c:v>5.0354920789579101</c:v>
                </c:pt>
                <c:pt idx="4545">
                  <c:v>5.8608426339376072</c:v>
                </c:pt>
                <c:pt idx="4546">
                  <c:v>6.1687660141919363</c:v>
                </c:pt>
                <c:pt idx="4547">
                  <c:v>5.0122944575556456</c:v>
                </c:pt>
                <c:pt idx="4548">
                  <c:v>4.9784956419825699</c:v>
                </c:pt>
                <c:pt idx="4549">
                  <c:v>4.8228382424170331</c:v>
                </c:pt>
                <c:pt idx="4550">
                  <c:v>5.17091120574631</c:v>
                </c:pt>
                <c:pt idx="4551">
                  <c:v>6.1539239127293603</c:v>
                </c:pt>
                <c:pt idx="4552">
                  <c:v>7.071544136391001</c:v>
                </c:pt>
                <c:pt idx="4553">
                  <c:v>5.1855723734689532</c:v>
                </c:pt>
                <c:pt idx="4554">
                  <c:v>6.1577412767055604</c:v>
                </c:pt>
                <c:pt idx="4555">
                  <c:v>7.0016020904616365</c:v>
                </c:pt>
                <c:pt idx="4556">
                  <c:v>6.2073324857826773</c:v>
                </c:pt>
                <c:pt idx="4557">
                  <c:v>5.9219128338132325</c:v>
                </c:pt>
                <c:pt idx="4558">
                  <c:v>4.9506564058124001</c:v>
                </c:pt>
                <c:pt idx="4559">
                  <c:v>4.9300904593052239</c:v>
                </c:pt>
                <c:pt idx="4560">
                  <c:v>5.0530872093039445</c:v>
                </c:pt>
                <c:pt idx="4561">
                  <c:v>6.0364544669671831</c:v>
                </c:pt>
                <c:pt idx="4562">
                  <c:v>5.9881516193280113</c:v>
                </c:pt>
                <c:pt idx="4563">
                  <c:v>5.0617046447684286</c:v>
                </c:pt>
                <c:pt idx="4564">
                  <c:v>5.8655945839623254</c:v>
                </c:pt>
                <c:pt idx="4565">
                  <c:v>6.0797720875963641</c:v>
                </c:pt>
                <c:pt idx="4566">
                  <c:v>5.9697013292894114</c:v>
                </c:pt>
                <c:pt idx="4567">
                  <c:v>6.0408457839431202</c:v>
                </c:pt>
                <c:pt idx="4568">
                  <c:v>4.8578616648868813</c:v>
                </c:pt>
                <c:pt idx="4569">
                  <c:v>6.0782173251487501</c:v>
                </c:pt>
                <c:pt idx="4570">
                  <c:v>5.7803740394142826</c:v>
                </c:pt>
                <c:pt idx="4571">
                  <c:v>5.134228843373891</c:v>
                </c:pt>
                <c:pt idx="4572">
                  <c:v>4.9290963968243879</c:v>
                </c:pt>
                <c:pt idx="4573">
                  <c:v>5.221952434560885</c:v>
                </c:pt>
                <c:pt idx="4574">
                  <c:v>5.0108914366190387</c:v>
                </c:pt>
                <c:pt idx="4575">
                  <c:v>5.8418033487499823</c:v>
                </c:pt>
                <c:pt idx="4576">
                  <c:v>4.9331701187177286</c:v>
                </c:pt>
                <c:pt idx="4577">
                  <c:v>6.0440278700690175</c:v>
                </c:pt>
                <c:pt idx="4578">
                  <c:v>5.9042625779060529</c:v>
                </c:pt>
                <c:pt idx="4579">
                  <c:v>6.0743383220116991</c:v>
                </c:pt>
                <c:pt idx="4580">
                  <c:v>6.2589044701603598</c:v>
                </c:pt>
                <c:pt idx="4581">
                  <c:v>5.9716399674200114</c:v>
                </c:pt>
                <c:pt idx="4582">
                  <c:v>4.9324909755743462</c:v>
                </c:pt>
                <c:pt idx="4583">
                  <c:v>6.0445902885011025</c:v>
                </c:pt>
                <c:pt idx="4584">
                  <c:v>4.9767391195633603</c:v>
                </c:pt>
                <c:pt idx="4585">
                  <c:v>6.9965020072465283</c:v>
                </c:pt>
                <c:pt idx="4586">
                  <c:v>4.0847108495557887</c:v>
                </c:pt>
                <c:pt idx="4587">
                  <c:v>5.0278824071075841</c:v>
                </c:pt>
                <c:pt idx="4588">
                  <c:v>6.8925373019249978</c:v>
                </c:pt>
                <c:pt idx="4589">
                  <c:v>5.0393065565035453</c:v>
                </c:pt>
                <c:pt idx="4590">
                  <c:v>4.9968361443081601</c:v>
                </c:pt>
                <c:pt idx="4591">
                  <c:v>4.8352419199226535</c:v>
                </c:pt>
                <c:pt idx="4592">
                  <c:v>4.7999532233501139</c:v>
                </c:pt>
                <c:pt idx="4593">
                  <c:v>4.9927473665088087</c:v>
                </c:pt>
                <c:pt idx="4594">
                  <c:v>5.0354282032125628</c:v>
                </c:pt>
                <c:pt idx="4595">
                  <c:v>4.8914920098288448</c:v>
                </c:pt>
                <c:pt idx="4596">
                  <c:v>5.0362101482834989</c:v>
                </c:pt>
                <c:pt idx="4597">
                  <c:v>5.0773398566854278</c:v>
                </c:pt>
                <c:pt idx="4598">
                  <c:v>4.9398898466649328</c:v>
                </c:pt>
                <c:pt idx="4599">
                  <c:v>6.0181309897640443</c:v>
                </c:pt>
                <c:pt idx="4600">
                  <c:v>5.9690771770957722</c:v>
                </c:pt>
                <c:pt idx="4601">
                  <c:v>6.0634102159640708</c:v>
                </c:pt>
                <c:pt idx="4602">
                  <c:v>3.8281120535220845</c:v>
                </c:pt>
                <c:pt idx="4603">
                  <c:v>5.8282702443756218</c:v>
                </c:pt>
                <c:pt idx="4604">
                  <c:v>5.0199564038371456</c:v>
                </c:pt>
                <c:pt idx="4605">
                  <c:v>5.1691764369507229</c:v>
                </c:pt>
                <c:pt idx="4606">
                  <c:v>5.9928654747266972</c:v>
                </c:pt>
                <c:pt idx="4607">
                  <c:v>5.8746758431497001</c:v>
                </c:pt>
                <c:pt idx="4608">
                  <c:v>5.0793304119615961</c:v>
                </c:pt>
                <c:pt idx="4609">
                  <c:v>5.1237183592559115</c:v>
                </c:pt>
                <c:pt idx="4610">
                  <c:v>6.1280023990113799</c:v>
                </c:pt>
                <c:pt idx="4611">
                  <c:v>4.980121093578024</c:v>
                </c:pt>
                <c:pt idx="4612">
                  <c:v>5.1359763769404267</c:v>
                </c:pt>
                <c:pt idx="4613">
                  <c:v>5.9421002660233802</c:v>
                </c:pt>
                <c:pt idx="4614">
                  <c:v>4.0568202330497041</c:v>
                </c:pt>
                <c:pt idx="4615">
                  <c:v>4.9219049874494889</c:v>
                </c:pt>
                <c:pt idx="4616">
                  <c:v>6.9219899068676627</c:v>
                </c:pt>
                <c:pt idx="4617">
                  <c:v>4.8331351931009969</c:v>
                </c:pt>
                <c:pt idx="4618">
                  <c:v>5.9728077093664327</c:v>
                </c:pt>
                <c:pt idx="4619">
                  <c:v>5.0730273272765745</c:v>
                </c:pt>
                <c:pt idx="4620">
                  <c:v>6.0236869179455219</c:v>
                </c:pt>
                <c:pt idx="4621">
                  <c:v>5.9576154780920989</c:v>
                </c:pt>
                <c:pt idx="4622">
                  <c:v>4.8464307234825919</c:v>
                </c:pt>
                <c:pt idx="4623">
                  <c:v>3.0110575929625925</c:v>
                </c:pt>
                <c:pt idx="4624">
                  <c:v>5.9811174289779583</c:v>
                </c:pt>
                <c:pt idx="4625">
                  <c:v>4.0738400176168348</c:v>
                </c:pt>
                <c:pt idx="4626">
                  <c:v>4.854928344764323</c:v>
                </c:pt>
                <c:pt idx="4627">
                  <c:v>5.9395235392996142</c:v>
                </c:pt>
                <c:pt idx="4628">
                  <c:v>4.9014850426133707</c:v>
                </c:pt>
                <c:pt idx="4629">
                  <c:v>5.9023397088334892</c:v>
                </c:pt>
                <c:pt idx="4630">
                  <c:v>4.8599079497575586</c:v>
                </c:pt>
                <c:pt idx="4631">
                  <c:v>6.9588969874991786</c:v>
                </c:pt>
                <c:pt idx="4632">
                  <c:v>5.8137044025651701</c:v>
                </c:pt>
                <c:pt idx="4633">
                  <c:v>4.9359612637557317</c:v>
                </c:pt>
                <c:pt idx="4634">
                  <c:v>6.2847222764694051</c:v>
                </c:pt>
                <c:pt idx="4635">
                  <c:v>5.0626881218107922</c:v>
                </c:pt>
                <c:pt idx="4636">
                  <c:v>4.9634689959066689</c:v>
                </c:pt>
                <c:pt idx="4637">
                  <c:v>4.936990020073214</c:v>
                </c:pt>
                <c:pt idx="4638">
                  <c:v>5.9955514483111854</c:v>
                </c:pt>
                <c:pt idx="4639">
                  <c:v>5.0074125615470937</c:v>
                </c:pt>
                <c:pt idx="4640">
                  <c:v>6.0010511430357614</c:v>
                </c:pt>
                <c:pt idx="4641">
                  <c:v>5.0889404889736713</c:v>
                </c:pt>
                <c:pt idx="4642">
                  <c:v>6.0593206534830797</c:v>
                </c:pt>
                <c:pt idx="4643">
                  <c:v>4.1645748833277167</c:v>
                </c:pt>
                <c:pt idx="4644">
                  <c:v>5.0909997789237993</c:v>
                </c:pt>
                <c:pt idx="4645">
                  <c:v>6.9880138910765375</c:v>
                </c:pt>
                <c:pt idx="4646">
                  <c:v>4.9886475149356437</c:v>
                </c:pt>
                <c:pt idx="4647">
                  <c:v>6.0535168137853548</c:v>
                </c:pt>
                <c:pt idx="4648">
                  <c:v>4.8478871800368006</c:v>
                </c:pt>
                <c:pt idx="4649">
                  <c:v>6.0982912252267667</c:v>
                </c:pt>
                <c:pt idx="4650">
                  <c:v>4.9928799256021819</c:v>
                </c:pt>
                <c:pt idx="4651">
                  <c:v>5.2245651613534374</c:v>
                </c:pt>
                <c:pt idx="4652">
                  <c:v>5.9102384967185655</c:v>
                </c:pt>
                <c:pt idx="4653">
                  <c:v>5.0223789104958554</c:v>
                </c:pt>
                <c:pt idx="4654">
                  <c:v>6.0179770103728174</c:v>
                </c:pt>
                <c:pt idx="4655">
                  <c:v>5.9482324538323956</c:v>
                </c:pt>
                <c:pt idx="4656">
                  <c:v>5.7221088186205931</c:v>
                </c:pt>
                <c:pt idx="4657">
                  <c:v>4.946169038565964</c:v>
                </c:pt>
                <c:pt idx="4658">
                  <c:v>6.1907812342596671</c:v>
                </c:pt>
                <c:pt idx="4659">
                  <c:v>5.86206287327522</c:v>
                </c:pt>
                <c:pt idx="4660">
                  <c:v>5.8660867406517578</c:v>
                </c:pt>
                <c:pt idx="4661">
                  <c:v>5.0071824052265876</c:v>
                </c:pt>
                <c:pt idx="4662">
                  <c:v>4.9386816694086466</c:v>
                </c:pt>
                <c:pt idx="4663">
                  <c:v>5.9584715519688531</c:v>
                </c:pt>
                <c:pt idx="4664">
                  <c:v>5.1125991154836363</c:v>
                </c:pt>
                <c:pt idx="4665">
                  <c:v>5.0620171906644869</c:v>
                </c:pt>
                <c:pt idx="4666">
                  <c:v>3.8726031027464005</c:v>
                </c:pt>
                <c:pt idx="4667">
                  <c:v>5.0502714614475579</c:v>
                </c:pt>
                <c:pt idx="4668">
                  <c:v>6.0166263464269099</c:v>
                </c:pt>
                <c:pt idx="4669">
                  <c:v>5.00740398222921</c:v>
                </c:pt>
                <c:pt idx="4670">
                  <c:v>5.9413075472996431</c:v>
                </c:pt>
                <c:pt idx="4671">
                  <c:v>5.1975433876780608</c:v>
                </c:pt>
                <c:pt idx="4672">
                  <c:v>4.9294244920811492</c:v>
                </c:pt>
                <c:pt idx="4673">
                  <c:v>5.0067538575047807</c:v>
                </c:pt>
                <c:pt idx="4674">
                  <c:v>5.1105928571888857</c:v>
                </c:pt>
                <c:pt idx="4675">
                  <c:v>4.9227790802864444</c:v>
                </c:pt>
                <c:pt idx="4676">
                  <c:v>5.9837018815140537</c:v>
                </c:pt>
                <c:pt idx="4677">
                  <c:v>5.0303525830906128</c:v>
                </c:pt>
                <c:pt idx="4678">
                  <c:v>3.9727834138912965</c:v>
                </c:pt>
                <c:pt idx="4679">
                  <c:v>5.9242104339880326</c:v>
                </c:pt>
                <c:pt idx="4680">
                  <c:v>6.0105578472990455</c:v>
                </c:pt>
                <c:pt idx="4681">
                  <c:v>5.0492063192211685</c:v>
                </c:pt>
                <c:pt idx="4682">
                  <c:v>5.2038856879952027</c:v>
                </c:pt>
                <c:pt idx="4683">
                  <c:v>5.9605456443695966</c:v>
                </c:pt>
                <c:pt idx="4684">
                  <c:v>4.9428684728245385</c:v>
                </c:pt>
                <c:pt idx="4685">
                  <c:v>3.0811602771966777</c:v>
                </c:pt>
                <c:pt idx="4686">
                  <c:v>6.0351829367525065</c:v>
                </c:pt>
                <c:pt idx="4687">
                  <c:v>6.0136874442667745</c:v>
                </c:pt>
                <c:pt idx="4688">
                  <c:v>6.1429133408066736</c:v>
                </c:pt>
                <c:pt idx="4689">
                  <c:v>5.1674659902726647</c:v>
                </c:pt>
                <c:pt idx="4690">
                  <c:v>4.9158169486236361</c:v>
                </c:pt>
                <c:pt idx="4691">
                  <c:v>4.8999250701619133</c:v>
                </c:pt>
                <c:pt idx="4692">
                  <c:v>4.9534093227008835</c:v>
                </c:pt>
                <c:pt idx="4693">
                  <c:v>5.1071241627696118</c:v>
                </c:pt>
                <c:pt idx="4694">
                  <c:v>5.957720991842006</c:v>
                </c:pt>
                <c:pt idx="4695">
                  <c:v>4.1689103303500268</c:v>
                </c:pt>
                <c:pt idx="4696">
                  <c:v>5.7763883763692929</c:v>
                </c:pt>
                <c:pt idx="4697">
                  <c:v>6.005713730581876</c:v>
                </c:pt>
                <c:pt idx="4698">
                  <c:v>4.8507894248103769</c:v>
                </c:pt>
                <c:pt idx="4699">
                  <c:v>5.9605946573665447</c:v>
                </c:pt>
                <c:pt idx="4700">
                  <c:v>4.9745090588320293</c:v>
                </c:pt>
                <c:pt idx="4701">
                  <c:v>6.9759337085575321</c:v>
                </c:pt>
                <c:pt idx="4702">
                  <c:v>6.0272048168660337</c:v>
                </c:pt>
                <c:pt idx="4703">
                  <c:v>5.0780500683854131</c:v>
                </c:pt>
                <c:pt idx="4704">
                  <c:v>6.1873053487627327</c:v>
                </c:pt>
                <c:pt idx="4705">
                  <c:v>5.208483905370203</c:v>
                </c:pt>
                <c:pt idx="4706">
                  <c:v>5.1403915376455007</c:v>
                </c:pt>
                <c:pt idx="4707">
                  <c:v>5.0058090608652028</c:v>
                </c:pt>
                <c:pt idx="4708">
                  <c:v>4.925937340706926</c:v>
                </c:pt>
                <c:pt idx="4709">
                  <c:v>5.0038093236502101</c:v>
                </c:pt>
                <c:pt idx="4710">
                  <c:v>5.9110881702251676</c:v>
                </c:pt>
                <c:pt idx="4711">
                  <c:v>6.0399095640432208</c:v>
                </c:pt>
                <c:pt idx="4712">
                  <c:v>6.1451389695570686</c:v>
                </c:pt>
                <c:pt idx="4713">
                  <c:v>4.9448249004691123</c:v>
                </c:pt>
                <c:pt idx="4714">
                  <c:v>4.8313390700757992</c:v>
                </c:pt>
                <c:pt idx="4715">
                  <c:v>6.1184682849374141</c:v>
                </c:pt>
                <c:pt idx="4716">
                  <c:v>4.996375700659387</c:v>
                </c:pt>
                <c:pt idx="4717">
                  <c:v>6.047906694808999</c:v>
                </c:pt>
                <c:pt idx="4718">
                  <c:v>6.9925683284645173</c:v>
                </c:pt>
                <c:pt idx="4719">
                  <c:v>5.0969773405965908</c:v>
                </c:pt>
                <c:pt idx="4720">
                  <c:v>6.0064270067018013</c:v>
                </c:pt>
                <c:pt idx="4721">
                  <c:v>2.0475776868443525</c:v>
                </c:pt>
                <c:pt idx="4722">
                  <c:v>4.8396510018065015</c:v>
                </c:pt>
                <c:pt idx="4723">
                  <c:v>4.8740592625883759</c:v>
                </c:pt>
                <c:pt idx="4724">
                  <c:v>5.0290092329852891</c:v>
                </c:pt>
                <c:pt idx="4725">
                  <c:v>5.1615250367175438</c:v>
                </c:pt>
                <c:pt idx="4726">
                  <c:v>5.9916626300226712</c:v>
                </c:pt>
                <c:pt idx="4727">
                  <c:v>4.9707454800195245</c:v>
                </c:pt>
                <c:pt idx="4728">
                  <c:v>6.0089695576348632</c:v>
                </c:pt>
                <c:pt idx="4729">
                  <c:v>4.9806054014602816</c:v>
                </c:pt>
                <c:pt idx="4730">
                  <c:v>4.9558184884529171</c:v>
                </c:pt>
                <c:pt idx="4731">
                  <c:v>5.9056571577269832</c:v>
                </c:pt>
                <c:pt idx="4732">
                  <c:v>6.0108119337735513</c:v>
                </c:pt>
                <c:pt idx="4733">
                  <c:v>5.0155706370113124</c:v>
                </c:pt>
                <c:pt idx="4734">
                  <c:v>4.9947503314879924</c:v>
                </c:pt>
                <c:pt idx="4735">
                  <c:v>5.1289621075152247</c:v>
                </c:pt>
                <c:pt idx="4736">
                  <c:v>4.9533964504686265</c:v>
                </c:pt>
                <c:pt idx="4737">
                  <c:v>6.0462178867833645</c:v>
                </c:pt>
                <c:pt idx="4738">
                  <c:v>5.051507524139792</c:v>
                </c:pt>
                <c:pt idx="4739">
                  <c:v>5.8642773976933738</c:v>
                </c:pt>
                <c:pt idx="4740">
                  <c:v>4.9330773042958347</c:v>
                </c:pt>
                <c:pt idx="4741">
                  <c:v>5.0244158398450525</c:v>
                </c:pt>
                <c:pt idx="4742">
                  <c:v>5.0984287129727477</c:v>
                </c:pt>
                <c:pt idx="4743">
                  <c:v>5.8384210205342315</c:v>
                </c:pt>
                <c:pt idx="4744">
                  <c:v>5.8615906020423481</c:v>
                </c:pt>
                <c:pt idx="4745">
                  <c:v>6.0374410001208663</c:v>
                </c:pt>
                <c:pt idx="4746">
                  <c:v>7.1364037111289838</c:v>
                </c:pt>
                <c:pt idx="4747">
                  <c:v>5.9919810913090412</c:v>
                </c:pt>
                <c:pt idx="4748">
                  <c:v>4.9347636033798778</c:v>
                </c:pt>
                <c:pt idx="4749">
                  <c:v>5.0830996821375392</c:v>
                </c:pt>
                <c:pt idx="4750">
                  <c:v>5.900668594061802</c:v>
                </c:pt>
                <c:pt idx="4751">
                  <c:v>4.8629749816425933</c:v>
                </c:pt>
                <c:pt idx="4752">
                  <c:v>5.9073664105909733</c:v>
                </c:pt>
                <c:pt idx="4753">
                  <c:v>5.8537629302954262</c:v>
                </c:pt>
                <c:pt idx="4754">
                  <c:v>6.8574031011177574</c:v>
                </c:pt>
                <c:pt idx="4755">
                  <c:v>7.092771796918993</c:v>
                </c:pt>
                <c:pt idx="4756">
                  <c:v>6.0495965985140305</c:v>
                </c:pt>
                <c:pt idx="4757">
                  <c:v>4.9008683416815835</c:v>
                </c:pt>
                <c:pt idx="4758">
                  <c:v>4.9598487157606517</c:v>
                </c:pt>
                <c:pt idx="4759">
                  <c:v>3.7861809160641506</c:v>
                </c:pt>
                <c:pt idx="4760">
                  <c:v>6.0256618829814386</c:v>
                </c:pt>
                <c:pt idx="4761">
                  <c:v>5.0644875653213122</c:v>
                </c:pt>
                <c:pt idx="4762">
                  <c:v>6.012229577066754</c:v>
                </c:pt>
                <c:pt idx="4763">
                  <c:v>5.1328074250676421</c:v>
                </c:pt>
                <c:pt idx="4764">
                  <c:v>5.993710458233509</c:v>
                </c:pt>
                <c:pt idx="4765">
                  <c:v>4.8514313468405215</c:v>
                </c:pt>
                <c:pt idx="4766">
                  <c:v>5.0795531544485959</c:v>
                </c:pt>
                <c:pt idx="4767">
                  <c:v>5.0341446680279569</c:v>
                </c:pt>
                <c:pt idx="4768">
                  <c:v>6.0112551174021185</c:v>
                </c:pt>
                <c:pt idx="4769">
                  <c:v>4.0383262059962313</c:v>
                </c:pt>
                <c:pt idx="4770">
                  <c:v>5.0837051383424718</c:v>
                </c:pt>
                <c:pt idx="4771">
                  <c:v>5.0504669423152366</c:v>
                </c:pt>
                <c:pt idx="4772">
                  <c:v>6.0203919433822568</c:v>
                </c:pt>
                <c:pt idx="4773">
                  <c:v>4.8696205840388744</c:v>
                </c:pt>
                <c:pt idx="4774">
                  <c:v>5.0992339149013963</c:v>
                </c:pt>
                <c:pt idx="4775">
                  <c:v>4.9934673103307698</c:v>
                </c:pt>
                <c:pt idx="4776">
                  <c:v>6.1584809304570447</c:v>
                </c:pt>
                <c:pt idx="4777">
                  <c:v>4.0894269516043371</c:v>
                </c:pt>
                <c:pt idx="4778">
                  <c:v>5.7542040723655017</c:v>
                </c:pt>
                <c:pt idx="4779">
                  <c:v>5.0635067294713476</c:v>
                </c:pt>
                <c:pt idx="4780">
                  <c:v>6.1019530721723942</c:v>
                </c:pt>
                <c:pt idx="4781">
                  <c:v>5.0747307473693652</c:v>
                </c:pt>
                <c:pt idx="4782">
                  <c:v>6.1325091321199245</c:v>
                </c:pt>
                <c:pt idx="4783">
                  <c:v>5.035227318218074</c:v>
                </c:pt>
                <c:pt idx="4784">
                  <c:v>5.0357162727225724</c:v>
                </c:pt>
                <c:pt idx="4785">
                  <c:v>5.926202696498617</c:v>
                </c:pt>
                <c:pt idx="4786">
                  <c:v>5.0888707649002889</c:v>
                </c:pt>
                <c:pt idx="4787">
                  <c:v>6.1236918325638259</c:v>
                </c:pt>
                <c:pt idx="4788">
                  <c:v>4.9585743626078012</c:v>
                </c:pt>
                <c:pt idx="4789">
                  <c:v>5.8291905169799154</c:v>
                </c:pt>
                <c:pt idx="4790">
                  <c:v>5.0253042219640411</c:v>
                </c:pt>
                <c:pt idx="4791">
                  <c:v>5.9918087903918824</c:v>
                </c:pt>
                <c:pt idx="4792">
                  <c:v>6.1004807913363912</c:v>
                </c:pt>
                <c:pt idx="4793">
                  <c:v>4.8820337496144397</c:v>
                </c:pt>
                <c:pt idx="4794">
                  <c:v>5.0004818939615987</c:v>
                </c:pt>
                <c:pt idx="4795">
                  <c:v>6.0279798075412323</c:v>
                </c:pt>
                <c:pt idx="4796">
                  <c:v>4.1109272980030758</c:v>
                </c:pt>
                <c:pt idx="4797">
                  <c:v>5.1376517558276262</c:v>
                </c:pt>
                <c:pt idx="4798">
                  <c:v>4.9656861325245503</c:v>
                </c:pt>
                <c:pt idx="4799">
                  <c:v>6.0912765934629176</c:v>
                </c:pt>
                <c:pt idx="4800">
                  <c:v>5.1642615972629144</c:v>
                </c:pt>
                <c:pt idx="4801">
                  <c:v>5.010605236929436</c:v>
                </c:pt>
                <c:pt idx="4802">
                  <c:v>6.8849882585484439</c:v>
                </c:pt>
                <c:pt idx="4803">
                  <c:v>5.0683277954346613</c:v>
                </c:pt>
                <c:pt idx="4804">
                  <c:v>7.0807544300094687</c:v>
                </c:pt>
                <c:pt idx="4805">
                  <c:v>4.9473988727117941</c:v>
                </c:pt>
                <c:pt idx="4806">
                  <c:v>5.8126281835279121</c:v>
                </c:pt>
                <c:pt idx="4807">
                  <c:v>6.0593120034743482</c:v>
                </c:pt>
                <c:pt idx="4808">
                  <c:v>6.0922978649314823</c:v>
                </c:pt>
                <c:pt idx="4809">
                  <c:v>5.9932182020721418</c:v>
                </c:pt>
                <c:pt idx="4810">
                  <c:v>5.8961017114685932</c:v>
                </c:pt>
                <c:pt idx="4811">
                  <c:v>6.0036234149991907</c:v>
                </c:pt>
                <c:pt idx="4812">
                  <c:v>4.8918649980115623</c:v>
                </c:pt>
                <c:pt idx="4813">
                  <c:v>6.1050978726517178</c:v>
                </c:pt>
                <c:pt idx="4814">
                  <c:v>5.8632239855899755</c:v>
                </c:pt>
                <c:pt idx="4815">
                  <c:v>5.9033319678345801</c:v>
                </c:pt>
                <c:pt idx="4816">
                  <c:v>5.9601331027517102</c:v>
                </c:pt>
                <c:pt idx="4817">
                  <c:v>4.9117036655531594</c:v>
                </c:pt>
                <c:pt idx="4818">
                  <c:v>4.9690165154601837</c:v>
                </c:pt>
                <c:pt idx="4819">
                  <c:v>5.0769355722684493</c:v>
                </c:pt>
                <c:pt idx="4820">
                  <c:v>7.0485868540482262</c:v>
                </c:pt>
                <c:pt idx="4821">
                  <c:v>7.0012667835904123</c:v>
                </c:pt>
                <c:pt idx="4822">
                  <c:v>5.1107516391469821</c:v>
                </c:pt>
                <c:pt idx="4823">
                  <c:v>5.04740438577414</c:v>
                </c:pt>
                <c:pt idx="4824">
                  <c:v>5.9310505286108244</c:v>
                </c:pt>
                <c:pt idx="4825">
                  <c:v>4.8688383240798636</c:v>
                </c:pt>
                <c:pt idx="4826">
                  <c:v>5.0054591697999644</c:v>
                </c:pt>
                <c:pt idx="4827">
                  <c:v>6.28325372009588</c:v>
                </c:pt>
                <c:pt idx="4828">
                  <c:v>6.0168807864841733</c:v>
                </c:pt>
                <c:pt idx="4829">
                  <c:v>4.9150170005060989</c:v>
                </c:pt>
                <c:pt idx="4830">
                  <c:v>6.0513444254888089</c:v>
                </c:pt>
                <c:pt idx="4831">
                  <c:v>4.9108347975771114</c:v>
                </c:pt>
                <c:pt idx="4832">
                  <c:v>5.9023781379923292</c:v>
                </c:pt>
                <c:pt idx="4833">
                  <c:v>5.0682401169138283</c:v>
                </c:pt>
                <c:pt idx="4834">
                  <c:v>5.9431380264515896</c:v>
                </c:pt>
                <c:pt idx="4835">
                  <c:v>5.9541327708482887</c:v>
                </c:pt>
                <c:pt idx="4836">
                  <c:v>4.0403295810831494</c:v>
                </c:pt>
                <c:pt idx="4837">
                  <c:v>5.0940779609305471</c:v>
                </c:pt>
                <c:pt idx="4838">
                  <c:v>4.9810082621649689</c:v>
                </c:pt>
                <c:pt idx="4839">
                  <c:v>4.9403917588098594</c:v>
                </c:pt>
                <c:pt idx="4840">
                  <c:v>5.9254167714328823</c:v>
                </c:pt>
                <c:pt idx="4841">
                  <c:v>5.0221656742596705</c:v>
                </c:pt>
                <c:pt idx="4842">
                  <c:v>5.9471181657269643</c:v>
                </c:pt>
                <c:pt idx="4843">
                  <c:v>5.2367064022204994</c:v>
                </c:pt>
                <c:pt idx="4844">
                  <c:v>5.9044433608778757</c:v>
                </c:pt>
                <c:pt idx="4845">
                  <c:v>5.0080030047203987</c:v>
                </c:pt>
                <c:pt idx="4846">
                  <c:v>7.0050933976671201</c:v>
                </c:pt>
                <c:pt idx="4847">
                  <c:v>3.8090424766872872</c:v>
                </c:pt>
                <c:pt idx="4848">
                  <c:v>3.8925906431000445</c:v>
                </c:pt>
                <c:pt idx="4849">
                  <c:v>3.9132672098840127</c:v>
                </c:pt>
                <c:pt idx="4850">
                  <c:v>3.9600078963142744</c:v>
                </c:pt>
                <c:pt idx="4851">
                  <c:v>3.9395082333853799</c:v>
                </c:pt>
                <c:pt idx="4852">
                  <c:v>4.1855695969566034</c:v>
                </c:pt>
                <c:pt idx="4853">
                  <c:v>4.0238897920135184</c:v>
                </c:pt>
                <c:pt idx="4854">
                  <c:v>4.1544836135091243</c:v>
                </c:pt>
                <c:pt idx="4855">
                  <c:v>4.0947245036027704</c:v>
                </c:pt>
                <c:pt idx="4856">
                  <c:v>3.8550364527655527</c:v>
                </c:pt>
                <c:pt idx="4857">
                  <c:v>5.8396633617012217</c:v>
                </c:pt>
                <c:pt idx="4858">
                  <c:v>4.9327396343613303</c:v>
                </c:pt>
                <c:pt idx="4859">
                  <c:v>5.008399117092484</c:v>
                </c:pt>
                <c:pt idx="4860">
                  <c:v>4.9081039637646811</c:v>
                </c:pt>
                <c:pt idx="4861">
                  <c:v>4.8234567092316736</c:v>
                </c:pt>
                <c:pt idx="4862">
                  <c:v>5.8497366048149955</c:v>
                </c:pt>
                <c:pt idx="4863">
                  <c:v>6.001339654508044</c:v>
                </c:pt>
                <c:pt idx="4864">
                  <c:v>5.0370171831695485</c:v>
                </c:pt>
                <c:pt idx="4865">
                  <c:v>4.9002890040985765</c:v>
                </c:pt>
                <c:pt idx="4866">
                  <c:v>4.9105248389943981</c:v>
                </c:pt>
                <c:pt idx="4867">
                  <c:v>5.8857774089816584</c:v>
                </c:pt>
                <c:pt idx="4868">
                  <c:v>7.0460948818630555</c:v>
                </c:pt>
                <c:pt idx="4869">
                  <c:v>4.9098175988800072</c:v>
                </c:pt>
                <c:pt idx="4870">
                  <c:v>4.9491891116039817</c:v>
                </c:pt>
                <c:pt idx="4871">
                  <c:v>5.99276709975803</c:v>
                </c:pt>
                <c:pt idx="4872">
                  <c:v>5.9384142823992025</c:v>
                </c:pt>
                <c:pt idx="4873">
                  <c:v>5.8542995259491697</c:v>
                </c:pt>
                <c:pt idx="4874">
                  <c:v>4.9104007136908274</c:v>
                </c:pt>
                <c:pt idx="4875">
                  <c:v>5.06725413078461</c:v>
                </c:pt>
                <c:pt idx="4876">
                  <c:v>6.1615771142154117</c:v>
                </c:pt>
                <c:pt idx="4877">
                  <c:v>4.9581963758894876</c:v>
                </c:pt>
                <c:pt idx="4878">
                  <c:v>4.8051001117007077</c:v>
                </c:pt>
                <c:pt idx="4879">
                  <c:v>4.6814781603275675</c:v>
                </c:pt>
                <c:pt idx="4880">
                  <c:v>3.9400223252959083</c:v>
                </c:pt>
                <c:pt idx="4881">
                  <c:v>6.0112289369128522</c:v>
                </c:pt>
                <c:pt idx="4882">
                  <c:v>4.9418282779829061</c:v>
                </c:pt>
                <c:pt idx="4883">
                  <c:v>5.924999531479556</c:v>
                </c:pt>
                <c:pt idx="4884">
                  <c:v>4.9562258806367465</c:v>
                </c:pt>
                <c:pt idx="4885">
                  <c:v>4.9297455245148534</c:v>
                </c:pt>
                <c:pt idx="4886">
                  <c:v>4.981233315175138</c:v>
                </c:pt>
                <c:pt idx="4887">
                  <c:v>3.9940940159272791</c:v>
                </c:pt>
                <c:pt idx="4888">
                  <c:v>5.8854029799368046</c:v>
                </c:pt>
                <c:pt idx="4889">
                  <c:v>6.0257172076340151</c:v>
                </c:pt>
                <c:pt idx="4890">
                  <c:v>4.8575668806564662</c:v>
                </c:pt>
                <c:pt idx="4891">
                  <c:v>4.9323326226265118</c:v>
                </c:pt>
                <c:pt idx="4892">
                  <c:v>4.9986312443085268</c:v>
                </c:pt>
                <c:pt idx="4893">
                  <c:v>5.2053249422406473</c:v>
                </c:pt>
                <c:pt idx="4894">
                  <c:v>5.9029036172151956</c:v>
                </c:pt>
                <c:pt idx="4895">
                  <c:v>4.8566413436828437</c:v>
                </c:pt>
                <c:pt idx="4896">
                  <c:v>5.098620213188287</c:v>
                </c:pt>
                <c:pt idx="4897">
                  <c:v>5.0206033545961581</c:v>
                </c:pt>
                <c:pt idx="4898">
                  <c:v>5.1117301155809809</c:v>
                </c:pt>
                <c:pt idx="4899">
                  <c:v>4.8761867520321962</c:v>
                </c:pt>
                <c:pt idx="4900">
                  <c:v>4.8940190605800371</c:v>
                </c:pt>
                <c:pt idx="4901">
                  <c:v>4.9517803624183268</c:v>
                </c:pt>
                <c:pt idx="4902">
                  <c:v>4.9971737917251691</c:v>
                </c:pt>
                <c:pt idx="4903">
                  <c:v>5.775671886986018</c:v>
                </c:pt>
                <c:pt idx="4904">
                  <c:v>5.0274182625618362</c:v>
                </c:pt>
                <c:pt idx="4905">
                  <c:v>5.2409062729559199</c:v>
                </c:pt>
                <c:pt idx="4906">
                  <c:v>7.1203772052773342</c:v>
                </c:pt>
                <c:pt idx="4907">
                  <c:v>7.1618207681544508</c:v>
                </c:pt>
                <c:pt idx="4908">
                  <c:v>5.0890874236356272</c:v>
                </c:pt>
                <c:pt idx="4909">
                  <c:v>5.1359917239546524</c:v>
                </c:pt>
                <c:pt idx="4910">
                  <c:v>6.8776437409297735</c:v>
                </c:pt>
                <c:pt idx="4911">
                  <c:v>5.0026620012758727</c:v>
                </c:pt>
                <c:pt idx="4912">
                  <c:v>6.8501098035981594</c:v>
                </c:pt>
                <c:pt idx="4913">
                  <c:v>6.9825881821777473</c:v>
                </c:pt>
                <c:pt idx="4914">
                  <c:v>4.9961147468467537</c:v>
                </c:pt>
                <c:pt idx="4915">
                  <c:v>5.1360971367484574</c:v>
                </c:pt>
                <c:pt idx="4916">
                  <c:v>7.0021881082186015</c:v>
                </c:pt>
                <c:pt idx="4917">
                  <c:v>7.1239904485459675</c:v>
                </c:pt>
                <c:pt idx="4918">
                  <c:v>5.1867291500258679</c:v>
                </c:pt>
                <c:pt idx="4919">
                  <c:v>7.0846459922260054</c:v>
                </c:pt>
                <c:pt idx="4920">
                  <c:v>6.9733899891254154</c:v>
                </c:pt>
                <c:pt idx="4921">
                  <c:v>7.1069277447918626</c:v>
                </c:pt>
                <c:pt idx="4922">
                  <c:v>4.9544045749616616</c:v>
                </c:pt>
                <c:pt idx="4923">
                  <c:v>6.9746170066564863</c:v>
                </c:pt>
                <c:pt idx="4924">
                  <c:v>4.8744403001346903</c:v>
                </c:pt>
                <c:pt idx="4925">
                  <c:v>7.1923735127019714</c:v>
                </c:pt>
                <c:pt idx="4926">
                  <c:v>4.9132486306401804</c:v>
                </c:pt>
                <c:pt idx="4927">
                  <c:v>5.0129196248476644</c:v>
                </c:pt>
                <c:pt idx="4928">
                  <c:v>5.0578194985364373</c:v>
                </c:pt>
                <c:pt idx="4929">
                  <c:v>7.0167338201798861</c:v>
                </c:pt>
                <c:pt idx="4930">
                  <c:v>6.1051710799684571</c:v>
                </c:pt>
                <c:pt idx="4931">
                  <c:v>5.0726431475399014</c:v>
                </c:pt>
                <c:pt idx="4932">
                  <c:v>6.1070785054559344</c:v>
                </c:pt>
                <c:pt idx="4933">
                  <c:v>6.1342247574966304</c:v>
                </c:pt>
                <c:pt idx="4934">
                  <c:v>6.0304875600014904</c:v>
                </c:pt>
                <c:pt idx="4935">
                  <c:v>5.9714237269532022</c:v>
                </c:pt>
                <c:pt idx="4936">
                  <c:v>5.9911766111256819</c:v>
                </c:pt>
                <c:pt idx="4937">
                  <c:v>6.068484098436806</c:v>
                </c:pt>
                <c:pt idx="4938">
                  <c:v>6.0440052511656139</c:v>
                </c:pt>
                <c:pt idx="4939">
                  <c:v>6.2484127562169967</c:v>
                </c:pt>
                <c:pt idx="4940">
                  <c:v>2.9956115445707994</c:v>
                </c:pt>
                <c:pt idx="4941">
                  <c:v>5.0490530030599023</c:v>
                </c:pt>
                <c:pt idx="4942">
                  <c:v>5.9214368591059605</c:v>
                </c:pt>
                <c:pt idx="4943">
                  <c:v>4.9829211504808564</c:v>
                </c:pt>
                <c:pt idx="4944">
                  <c:v>4.9733764254809643</c:v>
                </c:pt>
                <c:pt idx="4945">
                  <c:v>4.897401769793178</c:v>
                </c:pt>
                <c:pt idx="4946">
                  <c:v>6.0109331246191937</c:v>
                </c:pt>
                <c:pt idx="4947">
                  <c:v>4.9374987409347053</c:v>
                </c:pt>
                <c:pt idx="4948">
                  <c:v>4.8897929063285526</c:v>
                </c:pt>
                <c:pt idx="4949">
                  <c:v>5.9200144867667825</c:v>
                </c:pt>
                <c:pt idx="4950">
                  <c:v>4.9709230853889483</c:v>
                </c:pt>
                <c:pt idx="4951">
                  <c:v>6.0395322145610564</c:v>
                </c:pt>
                <c:pt idx="4952">
                  <c:v>5.947014749341915</c:v>
                </c:pt>
                <c:pt idx="4953">
                  <c:v>6.2108330150961528</c:v>
                </c:pt>
                <c:pt idx="4954">
                  <c:v>3.9363179513313145</c:v>
                </c:pt>
                <c:pt idx="4955">
                  <c:v>6.1521669055326944</c:v>
                </c:pt>
                <c:pt idx="4956">
                  <c:v>4.0556803931193848</c:v>
                </c:pt>
                <c:pt idx="4957">
                  <c:v>6.0331573368889009</c:v>
                </c:pt>
                <c:pt idx="4958">
                  <c:v>6.1096134591035147</c:v>
                </c:pt>
                <c:pt idx="4959">
                  <c:v>6.0520049687075375</c:v>
                </c:pt>
                <c:pt idx="4960">
                  <c:v>5.0602625019116303</c:v>
                </c:pt>
                <c:pt idx="4961">
                  <c:v>5.0449449309169978</c:v>
                </c:pt>
                <c:pt idx="4962">
                  <c:v>6.0783886969793626</c:v>
                </c:pt>
                <c:pt idx="4963">
                  <c:v>5.9480200200516222</c:v>
                </c:pt>
                <c:pt idx="4964">
                  <c:v>5.104176145375356</c:v>
                </c:pt>
                <c:pt idx="4965">
                  <c:v>4.9687570607046334</c:v>
                </c:pt>
                <c:pt idx="4966">
                  <c:v>5.1078203707442249</c:v>
                </c:pt>
                <c:pt idx="4967">
                  <c:v>6.1332995631905005</c:v>
                </c:pt>
                <c:pt idx="4968">
                  <c:v>5.0147712039340924</c:v>
                </c:pt>
                <c:pt idx="4969">
                  <c:v>7.1084734979424882</c:v>
                </c:pt>
                <c:pt idx="4970">
                  <c:v>5.9298224194350402</c:v>
                </c:pt>
                <c:pt idx="4971">
                  <c:v>6.04119553849746</c:v>
                </c:pt>
                <c:pt idx="4972">
                  <c:v>6.2047947795964413</c:v>
                </c:pt>
                <c:pt idx="4973">
                  <c:v>6.0668458325827146</c:v>
                </c:pt>
                <c:pt idx="4974">
                  <c:v>5.0480089822551957</c:v>
                </c:pt>
                <c:pt idx="4975">
                  <c:v>5.0069799528089742</c:v>
                </c:pt>
                <c:pt idx="4976">
                  <c:v>5.9178193222249105</c:v>
                </c:pt>
                <c:pt idx="4977">
                  <c:v>6.0687380368629302</c:v>
                </c:pt>
                <c:pt idx="4978">
                  <c:v>5.0196346800800331</c:v>
                </c:pt>
                <c:pt idx="4979">
                  <c:v>5.949392015025972</c:v>
                </c:pt>
                <c:pt idx="4980">
                  <c:v>6.0742287024083543</c:v>
                </c:pt>
                <c:pt idx="4981">
                  <c:v>6.0198111933180751</c:v>
                </c:pt>
                <c:pt idx="4982">
                  <c:v>4.9385315337034283</c:v>
                </c:pt>
                <c:pt idx="4983">
                  <c:v>6.0012190571661943</c:v>
                </c:pt>
                <c:pt idx="4984">
                  <c:v>5.0660141249195405</c:v>
                </c:pt>
                <c:pt idx="4985">
                  <c:v>6.0466642786930045</c:v>
                </c:pt>
                <c:pt idx="4986">
                  <c:v>5.8081879601445081</c:v>
                </c:pt>
                <c:pt idx="4987">
                  <c:v>5.7938534454397947</c:v>
                </c:pt>
                <c:pt idx="4988">
                  <c:v>6.1028960911498595</c:v>
                </c:pt>
                <c:pt idx="4989">
                  <c:v>5.993373595116636</c:v>
                </c:pt>
                <c:pt idx="4990">
                  <c:v>5.0818514243959072</c:v>
                </c:pt>
                <c:pt idx="4991">
                  <c:v>4.9407883843325529</c:v>
                </c:pt>
                <c:pt idx="4992">
                  <c:v>5.0404661019290504</c:v>
                </c:pt>
                <c:pt idx="4993">
                  <c:v>5.1084198280314439</c:v>
                </c:pt>
                <c:pt idx="4994">
                  <c:v>7.089676982685571</c:v>
                </c:pt>
                <c:pt idx="4995">
                  <c:v>6.1157804501538422</c:v>
                </c:pt>
                <c:pt idx="4996">
                  <c:v>4.9729840491265342</c:v>
                </c:pt>
                <c:pt idx="4997">
                  <c:v>5.134856975456116</c:v>
                </c:pt>
                <c:pt idx="4998">
                  <c:v>6.0119280802206045</c:v>
                </c:pt>
                <c:pt idx="4999">
                  <c:v>5.9910910414379366</c:v>
                </c:pt>
                <c:pt idx="5000">
                  <c:v>4.9545596400861305</c:v>
                </c:pt>
                <c:pt idx="5001">
                  <c:v>5.8651430845996551</c:v>
                </c:pt>
                <c:pt idx="5002">
                  <c:v>5.011249876337768</c:v>
                </c:pt>
                <c:pt idx="5003">
                  <c:v>6.0293446243366597</c:v>
                </c:pt>
                <c:pt idx="5004">
                  <c:v>5.9457184313325433</c:v>
                </c:pt>
                <c:pt idx="5005">
                  <c:v>5.0539993686834679</c:v>
                </c:pt>
                <c:pt idx="5006">
                  <c:v>4.9148020141253923</c:v>
                </c:pt>
                <c:pt idx="5007">
                  <c:v>6.9609395163065866</c:v>
                </c:pt>
                <c:pt idx="5008">
                  <c:v>6.0683318365021313</c:v>
                </c:pt>
                <c:pt idx="5009">
                  <c:v>5.0328386876135385</c:v>
                </c:pt>
                <c:pt idx="5010">
                  <c:v>6.0406635022997515</c:v>
                </c:pt>
                <c:pt idx="5011">
                  <c:v>6.0686979083783612</c:v>
                </c:pt>
                <c:pt idx="5012">
                  <c:v>6.0978993511118276</c:v>
                </c:pt>
                <c:pt idx="5013">
                  <c:v>3.8581762440208278</c:v>
                </c:pt>
                <c:pt idx="5014">
                  <c:v>5.9120115930726493</c:v>
                </c:pt>
                <c:pt idx="5015">
                  <c:v>5.9308429031283074</c:v>
                </c:pt>
                <c:pt idx="5016">
                  <c:v>5.0792510042345649</c:v>
                </c:pt>
                <c:pt idx="5017">
                  <c:v>6.0269228920082432</c:v>
                </c:pt>
                <c:pt idx="5018">
                  <c:v>5.0303823191177708</c:v>
                </c:pt>
                <c:pt idx="5019">
                  <c:v>4.9524370794350334</c:v>
                </c:pt>
                <c:pt idx="5020">
                  <c:v>6.071143199162246</c:v>
                </c:pt>
                <c:pt idx="5021">
                  <c:v>5.0468022959247358</c:v>
                </c:pt>
                <c:pt idx="5022">
                  <c:v>6.1811779681666223</c:v>
                </c:pt>
                <c:pt idx="5023">
                  <c:v>5.8653496159212102</c:v>
                </c:pt>
                <c:pt idx="5024">
                  <c:v>6.1298602470861905</c:v>
                </c:pt>
                <c:pt idx="5025">
                  <c:v>5.9850013650620912</c:v>
                </c:pt>
                <c:pt idx="5026">
                  <c:v>4.8465764400374791</c:v>
                </c:pt>
                <c:pt idx="5027">
                  <c:v>5.9946633144354973</c:v>
                </c:pt>
                <c:pt idx="5028">
                  <c:v>6.0960435182371846</c:v>
                </c:pt>
                <c:pt idx="5029">
                  <c:v>5.9648964344176099</c:v>
                </c:pt>
                <c:pt idx="5030">
                  <c:v>6.1116378857966982</c:v>
                </c:pt>
                <c:pt idx="5031">
                  <c:v>5.7070466395653714</c:v>
                </c:pt>
                <c:pt idx="5032">
                  <c:v>5.0199486436171279</c:v>
                </c:pt>
                <c:pt idx="5033">
                  <c:v>6.0786226353268278</c:v>
                </c:pt>
                <c:pt idx="5034">
                  <c:v>4.009445693148578</c:v>
                </c:pt>
                <c:pt idx="5035">
                  <c:v>5.9587795546441003</c:v>
                </c:pt>
                <c:pt idx="5036">
                  <c:v>5.9926271602356573</c:v>
                </c:pt>
                <c:pt idx="5037">
                  <c:v>6.0055593097644051</c:v>
                </c:pt>
                <c:pt idx="5038">
                  <c:v>6.2457191284954838</c:v>
                </c:pt>
                <c:pt idx="5039">
                  <c:v>5.922775525645136</c:v>
                </c:pt>
                <c:pt idx="5040">
                  <c:v>6.029530543759428</c:v>
                </c:pt>
                <c:pt idx="5041">
                  <c:v>5.0353378471504575</c:v>
                </c:pt>
                <c:pt idx="5042">
                  <c:v>5.9767835657256203</c:v>
                </c:pt>
                <c:pt idx="5043">
                  <c:v>5.9687695921866153</c:v>
                </c:pt>
                <c:pt idx="5044">
                  <c:v>5.9586945790745149</c:v>
                </c:pt>
                <c:pt idx="5045">
                  <c:v>5.0254555914876082</c:v>
                </c:pt>
                <c:pt idx="5046">
                  <c:v>5.7995000735265085</c:v>
                </c:pt>
                <c:pt idx="5047">
                  <c:v>5.9671937138107385</c:v>
                </c:pt>
                <c:pt idx="5048">
                  <c:v>5.9448547825255025</c:v>
                </c:pt>
                <c:pt idx="5049">
                  <c:v>4.9743068558988623</c:v>
                </c:pt>
                <c:pt idx="5050">
                  <c:v>6.066651614989345</c:v>
                </c:pt>
                <c:pt idx="5051">
                  <c:v>6.2610251606965415</c:v>
                </c:pt>
                <c:pt idx="5052">
                  <c:v>5.9403433391045457</c:v>
                </c:pt>
                <c:pt idx="5053">
                  <c:v>5.9155208078203811</c:v>
                </c:pt>
                <c:pt idx="5054">
                  <c:v>5.0462245729909201</c:v>
                </c:pt>
                <c:pt idx="5055">
                  <c:v>6.0123482450790959</c:v>
                </c:pt>
                <c:pt idx="5056">
                  <c:v>6.1946960969361182</c:v>
                </c:pt>
                <c:pt idx="5057">
                  <c:v>5.9730915289890234</c:v>
                </c:pt>
                <c:pt idx="5058">
                  <c:v>5.1150625101268945</c:v>
                </c:pt>
                <c:pt idx="5059">
                  <c:v>7.1754260668771961</c:v>
                </c:pt>
                <c:pt idx="5060">
                  <c:v>6.1068579299054218</c:v>
                </c:pt>
                <c:pt idx="5061">
                  <c:v>6.0216116697679158</c:v>
                </c:pt>
                <c:pt idx="5062">
                  <c:v>4.9005411630220541</c:v>
                </c:pt>
                <c:pt idx="5063">
                  <c:v>6.0334805543666032</c:v>
                </c:pt>
                <c:pt idx="5064">
                  <c:v>5.0938395637805867</c:v>
                </c:pt>
                <c:pt idx="5065">
                  <c:v>6.1112638698907045</c:v>
                </c:pt>
                <c:pt idx="5066">
                  <c:v>4.9996037305463528</c:v>
                </c:pt>
                <c:pt idx="5067">
                  <c:v>6.0088612974706264</c:v>
                </c:pt>
                <c:pt idx="5068">
                  <c:v>4.9947612645633352</c:v>
                </c:pt>
                <c:pt idx="5069">
                  <c:v>5.0334258579452653</c:v>
                </c:pt>
                <c:pt idx="5070">
                  <c:v>5.0317866196551462</c:v>
                </c:pt>
                <c:pt idx="5071">
                  <c:v>6.0341280056389053</c:v>
                </c:pt>
                <c:pt idx="5072">
                  <c:v>5.782085709291902</c:v>
                </c:pt>
                <c:pt idx="5073">
                  <c:v>6.0380662051118517</c:v>
                </c:pt>
                <c:pt idx="5074">
                  <c:v>5.9017333770187363</c:v>
                </c:pt>
                <c:pt idx="5075">
                  <c:v>4.7898342506174068</c:v>
                </c:pt>
                <c:pt idx="5076">
                  <c:v>4.9269076348188428</c:v>
                </c:pt>
                <c:pt idx="5077">
                  <c:v>6.9914972096573651</c:v>
                </c:pt>
                <c:pt idx="5078">
                  <c:v>5.0703580237584243</c:v>
                </c:pt>
                <c:pt idx="5079">
                  <c:v>5.1292516040849723</c:v>
                </c:pt>
                <c:pt idx="5080">
                  <c:v>4.8931463077257726</c:v>
                </c:pt>
                <c:pt idx="5081">
                  <c:v>5.0818820922180343</c:v>
                </c:pt>
                <c:pt idx="5082">
                  <c:v>6.1042319836226859</c:v>
                </c:pt>
                <c:pt idx="5083">
                  <c:v>6.0199152458218368</c:v>
                </c:pt>
                <c:pt idx="5084">
                  <c:v>4.826656477689192</c:v>
                </c:pt>
                <c:pt idx="5085">
                  <c:v>6.066430630762575</c:v>
                </c:pt>
                <c:pt idx="5086">
                  <c:v>5.0549607683646585</c:v>
                </c:pt>
                <c:pt idx="5087">
                  <c:v>4.9733892749220061</c:v>
                </c:pt>
                <c:pt idx="5088">
                  <c:v>6.1117537063086322</c:v>
                </c:pt>
                <c:pt idx="5089">
                  <c:v>4.9472201249815333</c:v>
                </c:pt>
                <c:pt idx="5090">
                  <c:v>5.0460753986650797</c:v>
                </c:pt>
                <c:pt idx="5091">
                  <c:v>5.0239507649505892</c:v>
                </c:pt>
                <c:pt idx="5092">
                  <c:v>6.0274999741101247</c:v>
                </c:pt>
                <c:pt idx="5093">
                  <c:v>6.1300299513877334</c:v>
                </c:pt>
                <c:pt idx="5094">
                  <c:v>5.0412891553466554</c:v>
                </c:pt>
                <c:pt idx="5095">
                  <c:v>6.0170324833944857</c:v>
                </c:pt>
                <c:pt idx="5096">
                  <c:v>5.9939003122523369</c:v>
                </c:pt>
                <c:pt idx="5097">
                  <c:v>7.0038650806501082</c:v>
                </c:pt>
                <c:pt idx="5098">
                  <c:v>5.8632789037366502</c:v>
                </c:pt>
                <c:pt idx="5099">
                  <c:v>5.9917140309642267</c:v>
                </c:pt>
                <c:pt idx="5100">
                  <c:v>5.0473478290165072</c:v>
                </c:pt>
                <c:pt idx="5101">
                  <c:v>6.0162140464903375</c:v>
                </c:pt>
                <c:pt idx="5102">
                  <c:v>6.0933354576975551</c:v>
                </c:pt>
                <c:pt idx="5103">
                  <c:v>4.9466471957646236</c:v>
                </c:pt>
                <c:pt idx="5104">
                  <c:v>6.0465112260220586</c:v>
                </c:pt>
                <c:pt idx="5105">
                  <c:v>5.9079277538397061</c:v>
                </c:pt>
                <c:pt idx="5106">
                  <c:v>3.9538270615622149</c:v>
                </c:pt>
                <c:pt idx="5107">
                  <c:v>5.9896402068368753</c:v>
                </c:pt>
                <c:pt idx="5108">
                  <c:v>5.9387109424058302</c:v>
                </c:pt>
                <c:pt idx="5109">
                  <c:v>5.85248117319082</c:v>
                </c:pt>
                <c:pt idx="5110">
                  <c:v>6.1527771022023749</c:v>
                </c:pt>
                <c:pt idx="5111">
                  <c:v>4.8801254268958401</c:v>
                </c:pt>
                <c:pt idx="5112">
                  <c:v>5.0200356159610529</c:v>
                </c:pt>
                <c:pt idx="5113">
                  <c:v>5.0581672189762816</c:v>
                </c:pt>
                <c:pt idx="5114">
                  <c:v>4.8687698729552613</c:v>
                </c:pt>
                <c:pt idx="5115">
                  <c:v>5.999787971862216</c:v>
                </c:pt>
                <c:pt idx="5116">
                  <c:v>5.9160466342968299</c:v>
                </c:pt>
                <c:pt idx="5117">
                  <c:v>4.7989531038114208</c:v>
                </c:pt>
                <c:pt idx="5118">
                  <c:v>6.0926435833180976</c:v>
                </c:pt>
                <c:pt idx="5119">
                  <c:v>4.9012023563519449</c:v>
                </c:pt>
                <c:pt idx="5120">
                  <c:v>5.8204219973444404</c:v>
                </c:pt>
                <c:pt idx="5121">
                  <c:v>4.9347872419895626</c:v>
                </c:pt>
                <c:pt idx="5122">
                  <c:v>4.8896076492874823</c:v>
                </c:pt>
                <c:pt idx="5123">
                  <c:v>6.006675992768332</c:v>
                </c:pt>
                <c:pt idx="5124">
                  <c:v>4.9369853246413911</c:v>
                </c:pt>
                <c:pt idx="5125">
                  <c:v>6.1718535451091876</c:v>
                </c:pt>
                <c:pt idx="5126">
                  <c:v>6.0757232062572664</c:v>
                </c:pt>
                <c:pt idx="5127">
                  <c:v>4.9228744779434495</c:v>
                </c:pt>
                <c:pt idx="5128">
                  <c:v>6.0277164892246935</c:v>
                </c:pt>
                <c:pt idx="5129">
                  <c:v>5.664308165974016</c:v>
                </c:pt>
                <c:pt idx="5130">
                  <c:v>5.9989362063205451</c:v>
                </c:pt>
                <c:pt idx="5131">
                  <c:v>5.8866111097588014</c:v>
                </c:pt>
                <c:pt idx="5132">
                  <c:v>5.9239664206985587</c:v>
                </c:pt>
                <c:pt idx="5133">
                  <c:v>5.9857735410680064</c:v>
                </c:pt>
                <c:pt idx="5134">
                  <c:v>6.0766917644952576</c:v>
                </c:pt>
                <c:pt idx="5135">
                  <c:v>6.8779320562401089</c:v>
                </c:pt>
                <c:pt idx="5136">
                  <c:v>6.0176334056244478</c:v>
                </c:pt>
                <c:pt idx="5137">
                  <c:v>4.9496323403470051</c:v>
                </c:pt>
                <c:pt idx="5138">
                  <c:v>5.9917926065346885</c:v>
                </c:pt>
                <c:pt idx="5139">
                  <c:v>5.9808122991383845</c:v>
                </c:pt>
                <c:pt idx="5140">
                  <c:v>6.0618480531901477</c:v>
                </c:pt>
                <c:pt idx="5141">
                  <c:v>6.239614251351731</c:v>
                </c:pt>
                <c:pt idx="5142">
                  <c:v>6.0134738867071631</c:v>
                </c:pt>
                <c:pt idx="5143">
                  <c:v>5.9903057897638288</c:v>
                </c:pt>
                <c:pt idx="5144">
                  <c:v>4.8571185814301909</c:v>
                </c:pt>
                <c:pt idx="5145">
                  <c:v>5.0602466201798659</c:v>
                </c:pt>
                <c:pt idx="5146">
                  <c:v>4.9291872161706554</c:v>
                </c:pt>
                <c:pt idx="5147">
                  <c:v>5.8902391176643283</c:v>
                </c:pt>
                <c:pt idx="5148">
                  <c:v>6.0848336253282636</c:v>
                </c:pt>
                <c:pt idx="5149">
                  <c:v>5.8999962530216656</c:v>
                </c:pt>
                <c:pt idx="5150">
                  <c:v>5.1230218998664547</c:v>
                </c:pt>
                <c:pt idx="5151">
                  <c:v>4.8956096339504844</c:v>
                </c:pt>
                <c:pt idx="5152">
                  <c:v>4.8672026121898524</c:v>
                </c:pt>
                <c:pt idx="5153">
                  <c:v>4.9132623765095742</c:v>
                </c:pt>
                <c:pt idx="5154">
                  <c:v>4.9584299658109225</c:v>
                </c:pt>
                <c:pt idx="5155">
                  <c:v>7.130795089282028</c:v>
                </c:pt>
                <c:pt idx="5156">
                  <c:v>5.8641807635881777</c:v>
                </c:pt>
                <c:pt idx="5157">
                  <c:v>7.1996113907797126</c:v>
                </c:pt>
                <c:pt idx="5158">
                  <c:v>6.0675442958716488</c:v>
                </c:pt>
                <c:pt idx="5159">
                  <c:v>4.8687530976572555</c:v>
                </c:pt>
                <c:pt idx="5160">
                  <c:v>5.0139161644279868</c:v>
                </c:pt>
                <c:pt idx="5161">
                  <c:v>7.1740097067463111</c:v>
                </c:pt>
                <c:pt idx="5162">
                  <c:v>5.8964871062099924</c:v>
                </c:pt>
                <c:pt idx="5163">
                  <c:v>5.9635854364075129</c:v>
                </c:pt>
                <c:pt idx="5164">
                  <c:v>5.9704150224467831</c:v>
                </c:pt>
                <c:pt idx="5165">
                  <c:v>5.1275015061909857</c:v>
                </c:pt>
                <c:pt idx="5166">
                  <c:v>5.9200326283155409</c:v>
                </c:pt>
                <c:pt idx="5167">
                  <c:v>5.0904006174463809</c:v>
                </c:pt>
                <c:pt idx="5168">
                  <c:v>5.0792353909760672</c:v>
                </c:pt>
                <c:pt idx="5169">
                  <c:v>5.9052558722250366</c:v>
                </c:pt>
                <c:pt idx="5170">
                  <c:v>6.0136956363715255</c:v>
                </c:pt>
                <c:pt idx="5171">
                  <c:v>6.0158106209435029</c:v>
                </c:pt>
                <c:pt idx="5172">
                  <c:v>4.973098919683677</c:v>
                </c:pt>
                <c:pt idx="5173">
                  <c:v>5.9114213061052707</c:v>
                </c:pt>
                <c:pt idx="5174">
                  <c:v>5.9440970855963284</c:v>
                </c:pt>
                <c:pt idx="5175">
                  <c:v>6.0349728196214389</c:v>
                </c:pt>
                <c:pt idx="5176">
                  <c:v>4.773845939079493</c:v>
                </c:pt>
                <c:pt idx="5177">
                  <c:v>5.0782429069832755</c:v>
                </c:pt>
                <c:pt idx="5178">
                  <c:v>7.1084116294002051</c:v>
                </c:pt>
                <c:pt idx="5179">
                  <c:v>6.0144316333672192</c:v>
                </c:pt>
                <c:pt idx="5180">
                  <c:v>5.880127585446794</c:v>
                </c:pt>
                <c:pt idx="5181">
                  <c:v>5.9766414053443517</c:v>
                </c:pt>
                <c:pt idx="5182">
                  <c:v>5.1481591340517419</c:v>
                </c:pt>
                <c:pt idx="5183">
                  <c:v>6.0348372674140451</c:v>
                </c:pt>
                <c:pt idx="5184">
                  <c:v>5.0587720693623668</c:v>
                </c:pt>
                <c:pt idx="5185">
                  <c:v>7.0463654103104201</c:v>
                </c:pt>
                <c:pt idx="5186">
                  <c:v>4.9335906739981699</c:v>
                </c:pt>
                <c:pt idx="5187">
                  <c:v>5.0937700239776564</c:v>
                </c:pt>
                <c:pt idx="5188">
                  <c:v>6.138180588132867</c:v>
                </c:pt>
                <c:pt idx="5189">
                  <c:v>6.0536367704915399</c:v>
                </c:pt>
                <c:pt idx="5190">
                  <c:v>5.0743062368042242</c:v>
                </c:pt>
                <c:pt idx="5191">
                  <c:v>5.7854911666910951</c:v>
                </c:pt>
                <c:pt idx="5192">
                  <c:v>5.9702884334705448</c:v>
                </c:pt>
                <c:pt idx="5193">
                  <c:v>6.0777189127895808</c:v>
                </c:pt>
                <c:pt idx="5194">
                  <c:v>4.0030294768847279</c:v>
                </c:pt>
                <c:pt idx="5195">
                  <c:v>5.0405785345729672</c:v>
                </c:pt>
                <c:pt idx="5196">
                  <c:v>4.947903662529904</c:v>
                </c:pt>
                <c:pt idx="5197">
                  <c:v>4.9130170070084178</c:v>
                </c:pt>
                <c:pt idx="5198">
                  <c:v>5.8947950314331514</c:v>
                </c:pt>
                <c:pt idx="5199">
                  <c:v>3.9380231014281724</c:v>
                </c:pt>
                <c:pt idx="5200">
                  <c:v>6.0603231202367596</c:v>
                </c:pt>
                <c:pt idx="5201">
                  <c:v>5.9234444459539679</c:v>
                </c:pt>
                <c:pt idx="5202">
                  <c:v>6.2970891259816328</c:v>
                </c:pt>
                <c:pt idx="5203">
                  <c:v>5.9388066202076661</c:v>
                </c:pt>
                <c:pt idx="5204">
                  <c:v>4.9388787106923457</c:v>
                </c:pt>
                <c:pt idx="5205">
                  <c:v>6.9342120765196924</c:v>
                </c:pt>
                <c:pt idx="5206">
                  <c:v>6.8287678241424734</c:v>
                </c:pt>
                <c:pt idx="5207">
                  <c:v>4.8729735209632938</c:v>
                </c:pt>
                <c:pt idx="5208">
                  <c:v>4.9227006546062491</c:v>
                </c:pt>
                <c:pt idx="5209">
                  <c:v>5.8318952028412152</c:v>
                </c:pt>
                <c:pt idx="5210">
                  <c:v>5.1301549607690227</c:v>
                </c:pt>
                <c:pt idx="5211">
                  <c:v>7.0914720928345423</c:v>
                </c:pt>
                <c:pt idx="5212">
                  <c:v>4.8370558974651274</c:v>
                </c:pt>
                <c:pt idx="5213">
                  <c:v>4.7477949236548538</c:v>
                </c:pt>
                <c:pt idx="5214">
                  <c:v>6.0719312492804542</c:v>
                </c:pt>
                <c:pt idx="5215">
                  <c:v>4.9862639172644787</c:v>
                </c:pt>
                <c:pt idx="5216">
                  <c:v>5.1517605266049387</c:v>
                </c:pt>
                <c:pt idx="5217">
                  <c:v>5.0625443591390047</c:v>
                </c:pt>
                <c:pt idx="5218">
                  <c:v>5.8589751611836238</c:v>
                </c:pt>
                <c:pt idx="5219">
                  <c:v>5.075707500149047</c:v>
                </c:pt>
                <c:pt idx="5220">
                  <c:v>5.9857411362610016</c:v>
                </c:pt>
                <c:pt idx="5221">
                  <c:v>5.0371369504301038</c:v>
                </c:pt>
                <c:pt idx="5222">
                  <c:v>6.2700115484357068</c:v>
                </c:pt>
                <c:pt idx="5223">
                  <c:v>5.9751024982147412</c:v>
                </c:pt>
                <c:pt idx="5224">
                  <c:v>5.9177390668868428</c:v>
                </c:pt>
                <c:pt idx="5225">
                  <c:v>4.9365143073001247</c:v>
                </c:pt>
                <c:pt idx="5226">
                  <c:v>3.8892702827380257</c:v>
                </c:pt>
                <c:pt idx="5227">
                  <c:v>5.0379013641784853</c:v>
                </c:pt>
                <c:pt idx="5228">
                  <c:v>4.8491301567015981</c:v>
                </c:pt>
                <c:pt idx="5229">
                  <c:v>7.0181827642634955</c:v>
                </c:pt>
                <c:pt idx="5230">
                  <c:v>5.8419430468054232</c:v>
                </c:pt>
                <c:pt idx="5231">
                  <c:v>6.0113222294631905</c:v>
                </c:pt>
                <c:pt idx="5232">
                  <c:v>5.9316522946597843</c:v>
                </c:pt>
                <c:pt idx="5233">
                  <c:v>4.9371900304106671</c:v>
                </c:pt>
                <c:pt idx="5234">
                  <c:v>4.9517437181291086</c:v>
                </c:pt>
                <c:pt idx="5235">
                  <c:v>6.8165998253512647</c:v>
                </c:pt>
                <c:pt idx="5236">
                  <c:v>5.8764986807469439</c:v>
                </c:pt>
                <c:pt idx="5237">
                  <c:v>5.0955313116468597</c:v>
                </c:pt>
                <c:pt idx="5238">
                  <c:v>4.0325038335422452</c:v>
                </c:pt>
                <c:pt idx="5239">
                  <c:v>5.9741467885034671</c:v>
                </c:pt>
                <c:pt idx="5240">
                  <c:v>4.820336681760188</c:v>
                </c:pt>
                <c:pt idx="5241">
                  <c:v>4.9692670772465446</c:v>
                </c:pt>
                <c:pt idx="5242">
                  <c:v>6.0828842402079477</c:v>
                </c:pt>
                <c:pt idx="5243">
                  <c:v>5.9431129049066476</c:v>
                </c:pt>
                <c:pt idx="5244">
                  <c:v>4.9478682031875083</c:v>
                </c:pt>
                <c:pt idx="5245">
                  <c:v>5.9875843342228601</c:v>
                </c:pt>
                <c:pt idx="5246">
                  <c:v>4.8380043203735852</c:v>
                </c:pt>
                <c:pt idx="5247">
                  <c:v>5.9353962346664524</c:v>
                </c:pt>
                <c:pt idx="5248">
                  <c:v>6.218913777489627</c:v>
                </c:pt>
                <c:pt idx="5249">
                  <c:v>4.9345986883722102</c:v>
                </c:pt>
                <c:pt idx="5250">
                  <c:v>6.1240646135835854</c:v>
                </c:pt>
                <c:pt idx="5251">
                  <c:v>7.042229608891013</c:v>
                </c:pt>
                <c:pt idx="5252">
                  <c:v>7.0008674930015706</c:v>
                </c:pt>
                <c:pt idx="5253">
                  <c:v>5.047447323546618</c:v>
                </c:pt>
                <c:pt idx="5254">
                  <c:v>4.9681001343189282</c:v>
                </c:pt>
                <c:pt idx="5255">
                  <c:v>6.9526674449822172</c:v>
                </c:pt>
                <c:pt idx="5256">
                  <c:v>5.7379902486278</c:v>
                </c:pt>
                <c:pt idx="5257">
                  <c:v>5.9962288801225716</c:v>
                </c:pt>
                <c:pt idx="5258">
                  <c:v>6.0323188386361659</c:v>
                </c:pt>
                <c:pt idx="5259">
                  <c:v>5.9186621059773454</c:v>
                </c:pt>
                <c:pt idx="5260">
                  <c:v>4.9148875595481876</c:v>
                </c:pt>
                <c:pt idx="5261">
                  <c:v>6.0194385254936043</c:v>
                </c:pt>
                <c:pt idx="5262">
                  <c:v>6.0285772762216698</c:v>
                </c:pt>
                <c:pt idx="5263">
                  <c:v>5.9798013096923919</c:v>
                </c:pt>
                <c:pt idx="5264">
                  <c:v>5.8156633073068207</c:v>
                </c:pt>
                <c:pt idx="5265">
                  <c:v>6.0065607457527488</c:v>
                </c:pt>
                <c:pt idx="5266">
                  <c:v>5.9959071485411641</c:v>
                </c:pt>
                <c:pt idx="5267">
                  <c:v>5.9985430576723395</c:v>
                </c:pt>
                <c:pt idx="5268">
                  <c:v>5.1173934853310437</c:v>
                </c:pt>
                <c:pt idx="5269">
                  <c:v>5.9249299039117922</c:v>
                </c:pt>
                <c:pt idx="5270">
                  <c:v>6.0439348171396494</c:v>
                </c:pt>
                <c:pt idx="5271">
                  <c:v>6.0258771133824203</c:v>
                </c:pt>
                <c:pt idx="5272">
                  <c:v>5.8895666784202136</c:v>
                </c:pt>
                <c:pt idx="5273">
                  <c:v>6.1088533166340904</c:v>
                </c:pt>
                <c:pt idx="5274">
                  <c:v>5.964337926174343</c:v>
                </c:pt>
                <c:pt idx="5275">
                  <c:v>6.9428298388517806</c:v>
                </c:pt>
                <c:pt idx="5276">
                  <c:v>5.0315391844030897</c:v>
                </c:pt>
                <c:pt idx="5277">
                  <c:v>4.8541252016955507</c:v>
                </c:pt>
                <c:pt idx="5278">
                  <c:v>5.8410835861028527</c:v>
                </c:pt>
                <c:pt idx="5279">
                  <c:v>5.8566046086370225</c:v>
                </c:pt>
                <c:pt idx="5280">
                  <c:v>5.1806883605131446</c:v>
                </c:pt>
                <c:pt idx="5281">
                  <c:v>6.0771954110583568</c:v>
                </c:pt>
                <c:pt idx="5282">
                  <c:v>5.0490977240680666</c:v>
                </c:pt>
                <c:pt idx="5283">
                  <c:v>4.9485142376711533</c:v>
                </c:pt>
                <c:pt idx="5284">
                  <c:v>3.949410526180174</c:v>
                </c:pt>
                <c:pt idx="5285">
                  <c:v>6.1094834011966999</c:v>
                </c:pt>
                <c:pt idx="5286">
                  <c:v>3.856612665488298</c:v>
                </c:pt>
                <c:pt idx="5287">
                  <c:v>5.0977555404269825</c:v>
                </c:pt>
                <c:pt idx="5288">
                  <c:v>5.8153765814496072</c:v>
                </c:pt>
                <c:pt idx="5289">
                  <c:v>4.8281448692005178</c:v>
                </c:pt>
                <c:pt idx="5290">
                  <c:v>6.9615634197140448</c:v>
                </c:pt>
                <c:pt idx="5291">
                  <c:v>4.9461831062472497</c:v>
                </c:pt>
                <c:pt idx="5292">
                  <c:v>4.8891523060889162</c:v>
                </c:pt>
                <c:pt idx="5293">
                  <c:v>5.0992469560163114</c:v>
                </c:pt>
                <c:pt idx="5294">
                  <c:v>4.9651272082521025</c:v>
                </c:pt>
                <c:pt idx="5295">
                  <c:v>5.8721203771357571</c:v>
                </c:pt>
                <c:pt idx="5296">
                  <c:v>4.8480627932121036</c:v>
                </c:pt>
                <c:pt idx="5297">
                  <c:v>6.0770748420084075</c:v>
                </c:pt>
                <c:pt idx="5298">
                  <c:v>6.8678147501605631</c:v>
                </c:pt>
                <c:pt idx="5299">
                  <c:v>6.2365673973886846</c:v>
                </c:pt>
                <c:pt idx="5300">
                  <c:v>6.097263166897628</c:v>
                </c:pt>
                <c:pt idx="5301">
                  <c:v>6.7128353520690291</c:v>
                </c:pt>
                <c:pt idx="5302">
                  <c:v>4.9965692530939245</c:v>
                </c:pt>
                <c:pt idx="5303">
                  <c:v>5.8783181553111685</c:v>
                </c:pt>
                <c:pt idx="5304">
                  <c:v>4.8282912640252915</c:v>
                </c:pt>
                <c:pt idx="5305">
                  <c:v>6.0126040102497207</c:v>
                </c:pt>
                <c:pt idx="5306">
                  <c:v>4.9491172005829789</c:v>
                </c:pt>
                <c:pt idx="5307">
                  <c:v>4.9563283125475142</c:v>
                </c:pt>
                <c:pt idx="5308">
                  <c:v>4.1725134141157394</c:v>
                </c:pt>
                <c:pt idx="5309">
                  <c:v>6.2288420913936564</c:v>
                </c:pt>
                <c:pt idx="5310">
                  <c:v>5.0477045824546432</c:v>
                </c:pt>
                <c:pt idx="5311">
                  <c:v>5.9105169272189979</c:v>
                </c:pt>
                <c:pt idx="5312">
                  <c:v>5.9768743948338949</c:v>
                </c:pt>
                <c:pt idx="5313">
                  <c:v>5.0729373821745467</c:v>
                </c:pt>
                <c:pt idx="5314">
                  <c:v>5.0657717316976134</c:v>
                </c:pt>
                <c:pt idx="5315">
                  <c:v>5.1413172895173949</c:v>
                </c:pt>
                <c:pt idx="5316">
                  <c:v>5.9094726975424248</c:v>
                </c:pt>
                <c:pt idx="5317">
                  <c:v>4.9318942577078611</c:v>
                </c:pt>
                <c:pt idx="5318">
                  <c:v>6.9545696227781519</c:v>
                </c:pt>
                <c:pt idx="5319">
                  <c:v>6.1405406985815789</c:v>
                </c:pt>
                <c:pt idx="5320">
                  <c:v>6.9199412110665177</c:v>
                </c:pt>
                <c:pt idx="5321">
                  <c:v>7.0213145892053994</c:v>
                </c:pt>
                <c:pt idx="5322">
                  <c:v>6.8879164145677247</c:v>
                </c:pt>
                <c:pt idx="5323">
                  <c:v>5.0090408745390134</c:v>
                </c:pt>
                <c:pt idx="5324">
                  <c:v>5.8505564896286213</c:v>
                </c:pt>
                <c:pt idx="5325">
                  <c:v>5.9885655975067875</c:v>
                </c:pt>
                <c:pt idx="5326">
                  <c:v>5.0007436131276588</c:v>
                </c:pt>
                <c:pt idx="5327">
                  <c:v>6.1650654377136691</c:v>
                </c:pt>
                <c:pt idx="5328">
                  <c:v>5.9614303841907148</c:v>
                </c:pt>
                <c:pt idx="5329">
                  <c:v>6.0888010610565333</c:v>
                </c:pt>
                <c:pt idx="5330">
                  <c:v>5.0221046675568735</c:v>
                </c:pt>
                <c:pt idx="5331">
                  <c:v>5.95619512488478</c:v>
                </c:pt>
                <c:pt idx="5332">
                  <c:v>5.9013187672926239</c:v>
                </c:pt>
                <c:pt idx="5333">
                  <c:v>5.867949752646747</c:v>
                </c:pt>
                <c:pt idx="5334">
                  <c:v>7.016411705981155</c:v>
                </c:pt>
                <c:pt idx="5335">
                  <c:v>6.3001182254213983</c:v>
                </c:pt>
                <c:pt idx="5336">
                  <c:v>5.8844425816874244</c:v>
                </c:pt>
                <c:pt idx="5337">
                  <c:v>5.0330582625823403</c:v>
                </c:pt>
                <c:pt idx="5338">
                  <c:v>7.0546116747822296</c:v>
                </c:pt>
                <c:pt idx="5339">
                  <c:v>6.0163484006126104</c:v>
                </c:pt>
                <c:pt idx="5340">
                  <c:v>4.9714123389785376</c:v>
                </c:pt>
                <c:pt idx="5341">
                  <c:v>5.055751812468503</c:v>
                </c:pt>
                <c:pt idx="5342">
                  <c:v>5.0069153438085685</c:v>
                </c:pt>
                <c:pt idx="5343">
                  <c:v>4.9560710835074691</c:v>
                </c:pt>
                <c:pt idx="5344">
                  <c:v>5.836499203523088</c:v>
                </c:pt>
                <c:pt idx="5345">
                  <c:v>5.064960880024473</c:v>
                </c:pt>
                <c:pt idx="5346">
                  <c:v>6.1331699533819224</c:v>
                </c:pt>
                <c:pt idx="5347">
                  <c:v>7.0581975164629984</c:v>
                </c:pt>
                <c:pt idx="5348">
                  <c:v>4.7911123766151613</c:v>
                </c:pt>
                <c:pt idx="5349">
                  <c:v>4.9168662334686148</c:v>
                </c:pt>
                <c:pt idx="5350">
                  <c:v>6.0340704033340149</c:v>
                </c:pt>
                <c:pt idx="5351">
                  <c:v>5.8929438045983122</c:v>
                </c:pt>
                <c:pt idx="5352">
                  <c:v>6.0383588594026723</c:v>
                </c:pt>
                <c:pt idx="5353">
                  <c:v>5.035192287588492</c:v>
                </c:pt>
                <c:pt idx="5354">
                  <c:v>4.991672592660386</c:v>
                </c:pt>
                <c:pt idx="5355">
                  <c:v>5.1156115111984173</c:v>
                </c:pt>
                <c:pt idx="5356">
                  <c:v>5.1605430865737425</c:v>
                </c:pt>
                <c:pt idx="5357">
                  <c:v>5.9180732475537177</c:v>
                </c:pt>
                <c:pt idx="5358">
                  <c:v>4.9955981289833131</c:v>
                </c:pt>
                <c:pt idx="5359">
                  <c:v>5.9662919027216379</c:v>
                </c:pt>
                <c:pt idx="5360">
                  <c:v>5.9636488212716943</c:v>
                </c:pt>
                <c:pt idx="5361">
                  <c:v>5.8540166467345278</c:v>
                </c:pt>
                <c:pt idx="5362">
                  <c:v>5.0116451159002837</c:v>
                </c:pt>
                <c:pt idx="5363">
                  <c:v>4.8813847120096376</c:v>
                </c:pt>
                <c:pt idx="5364">
                  <c:v>5.8481891101906589</c:v>
                </c:pt>
                <c:pt idx="5365">
                  <c:v>5.1864232819198302</c:v>
                </c:pt>
                <c:pt idx="5366">
                  <c:v>5.8917017089091477</c:v>
                </c:pt>
                <c:pt idx="5367">
                  <c:v>4.9875985283371067</c:v>
                </c:pt>
                <c:pt idx="5368">
                  <c:v>6.1835267613854201</c:v>
                </c:pt>
                <c:pt idx="5369">
                  <c:v>4.9450231809816678</c:v>
                </c:pt>
                <c:pt idx="5370">
                  <c:v>5.0474475307113265</c:v>
                </c:pt>
                <c:pt idx="5371">
                  <c:v>4.9855270293773666</c:v>
                </c:pt>
                <c:pt idx="5372">
                  <c:v>6.0103145347673239</c:v>
                </c:pt>
                <c:pt idx="5373">
                  <c:v>6.1306844428321812</c:v>
                </c:pt>
                <c:pt idx="5374">
                  <c:v>5.9377617096283553</c:v>
                </c:pt>
                <c:pt idx="5375">
                  <c:v>6.9336784881254765</c:v>
                </c:pt>
                <c:pt idx="5376">
                  <c:v>4.8543486504310289</c:v>
                </c:pt>
                <c:pt idx="5377">
                  <c:v>5.9745048318994476</c:v>
                </c:pt>
                <c:pt idx="5378">
                  <c:v>7.0843942484691729</c:v>
                </c:pt>
                <c:pt idx="5379">
                  <c:v>6.1138406867561077</c:v>
                </c:pt>
                <c:pt idx="5380">
                  <c:v>5.9321577165039496</c:v>
                </c:pt>
                <c:pt idx="5381">
                  <c:v>4.8901667399504376</c:v>
                </c:pt>
                <c:pt idx="5382">
                  <c:v>6.197984066048047</c:v>
                </c:pt>
                <c:pt idx="5383">
                  <c:v>6.0707346895007213</c:v>
                </c:pt>
                <c:pt idx="5384">
                  <c:v>6.1567074692034716</c:v>
                </c:pt>
                <c:pt idx="5385">
                  <c:v>6.0690642527614083</c:v>
                </c:pt>
                <c:pt idx="5386">
                  <c:v>6.2410486448122455</c:v>
                </c:pt>
                <c:pt idx="5387">
                  <c:v>5.9083003300716044</c:v>
                </c:pt>
                <c:pt idx="5388">
                  <c:v>4.9422560444275883</c:v>
                </c:pt>
                <c:pt idx="5389">
                  <c:v>4.9985475688279424</c:v>
                </c:pt>
                <c:pt idx="5390">
                  <c:v>5.0529402288456859</c:v>
                </c:pt>
                <c:pt idx="5391">
                  <c:v>6.083120600456601</c:v>
                </c:pt>
                <c:pt idx="5392">
                  <c:v>5.0686904314678047</c:v>
                </c:pt>
                <c:pt idx="5393">
                  <c:v>4.865473906579294</c:v>
                </c:pt>
                <c:pt idx="5394">
                  <c:v>6.1105433512768483</c:v>
                </c:pt>
                <c:pt idx="5395">
                  <c:v>5.7546325020666105</c:v>
                </c:pt>
                <c:pt idx="5396">
                  <c:v>6.0812679789206543</c:v>
                </c:pt>
                <c:pt idx="5397">
                  <c:v>5.983416379340162</c:v>
                </c:pt>
                <c:pt idx="5398">
                  <c:v>7.0269723144374501</c:v>
                </c:pt>
                <c:pt idx="5399">
                  <c:v>6.1197088502872541</c:v>
                </c:pt>
                <c:pt idx="5400">
                  <c:v>6.1737358667792028</c:v>
                </c:pt>
                <c:pt idx="5401">
                  <c:v>5.9045141743959828</c:v>
                </c:pt>
                <c:pt idx="5402">
                  <c:v>6.0659657350687324</c:v>
                </c:pt>
                <c:pt idx="5403">
                  <c:v>6.0149489075175762</c:v>
                </c:pt>
                <c:pt idx="5404">
                  <c:v>5.1208186528118738</c:v>
                </c:pt>
                <c:pt idx="5405">
                  <c:v>4.9815584265090447</c:v>
                </c:pt>
                <c:pt idx="5406">
                  <c:v>4.9863656314685443</c:v>
                </c:pt>
                <c:pt idx="5407">
                  <c:v>6.0966201306939789</c:v>
                </c:pt>
                <c:pt idx="5408">
                  <c:v>6.146936063348071</c:v>
                </c:pt>
                <c:pt idx="5409">
                  <c:v>6.0491144479605623</c:v>
                </c:pt>
                <c:pt idx="5410">
                  <c:v>6.1598366109444287</c:v>
                </c:pt>
                <c:pt idx="5411">
                  <c:v>4.9275698454986454</c:v>
                </c:pt>
                <c:pt idx="5412">
                  <c:v>6.0242586190481386</c:v>
                </c:pt>
                <c:pt idx="5413">
                  <c:v>6.0479383644996592</c:v>
                </c:pt>
                <c:pt idx="5414">
                  <c:v>5.985837725334842</c:v>
                </c:pt>
                <c:pt idx="5415">
                  <c:v>5.8562424091221885</c:v>
                </c:pt>
                <c:pt idx="5416">
                  <c:v>5.8305101245773807</c:v>
                </c:pt>
                <c:pt idx="5417">
                  <c:v>4.9981667294287071</c:v>
                </c:pt>
                <c:pt idx="5418">
                  <c:v>5.9797079149978511</c:v>
                </c:pt>
                <c:pt idx="5419">
                  <c:v>5.0595787076360601</c:v>
                </c:pt>
                <c:pt idx="5420">
                  <c:v>5.8849118230028612</c:v>
                </c:pt>
                <c:pt idx="5421">
                  <c:v>5.973557866136689</c:v>
                </c:pt>
                <c:pt idx="5422">
                  <c:v>6.0819651209454726</c:v>
                </c:pt>
                <c:pt idx="5423">
                  <c:v>6.026084479735041</c:v>
                </c:pt>
                <c:pt idx="5424">
                  <c:v>5.8396079573970416</c:v>
                </c:pt>
                <c:pt idx="5425">
                  <c:v>6.0693024991320739</c:v>
                </c:pt>
                <c:pt idx="5426">
                  <c:v>6.1749820856232418</c:v>
                </c:pt>
                <c:pt idx="5427">
                  <c:v>5.9992145578033336</c:v>
                </c:pt>
                <c:pt idx="5428">
                  <c:v>4.0210223347819234</c:v>
                </c:pt>
                <c:pt idx="5429">
                  <c:v>6.0281044027185766</c:v>
                </c:pt>
                <c:pt idx="5430">
                  <c:v>5.029319323094195</c:v>
                </c:pt>
                <c:pt idx="5431">
                  <c:v>5.9089447677373679</c:v>
                </c:pt>
                <c:pt idx="5432">
                  <c:v>6.8390882789395304</c:v>
                </c:pt>
                <c:pt idx="5433">
                  <c:v>5.92893139699044</c:v>
                </c:pt>
                <c:pt idx="5434">
                  <c:v>6.1674851872218017</c:v>
                </c:pt>
                <c:pt idx="5435">
                  <c:v>5.9070646749915863</c:v>
                </c:pt>
                <c:pt idx="5436">
                  <c:v>5.8773419010973873</c:v>
                </c:pt>
                <c:pt idx="5437">
                  <c:v>5.0321646375368232</c:v>
                </c:pt>
                <c:pt idx="5438">
                  <c:v>4.9117696393870593</c:v>
                </c:pt>
                <c:pt idx="5439">
                  <c:v>6.0698773608175864</c:v>
                </c:pt>
                <c:pt idx="5440">
                  <c:v>5.8573570610011787</c:v>
                </c:pt>
                <c:pt idx="5441">
                  <c:v>5.1657287220231565</c:v>
                </c:pt>
                <c:pt idx="5442">
                  <c:v>4.9584856937519222</c:v>
                </c:pt>
                <c:pt idx="5443">
                  <c:v>5.9700002070321831</c:v>
                </c:pt>
                <c:pt idx="5444">
                  <c:v>6.0873884475257238</c:v>
                </c:pt>
                <c:pt idx="5445">
                  <c:v>4.9541402851891458</c:v>
                </c:pt>
                <c:pt idx="5446">
                  <c:v>6.1109262819548364</c:v>
                </c:pt>
                <c:pt idx="5447">
                  <c:v>4.8647157045714646</c:v>
                </c:pt>
                <c:pt idx="5448">
                  <c:v>6.110748312349453</c:v>
                </c:pt>
                <c:pt idx="5449">
                  <c:v>6.0151377926626397</c:v>
                </c:pt>
                <c:pt idx="5450">
                  <c:v>4.9851215961858744</c:v>
                </c:pt>
                <c:pt idx="5451">
                  <c:v>6.067563182708926</c:v>
                </c:pt>
                <c:pt idx="5452">
                  <c:v>4.9752549009829989</c:v>
                </c:pt>
                <c:pt idx="5453">
                  <c:v>4.8977213088430203</c:v>
                </c:pt>
                <c:pt idx="5454">
                  <c:v>6.095914537334103</c:v>
                </c:pt>
                <c:pt idx="5455">
                  <c:v>4.9322168434090665</c:v>
                </c:pt>
                <c:pt idx="5456">
                  <c:v>5.9376019272185347</c:v>
                </c:pt>
                <c:pt idx="5457">
                  <c:v>6.0383223719023658</c:v>
                </c:pt>
                <c:pt idx="5458">
                  <c:v>5.8231605381482794</c:v>
                </c:pt>
                <c:pt idx="5459">
                  <c:v>5.937356374154044</c:v>
                </c:pt>
                <c:pt idx="5460">
                  <c:v>6.0469688760969706</c:v>
                </c:pt>
                <c:pt idx="5461">
                  <c:v>6.1509453053986034</c:v>
                </c:pt>
                <c:pt idx="5462">
                  <c:v>4.9676683936490411</c:v>
                </c:pt>
                <c:pt idx="5463">
                  <c:v>6.0089378437918199</c:v>
                </c:pt>
                <c:pt idx="5464">
                  <c:v>6.0597063381939682</c:v>
                </c:pt>
                <c:pt idx="5465">
                  <c:v>6.0479718878118289</c:v>
                </c:pt>
                <c:pt idx="5466">
                  <c:v>6.1113260366305404</c:v>
                </c:pt>
                <c:pt idx="5467">
                  <c:v>4.7481359355011348</c:v>
                </c:pt>
                <c:pt idx="5468">
                  <c:v>5.9897393588975616</c:v>
                </c:pt>
                <c:pt idx="5469">
                  <c:v>4.8965214281307876</c:v>
                </c:pt>
                <c:pt idx="5470">
                  <c:v>6.0900706610961137</c:v>
                </c:pt>
                <c:pt idx="5471">
                  <c:v>6.0552166679233723</c:v>
                </c:pt>
                <c:pt idx="5472">
                  <c:v>6.0332942394574998</c:v>
                </c:pt>
                <c:pt idx="5473">
                  <c:v>6.1060176972008806</c:v>
                </c:pt>
                <c:pt idx="5474">
                  <c:v>5.9718137913967899</c:v>
                </c:pt>
                <c:pt idx="5475">
                  <c:v>5.8661754544618168</c:v>
                </c:pt>
                <c:pt idx="5476">
                  <c:v>5.9875799383350703</c:v>
                </c:pt>
                <c:pt idx="5477">
                  <c:v>4.9483951991706183</c:v>
                </c:pt>
                <c:pt idx="5478">
                  <c:v>5.8410159012996443</c:v>
                </c:pt>
                <c:pt idx="5479">
                  <c:v>5.9773622053655329</c:v>
                </c:pt>
                <c:pt idx="5480">
                  <c:v>6.0268862127514424</c:v>
                </c:pt>
                <c:pt idx="5481">
                  <c:v>5.9931139909770765</c:v>
                </c:pt>
                <c:pt idx="5482">
                  <c:v>5.9760892809477459</c:v>
                </c:pt>
                <c:pt idx="5483">
                  <c:v>4.9247554322065179</c:v>
                </c:pt>
                <c:pt idx="5484">
                  <c:v>6.1061395493101065</c:v>
                </c:pt>
                <c:pt idx="5485">
                  <c:v>6.0116317986366026</c:v>
                </c:pt>
                <c:pt idx="5486">
                  <c:v>6.0830262838543891</c:v>
                </c:pt>
                <c:pt idx="5487">
                  <c:v>5.9184260026743178</c:v>
                </c:pt>
                <c:pt idx="5488">
                  <c:v>5.024028983842987</c:v>
                </c:pt>
                <c:pt idx="5489">
                  <c:v>5.9395479180400068</c:v>
                </c:pt>
                <c:pt idx="5490">
                  <c:v>6.1028302212514323</c:v>
                </c:pt>
                <c:pt idx="5491">
                  <c:v>6.0646760408150309</c:v>
                </c:pt>
                <c:pt idx="5492">
                  <c:v>6.028787655712474</c:v>
                </c:pt>
                <c:pt idx="5493">
                  <c:v>6.1132266924416827</c:v>
                </c:pt>
                <c:pt idx="5494">
                  <c:v>5.9450438615635424</c:v>
                </c:pt>
                <c:pt idx="5495">
                  <c:v>6.1494464361109333</c:v>
                </c:pt>
                <c:pt idx="5496">
                  <c:v>4.9127393225901876</c:v>
                </c:pt>
                <c:pt idx="5497">
                  <c:v>6.0775395539417749</c:v>
                </c:pt>
                <c:pt idx="5498">
                  <c:v>6.1026398483614006</c:v>
                </c:pt>
                <c:pt idx="5499">
                  <c:v>5.0805501863851079</c:v>
                </c:pt>
                <c:pt idx="5500">
                  <c:v>5.0605438465101544</c:v>
                </c:pt>
                <c:pt idx="5501">
                  <c:v>6.017708040040624</c:v>
                </c:pt>
                <c:pt idx="5502">
                  <c:v>6.1700722295591524</c:v>
                </c:pt>
                <c:pt idx="5503">
                  <c:v>5.1010839124379919</c:v>
                </c:pt>
                <c:pt idx="5504">
                  <c:v>6.0240416718655299</c:v>
                </c:pt>
                <c:pt idx="5505">
                  <c:v>4.8923834060261235</c:v>
                </c:pt>
                <c:pt idx="5506">
                  <c:v>4.9101624231448397</c:v>
                </c:pt>
                <c:pt idx="5507">
                  <c:v>5.8946827063704621</c:v>
                </c:pt>
                <c:pt idx="5508">
                  <c:v>6.1519770458758725</c:v>
                </c:pt>
                <c:pt idx="5509">
                  <c:v>6.1618457222612895</c:v>
                </c:pt>
                <c:pt idx="5510">
                  <c:v>5.0227504835077958</c:v>
                </c:pt>
                <c:pt idx="5511">
                  <c:v>5.1492077937066085</c:v>
                </c:pt>
                <c:pt idx="5512">
                  <c:v>5.8912278603952926</c:v>
                </c:pt>
                <c:pt idx="5513">
                  <c:v>5.0035950744940045</c:v>
                </c:pt>
                <c:pt idx="5514">
                  <c:v>5.9516419453612031</c:v>
                </c:pt>
                <c:pt idx="5515">
                  <c:v>5.9634776376679701</c:v>
                </c:pt>
                <c:pt idx="5516">
                  <c:v>6.0616543234033697</c:v>
                </c:pt>
                <c:pt idx="5517">
                  <c:v>6.0437683602465588</c:v>
                </c:pt>
                <c:pt idx="5518">
                  <c:v>5.9293920556318298</c:v>
                </c:pt>
                <c:pt idx="5519">
                  <c:v>5.8830285686256483</c:v>
                </c:pt>
                <c:pt idx="5520">
                  <c:v>5.0485486592824316</c:v>
                </c:pt>
                <c:pt idx="5521">
                  <c:v>6.0326479475387442</c:v>
                </c:pt>
                <c:pt idx="5522">
                  <c:v>6.1497670420261432</c:v>
                </c:pt>
                <c:pt idx="5523">
                  <c:v>6.2068201901051312</c:v>
                </c:pt>
                <c:pt idx="5524">
                  <c:v>6.0139009180014549</c:v>
                </c:pt>
                <c:pt idx="5525">
                  <c:v>5.8786785915800257</c:v>
                </c:pt>
                <c:pt idx="5526">
                  <c:v>4.9197975781458032</c:v>
                </c:pt>
                <c:pt idx="5527">
                  <c:v>5.0883031173702369</c:v>
                </c:pt>
                <c:pt idx="5528">
                  <c:v>5.9873526674113657</c:v>
                </c:pt>
                <c:pt idx="5529">
                  <c:v>6.1039803715873866</c:v>
                </c:pt>
                <c:pt idx="5530">
                  <c:v>5.1078437534877734</c:v>
                </c:pt>
                <c:pt idx="5531">
                  <c:v>5.9478960135098218</c:v>
                </c:pt>
                <c:pt idx="5532">
                  <c:v>5.9519463099001948</c:v>
                </c:pt>
                <c:pt idx="5533">
                  <c:v>6.0441752839202794</c:v>
                </c:pt>
                <c:pt idx="5534">
                  <c:v>4.9736071366133032</c:v>
                </c:pt>
                <c:pt idx="5535">
                  <c:v>5.9838992935093938</c:v>
                </c:pt>
                <c:pt idx="5536">
                  <c:v>5.0137483283879325</c:v>
                </c:pt>
                <c:pt idx="5537">
                  <c:v>4.9350815906498946</c:v>
                </c:pt>
                <c:pt idx="5538">
                  <c:v>6.0489761159104578</c:v>
                </c:pt>
                <c:pt idx="5539">
                  <c:v>5.853155735973071</c:v>
                </c:pt>
                <c:pt idx="5540">
                  <c:v>5.9105106703183488</c:v>
                </c:pt>
                <c:pt idx="5541">
                  <c:v>6.0040139218115298</c:v>
                </c:pt>
                <c:pt idx="5542">
                  <c:v>5.973309076509616</c:v>
                </c:pt>
                <c:pt idx="5543">
                  <c:v>5.9552014119177255</c:v>
                </c:pt>
                <c:pt idx="5544">
                  <c:v>6.0886230442168365</c:v>
                </c:pt>
                <c:pt idx="5545">
                  <c:v>5.9456222098267553</c:v>
                </c:pt>
                <c:pt idx="5546">
                  <c:v>4.7538752451241466</c:v>
                </c:pt>
                <c:pt idx="5547">
                  <c:v>5.0134165936420603</c:v>
                </c:pt>
                <c:pt idx="5548">
                  <c:v>5.0686931200219254</c:v>
                </c:pt>
                <c:pt idx="5549">
                  <c:v>6.8575696575373764</c:v>
                </c:pt>
                <c:pt idx="5550">
                  <c:v>6.0622296498225658</c:v>
                </c:pt>
                <c:pt idx="5551">
                  <c:v>4.9023909062843281</c:v>
                </c:pt>
                <c:pt idx="5552">
                  <c:v>6.1401741444404161</c:v>
                </c:pt>
                <c:pt idx="5553">
                  <c:v>6.1248925457643839</c:v>
                </c:pt>
                <c:pt idx="5554">
                  <c:v>5.8459361759228701</c:v>
                </c:pt>
                <c:pt idx="5555">
                  <c:v>5.1097095321861827</c:v>
                </c:pt>
                <c:pt idx="5556">
                  <c:v>7.1292678647545014</c:v>
                </c:pt>
                <c:pt idx="5557">
                  <c:v>5.9478846995045584</c:v>
                </c:pt>
                <c:pt idx="5558">
                  <c:v>5.8311256683597374</c:v>
                </c:pt>
                <c:pt idx="5559">
                  <c:v>4.8625983511605213</c:v>
                </c:pt>
                <c:pt idx="5560">
                  <c:v>5.9749336498405636</c:v>
                </c:pt>
                <c:pt idx="5561">
                  <c:v>7.0328222797708841</c:v>
                </c:pt>
                <c:pt idx="5562">
                  <c:v>5.0557443455852171</c:v>
                </c:pt>
                <c:pt idx="5563">
                  <c:v>4.9629859884599306</c:v>
                </c:pt>
                <c:pt idx="5564">
                  <c:v>6.8834312495455352</c:v>
                </c:pt>
                <c:pt idx="5565">
                  <c:v>4.9244566758709025</c:v>
                </c:pt>
                <c:pt idx="5566">
                  <c:v>5.0119215548537239</c:v>
                </c:pt>
                <c:pt idx="5567">
                  <c:v>4.9672696791449962</c:v>
                </c:pt>
                <c:pt idx="5568">
                  <c:v>4.9027273856792251</c:v>
                </c:pt>
                <c:pt idx="5569">
                  <c:v>5.9131354777629115</c:v>
                </c:pt>
                <c:pt idx="5570">
                  <c:v>5.993704146150785</c:v>
                </c:pt>
                <c:pt idx="5571">
                  <c:v>6.0984070022233752</c:v>
                </c:pt>
                <c:pt idx="5572">
                  <c:v>4.0615269329510237</c:v>
                </c:pt>
                <c:pt idx="5573">
                  <c:v>4.892917645686488</c:v>
                </c:pt>
                <c:pt idx="5574">
                  <c:v>5.872179762292868</c:v>
                </c:pt>
                <c:pt idx="5575">
                  <c:v>6.0424021994758537</c:v>
                </c:pt>
                <c:pt idx="5576">
                  <c:v>6.0052121451087048</c:v>
                </c:pt>
                <c:pt idx="5577">
                  <c:v>6.0525741743410926</c:v>
                </c:pt>
                <c:pt idx="5578">
                  <c:v>4.9326175603529601</c:v>
                </c:pt>
                <c:pt idx="5579">
                  <c:v>5.8498500699621419</c:v>
                </c:pt>
                <c:pt idx="5580">
                  <c:v>4.7578490890957879</c:v>
                </c:pt>
                <c:pt idx="5581">
                  <c:v>5.1559802601829885</c:v>
                </c:pt>
                <c:pt idx="5582">
                  <c:v>5.1041695339835158</c:v>
                </c:pt>
                <c:pt idx="5583">
                  <c:v>6.1703890180051095</c:v>
                </c:pt>
                <c:pt idx="5584">
                  <c:v>5.9818362665729641</c:v>
                </c:pt>
                <c:pt idx="5585">
                  <c:v>5.9979448915816826</c:v>
                </c:pt>
                <c:pt idx="5586">
                  <c:v>5.0420572012304179</c:v>
                </c:pt>
                <c:pt idx="5587">
                  <c:v>5.0596113347179354</c:v>
                </c:pt>
                <c:pt idx="5588">
                  <c:v>5.9901606287721609</c:v>
                </c:pt>
                <c:pt idx="5589">
                  <c:v>5.9198231475205851</c:v>
                </c:pt>
                <c:pt idx="5590">
                  <c:v>5.99661482772576</c:v>
                </c:pt>
                <c:pt idx="5591">
                  <c:v>6.0041171788978431</c:v>
                </c:pt>
                <c:pt idx="5592">
                  <c:v>5.9361924280968745</c:v>
                </c:pt>
                <c:pt idx="5593">
                  <c:v>5.0340141728303891</c:v>
                </c:pt>
                <c:pt idx="5594">
                  <c:v>6.102294110831477</c:v>
                </c:pt>
                <c:pt idx="5595">
                  <c:v>5.7899949823314234</c:v>
                </c:pt>
                <c:pt idx="5596">
                  <c:v>5.7222611549298339</c:v>
                </c:pt>
                <c:pt idx="5597">
                  <c:v>6.0164797044829292</c:v>
                </c:pt>
                <c:pt idx="5598">
                  <c:v>5.0458926361966734</c:v>
                </c:pt>
                <c:pt idx="5599">
                  <c:v>6.9794097789236984</c:v>
                </c:pt>
                <c:pt idx="5600">
                  <c:v>4.9043376414129218</c:v>
                </c:pt>
                <c:pt idx="5601">
                  <c:v>5.0203232754239044</c:v>
                </c:pt>
                <c:pt idx="5602">
                  <c:v>4.9223567304842888</c:v>
                </c:pt>
                <c:pt idx="5603">
                  <c:v>6.0654892911436598</c:v>
                </c:pt>
                <c:pt idx="5604">
                  <c:v>6.1254868119578463</c:v>
                </c:pt>
                <c:pt idx="5605">
                  <c:v>5.0070873245670215</c:v>
                </c:pt>
                <c:pt idx="5606">
                  <c:v>5.0245730609640118</c:v>
                </c:pt>
                <c:pt idx="5607">
                  <c:v>5.8894810440015721</c:v>
                </c:pt>
                <c:pt idx="5608">
                  <c:v>4.9523135326596774</c:v>
                </c:pt>
                <c:pt idx="5609">
                  <c:v>6.1185632466559543</c:v>
                </c:pt>
                <c:pt idx="5610">
                  <c:v>4.8025311200520155</c:v>
                </c:pt>
                <c:pt idx="5611">
                  <c:v>5.8492147088432329</c:v>
                </c:pt>
                <c:pt idx="5612">
                  <c:v>6.8963680233148592</c:v>
                </c:pt>
                <c:pt idx="5613">
                  <c:v>5.995184744823769</c:v>
                </c:pt>
                <c:pt idx="5614">
                  <c:v>4.89971070514913</c:v>
                </c:pt>
                <c:pt idx="5615">
                  <c:v>6.162815892619836</c:v>
                </c:pt>
                <c:pt idx="5616">
                  <c:v>6.0900153998787836</c:v>
                </c:pt>
                <c:pt idx="5617">
                  <c:v>6.9615384025868634</c:v>
                </c:pt>
                <c:pt idx="5618">
                  <c:v>7.219078313219522</c:v>
                </c:pt>
                <c:pt idx="5619">
                  <c:v>5.8936541564882656</c:v>
                </c:pt>
                <c:pt idx="5620">
                  <c:v>5.9889055221173262</c:v>
                </c:pt>
                <c:pt idx="5621">
                  <c:v>6.0092250180886282</c:v>
                </c:pt>
                <c:pt idx="5622">
                  <c:v>5.8829398577082239</c:v>
                </c:pt>
                <c:pt idx="5623">
                  <c:v>7.0151933488848481</c:v>
                </c:pt>
                <c:pt idx="5624">
                  <c:v>6.0679804770466284</c:v>
                </c:pt>
                <c:pt idx="5625">
                  <c:v>5.8659515770043926</c:v>
                </c:pt>
                <c:pt idx="5626">
                  <c:v>6.0791602219343215</c:v>
                </c:pt>
                <c:pt idx="5627">
                  <c:v>5.9750316819585549</c:v>
                </c:pt>
                <c:pt idx="5628">
                  <c:v>6.0147635502212085</c:v>
                </c:pt>
                <c:pt idx="5629">
                  <c:v>6.1943433987637615</c:v>
                </c:pt>
                <c:pt idx="5630">
                  <c:v>5.0312158812224057</c:v>
                </c:pt>
                <c:pt idx="5631">
                  <c:v>6.0328751020596627</c:v>
                </c:pt>
                <c:pt idx="5632">
                  <c:v>5.1251499329090802</c:v>
                </c:pt>
                <c:pt idx="5633">
                  <c:v>5.8989221708765873</c:v>
                </c:pt>
                <c:pt idx="5634">
                  <c:v>6.9469199019240886</c:v>
                </c:pt>
                <c:pt idx="5635">
                  <c:v>4.9048990998214022</c:v>
                </c:pt>
                <c:pt idx="5636">
                  <c:v>5.06972730670108</c:v>
                </c:pt>
                <c:pt idx="5637">
                  <c:v>5.84966039631753</c:v>
                </c:pt>
                <c:pt idx="5638">
                  <c:v>5.0422400778664764</c:v>
                </c:pt>
                <c:pt idx="5639">
                  <c:v>3.0175703574209796</c:v>
                </c:pt>
                <c:pt idx="5640">
                  <c:v>5.0026121795344443</c:v>
                </c:pt>
                <c:pt idx="5641">
                  <c:v>5.9200788711064956</c:v>
                </c:pt>
                <c:pt idx="5642">
                  <c:v>5.1531870433899902</c:v>
                </c:pt>
                <c:pt idx="5643">
                  <c:v>5.0617969239956455</c:v>
                </c:pt>
                <c:pt idx="5644">
                  <c:v>5.9917022726768128</c:v>
                </c:pt>
                <c:pt idx="5645">
                  <c:v>5.9499658291173168</c:v>
                </c:pt>
                <c:pt idx="5646">
                  <c:v>5.0107290879045197</c:v>
                </c:pt>
                <c:pt idx="5647">
                  <c:v>6.8640830706757026</c:v>
                </c:pt>
                <c:pt idx="5648">
                  <c:v>4.9885848558884556</c:v>
                </c:pt>
                <c:pt idx="5649">
                  <c:v>6.0217299370350315</c:v>
                </c:pt>
                <c:pt idx="5650">
                  <c:v>5.9705137531587935</c:v>
                </c:pt>
                <c:pt idx="5651">
                  <c:v>4.893715123119077</c:v>
                </c:pt>
                <c:pt idx="5652">
                  <c:v>7.1064289827383957</c:v>
                </c:pt>
                <c:pt idx="5653">
                  <c:v>5.0438969625882093</c:v>
                </c:pt>
                <c:pt idx="5654">
                  <c:v>6.9743070798408091</c:v>
                </c:pt>
                <c:pt idx="5655">
                  <c:v>4.9955500587194415</c:v>
                </c:pt>
                <c:pt idx="5656">
                  <c:v>5.0612670924030878</c:v>
                </c:pt>
                <c:pt idx="5657">
                  <c:v>6.0954710832605628</c:v>
                </c:pt>
                <c:pt idx="5658">
                  <c:v>6.0356007137053362</c:v>
                </c:pt>
                <c:pt idx="5659">
                  <c:v>6.8524452807194951</c:v>
                </c:pt>
                <c:pt idx="5660">
                  <c:v>7.1839254015376701</c:v>
                </c:pt>
                <c:pt idx="5661">
                  <c:v>5.9839173536892325</c:v>
                </c:pt>
                <c:pt idx="5662">
                  <c:v>5.2606687683219624</c:v>
                </c:pt>
                <c:pt idx="5663">
                  <c:v>5.2061785543739472</c:v>
                </c:pt>
                <c:pt idx="5664">
                  <c:v>6.0620599839296476</c:v>
                </c:pt>
                <c:pt idx="5665">
                  <c:v>5.9810435978576066</c:v>
                </c:pt>
                <c:pt idx="5666">
                  <c:v>7.1629915354775431</c:v>
                </c:pt>
                <c:pt idx="5667">
                  <c:v>5.9426519572710115</c:v>
                </c:pt>
                <c:pt idx="5668">
                  <c:v>4.9666205581149301</c:v>
                </c:pt>
                <c:pt idx="5669">
                  <c:v>5.2540758614563208</c:v>
                </c:pt>
                <c:pt idx="5670">
                  <c:v>5.8772318234097272</c:v>
                </c:pt>
                <c:pt idx="5671">
                  <c:v>5.9084005232021832</c:v>
                </c:pt>
                <c:pt idx="5672">
                  <c:v>6.1572897106634308</c:v>
                </c:pt>
                <c:pt idx="5673">
                  <c:v>6.8830341347676596</c:v>
                </c:pt>
                <c:pt idx="5674">
                  <c:v>6.0004323400522193</c:v>
                </c:pt>
                <c:pt idx="5675">
                  <c:v>5.0102661373188058</c:v>
                </c:pt>
                <c:pt idx="5676">
                  <c:v>5.0232184057586169</c:v>
                </c:pt>
                <c:pt idx="5677">
                  <c:v>5.9347542719745991</c:v>
                </c:pt>
                <c:pt idx="5678">
                  <c:v>7.009452975441163</c:v>
                </c:pt>
                <c:pt idx="5679">
                  <c:v>4.891067111203963</c:v>
                </c:pt>
                <c:pt idx="5680">
                  <c:v>6.0598963604989482</c:v>
                </c:pt>
                <c:pt idx="5681">
                  <c:v>6.1203879168370827</c:v>
                </c:pt>
                <c:pt idx="5682">
                  <c:v>6.0012189330366468</c:v>
                </c:pt>
                <c:pt idx="5683">
                  <c:v>5.982554619563782</c:v>
                </c:pt>
                <c:pt idx="5684">
                  <c:v>6.0044336557499918</c:v>
                </c:pt>
                <c:pt idx="5685">
                  <c:v>4.8817204654003161</c:v>
                </c:pt>
                <c:pt idx="5686">
                  <c:v>6.1273487991051629</c:v>
                </c:pt>
                <c:pt idx="5687">
                  <c:v>5.0975507589078264</c:v>
                </c:pt>
                <c:pt idx="5688">
                  <c:v>5.8926478998775833</c:v>
                </c:pt>
                <c:pt idx="5689">
                  <c:v>4.9416685532140949</c:v>
                </c:pt>
                <c:pt idx="5690">
                  <c:v>5.1011201634604495</c:v>
                </c:pt>
                <c:pt idx="5691">
                  <c:v>6.1076212356661808</c:v>
                </c:pt>
                <c:pt idx="5692">
                  <c:v>6.0968239842630796</c:v>
                </c:pt>
                <c:pt idx="5693">
                  <c:v>6.0281583754097259</c:v>
                </c:pt>
                <c:pt idx="5694">
                  <c:v>4.9286155754872105</c:v>
                </c:pt>
                <c:pt idx="5695">
                  <c:v>6.0200706597737286</c:v>
                </c:pt>
                <c:pt idx="5696">
                  <c:v>4.0155007614491804</c:v>
                </c:pt>
                <c:pt idx="5697">
                  <c:v>6.0635443072508517</c:v>
                </c:pt>
                <c:pt idx="5698">
                  <c:v>6.0270107170444422</c:v>
                </c:pt>
                <c:pt idx="5699">
                  <c:v>5.9615189615018593</c:v>
                </c:pt>
                <c:pt idx="5700">
                  <c:v>6.0388107073425044</c:v>
                </c:pt>
                <c:pt idx="5701">
                  <c:v>5.9886733295088561</c:v>
                </c:pt>
                <c:pt idx="5702">
                  <c:v>5.9399486250124438</c:v>
                </c:pt>
                <c:pt idx="5703">
                  <c:v>6.008360295295021</c:v>
                </c:pt>
                <c:pt idx="5704">
                  <c:v>4.9065106360008279</c:v>
                </c:pt>
                <c:pt idx="5705">
                  <c:v>4.9492091689825015</c:v>
                </c:pt>
                <c:pt idx="5706">
                  <c:v>5.8192642073452703</c:v>
                </c:pt>
                <c:pt idx="5707">
                  <c:v>4.9275261111759043</c:v>
                </c:pt>
                <c:pt idx="5708">
                  <c:v>6.0011872460416011</c:v>
                </c:pt>
                <c:pt idx="5709">
                  <c:v>6.0662742410787915</c:v>
                </c:pt>
                <c:pt idx="5710">
                  <c:v>4.9636817141146086</c:v>
                </c:pt>
                <c:pt idx="5711">
                  <c:v>5.8915019210302493</c:v>
                </c:pt>
                <c:pt idx="5712">
                  <c:v>6.0867480507498524</c:v>
                </c:pt>
                <c:pt idx="5713">
                  <c:v>5.0592543405723696</c:v>
                </c:pt>
                <c:pt idx="5714">
                  <c:v>6.042423318155266</c:v>
                </c:pt>
                <c:pt idx="5715">
                  <c:v>5.8869978519636401</c:v>
                </c:pt>
                <c:pt idx="5716">
                  <c:v>5.9898394251994658</c:v>
                </c:pt>
                <c:pt idx="5717">
                  <c:v>5.92140640090257</c:v>
                </c:pt>
                <c:pt idx="5718">
                  <c:v>6.1641728940766534</c:v>
                </c:pt>
                <c:pt idx="5719">
                  <c:v>4.8849363928859768</c:v>
                </c:pt>
                <c:pt idx="5720">
                  <c:v>5.8530849015889821</c:v>
                </c:pt>
                <c:pt idx="5721">
                  <c:v>5.8809163866226948</c:v>
                </c:pt>
                <c:pt idx="5722">
                  <c:v>4.9566764669844172</c:v>
                </c:pt>
                <c:pt idx="5723">
                  <c:v>6.0086730735082625</c:v>
                </c:pt>
                <c:pt idx="5724">
                  <c:v>6.0238612382353063</c:v>
                </c:pt>
                <c:pt idx="5725">
                  <c:v>5.0501546854347099</c:v>
                </c:pt>
                <c:pt idx="5726">
                  <c:v>4.9724413382432404</c:v>
                </c:pt>
                <c:pt idx="5727">
                  <c:v>6.0105348171152642</c:v>
                </c:pt>
                <c:pt idx="5728">
                  <c:v>6.0644785152158009</c:v>
                </c:pt>
                <c:pt idx="5729">
                  <c:v>6.0041802783091622</c:v>
                </c:pt>
                <c:pt idx="5730">
                  <c:v>5.9532938869663807</c:v>
                </c:pt>
                <c:pt idx="5731">
                  <c:v>5.8655962615860329</c:v>
                </c:pt>
                <c:pt idx="5732">
                  <c:v>6.9949716515596565</c:v>
                </c:pt>
                <c:pt idx="5733">
                  <c:v>6.927388602743525</c:v>
                </c:pt>
                <c:pt idx="5734">
                  <c:v>5.1666740685928652</c:v>
                </c:pt>
                <c:pt idx="5735">
                  <c:v>6.2729758511668861</c:v>
                </c:pt>
                <c:pt idx="5736">
                  <c:v>4.9856786470461589</c:v>
                </c:pt>
                <c:pt idx="5737">
                  <c:v>6.0372213889377777</c:v>
                </c:pt>
                <c:pt idx="5738">
                  <c:v>6.1761386181907731</c:v>
                </c:pt>
                <c:pt idx="5739">
                  <c:v>4.9836968506245203</c:v>
                </c:pt>
                <c:pt idx="5740">
                  <c:v>5.0139540153456572</c:v>
                </c:pt>
                <c:pt idx="5741">
                  <c:v>6.0469267618629452</c:v>
                </c:pt>
                <c:pt idx="5742">
                  <c:v>6.1948038737385458</c:v>
                </c:pt>
                <c:pt idx="5743">
                  <c:v>5.9996121854021025</c:v>
                </c:pt>
                <c:pt idx="5744">
                  <c:v>4.9001829268665977</c:v>
                </c:pt>
                <c:pt idx="5745">
                  <c:v>6.1161328310041805</c:v>
                </c:pt>
                <c:pt idx="5746">
                  <c:v>7.2085128009206256</c:v>
                </c:pt>
                <c:pt idx="5747">
                  <c:v>5.9806078884292511</c:v>
                </c:pt>
                <c:pt idx="5748">
                  <c:v>4.9280867963619626</c:v>
                </c:pt>
                <c:pt idx="5749">
                  <c:v>6.8547223303907163</c:v>
                </c:pt>
                <c:pt idx="5750">
                  <c:v>6.1108586408762866</c:v>
                </c:pt>
                <c:pt idx="5751">
                  <c:v>6.2210539306062316</c:v>
                </c:pt>
                <c:pt idx="5752">
                  <c:v>5.9863490842810343</c:v>
                </c:pt>
                <c:pt idx="5753">
                  <c:v>7.0936393176611308</c:v>
                </c:pt>
                <c:pt idx="5754">
                  <c:v>5.850501667451292</c:v>
                </c:pt>
                <c:pt idx="5755">
                  <c:v>6.0394620825123413</c:v>
                </c:pt>
                <c:pt idx="5756">
                  <c:v>4.9834965882636855</c:v>
                </c:pt>
                <c:pt idx="5757">
                  <c:v>5.0493900607464255</c:v>
                </c:pt>
                <c:pt idx="5758">
                  <c:v>6.9197409128662937</c:v>
                </c:pt>
                <c:pt idx="5759">
                  <c:v>4.9880889432431692</c:v>
                </c:pt>
                <c:pt idx="5760">
                  <c:v>4.9798849963614877</c:v>
                </c:pt>
                <c:pt idx="5761">
                  <c:v>5.9038338422937153</c:v>
                </c:pt>
                <c:pt idx="5762">
                  <c:v>4.9743799161651134</c:v>
                </c:pt>
                <c:pt idx="5763">
                  <c:v>4.9446874687970821</c:v>
                </c:pt>
                <c:pt idx="5764">
                  <c:v>6.0987798500547283</c:v>
                </c:pt>
                <c:pt idx="5765">
                  <c:v>6.077912872062873</c:v>
                </c:pt>
                <c:pt idx="5766">
                  <c:v>5.6869858282154198</c:v>
                </c:pt>
                <c:pt idx="5767">
                  <c:v>5.8912642378261157</c:v>
                </c:pt>
                <c:pt idx="5768">
                  <c:v>5.9682037285061558</c:v>
                </c:pt>
                <c:pt idx="5769">
                  <c:v>5.8535879075646902</c:v>
                </c:pt>
                <c:pt idx="5770">
                  <c:v>6.0405416879960931</c:v>
                </c:pt>
                <c:pt idx="5771">
                  <c:v>4.9032763482300066</c:v>
                </c:pt>
                <c:pt idx="5772">
                  <c:v>5.9882109630477185</c:v>
                </c:pt>
                <c:pt idx="5773">
                  <c:v>4.9342146772181197</c:v>
                </c:pt>
                <c:pt idx="5774">
                  <c:v>5.0475259700600317</c:v>
                </c:pt>
                <c:pt idx="5775">
                  <c:v>6.1960665835988218</c:v>
                </c:pt>
                <c:pt idx="5776">
                  <c:v>6.0839612961310676</c:v>
                </c:pt>
                <c:pt idx="5777">
                  <c:v>5.9751847740235888</c:v>
                </c:pt>
                <c:pt idx="5778">
                  <c:v>5.9958473570572579</c:v>
                </c:pt>
                <c:pt idx="5779">
                  <c:v>6.0476387922308401</c:v>
                </c:pt>
                <c:pt idx="5780">
                  <c:v>6.1065960093289871</c:v>
                </c:pt>
                <c:pt idx="5781">
                  <c:v>5.1082173683401741</c:v>
                </c:pt>
                <c:pt idx="5782">
                  <c:v>4.9594961623017992</c:v>
                </c:pt>
                <c:pt idx="5783">
                  <c:v>5.8770478478992842</c:v>
                </c:pt>
                <c:pt idx="5784">
                  <c:v>4.9595328860403471</c:v>
                </c:pt>
                <c:pt idx="5785">
                  <c:v>4.8719559816384406</c:v>
                </c:pt>
                <c:pt idx="5786">
                  <c:v>4.1582435324211025</c:v>
                </c:pt>
                <c:pt idx="5787">
                  <c:v>6.9442179069987384</c:v>
                </c:pt>
                <c:pt idx="5788">
                  <c:v>6.8714768441255174</c:v>
                </c:pt>
                <c:pt idx="5789">
                  <c:v>7.0545212589639945</c:v>
                </c:pt>
                <c:pt idx="5790">
                  <c:v>5.9542347291066644</c:v>
                </c:pt>
                <c:pt idx="5791">
                  <c:v>6.0862127675639632</c:v>
                </c:pt>
                <c:pt idx="5792">
                  <c:v>4.9652019054496117</c:v>
                </c:pt>
                <c:pt idx="5793">
                  <c:v>6.0618734917958026</c:v>
                </c:pt>
                <c:pt idx="5794">
                  <c:v>7.1607051178820242</c:v>
                </c:pt>
                <c:pt idx="5795">
                  <c:v>5.9285187257297842</c:v>
                </c:pt>
                <c:pt idx="5796">
                  <c:v>4.9820510835506386</c:v>
                </c:pt>
                <c:pt idx="5797">
                  <c:v>6.0380889233858461</c:v>
                </c:pt>
                <c:pt idx="5798">
                  <c:v>4.8615869887187584</c:v>
                </c:pt>
                <c:pt idx="5799">
                  <c:v>5.8822961233894491</c:v>
                </c:pt>
                <c:pt idx="5800">
                  <c:v>6.9639573941179167</c:v>
                </c:pt>
                <c:pt idx="5801">
                  <c:v>5.0233465828118931</c:v>
                </c:pt>
                <c:pt idx="5802">
                  <c:v>7.0191602871682877</c:v>
                </c:pt>
                <c:pt idx="5803">
                  <c:v>5.0098736702998607</c:v>
                </c:pt>
                <c:pt idx="5804">
                  <c:v>7.0883564847577007</c:v>
                </c:pt>
                <c:pt idx="5805">
                  <c:v>4.967457313444303</c:v>
                </c:pt>
                <c:pt idx="5806">
                  <c:v>4.8393307044827241</c:v>
                </c:pt>
                <c:pt idx="5807">
                  <c:v>5.8722745757800894</c:v>
                </c:pt>
                <c:pt idx="5808">
                  <c:v>5.9400125151387106</c:v>
                </c:pt>
                <c:pt idx="5809">
                  <c:v>4.8824724865913041</c:v>
                </c:pt>
                <c:pt idx="5810">
                  <c:v>5.9165881794963679</c:v>
                </c:pt>
                <c:pt idx="5811">
                  <c:v>6.0490197993063006</c:v>
                </c:pt>
                <c:pt idx="5812">
                  <c:v>4.9270879291538652</c:v>
                </c:pt>
                <c:pt idx="5813">
                  <c:v>5.0532613160518283</c:v>
                </c:pt>
                <c:pt idx="5814">
                  <c:v>6.1394504950059359</c:v>
                </c:pt>
                <c:pt idx="5815">
                  <c:v>5.0555871553989435</c:v>
                </c:pt>
                <c:pt idx="5816">
                  <c:v>5.8703345197724914</c:v>
                </c:pt>
                <c:pt idx="5817">
                  <c:v>5.997719362533565</c:v>
                </c:pt>
                <c:pt idx="5818">
                  <c:v>5.8887405839248528</c:v>
                </c:pt>
                <c:pt idx="5819">
                  <c:v>5.9808764980755678</c:v>
                </c:pt>
                <c:pt idx="5820">
                  <c:v>5.8904736406782003</c:v>
                </c:pt>
                <c:pt idx="5821">
                  <c:v>4.9923694462453936</c:v>
                </c:pt>
                <c:pt idx="5822">
                  <c:v>6.0852397541475041</c:v>
                </c:pt>
                <c:pt idx="5823">
                  <c:v>4.9556798320766156</c:v>
                </c:pt>
                <c:pt idx="5824">
                  <c:v>4.9873127366995522</c:v>
                </c:pt>
                <c:pt idx="5825">
                  <c:v>5.0242890678148351</c:v>
                </c:pt>
                <c:pt idx="5826">
                  <c:v>4.8179491301909811</c:v>
                </c:pt>
                <c:pt idx="5827">
                  <c:v>6.1413024422858555</c:v>
                </c:pt>
                <c:pt idx="5828">
                  <c:v>5.9811798104514686</c:v>
                </c:pt>
                <c:pt idx="5829">
                  <c:v>4.9128250049996076</c:v>
                </c:pt>
                <c:pt idx="5830">
                  <c:v>6.0659683809102711</c:v>
                </c:pt>
                <c:pt idx="5831">
                  <c:v>4.9022589113400903</c:v>
                </c:pt>
                <c:pt idx="5832">
                  <c:v>6.2139270631973131</c:v>
                </c:pt>
                <c:pt idx="5833">
                  <c:v>7.096576340930679</c:v>
                </c:pt>
                <c:pt idx="5834">
                  <c:v>5.9216681657407992</c:v>
                </c:pt>
                <c:pt idx="5835">
                  <c:v>6.0830749023396802</c:v>
                </c:pt>
                <c:pt idx="5836">
                  <c:v>5.88134950596677</c:v>
                </c:pt>
                <c:pt idx="5837">
                  <c:v>5.9545955199348821</c:v>
                </c:pt>
                <c:pt idx="5838">
                  <c:v>6.0413672060798733</c:v>
                </c:pt>
                <c:pt idx="5839">
                  <c:v>5.9016541599601409</c:v>
                </c:pt>
                <c:pt idx="5840">
                  <c:v>6.0176032335290133</c:v>
                </c:pt>
                <c:pt idx="5841">
                  <c:v>5.0906902401058858</c:v>
                </c:pt>
                <c:pt idx="5842">
                  <c:v>4.9326353132978848</c:v>
                </c:pt>
                <c:pt idx="5843">
                  <c:v>5.9644828336949409</c:v>
                </c:pt>
                <c:pt idx="5844">
                  <c:v>6.0578741926520836</c:v>
                </c:pt>
                <c:pt idx="5845">
                  <c:v>5.170961029897156</c:v>
                </c:pt>
                <c:pt idx="5846">
                  <c:v>4.9322380708867088</c:v>
                </c:pt>
                <c:pt idx="5847">
                  <c:v>5.0363927383604228</c:v>
                </c:pt>
                <c:pt idx="5848">
                  <c:v>6.1642176275078571</c:v>
                </c:pt>
                <c:pt idx="5849">
                  <c:v>5.0938389204866548</c:v>
                </c:pt>
                <c:pt idx="5850">
                  <c:v>6.0346959345105011</c:v>
                </c:pt>
                <c:pt idx="5851">
                  <c:v>5.1812971745902239</c:v>
                </c:pt>
                <c:pt idx="5852">
                  <c:v>5.1075065648958873</c:v>
                </c:pt>
                <c:pt idx="5853">
                  <c:v>6.0014172835695723</c:v>
                </c:pt>
                <c:pt idx="5854">
                  <c:v>5.0212670931338854</c:v>
                </c:pt>
                <c:pt idx="5855">
                  <c:v>4.9817625550536464</c:v>
                </c:pt>
                <c:pt idx="5856">
                  <c:v>4.855985063423228</c:v>
                </c:pt>
                <c:pt idx="5857">
                  <c:v>6.0474129496089022</c:v>
                </c:pt>
                <c:pt idx="5858">
                  <c:v>4.9216825011173624</c:v>
                </c:pt>
                <c:pt idx="5859">
                  <c:v>5.1911536342320446</c:v>
                </c:pt>
                <c:pt idx="5860">
                  <c:v>5.1106375109125679</c:v>
                </c:pt>
                <c:pt idx="5861">
                  <c:v>6.1076833270247191</c:v>
                </c:pt>
                <c:pt idx="5862">
                  <c:v>5.012807162358289</c:v>
                </c:pt>
                <c:pt idx="5863">
                  <c:v>5.0936060635098395</c:v>
                </c:pt>
                <c:pt idx="5864">
                  <c:v>6.149357633323981</c:v>
                </c:pt>
                <c:pt idx="5865">
                  <c:v>6.0835505855387879</c:v>
                </c:pt>
                <c:pt idx="5866">
                  <c:v>7.1327655794094529</c:v>
                </c:pt>
                <c:pt idx="5867">
                  <c:v>5.9429588643171547</c:v>
                </c:pt>
                <c:pt idx="5868">
                  <c:v>5.0309859786583901</c:v>
                </c:pt>
                <c:pt idx="5869">
                  <c:v>5.0375287637335049</c:v>
                </c:pt>
                <c:pt idx="5870">
                  <c:v>7.2606052056494645</c:v>
                </c:pt>
                <c:pt idx="5871">
                  <c:v>5.015992636593066</c:v>
                </c:pt>
                <c:pt idx="5872">
                  <c:v>4.8140027795585203</c:v>
                </c:pt>
                <c:pt idx="5873">
                  <c:v>6.0753570862487063</c:v>
                </c:pt>
                <c:pt idx="5874">
                  <c:v>4.9001305925295213</c:v>
                </c:pt>
                <c:pt idx="5875">
                  <c:v>6.0072726620754571</c:v>
                </c:pt>
                <c:pt idx="5876">
                  <c:v>6.0384375338234388</c:v>
                </c:pt>
                <c:pt idx="5877">
                  <c:v>5.0663304296821945</c:v>
                </c:pt>
                <c:pt idx="5878">
                  <c:v>5.8458418977774302</c:v>
                </c:pt>
                <c:pt idx="5879">
                  <c:v>5.9157779799163031</c:v>
                </c:pt>
                <c:pt idx="5880">
                  <c:v>6.0181139326708291</c:v>
                </c:pt>
                <c:pt idx="5881">
                  <c:v>5.1001353682217685</c:v>
                </c:pt>
                <c:pt idx="5882">
                  <c:v>4.9040164714233017</c:v>
                </c:pt>
                <c:pt idx="5883">
                  <c:v>5.0818686079781497</c:v>
                </c:pt>
                <c:pt idx="5884">
                  <c:v>5.9271009971323556</c:v>
                </c:pt>
                <c:pt idx="5885">
                  <c:v>4.9019817225156359</c:v>
                </c:pt>
                <c:pt idx="5886">
                  <c:v>6.9225371586633777</c:v>
                </c:pt>
                <c:pt idx="5887">
                  <c:v>5.077342920076326</c:v>
                </c:pt>
                <c:pt idx="5888">
                  <c:v>5.0466542332285469</c:v>
                </c:pt>
                <c:pt idx="5889">
                  <c:v>4.8871569397669168</c:v>
                </c:pt>
                <c:pt idx="5890">
                  <c:v>5.0906182520413257</c:v>
                </c:pt>
                <c:pt idx="5891">
                  <c:v>4.8953218597107213</c:v>
                </c:pt>
                <c:pt idx="5892">
                  <c:v>5.9418925360905828</c:v>
                </c:pt>
                <c:pt idx="5893">
                  <c:v>5.2369494478617806</c:v>
                </c:pt>
                <c:pt idx="5894">
                  <c:v>5.9793300923950987</c:v>
                </c:pt>
                <c:pt idx="5895">
                  <c:v>4.9948349461480586</c:v>
                </c:pt>
                <c:pt idx="5896">
                  <c:v>4.8828273286495323</c:v>
                </c:pt>
                <c:pt idx="5897">
                  <c:v>5.8240330270710725</c:v>
                </c:pt>
                <c:pt idx="5898">
                  <c:v>5.9711006819119889</c:v>
                </c:pt>
                <c:pt idx="5899">
                  <c:v>5.054619730624224</c:v>
                </c:pt>
                <c:pt idx="5900">
                  <c:v>5.9006270573430015</c:v>
                </c:pt>
                <c:pt idx="5901">
                  <c:v>5.181929713247964</c:v>
                </c:pt>
                <c:pt idx="5902">
                  <c:v>5.1065079639370961</c:v>
                </c:pt>
                <c:pt idx="5903">
                  <c:v>5.1499231154230527</c:v>
                </c:pt>
                <c:pt idx="5904">
                  <c:v>5.0526219492975954</c:v>
                </c:pt>
                <c:pt idx="5905">
                  <c:v>5.9571026580280391</c:v>
                </c:pt>
                <c:pt idx="5906">
                  <c:v>5.9362037076585503</c:v>
                </c:pt>
                <c:pt idx="5907">
                  <c:v>4.9497334022792359</c:v>
                </c:pt>
                <c:pt idx="5908">
                  <c:v>5.9158051717744096</c:v>
                </c:pt>
                <c:pt idx="5909">
                  <c:v>5.0057959941301844</c:v>
                </c:pt>
                <c:pt idx="5910">
                  <c:v>4.9524405514283139</c:v>
                </c:pt>
                <c:pt idx="5911">
                  <c:v>6.1538022984544334</c:v>
                </c:pt>
                <c:pt idx="5912">
                  <c:v>5.0581016540045702</c:v>
                </c:pt>
                <c:pt idx="5913">
                  <c:v>6.1361617731397438</c:v>
                </c:pt>
                <c:pt idx="5914">
                  <c:v>5.1040146944046274</c:v>
                </c:pt>
                <c:pt idx="5915">
                  <c:v>5.0979099881917938</c:v>
                </c:pt>
                <c:pt idx="5916">
                  <c:v>6.060135474264924</c:v>
                </c:pt>
                <c:pt idx="5917">
                  <c:v>5.126888766183253</c:v>
                </c:pt>
                <c:pt idx="5918">
                  <c:v>5.9535150369739309</c:v>
                </c:pt>
                <c:pt idx="5919">
                  <c:v>5.9923820615031342</c:v>
                </c:pt>
                <c:pt idx="5920">
                  <c:v>5.9969666163475024</c:v>
                </c:pt>
                <c:pt idx="5921">
                  <c:v>4.9954800989043067</c:v>
                </c:pt>
                <c:pt idx="5922">
                  <c:v>3.9705893270316492</c:v>
                </c:pt>
                <c:pt idx="5923">
                  <c:v>4.888434982575343</c:v>
                </c:pt>
                <c:pt idx="5924">
                  <c:v>4.9036325825607667</c:v>
                </c:pt>
                <c:pt idx="5925">
                  <c:v>6.0940434043371141</c:v>
                </c:pt>
                <c:pt idx="5926">
                  <c:v>5.0791710701368933</c:v>
                </c:pt>
                <c:pt idx="5927">
                  <c:v>6.0411756255557556</c:v>
                </c:pt>
                <c:pt idx="5928">
                  <c:v>6.1331008348633995</c:v>
                </c:pt>
                <c:pt idx="5929">
                  <c:v>6.2679350444192252</c:v>
                </c:pt>
                <c:pt idx="5930">
                  <c:v>3.0340737877839086</c:v>
                </c:pt>
                <c:pt idx="5931">
                  <c:v>5.1147983775140569</c:v>
                </c:pt>
                <c:pt idx="5932">
                  <c:v>5.84841881414967</c:v>
                </c:pt>
                <c:pt idx="5933">
                  <c:v>5.0363934000429973</c:v>
                </c:pt>
                <c:pt idx="5934">
                  <c:v>5.108217111249755</c:v>
                </c:pt>
                <c:pt idx="5935">
                  <c:v>5.9228823227321135</c:v>
                </c:pt>
                <c:pt idx="5936">
                  <c:v>4.972172692509063</c:v>
                </c:pt>
                <c:pt idx="5937">
                  <c:v>6.0892487797818449</c:v>
                </c:pt>
                <c:pt idx="5938">
                  <c:v>5.981524842671881</c:v>
                </c:pt>
                <c:pt idx="5939">
                  <c:v>5.8432838189187226</c:v>
                </c:pt>
                <c:pt idx="5940">
                  <c:v>5.0826773168127115</c:v>
                </c:pt>
                <c:pt idx="5941">
                  <c:v>5.150999361817826</c:v>
                </c:pt>
                <c:pt idx="5942">
                  <c:v>6.1265502797441886</c:v>
                </c:pt>
                <c:pt idx="5943">
                  <c:v>6.0862470560854813</c:v>
                </c:pt>
                <c:pt idx="5944">
                  <c:v>5.0471215474082962</c:v>
                </c:pt>
                <c:pt idx="5945">
                  <c:v>4.9505806354430657</c:v>
                </c:pt>
                <c:pt idx="5946">
                  <c:v>6.0904555781752192</c:v>
                </c:pt>
                <c:pt idx="5947">
                  <c:v>4.8747461880464948</c:v>
                </c:pt>
                <c:pt idx="5948">
                  <c:v>5.0381885064721672</c:v>
                </c:pt>
                <c:pt idx="5949">
                  <c:v>5.8717134973971108</c:v>
                </c:pt>
                <c:pt idx="5950">
                  <c:v>5.7747505961644219</c:v>
                </c:pt>
                <c:pt idx="5951">
                  <c:v>5.9155902455795495</c:v>
                </c:pt>
                <c:pt idx="5952">
                  <c:v>6.1864587667370987</c:v>
                </c:pt>
                <c:pt idx="5953">
                  <c:v>5.9821623409150702</c:v>
                </c:pt>
                <c:pt idx="5954">
                  <c:v>6.0116129726912666</c:v>
                </c:pt>
                <c:pt idx="5955">
                  <c:v>6.1167423669917333</c:v>
                </c:pt>
                <c:pt idx="5956">
                  <c:v>5.0530650513902264</c:v>
                </c:pt>
                <c:pt idx="5957">
                  <c:v>6.2734318417322212</c:v>
                </c:pt>
                <c:pt idx="5958">
                  <c:v>5.116751873410295</c:v>
                </c:pt>
                <c:pt idx="5959">
                  <c:v>6.018596638540104</c:v>
                </c:pt>
                <c:pt idx="5960">
                  <c:v>5.8727165462584106</c:v>
                </c:pt>
                <c:pt idx="5961">
                  <c:v>5.1080778912240143</c:v>
                </c:pt>
                <c:pt idx="5962">
                  <c:v>4.9609066836537092</c:v>
                </c:pt>
                <c:pt idx="5963">
                  <c:v>5.9723899121335844</c:v>
                </c:pt>
                <c:pt idx="5964">
                  <c:v>4.8705480773059211</c:v>
                </c:pt>
                <c:pt idx="5965">
                  <c:v>5.9504944816563716</c:v>
                </c:pt>
                <c:pt idx="5966">
                  <c:v>4.9630955519889204</c:v>
                </c:pt>
                <c:pt idx="5967">
                  <c:v>5.7885814464726391</c:v>
                </c:pt>
                <c:pt idx="5968">
                  <c:v>4.9938829965407319</c:v>
                </c:pt>
                <c:pt idx="5969">
                  <c:v>6.12167642223163</c:v>
                </c:pt>
                <c:pt idx="5970">
                  <c:v>5.0704329747903225</c:v>
                </c:pt>
                <c:pt idx="5971">
                  <c:v>6.0652333224548096</c:v>
                </c:pt>
                <c:pt idx="5972">
                  <c:v>5.9710838513148161</c:v>
                </c:pt>
                <c:pt idx="5973">
                  <c:v>5.8753901054246285</c:v>
                </c:pt>
                <c:pt idx="5974">
                  <c:v>6.0832465983788877</c:v>
                </c:pt>
                <c:pt idx="5975">
                  <c:v>5.9055794725594746</c:v>
                </c:pt>
                <c:pt idx="5976">
                  <c:v>5.1550927085006615</c:v>
                </c:pt>
                <c:pt idx="5977">
                  <c:v>4.9844826295915663</c:v>
                </c:pt>
                <c:pt idx="5978">
                  <c:v>5.9056673523765495</c:v>
                </c:pt>
                <c:pt idx="5979">
                  <c:v>5.0407237776735867</c:v>
                </c:pt>
                <c:pt idx="5980">
                  <c:v>5.1616177194306889</c:v>
                </c:pt>
                <c:pt idx="5981">
                  <c:v>5.9378410678149649</c:v>
                </c:pt>
                <c:pt idx="5982">
                  <c:v>5.9486948067098053</c:v>
                </c:pt>
                <c:pt idx="5983">
                  <c:v>6.1263997455304704</c:v>
                </c:pt>
                <c:pt idx="5984">
                  <c:v>4.8934009734528381</c:v>
                </c:pt>
                <c:pt idx="5985">
                  <c:v>5.0342534872675966</c:v>
                </c:pt>
                <c:pt idx="5986">
                  <c:v>4.9643626324704986</c:v>
                </c:pt>
                <c:pt idx="5987">
                  <c:v>4.88128027979878</c:v>
                </c:pt>
                <c:pt idx="5988">
                  <c:v>5.883182663738773</c:v>
                </c:pt>
                <c:pt idx="5989">
                  <c:v>6.1140232628248539</c:v>
                </c:pt>
                <c:pt idx="5990">
                  <c:v>6.0153952161881152</c:v>
                </c:pt>
                <c:pt idx="5991">
                  <c:v>4.9110151483676052</c:v>
                </c:pt>
                <c:pt idx="5992">
                  <c:v>6.0988474188281305</c:v>
                </c:pt>
                <c:pt idx="5993">
                  <c:v>5.0025231739855478</c:v>
                </c:pt>
                <c:pt idx="5994">
                  <c:v>6.0463618667994936</c:v>
                </c:pt>
                <c:pt idx="5995">
                  <c:v>6.0999062117870517</c:v>
                </c:pt>
                <c:pt idx="5996">
                  <c:v>5.0976580278379435</c:v>
                </c:pt>
                <c:pt idx="5997">
                  <c:v>5.9023155341411364</c:v>
                </c:pt>
                <c:pt idx="5998">
                  <c:v>5.091452561420386</c:v>
                </c:pt>
                <c:pt idx="5999">
                  <c:v>5.9236775027311008</c:v>
                </c:pt>
                <c:pt idx="6000">
                  <c:v>7.0702086144194762</c:v>
                </c:pt>
                <c:pt idx="6001">
                  <c:v>5.9090689003270018</c:v>
                </c:pt>
                <c:pt idx="6002">
                  <c:v>5.219422346918396</c:v>
                </c:pt>
                <c:pt idx="6003">
                  <c:v>5.9495228737808636</c:v>
                </c:pt>
                <c:pt idx="6004">
                  <c:v>4.9396257770304208</c:v>
                </c:pt>
                <c:pt idx="6005">
                  <c:v>5.1274676757753967</c:v>
                </c:pt>
                <c:pt idx="6006">
                  <c:v>6.045575281692015</c:v>
                </c:pt>
                <c:pt idx="6007">
                  <c:v>6.1794958804313209</c:v>
                </c:pt>
                <c:pt idx="6008">
                  <c:v>4.9288662789971776</c:v>
                </c:pt>
                <c:pt idx="6009">
                  <c:v>6.0266343381132907</c:v>
                </c:pt>
                <c:pt idx="6010">
                  <c:v>5.0491870648885344</c:v>
                </c:pt>
                <c:pt idx="6011">
                  <c:v>5.1017586665710972</c:v>
                </c:pt>
                <c:pt idx="6012">
                  <c:v>5.963258281021913</c:v>
                </c:pt>
                <c:pt idx="6013">
                  <c:v>5.1083231346518865</c:v>
                </c:pt>
                <c:pt idx="6014">
                  <c:v>5.0401540163709546</c:v>
                </c:pt>
                <c:pt idx="6015">
                  <c:v>5.9718062281307116</c:v>
                </c:pt>
                <c:pt idx="6016">
                  <c:v>5.1050276038387041</c:v>
                </c:pt>
                <c:pt idx="6017">
                  <c:v>6.0481677958733098</c:v>
                </c:pt>
                <c:pt idx="6018">
                  <c:v>6.066355837763254</c:v>
                </c:pt>
                <c:pt idx="6019">
                  <c:v>5.971395233934313</c:v>
                </c:pt>
                <c:pt idx="6020">
                  <c:v>5.9812483473483757</c:v>
                </c:pt>
                <c:pt idx="6021">
                  <c:v>4.9257060935047408</c:v>
                </c:pt>
                <c:pt idx="6022">
                  <c:v>5.1281637354048604</c:v>
                </c:pt>
                <c:pt idx="6023">
                  <c:v>6.0954283082594998</c:v>
                </c:pt>
                <c:pt idx="6024">
                  <c:v>6.117697475336219</c:v>
                </c:pt>
                <c:pt idx="6025">
                  <c:v>5.0095141462207833</c:v>
                </c:pt>
                <c:pt idx="6026">
                  <c:v>4.9999593185610482</c:v>
                </c:pt>
                <c:pt idx="6027">
                  <c:v>5.0321992502316846</c:v>
                </c:pt>
                <c:pt idx="6028">
                  <c:v>4.8566287563343788</c:v>
                </c:pt>
                <c:pt idx="6029">
                  <c:v>5.857613292200039</c:v>
                </c:pt>
                <c:pt idx="6030">
                  <c:v>6.010150210068792</c:v>
                </c:pt>
                <c:pt idx="6031">
                  <c:v>4.9244952268236268</c:v>
                </c:pt>
                <c:pt idx="6032">
                  <c:v>5.9422265475526723</c:v>
                </c:pt>
                <c:pt idx="6033">
                  <c:v>5.9679115812436132</c:v>
                </c:pt>
                <c:pt idx="6034">
                  <c:v>3.9383214708636562</c:v>
                </c:pt>
                <c:pt idx="6035">
                  <c:v>4.8034862448130324</c:v>
                </c:pt>
                <c:pt idx="6036">
                  <c:v>5.9207180623988469</c:v>
                </c:pt>
                <c:pt idx="6037">
                  <c:v>5.9184027944880775</c:v>
                </c:pt>
                <c:pt idx="6038">
                  <c:v>5.0598193270132255</c:v>
                </c:pt>
                <c:pt idx="6039">
                  <c:v>5.0821561189922884</c:v>
                </c:pt>
                <c:pt idx="6040">
                  <c:v>4.96861355528792</c:v>
                </c:pt>
                <c:pt idx="6041">
                  <c:v>6.9553751327616355</c:v>
                </c:pt>
                <c:pt idx="6042">
                  <c:v>4.1249300095322488</c:v>
                </c:pt>
                <c:pt idx="6043">
                  <c:v>7.0757704670974153</c:v>
                </c:pt>
                <c:pt idx="6044">
                  <c:v>7.0376212871673136</c:v>
                </c:pt>
                <c:pt idx="6045">
                  <c:v>5.0115134514662083</c:v>
                </c:pt>
                <c:pt idx="6046">
                  <c:v>5.0271905768423393</c:v>
                </c:pt>
                <c:pt idx="6047">
                  <c:v>6.0636173936582018</c:v>
                </c:pt>
                <c:pt idx="6048">
                  <c:v>5.1188971552009637</c:v>
                </c:pt>
                <c:pt idx="6049">
                  <c:v>4.8351631751985078</c:v>
                </c:pt>
                <c:pt idx="6050">
                  <c:v>6.0581884236368326</c:v>
                </c:pt>
                <c:pt idx="6051">
                  <c:v>6.0908735542849062</c:v>
                </c:pt>
                <c:pt idx="6052">
                  <c:v>5.9852327369990634</c:v>
                </c:pt>
                <c:pt idx="6053">
                  <c:v>5.1655788131961149</c:v>
                </c:pt>
                <c:pt idx="6054">
                  <c:v>5.9508370040227616</c:v>
                </c:pt>
                <c:pt idx="6055">
                  <c:v>4.981402448765837</c:v>
                </c:pt>
                <c:pt idx="6056">
                  <c:v>5.9538960368240126</c:v>
                </c:pt>
                <c:pt idx="6057">
                  <c:v>6.2680053523161074</c:v>
                </c:pt>
                <c:pt idx="6058">
                  <c:v>5.9618147488136728</c:v>
                </c:pt>
                <c:pt idx="6059">
                  <c:v>5.9220392266327497</c:v>
                </c:pt>
                <c:pt idx="6060">
                  <c:v>6.1124624854683391</c:v>
                </c:pt>
                <c:pt idx="6061">
                  <c:v>5.7685805453183052</c:v>
                </c:pt>
                <c:pt idx="6062">
                  <c:v>6.0758252167957068</c:v>
                </c:pt>
                <c:pt idx="6063">
                  <c:v>4.922451616744242</c:v>
                </c:pt>
                <c:pt idx="6064">
                  <c:v>6.0687708132296505</c:v>
                </c:pt>
                <c:pt idx="6065">
                  <c:v>5.1040797907875817</c:v>
                </c:pt>
                <c:pt idx="6066">
                  <c:v>5.9550970799621847</c:v>
                </c:pt>
                <c:pt idx="6067">
                  <c:v>6.146711035969779</c:v>
                </c:pt>
                <c:pt idx="6068">
                  <c:v>4.9673102195063938</c:v>
                </c:pt>
                <c:pt idx="6069">
                  <c:v>6.0586416231360571</c:v>
                </c:pt>
                <c:pt idx="6070">
                  <c:v>5.077020143972522</c:v>
                </c:pt>
                <c:pt idx="6071">
                  <c:v>5.0935521576078298</c:v>
                </c:pt>
                <c:pt idx="6072">
                  <c:v>5.8770465736397206</c:v>
                </c:pt>
                <c:pt idx="6073">
                  <c:v>4.9328209936431451</c:v>
                </c:pt>
                <c:pt idx="6074">
                  <c:v>4.9696589153946809</c:v>
                </c:pt>
                <c:pt idx="6075">
                  <c:v>7.0487307603688576</c:v>
                </c:pt>
                <c:pt idx="6076">
                  <c:v>4.7468030726164381</c:v>
                </c:pt>
                <c:pt idx="6077">
                  <c:v>5.9295633914333941</c:v>
                </c:pt>
                <c:pt idx="6078">
                  <c:v>5.9002315483842471</c:v>
                </c:pt>
                <c:pt idx="6079">
                  <c:v>6.0621434615107583</c:v>
                </c:pt>
                <c:pt idx="6080">
                  <c:v>6.1111488227670936</c:v>
                </c:pt>
                <c:pt idx="6081">
                  <c:v>4.9138159348919324</c:v>
                </c:pt>
                <c:pt idx="6082">
                  <c:v>5.9448119546951874</c:v>
                </c:pt>
                <c:pt idx="6083">
                  <c:v>4.9420798900471814</c:v>
                </c:pt>
                <c:pt idx="6084">
                  <c:v>5.053970842353686</c:v>
                </c:pt>
                <c:pt idx="6085">
                  <c:v>6.143424232746777</c:v>
                </c:pt>
                <c:pt idx="6086">
                  <c:v>6.033063624683372</c:v>
                </c:pt>
                <c:pt idx="6087">
                  <c:v>5.0309266357626896</c:v>
                </c:pt>
                <c:pt idx="6088">
                  <c:v>5.1018737222010362</c:v>
                </c:pt>
                <c:pt idx="6089">
                  <c:v>4.9760115600419121</c:v>
                </c:pt>
                <c:pt idx="6090">
                  <c:v>6.0590316173160605</c:v>
                </c:pt>
                <c:pt idx="6091">
                  <c:v>6.0939062796360215</c:v>
                </c:pt>
                <c:pt idx="6092">
                  <c:v>6.1015699743182807</c:v>
                </c:pt>
                <c:pt idx="6093">
                  <c:v>6.0627833770671673</c:v>
                </c:pt>
                <c:pt idx="6094">
                  <c:v>5.0500406649985337</c:v>
                </c:pt>
                <c:pt idx="6095">
                  <c:v>6.027946823737838</c:v>
                </c:pt>
                <c:pt idx="6096">
                  <c:v>4.7975317204533336</c:v>
                </c:pt>
                <c:pt idx="6097">
                  <c:v>5.0440446393471907</c:v>
                </c:pt>
                <c:pt idx="6098">
                  <c:v>5.8849520845780807</c:v>
                </c:pt>
                <c:pt idx="6099">
                  <c:v>6.1158029259058511</c:v>
                </c:pt>
                <c:pt idx="6100">
                  <c:v>5.9094299502614911</c:v>
                </c:pt>
                <c:pt idx="6101">
                  <c:v>4.8677487962849133</c:v>
                </c:pt>
                <c:pt idx="6102">
                  <c:v>4.9023967738560996</c:v>
                </c:pt>
                <c:pt idx="6103">
                  <c:v>5.0571592799239697</c:v>
                </c:pt>
                <c:pt idx="6104">
                  <c:v>4.8937814616281763</c:v>
                </c:pt>
                <c:pt idx="6105">
                  <c:v>6.0150231981307831</c:v>
                </c:pt>
                <c:pt idx="6106">
                  <c:v>4.958756003494261</c:v>
                </c:pt>
                <c:pt idx="6107">
                  <c:v>5.2225878254533882</c:v>
                </c:pt>
                <c:pt idx="6108">
                  <c:v>5.9213468340242388</c:v>
                </c:pt>
                <c:pt idx="6109">
                  <c:v>5.019513383033936</c:v>
                </c:pt>
                <c:pt idx="6110">
                  <c:v>5.1268229150228821</c:v>
                </c:pt>
                <c:pt idx="6111">
                  <c:v>5.1902272164136471</c:v>
                </c:pt>
                <c:pt idx="6112">
                  <c:v>5.9678419773520242</c:v>
                </c:pt>
                <c:pt idx="6113">
                  <c:v>4.9256789095060132</c:v>
                </c:pt>
                <c:pt idx="6114">
                  <c:v>5.9388586291694443</c:v>
                </c:pt>
                <c:pt idx="6115">
                  <c:v>7.063469774529513</c:v>
                </c:pt>
                <c:pt idx="6116">
                  <c:v>4.1330655998994814</c:v>
                </c:pt>
                <c:pt idx="6117">
                  <c:v>7.0570242458860211</c:v>
                </c:pt>
                <c:pt idx="6118">
                  <c:v>5.0519260853673744</c:v>
                </c:pt>
                <c:pt idx="6119">
                  <c:v>5.0976715984517602</c:v>
                </c:pt>
                <c:pt idx="6120">
                  <c:v>3.8801931557204341</c:v>
                </c:pt>
                <c:pt idx="6121">
                  <c:v>6.0998515661512753</c:v>
                </c:pt>
                <c:pt idx="6122">
                  <c:v>5.9517136443524663</c:v>
                </c:pt>
                <c:pt idx="6123">
                  <c:v>6.0498629130028876</c:v>
                </c:pt>
                <c:pt idx="6124">
                  <c:v>6.0251462019258044</c:v>
                </c:pt>
                <c:pt idx="6125">
                  <c:v>4.8477601103379815</c:v>
                </c:pt>
                <c:pt idx="6126">
                  <c:v>5.8668448712404553</c:v>
                </c:pt>
                <c:pt idx="6127">
                  <c:v>6.9330624459163177</c:v>
                </c:pt>
                <c:pt idx="6128">
                  <c:v>6.1955260239602916</c:v>
                </c:pt>
                <c:pt idx="6129">
                  <c:v>4.8017220494071697</c:v>
                </c:pt>
                <c:pt idx="6130">
                  <c:v>5.1283207453322817</c:v>
                </c:pt>
                <c:pt idx="6131">
                  <c:v>5.0328578843084504</c:v>
                </c:pt>
                <c:pt idx="6132">
                  <c:v>5.0509626149509383</c:v>
                </c:pt>
                <c:pt idx="6133">
                  <c:v>6.129889311717152</c:v>
                </c:pt>
                <c:pt idx="6134">
                  <c:v>5.115828614923009</c:v>
                </c:pt>
                <c:pt idx="6135">
                  <c:v>5.637432873390833</c:v>
                </c:pt>
                <c:pt idx="6136">
                  <c:v>4.9222861580085491</c:v>
                </c:pt>
                <c:pt idx="6137">
                  <c:v>5.9845863438070772</c:v>
                </c:pt>
                <c:pt idx="6138">
                  <c:v>5.0271198621907214</c:v>
                </c:pt>
                <c:pt idx="6139">
                  <c:v>4.9997248662482789</c:v>
                </c:pt>
                <c:pt idx="6140">
                  <c:v>5.1726490988273435</c:v>
                </c:pt>
                <c:pt idx="6141">
                  <c:v>4.9747943394275875</c:v>
                </c:pt>
                <c:pt idx="6142">
                  <c:v>4.8284373546013795</c:v>
                </c:pt>
                <c:pt idx="6143">
                  <c:v>5.0632626440735775</c:v>
                </c:pt>
                <c:pt idx="6144">
                  <c:v>5.8670608009145919</c:v>
                </c:pt>
                <c:pt idx="6145">
                  <c:v>5.1164520957690938</c:v>
                </c:pt>
                <c:pt idx="6146">
                  <c:v>5.9106434707223672</c:v>
                </c:pt>
                <c:pt idx="6147">
                  <c:v>5.0101301906734061</c:v>
                </c:pt>
                <c:pt idx="6148">
                  <c:v>5.9178082905911404</c:v>
                </c:pt>
                <c:pt idx="6149">
                  <c:v>5.9058236732681024</c:v>
                </c:pt>
                <c:pt idx="6150">
                  <c:v>6.9806321190926521</c:v>
                </c:pt>
                <c:pt idx="6151">
                  <c:v>5.891207553417102</c:v>
                </c:pt>
                <c:pt idx="6152">
                  <c:v>4.9002998532633173</c:v>
                </c:pt>
                <c:pt idx="6153">
                  <c:v>6.1126936979425563</c:v>
                </c:pt>
                <c:pt idx="6154">
                  <c:v>4.7952804640587532</c:v>
                </c:pt>
                <c:pt idx="6155">
                  <c:v>5.0421114953191841</c:v>
                </c:pt>
                <c:pt idx="6156">
                  <c:v>4.9495358645740302</c:v>
                </c:pt>
                <c:pt idx="6157">
                  <c:v>6.1440586699671789</c:v>
                </c:pt>
                <c:pt idx="6158">
                  <c:v>4.9676560771964065</c:v>
                </c:pt>
                <c:pt idx="6159">
                  <c:v>6.1159412329321716</c:v>
                </c:pt>
                <c:pt idx="6160">
                  <c:v>6.1012931909430428</c:v>
                </c:pt>
                <c:pt idx="6161">
                  <c:v>6.0030860517061662</c:v>
                </c:pt>
                <c:pt idx="6162">
                  <c:v>3.8684681056490473</c:v>
                </c:pt>
                <c:pt idx="6163">
                  <c:v>4.2073736056571498</c:v>
                </c:pt>
                <c:pt idx="6164">
                  <c:v>4.026706650340107</c:v>
                </c:pt>
                <c:pt idx="6165">
                  <c:v>3.9989636245729021</c:v>
                </c:pt>
                <c:pt idx="6166">
                  <c:v>4.2226648534822919</c:v>
                </c:pt>
                <c:pt idx="6167">
                  <c:v>3.9609821432971355</c:v>
                </c:pt>
                <c:pt idx="6168">
                  <c:v>4.0653711930672563</c:v>
                </c:pt>
                <c:pt idx="6169">
                  <c:v>4.0206366658446715</c:v>
                </c:pt>
                <c:pt idx="6170">
                  <c:v>4.0337487074522391</c:v>
                </c:pt>
                <c:pt idx="6171">
                  <c:v>5.9195759637923482</c:v>
                </c:pt>
                <c:pt idx="6172">
                  <c:v>4.9842248725485039</c:v>
                </c:pt>
                <c:pt idx="6173">
                  <c:v>4.9072332771557097</c:v>
                </c:pt>
                <c:pt idx="6174">
                  <c:v>6.1334527708271445</c:v>
                </c:pt>
                <c:pt idx="6175">
                  <c:v>4.9088073559503398</c:v>
                </c:pt>
                <c:pt idx="6176">
                  <c:v>5.9991818040221556</c:v>
                </c:pt>
                <c:pt idx="6177">
                  <c:v>6.012449658511791</c:v>
                </c:pt>
                <c:pt idx="6178">
                  <c:v>4.9054879187363589</c:v>
                </c:pt>
                <c:pt idx="6179">
                  <c:v>6.0233488046755017</c:v>
                </c:pt>
                <c:pt idx="6180">
                  <c:v>5.1015781567893139</c:v>
                </c:pt>
                <c:pt idx="6181">
                  <c:v>5.024396127190931</c:v>
                </c:pt>
                <c:pt idx="6182">
                  <c:v>4.9897254367728179</c:v>
                </c:pt>
                <c:pt idx="6183">
                  <c:v>4.0373280336677846</c:v>
                </c:pt>
                <c:pt idx="6184">
                  <c:v>7.2118648804306122</c:v>
                </c:pt>
                <c:pt idx="6185">
                  <c:v>5.1262274491286437</c:v>
                </c:pt>
                <c:pt idx="6186">
                  <c:v>3.7630555150273999</c:v>
                </c:pt>
                <c:pt idx="6187">
                  <c:v>5.0639770095021088</c:v>
                </c:pt>
                <c:pt idx="6188">
                  <c:v>5.0721177668812043</c:v>
                </c:pt>
                <c:pt idx="6189">
                  <c:v>6.9714242936424275</c:v>
                </c:pt>
                <c:pt idx="6190">
                  <c:v>4.9417988565292843</c:v>
                </c:pt>
                <c:pt idx="6191">
                  <c:v>5.0233958269208561</c:v>
                </c:pt>
                <c:pt idx="6192">
                  <c:v>4.9735033556275043</c:v>
                </c:pt>
                <c:pt idx="6193">
                  <c:v>4.815114257663117</c:v>
                </c:pt>
                <c:pt idx="6194">
                  <c:v>6.2000642552965415</c:v>
                </c:pt>
                <c:pt idx="6195">
                  <c:v>5.9251334147330015</c:v>
                </c:pt>
                <c:pt idx="6196">
                  <c:v>5.0145591127983478</c:v>
                </c:pt>
                <c:pt idx="6197">
                  <c:v>4.9249686244417452</c:v>
                </c:pt>
                <c:pt idx="6198">
                  <c:v>5.9895786518323364</c:v>
                </c:pt>
                <c:pt idx="6199">
                  <c:v>4.1532441317745095</c:v>
                </c:pt>
                <c:pt idx="6200">
                  <c:v>3.8530346076440432</c:v>
                </c:pt>
                <c:pt idx="6201">
                  <c:v>3.9677200535033874</c:v>
                </c:pt>
                <c:pt idx="6202">
                  <c:v>4.1956043817936406</c:v>
                </c:pt>
                <c:pt idx="6203">
                  <c:v>4.0816965191788688</c:v>
                </c:pt>
                <c:pt idx="6204">
                  <c:v>3.9751327219900201</c:v>
                </c:pt>
                <c:pt idx="6205">
                  <c:v>4.0420592606378758</c:v>
                </c:pt>
                <c:pt idx="6206">
                  <c:v>5.8351784829907229</c:v>
                </c:pt>
                <c:pt idx="6207">
                  <c:v>5.9442536724144315</c:v>
                </c:pt>
                <c:pt idx="6208">
                  <c:v>5.9337154887282306</c:v>
                </c:pt>
                <c:pt idx="6209">
                  <c:v>6.0943324425833003</c:v>
                </c:pt>
                <c:pt idx="6210">
                  <c:v>5.9345899848778751</c:v>
                </c:pt>
                <c:pt idx="6211">
                  <c:v>6.0244108457448382</c:v>
                </c:pt>
                <c:pt idx="6212">
                  <c:v>5.1258775370467635</c:v>
                </c:pt>
                <c:pt idx="6213">
                  <c:v>5.8433057570516986</c:v>
                </c:pt>
                <c:pt idx="6214">
                  <c:v>6.0901633133173672</c:v>
                </c:pt>
                <c:pt idx="6215">
                  <c:v>6.0539569159292217</c:v>
                </c:pt>
                <c:pt idx="6216">
                  <c:v>5.9888748063304504</c:v>
                </c:pt>
                <c:pt idx="6217">
                  <c:v>6.025882876837132</c:v>
                </c:pt>
                <c:pt idx="6218">
                  <c:v>5.9494208452629085</c:v>
                </c:pt>
                <c:pt idx="6219">
                  <c:v>4.0825141458911309</c:v>
                </c:pt>
                <c:pt idx="6220">
                  <c:v>5.9902725392759493</c:v>
                </c:pt>
                <c:pt idx="6221">
                  <c:v>5.9067642436875252</c:v>
                </c:pt>
                <c:pt idx="6222">
                  <c:v>4.9509101892153469</c:v>
                </c:pt>
                <c:pt idx="6223">
                  <c:v>4.9539368347233141</c:v>
                </c:pt>
                <c:pt idx="6224">
                  <c:v>4.0758542121907135</c:v>
                </c:pt>
                <c:pt idx="6225">
                  <c:v>5.9889076556776555</c:v>
                </c:pt>
                <c:pt idx="6226">
                  <c:v>4.9586505913114927</c:v>
                </c:pt>
                <c:pt idx="6227">
                  <c:v>6.016570111875378</c:v>
                </c:pt>
                <c:pt idx="6228">
                  <c:v>5.0567317311069573</c:v>
                </c:pt>
                <c:pt idx="6229">
                  <c:v>4.9903860912148268</c:v>
                </c:pt>
                <c:pt idx="6230">
                  <c:v>4.9294910793510587</c:v>
                </c:pt>
                <c:pt idx="6231">
                  <c:v>5.1068116195582913</c:v>
                </c:pt>
                <c:pt idx="6232">
                  <c:v>5.0214717180432631</c:v>
                </c:pt>
                <c:pt idx="6233">
                  <c:v>5.8663181298587963</c:v>
                </c:pt>
                <c:pt idx="6234">
                  <c:v>5.1004966606993234</c:v>
                </c:pt>
                <c:pt idx="6235">
                  <c:v>6.0115571848997664</c:v>
                </c:pt>
                <c:pt idx="6236">
                  <c:v>4.9536221177897035</c:v>
                </c:pt>
                <c:pt idx="6237">
                  <c:v>3.9821179527077342</c:v>
                </c:pt>
                <c:pt idx="6238">
                  <c:v>6.1225676967549703</c:v>
                </c:pt>
                <c:pt idx="6239">
                  <c:v>5.023716232334853</c:v>
                </c:pt>
                <c:pt idx="6240">
                  <c:v>4.9704841984303023</c:v>
                </c:pt>
                <c:pt idx="6241">
                  <c:v>6.0646643980102422</c:v>
                </c:pt>
                <c:pt idx="6242">
                  <c:v>5.0193555838656687</c:v>
                </c:pt>
                <c:pt idx="6243">
                  <c:v>4.9631017763417109</c:v>
                </c:pt>
                <c:pt idx="6244">
                  <c:v>4.9768688624224309</c:v>
                </c:pt>
                <c:pt idx="6245">
                  <c:v>4.8724347940980257</c:v>
                </c:pt>
                <c:pt idx="6246">
                  <c:v>5.8146674762285242</c:v>
                </c:pt>
                <c:pt idx="6247">
                  <c:v>6.1861407186380148</c:v>
                </c:pt>
                <c:pt idx="6248">
                  <c:v>4.7589744117221802</c:v>
                </c:pt>
                <c:pt idx="6249">
                  <c:v>4.988116723388198</c:v>
                </c:pt>
                <c:pt idx="6250">
                  <c:v>6.0434215889929259</c:v>
                </c:pt>
                <c:pt idx="6251">
                  <c:v>6.0429095453125967</c:v>
                </c:pt>
                <c:pt idx="6252">
                  <c:v>6.1521561978657546</c:v>
                </c:pt>
                <c:pt idx="6253">
                  <c:v>6.1538636084769571</c:v>
                </c:pt>
                <c:pt idx="6254">
                  <c:v>5.1552035330164365</c:v>
                </c:pt>
                <c:pt idx="6255">
                  <c:v>6.0171408116906493</c:v>
                </c:pt>
                <c:pt idx="6256">
                  <c:v>4.942561604545558</c:v>
                </c:pt>
                <c:pt idx="6257">
                  <c:v>5.9730620032351789</c:v>
                </c:pt>
                <c:pt idx="6258">
                  <c:v>5.8885261540559233</c:v>
                </c:pt>
                <c:pt idx="6259">
                  <c:v>5.9357504204321172</c:v>
                </c:pt>
                <c:pt idx="6260">
                  <c:v>4.804909926247853</c:v>
                </c:pt>
                <c:pt idx="6261">
                  <c:v>6.0094682184802526</c:v>
                </c:pt>
                <c:pt idx="6262">
                  <c:v>4.1083747777319255</c:v>
                </c:pt>
                <c:pt idx="6263">
                  <c:v>5.9336776837688294</c:v>
                </c:pt>
                <c:pt idx="6264">
                  <c:v>5.1637640024605442</c:v>
                </c:pt>
                <c:pt idx="6265">
                  <c:v>4.8161927955338832</c:v>
                </c:pt>
                <c:pt idx="6266">
                  <c:v>5.8455126638836763</c:v>
                </c:pt>
                <c:pt idx="6267">
                  <c:v>5.9538416618554324</c:v>
                </c:pt>
                <c:pt idx="6268">
                  <c:v>5.8649039614616587</c:v>
                </c:pt>
                <c:pt idx="6269">
                  <c:v>5.0120025972537521</c:v>
                </c:pt>
                <c:pt idx="6270">
                  <c:v>5.0867706036999945</c:v>
                </c:pt>
                <c:pt idx="6271">
                  <c:v>5.9384247682287477</c:v>
                </c:pt>
                <c:pt idx="6272">
                  <c:v>4.8266638471172385</c:v>
                </c:pt>
                <c:pt idx="6273">
                  <c:v>5.0595826311868688</c:v>
                </c:pt>
                <c:pt idx="6274">
                  <c:v>5.1280749700481225</c:v>
                </c:pt>
                <c:pt idx="6275">
                  <c:v>4.9662181795458062</c:v>
                </c:pt>
                <c:pt idx="6276">
                  <c:v>4.9002261012617501</c:v>
                </c:pt>
                <c:pt idx="6277">
                  <c:v>6.072456466011027</c:v>
                </c:pt>
                <c:pt idx="6278">
                  <c:v>5.9635710179896293</c:v>
                </c:pt>
                <c:pt idx="6279">
                  <c:v>6.0076814703479657</c:v>
                </c:pt>
                <c:pt idx="6280">
                  <c:v>5.8720119408371927</c:v>
                </c:pt>
                <c:pt idx="6281">
                  <c:v>5.9890697192480271</c:v>
                </c:pt>
                <c:pt idx="6282">
                  <c:v>5.8436496618763218</c:v>
                </c:pt>
                <c:pt idx="6283">
                  <c:v>5.9397960750669361</c:v>
                </c:pt>
                <c:pt idx="6284">
                  <c:v>6.0063838255138862</c:v>
                </c:pt>
                <c:pt idx="6285">
                  <c:v>6.0286610544700352</c:v>
                </c:pt>
                <c:pt idx="6286">
                  <c:v>6.0791215300974706</c:v>
                </c:pt>
                <c:pt idx="6287">
                  <c:v>5.8032901667697363</c:v>
                </c:pt>
                <c:pt idx="6288">
                  <c:v>5.9024758757551981</c:v>
                </c:pt>
                <c:pt idx="6289">
                  <c:v>6.0374555936240055</c:v>
                </c:pt>
                <c:pt idx="6290">
                  <c:v>6.0162278703420933</c:v>
                </c:pt>
                <c:pt idx="6291">
                  <c:v>5.9057246794966565</c:v>
                </c:pt>
                <c:pt idx="6292">
                  <c:v>6.8537226166537364</c:v>
                </c:pt>
                <c:pt idx="6293">
                  <c:v>5.9726659860971063</c:v>
                </c:pt>
                <c:pt idx="6294">
                  <c:v>5.9500511069713529</c:v>
                </c:pt>
                <c:pt idx="6295">
                  <c:v>4.0707245657932516</c:v>
                </c:pt>
                <c:pt idx="6296">
                  <c:v>4.018900031692116</c:v>
                </c:pt>
                <c:pt idx="6297">
                  <c:v>6.0820211291771393</c:v>
                </c:pt>
                <c:pt idx="6298">
                  <c:v>2.915693626310325</c:v>
                </c:pt>
                <c:pt idx="6299">
                  <c:v>6.0811680854894279</c:v>
                </c:pt>
                <c:pt idx="6300">
                  <c:v>5.9973394341795352</c:v>
                </c:pt>
                <c:pt idx="6301">
                  <c:v>4.9507154780239206</c:v>
                </c:pt>
                <c:pt idx="6302">
                  <c:v>5.9555607135623356</c:v>
                </c:pt>
                <c:pt idx="6303">
                  <c:v>6.0232418751220269</c:v>
                </c:pt>
                <c:pt idx="6304">
                  <c:v>4.9902701726696019</c:v>
                </c:pt>
                <c:pt idx="6305">
                  <c:v>2.7875662036916244</c:v>
                </c:pt>
                <c:pt idx="6306">
                  <c:v>6.0094458783516211</c:v>
                </c:pt>
                <c:pt idx="6307">
                  <c:v>6.232765298937756</c:v>
                </c:pt>
                <c:pt idx="6308">
                  <c:v>5.8652166244760586</c:v>
                </c:pt>
                <c:pt idx="6309">
                  <c:v>5.0537414483582284</c:v>
                </c:pt>
                <c:pt idx="6310">
                  <c:v>3.9907606551608468</c:v>
                </c:pt>
                <c:pt idx="6311">
                  <c:v>3.9445165453331472</c:v>
                </c:pt>
                <c:pt idx="6312">
                  <c:v>4.7595373010130722</c:v>
                </c:pt>
                <c:pt idx="6313">
                  <c:v>5.0942095757205124</c:v>
                </c:pt>
                <c:pt idx="6314">
                  <c:v>6.044465828148291</c:v>
                </c:pt>
                <c:pt idx="6315">
                  <c:v>6.06557789072499</c:v>
                </c:pt>
                <c:pt idx="6316">
                  <c:v>5.0857624471502803</c:v>
                </c:pt>
                <c:pt idx="6317">
                  <c:v>5.8604307574205139</c:v>
                </c:pt>
                <c:pt idx="6318">
                  <c:v>4.9741823875498019</c:v>
                </c:pt>
                <c:pt idx="6319">
                  <c:v>5.9615828976721126</c:v>
                </c:pt>
                <c:pt idx="6320">
                  <c:v>6.2220482108339219</c:v>
                </c:pt>
                <c:pt idx="6321">
                  <c:v>4.9530644929405803</c:v>
                </c:pt>
                <c:pt idx="6322">
                  <c:v>6.0582144657558503</c:v>
                </c:pt>
                <c:pt idx="6323">
                  <c:v>5.9354038764369168</c:v>
                </c:pt>
                <c:pt idx="6324">
                  <c:v>5.9702236159750646</c:v>
                </c:pt>
                <c:pt idx="6325">
                  <c:v>5.1012031828995141</c:v>
                </c:pt>
                <c:pt idx="6326">
                  <c:v>6.0846877590157264</c:v>
                </c:pt>
                <c:pt idx="6327">
                  <c:v>6.1682022743617662</c:v>
                </c:pt>
                <c:pt idx="6328">
                  <c:v>7.0468937331368542</c:v>
                </c:pt>
                <c:pt idx="6329">
                  <c:v>7.0054500586577122</c:v>
                </c:pt>
                <c:pt idx="6330">
                  <c:v>6.0066833339357855</c:v>
                </c:pt>
                <c:pt idx="6331">
                  <c:v>5.9958465455666268</c:v>
                </c:pt>
                <c:pt idx="6332">
                  <c:v>5.7868946821432763</c:v>
                </c:pt>
                <c:pt idx="6333">
                  <c:v>5.8451833239321047</c:v>
                </c:pt>
                <c:pt idx="6334">
                  <c:v>6.0850836021391048</c:v>
                </c:pt>
                <c:pt idx="6335">
                  <c:v>5.0769091371051545</c:v>
                </c:pt>
                <c:pt idx="6336">
                  <c:v>6.0087835187363092</c:v>
                </c:pt>
                <c:pt idx="6337">
                  <c:v>6.1100574963464025</c:v>
                </c:pt>
                <c:pt idx="6338">
                  <c:v>6.0769712699578537</c:v>
                </c:pt>
                <c:pt idx="6339">
                  <c:v>5.8716145283201104</c:v>
                </c:pt>
                <c:pt idx="6340">
                  <c:v>4.0050373541383237</c:v>
                </c:pt>
                <c:pt idx="6341">
                  <c:v>4.2008691106502072</c:v>
                </c:pt>
                <c:pt idx="6342">
                  <c:v>4.1618209934058124</c:v>
                </c:pt>
                <c:pt idx="6343">
                  <c:v>5.9817327476748492</c:v>
                </c:pt>
                <c:pt idx="6344">
                  <c:v>4.0188699745915466</c:v>
                </c:pt>
                <c:pt idx="6345">
                  <c:v>4.9117500175183251</c:v>
                </c:pt>
                <c:pt idx="6346">
                  <c:v>5.9851527815536443</c:v>
                </c:pt>
                <c:pt idx="6347">
                  <c:v>5.8444132140364902</c:v>
                </c:pt>
                <c:pt idx="6348">
                  <c:v>4.9701824444892715</c:v>
                </c:pt>
                <c:pt idx="6349">
                  <c:v>6.2092060043164707</c:v>
                </c:pt>
                <c:pt idx="6350">
                  <c:v>5.8808823122231777</c:v>
                </c:pt>
                <c:pt idx="6351">
                  <c:v>4.9583635434027737</c:v>
                </c:pt>
                <c:pt idx="6352">
                  <c:v>4.9868634656943778</c:v>
                </c:pt>
                <c:pt idx="6353">
                  <c:v>5.9422976301454487</c:v>
                </c:pt>
                <c:pt idx="6354">
                  <c:v>4.9980530798328555</c:v>
                </c:pt>
                <c:pt idx="6355">
                  <c:v>6.0839720353025903</c:v>
                </c:pt>
                <c:pt idx="6356">
                  <c:v>4.8791270914138503</c:v>
                </c:pt>
                <c:pt idx="6357">
                  <c:v>6.0080064458950435</c:v>
                </c:pt>
                <c:pt idx="6358">
                  <c:v>5.9640710755186106</c:v>
                </c:pt>
                <c:pt idx="6359">
                  <c:v>4.9243736147793351</c:v>
                </c:pt>
                <c:pt idx="6360">
                  <c:v>6.0777840121321933</c:v>
                </c:pt>
                <c:pt idx="6361">
                  <c:v>4.886345855807865</c:v>
                </c:pt>
                <c:pt idx="6362">
                  <c:v>5.1168096522460456</c:v>
                </c:pt>
                <c:pt idx="6363">
                  <c:v>5.0838962622546946</c:v>
                </c:pt>
                <c:pt idx="6364">
                  <c:v>4.9376553820125872</c:v>
                </c:pt>
                <c:pt idx="6365">
                  <c:v>4.9798137335741011</c:v>
                </c:pt>
                <c:pt idx="6366">
                  <c:v>4.9305624292534347</c:v>
                </c:pt>
                <c:pt idx="6367">
                  <c:v>5.9780163149726837</c:v>
                </c:pt>
                <c:pt idx="6368">
                  <c:v>5.7525670887336791</c:v>
                </c:pt>
                <c:pt idx="6369">
                  <c:v>4.053844564658732</c:v>
                </c:pt>
                <c:pt idx="6370">
                  <c:v>5.9913785549634158</c:v>
                </c:pt>
                <c:pt idx="6371">
                  <c:v>4.8223944398997025</c:v>
                </c:pt>
                <c:pt idx="6372">
                  <c:v>5.9684014316287888</c:v>
                </c:pt>
                <c:pt idx="6373">
                  <c:v>5.9117975034769144</c:v>
                </c:pt>
                <c:pt idx="6374">
                  <c:v>5.018732581930883</c:v>
                </c:pt>
                <c:pt idx="6375">
                  <c:v>6.1183793126396067</c:v>
                </c:pt>
                <c:pt idx="6376">
                  <c:v>6.9839873562745023</c:v>
                </c:pt>
                <c:pt idx="6377">
                  <c:v>6.0050868714428249</c:v>
                </c:pt>
                <c:pt idx="6378">
                  <c:v>5.1111507800720943</c:v>
                </c:pt>
                <c:pt idx="6379">
                  <c:v>6.166806345095714</c:v>
                </c:pt>
                <c:pt idx="6380">
                  <c:v>5.9051291557606405</c:v>
                </c:pt>
                <c:pt idx="6381">
                  <c:v>4.9098430649534777</c:v>
                </c:pt>
                <c:pt idx="6382">
                  <c:v>5.0203316918471153</c:v>
                </c:pt>
                <c:pt idx="6383">
                  <c:v>6.0815224554338769</c:v>
                </c:pt>
                <c:pt idx="6384">
                  <c:v>5.1170259256104131</c:v>
                </c:pt>
                <c:pt idx="6385">
                  <c:v>4.9618237678444892</c:v>
                </c:pt>
                <c:pt idx="6386">
                  <c:v>6.0747333178732656</c:v>
                </c:pt>
                <c:pt idx="6387">
                  <c:v>5.0396376555741034</c:v>
                </c:pt>
                <c:pt idx="6388">
                  <c:v>6.0376121224614376</c:v>
                </c:pt>
                <c:pt idx="6389">
                  <c:v>4.8958197090036331</c:v>
                </c:pt>
                <c:pt idx="6390">
                  <c:v>6.0010663375524533</c:v>
                </c:pt>
                <c:pt idx="6391">
                  <c:v>4.744648548829522</c:v>
                </c:pt>
                <c:pt idx="6392">
                  <c:v>4.9441478263800098</c:v>
                </c:pt>
                <c:pt idx="6393">
                  <c:v>6.0112337836545819</c:v>
                </c:pt>
                <c:pt idx="6394">
                  <c:v>4.860108834106331</c:v>
                </c:pt>
                <c:pt idx="6395">
                  <c:v>5.1852357715037733</c:v>
                </c:pt>
                <c:pt idx="6396">
                  <c:v>4.9813457088954864</c:v>
                </c:pt>
                <c:pt idx="6397">
                  <c:v>5.91896169903145</c:v>
                </c:pt>
                <c:pt idx="6398">
                  <c:v>5.0198224754858751</c:v>
                </c:pt>
                <c:pt idx="6399">
                  <c:v>5.0310069146053467</c:v>
                </c:pt>
                <c:pt idx="6400">
                  <c:v>5.9837422345888722</c:v>
                </c:pt>
                <c:pt idx="6401">
                  <c:v>5.9780304104196977</c:v>
                </c:pt>
                <c:pt idx="6402">
                  <c:v>6.0536111494359295</c:v>
                </c:pt>
                <c:pt idx="6403">
                  <c:v>5.0453378897128731</c:v>
                </c:pt>
                <c:pt idx="6404">
                  <c:v>4.9431444974109588</c:v>
                </c:pt>
                <c:pt idx="6405">
                  <c:v>4.9794205624868537</c:v>
                </c:pt>
                <c:pt idx="6406">
                  <c:v>6.1447658272447772</c:v>
                </c:pt>
                <c:pt idx="6407">
                  <c:v>5.8974603796936087</c:v>
                </c:pt>
                <c:pt idx="6408">
                  <c:v>5.8073023923528879</c:v>
                </c:pt>
                <c:pt idx="6409">
                  <c:v>5.9975904974883951</c:v>
                </c:pt>
                <c:pt idx="6410">
                  <c:v>6.0355829228541245</c:v>
                </c:pt>
                <c:pt idx="6411">
                  <c:v>6.1112563649264029</c:v>
                </c:pt>
                <c:pt idx="6412">
                  <c:v>5.0369467480516761</c:v>
                </c:pt>
                <c:pt idx="6413">
                  <c:v>5.0407612068964163</c:v>
                </c:pt>
                <c:pt idx="6414">
                  <c:v>4.9390966017618592</c:v>
                </c:pt>
                <c:pt idx="6415">
                  <c:v>6.099227759585875</c:v>
                </c:pt>
                <c:pt idx="6416">
                  <c:v>5.040872298021136</c:v>
                </c:pt>
                <c:pt idx="6417">
                  <c:v>4.941601264378467</c:v>
                </c:pt>
                <c:pt idx="6418">
                  <c:v>5.1447560191530579</c:v>
                </c:pt>
                <c:pt idx="6419">
                  <c:v>4.8883451599533725</c:v>
                </c:pt>
                <c:pt idx="6420">
                  <c:v>6.2719283664692451</c:v>
                </c:pt>
                <c:pt idx="6421">
                  <c:v>4.8766210711971807</c:v>
                </c:pt>
                <c:pt idx="6422">
                  <c:v>6.1236870993154255</c:v>
                </c:pt>
                <c:pt idx="6423">
                  <c:v>6.0323572778596741</c:v>
                </c:pt>
                <c:pt idx="6424">
                  <c:v>5.8989952825310095</c:v>
                </c:pt>
                <c:pt idx="6425">
                  <c:v>5.8170912983932936</c:v>
                </c:pt>
                <c:pt idx="6426">
                  <c:v>5.8668493913411446</c:v>
                </c:pt>
                <c:pt idx="6427">
                  <c:v>6.0267934081670136</c:v>
                </c:pt>
                <c:pt idx="6428">
                  <c:v>4.9430253311886752</c:v>
                </c:pt>
                <c:pt idx="6429">
                  <c:v>4.9424805398166596</c:v>
                </c:pt>
                <c:pt idx="6430">
                  <c:v>5.0909778062505602</c:v>
                </c:pt>
                <c:pt idx="6431">
                  <c:v>5.0369523742966331</c:v>
                </c:pt>
                <c:pt idx="6432">
                  <c:v>5.0704295508668373</c:v>
                </c:pt>
                <c:pt idx="6433">
                  <c:v>5.9677307653624698</c:v>
                </c:pt>
                <c:pt idx="6434">
                  <c:v>4.9155806918593656</c:v>
                </c:pt>
                <c:pt idx="6435">
                  <c:v>5.0126609649789566</c:v>
                </c:pt>
                <c:pt idx="6436">
                  <c:v>4.9727315006460202</c:v>
                </c:pt>
                <c:pt idx="6437">
                  <c:v>6.1002185482235118</c:v>
                </c:pt>
                <c:pt idx="6438">
                  <c:v>6.171819998149938</c:v>
                </c:pt>
                <c:pt idx="6439">
                  <c:v>4.8267760149512169</c:v>
                </c:pt>
                <c:pt idx="6440">
                  <c:v>4.9497720524952511</c:v>
                </c:pt>
                <c:pt idx="6441">
                  <c:v>5.9431874743960167</c:v>
                </c:pt>
                <c:pt idx="6442">
                  <c:v>6.0538052802799998</c:v>
                </c:pt>
                <c:pt idx="6443">
                  <c:v>5.1104550010650476</c:v>
                </c:pt>
                <c:pt idx="6444">
                  <c:v>5.06440718325047</c:v>
                </c:pt>
                <c:pt idx="6445">
                  <c:v>6.0247443221635795</c:v>
                </c:pt>
                <c:pt idx="6446">
                  <c:v>4.8147668992536907</c:v>
                </c:pt>
                <c:pt idx="6447">
                  <c:v>5.9191753379182961</c:v>
                </c:pt>
                <c:pt idx="6448">
                  <c:v>6.0453819854556121</c:v>
                </c:pt>
                <c:pt idx="6449">
                  <c:v>5.1586703078914606</c:v>
                </c:pt>
                <c:pt idx="6450">
                  <c:v>4.8696812678818846</c:v>
                </c:pt>
                <c:pt idx="6451">
                  <c:v>6.0157089141491333</c:v>
                </c:pt>
                <c:pt idx="6452">
                  <c:v>4.7882898444979034</c:v>
                </c:pt>
                <c:pt idx="6453">
                  <c:v>5.7080180870990764</c:v>
                </c:pt>
                <c:pt idx="6454">
                  <c:v>5.1678936182027151</c:v>
                </c:pt>
                <c:pt idx="6455">
                  <c:v>5.0673839812020098</c:v>
                </c:pt>
                <c:pt idx="6456">
                  <c:v>4.9579690717037019</c:v>
                </c:pt>
                <c:pt idx="6457">
                  <c:v>5.9172897645891682</c:v>
                </c:pt>
                <c:pt idx="6458">
                  <c:v>5.1287296769898951</c:v>
                </c:pt>
                <c:pt idx="6459">
                  <c:v>5.0411358073423145</c:v>
                </c:pt>
                <c:pt idx="6460">
                  <c:v>4.8594282667973827</c:v>
                </c:pt>
                <c:pt idx="6461">
                  <c:v>5.0049999238075387</c:v>
                </c:pt>
                <c:pt idx="6462">
                  <c:v>5.0894375229033253</c:v>
                </c:pt>
                <c:pt idx="6463">
                  <c:v>5.0461868343865746</c:v>
                </c:pt>
                <c:pt idx="6464">
                  <c:v>5.9392123878494738</c:v>
                </c:pt>
                <c:pt idx="6465">
                  <c:v>5.0363500236833554</c:v>
                </c:pt>
                <c:pt idx="6466">
                  <c:v>5.1022960283207777</c:v>
                </c:pt>
                <c:pt idx="6467">
                  <c:v>6.0308308094914613</c:v>
                </c:pt>
                <c:pt idx="6468">
                  <c:v>4.8752396384310765</c:v>
                </c:pt>
                <c:pt idx="6469">
                  <c:v>4.8787232497269644</c:v>
                </c:pt>
                <c:pt idx="6470">
                  <c:v>6.1155955503793535</c:v>
                </c:pt>
                <c:pt idx="6471">
                  <c:v>5.0294605059905191</c:v>
                </c:pt>
                <c:pt idx="6472">
                  <c:v>4.9050040975237668</c:v>
                </c:pt>
                <c:pt idx="6473">
                  <c:v>4.9067787172015134</c:v>
                </c:pt>
                <c:pt idx="6474">
                  <c:v>5.929261602113157</c:v>
                </c:pt>
                <c:pt idx="6475">
                  <c:v>6.9388593667392229</c:v>
                </c:pt>
                <c:pt idx="6476">
                  <c:v>7.1198251710421605</c:v>
                </c:pt>
                <c:pt idx="6477">
                  <c:v>5.8729750631081385</c:v>
                </c:pt>
                <c:pt idx="6478">
                  <c:v>6.0408368146100413</c:v>
                </c:pt>
                <c:pt idx="6479">
                  <c:v>4.9502486700657045</c:v>
                </c:pt>
                <c:pt idx="6480">
                  <c:v>6.9269531439357337</c:v>
                </c:pt>
                <c:pt idx="6481">
                  <c:v>6.8229402751348465</c:v>
                </c:pt>
                <c:pt idx="6482">
                  <c:v>5.9489658006602113</c:v>
                </c:pt>
                <c:pt idx="6483">
                  <c:v>6.1591153564608847</c:v>
                </c:pt>
                <c:pt idx="6484">
                  <c:v>5.0676382834491358</c:v>
                </c:pt>
                <c:pt idx="6485">
                  <c:v>4.9140884110133447</c:v>
                </c:pt>
                <c:pt idx="6486">
                  <c:v>6.168970021724963</c:v>
                </c:pt>
                <c:pt idx="6487">
                  <c:v>4.8993162526923451</c:v>
                </c:pt>
                <c:pt idx="6488">
                  <c:v>6.0007410712318974</c:v>
                </c:pt>
                <c:pt idx="6489">
                  <c:v>6.1023218188925519</c:v>
                </c:pt>
                <c:pt idx="6490">
                  <c:v>6.118399238105523</c:v>
                </c:pt>
                <c:pt idx="6491">
                  <c:v>5.9422356452669058</c:v>
                </c:pt>
                <c:pt idx="6492">
                  <c:v>4.9512964557234271</c:v>
                </c:pt>
                <c:pt idx="6493">
                  <c:v>5.851301559405778</c:v>
                </c:pt>
                <c:pt idx="6494">
                  <c:v>6.9962566500827323</c:v>
                </c:pt>
                <c:pt idx="6495">
                  <c:v>6.0252492005469982</c:v>
                </c:pt>
                <c:pt idx="6496">
                  <c:v>6.0187985872866783</c:v>
                </c:pt>
                <c:pt idx="6497">
                  <c:v>6.0397632815687201</c:v>
                </c:pt>
                <c:pt idx="6498">
                  <c:v>5.9166217583007246</c:v>
                </c:pt>
                <c:pt idx="6499">
                  <c:v>5.0768042320398417</c:v>
                </c:pt>
                <c:pt idx="6500">
                  <c:v>5.0338539252514272</c:v>
                </c:pt>
                <c:pt idx="6501">
                  <c:v>5.7135527938423438</c:v>
                </c:pt>
                <c:pt idx="6502">
                  <c:v>5.8427393398825203</c:v>
                </c:pt>
                <c:pt idx="6503">
                  <c:v>5.0152090328098309</c:v>
                </c:pt>
                <c:pt idx="6504">
                  <c:v>6.0480944685380411</c:v>
                </c:pt>
                <c:pt idx="6505">
                  <c:v>4.9437798079366617</c:v>
                </c:pt>
                <c:pt idx="6506">
                  <c:v>5.9670316631475639</c:v>
                </c:pt>
                <c:pt idx="6507">
                  <c:v>5.9153549598562076</c:v>
                </c:pt>
                <c:pt idx="6508">
                  <c:v>4.9415055845628233</c:v>
                </c:pt>
                <c:pt idx="6509">
                  <c:v>5.0437420271046687</c:v>
                </c:pt>
                <c:pt idx="6510">
                  <c:v>4.9657027729761918</c:v>
                </c:pt>
                <c:pt idx="6511">
                  <c:v>5.0951955842702796</c:v>
                </c:pt>
                <c:pt idx="6512">
                  <c:v>5.1404527074338597</c:v>
                </c:pt>
                <c:pt idx="6513">
                  <c:v>6.0125652459915697</c:v>
                </c:pt>
                <c:pt idx="6514">
                  <c:v>6.1301930535855931</c:v>
                </c:pt>
                <c:pt idx="6515">
                  <c:v>4.9476410608390955</c:v>
                </c:pt>
                <c:pt idx="6516">
                  <c:v>5.0127411425974602</c:v>
                </c:pt>
                <c:pt idx="6517">
                  <c:v>5.9734287463995113</c:v>
                </c:pt>
                <c:pt idx="6518">
                  <c:v>5.0502583161943422</c:v>
                </c:pt>
                <c:pt idx="6519">
                  <c:v>5.9464980647775354</c:v>
                </c:pt>
                <c:pt idx="6520">
                  <c:v>6.1570878958358666</c:v>
                </c:pt>
                <c:pt idx="6521">
                  <c:v>6.0476559278305748</c:v>
                </c:pt>
                <c:pt idx="6522">
                  <c:v>4.9547645835935743</c:v>
                </c:pt>
                <c:pt idx="6523">
                  <c:v>5.8809407457209293</c:v>
                </c:pt>
                <c:pt idx="6524">
                  <c:v>5.0294666690049503</c:v>
                </c:pt>
                <c:pt idx="6525">
                  <c:v>4.8998264578079631</c:v>
                </c:pt>
                <c:pt idx="6526">
                  <c:v>4.9904776733413421</c:v>
                </c:pt>
                <c:pt idx="6527">
                  <c:v>4.9471333091332168</c:v>
                </c:pt>
                <c:pt idx="6528">
                  <c:v>4.9932955506888064</c:v>
                </c:pt>
                <c:pt idx="6529">
                  <c:v>6.1145416177304828</c:v>
                </c:pt>
                <c:pt idx="6530">
                  <c:v>5.9673738976555155</c:v>
                </c:pt>
                <c:pt idx="6531">
                  <c:v>6.0506082183972918</c:v>
                </c:pt>
                <c:pt idx="6532">
                  <c:v>5.9857916385338958</c:v>
                </c:pt>
                <c:pt idx="6533">
                  <c:v>5.8857317697371059</c:v>
                </c:pt>
                <c:pt idx="6534">
                  <c:v>6.0965464612462315</c:v>
                </c:pt>
                <c:pt idx="6535">
                  <c:v>6.0089905595452784</c:v>
                </c:pt>
                <c:pt idx="6536">
                  <c:v>6.0895781537241556</c:v>
                </c:pt>
                <c:pt idx="6537">
                  <c:v>6.1293763698208599</c:v>
                </c:pt>
                <c:pt idx="6538">
                  <c:v>6.0530184939674712</c:v>
                </c:pt>
                <c:pt idx="6539">
                  <c:v>5.1133236467161076</c:v>
                </c:pt>
                <c:pt idx="6540">
                  <c:v>4.8148281094384178</c:v>
                </c:pt>
                <c:pt idx="6541">
                  <c:v>1.9958085607967389</c:v>
                </c:pt>
                <c:pt idx="6542">
                  <c:v>6.0443938200552481</c:v>
                </c:pt>
                <c:pt idx="6543">
                  <c:v>4.9444721409393182</c:v>
                </c:pt>
                <c:pt idx="6544">
                  <c:v>5.1324413704598602</c:v>
                </c:pt>
                <c:pt idx="6545">
                  <c:v>4.8682546791432912</c:v>
                </c:pt>
                <c:pt idx="6546">
                  <c:v>4.884980095293785</c:v>
                </c:pt>
                <c:pt idx="6547">
                  <c:v>5.0640324862388644</c:v>
                </c:pt>
                <c:pt idx="6548">
                  <c:v>4.9744527915673666</c:v>
                </c:pt>
                <c:pt idx="6549">
                  <c:v>5.0478771783450442</c:v>
                </c:pt>
                <c:pt idx="6550">
                  <c:v>5.9304782608756152</c:v>
                </c:pt>
                <c:pt idx="6551">
                  <c:v>4.8712738616494073</c:v>
                </c:pt>
                <c:pt idx="6552">
                  <c:v>6.0620832971289804</c:v>
                </c:pt>
                <c:pt idx="6553">
                  <c:v>6.0068059050906291</c:v>
                </c:pt>
                <c:pt idx="6554">
                  <c:v>6.1184542320748143</c:v>
                </c:pt>
                <c:pt idx="6555">
                  <c:v>4.8806680940803204</c:v>
                </c:pt>
                <c:pt idx="6556">
                  <c:v>6.0547635808049645</c:v>
                </c:pt>
                <c:pt idx="6557">
                  <c:v>5.0134097990649567</c:v>
                </c:pt>
                <c:pt idx="6558">
                  <c:v>5.0235535498307344</c:v>
                </c:pt>
                <c:pt idx="6559">
                  <c:v>4.7956626525019459</c:v>
                </c:pt>
                <c:pt idx="6560">
                  <c:v>6.0339388089685384</c:v>
                </c:pt>
                <c:pt idx="6561">
                  <c:v>5.8123555238286855</c:v>
                </c:pt>
                <c:pt idx="6562">
                  <c:v>6.1386834685090159</c:v>
                </c:pt>
                <c:pt idx="6563">
                  <c:v>4.9835622276889477</c:v>
                </c:pt>
                <c:pt idx="6564">
                  <c:v>5.0651956248151899</c:v>
                </c:pt>
                <c:pt idx="6565">
                  <c:v>5.0918341911753568</c:v>
                </c:pt>
                <c:pt idx="6566">
                  <c:v>4.9467148179184752</c:v>
                </c:pt>
                <c:pt idx="6567">
                  <c:v>5.159364330404653</c:v>
                </c:pt>
                <c:pt idx="6568">
                  <c:v>4.8626386143857063</c:v>
                </c:pt>
                <c:pt idx="6569">
                  <c:v>5.9081200066605382</c:v>
                </c:pt>
                <c:pt idx="6570">
                  <c:v>5.966630468749532</c:v>
                </c:pt>
                <c:pt idx="6571">
                  <c:v>4.9891409220143261</c:v>
                </c:pt>
                <c:pt idx="6572">
                  <c:v>4.8889154034140168</c:v>
                </c:pt>
                <c:pt idx="6573">
                  <c:v>5.846836110803066</c:v>
                </c:pt>
                <c:pt idx="6574">
                  <c:v>6.22938241427065</c:v>
                </c:pt>
                <c:pt idx="6575">
                  <c:v>5.9420649381572632</c:v>
                </c:pt>
                <c:pt idx="6576">
                  <c:v>5.993721814467535</c:v>
                </c:pt>
                <c:pt idx="6577">
                  <c:v>5.0589145097342909</c:v>
                </c:pt>
                <c:pt idx="6578">
                  <c:v>4.9813306636681851</c:v>
                </c:pt>
                <c:pt idx="6579">
                  <c:v>6.8852109073235059</c:v>
                </c:pt>
                <c:pt idx="6580">
                  <c:v>5.8380266544721042</c:v>
                </c:pt>
                <c:pt idx="6581">
                  <c:v>5.939274818954611</c:v>
                </c:pt>
                <c:pt idx="6582">
                  <c:v>4.8882486844166735</c:v>
                </c:pt>
                <c:pt idx="6583">
                  <c:v>5.1320585217637182</c:v>
                </c:pt>
                <c:pt idx="6584">
                  <c:v>6.0168046803528608</c:v>
                </c:pt>
                <c:pt idx="6585">
                  <c:v>5.0940746122721592</c:v>
                </c:pt>
                <c:pt idx="6586">
                  <c:v>5.1593387550880649</c:v>
                </c:pt>
                <c:pt idx="6587">
                  <c:v>6.8473032899083304</c:v>
                </c:pt>
                <c:pt idx="6588">
                  <c:v>6.8206137585727253</c:v>
                </c:pt>
                <c:pt idx="6589">
                  <c:v>5.9086784453649042</c:v>
                </c:pt>
                <c:pt idx="6590">
                  <c:v>3.9796925903691336</c:v>
                </c:pt>
                <c:pt idx="6591">
                  <c:v>5.0680327605886708</c:v>
                </c:pt>
                <c:pt idx="6592">
                  <c:v>6.0377413422192161</c:v>
                </c:pt>
                <c:pt idx="6593">
                  <c:v>4.8910375940696893</c:v>
                </c:pt>
                <c:pt idx="6594">
                  <c:v>5.9486634995755248</c:v>
                </c:pt>
                <c:pt idx="6595">
                  <c:v>4.8805354174257678</c:v>
                </c:pt>
                <c:pt idx="6596">
                  <c:v>5.0019519211877448</c:v>
                </c:pt>
                <c:pt idx="6597">
                  <c:v>5.0636168720052988</c:v>
                </c:pt>
                <c:pt idx="6598">
                  <c:v>5.0074216754367304</c:v>
                </c:pt>
                <c:pt idx="6599">
                  <c:v>4.8705473713325418</c:v>
                </c:pt>
                <c:pt idx="6600">
                  <c:v>7.0368484998723888</c:v>
                </c:pt>
                <c:pt idx="6601">
                  <c:v>5.8609473765569762</c:v>
                </c:pt>
                <c:pt idx="6602">
                  <c:v>5.1189008027829628</c:v>
                </c:pt>
                <c:pt idx="6603">
                  <c:v>6.1511010416788166</c:v>
                </c:pt>
                <c:pt idx="6604">
                  <c:v>4.9652750272050632</c:v>
                </c:pt>
                <c:pt idx="6605">
                  <c:v>5.9530086830674822</c:v>
                </c:pt>
                <c:pt idx="6606">
                  <c:v>4.9340306250771606</c:v>
                </c:pt>
                <c:pt idx="6607">
                  <c:v>5.0942818388345907</c:v>
                </c:pt>
                <c:pt idx="6608">
                  <c:v>4.8361062603200393</c:v>
                </c:pt>
                <c:pt idx="6609">
                  <c:v>5.1035079245938384</c:v>
                </c:pt>
                <c:pt idx="6610">
                  <c:v>5.7580782351050361</c:v>
                </c:pt>
                <c:pt idx="6611">
                  <c:v>5.015366658526581</c:v>
                </c:pt>
                <c:pt idx="6612">
                  <c:v>5.9402011438188582</c:v>
                </c:pt>
                <c:pt idx="6613">
                  <c:v>5.9443314199959207</c:v>
                </c:pt>
                <c:pt idx="6614">
                  <c:v>6.0306767288174967</c:v>
                </c:pt>
                <c:pt idx="6615">
                  <c:v>5.9891600443094317</c:v>
                </c:pt>
                <c:pt idx="6616">
                  <c:v>4.7592063007647045</c:v>
                </c:pt>
                <c:pt idx="6617">
                  <c:v>4.9459566279430849</c:v>
                </c:pt>
                <c:pt idx="6618">
                  <c:v>4.965493496310887</c:v>
                </c:pt>
                <c:pt idx="6619">
                  <c:v>5.0395618602556205</c:v>
                </c:pt>
                <c:pt idx="6620">
                  <c:v>6.0607441747263557</c:v>
                </c:pt>
                <c:pt idx="6621">
                  <c:v>4.8339959906189094</c:v>
                </c:pt>
                <c:pt idx="6622">
                  <c:v>5.9357609227921362</c:v>
                </c:pt>
                <c:pt idx="6623">
                  <c:v>5.9457072405764677</c:v>
                </c:pt>
                <c:pt idx="6624">
                  <c:v>4.8223713761667284</c:v>
                </c:pt>
                <c:pt idx="6625">
                  <c:v>5.0990935210529518</c:v>
                </c:pt>
                <c:pt idx="6626">
                  <c:v>7.0513723975431173</c:v>
                </c:pt>
                <c:pt idx="6627">
                  <c:v>5.9667728022942264</c:v>
                </c:pt>
                <c:pt idx="6628">
                  <c:v>5.8407871255230983</c:v>
                </c:pt>
                <c:pt idx="6629">
                  <c:v>5.0245162615554433</c:v>
                </c:pt>
                <c:pt idx="6630">
                  <c:v>5.2519942617544126</c:v>
                </c:pt>
                <c:pt idx="6631">
                  <c:v>6.0131678996554383</c:v>
                </c:pt>
                <c:pt idx="6632">
                  <c:v>5.9878739372862713</c:v>
                </c:pt>
                <c:pt idx="6633">
                  <c:v>7.0223614170562696</c:v>
                </c:pt>
                <c:pt idx="6634">
                  <c:v>4.9726660242186389</c:v>
                </c:pt>
                <c:pt idx="6635">
                  <c:v>5.9258982179161084</c:v>
                </c:pt>
                <c:pt idx="6636">
                  <c:v>3.9773787382832801</c:v>
                </c:pt>
                <c:pt idx="6637">
                  <c:v>6.0375886699846566</c:v>
                </c:pt>
                <c:pt idx="6638">
                  <c:v>6.1062005431804049</c:v>
                </c:pt>
                <c:pt idx="6639">
                  <c:v>5.0663580228257459</c:v>
                </c:pt>
                <c:pt idx="6640">
                  <c:v>5.0295930769941268</c:v>
                </c:pt>
                <c:pt idx="6641">
                  <c:v>6.0742223664043706</c:v>
                </c:pt>
                <c:pt idx="6642">
                  <c:v>6.0071552386170337</c:v>
                </c:pt>
                <c:pt idx="6643">
                  <c:v>6.0647081144690587</c:v>
                </c:pt>
                <c:pt idx="6644">
                  <c:v>7.2110902422445813</c:v>
                </c:pt>
                <c:pt idx="6645">
                  <c:v>6.1583325512989227</c:v>
                </c:pt>
                <c:pt idx="6646">
                  <c:v>5.9511876649527258</c:v>
                </c:pt>
                <c:pt idx="6647">
                  <c:v>4.8363226138281243</c:v>
                </c:pt>
                <c:pt idx="6648">
                  <c:v>4.9632028541910307</c:v>
                </c:pt>
                <c:pt idx="6649">
                  <c:v>5.9678485019091347</c:v>
                </c:pt>
                <c:pt idx="6650">
                  <c:v>5.1430415409894259</c:v>
                </c:pt>
                <c:pt idx="6651">
                  <c:v>6.0319186435290097</c:v>
                </c:pt>
                <c:pt idx="6652">
                  <c:v>5.8787460093953472</c:v>
                </c:pt>
                <c:pt idx="6653">
                  <c:v>4.9687659802847746</c:v>
                </c:pt>
                <c:pt idx="6654">
                  <c:v>4.9860543729895923</c:v>
                </c:pt>
                <c:pt idx="6655">
                  <c:v>5.9273652031841078</c:v>
                </c:pt>
                <c:pt idx="6656">
                  <c:v>5.0749432088833704</c:v>
                </c:pt>
                <c:pt idx="6657">
                  <c:v>4.9823748905810694</c:v>
                </c:pt>
                <c:pt idx="6658">
                  <c:v>5.9047449047128202</c:v>
                </c:pt>
                <c:pt idx="6659">
                  <c:v>5.9251539664878399</c:v>
                </c:pt>
                <c:pt idx="6660">
                  <c:v>5.9707190296358013</c:v>
                </c:pt>
                <c:pt idx="6661">
                  <c:v>7.0230090818938846</c:v>
                </c:pt>
                <c:pt idx="6662">
                  <c:v>8.898524100268725</c:v>
                </c:pt>
                <c:pt idx="6663">
                  <c:v>5.9845440782214689</c:v>
                </c:pt>
                <c:pt idx="6664">
                  <c:v>4.7806833404053304</c:v>
                </c:pt>
                <c:pt idx="6665">
                  <c:v>4.9982760398234936</c:v>
                </c:pt>
                <c:pt idx="6666">
                  <c:v>6.0842935611680398</c:v>
                </c:pt>
                <c:pt idx="6667">
                  <c:v>5.9776374655443538</c:v>
                </c:pt>
                <c:pt idx="6668">
                  <c:v>6.1070999786454481</c:v>
                </c:pt>
                <c:pt idx="6669">
                  <c:v>5.8841610173891494</c:v>
                </c:pt>
                <c:pt idx="6670">
                  <c:v>6.0706094567947346</c:v>
                </c:pt>
                <c:pt idx="6671">
                  <c:v>6.078375634466588</c:v>
                </c:pt>
                <c:pt idx="6672">
                  <c:v>5.8953740150956904</c:v>
                </c:pt>
                <c:pt idx="6673">
                  <c:v>4.8846115071910781</c:v>
                </c:pt>
                <c:pt idx="6674">
                  <c:v>5.8286371339088223</c:v>
                </c:pt>
                <c:pt idx="6675">
                  <c:v>5.8777633690777824</c:v>
                </c:pt>
                <c:pt idx="6676">
                  <c:v>5.8416161424964557</c:v>
                </c:pt>
                <c:pt idx="6677">
                  <c:v>4.9790118435975135</c:v>
                </c:pt>
                <c:pt idx="6678">
                  <c:v>3.8730405925483256</c:v>
                </c:pt>
                <c:pt idx="6679">
                  <c:v>6.0135040196458478</c:v>
                </c:pt>
                <c:pt idx="6680">
                  <c:v>5.2228277420126883</c:v>
                </c:pt>
                <c:pt idx="6681">
                  <c:v>6.1047259021786671</c:v>
                </c:pt>
                <c:pt idx="6682">
                  <c:v>5.1201952764953562</c:v>
                </c:pt>
                <c:pt idx="6683">
                  <c:v>5.0470775795696365</c:v>
                </c:pt>
                <c:pt idx="6684">
                  <c:v>4.8570584518881983</c:v>
                </c:pt>
                <c:pt idx="6685">
                  <c:v>6.1506712664730703</c:v>
                </c:pt>
                <c:pt idx="6686">
                  <c:v>5.9101748532239933</c:v>
                </c:pt>
                <c:pt idx="6687">
                  <c:v>4.9507252243310731</c:v>
                </c:pt>
                <c:pt idx="6688">
                  <c:v>6.157427147690786</c:v>
                </c:pt>
                <c:pt idx="6689">
                  <c:v>4.882875953661042</c:v>
                </c:pt>
                <c:pt idx="6690">
                  <c:v>4.8969966188790561</c:v>
                </c:pt>
                <c:pt idx="6691">
                  <c:v>4.8439968707308418</c:v>
                </c:pt>
                <c:pt idx="6692">
                  <c:v>5.9602037980659848</c:v>
                </c:pt>
                <c:pt idx="6693">
                  <c:v>5.9675960227628302</c:v>
                </c:pt>
                <c:pt idx="6694">
                  <c:v>6.0955380514020581</c:v>
                </c:pt>
                <c:pt idx="6695">
                  <c:v>6.0276709193532083</c:v>
                </c:pt>
                <c:pt idx="6696">
                  <c:v>5.0299121789210028</c:v>
                </c:pt>
                <c:pt idx="6697">
                  <c:v>5.0298738784295889</c:v>
                </c:pt>
                <c:pt idx="6698">
                  <c:v>5.0272067323040526</c:v>
                </c:pt>
                <c:pt idx="6699">
                  <c:v>4.920808142432687</c:v>
                </c:pt>
                <c:pt idx="6700">
                  <c:v>5.9633162009978538</c:v>
                </c:pt>
                <c:pt idx="6701">
                  <c:v>5.0828685820006427</c:v>
                </c:pt>
                <c:pt idx="6702">
                  <c:v>5.1426702581243919</c:v>
                </c:pt>
                <c:pt idx="6703">
                  <c:v>5.0592935951208666</c:v>
                </c:pt>
                <c:pt idx="6704">
                  <c:v>5.0997137988561141</c:v>
                </c:pt>
                <c:pt idx="6705">
                  <c:v>6.2110408720401491</c:v>
                </c:pt>
                <c:pt idx="6706">
                  <c:v>4.8505810288190734</c:v>
                </c:pt>
                <c:pt idx="6707">
                  <c:v>5.0106120720260678</c:v>
                </c:pt>
                <c:pt idx="6708">
                  <c:v>4.963809359524368</c:v>
                </c:pt>
                <c:pt idx="6709">
                  <c:v>4.7545731090775645</c:v>
                </c:pt>
                <c:pt idx="6710">
                  <c:v>6.0605954516950034</c:v>
                </c:pt>
                <c:pt idx="6711">
                  <c:v>6.066116813182008</c:v>
                </c:pt>
                <c:pt idx="6712">
                  <c:v>5.077012696551737</c:v>
                </c:pt>
                <c:pt idx="6713">
                  <c:v>5.0243341946068796</c:v>
                </c:pt>
                <c:pt idx="6714">
                  <c:v>4.9555763607224517</c:v>
                </c:pt>
                <c:pt idx="6715">
                  <c:v>4.9699894537116416</c:v>
                </c:pt>
                <c:pt idx="6716">
                  <c:v>5.0747437409443314</c:v>
                </c:pt>
                <c:pt idx="6717">
                  <c:v>5.8593770501547633</c:v>
                </c:pt>
                <c:pt idx="6718">
                  <c:v>5.9640184257500488</c:v>
                </c:pt>
                <c:pt idx="6719">
                  <c:v>7.0391966174293019</c:v>
                </c:pt>
                <c:pt idx="6720">
                  <c:v>5.9810152843539219</c:v>
                </c:pt>
                <c:pt idx="6721">
                  <c:v>5.9828149123098902</c:v>
                </c:pt>
                <c:pt idx="6722">
                  <c:v>4.956029453743124</c:v>
                </c:pt>
                <c:pt idx="6723">
                  <c:v>5.8295826043444787</c:v>
                </c:pt>
                <c:pt idx="6724">
                  <c:v>6.1074669538993103</c:v>
                </c:pt>
                <c:pt idx="6725">
                  <c:v>6.0213083604898294</c:v>
                </c:pt>
                <c:pt idx="6726">
                  <c:v>5.9697349712987577</c:v>
                </c:pt>
                <c:pt idx="6727">
                  <c:v>5.8505236820482063</c:v>
                </c:pt>
                <c:pt idx="6728">
                  <c:v>5.9326183244131157</c:v>
                </c:pt>
                <c:pt idx="6729">
                  <c:v>5.9228884978569507</c:v>
                </c:pt>
                <c:pt idx="6730">
                  <c:v>6.0089743796231163</c:v>
                </c:pt>
                <c:pt idx="6731">
                  <c:v>5.8841119245937987</c:v>
                </c:pt>
                <c:pt idx="6732">
                  <c:v>6.1112332058864993</c:v>
                </c:pt>
                <c:pt idx="6733">
                  <c:v>7.0356342895613917</c:v>
                </c:pt>
                <c:pt idx="6734">
                  <c:v>5.8524213124533784</c:v>
                </c:pt>
                <c:pt idx="6735">
                  <c:v>5.1051057218055185</c:v>
                </c:pt>
                <c:pt idx="6736">
                  <c:v>6.9473516626096634</c:v>
                </c:pt>
                <c:pt idx="6737">
                  <c:v>5.8787838169845736</c:v>
                </c:pt>
                <c:pt idx="6738">
                  <c:v>5.8637580402602625</c:v>
                </c:pt>
                <c:pt idx="6739">
                  <c:v>6.2533692537818384</c:v>
                </c:pt>
                <c:pt idx="6740">
                  <c:v>5.9995556603865134</c:v>
                </c:pt>
                <c:pt idx="6741">
                  <c:v>5.8352034410682689</c:v>
                </c:pt>
                <c:pt idx="6742">
                  <c:v>6.8901220862810781</c:v>
                </c:pt>
                <c:pt idx="6743">
                  <c:v>6.8932533131689055</c:v>
                </c:pt>
                <c:pt idx="6744">
                  <c:v>7.1108696817555543</c:v>
                </c:pt>
                <c:pt idx="6745">
                  <c:v>5.0952915676541375</c:v>
                </c:pt>
                <c:pt idx="6746">
                  <c:v>5.9475548453448983</c:v>
                </c:pt>
                <c:pt idx="6747">
                  <c:v>6.0680786957822281</c:v>
                </c:pt>
                <c:pt idx="6748">
                  <c:v>6.1566259802548347</c:v>
                </c:pt>
                <c:pt idx="6749">
                  <c:v>4.970481831929547</c:v>
                </c:pt>
                <c:pt idx="6750">
                  <c:v>4.9178789724683671</c:v>
                </c:pt>
                <c:pt idx="6751">
                  <c:v>6.056096012153561</c:v>
                </c:pt>
                <c:pt idx="6752">
                  <c:v>6.0431590904055525</c:v>
                </c:pt>
                <c:pt idx="6753">
                  <c:v>7.0720119132502113</c:v>
                </c:pt>
                <c:pt idx="6754">
                  <c:v>5.9810773507062933</c:v>
                </c:pt>
                <c:pt idx="6755">
                  <c:v>5.9497671440362456</c:v>
                </c:pt>
                <c:pt idx="6756">
                  <c:v>6.8305840761204264</c:v>
                </c:pt>
                <c:pt idx="6757">
                  <c:v>5.0296802850319029</c:v>
                </c:pt>
                <c:pt idx="6758">
                  <c:v>6.8549328967040468</c:v>
                </c:pt>
                <c:pt idx="6759">
                  <c:v>5.8931336440363458</c:v>
                </c:pt>
                <c:pt idx="6760">
                  <c:v>5.9902472500666288</c:v>
                </c:pt>
                <c:pt idx="6761">
                  <c:v>6.0869111708169656</c:v>
                </c:pt>
                <c:pt idx="6762">
                  <c:v>4.7981047175742964</c:v>
                </c:pt>
                <c:pt idx="6763">
                  <c:v>5.0075989294520076</c:v>
                </c:pt>
                <c:pt idx="6764">
                  <c:v>7.0209892465280888</c:v>
                </c:pt>
                <c:pt idx="6765">
                  <c:v>5.9870271594577282</c:v>
                </c:pt>
                <c:pt idx="6766">
                  <c:v>5.3175540759253881</c:v>
                </c:pt>
                <c:pt idx="6767">
                  <c:v>6.0950474619552644</c:v>
                </c:pt>
                <c:pt idx="6768">
                  <c:v>7.0937098220344401</c:v>
                </c:pt>
                <c:pt idx="6769">
                  <c:v>4.9003592530387641</c:v>
                </c:pt>
                <c:pt idx="6770">
                  <c:v>4.9888255590065693</c:v>
                </c:pt>
                <c:pt idx="6771">
                  <c:v>4.855062413246908</c:v>
                </c:pt>
                <c:pt idx="6772">
                  <c:v>4.9447176552909422</c:v>
                </c:pt>
                <c:pt idx="6773">
                  <c:v>4.8999203726746234</c:v>
                </c:pt>
                <c:pt idx="6774">
                  <c:v>4.8707732314772807</c:v>
                </c:pt>
                <c:pt idx="6775">
                  <c:v>5.9183973728850399</c:v>
                </c:pt>
                <c:pt idx="6776">
                  <c:v>4.8332563226818017</c:v>
                </c:pt>
                <c:pt idx="6777">
                  <c:v>4.8131249445064235</c:v>
                </c:pt>
                <c:pt idx="6778">
                  <c:v>5.9315191466869051</c:v>
                </c:pt>
                <c:pt idx="6779">
                  <c:v>6.9744784826003547</c:v>
                </c:pt>
                <c:pt idx="6780">
                  <c:v>4.8867435297148472</c:v>
                </c:pt>
                <c:pt idx="6781">
                  <c:v>5.0503954471298176</c:v>
                </c:pt>
                <c:pt idx="6782">
                  <c:v>6.1584212713337649</c:v>
                </c:pt>
                <c:pt idx="6783">
                  <c:v>4.9620695900387179</c:v>
                </c:pt>
                <c:pt idx="6784">
                  <c:v>4.9158999143243172</c:v>
                </c:pt>
                <c:pt idx="6785">
                  <c:v>4.91534346792122</c:v>
                </c:pt>
                <c:pt idx="6786">
                  <c:v>5.1840251277278711</c:v>
                </c:pt>
                <c:pt idx="6787">
                  <c:v>6.018297407948447</c:v>
                </c:pt>
                <c:pt idx="6788">
                  <c:v>5.0319596672658395</c:v>
                </c:pt>
                <c:pt idx="6789">
                  <c:v>5.0245935596723292</c:v>
                </c:pt>
                <c:pt idx="6790">
                  <c:v>5.1927329369215514</c:v>
                </c:pt>
                <c:pt idx="6791">
                  <c:v>6.031953080721566</c:v>
                </c:pt>
                <c:pt idx="6792">
                  <c:v>6.0320991690592436</c:v>
                </c:pt>
                <c:pt idx="6793">
                  <c:v>7.0844150844251459</c:v>
                </c:pt>
                <c:pt idx="6794">
                  <c:v>5.233030510155654</c:v>
                </c:pt>
                <c:pt idx="6795">
                  <c:v>5.9492054762171627</c:v>
                </c:pt>
                <c:pt idx="6796">
                  <c:v>5.0497561198979808</c:v>
                </c:pt>
                <c:pt idx="6797">
                  <c:v>5.9483390241036371</c:v>
                </c:pt>
                <c:pt idx="6798">
                  <c:v>6.1869081606317922</c:v>
                </c:pt>
                <c:pt idx="6799">
                  <c:v>6.0198840047762872</c:v>
                </c:pt>
                <c:pt idx="6800">
                  <c:v>6.038900049025326</c:v>
                </c:pt>
                <c:pt idx="6801">
                  <c:v>4.9559304407455302</c:v>
                </c:pt>
                <c:pt idx="6802">
                  <c:v>4.990559975021359</c:v>
                </c:pt>
                <c:pt idx="6803">
                  <c:v>5.9220762926997743</c:v>
                </c:pt>
                <c:pt idx="6804">
                  <c:v>5.0161868995691643</c:v>
                </c:pt>
                <c:pt idx="6805">
                  <c:v>4.9099958476027954</c:v>
                </c:pt>
                <c:pt idx="6806">
                  <c:v>6.2216863553008395</c:v>
                </c:pt>
                <c:pt idx="6807">
                  <c:v>5.9665950147335289</c:v>
                </c:pt>
                <c:pt idx="6808">
                  <c:v>6.0781934803167594</c:v>
                </c:pt>
                <c:pt idx="6809">
                  <c:v>6.9616986362954902</c:v>
                </c:pt>
                <c:pt idx="6810">
                  <c:v>5.9934214970051709</c:v>
                </c:pt>
                <c:pt idx="6811">
                  <c:v>5.1122205766889079</c:v>
                </c:pt>
                <c:pt idx="6812">
                  <c:v>4.933250564367202</c:v>
                </c:pt>
                <c:pt idx="6813">
                  <c:v>5.1664554508573692</c:v>
                </c:pt>
                <c:pt idx="6814">
                  <c:v>5.8426192812968258</c:v>
                </c:pt>
                <c:pt idx="6815">
                  <c:v>4.185691685592813</c:v>
                </c:pt>
                <c:pt idx="6816">
                  <c:v>5.1435360396348049</c:v>
                </c:pt>
                <c:pt idx="6817">
                  <c:v>4.9926781324324496</c:v>
                </c:pt>
                <c:pt idx="6818">
                  <c:v>4.8628037704852245</c:v>
                </c:pt>
                <c:pt idx="6819">
                  <c:v>4.8861782091126367</c:v>
                </c:pt>
                <c:pt idx="6820">
                  <c:v>6.0360127843720379</c:v>
                </c:pt>
                <c:pt idx="6821">
                  <c:v>5.0484905874749408</c:v>
                </c:pt>
                <c:pt idx="6822">
                  <c:v>5.1461606466388705</c:v>
                </c:pt>
                <c:pt idx="6823">
                  <c:v>5.1135479667273724</c:v>
                </c:pt>
                <c:pt idx="6824">
                  <c:v>6.111373906589578</c:v>
                </c:pt>
                <c:pt idx="6825">
                  <c:v>7.1480052994243</c:v>
                </c:pt>
                <c:pt idx="6826">
                  <c:v>5.1106251928571851</c:v>
                </c:pt>
                <c:pt idx="6827">
                  <c:v>5.0191017591632967</c:v>
                </c:pt>
                <c:pt idx="6828">
                  <c:v>7.0626132248137869</c:v>
                </c:pt>
                <c:pt idx="6829">
                  <c:v>5.9407685717724812</c:v>
                </c:pt>
                <c:pt idx="6830">
                  <c:v>5.1457978866633542</c:v>
                </c:pt>
                <c:pt idx="6831">
                  <c:v>6.1261127328142067</c:v>
                </c:pt>
                <c:pt idx="6832">
                  <c:v>6.1347237099876004</c:v>
                </c:pt>
                <c:pt idx="6833">
                  <c:v>4.9199225175237302</c:v>
                </c:pt>
                <c:pt idx="6834">
                  <c:v>5.0403114392315587</c:v>
                </c:pt>
                <c:pt idx="6835">
                  <c:v>6.0053206796871654</c:v>
                </c:pt>
                <c:pt idx="6836">
                  <c:v>6.0458091083437147</c:v>
                </c:pt>
                <c:pt idx="6837">
                  <c:v>6.1671593026878284</c:v>
                </c:pt>
                <c:pt idx="6838">
                  <c:v>5.1284827199106804</c:v>
                </c:pt>
                <c:pt idx="6839">
                  <c:v>4.9095260299039705</c:v>
                </c:pt>
                <c:pt idx="6840">
                  <c:v>4.8786526982685459</c:v>
                </c:pt>
                <c:pt idx="6841">
                  <c:v>4.9144256106634208</c:v>
                </c:pt>
                <c:pt idx="6842">
                  <c:v>6.1248408605964046</c:v>
                </c:pt>
                <c:pt idx="6843">
                  <c:v>4.7809113118848767</c:v>
                </c:pt>
                <c:pt idx="6844">
                  <c:v>5.0023128902777385</c:v>
                </c:pt>
                <c:pt idx="6845">
                  <c:v>6.8483766717986816</c:v>
                </c:pt>
                <c:pt idx="6846">
                  <c:v>6.0021620223097045</c:v>
                </c:pt>
                <c:pt idx="6847">
                  <c:v>5.0083530393267433</c:v>
                </c:pt>
                <c:pt idx="6848">
                  <c:v>4.8675850006360353</c:v>
                </c:pt>
                <c:pt idx="6849">
                  <c:v>5.0707442914879515</c:v>
                </c:pt>
                <c:pt idx="6850">
                  <c:v>5.9483922866659524</c:v>
                </c:pt>
                <c:pt idx="6851">
                  <c:v>6.0015190503524813</c:v>
                </c:pt>
                <c:pt idx="6852">
                  <c:v>6.0249399785238476</c:v>
                </c:pt>
                <c:pt idx="6853">
                  <c:v>6.0051979302415841</c:v>
                </c:pt>
                <c:pt idx="6854">
                  <c:v>4.9565750729091125</c:v>
                </c:pt>
                <c:pt idx="6855">
                  <c:v>4.8543583857689061</c:v>
                </c:pt>
                <c:pt idx="6856">
                  <c:v>5.9679396933368167</c:v>
                </c:pt>
                <c:pt idx="6857">
                  <c:v>6.9368382410995713</c:v>
                </c:pt>
                <c:pt idx="6858">
                  <c:v>5.9364690849420487</c:v>
                </c:pt>
                <c:pt idx="6859">
                  <c:v>6.0288174344651448</c:v>
                </c:pt>
                <c:pt idx="6860">
                  <c:v>5.9498270669234472</c:v>
                </c:pt>
                <c:pt idx="6861">
                  <c:v>5.0585324177576192</c:v>
                </c:pt>
                <c:pt idx="6862">
                  <c:v>4.9586085605219221</c:v>
                </c:pt>
                <c:pt idx="6863">
                  <c:v>5.9432180277915139</c:v>
                </c:pt>
                <c:pt idx="6864">
                  <c:v>6.0564275350388357</c:v>
                </c:pt>
                <c:pt idx="6865">
                  <c:v>5.9945448529601455</c:v>
                </c:pt>
                <c:pt idx="6866">
                  <c:v>5.0985412005492705</c:v>
                </c:pt>
                <c:pt idx="6867">
                  <c:v>5.053112140880196</c:v>
                </c:pt>
                <c:pt idx="6868">
                  <c:v>5.8727382922108227</c:v>
                </c:pt>
                <c:pt idx="6869">
                  <c:v>5.8782671956289425</c:v>
                </c:pt>
                <c:pt idx="6870">
                  <c:v>5.0488703518826687</c:v>
                </c:pt>
                <c:pt idx="6871">
                  <c:v>5.0447649785582831</c:v>
                </c:pt>
                <c:pt idx="6872">
                  <c:v>5.0496932932469258</c:v>
                </c:pt>
                <c:pt idx="6873">
                  <c:v>5.0207341984799259</c:v>
                </c:pt>
                <c:pt idx="6874">
                  <c:v>7.1029830264928311</c:v>
                </c:pt>
                <c:pt idx="6875">
                  <c:v>7.1507158904775538</c:v>
                </c:pt>
                <c:pt idx="6876">
                  <c:v>7.0524510210958553</c:v>
                </c:pt>
                <c:pt idx="6877">
                  <c:v>6.074639551378552</c:v>
                </c:pt>
                <c:pt idx="6878">
                  <c:v>4.9027090991899271</c:v>
                </c:pt>
                <c:pt idx="6879">
                  <c:v>4.8329135933532088</c:v>
                </c:pt>
                <c:pt idx="6880">
                  <c:v>5.1514935733856131</c:v>
                </c:pt>
                <c:pt idx="6881">
                  <c:v>6.0143372280259575</c:v>
                </c:pt>
                <c:pt idx="6882">
                  <c:v>5.8245252020494931</c:v>
                </c:pt>
                <c:pt idx="6883">
                  <c:v>6.9807070577274892</c:v>
                </c:pt>
                <c:pt idx="6884">
                  <c:v>4.9298103574654135</c:v>
                </c:pt>
                <c:pt idx="6885">
                  <c:v>6.8728518245639689</c:v>
                </c:pt>
                <c:pt idx="6886">
                  <c:v>4.9580426741732904</c:v>
                </c:pt>
                <c:pt idx="6887">
                  <c:v>6.0579184249701488</c:v>
                </c:pt>
                <c:pt idx="6888">
                  <c:v>5.1896422062345602</c:v>
                </c:pt>
                <c:pt idx="6889">
                  <c:v>5.9085275216369855</c:v>
                </c:pt>
                <c:pt idx="6890">
                  <c:v>6.0244266446879227</c:v>
                </c:pt>
                <c:pt idx="6891">
                  <c:v>6.08060728253965</c:v>
                </c:pt>
                <c:pt idx="6892">
                  <c:v>6.0101580760619209</c:v>
                </c:pt>
                <c:pt idx="6893">
                  <c:v>5.8527176058207635</c:v>
                </c:pt>
                <c:pt idx="6894">
                  <c:v>4.989858411486777</c:v>
                </c:pt>
                <c:pt idx="6895">
                  <c:v>5.1214449705628944</c:v>
                </c:pt>
                <c:pt idx="6896">
                  <c:v>6.023976408020439</c:v>
                </c:pt>
                <c:pt idx="6897">
                  <c:v>4.8651592238422161</c:v>
                </c:pt>
                <c:pt idx="6898">
                  <c:v>5.9813648101793877</c:v>
                </c:pt>
                <c:pt idx="6899">
                  <c:v>5.0833123369349407</c:v>
                </c:pt>
                <c:pt idx="6900">
                  <c:v>5.9551327553632856</c:v>
                </c:pt>
                <c:pt idx="6901">
                  <c:v>4.9068642652547156</c:v>
                </c:pt>
                <c:pt idx="6902">
                  <c:v>5.9533734616742038</c:v>
                </c:pt>
                <c:pt idx="6903">
                  <c:v>4.8382839997234726</c:v>
                </c:pt>
                <c:pt idx="6904">
                  <c:v>6.0092128019368731</c:v>
                </c:pt>
                <c:pt idx="6905">
                  <c:v>7.0779161510090987</c:v>
                </c:pt>
                <c:pt idx="6906">
                  <c:v>5.9745303368865406</c:v>
                </c:pt>
                <c:pt idx="6907">
                  <c:v>4.8819638943758932</c:v>
                </c:pt>
                <c:pt idx="6908">
                  <c:v>4.93547651518102</c:v>
                </c:pt>
                <c:pt idx="6909">
                  <c:v>5.1263066537160507</c:v>
                </c:pt>
                <c:pt idx="6910">
                  <c:v>6.1411738738956618</c:v>
                </c:pt>
                <c:pt idx="6911">
                  <c:v>5.0825128259723913</c:v>
                </c:pt>
                <c:pt idx="6912">
                  <c:v>4.9134428330458393</c:v>
                </c:pt>
                <c:pt idx="6913">
                  <c:v>5.9840005467926813</c:v>
                </c:pt>
                <c:pt idx="6914">
                  <c:v>6.179264687020674</c:v>
                </c:pt>
                <c:pt idx="6915">
                  <c:v>4.8879360048594025</c:v>
                </c:pt>
                <c:pt idx="6916">
                  <c:v>4.9165747382444271</c:v>
                </c:pt>
                <c:pt idx="6917">
                  <c:v>5.1383257665924456</c:v>
                </c:pt>
                <c:pt idx="6918">
                  <c:v>5.0481715121686701</c:v>
                </c:pt>
                <c:pt idx="6919">
                  <c:v>4.8848733664071773</c:v>
                </c:pt>
                <c:pt idx="6920">
                  <c:v>7.1560735061949767</c:v>
                </c:pt>
                <c:pt idx="6921">
                  <c:v>5.0192373099850807</c:v>
                </c:pt>
                <c:pt idx="6922">
                  <c:v>5.1810265051991129</c:v>
                </c:pt>
                <c:pt idx="6923">
                  <c:v>6.0034799162590682</c:v>
                </c:pt>
                <c:pt idx="6924">
                  <c:v>4.9356955667487235</c:v>
                </c:pt>
                <c:pt idx="6925">
                  <c:v>5.8972596024491866</c:v>
                </c:pt>
                <c:pt idx="6926">
                  <c:v>5.1279369406524973</c:v>
                </c:pt>
                <c:pt idx="6927">
                  <c:v>6.9972316119365781</c:v>
                </c:pt>
                <c:pt idx="6928">
                  <c:v>3.8433539455957595</c:v>
                </c:pt>
                <c:pt idx="6929">
                  <c:v>4.9972326642235316</c:v>
                </c:pt>
                <c:pt idx="6930">
                  <c:v>6.8952349181472439</c:v>
                </c:pt>
                <c:pt idx="6931">
                  <c:v>7.0126664993686916</c:v>
                </c:pt>
                <c:pt idx="6932">
                  <c:v>4.9696573628129528</c:v>
                </c:pt>
                <c:pt idx="6933">
                  <c:v>5.0326309855606368</c:v>
                </c:pt>
                <c:pt idx="6934">
                  <c:v>5.212833279049045</c:v>
                </c:pt>
                <c:pt idx="6935">
                  <c:v>4.972491409295265</c:v>
                </c:pt>
                <c:pt idx="6936">
                  <c:v>5.8658296863034138</c:v>
                </c:pt>
                <c:pt idx="6937">
                  <c:v>5.955368306635628</c:v>
                </c:pt>
                <c:pt idx="6938">
                  <c:v>5.034637157248306</c:v>
                </c:pt>
                <c:pt idx="6939">
                  <c:v>5.9591549151099317</c:v>
                </c:pt>
                <c:pt idx="6940">
                  <c:v>5.1148970513713188</c:v>
                </c:pt>
                <c:pt idx="6941">
                  <c:v>5.7805015348976001</c:v>
                </c:pt>
                <c:pt idx="6942">
                  <c:v>5.0457274842802278</c:v>
                </c:pt>
                <c:pt idx="6943">
                  <c:v>6.2549838287270623</c:v>
                </c:pt>
                <c:pt idx="6944">
                  <c:v>5.9619666199824932</c:v>
                </c:pt>
                <c:pt idx="6945">
                  <c:v>4.9186735019999581</c:v>
                </c:pt>
                <c:pt idx="6946">
                  <c:v>5.9066068650340044</c:v>
                </c:pt>
                <c:pt idx="6947">
                  <c:v>5.086850226291908</c:v>
                </c:pt>
                <c:pt idx="6948">
                  <c:v>5.9999185958601249</c:v>
                </c:pt>
                <c:pt idx="6949">
                  <c:v>4.9774552844511604</c:v>
                </c:pt>
                <c:pt idx="6950">
                  <c:v>5.9628391239928709</c:v>
                </c:pt>
                <c:pt idx="6951">
                  <c:v>4.9730835034771559</c:v>
                </c:pt>
                <c:pt idx="6952">
                  <c:v>4.9709859121475635</c:v>
                </c:pt>
                <c:pt idx="6953">
                  <c:v>4.9855866613192088</c:v>
                </c:pt>
                <c:pt idx="6954">
                  <c:v>4.8039916025189955</c:v>
                </c:pt>
                <c:pt idx="6955">
                  <c:v>5.894894046365863</c:v>
                </c:pt>
                <c:pt idx="6956">
                  <c:v>4.9229343806819639</c:v>
                </c:pt>
                <c:pt idx="6957">
                  <c:v>6.0503109493585985</c:v>
                </c:pt>
                <c:pt idx="6958">
                  <c:v>5.0075618525094185</c:v>
                </c:pt>
                <c:pt idx="6959">
                  <c:v>5.051139833908711</c:v>
                </c:pt>
                <c:pt idx="6960">
                  <c:v>6.1032082770429525</c:v>
                </c:pt>
                <c:pt idx="6961">
                  <c:v>6.0662516695164292</c:v>
                </c:pt>
                <c:pt idx="6962">
                  <c:v>4.8402266864972079</c:v>
                </c:pt>
                <c:pt idx="6963">
                  <c:v>5.8824277507078291</c:v>
                </c:pt>
                <c:pt idx="6964">
                  <c:v>5.8786395589879543</c:v>
                </c:pt>
                <c:pt idx="6965">
                  <c:v>5.9976051791158858</c:v>
                </c:pt>
                <c:pt idx="6966">
                  <c:v>6.2171287124122676</c:v>
                </c:pt>
                <c:pt idx="6967">
                  <c:v>5.04638988143072</c:v>
                </c:pt>
                <c:pt idx="6968">
                  <c:v>5.0606876626605262</c:v>
                </c:pt>
                <c:pt idx="6969">
                  <c:v>5.0797441594048216</c:v>
                </c:pt>
                <c:pt idx="6970">
                  <c:v>5.1203986547011802</c:v>
                </c:pt>
                <c:pt idx="6971">
                  <c:v>5.889911683434371</c:v>
                </c:pt>
                <c:pt idx="6972">
                  <c:v>4.8542289341993392</c:v>
                </c:pt>
                <c:pt idx="6973">
                  <c:v>4.7797798014772477</c:v>
                </c:pt>
                <c:pt idx="6974">
                  <c:v>5.131146854177552</c:v>
                </c:pt>
                <c:pt idx="6975">
                  <c:v>6.099873593910667</c:v>
                </c:pt>
                <c:pt idx="6976">
                  <c:v>5.0769482626972806</c:v>
                </c:pt>
                <c:pt idx="6977">
                  <c:v>5.14624466126849</c:v>
                </c:pt>
                <c:pt idx="6978">
                  <c:v>6.0957823505121862</c:v>
                </c:pt>
                <c:pt idx="6979">
                  <c:v>5.0018312637575058</c:v>
                </c:pt>
                <c:pt idx="6980">
                  <c:v>5.1450655270876355</c:v>
                </c:pt>
                <c:pt idx="6981">
                  <c:v>5.9711795754217407</c:v>
                </c:pt>
                <c:pt idx="6982">
                  <c:v>5.093665817826369</c:v>
                </c:pt>
                <c:pt idx="6983">
                  <c:v>5.0461378159522301</c:v>
                </c:pt>
                <c:pt idx="6984">
                  <c:v>6.0783777897337767</c:v>
                </c:pt>
                <c:pt idx="6985">
                  <c:v>4.8866922141564393</c:v>
                </c:pt>
                <c:pt idx="6986">
                  <c:v>6.0335807689082808</c:v>
                </c:pt>
                <c:pt idx="6987">
                  <c:v>7.1136925929440018</c:v>
                </c:pt>
                <c:pt idx="6988">
                  <c:v>4.9657408919383981</c:v>
                </c:pt>
                <c:pt idx="6989">
                  <c:v>4.9367589673153285</c:v>
                </c:pt>
                <c:pt idx="6990">
                  <c:v>4.9647361137116661</c:v>
                </c:pt>
                <c:pt idx="6991">
                  <c:v>4.8166203891265074</c:v>
                </c:pt>
                <c:pt idx="6992">
                  <c:v>6.2448718105539509</c:v>
                </c:pt>
                <c:pt idx="6993">
                  <c:v>5.169462378960147</c:v>
                </c:pt>
                <c:pt idx="6994">
                  <c:v>6.05375912052655</c:v>
                </c:pt>
                <c:pt idx="6995">
                  <c:v>5.9021266071587766</c:v>
                </c:pt>
                <c:pt idx="6996">
                  <c:v>6.0285159116563909</c:v>
                </c:pt>
                <c:pt idx="6997">
                  <c:v>5.8204116732949718</c:v>
                </c:pt>
                <c:pt idx="6998">
                  <c:v>5.0875975405963461</c:v>
                </c:pt>
                <c:pt idx="6999">
                  <c:v>5.8467471632763717</c:v>
                </c:pt>
                <c:pt idx="7000">
                  <c:v>5.1305958600261059</c:v>
                </c:pt>
                <c:pt idx="7001">
                  <c:v>5.0566425953527849</c:v>
                </c:pt>
                <c:pt idx="7002">
                  <c:v>6.1244155082368419</c:v>
                </c:pt>
                <c:pt idx="7003">
                  <c:v>6.0856811185534676</c:v>
                </c:pt>
                <c:pt idx="7004">
                  <c:v>6.0663583420365672</c:v>
                </c:pt>
                <c:pt idx="7005">
                  <c:v>5.8955592802533188</c:v>
                </c:pt>
                <c:pt idx="7006">
                  <c:v>5.9855985220442731</c:v>
                </c:pt>
                <c:pt idx="7007">
                  <c:v>5.9903098279848157</c:v>
                </c:pt>
                <c:pt idx="7008">
                  <c:v>5.9783584180310729</c:v>
                </c:pt>
                <c:pt idx="7009">
                  <c:v>4.9942399155096169</c:v>
                </c:pt>
                <c:pt idx="7010">
                  <c:v>4.9943124438988002</c:v>
                </c:pt>
                <c:pt idx="7011">
                  <c:v>5.0560216765398902</c:v>
                </c:pt>
                <c:pt idx="7012">
                  <c:v>4.9660698558073788</c:v>
                </c:pt>
                <c:pt idx="7013">
                  <c:v>5.7772765428091226</c:v>
                </c:pt>
                <c:pt idx="7014">
                  <c:v>6.1007976288438295</c:v>
                </c:pt>
                <c:pt idx="7015">
                  <c:v>6.0767047594900907</c:v>
                </c:pt>
                <c:pt idx="7016">
                  <c:v>6.0081555492431553</c:v>
                </c:pt>
                <c:pt idx="7017">
                  <c:v>4.9147222471292418</c:v>
                </c:pt>
                <c:pt idx="7018">
                  <c:v>4.8500888538130758</c:v>
                </c:pt>
                <c:pt idx="7019">
                  <c:v>5.0284902293957749</c:v>
                </c:pt>
                <c:pt idx="7020">
                  <c:v>5.0293377956478631</c:v>
                </c:pt>
                <c:pt idx="7021">
                  <c:v>5.9282207102835232</c:v>
                </c:pt>
                <c:pt idx="7022">
                  <c:v>6.0810765322991154</c:v>
                </c:pt>
                <c:pt idx="7023">
                  <c:v>4.8776815526985944</c:v>
                </c:pt>
                <c:pt idx="7024">
                  <c:v>5.0740216560617917</c:v>
                </c:pt>
                <c:pt idx="7025">
                  <c:v>5.95614295606733</c:v>
                </c:pt>
                <c:pt idx="7026">
                  <c:v>4.9835485857344128</c:v>
                </c:pt>
                <c:pt idx="7027">
                  <c:v>5.8778590117694955</c:v>
                </c:pt>
                <c:pt idx="7028">
                  <c:v>5.2771692601589741</c:v>
                </c:pt>
                <c:pt idx="7029">
                  <c:v>4.8574014932543088</c:v>
                </c:pt>
                <c:pt idx="7030">
                  <c:v>5.1386152339795776</c:v>
                </c:pt>
                <c:pt idx="7031">
                  <c:v>4.894977930022999</c:v>
                </c:pt>
                <c:pt idx="7032">
                  <c:v>5.9891444551319335</c:v>
                </c:pt>
                <c:pt idx="7033">
                  <c:v>5.973473461733434</c:v>
                </c:pt>
                <c:pt idx="7034">
                  <c:v>5.085328894891429</c:v>
                </c:pt>
                <c:pt idx="7035">
                  <c:v>5.9408257973220602</c:v>
                </c:pt>
                <c:pt idx="7036">
                  <c:v>6.9722861146436221</c:v>
                </c:pt>
                <c:pt idx="7037">
                  <c:v>4.988115455112287</c:v>
                </c:pt>
                <c:pt idx="7038">
                  <c:v>7.2484905792327261</c:v>
                </c:pt>
                <c:pt idx="7039">
                  <c:v>5.9268463660323718</c:v>
                </c:pt>
                <c:pt idx="7040">
                  <c:v>4.9703552751990738</c:v>
                </c:pt>
                <c:pt idx="7041">
                  <c:v>6.1027870584139299</c:v>
                </c:pt>
                <c:pt idx="7042">
                  <c:v>6.1777394092369056</c:v>
                </c:pt>
                <c:pt idx="7043">
                  <c:v>5.0046163155544043</c:v>
                </c:pt>
                <c:pt idx="7044">
                  <c:v>4.8816833982664285</c:v>
                </c:pt>
                <c:pt idx="7045">
                  <c:v>5.0049530323905946</c:v>
                </c:pt>
                <c:pt idx="7046">
                  <c:v>5.1033364808933177</c:v>
                </c:pt>
                <c:pt idx="7047">
                  <c:v>5.1509830013613884</c:v>
                </c:pt>
                <c:pt idx="7048">
                  <c:v>6.0606722243344429</c:v>
                </c:pt>
                <c:pt idx="7049">
                  <c:v>5.9973722447154776</c:v>
                </c:pt>
                <c:pt idx="7050">
                  <c:v>4.9904034327482032</c:v>
                </c:pt>
                <c:pt idx="7051">
                  <c:v>6.0324100447937061</c:v>
                </c:pt>
                <c:pt idx="7052">
                  <c:v>5.1351184515012216</c:v>
                </c:pt>
                <c:pt idx="7053">
                  <c:v>6.0761950688644122</c:v>
                </c:pt>
                <c:pt idx="7054">
                  <c:v>6.9862973005092597</c:v>
                </c:pt>
                <c:pt idx="7055">
                  <c:v>4.7606812128419467</c:v>
                </c:pt>
                <c:pt idx="7056">
                  <c:v>4.1215275396002324</c:v>
                </c:pt>
                <c:pt idx="7057">
                  <c:v>4.9290953692158359</c:v>
                </c:pt>
                <c:pt idx="7058">
                  <c:v>4.7133279422711896</c:v>
                </c:pt>
                <c:pt idx="7059">
                  <c:v>5.0490938879955811</c:v>
                </c:pt>
                <c:pt idx="7060">
                  <c:v>5.9789701823947787</c:v>
                </c:pt>
                <c:pt idx="7061">
                  <c:v>6.2093945347740247</c:v>
                </c:pt>
                <c:pt idx="7062">
                  <c:v>5.9553512136804709</c:v>
                </c:pt>
                <c:pt idx="7063">
                  <c:v>5.8560288051636542</c:v>
                </c:pt>
                <c:pt idx="7064">
                  <c:v>5.8559350594151995</c:v>
                </c:pt>
                <c:pt idx="7065">
                  <c:v>5.0295741234177989</c:v>
                </c:pt>
                <c:pt idx="7066">
                  <c:v>4.8460852900082054</c:v>
                </c:pt>
                <c:pt idx="7067">
                  <c:v>5.8955818992861957</c:v>
                </c:pt>
                <c:pt idx="7068">
                  <c:v>5.015952055079838</c:v>
                </c:pt>
                <c:pt idx="7069">
                  <c:v>5.0094267355835882</c:v>
                </c:pt>
                <c:pt idx="7070">
                  <c:v>5.8857649596113717</c:v>
                </c:pt>
                <c:pt idx="7071">
                  <c:v>5.1314730284102392</c:v>
                </c:pt>
                <c:pt idx="7072">
                  <c:v>5.0335291218235367</c:v>
                </c:pt>
                <c:pt idx="7073">
                  <c:v>4.9206170130846516</c:v>
                </c:pt>
                <c:pt idx="7074">
                  <c:v>5.8806341103125339</c:v>
                </c:pt>
                <c:pt idx="7075">
                  <c:v>4.9835609778582306</c:v>
                </c:pt>
                <c:pt idx="7076">
                  <c:v>6.148330771196524</c:v>
                </c:pt>
                <c:pt idx="7077">
                  <c:v>6.0308064441778599</c:v>
                </c:pt>
                <c:pt idx="7078">
                  <c:v>4.8985747387945162</c:v>
                </c:pt>
                <c:pt idx="7079">
                  <c:v>5.0115409417723953</c:v>
                </c:pt>
                <c:pt idx="7080">
                  <c:v>6.0340073887388739</c:v>
                </c:pt>
                <c:pt idx="7081">
                  <c:v>5.1487150408125277</c:v>
                </c:pt>
                <c:pt idx="7082">
                  <c:v>6.1296940752034521</c:v>
                </c:pt>
                <c:pt idx="7083">
                  <c:v>5.0876781890413785</c:v>
                </c:pt>
                <c:pt idx="7084">
                  <c:v>4.8938628797090038</c:v>
                </c:pt>
                <c:pt idx="7085">
                  <c:v>5.1693315481755446</c:v>
                </c:pt>
                <c:pt idx="7086">
                  <c:v>6.0140782508640154</c:v>
                </c:pt>
                <c:pt idx="7087">
                  <c:v>5.9730853836491544</c:v>
                </c:pt>
                <c:pt idx="7088">
                  <c:v>6.9663740161814953</c:v>
                </c:pt>
                <c:pt idx="7089">
                  <c:v>4.9248453212176173</c:v>
                </c:pt>
                <c:pt idx="7090">
                  <c:v>4.9810261192129808</c:v>
                </c:pt>
                <c:pt idx="7091">
                  <c:v>6.1071808313340723</c:v>
                </c:pt>
                <c:pt idx="7092">
                  <c:v>5.1229076964471378</c:v>
                </c:pt>
                <c:pt idx="7093">
                  <c:v>4.8332281876182552</c:v>
                </c:pt>
                <c:pt idx="7094">
                  <c:v>5.9740617237886529</c:v>
                </c:pt>
                <c:pt idx="7095">
                  <c:v>5.9573912397522193</c:v>
                </c:pt>
                <c:pt idx="7096">
                  <c:v>4.957567622275703</c:v>
                </c:pt>
                <c:pt idx="7097">
                  <c:v>6.0200801228264238</c:v>
                </c:pt>
                <c:pt idx="7098">
                  <c:v>6.0852588266106302</c:v>
                </c:pt>
                <c:pt idx="7099">
                  <c:v>6.1760057692913515</c:v>
                </c:pt>
                <c:pt idx="7100">
                  <c:v>4.9314637585488228</c:v>
                </c:pt>
                <c:pt idx="7101">
                  <c:v>5.7924399916087683</c:v>
                </c:pt>
                <c:pt idx="7102">
                  <c:v>5.1294670841874721</c:v>
                </c:pt>
                <c:pt idx="7103">
                  <c:v>4.8623779153843083</c:v>
                </c:pt>
                <c:pt idx="7104">
                  <c:v>5.9898160055304173</c:v>
                </c:pt>
                <c:pt idx="7105">
                  <c:v>5.198779459035797</c:v>
                </c:pt>
                <c:pt idx="7106">
                  <c:v>7.1816652446321845</c:v>
                </c:pt>
                <c:pt idx="7107">
                  <c:v>6.0987214077506611</c:v>
                </c:pt>
                <c:pt idx="7108">
                  <c:v>4.8489833457172642</c:v>
                </c:pt>
                <c:pt idx="7109">
                  <c:v>5.9414076950754495</c:v>
                </c:pt>
                <c:pt idx="7110">
                  <c:v>5.0869112239183414</c:v>
                </c:pt>
                <c:pt idx="7111">
                  <c:v>5.8926731621515724</c:v>
                </c:pt>
                <c:pt idx="7112">
                  <c:v>6.0019414107951246</c:v>
                </c:pt>
                <c:pt idx="7113">
                  <c:v>5.0133837319245309</c:v>
                </c:pt>
                <c:pt idx="7114">
                  <c:v>5.980495999092545</c:v>
                </c:pt>
                <c:pt idx="7115">
                  <c:v>4.888379120108028</c:v>
                </c:pt>
                <c:pt idx="7116">
                  <c:v>5.2502127117492909</c:v>
                </c:pt>
                <c:pt idx="7117">
                  <c:v>5.136976235179552</c:v>
                </c:pt>
                <c:pt idx="7118">
                  <c:v>6.1777907129740282</c:v>
                </c:pt>
                <c:pt idx="7119">
                  <c:v>5.9333630655325527</c:v>
                </c:pt>
                <c:pt idx="7120">
                  <c:v>4.9782295212706744</c:v>
                </c:pt>
                <c:pt idx="7121">
                  <c:v>5.9706003680023043</c:v>
                </c:pt>
                <c:pt idx="7122">
                  <c:v>4.8827923735318537</c:v>
                </c:pt>
                <c:pt idx="7123">
                  <c:v>5.9745520383327584</c:v>
                </c:pt>
                <c:pt idx="7124">
                  <c:v>5.1147193760289396</c:v>
                </c:pt>
                <c:pt idx="7125">
                  <c:v>4.7684561826809633</c:v>
                </c:pt>
                <c:pt idx="7126">
                  <c:v>4.8707458218867457</c:v>
                </c:pt>
                <c:pt idx="7127">
                  <c:v>4.8834263594244263</c:v>
                </c:pt>
                <c:pt idx="7128">
                  <c:v>4.9439623715838099</c:v>
                </c:pt>
                <c:pt idx="7129">
                  <c:v>5.1029806536957674</c:v>
                </c:pt>
                <c:pt idx="7130">
                  <c:v>5.1209675424406509</c:v>
                </c:pt>
                <c:pt idx="7131">
                  <c:v>5.937849727465327</c:v>
                </c:pt>
                <c:pt idx="7132">
                  <c:v>5.0479915493838767</c:v>
                </c:pt>
                <c:pt idx="7133">
                  <c:v>5.179825446677758</c:v>
                </c:pt>
                <c:pt idx="7134">
                  <c:v>4.9374517925551968</c:v>
                </c:pt>
                <c:pt idx="7135">
                  <c:v>6.1060830962473212</c:v>
                </c:pt>
                <c:pt idx="7136">
                  <c:v>5.9035952568519896</c:v>
                </c:pt>
                <c:pt idx="7137">
                  <c:v>5.0549204663938907</c:v>
                </c:pt>
                <c:pt idx="7138">
                  <c:v>5.9892935446079374</c:v>
                </c:pt>
                <c:pt idx="7139">
                  <c:v>6.0164889533350703</c:v>
                </c:pt>
                <c:pt idx="7140">
                  <c:v>6.0643114131572062</c:v>
                </c:pt>
                <c:pt idx="7141">
                  <c:v>6.0158981490805647</c:v>
                </c:pt>
                <c:pt idx="7142">
                  <c:v>5.0184827709394488</c:v>
                </c:pt>
                <c:pt idx="7143">
                  <c:v>5.0942921077013654</c:v>
                </c:pt>
                <c:pt idx="7144">
                  <c:v>5.9466741242332359</c:v>
                </c:pt>
                <c:pt idx="7145">
                  <c:v>6.0533851547884066</c:v>
                </c:pt>
                <c:pt idx="7146">
                  <c:v>5.9855942901029229</c:v>
                </c:pt>
                <c:pt idx="7147">
                  <c:v>4.8156036729096492</c:v>
                </c:pt>
                <c:pt idx="7148">
                  <c:v>5.1689517591036171</c:v>
                </c:pt>
                <c:pt idx="7149">
                  <c:v>6.0385581973813647</c:v>
                </c:pt>
                <c:pt idx="7150">
                  <c:v>6.0271091982815337</c:v>
                </c:pt>
                <c:pt idx="7151">
                  <c:v>5.021277698408614</c:v>
                </c:pt>
                <c:pt idx="7152">
                  <c:v>6.0455721286493116</c:v>
                </c:pt>
                <c:pt idx="7153">
                  <c:v>6.0394689786261084</c:v>
                </c:pt>
                <c:pt idx="7154">
                  <c:v>5.8704729636719808</c:v>
                </c:pt>
                <c:pt idx="7155">
                  <c:v>6.0162111221512671</c:v>
                </c:pt>
                <c:pt idx="7156">
                  <c:v>5.9808688955217235</c:v>
                </c:pt>
                <c:pt idx="7157">
                  <c:v>5.0081708056654897</c:v>
                </c:pt>
                <c:pt idx="7158">
                  <c:v>5.9522633757510555</c:v>
                </c:pt>
                <c:pt idx="7159">
                  <c:v>5.8866180123174354</c:v>
                </c:pt>
                <c:pt idx="7160">
                  <c:v>5.897895194230375</c:v>
                </c:pt>
                <c:pt idx="7161">
                  <c:v>5.067192426149445</c:v>
                </c:pt>
                <c:pt idx="7162">
                  <c:v>6.030011702619408</c:v>
                </c:pt>
                <c:pt idx="7163">
                  <c:v>6.0713207346789293</c:v>
                </c:pt>
                <c:pt idx="7164">
                  <c:v>5.1145373996129795</c:v>
                </c:pt>
                <c:pt idx="7165">
                  <c:v>5.1466710515666181</c:v>
                </c:pt>
                <c:pt idx="7166">
                  <c:v>4.9412508893516121</c:v>
                </c:pt>
                <c:pt idx="7167">
                  <c:v>5.0379520425363618</c:v>
                </c:pt>
                <c:pt idx="7168">
                  <c:v>5.0868141050110847</c:v>
                </c:pt>
                <c:pt idx="7169">
                  <c:v>6.1566529625535837</c:v>
                </c:pt>
                <c:pt idx="7170">
                  <c:v>5.1115976036177182</c:v>
                </c:pt>
                <c:pt idx="7171">
                  <c:v>4.9739569486408675</c:v>
                </c:pt>
                <c:pt idx="7172">
                  <c:v>6.1334070742309947</c:v>
                </c:pt>
                <c:pt idx="7173">
                  <c:v>5.9602650552129273</c:v>
                </c:pt>
                <c:pt idx="7174">
                  <c:v>6.1602035922723184</c:v>
                </c:pt>
                <c:pt idx="7175">
                  <c:v>6.2303508402984802</c:v>
                </c:pt>
                <c:pt idx="7176">
                  <c:v>5.9286559366907028</c:v>
                </c:pt>
                <c:pt idx="7177">
                  <c:v>5.9309375380439375</c:v>
                </c:pt>
                <c:pt idx="7178">
                  <c:v>6.1860930100198441</c:v>
                </c:pt>
                <c:pt idx="7179">
                  <c:v>6.0582835573147928</c:v>
                </c:pt>
                <c:pt idx="7180">
                  <c:v>6.0662927606220443</c:v>
                </c:pt>
                <c:pt idx="7181">
                  <c:v>5.97273497864406</c:v>
                </c:pt>
                <c:pt idx="7182">
                  <c:v>5.9177562792795158</c:v>
                </c:pt>
                <c:pt idx="7183">
                  <c:v>5.9803227464161184</c:v>
                </c:pt>
                <c:pt idx="7184">
                  <c:v>5.918893044401405</c:v>
                </c:pt>
                <c:pt idx="7185">
                  <c:v>5.8491641256844975</c:v>
                </c:pt>
                <c:pt idx="7186">
                  <c:v>6.0676728416292951</c:v>
                </c:pt>
                <c:pt idx="7187">
                  <c:v>6.0019783326266261</c:v>
                </c:pt>
                <c:pt idx="7188">
                  <c:v>6.0010239751324672</c:v>
                </c:pt>
                <c:pt idx="7189">
                  <c:v>6.1188205726204519</c:v>
                </c:pt>
                <c:pt idx="7190">
                  <c:v>6.0373385112678193</c:v>
                </c:pt>
                <c:pt idx="7191">
                  <c:v>5.8692256672763481</c:v>
                </c:pt>
                <c:pt idx="7192">
                  <c:v>5.995630953602098</c:v>
                </c:pt>
                <c:pt idx="7193">
                  <c:v>5.8505704604930493</c:v>
                </c:pt>
                <c:pt idx="7194">
                  <c:v>6.0298473115953746</c:v>
                </c:pt>
                <c:pt idx="7195">
                  <c:v>5.0958545115780307</c:v>
                </c:pt>
                <c:pt idx="7196">
                  <c:v>5.0600046832350829</c:v>
                </c:pt>
                <c:pt idx="7197">
                  <c:v>6.027141424929197</c:v>
                </c:pt>
                <c:pt idx="7198">
                  <c:v>6.0485960304782056</c:v>
                </c:pt>
                <c:pt idx="7199">
                  <c:v>4.8434122080291111</c:v>
                </c:pt>
                <c:pt idx="7200">
                  <c:v>6.0497886598347064</c:v>
                </c:pt>
                <c:pt idx="7201">
                  <c:v>4.8618487381520898</c:v>
                </c:pt>
                <c:pt idx="7202">
                  <c:v>4.9875713046419046</c:v>
                </c:pt>
                <c:pt idx="7203">
                  <c:v>4.9214073240911125</c:v>
                </c:pt>
                <c:pt idx="7204">
                  <c:v>4.923807586701197</c:v>
                </c:pt>
                <c:pt idx="7205">
                  <c:v>6.070074761189078</c:v>
                </c:pt>
                <c:pt idx="7206">
                  <c:v>5.0014519953775975</c:v>
                </c:pt>
                <c:pt idx="7207">
                  <c:v>4.9881849686132727</c:v>
                </c:pt>
                <c:pt idx="7208">
                  <c:v>6.0123809527299432</c:v>
                </c:pt>
                <c:pt idx="7209">
                  <c:v>5.0203472950136216</c:v>
                </c:pt>
                <c:pt idx="7210">
                  <c:v>4.9945606766219521</c:v>
                </c:pt>
                <c:pt idx="7211">
                  <c:v>6.1212912595085704</c:v>
                </c:pt>
                <c:pt idx="7212">
                  <c:v>6.2284057806197382</c:v>
                </c:pt>
                <c:pt idx="7213">
                  <c:v>4.9740766525256204</c:v>
                </c:pt>
                <c:pt idx="7214">
                  <c:v>4.9932610789627612</c:v>
                </c:pt>
                <c:pt idx="7215">
                  <c:v>6.0843059683672944</c:v>
                </c:pt>
                <c:pt idx="7216">
                  <c:v>5.0712945857359095</c:v>
                </c:pt>
                <c:pt idx="7217">
                  <c:v>6.0552554400189456</c:v>
                </c:pt>
                <c:pt idx="7218">
                  <c:v>6.1421805091260282</c:v>
                </c:pt>
                <c:pt idx="7219">
                  <c:v>5.0340677421397446</c:v>
                </c:pt>
                <c:pt idx="7220">
                  <c:v>5.8820215485065779</c:v>
                </c:pt>
                <c:pt idx="7221">
                  <c:v>5.0109046147729686</c:v>
                </c:pt>
                <c:pt idx="7222">
                  <c:v>4.9217503218272798</c:v>
                </c:pt>
                <c:pt idx="7223">
                  <c:v>4.8618595198231533</c:v>
                </c:pt>
                <c:pt idx="7224">
                  <c:v>4.9248109578833787</c:v>
                </c:pt>
                <c:pt idx="7225">
                  <c:v>6.0577212667650988</c:v>
                </c:pt>
                <c:pt idx="7226">
                  <c:v>6.0496215495019969</c:v>
                </c:pt>
                <c:pt idx="7227">
                  <c:v>4.9189420472543475</c:v>
                </c:pt>
                <c:pt idx="7228">
                  <c:v>5.1207755895429488</c:v>
                </c:pt>
                <c:pt idx="7229">
                  <c:v>5.9478317008333699</c:v>
                </c:pt>
                <c:pt idx="7230">
                  <c:v>6.0291519523486379</c:v>
                </c:pt>
                <c:pt idx="7231">
                  <c:v>4.9495874628689078</c:v>
                </c:pt>
                <c:pt idx="7232">
                  <c:v>6.0743648778023402</c:v>
                </c:pt>
                <c:pt idx="7233">
                  <c:v>5.0729403710891372</c:v>
                </c:pt>
                <c:pt idx="7234">
                  <c:v>5.1950787375571359</c:v>
                </c:pt>
                <c:pt idx="7235">
                  <c:v>4.8962805038627</c:v>
                </c:pt>
                <c:pt idx="7236">
                  <c:v>5.0941070903497883</c:v>
                </c:pt>
                <c:pt idx="7237">
                  <c:v>5.015721395891517</c:v>
                </c:pt>
                <c:pt idx="7238">
                  <c:v>5.9549696147353748</c:v>
                </c:pt>
                <c:pt idx="7239">
                  <c:v>5.9831103771846799</c:v>
                </c:pt>
                <c:pt idx="7240">
                  <c:v>5.0011135790459136</c:v>
                </c:pt>
                <c:pt idx="7241">
                  <c:v>4.8974976741593794</c:v>
                </c:pt>
                <c:pt idx="7242">
                  <c:v>5.993875066740082</c:v>
                </c:pt>
                <c:pt idx="7243">
                  <c:v>4.8996146515696575</c:v>
                </c:pt>
                <c:pt idx="7244">
                  <c:v>6.0674423451217399</c:v>
                </c:pt>
                <c:pt idx="7245">
                  <c:v>5.8295572895129091</c:v>
                </c:pt>
                <c:pt idx="7246">
                  <c:v>5.0142615925393352</c:v>
                </c:pt>
                <c:pt idx="7247">
                  <c:v>6.0091571716009629</c:v>
                </c:pt>
                <c:pt idx="7248">
                  <c:v>5.0156424421172527</c:v>
                </c:pt>
                <c:pt idx="7249">
                  <c:v>6.0870777301809547</c:v>
                </c:pt>
                <c:pt idx="7250">
                  <c:v>6.0818434568359194</c:v>
                </c:pt>
                <c:pt idx="7251">
                  <c:v>5.0679237835085891</c:v>
                </c:pt>
                <c:pt idx="7252">
                  <c:v>5.0401310691946613</c:v>
                </c:pt>
                <c:pt idx="7253">
                  <c:v>6.136368304586048</c:v>
                </c:pt>
                <c:pt idx="7254">
                  <c:v>6.0678936158953585</c:v>
                </c:pt>
                <c:pt idx="7255">
                  <c:v>4.9968063373614857</c:v>
                </c:pt>
                <c:pt idx="7256">
                  <c:v>4.9183007134223864</c:v>
                </c:pt>
                <c:pt idx="7257">
                  <c:v>4.9555186538315938</c:v>
                </c:pt>
                <c:pt idx="7258">
                  <c:v>4.9212725479080159</c:v>
                </c:pt>
                <c:pt idx="7259">
                  <c:v>4.9148386259936228</c:v>
                </c:pt>
                <c:pt idx="7260">
                  <c:v>5.134906053062072</c:v>
                </c:pt>
                <c:pt idx="7261">
                  <c:v>4.0913579774224571</c:v>
                </c:pt>
                <c:pt idx="7262">
                  <c:v>5.9741322260985212</c:v>
                </c:pt>
                <c:pt idx="7263">
                  <c:v>3.095693915263499</c:v>
                </c:pt>
                <c:pt idx="7264">
                  <c:v>6.0601862890570395</c:v>
                </c:pt>
                <c:pt idx="7265">
                  <c:v>4.9812999943946492</c:v>
                </c:pt>
                <c:pt idx="7266">
                  <c:v>5.8296871604660936</c:v>
                </c:pt>
                <c:pt idx="7267">
                  <c:v>4.909225884171736</c:v>
                </c:pt>
                <c:pt idx="7268">
                  <c:v>6.1736794574905112</c:v>
                </c:pt>
                <c:pt idx="7269">
                  <c:v>5.9014744674417479</c:v>
                </c:pt>
                <c:pt idx="7270">
                  <c:v>5.9157028687940301</c:v>
                </c:pt>
                <c:pt idx="7271">
                  <c:v>5.8890867649760104</c:v>
                </c:pt>
                <c:pt idx="7272">
                  <c:v>5.1235857540777152</c:v>
                </c:pt>
                <c:pt idx="7273">
                  <c:v>4.9863820141965505</c:v>
                </c:pt>
                <c:pt idx="7274">
                  <c:v>6.0476851209007565</c:v>
                </c:pt>
                <c:pt idx="7275">
                  <c:v>5.0796628075517587</c:v>
                </c:pt>
                <c:pt idx="7276">
                  <c:v>6.0493874829561864</c:v>
                </c:pt>
                <c:pt idx="7277">
                  <c:v>5.9342835158154204</c:v>
                </c:pt>
                <c:pt idx="7278">
                  <c:v>6.0600089325187563</c:v>
                </c:pt>
                <c:pt idx="7279">
                  <c:v>6.1193779347290089</c:v>
                </c:pt>
                <c:pt idx="7280">
                  <c:v>4.9758862584746595</c:v>
                </c:pt>
                <c:pt idx="7281">
                  <c:v>6.9200085541005425</c:v>
                </c:pt>
                <c:pt idx="7282">
                  <c:v>4.8276014155224614</c:v>
                </c:pt>
                <c:pt idx="7283">
                  <c:v>6.074042607177975</c:v>
                </c:pt>
                <c:pt idx="7284">
                  <c:v>4.9339881799255298</c:v>
                </c:pt>
                <c:pt idx="7285">
                  <c:v>6.1021627676570169</c:v>
                </c:pt>
                <c:pt idx="7286">
                  <c:v>6.039369070479653</c:v>
                </c:pt>
                <c:pt idx="7287">
                  <c:v>6.0262694358343492</c:v>
                </c:pt>
                <c:pt idx="7288">
                  <c:v>4.9644315145173197</c:v>
                </c:pt>
                <c:pt idx="7289">
                  <c:v>6.2166131910407962</c:v>
                </c:pt>
                <c:pt idx="7290">
                  <c:v>4.9836609094052502</c:v>
                </c:pt>
                <c:pt idx="7291">
                  <c:v>4.9181149285374932</c:v>
                </c:pt>
                <c:pt idx="7292">
                  <c:v>7.0771656673236185</c:v>
                </c:pt>
                <c:pt idx="7293">
                  <c:v>5.1168338916499465</c:v>
                </c:pt>
                <c:pt idx="7294">
                  <c:v>5.8641466881263788</c:v>
                </c:pt>
                <c:pt idx="7295">
                  <c:v>3.8692542376245123</c:v>
                </c:pt>
                <c:pt idx="7296">
                  <c:v>5.0465756566017062</c:v>
                </c:pt>
                <c:pt idx="7297">
                  <c:v>4.9164821221432931</c:v>
                </c:pt>
                <c:pt idx="7298">
                  <c:v>7.0211597424129621</c:v>
                </c:pt>
                <c:pt idx="7299">
                  <c:v>5.9361870832047128</c:v>
                </c:pt>
                <c:pt idx="7300">
                  <c:v>6.1107532888482625</c:v>
                </c:pt>
                <c:pt idx="7301">
                  <c:v>6.9657023209743816</c:v>
                </c:pt>
                <c:pt idx="7302">
                  <c:v>5.1053040901290361</c:v>
                </c:pt>
                <c:pt idx="7303">
                  <c:v>4.9574622108923183</c:v>
                </c:pt>
                <c:pt idx="7304">
                  <c:v>4.9913872837834132</c:v>
                </c:pt>
                <c:pt idx="7305">
                  <c:v>5.994472046680416</c:v>
                </c:pt>
                <c:pt idx="7306">
                  <c:v>5.9824531788305899</c:v>
                </c:pt>
                <c:pt idx="7307">
                  <c:v>4.9233780872965811</c:v>
                </c:pt>
                <c:pt idx="7308">
                  <c:v>6.0818058568405364</c:v>
                </c:pt>
                <c:pt idx="7309">
                  <c:v>5.0492915285109872</c:v>
                </c:pt>
                <c:pt idx="7310">
                  <c:v>5.0288217418957259</c:v>
                </c:pt>
                <c:pt idx="7311">
                  <c:v>4.7718408965745382</c:v>
                </c:pt>
                <c:pt idx="7312">
                  <c:v>5.8312786546495241</c:v>
                </c:pt>
                <c:pt idx="7313">
                  <c:v>5.001780403611928</c:v>
                </c:pt>
                <c:pt idx="7314">
                  <c:v>5.9138084161832829</c:v>
                </c:pt>
                <c:pt idx="7315">
                  <c:v>5.1441142713725041</c:v>
                </c:pt>
                <c:pt idx="7316">
                  <c:v>4.9953524059960781</c:v>
                </c:pt>
                <c:pt idx="7317">
                  <c:v>5.0550382743794788</c:v>
                </c:pt>
                <c:pt idx="7318">
                  <c:v>4.9929001910774682</c:v>
                </c:pt>
                <c:pt idx="7319">
                  <c:v>6.1683846170288055</c:v>
                </c:pt>
                <c:pt idx="7320">
                  <c:v>4.9381534430970264</c:v>
                </c:pt>
                <c:pt idx="7321">
                  <c:v>6.0167572625193104</c:v>
                </c:pt>
                <c:pt idx="7322">
                  <c:v>4.946154483835957</c:v>
                </c:pt>
                <c:pt idx="7323">
                  <c:v>5.8817727031777611</c:v>
                </c:pt>
                <c:pt idx="7324">
                  <c:v>6.0918346349848775</c:v>
                </c:pt>
                <c:pt idx="7325">
                  <c:v>5.1178212374890615</c:v>
                </c:pt>
                <c:pt idx="7326">
                  <c:v>5.1228323241071108</c:v>
                </c:pt>
                <c:pt idx="7327">
                  <c:v>5.9339979272349161</c:v>
                </c:pt>
                <c:pt idx="7328">
                  <c:v>6.0929622789569295</c:v>
                </c:pt>
                <c:pt idx="7329">
                  <c:v>4.9193906868449657</c:v>
                </c:pt>
                <c:pt idx="7330">
                  <c:v>6.0296291443654741</c:v>
                </c:pt>
                <c:pt idx="7331">
                  <c:v>6.1172401267177712</c:v>
                </c:pt>
                <c:pt idx="7332">
                  <c:v>6.1549091846020243</c:v>
                </c:pt>
                <c:pt idx="7333">
                  <c:v>5.1533724443572417</c:v>
                </c:pt>
                <c:pt idx="7334">
                  <c:v>4.92025726708283</c:v>
                </c:pt>
                <c:pt idx="7335">
                  <c:v>5.0919920394960059</c:v>
                </c:pt>
                <c:pt idx="7336">
                  <c:v>6.0323380736579209</c:v>
                </c:pt>
                <c:pt idx="7337">
                  <c:v>5.0307890212343924</c:v>
                </c:pt>
                <c:pt idx="7338">
                  <c:v>5.1081982142017797</c:v>
                </c:pt>
                <c:pt idx="7339">
                  <c:v>5.1581039994997679</c:v>
                </c:pt>
                <c:pt idx="7340">
                  <c:v>7.2101357975094906</c:v>
                </c:pt>
                <c:pt idx="7341">
                  <c:v>6.0286055852284726</c:v>
                </c:pt>
                <c:pt idx="7342">
                  <c:v>5.9339546246833494</c:v>
                </c:pt>
                <c:pt idx="7343">
                  <c:v>6.0347579708064911</c:v>
                </c:pt>
                <c:pt idx="7344">
                  <c:v>5.9822118922691825</c:v>
                </c:pt>
                <c:pt idx="7345">
                  <c:v>5.0467560538943461</c:v>
                </c:pt>
                <c:pt idx="7346">
                  <c:v>6.0750189477432706</c:v>
                </c:pt>
                <c:pt idx="7347">
                  <c:v>5.0852233723562428</c:v>
                </c:pt>
                <c:pt idx="7348">
                  <c:v>5.0628959008927978</c:v>
                </c:pt>
                <c:pt idx="7349">
                  <c:v>5.0024932416812362</c:v>
                </c:pt>
                <c:pt idx="7350">
                  <c:v>5.1048056654315879</c:v>
                </c:pt>
                <c:pt idx="7351">
                  <c:v>6.1075094568733546</c:v>
                </c:pt>
                <c:pt idx="7352">
                  <c:v>5.9998020867031938</c:v>
                </c:pt>
                <c:pt idx="7353">
                  <c:v>6.0535373666530523</c:v>
                </c:pt>
                <c:pt idx="7354">
                  <c:v>6.095176491684497</c:v>
                </c:pt>
                <c:pt idx="7355">
                  <c:v>5.0633274205422181</c:v>
                </c:pt>
                <c:pt idx="7356">
                  <c:v>5.9131151468944756</c:v>
                </c:pt>
                <c:pt idx="7357">
                  <c:v>4.8643633929700494</c:v>
                </c:pt>
                <c:pt idx="7358">
                  <c:v>6.0055981615132481</c:v>
                </c:pt>
                <c:pt idx="7359">
                  <c:v>4.9486083491206383</c:v>
                </c:pt>
                <c:pt idx="7360">
                  <c:v>5.9778121861159814</c:v>
                </c:pt>
                <c:pt idx="7361">
                  <c:v>5.0968987928285516</c:v>
                </c:pt>
                <c:pt idx="7362">
                  <c:v>4.9269958747698119</c:v>
                </c:pt>
                <c:pt idx="7363">
                  <c:v>6.0387068671629258</c:v>
                </c:pt>
                <c:pt idx="7364">
                  <c:v>4.9630098100906315</c:v>
                </c:pt>
                <c:pt idx="7365">
                  <c:v>4.9449746447384726</c:v>
                </c:pt>
                <c:pt idx="7366">
                  <c:v>5.9601408178277815</c:v>
                </c:pt>
                <c:pt idx="7367">
                  <c:v>5.8901101897090058</c:v>
                </c:pt>
                <c:pt idx="7368">
                  <c:v>5.000444262786961</c:v>
                </c:pt>
                <c:pt idx="7369">
                  <c:v>5.947754863799612</c:v>
                </c:pt>
                <c:pt idx="7370">
                  <c:v>5.900116999755161</c:v>
                </c:pt>
                <c:pt idx="7371">
                  <c:v>4.9368362155366112</c:v>
                </c:pt>
                <c:pt idx="7372">
                  <c:v>5.0208079847773828</c:v>
                </c:pt>
                <c:pt idx="7373">
                  <c:v>5.0749333453542667</c:v>
                </c:pt>
                <c:pt idx="7374">
                  <c:v>5.1386669578439292</c:v>
                </c:pt>
                <c:pt idx="7375">
                  <c:v>6.0756114030651753</c:v>
                </c:pt>
                <c:pt idx="7376">
                  <c:v>6.8450199469774047</c:v>
                </c:pt>
                <c:pt idx="7377">
                  <c:v>6.9456970250331382</c:v>
                </c:pt>
                <c:pt idx="7378">
                  <c:v>4.9785956885910316</c:v>
                </c:pt>
                <c:pt idx="7379">
                  <c:v>5.9906120395325582</c:v>
                </c:pt>
                <c:pt idx="7380">
                  <c:v>5.0099174426401207</c:v>
                </c:pt>
                <c:pt idx="7381">
                  <c:v>5.8650922522522748</c:v>
                </c:pt>
                <c:pt idx="7382">
                  <c:v>5.9838204068668741</c:v>
                </c:pt>
                <c:pt idx="7383">
                  <c:v>5.9017332299604135</c:v>
                </c:pt>
                <c:pt idx="7384">
                  <c:v>6.0552996912917338</c:v>
                </c:pt>
                <c:pt idx="7385">
                  <c:v>5.0514096618252031</c:v>
                </c:pt>
                <c:pt idx="7386">
                  <c:v>5.0734539641920673</c:v>
                </c:pt>
                <c:pt idx="7387">
                  <c:v>5.978819526896312</c:v>
                </c:pt>
                <c:pt idx="7388">
                  <c:v>7.0902673749241067</c:v>
                </c:pt>
                <c:pt idx="7389">
                  <c:v>7.036526800805996</c:v>
                </c:pt>
                <c:pt idx="7390">
                  <c:v>6.9858749049596094</c:v>
                </c:pt>
                <c:pt idx="7391">
                  <c:v>5.9492557193225171</c:v>
                </c:pt>
                <c:pt idx="7392">
                  <c:v>5.9681168482184201</c:v>
                </c:pt>
                <c:pt idx="7393">
                  <c:v>4.9416743583626443</c:v>
                </c:pt>
                <c:pt idx="7394">
                  <c:v>5.917945416979669</c:v>
                </c:pt>
                <c:pt idx="7395">
                  <c:v>5.0089787502965279</c:v>
                </c:pt>
                <c:pt idx="7396">
                  <c:v>5.9527701089469085</c:v>
                </c:pt>
                <c:pt idx="7397">
                  <c:v>6.1411088098446101</c:v>
                </c:pt>
                <c:pt idx="7398">
                  <c:v>5.8950702419383587</c:v>
                </c:pt>
                <c:pt idx="7399">
                  <c:v>5.883532839950254</c:v>
                </c:pt>
                <c:pt idx="7400">
                  <c:v>6.0386405162026247</c:v>
                </c:pt>
                <c:pt idx="7401">
                  <c:v>4.9644363667351747</c:v>
                </c:pt>
                <c:pt idx="7402">
                  <c:v>2.0148752027307926</c:v>
                </c:pt>
                <c:pt idx="7403">
                  <c:v>2.14393111083462</c:v>
                </c:pt>
                <c:pt idx="7404">
                  <c:v>6.0791219100464335</c:v>
                </c:pt>
                <c:pt idx="7405">
                  <c:v>5.1606749513478727</c:v>
                </c:pt>
                <c:pt idx="7406">
                  <c:v>5.0511916402700265</c:v>
                </c:pt>
                <c:pt idx="7407">
                  <c:v>4.9857821898441026</c:v>
                </c:pt>
                <c:pt idx="7408">
                  <c:v>6.1051026837728868</c:v>
                </c:pt>
                <c:pt idx="7409">
                  <c:v>5.1522197040911966</c:v>
                </c:pt>
                <c:pt idx="7410">
                  <c:v>4.8053347445549166</c:v>
                </c:pt>
                <c:pt idx="7411">
                  <c:v>5.0230164265245643</c:v>
                </c:pt>
                <c:pt idx="7412">
                  <c:v>5.9078241439070469</c:v>
                </c:pt>
                <c:pt idx="7413">
                  <c:v>6.868591304121515</c:v>
                </c:pt>
                <c:pt idx="7414">
                  <c:v>6.0478221110939954</c:v>
                </c:pt>
                <c:pt idx="7415">
                  <c:v>4.9431207697951294</c:v>
                </c:pt>
                <c:pt idx="7416">
                  <c:v>5.1337827509012275</c:v>
                </c:pt>
                <c:pt idx="7417">
                  <c:v>4.964205136656596</c:v>
                </c:pt>
                <c:pt idx="7418">
                  <c:v>5.1358095642854433</c:v>
                </c:pt>
                <c:pt idx="7419">
                  <c:v>4.9998990185192431</c:v>
                </c:pt>
                <c:pt idx="7420">
                  <c:v>6.0000983103135246</c:v>
                </c:pt>
                <c:pt idx="7421">
                  <c:v>4.9693878927523665</c:v>
                </c:pt>
                <c:pt idx="7422">
                  <c:v>5.9165762401400723</c:v>
                </c:pt>
                <c:pt idx="7423">
                  <c:v>5.1340974239070132</c:v>
                </c:pt>
                <c:pt idx="7424">
                  <c:v>4.942790138362672</c:v>
                </c:pt>
                <c:pt idx="7425">
                  <c:v>6.086133242280658</c:v>
                </c:pt>
                <c:pt idx="7426">
                  <c:v>6.0127965537790811</c:v>
                </c:pt>
                <c:pt idx="7427">
                  <c:v>6.9778932366066346</c:v>
                </c:pt>
                <c:pt idx="7428">
                  <c:v>5.9114794296437392</c:v>
                </c:pt>
                <c:pt idx="7429">
                  <c:v>5.8803641465250758</c:v>
                </c:pt>
                <c:pt idx="7430">
                  <c:v>1.8615805769193043</c:v>
                </c:pt>
                <c:pt idx="7431">
                  <c:v>4.0636306949692091</c:v>
                </c:pt>
                <c:pt idx="7432">
                  <c:v>4.9728594175456671</c:v>
                </c:pt>
                <c:pt idx="7433">
                  <c:v>4.8624564303098579</c:v>
                </c:pt>
                <c:pt idx="7434">
                  <c:v>6.1721734416767813</c:v>
                </c:pt>
                <c:pt idx="7435">
                  <c:v>4.9750411612200338</c:v>
                </c:pt>
                <c:pt idx="7436">
                  <c:v>5.8859841522441778</c:v>
                </c:pt>
                <c:pt idx="7437">
                  <c:v>5.9449072785481292</c:v>
                </c:pt>
                <c:pt idx="7438">
                  <c:v>6.0792748694407415</c:v>
                </c:pt>
                <c:pt idx="7439">
                  <c:v>6.0124927986042831</c:v>
                </c:pt>
                <c:pt idx="7440">
                  <c:v>5.0520219255325571</c:v>
                </c:pt>
                <c:pt idx="7441">
                  <c:v>5.0015098513399394</c:v>
                </c:pt>
                <c:pt idx="7442">
                  <c:v>4.8724468714060611</c:v>
                </c:pt>
                <c:pt idx="7443">
                  <c:v>5.9695124437441356</c:v>
                </c:pt>
                <c:pt idx="7444">
                  <c:v>5.7896921277709685</c:v>
                </c:pt>
                <c:pt idx="7445">
                  <c:v>5.0699282858586443</c:v>
                </c:pt>
                <c:pt idx="7446">
                  <c:v>5.9706295883426028</c:v>
                </c:pt>
                <c:pt idx="7447">
                  <c:v>5.8981436179345774</c:v>
                </c:pt>
                <c:pt idx="7448">
                  <c:v>5.0593646429652219</c:v>
                </c:pt>
                <c:pt idx="7449">
                  <c:v>5.1101652442102861</c:v>
                </c:pt>
                <c:pt idx="7450">
                  <c:v>5.1721650585511378</c:v>
                </c:pt>
                <c:pt idx="7451">
                  <c:v>5.0839708327622333</c:v>
                </c:pt>
                <c:pt idx="7452">
                  <c:v>6.0186499742773449</c:v>
                </c:pt>
                <c:pt idx="7453">
                  <c:v>4.9899898758749073</c:v>
                </c:pt>
                <c:pt idx="7454">
                  <c:v>6.0495041048969318</c:v>
                </c:pt>
                <c:pt idx="7455">
                  <c:v>5.9279253102874634</c:v>
                </c:pt>
                <c:pt idx="7456">
                  <c:v>4.9404360757922134</c:v>
                </c:pt>
                <c:pt idx="7457">
                  <c:v>4.7780764406999188</c:v>
                </c:pt>
                <c:pt idx="7458">
                  <c:v>5.0531968522333308</c:v>
                </c:pt>
                <c:pt idx="7459">
                  <c:v>5.1191084668217721</c:v>
                </c:pt>
                <c:pt idx="7460">
                  <c:v>5.0607068992203033</c:v>
                </c:pt>
                <c:pt idx="7461">
                  <c:v>5.014082662380015</c:v>
                </c:pt>
                <c:pt idx="7462">
                  <c:v>4.9591733070436348</c:v>
                </c:pt>
                <c:pt idx="7463">
                  <c:v>5.9903422425930763</c:v>
                </c:pt>
                <c:pt idx="7464">
                  <c:v>4.934327361169494</c:v>
                </c:pt>
                <c:pt idx="7465">
                  <c:v>3.9942240670242852</c:v>
                </c:pt>
                <c:pt idx="7466">
                  <c:v>4.1051835998653496</c:v>
                </c:pt>
                <c:pt idx="7467">
                  <c:v>3.9810780813122975</c:v>
                </c:pt>
                <c:pt idx="7468">
                  <c:v>4.9455292098689521</c:v>
                </c:pt>
                <c:pt idx="7469">
                  <c:v>5.1409692006815284</c:v>
                </c:pt>
                <c:pt idx="7470">
                  <c:v>5.9101421705226702</c:v>
                </c:pt>
                <c:pt idx="7471">
                  <c:v>6.129808018127231</c:v>
                </c:pt>
                <c:pt idx="7472">
                  <c:v>5.9965909729323537</c:v>
                </c:pt>
                <c:pt idx="7473">
                  <c:v>5.1295878795957162</c:v>
                </c:pt>
                <c:pt idx="7474">
                  <c:v>5.019612843700954</c:v>
                </c:pt>
                <c:pt idx="7475">
                  <c:v>6.0906230790191662</c:v>
                </c:pt>
                <c:pt idx="7476">
                  <c:v>6.0961506116085795</c:v>
                </c:pt>
                <c:pt idx="7477">
                  <c:v>6.0475157323457172</c:v>
                </c:pt>
                <c:pt idx="7478">
                  <c:v>4.9132942681767346</c:v>
                </c:pt>
                <c:pt idx="7479">
                  <c:v>5.9496304296085318</c:v>
                </c:pt>
                <c:pt idx="7480">
                  <c:v>4.9127059402164868</c:v>
                </c:pt>
                <c:pt idx="7481">
                  <c:v>6.8786094409070468</c:v>
                </c:pt>
                <c:pt idx="7482">
                  <c:v>4.0317422642313971</c:v>
                </c:pt>
                <c:pt idx="7483">
                  <c:v>6.0400921645591836</c:v>
                </c:pt>
                <c:pt idx="7484">
                  <c:v>5.9272342960087361</c:v>
                </c:pt>
                <c:pt idx="7485">
                  <c:v>4.9638001906715354</c:v>
                </c:pt>
                <c:pt idx="7486">
                  <c:v>5.0315494646580952</c:v>
                </c:pt>
                <c:pt idx="7487">
                  <c:v>4.8766738937505298</c:v>
                </c:pt>
                <c:pt idx="7488">
                  <c:v>4.7522004505824391</c:v>
                </c:pt>
                <c:pt idx="7489">
                  <c:v>6.0647668415688054</c:v>
                </c:pt>
                <c:pt idx="7490">
                  <c:v>4.1379582575138638</c:v>
                </c:pt>
                <c:pt idx="7491">
                  <c:v>1.998186738753071</c:v>
                </c:pt>
                <c:pt idx="7492">
                  <c:v>5.9697319800787927</c:v>
                </c:pt>
                <c:pt idx="7493">
                  <c:v>6.0736586643482511</c:v>
                </c:pt>
                <c:pt idx="7494">
                  <c:v>4.9738408169689823</c:v>
                </c:pt>
                <c:pt idx="7495">
                  <c:v>4.8933577795235319</c:v>
                </c:pt>
                <c:pt idx="7496">
                  <c:v>6.0800686126216537</c:v>
                </c:pt>
                <c:pt idx="7497">
                  <c:v>4.8021571169750441</c:v>
                </c:pt>
                <c:pt idx="7498">
                  <c:v>4.9459944544630279</c:v>
                </c:pt>
                <c:pt idx="7499">
                  <c:v>6.0214002705591465</c:v>
                </c:pt>
                <c:pt idx="7500">
                  <c:v>6.808107513680735</c:v>
                </c:pt>
                <c:pt idx="7501">
                  <c:v>5.9837908854131419</c:v>
                </c:pt>
                <c:pt idx="7502">
                  <c:v>4.9348636547531193</c:v>
                </c:pt>
                <c:pt idx="7503">
                  <c:v>5.0545116907831833</c:v>
                </c:pt>
                <c:pt idx="7504">
                  <c:v>6.1188361564370046</c:v>
                </c:pt>
                <c:pt idx="7505">
                  <c:v>5.8671917252632575</c:v>
                </c:pt>
                <c:pt idx="7506">
                  <c:v>6.1213341984496354</c:v>
                </c:pt>
                <c:pt idx="7507">
                  <c:v>5.9515766397076115</c:v>
                </c:pt>
                <c:pt idx="7508">
                  <c:v>6.1162437146025477</c:v>
                </c:pt>
                <c:pt idx="7509">
                  <c:v>5.7405611833695565</c:v>
                </c:pt>
                <c:pt idx="7510">
                  <c:v>5.0023363802823759</c:v>
                </c:pt>
                <c:pt idx="7511">
                  <c:v>5.0444970814132439</c:v>
                </c:pt>
                <c:pt idx="7512">
                  <c:v>5.8537630143240298</c:v>
                </c:pt>
                <c:pt idx="7513">
                  <c:v>6.0636807356758649</c:v>
                </c:pt>
                <c:pt idx="7514">
                  <c:v>5.0558049968333574</c:v>
                </c:pt>
                <c:pt idx="7515">
                  <c:v>6.9556835483741697</c:v>
                </c:pt>
                <c:pt idx="7516">
                  <c:v>6.0452176752808029</c:v>
                </c:pt>
                <c:pt idx="7517">
                  <c:v>5.9383304848969347</c:v>
                </c:pt>
                <c:pt idx="7518">
                  <c:v>4.9392443777526616</c:v>
                </c:pt>
                <c:pt idx="7519">
                  <c:v>6.0629583303506989</c:v>
                </c:pt>
                <c:pt idx="7520">
                  <c:v>5.0325979575963391</c:v>
                </c:pt>
                <c:pt idx="7521">
                  <c:v>4.993521620349533</c:v>
                </c:pt>
                <c:pt idx="7522">
                  <c:v>5.9944769717017294</c:v>
                </c:pt>
                <c:pt idx="7523">
                  <c:v>4.8606033801894855</c:v>
                </c:pt>
                <c:pt idx="7524">
                  <c:v>6.0365828399543089</c:v>
                </c:pt>
                <c:pt idx="7525">
                  <c:v>5.8225686653217634</c:v>
                </c:pt>
                <c:pt idx="7526">
                  <c:v>6.2121047703901331</c:v>
                </c:pt>
                <c:pt idx="7527">
                  <c:v>5.9040033562247549</c:v>
                </c:pt>
                <c:pt idx="7528">
                  <c:v>4.958316490037542</c:v>
                </c:pt>
                <c:pt idx="7529">
                  <c:v>6.0234871935169414</c:v>
                </c:pt>
                <c:pt idx="7530">
                  <c:v>6.1321111646063056</c:v>
                </c:pt>
                <c:pt idx="7531">
                  <c:v>5.9280891334073624</c:v>
                </c:pt>
                <c:pt idx="7532">
                  <c:v>6.1317816465051811</c:v>
                </c:pt>
                <c:pt idx="7533">
                  <c:v>5.9089517168201926</c:v>
                </c:pt>
                <c:pt idx="7534">
                  <c:v>4.9893931835240313</c:v>
                </c:pt>
                <c:pt idx="7535">
                  <c:v>7.079774785724636</c:v>
                </c:pt>
                <c:pt idx="7536">
                  <c:v>6.1237041580271745</c:v>
                </c:pt>
                <c:pt idx="7537">
                  <c:v>5.9062307462128683</c:v>
                </c:pt>
                <c:pt idx="7538">
                  <c:v>6.967992450628846</c:v>
                </c:pt>
                <c:pt idx="7539">
                  <c:v>6.0532798294657235</c:v>
                </c:pt>
                <c:pt idx="7540">
                  <c:v>5.1356110424983328</c:v>
                </c:pt>
                <c:pt idx="7541">
                  <c:v>5.9682524585422234</c:v>
                </c:pt>
                <c:pt idx="7542">
                  <c:v>6.0430605218905162</c:v>
                </c:pt>
                <c:pt idx="7543">
                  <c:v>4.8621479794151172</c:v>
                </c:pt>
                <c:pt idx="7544">
                  <c:v>5.0885558417599226</c:v>
                </c:pt>
                <c:pt idx="7545">
                  <c:v>5.8814780525836978</c:v>
                </c:pt>
                <c:pt idx="7546">
                  <c:v>6.0140287004211279</c:v>
                </c:pt>
                <c:pt idx="7547">
                  <c:v>6.0166904299423907</c:v>
                </c:pt>
                <c:pt idx="7548">
                  <c:v>5.7184363840463632</c:v>
                </c:pt>
                <c:pt idx="7549">
                  <c:v>5.0224318817378348</c:v>
                </c:pt>
                <c:pt idx="7550">
                  <c:v>5.8332467053390573</c:v>
                </c:pt>
                <c:pt idx="7551">
                  <c:v>6.0877638563220255</c:v>
                </c:pt>
                <c:pt idx="7552">
                  <c:v>4.9601188906130806</c:v>
                </c:pt>
                <c:pt idx="7553">
                  <c:v>6.0107199818438639</c:v>
                </c:pt>
                <c:pt idx="7554">
                  <c:v>5.9495077795859288</c:v>
                </c:pt>
                <c:pt idx="7555">
                  <c:v>5.7554710846768771</c:v>
                </c:pt>
                <c:pt idx="7556">
                  <c:v>5.1529356771549164</c:v>
                </c:pt>
                <c:pt idx="7557">
                  <c:v>5.9148267263634882</c:v>
                </c:pt>
                <c:pt idx="7558">
                  <c:v>5.9880694392785667</c:v>
                </c:pt>
                <c:pt idx="7559">
                  <c:v>6.258950275942853</c:v>
                </c:pt>
                <c:pt idx="7560">
                  <c:v>4.9689658990842611</c:v>
                </c:pt>
                <c:pt idx="7561">
                  <c:v>6.090019935435885</c:v>
                </c:pt>
                <c:pt idx="7562">
                  <c:v>6.0046524223514064</c:v>
                </c:pt>
                <c:pt idx="7563">
                  <c:v>6.0154667285839238</c:v>
                </c:pt>
                <c:pt idx="7564">
                  <c:v>5.8520159575547019</c:v>
                </c:pt>
                <c:pt idx="7565">
                  <c:v>6.1387188055662438</c:v>
                </c:pt>
                <c:pt idx="7566">
                  <c:v>5.9377632039964929</c:v>
                </c:pt>
                <c:pt idx="7567">
                  <c:v>5.9503832090209743</c:v>
                </c:pt>
                <c:pt idx="7568">
                  <c:v>6.0092212615647895</c:v>
                </c:pt>
                <c:pt idx="7569">
                  <c:v>4.9447470082188216</c:v>
                </c:pt>
                <c:pt idx="7570">
                  <c:v>6.8407532292554052</c:v>
                </c:pt>
                <c:pt idx="7571">
                  <c:v>7.1778729970879214</c:v>
                </c:pt>
                <c:pt idx="7572">
                  <c:v>7.0291022813246329</c:v>
                </c:pt>
                <c:pt idx="7573">
                  <c:v>7.0443756879439761</c:v>
                </c:pt>
                <c:pt idx="7574">
                  <c:v>5.0929859656827769</c:v>
                </c:pt>
                <c:pt idx="7575">
                  <c:v>6.142457910557547</c:v>
                </c:pt>
                <c:pt idx="7576">
                  <c:v>7.0017184778799084</c:v>
                </c:pt>
                <c:pt idx="7577">
                  <c:v>7.2167170928440711</c:v>
                </c:pt>
                <c:pt idx="7578">
                  <c:v>3.8744471043825546</c:v>
                </c:pt>
                <c:pt idx="7579">
                  <c:v>4.031733832378114</c:v>
                </c:pt>
                <c:pt idx="7580">
                  <c:v>4.927928596337285</c:v>
                </c:pt>
                <c:pt idx="7581">
                  <c:v>5.9024035686092651</c:v>
                </c:pt>
                <c:pt idx="7582">
                  <c:v>6.1096575925290137</c:v>
                </c:pt>
                <c:pt idx="7583">
                  <c:v>4.8744314725103841</c:v>
                </c:pt>
                <c:pt idx="7584">
                  <c:v>5.0073598871690708</c:v>
                </c:pt>
                <c:pt idx="7585">
                  <c:v>5.0483899009176989</c:v>
                </c:pt>
                <c:pt idx="7586">
                  <c:v>5.0717588329933783</c:v>
                </c:pt>
                <c:pt idx="7587">
                  <c:v>5.8247674504263749</c:v>
                </c:pt>
                <c:pt idx="7588">
                  <c:v>5.9820568185261145</c:v>
                </c:pt>
                <c:pt idx="7589">
                  <c:v>5.9552197487427359</c:v>
                </c:pt>
                <c:pt idx="7590">
                  <c:v>4.2409352529791615</c:v>
                </c:pt>
                <c:pt idx="7591">
                  <c:v>6.0509909427366386</c:v>
                </c:pt>
                <c:pt idx="7592">
                  <c:v>6.0959775144521666</c:v>
                </c:pt>
                <c:pt idx="7593">
                  <c:v>5.0079979960109791</c:v>
                </c:pt>
                <c:pt idx="7594">
                  <c:v>6.0114683014371018</c:v>
                </c:pt>
                <c:pt idx="7595">
                  <c:v>5.9692562579624031</c:v>
                </c:pt>
                <c:pt idx="7596">
                  <c:v>6.1345175451145453</c:v>
                </c:pt>
                <c:pt idx="7597">
                  <c:v>5.0488893867475708</c:v>
                </c:pt>
                <c:pt idx="7598">
                  <c:v>4.9912908388905448</c:v>
                </c:pt>
                <c:pt idx="7599">
                  <c:v>4.9048449185067913</c:v>
                </c:pt>
                <c:pt idx="7600">
                  <c:v>4.9568226917940912</c:v>
                </c:pt>
                <c:pt idx="7601">
                  <c:v>5.9501097126971745</c:v>
                </c:pt>
                <c:pt idx="7602">
                  <c:v>5.9671726236193692</c:v>
                </c:pt>
                <c:pt idx="7603">
                  <c:v>5.9323877917393446</c:v>
                </c:pt>
                <c:pt idx="7604">
                  <c:v>6.0133871436159438</c:v>
                </c:pt>
                <c:pt idx="7605">
                  <c:v>4.9706641314868154</c:v>
                </c:pt>
                <c:pt idx="7606">
                  <c:v>7.1139000152181522</c:v>
                </c:pt>
                <c:pt idx="7607">
                  <c:v>5.0950936179011332</c:v>
                </c:pt>
                <c:pt idx="7608">
                  <c:v>4.0264488075431162</c:v>
                </c:pt>
                <c:pt idx="7609">
                  <c:v>5.1839244094961572</c:v>
                </c:pt>
                <c:pt idx="7610">
                  <c:v>5.9701478604985505</c:v>
                </c:pt>
                <c:pt idx="7611">
                  <c:v>5.8385556860112269</c:v>
                </c:pt>
                <c:pt idx="7612">
                  <c:v>4.872927762075296</c:v>
                </c:pt>
                <c:pt idx="7613">
                  <c:v>5.0725087984838622</c:v>
                </c:pt>
                <c:pt idx="7614">
                  <c:v>5.8530386294352548</c:v>
                </c:pt>
                <c:pt idx="7615">
                  <c:v>4.8700820252239128</c:v>
                </c:pt>
                <c:pt idx="7616">
                  <c:v>4.8784323736538484</c:v>
                </c:pt>
                <c:pt idx="7617">
                  <c:v>4.9397682003642283</c:v>
                </c:pt>
                <c:pt idx="7618">
                  <c:v>7.0854798200889579</c:v>
                </c:pt>
                <c:pt idx="7619">
                  <c:v>5.8139662846841897</c:v>
                </c:pt>
                <c:pt idx="7620">
                  <c:v>6.1332356783381288</c:v>
                </c:pt>
                <c:pt idx="7621">
                  <c:v>5.9264275706862319</c:v>
                </c:pt>
                <c:pt idx="7622">
                  <c:v>5.8571924540066762</c:v>
                </c:pt>
                <c:pt idx="7623">
                  <c:v>6.0653503373584075</c:v>
                </c:pt>
                <c:pt idx="7624">
                  <c:v>5.8812415804293927</c:v>
                </c:pt>
                <c:pt idx="7625">
                  <c:v>5.0956795377021411</c:v>
                </c:pt>
                <c:pt idx="7626">
                  <c:v>5.0005567411010876</c:v>
                </c:pt>
                <c:pt idx="7627">
                  <c:v>6.0937375413660462</c:v>
                </c:pt>
                <c:pt idx="7628">
                  <c:v>4.9504586408807834</c:v>
                </c:pt>
                <c:pt idx="7629">
                  <c:v>5.7537544295744771</c:v>
                </c:pt>
                <c:pt idx="7630">
                  <c:v>6.201592533537025</c:v>
                </c:pt>
                <c:pt idx="7631">
                  <c:v>4.9208834100033867</c:v>
                </c:pt>
                <c:pt idx="7632">
                  <c:v>6.2418936662112179</c:v>
                </c:pt>
                <c:pt idx="7633">
                  <c:v>4.0259722270059939</c:v>
                </c:pt>
                <c:pt idx="7634">
                  <c:v>5.9175837142475567</c:v>
                </c:pt>
                <c:pt idx="7635">
                  <c:v>4.8415565440687125</c:v>
                </c:pt>
                <c:pt idx="7636">
                  <c:v>4.8655678043236499</c:v>
                </c:pt>
                <c:pt idx="7637">
                  <c:v>5.0204952811006915</c:v>
                </c:pt>
                <c:pt idx="7638">
                  <c:v>6.8170683144558399</c:v>
                </c:pt>
                <c:pt idx="7639">
                  <c:v>5.045429876704068</c:v>
                </c:pt>
                <c:pt idx="7640">
                  <c:v>5.095437059292478</c:v>
                </c:pt>
                <c:pt idx="7641">
                  <c:v>5.0073634255440291</c:v>
                </c:pt>
                <c:pt idx="7642">
                  <c:v>4.889116131977608</c:v>
                </c:pt>
                <c:pt idx="7643">
                  <c:v>3.984121395515035</c:v>
                </c:pt>
                <c:pt idx="7644">
                  <c:v>5.8918512329753243</c:v>
                </c:pt>
                <c:pt idx="7645">
                  <c:v>5.095784195585102</c:v>
                </c:pt>
                <c:pt idx="7646">
                  <c:v>4.8771020737221704</c:v>
                </c:pt>
                <c:pt idx="7647">
                  <c:v>5.9111927249770622</c:v>
                </c:pt>
                <c:pt idx="7648">
                  <c:v>5.9058177669267469</c:v>
                </c:pt>
                <c:pt idx="7649">
                  <c:v>3.9799012856611116</c:v>
                </c:pt>
                <c:pt idx="7650">
                  <c:v>5.1095289811819198</c:v>
                </c:pt>
                <c:pt idx="7651">
                  <c:v>6.0162750346345995</c:v>
                </c:pt>
                <c:pt idx="7652">
                  <c:v>5.9084918114648985</c:v>
                </c:pt>
                <c:pt idx="7653">
                  <c:v>4.986671908534734</c:v>
                </c:pt>
                <c:pt idx="7654">
                  <c:v>5.0658110590709162</c:v>
                </c:pt>
                <c:pt idx="7655">
                  <c:v>5.9094683984112049</c:v>
                </c:pt>
                <c:pt idx="7656">
                  <c:v>5.9016025635879013</c:v>
                </c:pt>
                <c:pt idx="7657">
                  <c:v>5.0491521429391364</c:v>
                </c:pt>
                <c:pt idx="7658">
                  <c:v>5.9709256117346303</c:v>
                </c:pt>
                <c:pt idx="7659">
                  <c:v>5.9552741825024622</c:v>
                </c:pt>
                <c:pt idx="7660">
                  <c:v>4.9287368269922807</c:v>
                </c:pt>
                <c:pt idx="7661">
                  <c:v>4.9003491986871808</c:v>
                </c:pt>
                <c:pt idx="7662">
                  <c:v>6.1326410222710477</c:v>
                </c:pt>
                <c:pt idx="7663">
                  <c:v>5.9644426178357577</c:v>
                </c:pt>
                <c:pt idx="7664">
                  <c:v>5.8914003572917881</c:v>
                </c:pt>
                <c:pt idx="7665">
                  <c:v>7.0688711474688892</c:v>
                </c:pt>
                <c:pt idx="7666">
                  <c:v>5.0277440333380961</c:v>
                </c:pt>
                <c:pt idx="7667">
                  <c:v>6.0284379217207427</c:v>
                </c:pt>
                <c:pt idx="7668">
                  <c:v>5.1367129335952075</c:v>
                </c:pt>
                <c:pt idx="7669">
                  <c:v>5.040873461297676</c:v>
                </c:pt>
                <c:pt idx="7670">
                  <c:v>5.8805781255790901</c:v>
                </c:pt>
                <c:pt idx="7671">
                  <c:v>4.9510561802192523</c:v>
                </c:pt>
                <c:pt idx="7672">
                  <c:v>6.1132744141376909</c:v>
                </c:pt>
                <c:pt idx="7673">
                  <c:v>4.9532585222829173</c:v>
                </c:pt>
                <c:pt idx="7674">
                  <c:v>4.9724727469356393</c:v>
                </c:pt>
                <c:pt idx="7675">
                  <c:v>6.207434071971047</c:v>
                </c:pt>
                <c:pt idx="7676">
                  <c:v>5.8828999526872803</c:v>
                </c:pt>
                <c:pt idx="7677">
                  <c:v>4.8058724154559425</c:v>
                </c:pt>
                <c:pt idx="7678">
                  <c:v>5.8572691906917305</c:v>
                </c:pt>
                <c:pt idx="7679">
                  <c:v>5.9114118378539313</c:v>
                </c:pt>
                <c:pt idx="7680">
                  <c:v>5.1154618736484716</c:v>
                </c:pt>
                <c:pt idx="7681">
                  <c:v>5.0764939715171504</c:v>
                </c:pt>
                <c:pt idx="7682">
                  <c:v>4.9916859672064433</c:v>
                </c:pt>
                <c:pt idx="7683">
                  <c:v>5.0980027853408805</c:v>
                </c:pt>
                <c:pt idx="7684">
                  <c:v>5.9870755349780822</c:v>
                </c:pt>
                <c:pt idx="7685">
                  <c:v>4.9847901826355967</c:v>
                </c:pt>
                <c:pt idx="7686">
                  <c:v>4.9252001102591079</c:v>
                </c:pt>
                <c:pt idx="7687">
                  <c:v>5.9980928780484799</c:v>
                </c:pt>
                <c:pt idx="7688">
                  <c:v>5.8609999306578713</c:v>
                </c:pt>
                <c:pt idx="7689">
                  <c:v>5.0252775560478335</c:v>
                </c:pt>
                <c:pt idx="7690">
                  <c:v>5.7889421455534791</c:v>
                </c:pt>
                <c:pt idx="7691">
                  <c:v>6.009664870398332</c:v>
                </c:pt>
                <c:pt idx="7692">
                  <c:v>4.8518983626533236</c:v>
                </c:pt>
                <c:pt idx="7693">
                  <c:v>5.074930337834628</c:v>
                </c:pt>
                <c:pt idx="7694">
                  <c:v>6.0565001970398997</c:v>
                </c:pt>
                <c:pt idx="7695">
                  <c:v>5.2724064266918766</c:v>
                </c:pt>
                <c:pt idx="7696">
                  <c:v>5.0208689330399388</c:v>
                </c:pt>
                <c:pt idx="7697">
                  <c:v>6.003667421494038</c:v>
                </c:pt>
                <c:pt idx="7698">
                  <c:v>5.228893189030333</c:v>
                </c:pt>
                <c:pt idx="7699">
                  <c:v>5.0333637353126868</c:v>
                </c:pt>
                <c:pt idx="7700">
                  <c:v>4.9852477179748975</c:v>
                </c:pt>
                <c:pt idx="7701">
                  <c:v>5.947464319075741</c:v>
                </c:pt>
                <c:pt idx="7702">
                  <c:v>4.9495270947472543</c:v>
                </c:pt>
                <c:pt idx="7703">
                  <c:v>4.9700726039326097</c:v>
                </c:pt>
                <c:pt idx="7704">
                  <c:v>6.041817282685086</c:v>
                </c:pt>
                <c:pt idx="7705">
                  <c:v>5.8523406952182286</c:v>
                </c:pt>
                <c:pt idx="7706">
                  <c:v>6.0064373713881203</c:v>
                </c:pt>
                <c:pt idx="7707">
                  <c:v>5.068888692279705</c:v>
                </c:pt>
                <c:pt idx="7708">
                  <c:v>6.0768915222117217</c:v>
                </c:pt>
                <c:pt idx="7709">
                  <c:v>5.0353373596156628</c:v>
                </c:pt>
                <c:pt idx="7710">
                  <c:v>4.8884925442222711</c:v>
                </c:pt>
                <c:pt idx="7711">
                  <c:v>5.8292339688850561</c:v>
                </c:pt>
                <c:pt idx="7712">
                  <c:v>6.0092405970066771</c:v>
                </c:pt>
                <c:pt idx="7713">
                  <c:v>5.027337961259188</c:v>
                </c:pt>
                <c:pt idx="7714">
                  <c:v>5.9883073979551931</c:v>
                </c:pt>
                <c:pt idx="7715">
                  <c:v>7.0760141818243651</c:v>
                </c:pt>
                <c:pt idx="7716">
                  <c:v>6.0601086005655365</c:v>
                </c:pt>
                <c:pt idx="7717">
                  <c:v>5.9364489501344009</c:v>
                </c:pt>
                <c:pt idx="7718">
                  <c:v>4.8040448752016021</c:v>
                </c:pt>
                <c:pt idx="7719">
                  <c:v>5.9076107834656097</c:v>
                </c:pt>
                <c:pt idx="7720">
                  <c:v>5.9440167328679712</c:v>
                </c:pt>
                <c:pt idx="7721">
                  <c:v>6.0164139301768502</c:v>
                </c:pt>
                <c:pt idx="7722">
                  <c:v>7.0390169683434642</c:v>
                </c:pt>
                <c:pt idx="7723">
                  <c:v>6.1285871668803358</c:v>
                </c:pt>
                <c:pt idx="7724">
                  <c:v>5.1463853361031084</c:v>
                </c:pt>
                <c:pt idx="7725">
                  <c:v>6.0113633168728899</c:v>
                </c:pt>
                <c:pt idx="7726">
                  <c:v>6.9766748319780394</c:v>
                </c:pt>
                <c:pt idx="7727">
                  <c:v>5.8436685139524851</c:v>
                </c:pt>
                <c:pt idx="7728">
                  <c:v>4.93224627272782</c:v>
                </c:pt>
                <c:pt idx="7729">
                  <c:v>6.1598839880522984</c:v>
                </c:pt>
                <c:pt idx="7730">
                  <c:v>6.0003756680603946</c:v>
                </c:pt>
                <c:pt idx="7731">
                  <c:v>4.1626373459756065</c:v>
                </c:pt>
                <c:pt idx="7732">
                  <c:v>7.0771092325505922</c:v>
                </c:pt>
                <c:pt idx="7733">
                  <c:v>3.8513860785924487</c:v>
                </c:pt>
                <c:pt idx="7734">
                  <c:v>3.9424707300451032</c:v>
                </c:pt>
                <c:pt idx="7735">
                  <c:v>5.0759831083047731</c:v>
                </c:pt>
                <c:pt idx="7736">
                  <c:v>5.1566390159296134</c:v>
                </c:pt>
                <c:pt idx="7737">
                  <c:v>4.9933370509196342</c:v>
                </c:pt>
                <c:pt idx="7738">
                  <c:v>5.0464382679218387</c:v>
                </c:pt>
                <c:pt idx="7739">
                  <c:v>6.0016678825908656</c:v>
                </c:pt>
                <c:pt idx="7740">
                  <c:v>6.028552408725905</c:v>
                </c:pt>
                <c:pt idx="7741">
                  <c:v>5.9264919484079117</c:v>
                </c:pt>
                <c:pt idx="7742">
                  <c:v>5.0729624896661498</c:v>
                </c:pt>
                <c:pt idx="7743">
                  <c:v>5.9943340357045631</c:v>
                </c:pt>
                <c:pt idx="7744">
                  <c:v>5.1156865405315397</c:v>
                </c:pt>
                <c:pt idx="7745">
                  <c:v>4.9164265578950035</c:v>
                </c:pt>
                <c:pt idx="7746">
                  <c:v>4.8575792187971887</c:v>
                </c:pt>
                <c:pt idx="7747">
                  <c:v>6.0013620633284797</c:v>
                </c:pt>
                <c:pt idx="7748">
                  <c:v>5.901115252837636</c:v>
                </c:pt>
                <c:pt idx="7749">
                  <c:v>5.8639806037469677</c:v>
                </c:pt>
                <c:pt idx="7750">
                  <c:v>4.9688870275928698</c:v>
                </c:pt>
                <c:pt idx="7751">
                  <c:v>5.8931925854263429</c:v>
                </c:pt>
                <c:pt idx="7752">
                  <c:v>5.9122812120514245</c:v>
                </c:pt>
                <c:pt idx="7753">
                  <c:v>5.9114671008525121</c:v>
                </c:pt>
                <c:pt idx="7754">
                  <c:v>6.1288248083715056</c:v>
                </c:pt>
                <c:pt idx="7755">
                  <c:v>4.1661232976625051</c:v>
                </c:pt>
                <c:pt idx="7756">
                  <c:v>6.0028460469137279</c:v>
                </c:pt>
                <c:pt idx="7757">
                  <c:v>4.890097596198907</c:v>
                </c:pt>
                <c:pt idx="7758">
                  <c:v>5.9611207614895587</c:v>
                </c:pt>
                <c:pt idx="7759">
                  <c:v>5.1414333111731061</c:v>
                </c:pt>
                <c:pt idx="7760">
                  <c:v>6.1083191310473115</c:v>
                </c:pt>
                <c:pt idx="7761">
                  <c:v>6.9947498963362644</c:v>
                </c:pt>
                <c:pt idx="7762">
                  <c:v>6.1078805427850833</c:v>
                </c:pt>
                <c:pt idx="7763">
                  <c:v>5.8108457281659236</c:v>
                </c:pt>
                <c:pt idx="7764">
                  <c:v>5.901250539409939</c:v>
                </c:pt>
                <c:pt idx="7765">
                  <c:v>4.9363439581039206</c:v>
                </c:pt>
                <c:pt idx="7766">
                  <c:v>6.0341060897604653</c:v>
                </c:pt>
                <c:pt idx="7767">
                  <c:v>5.9093974327132859</c:v>
                </c:pt>
                <c:pt idx="7768">
                  <c:v>5.0225449208220683</c:v>
                </c:pt>
                <c:pt idx="7769">
                  <c:v>4.987795878228547</c:v>
                </c:pt>
                <c:pt idx="7770">
                  <c:v>4.97900211204011</c:v>
                </c:pt>
                <c:pt idx="7771">
                  <c:v>4.95580505534934</c:v>
                </c:pt>
                <c:pt idx="7772">
                  <c:v>4.9225488558429769</c:v>
                </c:pt>
                <c:pt idx="7773">
                  <c:v>6.0446472038721195</c:v>
                </c:pt>
                <c:pt idx="7774">
                  <c:v>5.0489638973687017</c:v>
                </c:pt>
                <c:pt idx="7775">
                  <c:v>4.9001027147389662</c:v>
                </c:pt>
                <c:pt idx="7776">
                  <c:v>6.0100651634736071</c:v>
                </c:pt>
                <c:pt idx="7777">
                  <c:v>4.9177473576618658</c:v>
                </c:pt>
                <c:pt idx="7778">
                  <c:v>5.044808341576414</c:v>
                </c:pt>
                <c:pt idx="7779">
                  <c:v>5.1405423297199313</c:v>
                </c:pt>
                <c:pt idx="7780">
                  <c:v>5.1122316944996058</c:v>
                </c:pt>
                <c:pt idx="7781">
                  <c:v>4.8913334740236838</c:v>
                </c:pt>
                <c:pt idx="7782">
                  <c:v>5.972136279906989</c:v>
                </c:pt>
                <c:pt idx="7783">
                  <c:v>5.9996083573464292</c:v>
                </c:pt>
                <c:pt idx="7784">
                  <c:v>6.0501643251374277</c:v>
                </c:pt>
                <c:pt idx="7785">
                  <c:v>5.8603167793422628</c:v>
                </c:pt>
                <c:pt idx="7786">
                  <c:v>6.0617909931963911</c:v>
                </c:pt>
                <c:pt idx="7787">
                  <c:v>4.9166196073287347</c:v>
                </c:pt>
                <c:pt idx="7788">
                  <c:v>4.8623954219276238</c:v>
                </c:pt>
                <c:pt idx="7789">
                  <c:v>5.8514970968055815</c:v>
                </c:pt>
                <c:pt idx="7790">
                  <c:v>4.9901840544092071</c:v>
                </c:pt>
                <c:pt idx="7791">
                  <c:v>4.9064871054627819</c:v>
                </c:pt>
                <c:pt idx="7792">
                  <c:v>4.9613782586000452</c:v>
                </c:pt>
                <c:pt idx="7793">
                  <c:v>4.9860615150056926</c:v>
                </c:pt>
                <c:pt idx="7794">
                  <c:v>5.9755851644263966</c:v>
                </c:pt>
                <c:pt idx="7795">
                  <c:v>6.057699538676971</c:v>
                </c:pt>
                <c:pt idx="7796">
                  <c:v>5.0662985922086081</c:v>
                </c:pt>
                <c:pt idx="7797">
                  <c:v>5.0695179282497538</c:v>
                </c:pt>
                <c:pt idx="7798">
                  <c:v>5.9809374506957935</c:v>
                </c:pt>
                <c:pt idx="7799">
                  <c:v>4.944020527600741</c:v>
                </c:pt>
                <c:pt idx="7800">
                  <c:v>6.0122536926212824</c:v>
                </c:pt>
                <c:pt idx="7801">
                  <c:v>5.0159297901997189</c:v>
                </c:pt>
                <c:pt idx="7802">
                  <c:v>5.0894239709553686</c:v>
                </c:pt>
                <c:pt idx="7803">
                  <c:v>5.1000807958882888</c:v>
                </c:pt>
                <c:pt idx="7804">
                  <c:v>4.9788714458178047</c:v>
                </c:pt>
                <c:pt idx="7805">
                  <c:v>4.9700785902754365</c:v>
                </c:pt>
                <c:pt idx="7806">
                  <c:v>6.0606346727049454</c:v>
                </c:pt>
                <c:pt idx="7807">
                  <c:v>5.0893339774629975</c:v>
                </c:pt>
                <c:pt idx="7808">
                  <c:v>6.0917755720071751</c:v>
                </c:pt>
                <c:pt idx="7809">
                  <c:v>5.0536762029887567</c:v>
                </c:pt>
                <c:pt idx="7810">
                  <c:v>2.1887949865674656</c:v>
                </c:pt>
                <c:pt idx="7811">
                  <c:v>2.02648953155034</c:v>
                </c:pt>
                <c:pt idx="7812">
                  <c:v>5.0660094507316131</c:v>
                </c:pt>
                <c:pt idx="7813">
                  <c:v>6.0709491469659911</c:v>
                </c:pt>
                <c:pt idx="7814">
                  <c:v>6.0043794128538455</c:v>
                </c:pt>
                <c:pt idx="7815">
                  <c:v>5.0530668462587176</c:v>
                </c:pt>
                <c:pt idx="7816">
                  <c:v>7.0924914339178962</c:v>
                </c:pt>
                <c:pt idx="7817">
                  <c:v>4.9658265942900472</c:v>
                </c:pt>
                <c:pt idx="7818">
                  <c:v>3.946919024102518</c:v>
                </c:pt>
                <c:pt idx="7819">
                  <c:v>6.7200833989037072</c:v>
                </c:pt>
                <c:pt idx="7820">
                  <c:v>4.994200089831474</c:v>
                </c:pt>
                <c:pt idx="7821">
                  <c:v>5.0984864295849865</c:v>
                </c:pt>
                <c:pt idx="7822">
                  <c:v>6.039208474008511</c:v>
                </c:pt>
                <c:pt idx="7823">
                  <c:v>5.9318813587270585</c:v>
                </c:pt>
                <c:pt idx="7824">
                  <c:v>5.0575303790284867</c:v>
                </c:pt>
                <c:pt idx="7825">
                  <c:v>4.876621119547127</c:v>
                </c:pt>
                <c:pt idx="7826">
                  <c:v>6.1124507731648716</c:v>
                </c:pt>
                <c:pt idx="7827">
                  <c:v>6.0528804817148831</c:v>
                </c:pt>
                <c:pt idx="7828">
                  <c:v>5.0196286747548573</c:v>
                </c:pt>
                <c:pt idx="7829">
                  <c:v>4.8659147783225913</c:v>
                </c:pt>
                <c:pt idx="7830">
                  <c:v>6.0229136764550351</c:v>
                </c:pt>
                <c:pt idx="7831">
                  <c:v>5.0263751543857849</c:v>
                </c:pt>
                <c:pt idx="7832">
                  <c:v>6.1438727054426243</c:v>
                </c:pt>
                <c:pt idx="7833">
                  <c:v>5.0698984521867079</c:v>
                </c:pt>
                <c:pt idx="7834">
                  <c:v>5.9220181551029132</c:v>
                </c:pt>
                <c:pt idx="7835">
                  <c:v>5.9105493365181161</c:v>
                </c:pt>
                <c:pt idx="7836">
                  <c:v>5.8803211077693796</c:v>
                </c:pt>
                <c:pt idx="7837">
                  <c:v>6.0350432822772389</c:v>
                </c:pt>
                <c:pt idx="7838">
                  <c:v>5.9392435763297158</c:v>
                </c:pt>
                <c:pt idx="7839">
                  <c:v>5.9326056091804293</c:v>
                </c:pt>
                <c:pt idx="7840">
                  <c:v>6.0659573417088914</c:v>
                </c:pt>
                <c:pt idx="7841">
                  <c:v>6.0469811346501823</c:v>
                </c:pt>
                <c:pt idx="7842">
                  <c:v>5.8940859946372157</c:v>
                </c:pt>
                <c:pt idx="7843">
                  <c:v>5.9754602734928568</c:v>
                </c:pt>
                <c:pt idx="7844">
                  <c:v>5.2474674818829596</c:v>
                </c:pt>
                <c:pt idx="7845">
                  <c:v>5.1205288380963747</c:v>
                </c:pt>
                <c:pt idx="7846">
                  <c:v>6.0891392587765401</c:v>
                </c:pt>
                <c:pt idx="7847">
                  <c:v>5.0503084206452904</c:v>
                </c:pt>
                <c:pt idx="7848">
                  <c:v>5.9688329988891846</c:v>
                </c:pt>
                <c:pt idx="7849">
                  <c:v>5.0324535917543054</c:v>
                </c:pt>
                <c:pt idx="7850">
                  <c:v>6.0309324952205801</c:v>
                </c:pt>
                <c:pt idx="7851">
                  <c:v>4.9797749569351666</c:v>
                </c:pt>
                <c:pt idx="7852">
                  <c:v>5.9355681215368614</c:v>
                </c:pt>
                <c:pt idx="7853">
                  <c:v>5.9769262981736357</c:v>
                </c:pt>
                <c:pt idx="7854">
                  <c:v>5.0266203109251117</c:v>
                </c:pt>
                <c:pt idx="7855">
                  <c:v>6.031282735654778</c:v>
                </c:pt>
                <c:pt idx="7856">
                  <c:v>6.0866874406090874</c:v>
                </c:pt>
                <c:pt idx="7857">
                  <c:v>5.017219335378666</c:v>
                </c:pt>
                <c:pt idx="7858">
                  <c:v>4.9729332866859401</c:v>
                </c:pt>
                <c:pt idx="7859">
                  <c:v>6.0337190106332876</c:v>
                </c:pt>
                <c:pt idx="7860">
                  <c:v>4.9553291549970746</c:v>
                </c:pt>
                <c:pt idx="7861">
                  <c:v>4.955416502063982</c:v>
                </c:pt>
                <c:pt idx="7862">
                  <c:v>5.0328001698674418</c:v>
                </c:pt>
                <c:pt idx="7863">
                  <c:v>5.0392011960883609</c:v>
                </c:pt>
                <c:pt idx="7864">
                  <c:v>5.8895169112062495</c:v>
                </c:pt>
                <c:pt idx="7865">
                  <c:v>5.1504729233244317</c:v>
                </c:pt>
                <c:pt idx="7866">
                  <c:v>4.9575218435058694</c:v>
                </c:pt>
                <c:pt idx="7867">
                  <c:v>5.0301642638777162</c:v>
                </c:pt>
                <c:pt idx="7868">
                  <c:v>5.8931425022263388</c:v>
                </c:pt>
                <c:pt idx="7869">
                  <c:v>4.8729136394364509</c:v>
                </c:pt>
                <c:pt idx="7870">
                  <c:v>5.0031886042273346</c:v>
                </c:pt>
                <c:pt idx="7871">
                  <c:v>6.0094728331347067</c:v>
                </c:pt>
                <c:pt idx="7872">
                  <c:v>5.8234410332366906</c:v>
                </c:pt>
                <c:pt idx="7873">
                  <c:v>5.9546749409832724</c:v>
                </c:pt>
                <c:pt idx="7874">
                  <c:v>6.1532467053381259</c:v>
                </c:pt>
                <c:pt idx="7875">
                  <c:v>5.9376951505512796</c:v>
                </c:pt>
                <c:pt idx="7876">
                  <c:v>5.0157088254717479</c:v>
                </c:pt>
                <c:pt idx="7877">
                  <c:v>7.2070802371702785</c:v>
                </c:pt>
                <c:pt idx="7878">
                  <c:v>6.0064579491480439</c:v>
                </c:pt>
                <c:pt idx="7879">
                  <c:v>4.8918511927941948</c:v>
                </c:pt>
                <c:pt idx="7880">
                  <c:v>6.1852909536184608</c:v>
                </c:pt>
                <c:pt idx="7881">
                  <c:v>5.0787311301863136</c:v>
                </c:pt>
                <c:pt idx="7882">
                  <c:v>4.3025892268431774</c:v>
                </c:pt>
                <c:pt idx="7883">
                  <c:v>6.0792011422963057</c:v>
                </c:pt>
                <c:pt idx="7884">
                  <c:v>4.9267250537889158</c:v>
                </c:pt>
                <c:pt idx="7885">
                  <c:v>6.046229748999127</c:v>
                </c:pt>
                <c:pt idx="7886">
                  <c:v>4.8522047802192336</c:v>
                </c:pt>
                <c:pt idx="7887">
                  <c:v>5.931988743212675</c:v>
                </c:pt>
                <c:pt idx="7888">
                  <c:v>6.0525668052441128</c:v>
                </c:pt>
                <c:pt idx="7889">
                  <c:v>6.1641192784839998</c:v>
                </c:pt>
                <c:pt idx="7890">
                  <c:v>5.0668354728955398</c:v>
                </c:pt>
                <c:pt idx="7891">
                  <c:v>4.82255501078187</c:v>
                </c:pt>
                <c:pt idx="7892">
                  <c:v>5.9196802040371548</c:v>
                </c:pt>
                <c:pt idx="7893">
                  <c:v>6.9997622155394659</c:v>
                </c:pt>
                <c:pt idx="7894">
                  <c:v>6.0920121772449445</c:v>
                </c:pt>
                <c:pt idx="7895">
                  <c:v>6.1578136188712183</c:v>
                </c:pt>
                <c:pt idx="7896">
                  <c:v>4.8239476505692416</c:v>
                </c:pt>
                <c:pt idx="7897">
                  <c:v>6.2010051872697307</c:v>
                </c:pt>
                <c:pt idx="7898">
                  <c:v>5.0307604834223643</c:v>
                </c:pt>
                <c:pt idx="7899">
                  <c:v>5.9122386557064877</c:v>
                </c:pt>
                <c:pt idx="7900">
                  <c:v>5.9240212093870275</c:v>
                </c:pt>
                <c:pt idx="7901">
                  <c:v>6.1219165239397366</c:v>
                </c:pt>
                <c:pt idx="7902">
                  <c:v>4.9253642739561556</c:v>
                </c:pt>
                <c:pt idx="7903">
                  <c:v>6.0561085044643583</c:v>
                </c:pt>
                <c:pt idx="7904">
                  <c:v>5.1839217575013086</c:v>
                </c:pt>
                <c:pt idx="7905">
                  <c:v>5.9353125938197646</c:v>
                </c:pt>
                <c:pt idx="7906">
                  <c:v>5.8908894693835911</c:v>
                </c:pt>
                <c:pt idx="7907">
                  <c:v>5.8658826338157786</c:v>
                </c:pt>
                <c:pt idx="7908">
                  <c:v>5.9141595836505996</c:v>
                </c:pt>
                <c:pt idx="7909">
                  <c:v>5.0514275707983707</c:v>
                </c:pt>
                <c:pt idx="7910">
                  <c:v>4.7526147056469341</c:v>
                </c:pt>
                <c:pt idx="7911">
                  <c:v>5.0930196939406391</c:v>
                </c:pt>
                <c:pt idx="7912">
                  <c:v>5.0972533707469578</c:v>
                </c:pt>
                <c:pt idx="7913">
                  <c:v>6.0305641211513308</c:v>
                </c:pt>
                <c:pt idx="7914">
                  <c:v>6.0084712967257241</c:v>
                </c:pt>
                <c:pt idx="7915">
                  <c:v>6.0954197614983539</c:v>
                </c:pt>
                <c:pt idx="7916">
                  <c:v>4.9236710711547804</c:v>
                </c:pt>
                <c:pt idx="7917">
                  <c:v>5.1262994990666009</c:v>
                </c:pt>
                <c:pt idx="7918">
                  <c:v>5.984417692461018</c:v>
                </c:pt>
                <c:pt idx="7919">
                  <c:v>6.009866205307862</c:v>
                </c:pt>
                <c:pt idx="7920">
                  <c:v>6.0678361988988296</c:v>
                </c:pt>
                <c:pt idx="7921">
                  <c:v>5.9948440024179606</c:v>
                </c:pt>
                <c:pt idx="7922">
                  <c:v>6.002667132740247</c:v>
                </c:pt>
                <c:pt idx="7923">
                  <c:v>5.0235236937576762</c:v>
                </c:pt>
                <c:pt idx="7924">
                  <c:v>5.9465567859366546</c:v>
                </c:pt>
                <c:pt idx="7925">
                  <c:v>5.1001798209270346</c:v>
                </c:pt>
                <c:pt idx="7926">
                  <c:v>5.8541835300262415</c:v>
                </c:pt>
                <c:pt idx="7927">
                  <c:v>6.0279416119347911</c:v>
                </c:pt>
                <c:pt idx="7928">
                  <c:v>5.9296745270702944</c:v>
                </c:pt>
                <c:pt idx="7929">
                  <c:v>5.8901513896809838</c:v>
                </c:pt>
                <c:pt idx="7930">
                  <c:v>4.994591818501088</c:v>
                </c:pt>
                <c:pt idx="7931">
                  <c:v>5.0868617348172318</c:v>
                </c:pt>
                <c:pt idx="7932">
                  <c:v>5.9786987748692884</c:v>
                </c:pt>
                <c:pt idx="7933">
                  <c:v>5.021526870870165</c:v>
                </c:pt>
                <c:pt idx="7934">
                  <c:v>6.0336358970588568</c:v>
                </c:pt>
                <c:pt idx="7935">
                  <c:v>5.8905031478424217</c:v>
                </c:pt>
                <c:pt idx="7936">
                  <c:v>5.0721383351487068</c:v>
                </c:pt>
                <c:pt idx="7937">
                  <c:v>5.9664763844255386</c:v>
                </c:pt>
                <c:pt idx="7938">
                  <c:v>5.1211768335781551</c:v>
                </c:pt>
                <c:pt idx="7939">
                  <c:v>5.8259894686571077</c:v>
                </c:pt>
                <c:pt idx="7940">
                  <c:v>3.9917334237292441</c:v>
                </c:pt>
                <c:pt idx="7941">
                  <c:v>7.0483358839324239</c:v>
                </c:pt>
                <c:pt idx="7942">
                  <c:v>5.8656890086288147</c:v>
                </c:pt>
                <c:pt idx="7943">
                  <c:v>5.9375951932068789</c:v>
                </c:pt>
                <c:pt idx="7944">
                  <c:v>4.9824617394696213</c:v>
                </c:pt>
                <c:pt idx="7945">
                  <c:v>6.1733865199471758</c:v>
                </c:pt>
                <c:pt idx="7946">
                  <c:v>4.9934238778666842</c:v>
                </c:pt>
                <c:pt idx="7947">
                  <c:v>6.086120663145107</c:v>
                </c:pt>
                <c:pt idx="7948">
                  <c:v>5.8956445426312349</c:v>
                </c:pt>
                <c:pt idx="7949">
                  <c:v>5.0815225312706032</c:v>
                </c:pt>
                <c:pt idx="7950">
                  <c:v>4.8751372687247807</c:v>
                </c:pt>
                <c:pt idx="7951">
                  <c:v>6.1220457340021204</c:v>
                </c:pt>
                <c:pt idx="7952">
                  <c:v>4.9294038025915352</c:v>
                </c:pt>
                <c:pt idx="7953">
                  <c:v>5.1244096518005566</c:v>
                </c:pt>
                <c:pt idx="7954">
                  <c:v>5.9968579264865705</c:v>
                </c:pt>
                <c:pt idx="7955">
                  <c:v>6.0846849777218548</c:v>
                </c:pt>
                <c:pt idx="7956">
                  <c:v>5.9393444613072548</c:v>
                </c:pt>
                <c:pt idx="7957">
                  <c:v>5.9046493601658696</c:v>
                </c:pt>
                <c:pt idx="7958">
                  <c:v>5.9898027667718328</c:v>
                </c:pt>
                <c:pt idx="7959">
                  <c:v>6.055856930172415</c:v>
                </c:pt>
                <c:pt idx="7960">
                  <c:v>5.9956939484517546</c:v>
                </c:pt>
                <c:pt idx="7961">
                  <c:v>6.066821159055177</c:v>
                </c:pt>
                <c:pt idx="7962">
                  <c:v>5.0829316774933551</c:v>
                </c:pt>
                <c:pt idx="7963">
                  <c:v>5.9356556622815333</c:v>
                </c:pt>
                <c:pt idx="7964">
                  <c:v>4.9246902618746295</c:v>
                </c:pt>
                <c:pt idx="7965">
                  <c:v>5.8881295358624941</c:v>
                </c:pt>
                <c:pt idx="7966">
                  <c:v>5.9200455075118645</c:v>
                </c:pt>
                <c:pt idx="7967">
                  <c:v>5.8452011647928614</c:v>
                </c:pt>
                <c:pt idx="7968">
                  <c:v>6.021930646150917</c:v>
                </c:pt>
                <c:pt idx="7969">
                  <c:v>5.0233710389508754</c:v>
                </c:pt>
                <c:pt idx="7970">
                  <c:v>5.0225014407359136</c:v>
                </c:pt>
                <c:pt idx="7971">
                  <c:v>4.8868859567002927</c:v>
                </c:pt>
                <c:pt idx="7972">
                  <c:v>5.0235708758732098</c:v>
                </c:pt>
                <c:pt idx="7973">
                  <c:v>4.9718081304605084</c:v>
                </c:pt>
                <c:pt idx="7974">
                  <c:v>6.0016820866808338</c:v>
                </c:pt>
                <c:pt idx="7975">
                  <c:v>5.8061418420198265</c:v>
                </c:pt>
                <c:pt idx="7976">
                  <c:v>5.017812658895501</c:v>
                </c:pt>
                <c:pt idx="7977">
                  <c:v>6.0197395707629031</c:v>
                </c:pt>
                <c:pt idx="7978">
                  <c:v>5.8137140871631825</c:v>
                </c:pt>
                <c:pt idx="7979">
                  <c:v>5.0570378265327509</c:v>
                </c:pt>
                <c:pt idx="7980">
                  <c:v>4.8970479437452896</c:v>
                </c:pt>
                <c:pt idx="7981">
                  <c:v>4.9382452563340795</c:v>
                </c:pt>
                <c:pt idx="7982">
                  <c:v>4.9061342007580153</c:v>
                </c:pt>
                <c:pt idx="7983">
                  <c:v>4.9099168389694583</c:v>
                </c:pt>
                <c:pt idx="7984">
                  <c:v>5.9532334360248731</c:v>
                </c:pt>
                <c:pt idx="7985">
                  <c:v>6.0351679973722376</c:v>
                </c:pt>
                <c:pt idx="7986">
                  <c:v>6.0114420407913105</c:v>
                </c:pt>
                <c:pt idx="7987">
                  <c:v>5.862964588296002</c:v>
                </c:pt>
                <c:pt idx="7988">
                  <c:v>5.1579531002086991</c:v>
                </c:pt>
                <c:pt idx="7989">
                  <c:v>6.8696869870450685</c:v>
                </c:pt>
                <c:pt idx="7990">
                  <c:v>6.0323187624523333</c:v>
                </c:pt>
                <c:pt idx="7991">
                  <c:v>4.9705162384714887</c:v>
                </c:pt>
                <c:pt idx="7992">
                  <c:v>5.1080290167979507</c:v>
                </c:pt>
                <c:pt idx="7993">
                  <c:v>6.0125484162848304</c:v>
                </c:pt>
                <c:pt idx="7994">
                  <c:v>5.9920175289599573</c:v>
                </c:pt>
                <c:pt idx="7995">
                  <c:v>4.961480067409819</c:v>
                </c:pt>
                <c:pt idx="7996">
                  <c:v>4.7516068699934983</c:v>
                </c:pt>
                <c:pt idx="7997">
                  <c:v>5.0346298374668503</c:v>
                </c:pt>
                <c:pt idx="7998">
                  <c:v>4.7800294441976776</c:v>
                </c:pt>
                <c:pt idx="7999">
                  <c:v>5.024756249230844</c:v>
                </c:pt>
                <c:pt idx="8000">
                  <c:v>6.1316276751035748</c:v>
                </c:pt>
                <c:pt idx="8001">
                  <c:v>6.1268966424937146</c:v>
                </c:pt>
                <c:pt idx="8002">
                  <c:v>6.0078557544548117</c:v>
                </c:pt>
                <c:pt idx="8003">
                  <c:v>5.9652726944625138</c:v>
                </c:pt>
                <c:pt idx="8004">
                  <c:v>5.9651469522149601</c:v>
                </c:pt>
                <c:pt idx="8005">
                  <c:v>6.1002362830672308</c:v>
                </c:pt>
                <c:pt idx="8006">
                  <c:v>4.9769249589397022</c:v>
                </c:pt>
                <c:pt idx="8007">
                  <c:v>5.1848074867902403</c:v>
                </c:pt>
                <c:pt idx="8008">
                  <c:v>4.8501860619148376</c:v>
                </c:pt>
                <c:pt idx="8009">
                  <c:v>6.0850449181532253</c:v>
                </c:pt>
                <c:pt idx="8010">
                  <c:v>5.8354167816580365</c:v>
                </c:pt>
                <c:pt idx="8011">
                  <c:v>5.7632133302665798</c:v>
                </c:pt>
                <c:pt idx="8012">
                  <c:v>7.0039449396856348</c:v>
                </c:pt>
                <c:pt idx="8013">
                  <c:v>6.084332069437103</c:v>
                </c:pt>
                <c:pt idx="8014">
                  <c:v>5.103079844865146</c:v>
                </c:pt>
                <c:pt idx="8015">
                  <c:v>5.0584267144275152</c:v>
                </c:pt>
                <c:pt idx="8016">
                  <c:v>5.9692234350089697</c:v>
                </c:pt>
                <c:pt idx="8017">
                  <c:v>6.0716418965534151</c:v>
                </c:pt>
                <c:pt idx="8018">
                  <c:v>6.1083118590034067</c:v>
                </c:pt>
                <c:pt idx="8019">
                  <c:v>4.8828580073796299</c:v>
                </c:pt>
                <c:pt idx="8020">
                  <c:v>6.0646372463743283</c:v>
                </c:pt>
                <c:pt idx="8021">
                  <c:v>4.8413885241858736</c:v>
                </c:pt>
                <c:pt idx="8022">
                  <c:v>5.0843819039669986</c:v>
                </c:pt>
                <c:pt idx="8023">
                  <c:v>6.911538352173614</c:v>
                </c:pt>
                <c:pt idx="8024">
                  <c:v>6.0559805385839445</c:v>
                </c:pt>
                <c:pt idx="8025">
                  <c:v>5.091388213873687</c:v>
                </c:pt>
                <c:pt idx="8026">
                  <c:v>4.9864954751274322</c:v>
                </c:pt>
                <c:pt idx="8027">
                  <c:v>4.8562324768585974</c:v>
                </c:pt>
                <c:pt idx="8028">
                  <c:v>5.981932531698603</c:v>
                </c:pt>
                <c:pt idx="8029">
                  <c:v>5.7625797394375802</c:v>
                </c:pt>
                <c:pt idx="8030">
                  <c:v>6.056845064679365</c:v>
                </c:pt>
                <c:pt idx="8031">
                  <c:v>5.0874121237491217</c:v>
                </c:pt>
                <c:pt idx="8032">
                  <c:v>6.0551988651474904</c:v>
                </c:pt>
                <c:pt idx="8033">
                  <c:v>5.9390900191893419</c:v>
                </c:pt>
                <c:pt idx="8034">
                  <c:v>5.0698016868831735</c:v>
                </c:pt>
                <c:pt idx="8035">
                  <c:v>5.8731415040170774</c:v>
                </c:pt>
                <c:pt idx="8036">
                  <c:v>6.0805403078172064</c:v>
                </c:pt>
                <c:pt idx="8037">
                  <c:v>4.9802781187714489</c:v>
                </c:pt>
                <c:pt idx="8038">
                  <c:v>6.0736922617109022</c:v>
                </c:pt>
                <c:pt idx="8039">
                  <c:v>5.8981549232038279</c:v>
                </c:pt>
                <c:pt idx="8040">
                  <c:v>5.0662177212583401</c:v>
                </c:pt>
                <c:pt idx="8041">
                  <c:v>5.9006229044531846</c:v>
                </c:pt>
                <c:pt idx="8042">
                  <c:v>4.9476364149060439</c:v>
                </c:pt>
                <c:pt idx="8043">
                  <c:v>5.785019123785462</c:v>
                </c:pt>
                <c:pt idx="8044">
                  <c:v>6.1104813208576827</c:v>
                </c:pt>
                <c:pt idx="8045">
                  <c:v>5.1811687193346927</c:v>
                </c:pt>
                <c:pt idx="8046">
                  <c:v>5.9510789460950502</c:v>
                </c:pt>
                <c:pt idx="8047">
                  <c:v>5.873995963423841</c:v>
                </c:pt>
                <c:pt idx="8048">
                  <c:v>5.9433055650780426</c:v>
                </c:pt>
                <c:pt idx="8049">
                  <c:v>4.9790931170013097</c:v>
                </c:pt>
                <c:pt idx="8050">
                  <c:v>4.9627291955421855</c:v>
                </c:pt>
                <c:pt idx="8051">
                  <c:v>4.9290979969623505</c:v>
                </c:pt>
                <c:pt idx="8052">
                  <c:v>6.1829462956778309</c:v>
                </c:pt>
                <c:pt idx="8053">
                  <c:v>4.9970079259859643</c:v>
                </c:pt>
                <c:pt idx="8054">
                  <c:v>5.1736804121794115</c:v>
                </c:pt>
                <c:pt idx="8055">
                  <c:v>5.1653552512760621</c:v>
                </c:pt>
                <c:pt idx="8056">
                  <c:v>5.0697763168164593</c:v>
                </c:pt>
                <c:pt idx="8057">
                  <c:v>5.9525683683929387</c:v>
                </c:pt>
                <c:pt idx="8058">
                  <c:v>6.8900974337558321</c:v>
                </c:pt>
                <c:pt idx="8059">
                  <c:v>5.9306299168225127</c:v>
                </c:pt>
                <c:pt idx="8060">
                  <c:v>6.0526223510515109</c:v>
                </c:pt>
                <c:pt idx="8061">
                  <c:v>5.0174303364502268</c:v>
                </c:pt>
                <c:pt idx="8062">
                  <c:v>5.0440988715577628</c:v>
                </c:pt>
                <c:pt idx="8063">
                  <c:v>6.0561735986028076</c:v>
                </c:pt>
                <c:pt idx="8064">
                  <c:v>4.8686501780878499</c:v>
                </c:pt>
                <c:pt idx="8065">
                  <c:v>4.9210230170246323</c:v>
                </c:pt>
                <c:pt idx="8066">
                  <c:v>5.0262890985785553</c:v>
                </c:pt>
                <c:pt idx="8067">
                  <c:v>6.0231903296519489</c:v>
                </c:pt>
                <c:pt idx="8068">
                  <c:v>4.9869320468067855</c:v>
                </c:pt>
                <c:pt idx="8069">
                  <c:v>5.943971605678338</c:v>
                </c:pt>
                <c:pt idx="8070">
                  <c:v>5.0277701680220721</c:v>
                </c:pt>
                <c:pt idx="8071">
                  <c:v>4.7482727571163865</c:v>
                </c:pt>
                <c:pt idx="8072">
                  <c:v>5.7929895867802008</c:v>
                </c:pt>
                <c:pt idx="8073">
                  <c:v>5.0366173458810257</c:v>
                </c:pt>
                <c:pt idx="8074">
                  <c:v>4.9879780130788332</c:v>
                </c:pt>
                <c:pt idx="8075">
                  <c:v>4.9225597203933047</c:v>
                </c:pt>
                <c:pt idx="8076">
                  <c:v>5.0693232082882007</c:v>
                </c:pt>
                <c:pt idx="8077">
                  <c:v>6.1740943276171745</c:v>
                </c:pt>
                <c:pt idx="8078">
                  <c:v>5.1261202531162562</c:v>
                </c:pt>
                <c:pt idx="8079">
                  <c:v>5.901836035806034</c:v>
                </c:pt>
                <c:pt idx="8080">
                  <c:v>6.0774966254836089</c:v>
                </c:pt>
                <c:pt idx="8081">
                  <c:v>7.0074786639644238</c:v>
                </c:pt>
                <c:pt idx="8082">
                  <c:v>7.0583725781668569</c:v>
                </c:pt>
                <c:pt idx="8083">
                  <c:v>6.169812463768177</c:v>
                </c:pt>
                <c:pt idx="8084">
                  <c:v>6.1004739527649212</c:v>
                </c:pt>
                <c:pt idx="8085">
                  <c:v>6.0120122759066259</c:v>
                </c:pt>
                <c:pt idx="8086">
                  <c:v>6.1080845340961174</c:v>
                </c:pt>
                <c:pt idx="8087">
                  <c:v>6.0753458747503393</c:v>
                </c:pt>
                <c:pt idx="8088">
                  <c:v>5.0471592797503106</c:v>
                </c:pt>
                <c:pt idx="8089">
                  <c:v>4.9485833335980987</c:v>
                </c:pt>
                <c:pt idx="8090">
                  <c:v>6.1456700509337896</c:v>
                </c:pt>
                <c:pt idx="8091">
                  <c:v>5.925162598222478</c:v>
                </c:pt>
                <c:pt idx="8092">
                  <c:v>5.9316546185297101</c:v>
                </c:pt>
                <c:pt idx="8093">
                  <c:v>6.1246443613558803</c:v>
                </c:pt>
                <c:pt idx="8094">
                  <c:v>4.9722992757868631</c:v>
                </c:pt>
                <c:pt idx="8095">
                  <c:v>5.9608353315988598</c:v>
                </c:pt>
                <c:pt idx="8096">
                  <c:v>5.0365366517412395</c:v>
                </c:pt>
                <c:pt idx="8097">
                  <c:v>6.1253411966496216</c:v>
                </c:pt>
                <c:pt idx="8098">
                  <c:v>5.9890675002965006</c:v>
                </c:pt>
                <c:pt idx="8099">
                  <c:v>4.9615628225583102</c:v>
                </c:pt>
                <c:pt idx="8100">
                  <c:v>4.9465637586108366</c:v>
                </c:pt>
                <c:pt idx="8101">
                  <c:v>5.9877696698738587</c:v>
                </c:pt>
                <c:pt idx="8102">
                  <c:v>4.9851130597323419</c:v>
                </c:pt>
                <c:pt idx="8103">
                  <c:v>6.0620584887312523</c:v>
                </c:pt>
                <c:pt idx="8104">
                  <c:v>5.051013576053041</c:v>
                </c:pt>
                <c:pt idx="8105">
                  <c:v>5.7126026906509777</c:v>
                </c:pt>
                <c:pt idx="8106">
                  <c:v>5.0473035426048467</c:v>
                </c:pt>
                <c:pt idx="8107">
                  <c:v>6.9535113071973429</c:v>
                </c:pt>
                <c:pt idx="8108">
                  <c:v>5.9995186564980854</c:v>
                </c:pt>
                <c:pt idx="8109">
                  <c:v>5.1486394820688721</c:v>
                </c:pt>
                <c:pt idx="8110">
                  <c:v>6.004047427206995</c:v>
                </c:pt>
                <c:pt idx="8111">
                  <c:v>6.138553871564012</c:v>
                </c:pt>
                <c:pt idx="8112">
                  <c:v>6.0289678916492031</c:v>
                </c:pt>
                <c:pt idx="8113">
                  <c:v>4.9288858408629643</c:v>
                </c:pt>
                <c:pt idx="8114">
                  <c:v>6.0855949328983225</c:v>
                </c:pt>
                <c:pt idx="8115">
                  <c:v>6.1485486165247742</c:v>
                </c:pt>
                <c:pt idx="8116">
                  <c:v>6.0264656834752728</c:v>
                </c:pt>
                <c:pt idx="8117">
                  <c:v>6.0393311458646552</c:v>
                </c:pt>
                <c:pt idx="8118">
                  <c:v>5.8392683459424273</c:v>
                </c:pt>
                <c:pt idx="8119">
                  <c:v>4.9894650299025329</c:v>
                </c:pt>
                <c:pt idx="8120">
                  <c:v>6.1845316694779253</c:v>
                </c:pt>
                <c:pt idx="8121">
                  <c:v>6.014181155220359</c:v>
                </c:pt>
                <c:pt idx="8122">
                  <c:v>5.9595810692921987</c:v>
                </c:pt>
                <c:pt idx="8123">
                  <c:v>6.0508560676038146</c:v>
                </c:pt>
                <c:pt idx="8124">
                  <c:v>4.895732420216957</c:v>
                </c:pt>
                <c:pt idx="8125">
                  <c:v>5.9485453219604487</c:v>
                </c:pt>
                <c:pt idx="8126">
                  <c:v>4.9438978128928657</c:v>
                </c:pt>
                <c:pt idx="8127">
                  <c:v>5.9921581484006454</c:v>
                </c:pt>
                <c:pt idx="8128">
                  <c:v>5.8881775272504653</c:v>
                </c:pt>
                <c:pt idx="8129">
                  <c:v>5.7565987517722279</c:v>
                </c:pt>
                <c:pt idx="8130">
                  <c:v>5.9687435914089386</c:v>
                </c:pt>
                <c:pt idx="8131">
                  <c:v>6.0718310053774518</c:v>
                </c:pt>
                <c:pt idx="8132">
                  <c:v>6.1280884696196347</c:v>
                </c:pt>
                <c:pt idx="8133">
                  <c:v>6.1263775885283565</c:v>
                </c:pt>
                <c:pt idx="8134">
                  <c:v>6.0703187879096872</c:v>
                </c:pt>
                <c:pt idx="8135">
                  <c:v>6.1093937425442348</c:v>
                </c:pt>
                <c:pt idx="8136">
                  <c:v>6.9956888426024015</c:v>
                </c:pt>
                <c:pt idx="8137">
                  <c:v>4.9430146136187716</c:v>
                </c:pt>
                <c:pt idx="8138">
                  <c:v>5.9198378514994099</c:v>
                </c:pt>
                <c:pt idx="8139">
                  <c:v>4.8348883280200896</c:v>
                </c:pt>
                <c:pt idx="8140">
                  <c:v>4.9186771936798532</c:v>
                </c:pt>
                <c:pt idx="8141">
                  <c:v>5.9067330835475831</c:v>
                </c:pt>
                <c:pt idx="8142">
                  <c:v>5.9049656070770986</c:v>
                </c:pt>
                <c:pt idx="8143">
                  <c:v>6.106505499174844</c:v>
                </c:pt>
                <c:pt idx="8144">
                  <c:v>6.0992517848939922</c:v>
                </c:pt>
                <c:pt idx="8145">
                  <c:v>6.0061718248136833</c:v>
                </c:pt>
                <c:pt idx="8146">
                  <c:v>5.9786157391724197</c:v>
                </c:pt>
                <c:pt idx="8147">
                  <c:v>5.9906645249681132</c:v>
                </c:pt>
                <c:pt idx="8148">
                  <c:v>5.0460826980643931</c:v>
                </c:pt>
                <c:pt idx="8149">
                  <c:v>6.0829030847923917</c:v>
                </c:pt>
                <c:pt idx="8150">
                  <c:v>5.0006710585377512</c:v>
                </c:pt>
                <c:pt idx="8151">
                  <c:v>4.8269524801647874</c:v>
                </c:pt>
                <c:pt idx="8152">
                  <c:v>6.0321329107615291</c:v>
                </c:pt>
                <c:pt idx="8153">
                  <c:v>5.7547946016476033</c:v>
                </c:pt>
                <c:pt idx="8154">
                  <c:v>5.9598777331451753</c:v>
                </c:pt>
                <c:pt idx="8155">
                  <c:v>6.0083822047915083</c:v>
                </c:pt>
                <c:pt idx="8156">
                  <c:v>5.910227215066044</c:v>
                </c:pt>
                <c:pt idx="8157">
                  <c:v>6.0454450471810981</c:v>
                </c:pt>
                <c:pt idx="8158">
                  <c:v>5.9603582364644749</c:v>
                </c:pt>
                <c:pt idx="8159">
                  <c:v>5.0569843804955763</c:v>
                </c:pt>
                <c:pt idx="8160">
                  <c:v>5.9530248636761849</c:v>
                </c:pt>
                <c:pt idx="8161">
                  <c:v>5.9720746868879102</c:v>
                </c:pt>
                <c:pt idx="8162">
                  <c:v>5.8698050804659259</c:v>
                </c:pt>
                <c:pt idx="8163">
                  <c:v>6.0597227678078989</c:v>
                </c:pt>
                <c:pt idx="8164">
                  <c:v>5.8153738915140876</c:v>
                </c:pt>
                <c:pt idx="8165">
                  <c:v>4.9397735425159697</c:v>
                </c:pt>
                <c:pt idx="8166">
                  <c:v>4.8878707166319018</c:v>
                </c:pt>
                <c:pt idx="8167">
                  <c:v>6.2405933162851728</c:v>
                </c:pt>
                <c:pt idx="8168">
                  <c:v>5.9981596022624011</c:v>
                </c:pt>
                <c:pt idx="8169">
                  <c:v>4.8685066696453614</c:v>
                </c:pt>
                <c:pt idx="8170">
                  <c:v>6.0942565976855088</c:v>
                </c:pt>
                <c:pt idx="8171">
                  <c:v>5.8792153205149038</c:v>
                </c:pt>
                <c:pt idx="8172">
                  <c:v>4.9146353842264476</c:v>
                </c:pt>
                <c:pt idx="8173">
                  <c:v>5.9448421448270805</c:v>
                </c:pt>
                <c:pt idx="8174">
                  <c:v>5.8030432408994015</c:v>
                </c:pt>
                <c:pt idx="8175">
                  <c:v>5.032682683394512</c:v>
                </c:pt>
                <c:pt idx="8176">
                  <c:v>5.9124389741512688</c:v>
                </c:pt>
                <c:pt idx="8177">
                  <c:v>5.9391811530197938</c:v>
                </c:pt>
                <c:pt idx="8178">
                  <c:v>5.0860693967635848</c:v>
                </c:pt>
                <c:pt idx="8179">
                  <c:v>6.0398992304898655</c:v>
                </c:pt>
                <c:pt idx="8180">
                  <c:v>4.904608129289473</c:v>
                </c:pt>
                <c:pt idx="8181">
                  <c:v>4.764256673428318</c:v>
                </c:pt>
                <c:pt idx="8182">
                  <c:v>5.9100961959753597</c:v>
                </c:pt>
                <c:pt idx="8183">
                  <c:v>5.1220194517134949</c:v>
                </c:pt>
                <c:pt idx="8184">
                  <c:v>4.9909965544247381</c:v>
                </c:pt>
                <c:pt idx="8185">
                  <c:v>4.9295633798305065</c:v>
                </c:pt>
                <c:pt idx="8186">
                  <c:v>4.9907820531071216</c:v>
                </c:pt>
                <c:pt idx="8187">
                  <c:v>6.0325880747518177</c:v>
                </c:pt>
                <c:pt idx="8188">
                  <c:v>7.2179486944092215</c:v>
                </c:pt>
                <c:pt idx="8189">
                  <c:v>4.9740249075810459</c:v>
                </c:pt>
                <c:pt idx="8190">
                  <c:v>4.9662682628268273</c:v>
                </c:pt>
                <c:pt idx="8191">
                  <c:v>6.0098869349748911</c:v>
                </c:pt>
                <c:pt idx="8192">
                  <c:v>4.9865627725461943</c:v>
                </c:pt>
                <c:pt idx="8193">
                  <c:v>6.0467166554666933</c:v>
                </c:pt>
                <c:pt idx="8194">
                  <c:v>5.8968680098165107</c:v>
                </c:pt>
                <c:pt idx="8195">
                  <c:v>5.040402956007517</c:v>
                </c:pt>
                <c:pt idx="8196">
                  <c:v>6.0192905753027039</c:v>
                </c:pt>
                <c:pt idx="8197">
                  <c:v>5.097263537664479</c:v>
                </c:pt>
                <c:pt idx="8198">
                  <c:v>6.0690630351618378</c:v>
                </c:pt>
                <c:pt idx="8199">
                  <c:v>5.9812481415622161</c:v>
                </c:pt>
                <c:pt idx="8200">
                  <c:v>5.0781770557585011</c:v>
                </c:pt>
                <c:pt idx="8201">
                  <c:v>5.0495737649288062</c:v>
                </c:pt>
                <c:pt idx="8202">
                  <c:v>4.9907449616405017</c:v>
                </c:pt>
                <c:pt idx="8203">
                  <c:v>5.1507110521358399</c:v>
                </c:pt>
                <c:pt idx="8204">
                  <c:v>6.054537375681349</c:v>
                </c:pt>
                <c:pt idx="8205">
                  <c:v>5.9476702267007298</c:v>
                </c:pt>
                <c:pt idx="8206">
                  <c:v>5.100329931350597</c:v>
                </c:pt>
                <c:pt idx="8207">
                  <c:v>6.2328641441076353</c:v>
                </c:pt>
                <c:pt idx="8208">
                  <c:v>6.1263379078968789</c:v>
                </c:pt>
                <c:pt idx="8209">
                  <c:v>6.094725728786889</c:v>
                </c:pt>
                <c:pt idx="8210">
                  <c:v>6.0360472190682586</c:v>
                </c:pt>
                <c:pt idx="8211">
                  <c:v>5.0157754672527686</c:v>
                </c:pt>
                <c:pt idx="8212">
                  <c:v>5.9463681327948015</c:v>
                </c:pt>
                <c:pt idx="8213">
                  <c:v>6.1156956673155527</c:v>
                </c:pt>
                <c:pt idx="8214">
                  <c:v>5.1944726725525836</c:v>
                </c:pt>
                <c:pt idx="8215">
                  <c:v>5.0790797571933295</c:v>
                </c:pt>
                <c:pt idx="8216">
                  <c:v>4.9293368945884648</c:v>
                </c:pt>
                <c:pt idx="8217">
                  <c:v>5.9311707622414858</c:v>
                </c:pt>
                <c:pt idx="8218">
                  <c:v>5.0188787923512894</c:v>
                </c:pt>
                <c:pt idx="8219">
                  <c:v>6.0461678928232114</c:v>
                </c:pt>
                <c:pt idx="8220">
                  <c:v>5.9901284844169727</c:v>
                </c:pt>
                <c:pt idx="8221">
                  <c:v>4.9284237696646835</c:v>
                </c:pt>
                <c:pt idx="8222">
                  <c:v>6.0946572272494857</c:v>
                </c:pt>
                <c:pt idx="8223">
                  <c:v>6.0483821877249273</c:v>
                </c:pt>
                <c:pt idx="8224">
                  <c:v>5.9851741826499669</c:v>
                </c:pt>
                <c:pt idx="8225">
                  <c:v>5.9165015326469836</c:v>
                </c:pt>
                <c:pt idx="8226">
                  <c:v>6.0842123598315778</c:v>
                </c:pt>
                <c:pt idx="8227">
                  <c:v>6.0430405886248142</c:v>
                </c:pt>
                <c:pt idx="8228">
                  <c:v>4.911026440026629</c:v>
                </c:pt>
                <c:pt idx="8229">
                  <c:v>5.958895627314539</c:v>
                </c:pt>
                <c:pt idx="8230">
                  <c:v>5.1864645820328432</c:v>
                </c:pt>
                <c:pt idx="8231">
                  <c:v>6.0034487497914242</c:v>
                </c:pt>
                <c:pt idx="8232">
                  <c:v>6.0631553408018233</c:v>
                </c:pt>
                <c:pt idx="8233">
                  <c:v>5.8628831277313846</c:v>
                </c:pt>
                <c:pt idx="8234">
                  <c:v>5.0634113707084918</c:v>
                </c:pt>
                <c:pt idx="8235">
                  <c:v>5.0310102038034374</c:v>
                </c:pt>
                <c:pt idx="8236">
                  <c:v>6.1918128142829723</c:v>
                </c:pt>
                <c:pt idx="8237">
                  <c:v>4.8917310659648106</c:v>
                </c:pt>
                <c:pt idx="8238">
                  <c:v>6.0480474972863894</c:v>
                </c:pt>
                <c:pt idx="8239">
                  <c:v>5.946405341835467</c:v>
                </c:pt>
                <c:pt idx="8240">
                  <c:v>5.876500525274535</c:v>
                </c:pt>
                <c:pt idx="8241">
                  <c:v>5.9201680616259686</c:v>
                </c:pt>
                <c:pt idx="8242">
                  <c:v>5.0488812257157107</c:v>
                </c:pt>
                <c:pt idx="8243">
                  <c:v>4.7266201043418139</c:v>
                </c:pt>
                <c:pt idx="8244">
                  <c:v>5.8111155664205008</c:v>
                </c:pt>
                <c:pt idx="8245">
                  <c:v>4.1482514212975055</c:v>
                </c:pt>
                <c:pt idx="8246">
                  <c:v>4.0122261433336641</c:v>
                </c:pt>
                <c:pt idx="8247">
                  <c:v>6.003148236492355</c:v>
                </c:pt>
                <c:pt idx="8248">
                  <c:v>5.9691457972555533</c:v>
                </c:pt>
                <c:pt idx="8249">
                  <c:v>5.0501641303270093</c:v>
                </c:pt>
                <c:pt idx="8250">
                  <c:v>5.9520158963642986</c:v>
                </c:pt>
                <c:pt idx="8251">
                  <c:v>5.1849790241906062</c:v>
                </c:pt>
                <c:pt idx="8252">
                  <c:v>5.0115783071063618</c:v>
                </c:pt>
                <c:pt idx="8253">
                  <c:v>5.8678694281858039</c:v>
                </c:pt>
                <c:pt idx="8254">
                  <c:v>5.8720064276839814</c:v>
                </c:pt>
                <c:pt idx="8255">
                  <c:v>5.2137908156677826</c:v>
                </c:pt>
                <c:pt idx="8256">
                  <c:v>5.0350829384199942</c:v>
                </c:pt>
                <c:pt idx="8257">
                  <c:v>5.8636652601549653</c:v>
                </c:pt>
                <c:pt idx="8258">
                  <c:v>5.818695341745574</c:v>
                </c:pt>
                <c:pt idx="8259">
                  <c:v>4.9033782786807736</c:v>
                </c:pt>
                <c:pt idx="8260">
                  <c:v>4.0393971943777967</c:v>
                </c:pt>
                <c:pt idx="8261">
                  <c:v>6.0644225132040379</c:v>
                </c:pt>
                <c:pt idx="8262">
                  <c:v>6.1438933647748222</c:v>
                </c:pt>
                <c:pt idx="8263">
                  <c:v>6.0463823725751267</c:v>
                </c:pt>
                <c:pt idx="8264">
                  <c:v>5.8830659571901966</c:v>
                </c:pt>
                <c:pt idx="8265">
                  <c:v>5.8410328924676325</c:v>
                </c:pt>
                <c:pt idx="8266">
                  <c:v>5.96130281973526</c:v>
                </c:pt>
                <c:pt idx="8267">
                  <c:v>5.0415619082817633</c:v>
                </c:pt>
                <c:pt idx="8268">
                  <c:v>6.0494498827466971</c:v>
                </c:pt>
                <c:pt idx="8269">
                  <c:v>6.1677685535614559</c:v>
                </c:pt>
                <c:pt idx="8270">
                  <c:v>5.8535702375880794</c:v>
                </c:pt>
                <c:pt idx="8271">
                  <c:v>4.9673988421211019</c:v>
                </c:pt>
                <c:pt idx="8272">
                  <c:v>4.97133233384295</c:v>
                </c:pt>
                <c:pt idx="8273">
                  <c:v>6.1002739073194894</c:v>
                </c:pt>
                <c:pt idx="8274">
                  <c:v>5.0316711268377787</c:v>
                </c:pt>
                <c:pt idx="8275">
                  <c:v>6.1068385069814548</c:v>
                </c:pt>
                <c:pt idx="8276">
                  <c:v>5.9848925757840039</c:v>
                </c:pt>
                <c:pt idx="8277">
                  <c:v>5.0135651355036224</c:v>
                </c:pt>
                <c:pt idx="8278">
                  <c:v>5.024766194592841</c:v>
                </c:pt>
                <c:pt idx="8279">
                  <c:v>5.1050734958804513</c:v>
                </c:pt>
                <c:pt idx="8280">
                  <c:v>5.1609417593945359</c:v>
                </c:pt>
                <c:pt idx="8281">
                  <c:v>6.1166310828816224</c:v>
                </c:pt>
                <c:pt idx="8282">
                  <c:v>4.8626522355762463</c:v>
                </c:pt>
                <c:pt idx="8283">
                  <c:v>5.0715067121670909</c:v>
                </c:pt>
                <c:pt idx="8284">
                  <c:v>5.7789965030666961</c:v>
                </c:pt>
                <c:pt idx="8285">
                  <c:v>5.0989052283168448</c:v>
                </c:pt>
                <c:pt idx="8286">
                  <c:v>4.9170142902864304</c:v>
                </c:pt>
                <c:pt idx="8287">
                  <c:v>4.9577807065437698</c:v>
                </c:pt>
                <c:pt idx="8288">
                  <c:v>5.0242006413757743</c:v>
                </c:pt>
                <c:pt idx="8289">
                  <c:v>6.0213224184235425</c:v>
                </c:pt>
                <c:pt idx="8290">
                  <c:v>4.8825302067582372</c:v>
                </c:pt>
                <c:pt idx="8291">
                  <c:v>5.9030545433257684</c:v>
                </c:pt>
                <c:pt idx="8292">
                  <c:v>6.1234618066004822</c:v>
                </c:pt>
                <c:pt idx="8293">
                  <c:v>5.1799468447858414</c:v>
                </c:pt>
                <c:pt idx="8294">
                  <c:v>5.9844061091931913</c:v>
                </c:pt>
                <c:pt idx="8295">
                  <c:v>5.9582434234595372</c:v>
                </c:pt>
                <c:pt idx="8296">
                  <c:v>6.0015556070329552</c:v>
                </c:pt>
                <c:pt idx="8297">
                  <c:v>5.051658498888445</c:v>
                </c:pt>
                <c:pt idx="8298">
                  <c:v>6.0551983495171227</c:v>
                </c:pt>
                <c:pt idx="8299">
                  <c:v>5.9084901086752044</c:v>
                </c:pt>
                <c:pt idx="8300">
                  <c:v>6.013264889790146</c:v>
                </c:pt>
                <c:pt idx="8301">
                  <c:v>4.9672084245554924</c:v>
                </c:pt>
                <c:pt idx="8302">
                  <c:v>6.105318656117185</c:v>
                </c:pt>
                <c:pt idx="8303">
                  <c:v>4.8299799287929819</c:v>
                </c:pt>
                <c:pt idx="8304">
                  <c:v>5.9539672335043923</c:v>
                </c:pt>
                <c:pt idx="8305">
                  <c:v>5.9407180713997771</c:v>
                </c:pt>
                <c:pt idx="8306">
                  <c:v>5.967362267512474</c:v>
                </c:pt>
                <c:pt idx="8307">
                  <c:v>6.1073168377391482</c:v>
                </c:pt>
                <c:pt idx="8308">
                  <c:v>6.0439293800480671</c:v>
                </c:pt>
                <c:pt idx="8309">
                  <c:v>5.0856822302436955</c:v>
                </c:pt>
                <c:pt idx="8310">
                  <c:v>6.117597844525787</c:v>
                </c:pt>
                <c:pt idx="8311">
                  <c:v>6.0164310011198632</c:v>
                </c:pt>
                <c:pt idx="8312">
                  <c:v>5.8508676929645187</c:v>
                </c:pt>
                <c:pt idx="8313">
                  <c:v>5.8022920076577478</c:v>
                </c:pt>
                <c:pt idx="8314">
                  <c:v>5.931631699864389</c:v>
                </c:pt>
                <c:pt idx="8315">
                  <c:v>5.949405970956259</c:v>
                </c:pt>
                <c:pt idx="8316">
                  <c:v>5.9088711276544839</c:v>
                </c:pt>
                <c:pt idx="8317">
                  <c:v>6.0890816909857994</c:v>
                </c:pt>
                <c:pt idx="8318">
                  <c:v>5.9191895994764208</c:v>
                </c:pt>
                <c:pt idx="8319">
                  <c:v>6.0360569296687689</c:v>
                </c:pt>
                <c:pt idx="8320">
                  <c:v>5.1274816528701637</c:v>
                </c:pt>
                <c:pt idx="8321">
                  <c:v>6.1150311934382913</c:v>
                </c:pt>
                <c:pt idx="8322">
                  <c:v>5.9721212366262506</c:v>
                </c:pt>
                <c:pt idx="8323">
                  <c:v>6.0057748080642686</c:v>
                </c:pt>
                <c:pt idx="8324">
                  <c:v>4.9975830533018764</c:v>
                </c:pt>
                <c:pt idx="8325">
                  <c:v>6.0439514867112818</c:v>
                </c:pt>
                <c:pt idx="8326">
                  <c:v>5.0254827994075741</c:v>
                </c:pt>
                <c:pt idx="8327">
                  <c:v>4.956823509775349</c:v>
                </c:pt>
                <c:pt idx="8328">
                  <c:v>6.0628524548768352</c:v>
                </c:pt>
                <c:pt idx="8329">
                  <c:v>6.0775040631188748</c:v>
                </c:pt>
                <c:pt idx="8330">
                  <c:v>5.9807209211017591</c:v>
                </c:pt>
                <c:pt idx="8331">
                  <c:v>5.9421818775043906</c:v>
                </c:pt>
                <c:pt idx="8332">
                  <c:v>5.0383285633740353</c:v>
                </c:pt>
                <c:pt idx="8333">
                  <c:v>6.0695997423545762</c:v>
                </c:pt>
                <c:pt idx="8334">
                  <c:v>4.8745859031639442</c:v>
                </c:pt>
                <c:pt idx="8335">
                  <c:v>6.0604479351890008</c:v>
                </c:pt>
                <c:pt idx="8336">
                  <c:v>5.9977071601793321</c:v>
                </c:pt>
                <c:pt idx="8337">
                  <c:v>5.9722255779114812</c:v>
                </c:pt>
                <c:pt idx="8338">
                  <c:v>6.9024080080011263</c:v>
                </c:pt>
                <c:pt idx="8339">
                  <c:v>6.9969282137367692</c:v>
                </c:pt>
                <c:pt idx="8340">
                  <c:v>5.0854687191025079</c:v>
                </c:pt>
                <c:pt idx="8341">
                  <c:v>5.0836999098375966</c:v>
                </c:pt>
                <c:pt idx="8342">
                  <c:v>4.969528669710396</c:v>
                </c:pt>
                <c:pt idx="8343">
                  <c:v>6.0352003377394166</c:v>
                </c:pt>
                <c:pt idx="8344">
                  <c:v>6.0824570544468948</c:v>
                </c:pt>
                <c:pt idx="8345">
                  <c:v>5.8829840238564213</c:v>
                </c:pt>
                <c:pt idx="8346">
                  <c:v>4.9574405744097474</c:v>
                </c:pt>
                <c:pt idx="8347">
                  <c:v>5.0755658515817936</c:v>
                </c:pt>
                <c:pt idx="8348">
                  <c:v>4.855259562307503</c:v>
                </c:pt>
                <c:pt idx="8349">
                  <c:v>6.0217987549128207</c:v>
                </c:pt>
                <c:pt idx="8350">
                  <c:v>5.9988297856030526</c:v>
                </c:pt>
                <c:pt idx="8351">
                  <c:v>5.1563048799378297</c:v>
                </c:pt>
                <c:pt idx="8352">
                  <c:v>5.9433938649393978</c:v>
                </c:pt>
                <c:pt idx="8353">
                  <c:v>6.9076510770513284</c:v>
                </c:pt>
                <c:pt idx="8354">
                  <c:v>5.8075171840040998</c:v>
                </c:pt>
                <c:pt idx="8355">
                  <c:v>6.0315544958587406</c:v>
                </c:pt>
                <c:pt idx="8356">
                  <c:v>5.0145011329794205</c:v>
                </c:pt>
                <c:pt idx="8357">
                  <c:v>6.9039166881478806</c:v>
                </c:pt>
                <c:pt idx="8358">
                  <c:v>6.0250203006964869</c:v>
                </c:pt>
                <c:pt idx="8359">
                  <c:v>8.0161164405713379</c:v>
                </c:pt>
                <c:pt idx="8360">
                  <c:v>6.0818031036852167</c:v>
                </c:pt>
                <c:pt idx="8361">
                  <c:v>4.887499664302025</c:v>
                </c:pt>
                <c:pt idx="8362">
                  <c:v>6.9313795523005615</c:v>
                </c:pt>
                <c:pt idx="8363">
                  <c:v>6.0170371838727208</c:v>
                </c:pt>
                <c:pt idx="8364">
                  <c:v>7.0802126012999738</c:v>
                </c:pt>
                <c:pt idx="8365">
                  <c:v>6.9951577281652995</c:v>
                </c:pt>
                <c:pt idx="8366">
                  <c:v>6.071619013429034</c:v>
                </c:pt>
                <c:pt idx="8367">
                  <c:v>4.9997021008144129</c:v>
                </c:pt>
                <c:pt idx="8368">
                  <c:v>4.9358564833773855</c:v>
                </c:pt>
                <c:pt idx="8369">
                  <c:v>5.0085878066907243</c:v>
                </c:pt>
                <c:pt idx="8370">
                  <c:v>6.0573320435501712</c:v>
                </c:pt>
                <c:pt idx="8371">
                  <c:v>7.1684966737004334</c:v>
                </c:pt>
                <c:pt idx="8372">
                  <c:v>5.0361709448734029</c:v>
                </c:pt>
                <c:pt idx="8373">
                  <c:v>4.9571715278883284</c:v>
                </c:pt>
                <c:pt idx="8374">
                  <c:v>5.1010918992442944</c:v>
                </c:pt>
                <c:pt idx="8375">
                  <c:v>6.0700602808607513</c:v>
                </c:pt>
                <c:pt idx="8376">
                  <c:v>4.9655565332498925</c:v>
                </c:pt>
                <c:pt idx="8377">
                  <c:v>6.0193835910008016</c:v>
                </c:pt>
                <c:pt idx="8378">
                  <c:v>5.0684851902165144</c:v>
                </c:pt>
                <c:pt idx="8379">
                  <c:v>4.8966370182114938</c:v>
                </c:pt>
                <c:pt idx="8380">
                  <c:v>6.0697033374230216</c:v>
                </c:pt>
                <c:pt idx="8381">
                  <c:v>5.0883686542445483</c:v>
                </c:pt>
                <c:pt idx="8382">
                  <c:v>6.1399870846551057</c:v>
                </c:pt>
                <c:pt idx="8383">
                  <c:v>6.1251094145456584</c:v>
                </c:pt>
                <c:pt idx="8384">
                  <c:v>4.9048432884000013</c:v>
                </c:pt>
                <c:pt idx="8385">
                  <c:v>4.8555876780388694</c:v>
                </c:pt>
                <c:pt idx="8386">
                  <c:v>4.9647016245847926</c:v>
                </c:pt>
                <c:pt idx="8387">
                  <c:v>5.9248180438453373</c:v>
                </c:pt>
                <c:pt idx="8388">
                  <c:v>6.0888091189287605</c:v>
                </c:pt>
                <c:pt idx="8389">
                  <c:v>5.0133356290977638</c:v>
                </c:pt>
                <c:pt idx="8390">
                  <c:v>6.9417349596007876</c:v>
                </c:pt>
                <c:pt idx="8391">
                  <c:v>4.8515676300715755</c:v>
                </c:pt>
                <c:pt idx="8392">
                  <c:v>5.9272430818461261</c:v>
                </c:pt>
                <c:pt idx="8393">
                  <c:v>6.168473760751513</c:v>
                </c:pt>
                <c:pt idx="8394">
                  <c:v>6.0719374331200013</c:v>
                </c:pt>
                <c:pt idx="8395">
                  <c:v>4.8745712287886676</c:v>
                </c:pt>
                <c:pt idx="8396">
                  <c:v>6.0519987591805231</c:v>
                </c:pt>
                <c:pt idx="8397">
                  <c:v>5.8966476579568363</c:v>
                </c:pt>
                <c:pt idx="8398">
                  <c:v>5.0537601494910449</c:v>
                </c:pt>
                <c:pt idx="8399">
                  <c:v>5.869660044806853</c:v>
                </c:pt>
                <c:pt idx="8400">
                  <c:v>5.0476927604804533</c:v>
                </c:pt>
                <c:pt idx="8401">
                  <c:v>4.8925944082996526</c:v>
                </c:pt>
                <c:pt idx="8402">
                  <c:v>5.0608333113695778</c:v>
                </c:pt>
                <c:pt idx="8403">
                  <c:v>5.0720184712918002</c:v>
                </c:pt>
                <c:pt idx="8404">
                  <c:v>5.135206977691154</c:v>
                </c:pt>
                <c:pt idx="8405">
                  <c:v>4.8679321091712149</c:v>
                </c:pt>
                <c:pt idx="8406">
                  <c:v>5.9523994092156709</c:v>
                </c:pt>
                <c:pt idx="8407">
                  <c:v>6.9399706974514688</c:v>
                </c:pt>
                <c:pt idx="8408">
                  <c:v>4.8810406388235243</c:v>
                </c:pt>
                <c:pt idx="8409">
                  <c:v>4.0835238100977529</c:v>
                </c:pt>
                <c:pt idx="8410">
                  <c:v>6.1266137160839236</c:v>
                </c:pt>
                <c:pt idx="8411">
                  <c:v>4.8689226380245181</c:v>
                </c:pt>
                <c:pt idx="8412">
                  <c:v>5.1828659883277526</c:v>
                </c:pt>
                <c:pt idx="8413">
                  <c:v>6.0145644683084649</c:v>
                </c:pt>
                <c:pt idx="8414">
                  <c:v>4.950551457549258</c:v>
                </c:pt>
                <c:pt idx="8415">
                  <c:v>6.1397933507809963</c:v>
                </c:pt>
                <c:pt idx="8416">
                  <c:v>6.2964407290617856</c:v>
                </c:pt>
                <c:pt idx="8417">
                  <c:v>4.7992066709613272</c:v>
                </c:pt>
                <c:pt idx="8418">
                  <c:v>3.8900535100390088</c:v>
                </c:pt>
                <c:pt idx="8419">
                  <c:v>6.0262754214102596</c:v>
                </c:pt>
                <c:pt idx="8420">
                  <c:v>5.1181390666565934</c:v>
                </c:pt>
                <c:pt idx="8421">
                  <c:v>7.0463807044342603</c:v>
                </c:pt>
                <c:pt idx="8422">
                  <c:v>5.7584213857241373</c:v>
                </c:pt>
                <c:pt idx="8423">
                  <c:v>6.1694250196514204</c:v>
                </c:pt>
                <c:pt idx="8424">
                  <c:v>4.8148200524877822</c:v>
                </c:pt>
                <c:pt idx="8425">
                  <c:v>6.1179431868459977</c:v>
                </c:pt>
                <c:pt idx="8426">
                  <c:v>5.9915284794755772</c:v>
                </c:pt>
                <c:pt idx="8427">
                  <c:v>5.0375538454487296</c:v>
                </c:pt>
                <c:pt idx="8428">
                  <c:v>5.9969964335425425</c:v>
                </c:pt>
                <c:pt idx="8429">
                  <c:v>5.0200375829902484</c:v>
                </c:pt>
                <c:pt idx="8430">
                  <c:v>4.8271393110258751</c:v>
                </c:pt>
                <c:pt idx="8431">
                  <c:v>5.9000294575267445</c:v>
                </c:pt>
                <c:pt idx="8432">
                  <c:v>6.7260455885067945</c:v>
                </c:pt>
                <c:pt idx="8433">
                  <c:v>5.8692210628372976</c:v>
                </c:pt>
                <c:pt idx="8434">
                  <c:v>5.8629277314924177</c:v>
                </c:pt>
                <c:pt idx="8435">
                  <c:v>5.0863783258574067</c:v>
                </c:pt>
                <c:pt idx="8436">
                  <c:v>5.1573212273245135</c:v>
                </c:pt>
                <c:pt idx="8437">
                  <c:v>4.9844936186214701</c:v>
                </c:pt>
                <c:pt idx="8438">
                  <c:v>4.7816578483354952</c:v>
                </c:pt>
                <c:pt idx="8439">
                  <c:v>5.9539730228955516</c:v>
                </c:pt>
                <c:pt idx="8440">
                  <c:v>7.0280855185936204</c:v>
                </c:pt>
                <c:pt idx="8441">
                  <c:v>5.0759769188738488</c:v>
                </c:pt>
                <c:pt idx="8442">
                  <c:v>4.947753908883727</c:v>
                </c:pt>
                <c:pt idx="8443">
                  <c:v>5.9164175743795191</c:v>
                </c:pt>
                <c:pt idx="8444">
                  <c:v>7.199007151072661</c:v>
                </c:pt>
                <c:pt idx="8445">
                  <c:v>6.1028715367883128</c:v>
                </c:pt>
                <c:pt idx="8446">
                  <c:v>4.9955977220519605</c:v>
                </c:pt>
                <c:pt idx="8447">
                  <c:v>5.0222017825431138</c:v>
                </c:pt>
                <c:pt idx="8448">
                  <c:v>4.9746747784339789</c:v>
                </c:pt>
                <c:pt idx="8449">
                  <c:v>6.8755659079461298</c:v>
                </c:pt>
                <c:pt idx="8450">
                  <c:v>4.9794241876066163</c:v>
                </c:pt>
                <c:pt idx="8451">
                  <c:v>4.9478154039826565</c:v>
                </c:pt>
                <c:pt idx="8452">
                  <c:v>6.0380318387086884</c:v>
                </c:pt>
                <c:pt idx="8453">
                  <c:v>5.9862745519037572</c:v>
                </c:pt>
                <c:pt idx="8454">
                  <c:v>4.9972658301704822</c:v>
                </c:pt>
                <c:pt idx="8455">
                  <c:v>7.089927392172056</c:v>
                </c:pt>
                <c:pt idx="8456">
                  <c:v>6.0247190277757534</c:v>
                </c:pt>
                <c:pt idx="8457">
                  <c:v>4.9986548256221939</c:v>
                </c:pt>
                <c:pt idx="8458">
                  <c:v>4.8390491097120689</c:v>
                </c:pt>
                <c:pt idx="8459">
                  <c:v>6.035716122251011</c:v>
                </c:pt>
                <c:pt idx="8460">
                  <c:v>5.0861412904923373</c:v>
                </c:pt>
                <c:pt idx="8461">
                  <c:v>5.9174921500095747</c:v>
                </c:pt>
                <c:pt idx="8462">
                  <c:v>5.9056484856872711</c:v>
                </c:pt>
                <c:pt idx="8463">
                  <c:v>5.0112023051003574</c:v>
                </c:pt>
                <c:pt idx="8464">
                  <c:v>5.9220935369785703</c:v>
                </c:pt>
                <c:pt idx="8465">
                  <c:v>5.9411351653439173</c:v>
                </c:pt>
                <c:pt idx="8466">
                  <c:v>6.0728718591076642</c:v>
                </c:pt>
                <c:pt idx="8467">
                  <c:v>6.0901143526020851</c:v>
                </c:pt>
                <c:pt idx="8468">
                  <c:v>4.99477461420806</c:v>
                </c:pt>
                <c:pt idx="8469">
                  <c:v>6.9704571303990672</c:v>
                </c:pt>
                <c:pt idx="8470">
                  <c:v>4.8916165522427457</c:v>
                </c:pt>
                <c:pt idx="8471">
                  <c:v>5.957532193915867</c:v>
                </c:pt>
                <c:pt idx="8472">
                  <c:v>5.0945851061254164</c:v>
                </c:pt>
                <c:pt idx="8473">
                  <c:v>4.8957330816301399</c:v>
                </c:pt>
                <c:pt idx="8474">
                  <c:v>7.2480247429899567</c:v>
                </c:pt>
                <c:pt idx="8475">
                  <c:v>5.0032820114672205</c:v>
                </c:pt>
                <c:pt idx="8476">
                  <c:v>5.1760114915091036</c:v>
                </c:pt>
                <c:pt idx="8477">
                  <c:v>4.8531420505292697</c:v>
                </c:pt>
                <c:pt idx="8478">
                  <c:v>5.9059235605526563</c:v>
                </c:pt>
                <c:pt idx="8479">
                  <c:v>6.8915612739229202</c:v>
                </c:pt>
                <c:pt idx="8480">
                  <c:v>6.057426405132956</c:v>
                </c:pt>
                <c:pt idx="8481">
                  <c:v>5.9952644698700759</c:v>
                </c:pt>
                <c:pt idx="8482">
                  <c:v>6.0542105534794421</c:v>
                </c:pt>
                <c:pt idx="8483">
                  <c:v>5.0348997772733091</c:v>
                </c:pt>
                <c:pt idx="8484">
                  <c:v>5.0052852567145969</c:v>
                </c:pt>
                <c:pt idx="8485">
                  <c:v>4.955046867032725</c:v>
                </c:pt>
                <c:pt idx="8486">
                  <c:v>5.1044850954708707</c:v>
                </c:pt>
                <c:pt idx="8487">
                  <c:v>7.0354745272928536</c:v>
                </c:pt>
                <c:pt idx="8488">
                  <c:v>4.9882410729916522</c:v>
                </c:pt>
                <c:pt idx="8489">
                  <c:v>6.1301897235737721</c:v>
                </c:pt>
                <c:pt idx="8490">
                  <c:v>6.1321000812719682</c:v>
                </c:pt>
                <c:pt idx="8491">
                  <c:v>7.0631491197493759</c:v>
                </c:pt>
                <c:pt idx="8492">
                  <c:v>5.0071907716956581</c:v>
                </c:pt>
                <c:pt idx="8493">
                  <c:v>6.9550331322446617</c:v>
                </c:pt>
                <c:pt idx="8494">
                  <c:v>5.9509086869235883</c:v>
                </c:pt>
                <c:pt idx="8495">
                  <c:v>6.0276186071042925</c:v>
                </c:pt>
                <c:pt idx="8496">
                  <c:v>4.8626922835793449</c:v>
                </c:pt>
                <c:pt idx="8497">
                  <c:v>4.9196893040611211</c:v>
                </c:pt>
                <c:pt idx="8498">
                  <c:v>5.869682086466713</c:v>
                </c:pt>
                <c:pt idx="8499">
                  <c:v>5.8621610564127682</c:v>
                </c:pt>
                <c:pt idx="8500">
                  <c:v>6.065741953203756</c:v>
                </c:pt>
                <c:pt idx="8501">
                  <c:v>5.0894101952771997</c:v>
                </c:pt>
                <c:pt idx="8502">
                  <c:v>6.0100293631448665</c:v>
                </c:pt>
                <c:pt idx="8503">
                  <c:v>5.9338840230283223</c:v>
                </c:pt>
                <c:pt idx="8504">
                  <c:v>5.9480451451567413</c:v>
                </c:pt>
                <c:pt idx="8505">
                  <c:v>5.0253019955808664</c:v>
                </c:pt>
                <c:pt idx="8506">
                  <c:v>6.0494572754017053</c:v>
                </c:pt>
                <c:pt idx="8507">
                  <c:v>7.1222097946486871</c:v>
                </c:pt>
                <c:pt idx="8508">
                  <c:v>5.9829561160198166</c:v>
                </c:pt>
                <c:pt idx="8509">
                  <c:v>5.1580939563460904</c:v>
                </c:pt>
                <c:pt idx="8510">
                  <c:v>5.9887823372651461</c:v>
                </c:pt>
                <c:pt idx="8511">
                  <c:v>4.8725516509146294</c:v>
                </c:pt>
                <c:pt idx="8512">
                  <c:v>4.9569866934828175</c:v>
                </c:pt>
                <c:pt idx="8513">
                  <c:v>5.1396920501312273</c:v>
                </c:pt>
                <c:pt idx="8514">
                  <c:v>5.7491350238568799</c:v>
                </c:pt>
                <c:pt idx="8515">
                  <c:v>5.8316753543084872</c:v>
                </c:pt>
                <c:pt idx="8516">
                  <c:v>5.0139568398412244</c:v>
                </c:pt>
                <c:pt idx="8517">
                  <c:v>5.9483319156801349</c:v>
                </c:pt>
                <c:pt idx="8518">
                  <c:v>5.0520403027584102</c:v>
                </c:pt>
                <c:pt idx="8519">
                  <c:v>5.9394605026246916</c:v>
                </c:pt>
                <c:pt idx="8520">
                  <c:v>5.8122286082138315</c:v>
                </c:pt>
                <c:pt idx="8521">
                  <c:v>5.1053903529855784</c:v>
                </c:pt>
                <c:pt idx="8522">
                  <c:v>5.88093680910346</c:v>
                </c:pt>
                <c:pt idx="8523">
                  <c:v>5.9436708520492232</c:v>
                </c:pt>
                <c:pt idx="8524">
                  <c:v>5.0166028619299121</c:v>
                </c:pt>
                <c:pt idx="8525">
                  <c:v>6.0750062573110943</c:v>
                </c:pt>
                <c:pt idx="8526">
                  <c:v>6.2196592686157999</c:v>
                </c:pt>
                <c:pt idx="8527">
                  <c:v>4.9125818249519391</c:v>
                </c:pt>
                <c:pt idx="8528">
                  <c:v>5.7757698626418783</c:v>
                </c:pt>
                <c:pt idx="8529">
                  <c:v>6.0608404896367079</c:v>
                </c:pt>
                <c:pt idx="8530">
                  <c:v>4.7927533100535715</c:v>
                </c:pt>
                <c:pt idx="8531">
                  <c:v>5.9031604303762384</c:v>
                </c:pt>
                <c:pt idx="8532">
                  <c:v>5.9574479208324247</c:v>
                </c:pt>
                <c:pt idx="8533">
                  <c:v>6.1574503379014285</c:v>
                </c:pt>
                <c:pt idx="8534">
                  <c:v>6.0606048711841209</c:v>
                </c:pt>
                <c:pt idx="8535">
                  <c:v>4.9533925321028613</c:v>
                </c:pt>
                <c:pt idx="8536">
                  <c:v>6.1022201325218486</c:v>
                </c:pt>
                <c:pt idx="8537">
                  <c:v>5.9449770259181278</c:v>
                </c:pt>
                <c:pt idx="8538">
                  <c:v>5.9560696057632425</c:v>
                </c:pt>
                <c:pt idx="8539">
                  <c:v>6.0123837565117757</c:v>
                </c:pt>
                <c:pt idx="8540">
                  <c:v>6.0404503470295925</c:v>
                </c:pt>
                <c:pt idx="8541">
                  <c:v>5.0311850150327979</c:v>
                </c:pt>
                <c:pt idx="8542">
                  <c:v>4.8491887394080715</c:v>
                </c:pt>
                <c:pt idx="8543">
                  <c:v>4.8641093543547393</c:v>
                </c:pt>
                <c:pt idx="8544">
                  <c:v>5.0680399102313398</c:v>
                </c:pt>
                <c:pt idx="8545">
                  <c:v>5.0205058813279742</c:v>
                </c:pt>
                <c:pt idx="8546">
                  <c:v>5.1412044160518153</c:v>
                </c:pt>
                <c:pt idx="8547">
                  <c:v>6.9891059872612127</c:v>
                </c:pt>
                <c:pt idx="8548">
                  <c:v>4.7801500537714041</c:v>
                </c:pt>
                <c:pt idx="8549">
                  <c:v>5.9210586381306953</c:v>
                </c:pt>
                <c:pt idx="8550">
                  <c:v>4.8638144609490226</c:v>
                </c:pt>
                <c:pt idx="8551">
                  <c:v>6.0002482985687422</c:v>
                </c:pt>
                <c:pt idx="8552">
                  <c:v>4.8210883674399492</c:v>
                </c:pt>
                <c:pt idx="8553">
                  <c:v>5.9901104151713014</c:v>
                </c:pt>
                <c:pt idx="8554">
                  <c:v>5.9613952605016634</c:v>
                </c:pt>
                <c:pt idx="8555">
                  <c:v>5.9388808969937132</c:v>
                </c:pt>
                <c:pt idx="8556">
                  <c:v>6.0982607688891086</c:v>
                </c:pt>
                <c:pt idx="8557">
                  <c:v>5.0449442335643857</c:v>
                </c:pt>
                <c:pt idx="8558">
                  <c:v>6.0180041620698255</c:v>
                </c:pt>
                <c:pt idx="8559">
                  <c:v>6.929556398547299</c:v>
                </c:pt>
                <c:pt idx="8560">
                  <c:v>6.8875017197644999</c:v>
                </c:pt>
                <c:pt idx="8561">
                  <c:v>5.9047900510768034</c:v>
                </c:pt>
                <c:pt idx="8562">
                  <c:v>5.9487223407979677</c:v>
                </c:pt>
                <c:pt idx="8563">
                  <c:v>5.7826124510860231</c:v>
                </c:pt>
                <c:pt idx="8564">
                  <c:v>6.0989019644425948</c:v>
                </c:pt>
                <c:pt idx="8565">
                  <c:v>5.7743466377492929</c:v>
                </c:pt>
                <c:pt idx="8566">
                  <c:v>5.1585015571284378</c:v>
                </c:pt>
                <c:pt idx="8567">
                  <c:v>7.0375009328504845</c:v>
                </c:pt>
                <c:pt idx="8568">
                  <c:v>6.0289355628872823</c:v>
                </c:pt>
                <c:pt idx="8569">
                  <c:v>5.017452815858797</c:v>
                </c:pt>
                <c:pt idx="8570">
                  <c:v>6.9290530411709792</c:v>
                </c:pt>
                <c:pt idx="8571">
                  <c:v>5.8184739555928324</c:v>
                </c:pt>
                <c:pt idx="8572">
                  <c:v>5.9809417238868141</c:v>
                </c:pt>
                <c:pt idx="8573">
                  <c:v>6.992131138200353</c:v>
                </c:pt>
                <c:pt idx="8574">
                  <c:v>6.9407033552503181</c:v>
                </c:pt>
                <c:pt idx="8575">
                  <c:v>4.8624676122513586</c:v>
                </c:pt>
                <c:pt idx="8576">
                  <c:v>5.9378672015740301</c:v>
                </c:pt>
                <c:pt idx="8577">
                  <c:v>4.9511479679543617</c:v>
                </c:pt>
                <c:pt idx="8578">
                  <c:v>5.9286127924321299</c:v>
                </c:pt>
                <c:pt idx="8579">
                  <c:v>5.9710268131083311</c:v>
                </c:pt>
                <c:pt idx="8580">
                  <c:v>6.0184441062303442</c:v>
                </c:pt>
                <c:pt idx="8581">
                  <c:v>4.9185985105511421</c:v>
                </c:pt>
                <c:pt idx="8582">
                  <c:v>5.0014592926313179</c:v>
                </c:pt>
                <c:pt idx="8583">
                  <c:v>5.9964212121604978</c:v>
                </c:pt>
                <c:pt idx="8584">
                  <c:v>5.1077308589513892</c:v>
                </c:pt>
                <c:pt idx="8585">
                  <c:v>4.900700139080798</c:v>
                </c:pt>
                <c:pt idx="8586">
                  <c:v>5.9230946453366222</c:v>
                </c:pt>
                <c:pt idx="8587">
                  <c:v>4.9326291169248186</c:v>
                </c:pt>
                <c:pt idx="8588">
                  <c:v>5.9503585484285137</c:v>
                </c:pt>
                <c:pt idx="8589">
                  <c:v>4.9339476640000699</c:v>
                </c:pt>
                <c:pt idx="8590">
                  <c:v>4.8793195426325209</c:v>
                </c:pt>
                <c:pt idx="8591">
                  <c:v>4.8313362975865504</c:v>
                </c:pt>
                <c:pt idx="8592">
                  <c:v>6.0233387591728356</c:v>
                </c:pt>
                <c:pt idx="8593">
                  <c:v>5.9771513796506435</c:v>
                </c:pt>
                <c:pt idx="8594">
                  <c:v>6.1422134121900349</c:v>
                </c:pt>
                <c:pt idx="8595">
                  <c:v>6.0671391626813991</c:v>
                </c:pt>
                <c:pt idx="8596">
                  <c:v>5.8238988564443597</c:v>
                </c:pt>
                <c:pt idx="8597">
                  <c:v>5.9535872782915407</c:v>
                </c:pt>
                <c:pt idx="8598">
                  <c:v>4.8916242614744094</c:v>
                </c:pt>
                <c:pt idx="8599">
                  <c:v>5.0683839218903897</c:v>
                </c:pt>
                <c:pt idx="8600">
                  <c:v>5.0886610095048415</c:v>
                </c:pt>
                <c:pt idx="8601">
                  <c:v>5.868133008005251</c:v>
                </c:pt>
                <c:pt idx="8602">
                  <c:v>4.8752089656322797</c:v>
                </c:pt>
                <c:pt idx="8603">
                  <c:v>4.9801703881267514</c:v>
                </c:pt>
                <c:pt idx="8604">
                  <c:v>5.047379651504845</c:v>
                </c:pt>
                <c:pt idx="8605">
                  <c:v>5.9541885259007961</c:v>
                </c:pt>
                <c:pt idx="8606">
                  <c:v>6.0847925033940298</c:v>
                </c:pt>
                <c:pt idx="8607">
                  <c:v>6.1556174026480823</c:v>
                </c:pt>
                <c:pt idx="8608">
                  <c:v>5.9962602955619992</c:v>
                </c:pt>
                <c:pt idx="8609">
                  <c:v>4.7409337947665042</c:v>
                </c:pt>
                <c:pt idx="8610">
                  <c:v>5.0173343509421207</c:v>
                </c:pt>
                <c:pt idx="8611">
                  <c:v>5.9509534591893782</c:v>
                </c:pt>
                <c:pt idx="8612">
                  <c:v>6.0307781490331331</c:v>
                </c:pt>
                <c:pt idx="8613">
                  <c:v>6.1385520830172489</c:v>
                </c:pt>
                <c:pt idx="8614">
                  <c:v>6.0843995555632828</c:v>
                </c:pt>
                <c:pt idx="8615">
                  <c:v>4.9893033416304355</c:v>
                </c:pt>
                <c:pt idx="8616">
                  <c:v>5.993210090426266</c:v>
                </c:pt>
                <c:pt idx="8617">
                  <c:v>5.8275630116927291</c:v>
                </c:pt>
                <c:pt idx="8618">
                  <c:v>6.0822023407569867</c:v>
                </c:pt>
                <c:pt idx="8619">
                  <c:v>6.2093786217615614</c:v>
                </c:pt>
                <c:pt idx="8620">
                  <c:v>6.0873942007253579</c:v>
                </c:pt>
                <c:pt idx="8621">
                  <c:v>5.958363090853493</c:v>
                </c:pt>
                <c:pt idx="8622">
                  <c:v>6.1819297956984451</c:v>
                </c:pt>
                <c:pt idx="8623">
                  <c:v>5.1545246526787514</c:v>
                </c:pt>
                <c:pt idx="8624">
                  <c:v>6.1228947717505156</c:v>
                </c:pt>
                <c:pt idx="8625">
                  <c:v>3.8705533601701667</c:v>
                </c:pt>
                <c:pt idx="8626">
                  <c:v>5.8907487949490349</c:v>
                </c:pt>
                <c:pt idx="8627">
                  <c:v>3.9581518476929074</c:v>
                </c:pt>
                <c:pt idx="8628">
                  <c:v>4.9973305855970596</c:v>
                </c:pt>
                <c:pt idx="8629">
                  <c:v>4.8562839530065007</c:v>
                </c:pt>
                <c:pt idx="8630">
                  <c:v>6.0342497392589376</c:v>
                </c:pt>
                <c:pt idx="8631">
                  <c:v>5.1444344364263968</c:v>
                </c:pt>
                <c:pt idx="8632">
                  <c:v>5.0135507553576337</c:v>
                </c:pt>
                <c:pt idx="8633">
                  <c:v>5.0184820779842703</c:v>
                </c:pt>
                <c:pt idx="8634">
                  <c:v>5.95528005533897</c:v>
                </c:pt>
                <c:pt idx="8635">
                  <c:v>5.1872344375186108</c:v>
                </c:pt>
                <c:pt idx="8636">
                  <c:v>5.95584709534839</c:v>
                </c:pt>
                <c:pt idx="8637">
                  <c:v>5.9773375249643577</c:v>
                </c:pt>
                <c:pt idx="8638">
                  <c:v>4.9987895675907552</c:v>
                </c:pt>
                <c:pt idx="8639">
                  <c:v>5.0554859135195276</c:v>
                </c:pt>
                <c:pt idx="8640">
                  <c:v>5.1284486106839378</c:v>
                </c:pt>
                <c:pt idx="8641">
                  <c:v>5.9187635528354097</c:v>
                </c:pt>
                <c:pt idx="8642">
                  <c:v>6.0401102575647414</c:v>
                </c:pt>
                <c:pt idx="8643">
                  <c:v>6.2382700098573434</c:v>
                </c:pt>
                <c:pt idx="8644">
                  <c:v>5.9483781355933045</c:v>
                </c:pt>
                <c:pt idx="8645">
                  <c:v>5.92315099886223</c:v>
                </c:pt>
                <c:pt idx="8646">
                  <c:v>6.0536298071858869</c:v>
                </c:pt>
                <c:pt idx="8647">
                  <c:v>4.925184013996037</c:v>
                </c:pt>
                <c:pt idx="8648">
                  <c:v>6.1382335739421396</c:v>
                </c:pt>
                <c:pt idx="8649">
                  <c:v>5.9769882454314143</c:v>
                </c:pt>
                <c:pt idx="8650">
                  <c:v>5.2120347337745265</c:v>
                </c:pt>
                <c:pt idx="8651">
                  <c:v>5.7997625271751474</c:v>
                </c:pt>
                <c:pt idx="8652">
                  <c:v>6.1054279427430345</c:v>
                </c:pt>
                <c:pt idx="8653">
                  <c:v>5.9907758332111962</c:v>
                </c:pt>
                <c:pt idx="8654">
                  <c:v>5.019051008754766</c:v>
                </c:pt>
                <c:pt idx="8655">
                  <c:v>5.0440730930592315</c:v>
                </c:pt>
                <c:pt idx="8656">
                  <c:v>4.9065353737814483</c:v>
                </c:pt>
                <c:pt idx="8657">
                  <c:v>6.0416410880671947</c:v>
                </c:pt>
                <c:pt idx="8658">
                  <c:v>6.0350703922922149</c:v>
                </c:pt>
                <c:pt idx="8659">
                  <c:v>4.9333776203696651</c:v>
                </c:pt>
                <c:pt idx="8660">
                  <c:v>6.2218547562967386</c:v>
                </c:pt>
                <c:pt idx="8661">
                  <c:v>6.0414465260995218</c:v>
                </c:pt>
                <c:pt idx="8662">
                  <c:v>6.0488575517084575</c:v>
                </c:pt>
                <c:pt idx="8663">
                  <c:v>6.0075321424498371</c:v>
                </c:pt>
                <c:pt idx="8664">
                  <c:v>4.9850299860935241</c:v>
                </c:pt>
                <c:pt idx="8665">
                  <c:v>7.07876628249217</c:v>
                </c:pt>
                <c:pt idx="8666">
                  <c:v>5.8820148425571208</c:v>
                </c:pt>
                <c:pt idx="8667">
                  <c:v>6.0431323023552652</c:v>
                </c:pt>
                <c:pt idx="8668">
                  <c:v>5.9143244638126538</c:v>
                </c:pt>
                <c:pt idx="8669">
                  <c:v>6.9478175409705658</c:v>
                </c:pt>
                <c:pt idx="8670">
                  <c:v>6.0543076176858506</c:v>
                </c:pt>
                <c:pt idx="8671">
                  <c:v>5.8653789420236375</c:v>
                </c:pt>
                <c:pt idx="8672">
                  <c:v>5.0893853893104053</c:v>
                </c:pt>
                <c:pt idx="8673">
                  <c:v>5.9073699102402371</c:v>
                </c:pt>
                <c:pt idx="8674">
                  <c:v>4.953087101344833</c:v>
                </c:pt>
                <c:pt idx="8675">
                  <c:v>5.8887192381777806</c:v>
                </c:pt>
                <c:pt idx="8676">
                  <c:v>5.8742626206037682</c:v>
                </c:pt>
                <c:pt idx="8677">
                  <c:v>6.0596234434833969</c:v>
                </c:pt>
                <c:pt idx="8678">
                  <c:v>6.0926463908066228</c:v>
                </c:pt>
                <c:pt idx="8679">
                  <c:v>4.9139183759319272</c:v>
                </c:pt>
                <c:pt idx="8680">
                  <c:v>4.8092725837128043</c:v>
                </c:pt>
                <c:pt idx="8681">
                  <c:v>5.9250031964894827</c:v>
                </c:pt>
                <c:pt idx="8682">
                  <c:v>7.2536942339240156</c:v>
                </c:pt>
                <c:pt idx="8683">
                  <c:v>5.8946551710303803</c:v>
                </c:pt>
                <c:pt idx="8684">
                  <c:v>6.0057955267584582</c:v>
                </c:pt>
                <c:pt idx="8685">
                  <c:v>6.0374484794512151</c:v>
                </c:pt>
                <c:pt idx="8686">
                  <c:v>5.0164125271849951</c:v>
                </c:pt>
                <c:pt idx="8687">
                  <c:v>4.8747725650489082</c:v>
                </c:pt>
                <c:pt idx="8688">
                  <c:v>5.0111548548642428</c:v>
                </c:pt>
                <c:pt idx="8689">
                  <c:v>6.0677613747007477</c:v>
                </c:pt>
                <c:pt idx="8690">
                  <c:v>6.0849809899102691</c:v>
                </c:pt>
                <c:pt idx="8691">
                  <c:v>6.0138145481798766</c:v>
                </c:pt>
                <c:pt idx="8692">
                  <c:v>5.0262065874220339</c:v>
                </c:pt>
                <c:pt idx="8693">
                  <c:v>6.0483182215904439</c:v>
                </c:pt>
                <c:pt idx="8694">
                  <c:v>5.8648152414103825</c:v>
                </c:pt>
                <c:pt idx="8695">
                  <c:v>6.0426848768789707</c:v>
                </c:pt>
                <c:pt idx="8696">
                  <c:v>5.9911409596000977</c:v>
                </c:pt>
                <c:pt idx="8697">
                  <c:v>4.8909034080435969</c:v>
                </c:pt>
                <c:pt idx="8698">
                  <c:v>5.9474943011356602</c:v>
                </c:pt>
                <c:pt idx="8699">
                  <c:v>4.9930257470703516</c:v>
                </c:pt>
                <c:pt idx="8700">
                  <c:v>6.0156267277643183</c:v>
                </c:pt>
                <c:pt idx="8701">
                  <c:v>4.8875072912373918</c:v>
                </c:pt>
                <c:pt idx="8702">
                  <c:v>5.9779436582639915</c:v>
                </c:pt>
                <c:pt idx="8703">
                  <c:v>5.8418072274701096</c:v>
                </c:pt>
                <c:pt idx="8704">
                  <c:v>5.0669583857191967</c:v>
                </c:pt>
                <c:pt idx="8705">
                  <c:v>4.9924745732745981</c:v>
                </c:pt>
                <c:pt idx="8706">
                  <c:v>6.0969154508043495</c:v>
                </c:pt>
                <c:pt idx="8707">
                  <c:v>5.0988492490616215</c:v>
                </c:pt>
                <c:pt idx="8708">
                  <c:v>5.8918431829983273</c:v>
                </c:pt>
                <c:pt idx="8709">
                  <c:v>5.8337357658711886</c:v>
                </c:pt>
                <c:pt idx="8710">
                  <c:v>5.9424382532099731</c:v>
                </c:pt>
                <c:pt idx="8711">
                  <c:v>5.8910263641353255</c:v>
                </c:pt>
                <c:pt idx="8712">
                  <c:v>6.8254504818670556</c:v>
                </c:pt>
                <c:pt idx="8713">
                  <c:v>7.0788322979188747</c:v>
                </c:pt>
                <c:pt idx="8714">
                  <c:v>4.8840959805100219</c:v>
                </c:pt>
                <c:pt idx="8715">
                  <c:v>4.8771433669937148</c:v>
                </c:pt>
                <c:pt idx="8716">
                  <c:v>5.1111986753938536</c:v>
                </c:pt>
                <c:pt idx="8717">
                  <c:v>4.8296682959213983</c:v>
                </c:pt>
                <c:pt idx="8718">
                  <c:v>5.019887631716152</c:v>
                </c:pt>
                <c:pt idx="8719">
                  <c:v>5.862446686844585</c:v>
                </c:pt>
                <c:pt idx="8720">
                  <c:v>5.2247968901342245</c:v>
                </c:pt>
                <c:pt idx="8721">
                  <c:v>5.9803025499358462</c:v>
                </c:pt>
                <c:pt idx="8722">
                  <c:v>5.9979240286093365</c:v>
                </c:pt>
                <c:pt idx="8723">
                  <c:v>5.0025799080902074</c:v>
                </c:pt>
                <c:pt idx="8724">
                  <c:v>5.0287215180118991</c:v>
                </c:pt>
                <c:pt idx="8725">
                  <c:v>6.0740758187940278</c:v>
                </c:pt>
                <c:pt idx="8726">
                  <c:v>5.9899739486462433</c:v>
                </c:pt>
                <c:pt idx="8727">
                  <c:v>6.0811982517110525</c:v>
                </c:pt>
                <c:pt idx="8728">
                  <c:v>6.0828060194702402</c:v>
                </c:pt>
                <c:pt idx="8729">
                  <c:v>4.9520715600068401</c:v>
                </c:pt>
                <c:pt idx="8730">
                  <c:v>5.0866395580895656</c:v>
                </c:pt>
                <c:pt idx="8731">
                  <c:v>4.7938340760952682</c:v>
                </c:pt>
                <c:pt idx="8732">
                  <c:v>5.2833510162991093</c:v>
                </c:pt>
                <c:pt idx="8733">
                  <c:v>4.9470115734526239</c:v>
                </c:pt>
                <c:pt idx="8734">
                  <c:v>6.7908593530327686</c:v>
                </c:pt>
                <c:pt idx="8735">
                  <c:v>5.9405080109278892</c:v>
                </c:pt>
                <c:pt idx="8736">
                  <c:v>5.089007320914579</c:v>
                </c:pt>
                <c:pt idx="8737">
                  <c:v>6.0019491325629222</c:v>
                </c:pt>
                <c:pt idx="8738">
                  <c:v>4.989596858800553</c:v>
                </c:pt>
                <c:pt idx="8739">
                  <c:v>5.0301678715493656</c:v>
                </c:pt>
                <c:pt idx="8740">
                  <c:v>4.9767511993538145</c:v>
                </c:pt>
                <c:pt idx="8741">
                  <c:v>6.0474088616342714</c:v>
                </c:pt>
                <c:pt idx="8742">
                  <c:v>6.042191388702947</c:v>
                </c:pt>
                <c:pt idx="8743">
                  <c:v>5.9217643426612669</c:v>
                </c:pt>
                <c:pt idx="8744">
                  <c:v>6.1419457391407812</c:v>
                </c:pt>
                <c:pt idx="8745">
                  <c:v>5.0444963002974266</c:v>
                </c:pt>
                <c:pt idx="8746">
                  <c:v>5.9306631129215663</c:v>
                </c:pt>
                <c:pt idx="8747">
                  <c:v>5.9132623569798906</c:v>
                </c:pt>
                <c:pt idx="8748">
                  <c:v>4.9852756042166204</c:v>
                </c:pt>
                <c:pt idx="8749">
                  <c:v>5.8714622415564017</c:v>
                </c:pt>
                <c:pt idx="8750">
                  <c:v>6.2289211797650363</c:v>
                </c:pt>
                <c:pt idx="8751">
                  <c:v>5.9844654473586605</c:v>
                </c:pt>
                <c:pt idx="8752">
                  <c:v>5.9291255170167769</c:v>
                </c:pt>
                <c:pt idx="8753">
                  <c:v>5.8813900876621865</c:v>
                </c:pt>
                <c:pt idx="8754">
                  <c:v>5.1219609232308816</c:v>
                </c:pt>
                <c:pt idx="8755">
                  <c:v>4.9453285543364212</c:v>
                </c:pt>
                <c:pt idx="8756">
                  <c:v>6.0189080672336663</c:v>
                </c:pt>
                <c:pt idx="8757">
                  <c:v>5.9421789078271683</c:v>
                </c:pt>
                <c:pt idx="8758">
                  <c:v>4.8970356979421732</c:v>
                </c:pt>
                <c:pt idx="8759">
                  <c:v>6.8773255983059194</c:v>
                </c:pt>
                <c:pt idx="8760">
                  <c:v>5.9695040710112135</c:v>
                </c:pt>
                <c:pt idx="8761">
                  <c:v>6.14962817211428</c:v>
                </c:pt>
                <c:pt idx="8762">
                  <c:v>4.9819399076926256</c:v>
                </c:pt>
                <c:pt idx="8763">
                  <c:v>5.9652062325366852</c:v>
                </c:pt>
                <c:pt idx="8764">
                  <c:v>5.1624853106710216</c:v>
                </c:pt>
                <c:pt idx="8765">
                  <c:v>4.8096400088246662</c:v>
                </c:pt>
                <c:pt idx="8766">
                  <c:v>3.9514521768821487</c:v>
                </c:pt>
                <c:pt idx="8767">
                  <c:v>5.9764553667764062</c:v>
                </c:pt>
                <c:pt idx="8768">
                  <c:v>4.8735824614327798</c:v>
                </c:pt>
                <c:pt idx="8769">
                  <c:v>4.9811409956019279</c:v>
                </c:pt>
                <c:pt idx="8770">
                  <c:v>6.1105470334615504</c:v>
                </c:pt>
                <c:pt idx="8771">
                  <c:v>3.9865194874625054</c:v>
                </c:pt>
                <c:pt idx="8772">
                  <c:v>6.0771009281107959</c:v>
                </c:pt>
                <c:pt idx="8773">
                  <c:v>5.9516119829768446</c:v>
                </c:pt>
                <c:pt idx="8774">
                  <c:v>5.9055736914106527</c:v>
                </c:pt>
                <c:pt idx="8775">
                  <c:v>4.8780950864683756</c:v>
                </c:pt>
                <c:pt idx="8776">
                  <c:v>5.9083301562604822</c:v>
                </c:pt>
                <c:pt idx="8777">
                  <c:v>4.9785285323346633</c:v>
                </c:pt>
                <c:pt idx="8778">
                  <c:v>6.0024123375132055</c:v>
                </c:pt>
                <c:pt idx="8779">
                  <c:v>5.0007987432760297</c:v>
                </c:pt>
                <c:pt idx="8780">
                  <c:v>5.0235542967704463</c:v>
                </c:pt>
                <c:pt idx="8781">
                  <c:v>5.0163850502131515</c:v>
                </c:pt>
                <c:pt idx="8782">
                  <c:v>4.9655277212367244</c:v>
                </c:pt>
                <c:pt idx="8783">
                  <c:v>4.9767737484589576</c:v>
                </c:pt>
                <c:pt idx="8784">
                  <c:v>5.0433075986582923</c:v>
                </c:pt>
                <c:pt idx="8785">
                  <c:v>5.8762778967960312</c:v>
                </c:pt>
                <c:pt idx="8786">
                  <c:v>5.9488403023061478</c:v>
                </c:pt>
                <c:pt idx="8787">
                  <c:v>5.9338354125328818</c:v>
                </c:pt>
                <c:pt idx="8788">
                  <c:v>4.8764244429576964</c:v>
                </c:pt>
                <c:pt idx="8789">
                  <c:v>6.0174951945037423</c:v>
                </c:pt>
                <c:pt idx="8790">
                  <c:v>5.0000816012209848</c:v>
                </c:pt>
                <c:pt idx="8791">
                  <c:v>4.9472260941439004</c:v>
                </c:pt>
                <c:pt idx="8792">
                  <c:v>4.9847135017627426</c:v>
                </c:pt>
                <c:pt idx="8793">
                  <c:v>5.9794540487672752</c:v>
                </c:pt>
                <c:pt idx="8794">
                  <c:v>4.9555663833733785</c:v>
                </c:pt>
                <c:pt idx="8795">
                  <c:v>5.1570674385942503</c:v>
                </c:pt>
                <c:pt idx="8796">
                  <c:v>5.9055361495689134</c:v>
                </c:pt>
                <c:pt idx="8797">
                  <c:v>5.9442846102463056</c:v>
                </c:pt>
                <c:pt idx="8798">
                  <c:v>6.9097718034336326</c:v>
                </c:pt>
                <c:pt idx="8799">
                  <c:v>4.9738850458537387</c:v>
                </c:pt>
                <c:pt idx="8800">
                  <c:v>7.1488123260203196</c:v>
                </c:pt>
                <c:pt idx="8801">
                  <c:v>5.0148110286032859</c:v>
                </c:pt>
                <c:pt idx="8802">
                  <c:v>4.7627589891861382</c:v>
                </c:pt>
                <c:pt idx="8803">
                  <c:v>5.9389342226757691</c:v>
                </c:pt>
                <c:pt idx="8804">
                  <c:v>4.8427389233569231</c:v>
                </c:pt>
                <c:pt idx="8805">
                  <c:v>4.9874695707112124</c:v>
                </c:pt>
                <c:pt idx="8806">
                  <c:v>5.9324702887995802</c:v>
                </c:pt>
                <c:pt idx="8807">
                  <c:v>5.0338899394662651</c:v>
                </c:pt>
                <c:pt idx="8808">
                  <c:v>5.9986535814607365</c:v>
                </c:pt>
                <c:pt idx="8809">
                  <c:v>6.1318777859512812</c:v>
                </c:pt>
                <c:pt idx="8810">
                  <c:v>5.9113853998333861</c:v>
                </c:pt>
                <c:pt idx="8811">
                  <c:v>5.9756755897666007</c:v>
                </c:pt>
                <c:pt idx="8812">
                  <c:v>5.0792780832426736</c:v>
                </c:pt>
                <c:pt idx="8813">
                  <c:v>6.0417599916649998</c:v>
                </c:pt>
                <c:pt idx="8814">
                  <c:v>5.9030703183784317</c:v>
                </c:pt>
                <c:pt idx="8815">
                  <c:v>5.9503422492765594</c:v>
                </c:pt>
                <c:pt idx="8816">
                  <c:v>5.9384910991733841</c:v>
                </c:pt>
                <c:pt idx="8817">
                  <c:v>5.9851732681532752</c:v>
                </c:pt>
                <c:pt idx="8818">
                  <c:v>5.8637308186117476</c:v>
                </c:pt>
                <c:pt idx="8819">
                  <c:v>4.922462289270964</c:v>
                </c:pt>
                <c:pt idx="8820">
                  <c:v>5.9461232716342538</c:v>
                </c:pt>
                <c:pt idx="8821">
                  <c:v>5.9451500578962282</c:v>
                </c:pt>
                <c:pt idx="8822">
                  <c:v>5.7756854112952611</c:v>
                </c:pt>
                <c:pt idx="8823">
                  <c:v>6.0291624010067375</c:v>
                </c:pt>
                <c:pt idx="8824">
                  <c:v>4.9488761957890652</c:v>
                </c:pt>
                <c:pt idx="8825">
                  <c:v>5.0855262493617781</c:v>
                </c:pt>
                <c:pt idx="8826">
                  <c:v>5.0451390423789997</c:v>
                </c:pt>
                <c:pt idx="8827">
                  <c:v>6.0047467570540194</c:v>
                </c:pt>
                <c:pt idx="8828">
                  <c:v>6.9903749377734536</c:v>
                </c:pt>
                <c:pt idx="8829">
                  <c:v>5.8148885545374212</c:v>
                </c:pt>
                <c:pt idx="8830">
                  <c:v>6.0845163487578064</c:v>
                </c:pt>
                <c:pt idx="8831">
                  <c:v>7.1001252439315081</c:v>
                </c:pt>
                <c:pt idx="8832">
                  <c:v>6.0516677752430432</c:v>
                </c:pt>
                <c:pt idx="8833">
                  <c:v>6.1290077042783286</c:v>
                </c:pt>
                <c:pt idx="8834">
                  <c:v>4.9170744596975871</c:v>
                </c:pt>
                <c:pt idx="8835">
                  <c:v>6.9003431249069545</c:v>
                </c:pt>
                <c:pt idx="8836">
                  <c:v>6.1169456663574486</c:v>
                </c:pt>
                <c:pt idx="8837">
                  <c:v>6.1249253306071383</c:v>
                </c:pt>
                <c:pt idx="8838">
                  <c:v>7.0413649460190939</c:v>
                </c:pt>
                <c:pt idx="8839">
                  <c:v>5.9176359818301174</c:v>
                </c:pt>
                <c:pt idx="8840">
                  <c:v>6.089222413825742</c:v>
                </c:pt>
                <c:pt idx="8841">
                  <c:v>5.8516917490334928</c:v>
                </c:pt>
                <c:pt idx="8842">
                  <c:v>6.0952017437767987</c:v>
                </c:pt>
                <c:pt idx="8843">
                  <c:v>5.1423333258721833</c:v>
                </c:pt>
                <c:pt idx="8844">
                  <c:v>5.8512696556928345</c:v>
                </c:pt>
                <c:pt idx="8845">
                  <c:v>5.882040853108915</c:v>
                </c:pt>
                <c:pt idx="8846">
                  <c:v>6.0113743019529791</c:v>
                </c:pt>
                <c:pt idx="8847">
                  <c:v>7.1677972693278003</c:v>
                </c:pt>
                <c:pt idx="8848">
                  <c:v>6.0858193514792021</c:v>
                </c:pt>
                <c:pt idx="8849">
                  <c:v>5.9959371319028687</c:v>
                </c:pt>
                <c:pt idx="8850">
                  <c:v>6.1362992403759202</c:v>
                </c:pt>
                <c:pt idx="8851">
                  <c:v>6.0727792889163057</c:v>
                </c:pt>
                <c:pt idx="8852">
                  <c:v>6.0340127166132822</c:v>
                </c:pt>
                <c:pt idx="8853">
                  <c:v>5.0145953690920022</c:v>
                </c:pt>
                <c:pt idx="8854">
                  <c:v>5.9196259243851905</c:v>
                </c:pt>
                <c:pt idx="8855">
                  <c:v>6.0544734907731277</c:v>
                </c:pt>
                <c:pt idx="8856">
                  <c:v>5.124451745858984</c:v>
                </c:pt>
                <c:pt idx="8857">
                  <c:v>6.014734416683674</c:v>
                </c:pt>
                <c:pt idx="8858">
                  <c:v>4.9173580279498914</c:v>
                </c:pt>
                <c:pt idx="8859">
                  <c:v>6.0415012241262946</c:v>
                </c:pt>
                <c:pt idx="8860">
                  <c:v>4.9768691952928492</c:v>
                </c:pt>
                <c:pt idx="8861">
                  <c:v>7.1094124461742298</c:v>
                </c:pt>
                <c:pt idx="8862">
                  <c:v>6.0115464950537891</c:v>
                </c:pt>
                <c:pt idx="8863">
                  <c:v>5.9488530065759528</c:v>
                </c:pt>
                <c:pt idx="8864">
                  <c:v>5.9719063917193056</c:v>
                </c:pt>
                <c:pt idx="8865">
                  <c:v>6.0007478693205263</c:v>
                </c:pt>
                <c:pt idx="8866">
                  <c:v>6.0748896904432792</c:v>
                </c:pt>
                <c:pt idx="8867">
                  <c:v>5.0222456969876017</c:v>
                </c:pt>
                <c:pt idx="8868">
                  <c:v>6.8259541991913437</c:v>
                </c:pt>
                <c:pt idx="8869">
                  <c:v>6.0773187723593116</c:v>
                </c:pt>
                <c:pt idx="8870">
                  <c:v>4.9841907464099071</c:v>
                </c:pt>
                <c:pt idx="8871">
                  <c:v>6.0557252123173209</c:v>
                </c:pt>
                <c:pt idx="8872">
                  <c:v>6.1143733224437753</c:v>
                </c:pt>
                <c:pt idx="8873">
                  <c:v>4.8852015096540535</c:v>
                </c:pt>
                <c:pt idx="8874">
                  <c:v>4.9744113984696527</c:v>
                </c:pt>
                <c:pt idx="8875">
                  <c:v>5.0247380749300392</c:v>
                </c:pt>
                <c:pt idx="8876">
                  <c:v>5.9536660448212482</c:v>
                </c:pt>
                <c:pt idx="8877">
                  <c:v>3.7731593052021335</c:v>
                </c:pt>
                <c:pt idx="8878">
                  <c:v>4.9492856658062232</c:v>
                </c:pt>
                <c:pt idx="8879">
                  <c:v>5.884511727460505</c:v>
                </c:pt>
                <c:pt idx="8880">
                  <c:v>4.7732695634732556</c:v>
                </c:pt>
                <c:pt idx="8881">
                  <c:v>4.9495460049118289</c:v>
                </c:pt>
                <c:pt idx="8882">
                  <c:v>5.814169670771097</c:v>
                </c:pt>
                <c:pt idx="8883">
                  <c:v>5.9851635269746177</c:v>
                </c:pt>
                <c:pt idx="8884">
                  <c:v>4.970005070806347</c:v>
                </c:pt>
                <c:pt idx="8885">
                  <c:v>5.9119887568425469</c:v>
                </c:pt>
                <c:pt idx="8886">
                  <c:v>4.9879619844308252</c:v>
                </c:pt>
                <c:pt idx="8887">
                  <c:v>6.0527584674740016</c:v>
                </c:pt>
                <c:pt idx="8888">
                  <c:v>4.9205074383091683</c:v>
                </c:pt>
                <c:pt idx="8889">
                  <c:v>4.9759109246056052</c:v>
                </c:pt>
                <c:pt idx="8890">
                  <c:v>5.8594945212769058</c:v>
                </c:pt>
                <c:pt idx="8891">
                  <c:v>5.9117052231665994</c:v>
                </c:pt>
                <c:pt idx="8892">
                  <c:v>5.2553529260331162</c:v>
                </c:pt>
                <c:pt idx="8893">
                  <c:v>4.9295466371667898</c:v>
                </c:pt>
                <c:pt idx="8894">
                  <c:v>5.9730704102502115</c:v>
                </c:pt>
                <c:pt idx="8895">
                  <c:v>5.9826044478001572</c:v>
                </c:pt>
                <c:pt idx="8896">
                  <c:v>5.9517455366520293</c:v>
                </c:pt>
                <c:pt idx="8897">
                  <c:v>4.925274551524085</c:v>
                </c:pt>
                <c:pt idx="8898">
                  <c:v>4.9215410302816576</c:v>
                </c:pt>
                <c:pt idx="8899">
                  <c:v>4.9782052922835902</c:v>
                </c:pt>
                <c:pt idx="8900">
                  <c:v>4.9896483017292157</c:v>
                </c:pt>
                <c:pt idx="8901">
                  <c:v>5.9592144528115885</c:v>
                </c:pt>
                <c:pt idx="8902">
                  <c:v>6.035931663320584</c:v>
                </c:pt>
                <c:pt idx="8903">
                  <c:v>5.0228795905736101</c:v>
                </c:pt>
                <c:pt idx="8904">
                  <c:v>5.8966881716815447</c:v>
                </c:pt>
                <c:pt idx="8905">
                  <c:v>5.0178998583234646</c:v>
                </c:pt>
                <c:pt idx="8906">
                  <c:v>5.0627986192284027</c:v>
                </c:pt>
                <c:pt idx="8907">
                  <c:v>5.1012396160681384</c:v>
                </c:pt>
                <c:pt idx="8908">
                  <c:v>5.0463285239472269</c:v>
                </c:pt>
                <c:pt idx="8909">
                  <c:v>5.0445349397702639</c:v>
                </c:pt>
                <c:pt idx="8910">
                  <c:v>5.8944307538211484</c:v>
                </c:pt>
                <c:pt idx="8911">
                  <c:v>6.1581320380736431</c:v>
                </c:pt>
                <c:pt idx="8912">
                  <c:v>5.2511537652572819</c:v>
                </c:pt>
                <c:pt idx="8913">
                  <c:v>4.8242575522521296</c:v>
                </c:pt>
                <c:pt idx="8914">
                  <c:v>5.8844403282262912</c:v>
                </c:pt>
                <c:pt idx="8915">
                  <c:v>6.0948884255675333</c:v>
                </c:pt>
                <c:pt idx="8916">
                  <c:v>5.7591658185665198</c:v>
                </c:pt>
                <c:pt idx="8917">
                  <c:v>4.8849090525621168</c:v>
                </c:pt>
                <c:pt idx="8918">
                  <c:v>3.0417316075435705</c:v>
                </c:pt>
                <c:pt idx="8919">
                  <c:v>5.9155937964026037</c:v>
                </c:pt>
                <c:pt idx="8920">
                  <c:v>7.0560297629184454</c:v>
                </c:pt>
                <c:pt idx="8921">
                  <c:v>6.006894109819461</c:v>
                </c:pt>
                <c:pt idx="8922">
                  <c:v>5.9991079180186855</c:v>
                </c:pt>
                <c:pt idx="8923">
                  <c:v>6.8546107272963903</c:v>
                </c:pt>
                <c:pt idx="8924">
                  <c:v>5.9567277552288882</c:v>
                </c:pt>
                <c:pt idx="8925">
                  <c:v>4.9636753677941634</c:v>
                </c:pt>
                <c:pt idx="8926">
                  <c:v>4.953499612636624</c:v>
                </c:pt>
                <c:pt idx="8927">
                  <c:v>4.9335018957274865</c:v>
                </c:pt>
                <c:pt idx="8928">
                  <c:v>5.0489298055190321</c:v>
                </c:pt>
                <c:pt idx="8929">
                  <c:v>5.9308697973986915</c:v>
                </c:pt>
                <c:pt idx="8930">
                  <c:v>5.0141776845996597</c:v>
                </c:pt>
                <c:pt idx="8931">
                  <c:v>4.8832758697018877</c:v>
                </c:pt>
                <c:pt idx="8932">
                  <c:v>5.9573317958476819</c:v>
                </c:pt>
                <c:pt idx="8933">
                  <c:v>5.0916821519332673</c:v>
                </c:pt>
                <c:pt idx="8934">
                  <c:v>6.077790826378223</c:v>
                </c:pt>
                <c:pt idx="8935">
                  <c:v>6.088469353147727</c:v>
                </c:pt>
                <c:pt idx="8936">
                  <c:v>5.1312443981569595</c:v>
                </c:pt>
                <c:pt idx="8937">
                  <c:v>6.908360984075931</c:v>
                </c:pt>
                <c:pt idx="8938">
                  <c:v>6.9531523397983506</c:v>
                </c:pt>
                <c:pt idx="8939">
                  <c:v>7.031109680654378</c:v>
                </c:pt>
                <c:pt idx="8940">
                  <c:v>4.970705741918235</c:v>
                </c:pt>
                <c:pt idx="8941">
                  <c:v>5.925304502303673</c:v>
                </c:pt>
                <c:pt idx="8942">
                  <c:v>7.1378900332705477</c:v>
                </c:pt>
                <c:pt idx="8943">
                  <c:v>4.871879160956599</c:v>
                </c:pt>
                <c:pt idx="8944">
                  <c:v>5.7625875140566398</c:v>
                </c:pt>
                <c:pt idx="8945">
                  <c:v>5.0070813390570255</c:v>
                </c:pt>
                <c:pt idx="8946">
                  <c:v>6.0725648131232042</c:v>
                </c:pt>
                <c:pt idx="8947">
                  <c:v>6.1183700265981154</c:v>
                </c:pt>
                <c:pt idx="8948">
                  <c:v>5.9322675028883234</c:v>
                </c:pt>
                <c:pt idx="8949">
                  <c:v>4.9907387755483468</c:v>
                </c:pt>
                <c:pt idx="8950">
                  <c:v>4.9770265191051344</c:v>
                </c:pt>
                <c:pt idx="8951">
                  <c:v>4.9599199481932157</c:v>
                </c:pt>
                <c:pt idx="8952">
                  <c:v>6.0781585824865072</c:v>
                </c:pt>
                <c:pt idx="8953">
                  <c:v>5.9886525263207773</c:v>
                </c:pt>
                <c:pt idx="8954">
                  <c:v>5.0054920277589812</c:v>
                </c:pt>
                <c:pt idx="8955">
                  <c:v>4.9281136613426462</c:v>
                </c:pt>
                <c:pt idx="8956">
                  <c:v>7.0821504197658163</c:v>
                </c:pt>
                <c:pt idx="8957">
                  <c:v>4.966216283814199</c:v>
                </c:pt>
                <c:pt idx="8958">
                  <c:v>6.0128557944968781</c:v>
                </c:pt>
                <c:pt idx="8959">
                  <c:v>6.0674141852877455</c:v>
                </c:pt>
                <c:pt idx="8960">
                  <c:v>6.0513251425568271</c:v>
                </c:pt>
                <c:pt idx="8961">
                  <c:v>4.8671015293472628</c:v>
                </c:pt>
                <c:pt idx="8962">
                  <c:v>5.9464276931719198</c:v>
                </c:pt>
                <c:pt idx="8963">
                  <c:v>6.0368601487682714</c:v>
                </c:pt>
                <c:pt idx="8964">
                  <c:v>6.8832039055174983</c:v>
                </c:pt>
                <c:pt idx="8965">
                  <c:v>6.0159543404029563</c:v>
                </c:pt>
                <c:pt idx="8966">
                  <c:v>6.0140475133775464</c:v>
                </c:pt>
                <c:pt idx="8967">
                  <c:v>5.9888633133187623</c:v>
                </c:pt>
                <c:pt idx="8968">
                  <c:v>5.0715904250828094</c:v>
                </c:pt>
                <c:pt idx="8969">
                  <c:v>4.7838591717886541</c:v>
                </c:pt>
                <c:pt idx="8970">
                  <c:v>4.9851545340666847</c:v>
                </c:pt>
                <c:pt idx="8971">
                  <c:v>6.1115158433812891</c:v>
                </c:pt>
                <c:pt idx="8972">
                  <c:v>4.9679927744243342</c:v>
                </c:pt>
                <c:pt idx="8973">
                  <c:v>5.0658166108632496</c:v>
                </c:pt>
                <c:pt idx="8974">
                  <c:v>6.0549210265657107</c:v>
                </c:pt>
                <c:pt idx="8975">
                  <c:v>5.2183820477416072</c:v>
                </c:pt>
                <c:pt idx="8976">
                  <c:v>4.9688148387822553</c:v>
                </c:pt>
                <c:pt idx="8977">
                  <c:v>5.0146088687342187</c:v>
                </c:pt>
                <c:pt idx="8978">
                  <c:v>4.9268473372481898</c:v>
                </c:pt>
                <c:pt idx="8979">
                  <c:v>5.1842334780188404</c:v>
                </c:pt>
                <c:pt idx="8980">
                  <c:v>5.1669405561357902</c:v>
                </c:pt>
                <c:pt idx="8981">
                  <c:v>5.9047229703102442</c:v>
                </c:pt>
                <c:pt idx="8982">
                  <c:v>5.0368588159101018</c:v>
                </c:pt>
                <c:pt idx="8983">
                  <c:v>4.866310833770715</c:v>
                </c:pt>
                <c:pt idx="8984">
                  <c:v>4.9372099392479072</c:v>
                </c:pt>
                <c:pt idx="8985">
                  <c:v>5.9365202584549257</c:v>
                </c:pt>
                <c:pt idx="8986">
                  <c:v>4.9714217584653326</c:v>
                </c:pt>
                <c:pt idx="8987">
                  <c:v>5.8505629590717536</c:v>
                </c:pt>
                <c:pt idx="8988">
                  <c:v>5.7993490591359187</c:v>
                </c:pt>
                <c:pt idx="8989">
                  <c:v>5.0344144154934822</c:v>
                </c:pt>
                <c:pt idx="8990">
                  <c:v>5.1957573503055823</c:v>
                </c:pt>
                <c:pt idx="8991">
                  <c:v>4.9399661670928481</c:v>
                </c:pt>
                <c:pt idx="8992">
                  <c:v>4.8953702538380561</c:v>
                </c:pt>
                <c:pt idx="8993">
                  <c:v>4.6775585619286071</c:v>
                </c:pt>
                <c:pt idx="8994">
                  <c:v>4.9320172951500529</c:v>
                </c:pt>
                <c:pt idx="8995">
                  <c:v>4.802303891449915</c:v>
                </c:pt>
                <c:pt idx="8996">
                  <c:v>6.8009559177307848</c:v>
                </c:pt>
                <c:pt idx="8997">
                  <c:v>5.0163778197024298</c:v>
                </c:pt>
                <c:pt idx="8998">
                  <c:v>5.1460270807241573</c:v>
                </c:pt>
                <c:pt idx="8999">
                  <c:v>5.0056660372278987</c:v>
                </c:pt>
                <c:pt idx="9000">
                  <c:v>4.9334224068064279</c:v>
                </c:pt>
                <c:pt idx="9001">
                  <c:v>6.0135375786594389</c:v>
                </c:pt>
                <c:pt idx="9002">
                  <c:v>5.1038324170688378</c:v>
                </c:pt>
                <c:pt idx="9003">
                  <c:v>5.843749744533242</c:v>
                </c:pt>
                <c:pt idx="9004">
                  <c:v>5.0593684138652772</c:v>
                </c:pt>
                <c:pt idx="9005">
                  <c:v>5.0138448025433684</c:v>
                </c:pt>
                <c:pt idx="9006">
                  <c:v>5.0222467990364361</c:v>
                </c:pt>
                <c:pt idx="9007">
                  <c:v>5.0278446683251401</c:v>
                </c:pt>
                <c:pt idx="9008">
                  <c:v>4.8642642547152368</c:v>
                </c:pt>
                <c:pt idx="9009">
                  <c:v>5.126455350658973</c:v>
                </c:pt>
                <c:pt idx="9010">
                  <c:v>6.1348318419311143</c:v>
                </c:pt>
                <c:pt idx="9011">
                  <c:v>4.9308025172380754</c:v>
                </c:pt>
                <c:pt idx="9012">
                  <c:v>6.8756577081345363</c:v>
                </c:pt>
                <c:pt idx="9013">
                  <c:v>5.1872827418810195</c:v>
                </c:pt>
                <c:pt idx="9014">
                  <c:v>6.0149443642299003</c:v>
                </c:pt>
                <c:pt idx="9015">
                  <c:v>5.0438475982134987</c:v>
                </c:pt>
                <c:pt idx="9016">
                  <c:v>5.0538219235693722</c:v>
                </c:pt>
                <c:pt idx="9017">
                  <c:v>4.972951820749242</c:v>
                </c:pt>
                <c:pt idx="9018">
                  <c:v>5.0531168595450948</c:v>
                </c:pt>
                <c:pt idx="9019">
                  <c:v>5.113972343779519</c:v>
                </c:pt>
                <c:pt idx="9020">
                  <c:v>4.9418308381639724</c:v>
                </c:pt>
                <c:pt idx="9021">
                  <c:v>5.0444206134694003</c:v>
                </c:pt>
                <c:pt idx="9022">
                  <c:v>5.2286875612549863</c:v>
                </c:pt>
                <c:pt idx="9023">
                  <c:v>4.9662796145772559</c:v>
                </c:pt>
                <c:pt idx="9024">
                  <c:v>5.0700505712137804</c:v>
                </c:pt>
                <c:pt idx="9025">
                  <c:v>5.0740813838675054</c:v>
                </c:pt>
                <c:pt idx="9026">
                  <c:v>5.9120551457661854</c:v>
                </c:pt>
                <c:pt idx="9027">
                  <c:v>5.0125742331782179</c:v>
                </c:pt>
                <c:pt idx="9028">
                  <c:v>4.7846506853315818</c:v>
                </c:pt>
                <c:pt idx="9029">
                  <c:v>4.9877166534443615</c:v>
                </c:pt>
                <c:pt idx="9030">
                  <c:v>4.995518972837405</c:v>
                </c:pt>
                <c:pt idx="9031">
                  <c:v>4.8762032765782557</c:v>
                </c:pt>
                <c:pt idx="9032">
                  <c:v>5.985164294584882</c:v>
                </c:pt>
                <c:pt idx="9033">
                  <c:v>5.0062172228331763</c:v>
                </c:pt>
                <c:pt idx="9034">
                  <c:v>5.0913322377432761</c:v>
                </c:pt>
                <c:pt idx="9035">
                  <c:v>6.2546835679391179</c:v>
                </c:pt>
                <c:pt idx="9036">
                  <c:v>6.1320827950556671</c:v>
                </c:pt>
                <c:pt idx="9037">
                  <c:v>6.0648055256201712</c:v>
                </c:pt>
                <c:pt idx="9038">
                  <c:v>5.0011358926228304</c:v>
                </c:pt>
                <c:pt idx="9039">
                  <c:v>5.090930156361698</c:v>
                </c:pt>
                <c:pt idx="9040">
                  <c:v>5.8141814271804275</c:v>
                </c:pt>
                <c:pt idx="9041">
                  <c:v>5.9627561989716709</c:v>
                </c:pt>
                <c:pt idx="9042">
                  <c:v>4.9434419848715896</c:v>
                </c:pt>
                <c:pt idx="9043">
                  <c:v>4.9494354692197566</c:v>
                </c:pt>
                <c:pt idx="9044">
                  <c:v>5.1122014574526817</c:v>
                </c:pt>
                <c:pt idx="9045">
                  <c:v>4.8444645521952658</c:v>
                </c:pt>
                <c:pt idx="9046">
                  <c:v>4.82308773173565</c:v>
                </c:pt>
                <c:pt idx="9047">
                  <c:v>5.1114208028368591</c:v>
                </c:pt>
                <c:pt idx="9048">
                  <c:v>4.9512571886083059</c:v>
                </c:pt>
                <c:pt idx="9049">
                  <c:v>4.9708532253387991</c:v>
                </c:pt>
                <c:pt idx="9050">
                  <c:v>4.9186155783103587</c:v>
                </c:pt>
                <c:pt idx="9051">
                  <c:v>5.0621793921328049</c:v>
                </c:pt>
                <c:pt idx="9052">
                  <c:v>4.8449230744175598</c:v>
                </c:pt>
                <c:pt idx="9053">
                  <c:v>6.9863987734773056</c:v>
                </c:pt>
                <c:pt idx="9054">
                  <c:v>5.9107260202850815</c:v>
                </c:pt>
                <c:pt idx="9055">
                  <c:v>5.0504381579523514</c:v>
                </c:pt>
                <c:pt idx="9056">
                  <c:v>5.9370638802187283</c:v>
                </c:pt>
                <c:pt idx="9057">
                  <c:v>5.8175574540674493</c:v>
                </c:pt>
                <c:pt idx="9058">
                  <c:v>5.056170894139048</c:v>
                </c:pt>
                <c:pt idx="9059">
                  <c:v>6.1520483186118753</c:v>
                </c:pt>
                <c:pt idx="9060">
                  <c:v>4.952193307054638</c:v>
                </c:pt>
                <c:pt idx="9061">
                  <c:v>5.0775135616007798</c:v>
                </c:pt>
                <c:pt idx="9062">
                  <c:v>4.9708561112120249</c:v>
                </c:pt>
                <c:pt idx="9063">
                  <c:v>6.0553434519526981</c:v>
                </c:pt>
                <c:pt idx="9064">
                  <c:v>5.1421498147087759</c:v>
                </c:pt>
                <c:pt idx="9065">
                  <c:v>6.0127188651160184</c:v>
                </c:pt>
                <c:pt idx="9066">
                  <c:v>5.0310793888232412</c:v>
                </c:pt>
                <c:pt idx="9067">
                  <c:v>4.8932323340180996</c:v>
                </c:pt>
                <c:pt idx="9068">
                  <c:v>5.0085968412863613</c:v>
                </c:pt>
                <c:pt idx="9069">
                  <c:v>5.9812771971881453</c:v>
                </c:pt>
                <c:pt idx="9070">
                  <c:v>4.9923524632232805</c:v>
                </c:pt>
                <c:pt idx="9071">
                  <c:v>4.96072218856634</c:v>
                </c:pt>
                <c:pt idx="9072">
                  <c:v>4.914160248334797</c:v>
                </c:pt>
                <c:pt idx="9073">
                  <c:v>4.9534865665024173</c:v>
                </c:pt>
                <c:pt idx="9074">
                  <c:v>5.8048641592293695</c:v>
                </c:pt>
                <c:pt idx="9075">
                  <c:v>5.0309259672310791</c:v>
                </c:pt>
                <c:pt idx="9076">
                  <c:v>4.9833753179317908</c:v>
                </c:pt>
                <c:pt idx="9077">
                  <c:v>5.0799698937812723</c:v>
                </c:pt>
                <c:pt idx="9078">
                  <c:v>5.0734148681805431</c:v>
                </c:pt>
                <c:pt idx="9079">
                  <c:v>6.0132168659631438</c:v>
                </c:pt>
                <c:pt idx="9080">
                  <c:v>6.1210316809146574</c:v>
                </c:pt>
                <c:pt idx="9081">
                  <c:v>5.0015280122231136</c:v>
                </c:pt>
                <c:pt idx="9082">
                  <c:v>5.0506538132393546</c:v>
                </c:pt>
                <c:pt idx="9083">
                  <c:v>5.1641262276463573</c:v>
                </c:pt>
                <c:pt idx="9084">
                  <c:v>5.8292945680320836</c:v>
                </c:pt>
                <c:pt idx="9085">
                  <c:v>5.1780246043882894</c:v>
                </c:pt>
                <c:pt idx="9086">
                  <c:v>5.8533717881315726</c:v>
                </c:pt>
                <c:pt idx="9087">
                  <c:v>5.0902328997372397</c:v>
                </c:pt>
                <c:pt idx="9088">
                  <c:v>5.0045804096432009</c:v>
                </c:pt>
                <c:pt idx="9089">
                  <c:v>4.935289204451224</c:v>
                </c:pt>
                <c:pt idx="9090">
                  <c:v>5.0846843161435427</c:v>
                </c:pt>
                <c:pt idx="9091">
                  <c:v>4.8942804559051369</c:v>
                </c:pt>
                <c:pt idx="9092">
                  <c:v>7.0327068253092602</c:v>
                </c:pt>
                <c:pt idx="9093">
                  <c:v>4.7734727163345019</c:v>
                </c:pt>
                <c:pt idx="9094">
                  <c:v>5.0604883374296028</c:v>
                </c:pt>
                <c:pt idx="9095">
                  <c:v>5.0574523655353607</c:v>
                </c:pt>
                <c:pt idx="9096">
                  <c:v>4.9990918877053447</c:v>
                </c:pt>
                <c:pt idx="9097">
                  <c:v>6.0894869564088951</c:v>
                </c:pt>
                <c:pt idx="9098">
                  <c:v>4.9707311072177269</c:v>
                </c:pt>
                <c:pt idx="9099">
                  <c:v>5.0884044981790906</c:v>
                </c:pt>
                <c:pt idx="9100">
                  <c:v>5.0013721861734464</c:v>
                </c:pt>
                <c:pt idx="9101">
                  <c:v>4.9359515392109792</c:v>
                </c:pt>
                <c:pt idx="9102">
                  <c:v>4.9602377567926519</c:v>
                </c:pt>
                <c:pt idx="9103">
                  <c:v>1.9652324905492513</c:v>
                </c:pt>
                <c:pt idx="9104">
                  <c:v>5.1492463928666972</c:v>
                </c:pt>
                <c:pt idx="9105">
                  <c:v>4.8965504043605268</c:v>
                </c:pt>
                <c:pt idx="9106">
                  <c:v>4.841921163900305</c:v>
                </c:pt>
                <c:pt idx="9107">
                  <c:v>5.0523765311961881</c:v>
                </c:pt>
                <c:pt idx="9108">
                  <c:v>6.0069974876502883</c:v>
                </c:pt>
                <c:pt idx="9109">
                  <c:v>6.0897969628800865</c:v>
                </c:pt>
                <c:pt idx="9110">
                  <c:v>4.8954345403447048</c:v>
                </c:pt>
                <c:pt idx="9111">
                  <c:v>5.0281560771016212</c:v>
                </c:pt>
                <c:pt idx="9112">
                  <c:v>4.9753767388466228</c:v>
                </c:pt>
                <c:pt idx="9113">
                  <c:v>4.9207892369803767</c:v>
                </c:pt>
                <c:pt idx="9114">
                  <c:v>5.074798942273909</c:v>
                </c:pt>
                <c:pt idx="9115">
                  <c:v>5.0060972133688209</c:v>
                </c:pt>
                <c:pt idx="9116">
                  <c:v>6.977639197093449</c:v>
                </c:pt>
                <c:pt idx="9117">
                  <c:v>4.8575126087877631</c:v>
                </c:pt>
                <c:pt idx="9118">
                  <c:v>4.9052867594186056</c:v>
                </c:pt>
                <c:pt idx="9119">
                  <c:v>5.1983405559553111</c:v>
                </c:pt>
                <c:pt idx="9120">
                  <c:v>6.0502863015253983</c:v>
                </c:pt>
                <c:pt idx="9121">
                  <c:v>5.944601635701793</c:v>
                </c:pt>
                <c:pt idx="9122">
                  <c:v>5.0579272497359469</c:v>
                </c:pt>
                <c:pt idx="9123">
                  <c:v>5.0933023876333516</c:v>
                </c:pt>
                <c:pt idx="9124">
                  <c:v>5.8157698364019668</c:v>
                </c:pt>
                <c:pt idx="9125">
                  <c:v>5.8673176689382176</c:v>
                </c:pt>
                <c:pt idx="9126">
                  <c:v>6.0654129035411515</c:v>
                </c:pt>
                <c:pt idx="9127">
                  <c:v>4.9413663250039912</c:v>
                </c:pt>
                <c:pt idx="9128">
                  <c:v>5.760665379055796</c:v>
                </c:pt>
                <c:pt idx="9129">
                  <c:v>5.1137298849021207</c:v>
                </c:pt>
                <c:pt idx="9130">
                  <c:v>5.0264623851151002</c:v>
                </c:pt>
                <c:pt idx="9131">
                  <c:v>4.8083903968351889</c:v>
                </c:pt>
                <c:pt idx="9132">
                  <c:v>4.8286850546943674</c:v>
                </c:pt>
                <c:pt idx="9133">
                  <c:v>5.1116872800569535</c:v>
                </c:pt>
                <c:pt idx="9134">
                  <c:v>5.1846179459948738</c:v>
                </c:pt>
                <c:pt idx="9135">
                  <c:v>4.979039547728477</c:v>
                </c:pt>
                <c:pt idx="9136">
                  <c:v>5.0463275338221729</c:v>
                </c:pt>
                <c:pt idx="9137">
                  <c:v>4.8864945143453342</c:v>
                </c:pt>
                <c:pt idx="9138">
                  <c:v>4.9197428142090409</c:v>
                </c:pt>
                <c:pt idx="9139">
                  <c:v>4.907203483343678</c:v>
                </c:pt>
                <c:pt idx="9140">
                  <c:v>5.92474083414454</c:v>
                </c:pt>
                <c:pt idx="9141">
                  <c:v>4.8827660657244225</c:v>
                </c:pt>
                <c:pt idx="9142">
                  <c:v>5.0257380647780865</c:v>
                </c:pt>
                <c:pt idx="9143">
                  <c:v>5.0543116663814445</c:v>
                </c:pt>
                <c:pt idx="9144">
                  <c:v>4.9336444719230128</c:v>
                </c:pt>
                <c:pt idx="9145">
                  <c:v>5.0409888858238041</c:v>
                </c:pt>
                <c:pt idx="9146">
                  <c:v>5.0181683811498603</c:v>
                </c:pt>
                <c:pt idx="9147">
                  <c:v>4.9881011456871169</c:v>
                </c:pt>
                <c:pt idx="9148">
                  <c:v>5.84338472061917</c:v>
                </c:pt>
                <c:pt idx="9149">
                  <c:v>6.9053624408949004</c:v>
                </c:pt>
                <c:pt idx="9150">
                  <c:v>5.1521105505146565</c:v>
                </c:pt>
                <c:pt idx="9151">
                  <c:v>4.9743464365385472</c:v>
                </c:pt>
                <c:pt idx="9152">
                  <c:v>5.1758905144281577</c:v>
                </c:pt>
                <c:pt idx="9153">
                  <c:v>5.8768191125167961</c:v>
                </c:pt>
                <c:pt idx="9154">
                  <c:v>5.0629539412248885</c:v>
                </c:pt>
                <c:pt idx="9155">
                  <c:v>5.9201216911733523</c:v>
                </c:pt>
                <c:pt idx="9156">
                  <c:v>4.8696771751663874</c:v>
                </c:pt>
                <c:pt idx="9157">
                  <c:v>5.0352212334509927</c:v>
                </c:pt>
                <c:pt idx="9158">
                  <c:v>5.0132644302007563</c:v>
                </c:pt>
                <c:pt idx="9159">
                  <c:v>6.1984064753421535</c:v>
                </c:pt>
                <c:pt idx="9160">
                  <c:v>4.879153099411818</c:v>
                </c:pt>
                <c:pt idx="9161">
                  <c:v>6.0035390011039631</c:v>
                </c:pt>
                <c:pt idx="9162">
                  <c:v>4.9515427052223551</c:v>
                </c:pt>
                <c:pt idx="9163">
                  <c:v>5.9990862108375849</c:v>
                </c:pt>
                <c:pt idx="9164">
                  <c:v>5.2007991399967572</c:v>
                </c:pt>
                <c:pt idx="9165">
                  <c:v>5.9074067937875636</c:v>
                </c:pt>
                <c:pt idx="9166">
                  <c:v>4.9851560298913205</c:v>
                </c:pt>
                <c:pt idx="9167">
                  <c:v>4.94726079576317</c:v>
                </c:pt>
                <c:pt idx="9168">
                  <c:v>4.8950929397927521</c:v>
                </c:pt>
                <c:pt idx="9169">
                  <c:v>6.1149383055710604</c:v>
                </c:pt>
                <c:pt idx="9170">
                  <c:v>4.8913588059881867</c:v>
                </c:pt>
                <c:pt idx="9171">
                  <c:v>6.1748124125736359</c:v>
                </c:pt>
                <c:pt idx="9172">
                  <c:v>6.062689892108188</c:v>
                </c:pt>
                <c:pt idx="9173">
                  <c:v>5.0114209979104647</c:v>
                </c:pt>
                <c:pt idx="9174">
                  <c:v>5.0704786609995338</c:v>
                </c:pt>
                <c:pt idx="9175">
                  <c:v>4.9060871799719221</c:v>
                </c:pt>
                <c:pt idx="9176">
                  <c:v>5.9384727398874571</c:v>
                </c:pt>
                <c:pt idx="9177">
                  <c:v>5.0754239647808594</c:v>
                </c:pt>
                <c:pt idx="9178">
                  <c:v>5.0243823576799782</c:v>
                </c:pt>
                <c:pt idx="9179">
                  <c:v>6.0346073214375675</c:v>
                </c:pt>
                <c:pt idx="9180">
                  <c:v>4.7615624388540461</c:v>
                </c:pt>
                <c:pt idx="9181">
                  <c:v>5.0290265160631789</c:v>
                </c:pt>
                <c:pt idx="9182">
                  <c:v>5.1339793659797808</c:v>
                </c:pt>
                <c:pt idx="9183">
                  <c:v>4.7651943548694424</c:v>
                </c:pt>
                <c:pt idx="9184">
                  <c:v>5.1022664215451599</c:v>
                </c:pt>
                <c:pt idx="9185">
                  <c:v>4.9982969107851432</c:v>
                </c:pt>
                <c:pt idx="9186">
                  <c:v>4.9312089789805604</c:v>
                </c:pt>
                <c:pt idx="9187">
                  <c:v>4.9830559722730587</c:v>
                </c:pt>
                <c:pt idx="9188">
                  <c:v>5.9744943196736946</c:v>
                </c:pt>
                <c:pt idx="9189">
                  <c:v>5.0559170998016745</c:v>
                </c:pt>
                <c:pt idx="9190">
                  <c:v>5.0421694339940926</c:v>
                </c:pt>
                <c:pt idx="9191">
                  <c:v>5.9317977086735452</c:v>
                </c:pt>
                <c:pt idx="9192">
                  <c:v>5.126891680598761</c:v>
                </c:pt>
                <c:pt idx="9193">
                  <c:v>4.9558255811045244</c:v>
                </c:pt>
                <c:pt idx="9194">
                  <c:v>4.9534695957059149</c:v>
                </c:pt>
                <c:pt idx="9195">
                  <c:v>5.113319833569463</c:v>
                </c:pt>
                <c:pt idx="9196">
                  <c:v>5.0095782607350348</c:v>
                </c:pt>
                <c:pt idx="9197">
                  <c:v>5.1512414851574073</c:v>
                </c:pt>
                <c:pt idx="9198">
                  <c:v>5.8936674514187635</c:v>
                </c:pt>
                <c:pt idx="9199">
                  <c:v>4.8226268317207035</c:v>
                </c:pt>
                <c:pt idx="9200">
                  <c:v>6.0877862815040764</c:v>
                </c:pt>
                <c:pt idx="9201">
                  <c:v>5.0267086265376433</c:v>
                </c:pt>
                <c:pt idx="9202">
                  <c:v>5.9003344195845431</c:v>
                </c:pt>
                <c:pt idx="9203">
                  <c:v>5.1518422722197244</c:v>
                </c:pt>
                <c:pt idx="9204">
                  <c:v>4.9044825743566056</c:v>
                </c:pt>
                <c:pt idx="9205">
                  <c:v>5.0534883502141996</c:v>
                </c:pt>
                <c:pt idx="9206">
                  <c:v>4.9952376099281137</c:v>
                </c:pt>
                <c:pt idx="9207">
                  <c:v>4.8278242128620139</c:v>
                </c:pt>
                <c:pt idx="9208">
                  <c:v>5.9904413116034423</c:v>
                </c:pt>
                <c:pt idx="9209">
                  <c:v>5.9523237396859416</c:v>
                </c:pt>
                <c:pt idx="9210">
                  <c:v>4.9202484952031851</c:v>
                </c:pt>
                <c:pt idx="9211">
                  <c:v>4.9098074214841532</c:v>
                </c:pt>
                <c:pt idx="9212">
                  <c:v>4.995320640586951</c:v>
                </c:pt>
                <c:pt idx="9213">
                  <c:v>5.1953761932819473</c:v>
                </c:pt>
                <c:pt idx="9214">
                  <c:v>4.9551814937108647</c:v>
                </c:pt>
                <c:pt idx="9215">
                  <c:v>6.0959400523193095</c:v>
                </c:pt>
                <c:pt idx="9216">
                  <c:v>5.0505126156424298</c:v>
                </c:pt>
                <c:pt idx="9217">
                  <c:v>6.7982535747578767</c:v>
                </c:pt>
                <c:pt idx="9218">
                  <c:v>4.936130507289489</c:v>
                </c:pt>
                <c:pt idx="9219">
                  <c:v>4.9711533956331424</c:v>
                </c:pt>
                <c:pt idx="9220">
                  <c:v>5.8913825521629635</c:v>
                </c:pt>
                <c:pt idx="9221">
                  <c:v>6.123990644657197</c:v>
                </c:pt>
                <c:pt idx="9222">
                  <c:v>5.9430967567856507</c:v>
                </c:pt>
                <c:pt idx="9223">
                  <c:v>4.9159177774891889</c:v>
                </c:pt>
                <c:pt idx="9224">
                  <c:v>6.9783491697306932</c:v>
                </c:pt>
                <c:pt idx="9225">
                  <c:v>6.819923528556636</c:v>
                </c:pt>
                <c:pt idx="9226">
                  <c:v>7.0264837542498224</c:v>
                </c:pt>
                <c:pt idx="9227">
                  <c:v>7.2212306922641485</c:v>
                </c:pt>
                <c:pt idx="9228">
                  <c:v>7.1322964877669977</c:v>
                </c:pt>
                <c:pt idx="9229">
                  <c:v>4.8988286640818606</c:v>
                </c:pt>
                <c:pt idx="9230">
                  <c:v>5.965990876840519</c:v>
                </c:pt>
                <c:pt idx="9231">
                  <c:v>6.0824284241729822</c:v>
                </c:pt>
                <c:pt idx="9232">
                  <c:v>5.9609466760512833</c:v>
                </c:pt>
                <c:pt idx="9233">
                  <c:v>4.9358463559301686</c:v>
                </c:pt>
                <c:pt idx="9234">
                  <c:v>4.9217866956964205</c:v>
                </c:pt>
                <c:pt idx="9235">
                  <c:v>4.9910345686094129</c:v>
                </c:pt>
                <c:pt idx="9236">
                  <c:v>4.9351293307671256</c:v>
                </c:pt>
                <c:pt idx="9237">
                  <c:v>6.0525613689525581</c:v>
                </c:pt>
                <c:pt idx="9238">
                  <c:v>5.013396047052562</c:v>
                </c:pt>
                <c:pt idx="9239">
                  <c:v>5.9534417781258133</c:v>
                </c:pt>
                <c:pt idx="9240">
                  <c:v>6.0782418826407891</c:v>
                </c:pt>
                <c:pt idx="9241">
                  <c:v>7.0098061898427888</c:v>
                </c:pt>
                <c:pt idx="9242">
                  <c:v>5.0931413774104639</c:v>
                </c:pt>
                <c:pt idx="9243">
                  <c:v>5.9916275678218067</c:v>
                </c:pt>
                <c:pt idx="9244">
                  <c:v>5.8558648692676467</c:v>
                </c:pt>
                <c:pt idx="9245">
                  <c:v>6.9118542929523468</c:v>
                </c:pt>
                <c:pt idx="9246">
                  <c:v>6.9151547689088293</c:v>
                </c:pt>
                <c:pt idx="9247">
                  <c:v>5.9070295668716364</c:v>
                </c:pt>
                <c:pt idx="9248">
                  <c:v>5.0124381250185097</c:v>
                </c:pt>
                <c:pt idx="9249">
                  <c:v>4.9680217720442208</c:v>
                </c:pt>
                <c:pt idx="9250">
                  <c:v>6.0253115372761048</c:v>
                </c:pt>
                <c:pt idx="9251">
                  <c:v>4.8629252302789272</c:v>
                </c:pt>
                <c:pt idx="9252">
                  <c:v>6.0356097553294363</c:v>
                </c:pt>
                <c:pt idx="9253">
                  <c:v>5.0908928267038069</c:v>
                </c:pt>
                <c:pt idx="9254">
                  <c:v>6.072088852437366</c:v>
                </c:pt>
                <c:pt idx="9255">
                  <c:v>5.9960255142441632</c:v>
                </c:pt>
                <c:pt idx="9256">
                  <c:v>5.0631769648584868</c:v>
                </c:pt>
                <c:pt idx="9257">
                  <c:v>5.9947852361991023</c:v>
                </c:pt>
                <c:pt idx="9258">
                  <c:v>4.963343986983217</c:v>
                </c:pt>
                <c:pt idx="9259">
                  <c:v>5.9781614497780691</c:v>
                </c:pt>
                <c:pt idx="9260">
                  <c:v>5.9599792322023806</c:v>
                </c:pt>
                <c:pt idx="9261">
                  <c:v>5.0916873136110246</c:v>
                </c:pt>
                <c:pt idx="9262">
                  <c:v>6.0592801844267186</c:v>
                </c:pt>
                <c:pt idx="9263">
                  <c:v>4.9795048786606344</c:v>
                </c:pt>
                <c:pt idx="9264">
                  <c:v>4.936060745339506</c:v>
                </c:pt>
                <c:pt idx="9265">
                  <c:v>5.9842640098709321</c:v>
                </c:pt>
                <c:pt idx="9266">
                  <c:v>4.9561866085004649</c:v>
                </c:pt>
                <c:pt idx="9267">
                  <c:v>5.0068345151649769</c:v>
                </c:pt>
                <c:pt idx="9268">
                  <c:v>5.0698343379115398</c:v>
                </c:pt>
                <c:pt idx="9269">
                  <c:v>6.0475735499901253</c:v>
                </c:pt>
                <c:pt idx="9270">
                  <c:v>5.9195521539601765</c:v>
                </c:pt>
                <c:pt idx="9271">
                  <c:v>6.0678515603030245</c:v>
                </c:pt>
                <c:pt idx="9272">
                  <c:v>5.9659507944502748</c:v>
                </c:pt>
                <c:pt idx="9273">
                  <c:v>5.8113259909408503</c:v>
                </c:pt>
                <c:pt idx="9274">
                  <c:v>6.16223996310001</c:v>
                </c:pt>
                <c:pt idx="9275">
                  <c:v>6.1303773471199818</c:v>
                </c:pt>
                <c:pt idx="9276">
                  <c:v>4.8988540399343492</c:v>
                </c:pt>
                <c:pt idx="9277">
                  <c:v>6.0126380948792963</c:v>
                </c:pt>
                <c:pt idx="9278">
                  <c:v>5.9775322815971892</c:v>
                </c:pt>
                <c:pt idx="9279">
                  <c:v>6.0189517776498791</c:v>
                </c:pt>
                <c:pt idx="9280">
                  <c:v>6.0001003367741044</c:v>
                </c:pt>
                <c:pt idx="9281">
                  <c:v>6.091878978186763</c:v>
                </c:pt>
                <c:pt idx="9282">
                  <c:v>5.966725334998773</c:v>
                </c:pt>
                <c:pt idx="9283">
                  <c:v>5.8922503633546492</c:v>
                </c:pt>
                <c:pt idx="9284">
                  <c:v>5.1142940431340733</c:v>
                </c:pt>
                <c:pt idx="9285">
                  <c:v>5.9708040850066677</c:v>
                </c:pt>
                <c:pt idx="9286">
                  <c:v>5.932390177549383</c:v>
                </c:pt>
                <c:pt idx="9287">
                  <c:v>5.0478620677842221</c:v>
                </c:pt>
                <c:pt idx="9288">
                  <c:v>4.911727142565633</c:v>
                </c:pt>
                <c:pt idx="9289">
                  <c:v>4.7877877261274264</c:v>
                </c:pt>
                <c:pt idx="9290">
                  <c:v>3.0443314972664393</c:v>
                </c:pt>
                <c:pt idx="9291">
                  <c:v>4.9588591502023647</c:v>
                </c:pt>
                <c:pt idx="9292">
                  <c:v>6.0835641850051818</c:v>
                </c:pt>
                <c:pt idx="9293">
                  <c:v>6.0096906112777724</c:v>
                </c:pt>
                <c:pt idx="9294">
                  <c:v>5.0121563897600403</c:v>
                </c:pt>
                <c:pt idx="9295">
                  <c:v>5.0145371174536519</c:v>
                </c:pt>
                <c:pt idx="9296">
                  <c:v>4.9699383488170223</c:v>
                </c:pt>
                <c:pt idx="9297">
                  <c:v>5.9919446152186477</c:v>
                </c:pt>
                <c:pt idx="9298">
                  <c:v>5.0206349491492386</c:v>
                </c:pt>
                <c:pt idx="9299">
                  <c:v>6.16518012835727</c:v>
                </c:pt>
                <c:pt idx="9300">
                  <c:v>5.0438277438935604</c:v>
                </c:pt>
                <c:pt idx="9301">
                  <c:v>6.0467713359918793</c:v>
                </c:pt>
                <c:pt idx="9302">
                  <c:v>5.9937724442437128</c:v>
                </c:pt>
                <c:pt idx="9303">
                  <c:v>6.1409783950244954</c:v>
                </c:pt>
                <c:pt idx="9304">
                  <c:v>5.6491192386771996</c:v>
                </c:pt>
                <c:pt idx="9305">
                  <c:v>4.9796963064816291</c:v>
                </c:pt>
                <c:pt idx="9306">
                  <c:v>4.9712182293008924</c:v>
                </c:pt>
                <c:pt idx="9307">
                  <c:v>6.1097622266031415</c:v>
                </c:pt>
                <c:pt idx="9308">
                  <c:v>4.9880672713242848</c:v>
                </c:pt>
                <c:pt idx="9309">
                  <c:v>6.066688142145618</c:v>
                </c:pt>
                <c:pt idx="9310">
                  <c:v>6.0155734585662097</c:v>
                </c:pt>
                <c:pt idx="9311">
                  <c:v>4.974341323964528</c:v>
                </c:pt>
                <c:pt idx="9312">
                  <c:v>5.1110488558643299</c:v>
                </c:pt>
                <c:pt idx="9313">
                  <c:v>5.8734960506337037</c:v>
                </c:pt>
                <c:pt idx="9314">
                  <c:v>6.0590733059181536</c:v>
                </c:pt>
                <c:pt idx="9315">
                  <c:v>5.8781416755201166</c:v>
                </c:pt>
                <c:pt idx="9316">
                  <c:v>6.0775595411943337</c:v>
                </c:pt>
                <c:pt idx="9317">
                  <c:v>4.9817427254534259</c:v>
                </c:pt>
                <c:pt idx="9318">
                  <c:v>6.0850642948938019</c:v>
                </c:pt>
                <c:pt idx="9319">
                  <c:v>6.0222462006700068</c:v>
                </c:pt>
                <c:pt idx="9320">
                  <c:v>7.1687699124276172</c:v>
                </c:pt>
                <c:pt idx="9321">
                  <c:v>5.0180026259660941</c:v>
                </c:pt>
                <c:pt idx="9322">
                  <c:v>5.8997947166241573</c:v>
                </c:pt>
                <c:pt idx="9323">
                  <c:v>5.1592475641045077</c:v>
                </c:pt>
                <c:pt idx="9324">
                  <c:v>5.727322212867838</c:v>
                </c:pt>
                <c:pt idx="9325">
                  <c:v>5.8266527225218541</c:v>
                </c:pt>
                <c:pt idx="9326">
                  <c:v>5.962107935359402</c:v>
                </c:pt>
                <c:pt idx="9327">
                  <c:v>6.0301380242274298</c:v>
                </c:pt>
                <c:pt idx="9328">
                  <c:v>5.0383019303533771</c:v>
                </c:pt>
                <c:pt idx="9329">
                  <c:v>6.0006152040786045</c:v>
                </c:pt>
                <c:pt idx="9330">
                  <c:v>5.1640539197581772</c:v>
                </c:pt>
                <c:pt idx="9331">
                  <c:v>6.1230434043385014</c:v>
                </c:pt>
                <c:pt idx="9332">
                  <c:v>4.859172498576819</c:v>
                </c:pt>
                <c:pt idx="9333">
                  <c:v>5.043285583949638</c:v>
                </c:pt>
                <c:pt idx="9334">
                  <c:v>5.0609657403461457</c:v>
                </c:pt>
                <c:pt idx="9335">
                  <c:v>6.0029110910060881</c:v>
                </c:pt>
                <c:pt idx="9336">
                  <c:v>6.0484794124253849</c:v>
                </c:pt>
                <c:pt idx="9337">
                  <c:v>5.0251730416899161</c:v>
                </c:pt>
                <c:pt idx="9338">
                  <c:v>6.1497489374420784</c:v>
                </c:pt>
                <c:pt idx="9339">
                  <c:v>4.9762685987647854</c:v>
                </c:pt>
                <c:pt idx="9340">
                  <c:v>5.0460297381213683</c:v>
                </c:pt>
                <c:pt idx="9341">
                  <c:v>4.8542853845834495</c:v>
                </c:pt>
                <c:pt idx="9342">
                  <c:v>5.9186971137192748</c:v>
                </c:pt>
                <c:pt idx="9343">
                  <c:v>7.1483610124072907</c:v>
                </c:pt>
                <c:pt idx="9344">
                  <c:v>5.017957366621749</c:v>
                </c:pt>
                <c:pt idx="9345">
                  <c:v>4.7582987384084054</c:v>
                </c:pt>
                <c:pt idx="9346">
                  <c:v>6.0295654235924658</c:v>
                </c:pt>
                <c:pt idx="9347">
                  <c:v>5.7924074729920614</c:v>
                </c:pt>
                <c:pt idx="9348">
                  <c:v>5.9927749906925296</c:v>
                </c:pt>
                <c:pt idx="9349">
                  <c:v>5.8865165230790906</c:v>
                </c:pt>
                <c:pt idx="9350">
                  <c:v>4.94992660829468</c:v>
                </c:pt>
                <c:pt idx="9351">
                  <c:v>5.1197853878263286</c:v>
                </c:pt>
                <c:pt idx="9352">
                  <c:v>4.998841033835248</c:v>
                </c:pt>
                <c:pt idx="9353">
                  <c:v>5.0086743802374549</c:v>
                </c:pt>
                <c:pt idx="9354">
                  <c:v>6.1244157789363234</c:v>
                </c:pt>
                <c:pt idx="9355">
                  <c:v>5.1619185383863364</c:v>
                </c:pt>
                <c:pt idx="9356">
                  <c:v>5.9748696037015314</c:v>
                </c:pt>
                <c:pt idx="9357">
                  <c:v>4.8319114053278902</c:v>
                </c:pt>
                <c:pt idx="9358">
                  <c:v>5.9032899980647784</c:v>
                </c:pt>
                <c:pt idx="9359">
                  <c:v>5.8093534641060636</c:v>
                </c:pt>
                <c:pt idx="9360">
                  <c:v>4.944420542490926</c:v>
                </c:pt>
                <c:pt idx="9361">
                  <c:v>4.974677621236741</c:v>
                </c:pt>
                <c:pt idx="9362">
                  <c:v>4.8860908503037326</c:v>
                </c:pt>
                <c:pt idx="9363">
                  <c:v>6.0462331014621133</c:v>
                </c:pt>
                <c:pt idx="9364">
                  <c:v>5.0131079295283403</c:v>
                </c:pt>
                <c:pt idx="9365">
                  <c:v>6.0472718834396648</c:v>
                </c:pt>
                <c:pt idx="9366">
                  <c:v>6.0178916151250714</c:v>
                </c:pt>
                <c:pt idx="9367">
                  <c:v>6.0985532431870997</c:v>
                </c:pt>
                <c:pt idx="9368">
                  <c:v>4.8497371364222293</c:v>
                </c:pt>
                <c:pt idx="9369">
                  <c:v>6.0306701118930741</c:v>
                </c:pt>
                <c:pt idx="9370">
                  <c:v>5.9628739728676772</c:v>
                </c:pt>
                <c:pt idx="9371">
                  <c:v>6.0866893236125019</c:v>
                </c:pt>
                <c:pt idx="9372">
                  <c:v>5.9849181822143542</c:v>
                </c:pt>
                <c:pt idx="9373">
                  <c:v>4.9432408516162099</c:v>
                </c:pt>
                <c:pt idx="9374">
                  <c:v>6.0073377403504562</c:v>
                </c:pt>
                <c:pt idx="9375">
                  <c:v>6.0795396587704325</c:v>
                </c:pt>
                <c:pt idx="9376">
                  <c:v>6.1988770399375381</c:v>
                </c:pt>
                <c:pt idx="9377">
                  <c:v>6.0936963421642165</c:v>
                </c:pt>
                <c:pt idx="9378">
                  <c:v>4.8766912464783259</c:v>
                </c:pt>
                <c:pt idx="9379">
                  <c:v>5.9210685562259293</c:v>
                </c:pt>
                <c:pt idx="9380">
                  <c:v>5.1468580075658856</c:v>
                </c:pt>
                <c:pt idx="9381">
                  <c:v>5.965437065317408</c:v>
                </c:pt>
                <c:pt idx="9382">
                  <c:v>5.8618327808661093</c:v>
                </c:pt>
                <c:pt idx="9383">
                  <c:v>6.0497089474108074</c:v>
                </c:pt>
                <c:pt idx="9384">
                  <c:v>5.8650465033693004</c:v>
                </c:pt>
                <c:pt idx="9385">
                  <c:v>4.9683421827614431</c:v>
                </c:pt>
                <c:pt idx="9386">
                  <c:v>6.0728867447576418</c:v>
                </c:pt>
                <c:pt idx="9387">
                  <c:v>5.9356576243735297</c:v>
                </c:pt>
                <c:pt idx="9388">
                  <c:v>5.892678259132917</c:v>
                </c:pt>
                <c:pt idx="9389">
                  <c:v>5.8870703990364346</c:v>
                </c:pt>
                <c:pt idx="9390">
                  <c:v>5.9812977516656813</c:v>
                </c:pt>
                <c:pt idx="9391">
                  <c:v>5.901371914502092</c:v>
                </c:pt>
                <c:pt idx="9392">
                  <c:v>5.9681184937314509</c:v>
                </c:pt>
                <c:pt idx="9393">
                  <c:v>5.1186195165358841</c:v>
                </c:pt>
                <c:pt idx="9394">
                  <c:v>6.13898026270373</c:v>
                </c:pt>
                <c:pt idx="9395">
                  <c:v>4.7873028217763958</c:v>
                </c:pt>
                <c:pt idx="9396">
                  <c:v>6.2240051873877942</c:v>
                </c:pt>
                <c:pt idx="9397">
                  <c:v>5.8730968818372613</c:v>
                </c:pt>
                <c:pt idx="9398">
                  <c:v>5.0951585610164836</c:v>
                </c:pt>
                <c:pt idx="9399">
                  <c:v>5.8445149400155625</c:v>
                </c:pt>
                <c:pt idx="9400">
                  <c:v>6.0672876701054239</c:v>
                </c:pt>
                <c:pt idx="9401">
                  <c:v>5.0025126943448619</c:v>
                </c:pt>
                <c:pt idx="9402">
                  <c:v>4.9275183963600995</c:v>
                </c:pt>
                <c:pt idx="9403">
                  <c:v>4.8414837230563572</c:v>
                </c:pt>
                <c:pt idx="9404">
                  <c:v>6.0354399938147134</c:v>
                </c:pt>
                <c:pt idx="9405">
                  <c:v>4.9242730873797687</c:v>
                </c:pt>
                <c:pt idx="9406">
                  <c:v>5.9692869501716102</c:v>
                </c:pt>
                <c:pt idx="9407">
                  <c:v>5.9081937323020357</c:v>
                </c:pt>
                <c:pt idx="9408">
                  <c:v>5.9881026818480887</c:v>
                </c:pt>
                <c:pt idx="9409">
                  <c:v>5.8626028930436629</c:v>
                </c:pt>
                <c:pt idx="9410">
                  <c:v>6.0726634212009776</c:v>
                </c:pt>
                <c:pt idx="9411">
                  <c:v>6.1008279470899494</c:v>
                </c:pt>
                <c:pt idx="9412">
                  <c:v>4.0983157321662453</c:v>
                </c:pt>
                <c:pt idx="9413">
                  <c:v>5.9241351602033134</c:v>
                </c:pt>
                <c:pt idx="9414">
                  <c:v>5.8522406191495548</c:v>
                </c:pt>
                <c:pt idx="9415">
                  <c:v>5.9292274945862697</c:v>
                </c:pt>
                <c:pt idx="9416">
                  <c:v>6.02459365493156</c:v>
                </c:pt>
                <c:pt idx="9417">
                  <c:v>4.9998318882748789</c:v>
                </c:pt>
                <c:pt idx="9418">
                  <c:v>5.9548801623229517</c:v>
                </c:pt>
                <c:pt idx="9419">
                  <c:v>5.0523177803060886</c:v>
                </c:pt>
                <c:pt idx="9420">
                  <c:v>5.9862928999208602</c:v>
                </c:pt>
                <c:pt idx="9421">
                  <c:v>6.1331476221448185</c:v>
                </c:pt>
                <c:pt idx="9422">
                  <c:v>6.1735851685575733</c:v>
                </c:pt>
                <c:pt idx="9423">
                  <c:v>6.0271286245625406</c:v>
                </c:pt>
                <c:pt idx="9424">
                  <c:v>6.0155762882011059</c:v>
                </c:pt>
                <c:pt idx="9425">
                  <c:v>6.1017216095410927</c:v>
                </c:pt>
                <c:pt idx="9426">
                  <c:v>6.188951324438662</c:v>
                </c:pt>
                <c:pt idx="9427">
                  <c:v>6.0239966096851738</c:v>
                </c:pt>
                <c:pt idx="9428">
                  <c:v>5.9555689637590232</c:v>
                </c:pt>
                <c:pt idx="9429">
                  <c:v>5.8562496868889387</c:v>
                </c:pt>
                <c:pt idx="9430">
                  <c:v>6.0483466838639339</c:v>
                </c:pt>
                <c:pt idx="9431">
                  <c:v>6.0192772795212939</c:v>
                </c:pt>
                <c:pt idx="9432">
                  <c:v>4.9777883743836515</c:v>
                </c:pt>
                <c:pt idx="9433">
                  <c:v>5.9586354891367979</c:v>
                </c:pt>
                <c:pt idx="9434">
                  <c:v>4.8361223390696884</c:v>
                </c:pt>
                <c:pt idx="9435">
                  <c:v>6.084970608438236</c:v>
                </c:pt>
                <c:pt idx="9436">
                  <c:v>5.8865146361122456</c:v>
                </c:pt>
                <c:pt idx="9437">
                  <c:v>6.1051929144906421</c:v>
                </c:pt>
                <c:pt idx="9438">
                  <c:v>5.9919165395456293</c:v>
                </c:pt>
                <c:pt idx="9439">
                  <c:v>4.9418020001555263</c:v>
                </c:pt>
                <c:pt idx="9440">
                  <c:v>4.9934960320644031</c:v>
                </c:pt>
                <c:pt idx="9441">
                  <c:v>4.8294048293705547</c:v>
                </c:pt>
                <c:pt idx="9442">
                  <c:v>5.9986397389417094</c:v>
                </c:pt>
                <c:pt idx="9443">
                  <c:v>4.9224710384517003</c:v>
                </c:pt>
                <c:pt idx="9444">
                  <c:v>4.983526642317563</c:v>
                </c:pt>
                <c:pt idx="9445">
                  <c:v>5.9023068263653631</c:v>
                </c:pt>
                <c:pt idx="9446">
                  <c:v>4.9509595686726096</c:v>
                </c:pt>
                <c:pt idx="9447">
                  <c:v>5.0406878847988121</c:v>
                </c:pt>
                <c:pt idx="9448">
                  <c:v>3.944428474241636</c:v>
                </c:pt>
                <c:pt idx="9449">
                  <c:v>4.8772675652542263</c:v>
                </c:pt>
                <c:pt idx="9450">
                  <c:v>5.0295985202303886</c:v>
                </c:pt>
                <c:pt idx="9451">
                  <c:v>5.991222960522026</c:v>
                </c:pt>
                <c:pt idx="9452">
                  <c:v>5.0238572087070175</c:v>
                </c:pt>
                <c:pt idx="9453">
                  <c:v>5.0039022052323521</c:v>
                </c:pt>
                <c:pt idx="9454">
                  <c:v>4.9105575625197364</c:v>
                </c:pt>
                <c:pt idx="9455">
                  <c:v>5.8844446975979068</c:v>
                </c:pt>
                <c:pt idx="9456">
                  <c:v>4.8682911275439258</c:v>
                </c:pt>
                <c:pt idx="9457">
                  <c:v>5.9168272364416641</c:v>
                </c:pt>
                <c:pt idx="9458">
                  <c:v>4.9781474785323772</c:v>
                </c:pt>
                <c:pt idx="9459">
                  <c:v>5.9187901304447603</c:v>
                </c:pt>
                <c:pt idx="9460">
                  <c:v>6.0824664752011763</c:v>
                </c:pt>
                <c:pt idx="9461">
                  <c:v>5.9701615462900461</c:v>
                </c:pt>
                <c:pt idx="9462">
                  <c:v>5.0633526791567514</c:v>
                </c:pt>
                <c:pt idx="9463">
                  <c:v>5.9859817763603003</c:v>
                </c:pt>
                <c:pt idx="9464">
                  <c:v>5.9327644301687847</c:v>
                </c:pt>
                <c:pt idx="9465">
                  <c:v>6.0193959178871701</c:v>
                </c:pt>
                <c:pt idx="9466">
                  <c:v>6.0480152408495238</c:v>
                </c:pt>
                <c:pt idx="9467">
                  <c:v>5.892620758566526</c:v>
                </c:pt>
                <c:pt idx="9468">
                  <c:v>4.9593261160462561</c:v>
                </c:pt>
                <c:pt idx="9469">
                  <c:v>5.0339024383377788</c:v>
                </c:pt>
                <c:pt idx="9470">
                  <c:v>6.9747470096034236</c:v>
                </c:pt>
                <c:pt idx="9471">
                  <c:v>6.1797834135758647</c:v>
                </c:pt>
                <c:pt idx="9472">
                  <c:v>6.055744862128547</c:v>
                </c:pt>
                <c:pt idx="9473">
                  <c:v>6.0702325482102601</c:v>
                </c:pt>
                <c:pt idx="9474">
                  <c:v>5.8720201799542799</c:v>
                </c:pt>
                <c:pt idx="9475">
                  <c:v>4.9212887463236585</c:v>
                </c:pt>
                <c:pt idx="9476">
                  <c:v>6.017745833084013</c:v>
                </c:pt>
                <c:pt idx="9477">
                  <c:v>5.8728716965703809</c:v>
                </c:pt>
                <c:pt idx="9478">
                  <c:v>4.9279353180752077</c:v>
                </c:pt>
                <c:pt idx="9479">
                  <c:v>5.896823810916457</c:v>
                </c:pt>
                <c:pt idx="9480">
                  <c:v>6.0209592050873892</c:v>
                </c:pt>
                <c:pt idx="9481">
                  <c:v>5.9425130241092994</c:v>
                </c:pt>
                <c:pt idx="9482">
                  <c:v>5.9970219417556097</c:v>
                </c:pt>
                <c:pt idx="9483">
                  <c:v>5.902975406976962</c:v>
                </c:pt>
                <c:pt idx="9484">
                  <c:v>6.0990103927841703</c:v>
                </c:pt>
                <c:pt idx="9485">
                  <c:v>5.9441090785823079</c:v>
                </c:pt>
                <c:pt idx="9486">
                  <c:v>4.8407165206106928</c:v>
                </c:pt>
                <c:pt idx="9487">
                  <c:v>5.8464847263406474</c:v>
                </c:pt>
                <c:pt idx="9488">
                  <c:v>6.0594434816779108</c:v>
                </c:pt>
                <c:pt idx="9489">
                  <c:v>5.8783215463549947</c:v>
                </c:pt>
                <c:pt idx="9490">
                  <c:v>4.8961706261176055</c:v>
                </c:pt>
                <c:pt idx="9491">
                  <c:v>5.9057774491675739</c:v>
                </c:pt>
                <c:pt idx="9492">
                  <c:v>4.8025896814363724</c:v>
                </c:pt>
                <c:pt idx="9493">
                  <c:v>4.9605271352716533</c:v>
                </c:pt>
                <c:pt idx="9494">
                  <c:v>5.0511146312201767</c:v>
                </c:pt>
                <c:pt idx="9495">
                  <c:v>4.9346550413121095</c:v>
                </c:pt>
                <c:pt idx="9496">
                  <c:v>4.9327605489555388</c:v>
                </c:pt>
                <c:pt idx="9497">
                  <c:v>5.995718074989469</c:v>
                </c:pt>
                <c:pt idx="9498">
                  <c:v>4.8849067093701732</c:v>
                </c:pt>
                <c:pt idx="9499">
                  <c:v>6.0365754923650128</c:v>
                </c:pt>
                <c:pt idx="9500">
                  <c:v>6.036800925990633</c:v>
                </c:pt>
                <c:pt idx="9501">
                  <c:v>4.8747267807066983</c:v>
                </c:pt>
                <c:pt idx="9502">
                  <c:v>4.9687127977523851</c:v>
                </c:pt>
                <c:pt idx="9503">
                  <c:v>5.0656815788410166</c:v>
                </c:pt>
                <c:pt idx="9504">
                  <c:v>6.0707220437024736</c:v>
                </c:pt>
                <c:pt idx="9505">
                  <c:v>5.9145971954181391</c:v>
                </c:pt>
                <c:pt idx="9506">
                  <c:v>5.0557517526136913</c:v>
                </c:pt>
                <c:pt idx="9507">
                  <c:v>5.959431969825232</c:v>
                </c:pt>
                <c:pt idx="9508">
                  <c:v>6.1848700086664126</c:v>
                </c:pt>
                <c:pt idx="9509">
                  <c:v>5.8667082503699151</c:v>
                </c:pt>
                <c:pt idx="9510">
                  <c:v>5.9181852003688293</c:v>
                </c:pt>
                <c:pt idx="9511">
                  <c:v>6.029076446819098</c:v>
                </c:pt>
                <c:pt idx="9512">
                  <c:v>6.1525325908279527</c:v>
                </c:pt>
                <c:pt idx="9513">
                  <c:v>5.8120550246068374</c:v>
                </c:pt>
                <c:pt idx="9514">
                  <c:v>4.8883970020390972</c:v>
                </c:pt>
                <c:pt idx="9515">
                  <c:v>6.0520354051160901</c:v>
                </c:pt>
                <c:pt idx="9516">
                  <c:v>4.9525113715187654</c:v>
                </c:pt>
                <c:pt idx="9517">
                  <c:v>6.0195973518185513</c:v>
                </c:pt>
                <c:pt idx="9518">
                  <c:v>5.9278846115272668</c:v>
                </c:pt>
                <c:pt idx="9519">
                  <c:v>5.1073301320138889</c:v>
                </c:pt>
                <c:pt idx="9520">
                  <c:v>4.9514607373193558</c:v>
                </c:pt>
                <c:pt idx="9521">
                  <c:v>5.7958484302220246</c:v>
                </c:pt>
                <c:pt idx="9522">
                  <c:v>5.045074540983264</c:v>
                </c:pt>
                <c:pt idx="9523">
                  <c:v>5.9652220770019806</c:v>
                </c:pt>
                <c:pt idx="9524">
                  <c:v>6.8501535741504789</c:v>
                </c:pt>
                <c:pt idx="9525">
                  <c:v>4.9898074275078157</c:v>
                </c:pt>
                <c:pt idx="9526">
                  <c:v>5.7628364470026261</c:v>
                </c:pt>
                <c:pt idx="9527">
                  <c:v>6.1535345874946374</c:v>
                </c:pt>
                <c:pt idx="9528">
                  <c:v>6.0573829297901893</c:v>
                </c:pt>
                <c:pt idx="9529">
                  <c:v>4.9881826378371406</c:v>
                </c:pt>
                <c:pt idx="9530">
                  <c:v>5.8905518022422259</c:v>
                </c:pt>
                <c:pt idx="9531">
                  <c:v>5.0367077371156883</c:v>
                </c:pt>
                <c:pt idx="9532">
                  <c:v>7.0388162323667567</c:v>
                </c:pt>
                <c:pt idx="9533">
                  <c:v>5.0281821866617369</c:v>
                </c:pt>
                <c:pt idx="9534">
                  <c:v>5.9448166602648591</c:v>
                </c:pt>
                <c:pt idx="9535">
                  <c:v>5.9798737756582199</c:v>
                </c:pt>
                <c:pt idx="9536">
                  <c:v>5.9033784679259913</c:v>
                </c:pt>
                <c:pt idx="9537">
                  <c:v>5.096351254112875</c:v>
                </c:pt>
                <c:pt idx="9538">
                  <c:v>6.0933889978036397</c:v>
                </c:pt>
                <c:pt idx="9539">
                  <c:v>6.0084276076294509</c:v>
                </c:pt>
                <c:pt idx="9540">
                  <c:v>6.1027717353372566</c:v>
                </c:pt>
                <c:pt idx="9541">
                  <c:v>5.9182599619453331</c:v>
                </c:pt>
                <c:pt idx="9542">
                  <c:v>6.0926164225820596</c:v>
                </c:pt>
                <c:pt idx="9543">
                  <c:v>6.0553965528202784</c:v>
                </c:pt>
                <c:pt idx="9544">
                  <c:v>4.9478018430459301</c:v>
                </c:pt>
                <c:pt idx="9545">
                  <c:v>4.958013815038858</c:v>
                </c:pt>
                <c:pt idx="9546">
                  <c:v>6.0062655402069467</c:v>
                </c:pt>
                <c:pt idx="9547">
                  <c:v>5.0830315078096611</c:v>
                </c:pt>
                <c:pt idx="9548">
                  <c:v>5.0241491775903544</c:v>
                </c:pt>
                <c:pt idx="9549">
                  <c:v>5.1764396542500366</c:v>
                </c:pt>
                <c:pt idx="9550">
                  <c:v>4.9761973238424728</c:v>
                </c:pt>
                <c:pt idx="9551">
                  <c:v>5.9069100976152944</c:v>
                </c:pt>
                <c:pt idx="9552">
                  <c:v>5.9872119891897846</c:v>
                </c:pt>
                <c:pt idx="9553">
                  <c:v>5.9545142207918174</c:v>
                </c:pt>
                <c:pt idx="9554">
                  <c:v>4.9129931260762216</c:v>
                </c:pt>
                <c:pt idx="9555">
                  <c:v>6.1074368603974589</c:v>
                </c:pt>
                <c:pt idx="9556">
                  <c:v>5.9868174790355839</c:v>
                </c:pt>
                <c:pt idx="9557">
                  <c:v>5.0625852847246193</c:v>
                </c:pt>
                <c:pt idx="9558">
                  <c:v>5.7997029589732678</c:v>
                </c:pt>
                <c:pt idx="9559">
                  <c:v>6.2164413936191032</c:v>
                </c:pt>
                <c:pt idx="9560">
                  <c:v>5.9769658218791397</c:v>
                </c:pt>
                <c:pt idx="9561">
                  <c:v>5.9307619361838153</c:v>
                </c:pt>
                <c:pt idx="9562">
                  <c:v>4.9730491138721389</c:v>
                </c:pt>
                <c:pt idx="9563">
                  <c:v>4.9367022279817441</c:v>
                </c:pt>
                <c:pt idx="9564">
                  <c:v>5.0604217405147311</c:v>
                </c:pt>
                <c:pt idx="9565">
                  <c:v>5.0752902489179421</c:v>
                </c:pt>
                <c:pt idx="9566">
                  <c:v>5.1079800478202282</c:v>
                </c:pt>
                <c:pt idx="9567">
                  <c:v>5.89585502920177</c:v>
                </c:pt>
                <c:pt idx="9568">
                  <c:v>5.9695042476128801</c:v>
                </c:pt>
                <c:pt idx="9569">
                  <c:v>4.8964764606295352</c:v>
                </c:pt>
                <c:pt idx="9570">
                  <c:v>5.8916186481867463</c:v>
                </c:pt>
                <c:pt idx="9571">
                  <c:v>5.1131915397386347</c:v>
                </c:pt>
                <c:pt idx="9572">
                  <c:v>7.2229033074165399</c:v>
                </c:pt>
                <c:pt idx="9573">
                  <c:v>4.9106854274989482</c:v>
                </c:pt>
                <c:pt idx="9574">
                  <c:v>5.959324814907494</c:v>
                </c:pt>
                <c:pt idx="9575">
                  <c:v>4.9173301765921025</c:v>
                </c:pt>
                <c:pt idx="9576">
                  <c:v>4.9281158798215232</c:v>
                </c:pt>
                <c:pt idx="9577">
                  <c:v>4.909810509952</c:v>
                </c:pt>
                <c:pt idx="9578">
                  <c:v>7.0499919844381411</c:v>
                </c:pt>
                <c:pt idx="9579">
                  <c:v>5.0346564740789335</c:v>
                </c:pt>
                <c:pt idx="9580">
                  <c:v>6.1680101060219474</c:v>
                </c:pt>
                <c:pt idx="9581">
                  <c:v>5.9869562134549374</c:v>
                </c:pt>
                <c:pt idx="9582">
                  <c:v>6.0944634497838654</c:v>
                </c:pt>
                <c:pt idx="9583">
                  <c:v>6.9416236674722462</c:v>
                </c:pt>
                <c:pt idx="9584">
                  <c:v>4.97809365948733</c:v>
                </c:pt>
                <c:pt idx="9585">
                  <c:v>6.0954520406739379</c:v>
                </c:pt>
                <c:pt idx="9586">
                  <c:v>5.1100323107031294</c:v>
                </c:pt>
                <c:pt idx="9587">
                  <c:v>4.875755286559782</c:v>
                </c:pt>
                <c:pt idx="9588">
                  <c:v>5.8645507332857765</c:v>
                </c:pt>
                <c:pt idx="9589">
                  <c:v>5.01134876832859</c:v>
                </c:pt>
                <c:pt idx="9590">
                  <c:v>4.9742169755061223</c:v>
                </c:pt>
                <c:pt idx="9591">
                  <c:v>4.9620506980466565</c:v>
                </c:pt>
                <c:pt idx="9592">
                  <c:v>4.8840745922839881</c:v>
                </c:pt>
                <c:pt idx="9593">
                  <c:v>4.8623253758850637</c:v>
                </c:pt>
                <c:pt idx="9594">
                  <c:v>5.9833208523981991</c:v>
                </c:pt>
                <c:pt idx="9595">
                  <c:v>4.8695541658142636</c:v>
                </c:pt>
                <c:pt idx="9596">
                  <c:v>4.9914489563769466</c:v>
                </c:pt>
                <c:pt idx="9597">
                  <c:v>5.9811449277498223</c:v>
                </c:pt>
                <c:pt idx="9598">
                  <c:v>5.9081567296161142</c:v>
                </c:pt>
                <c:pt idx="9599">
                  <c:v>6.0175823616327779</c:v>
                </c:pt>
                <c:pt idx="9600">
                  <c:v>5.198288968779508</c:v>
                </c:pt>
                <c:pt idx="9601">
                  <c:v>5.9712063654737317</c:v>
                </c:pt>
                <c:pt idx="9602">
                  <c:v>4.874666919640207</c:v>
                </c:pt>
                <c:pt idx="9603">
                  <c:v>5.0032475080935175</c:v>
                </c:pt>
                <c:pt idx="9604">
                  <c:v>5.191302973350588</c:v>
                </c:pt>
                <c:pt idx="9605">
                  <c:v>5.0671235851823093</c:v>
                </c:pt>
                <c:pt idx="9606">
                  <c:v>4.9608257349717055</c:v>
                </c:pt>
                <c:pt idx="9607">
                  <c:v>5.0771694301651884</c:v>
                </c:pt>
                <c:pt idx="9608">
                  <c:v>4.8773849698088254</c:v>
                </c:pt>
                <c:pt idx="9609">
                  <c:v>4.9341681318047375</c:v>
                </c:pt>
                <c:pt idx="9610">
                  <c:v>5.0470357347558075</c:v>
                </c:pt>
                <c:pt idx="9611">
                  <c:v>4.8803171246007571</c:v>
                </c:pt>
                <c:pt idx="9612">
                  <c:v>5.112508657072194</c:v>
                </c:pt>
                <c:pt idx="9613">
                  <c:v>6.0291298731421072</c:v>
                </c:pt>
                <c:pt idx="9614">
                  <c:v>6.0241011098763098</c:v>
                </c:pt>
                <c:pt idx="9615">
                  <c:v>4.8495104004409519</c:v>
                </c:pt>
                <c:pt idx="9616">
                  <c:v>4.8871614835024308</c:v>
                </c:pt>
                <c:pt idx="9617">
                  <c:v>5.1776936437651377</c:v>
                </c:pt>
                <c:pt idx="9618">
                  <c:v>6.037606003225978</c:v>
                </c:pt>
                <c:pt idx="9619">
                  <c:v>4.8898458086883165</c:v>
                </c:pt>
                <c:pt idx="9620">
                  <c:v>4.9679402881939128</c:v>
                </c:pt>
                <c:pt idx="9621">
                  <c:v>5.0942904879141482</c:v>
                </c:pt>
                <c:pt idx="9622">
                  <c:v>4.9860132981996319</c:v>
                </c:pt>
                <c:pt idx="9623">
                  <c:v>5.0565758450491884</c:v>
                </c:pt>
                <c:pt idx="9624">
                  <c:v>6.1440686774613367</c:v>
                </c:pt>
                <c:pt idx="9625">
                  <c:v>5.1052179101774673</c:v>
                </c:pt>
                <c:pt idx="9626">
                  <c:v>5.0491589518300533</c:v>
                </c:pt>
                <c:pt idx="9627">
                  <c:v>6.0123750036703036</c:v>
                </c:pt>
                <c:pt idx="9628">
                  <c:v>5.9902753861395981</c:v>
                </c:pt>
                <c:pt idx="9629">
                  <c:v>5.0886321256411993</c:v>
                </c:pt>
                <c:pt idx="9630">
                  <c:v>5.0313347782381364</c:v>
                </c:pt>
                <c:pt idx="9631">
                  <c:v>4.9124803058950981</c:v>
                </c:pt>
                <c:pt idx="9632">
                  <c:v>5.8976866242423487</c:v>
                </c:pt>
                <c:pt idx="9633">
                  <c:v>4.84761627809341</c:v>
                </c:pt>
                <c:pt idx="9634">
                  <c:v>4.8368340005499189</c:v>
                </c:pt>
                <c:pt idx="9635">
                  <c:v>5.984731997634622</c:v>
                </c:pt>
                <c:pt idx="9636">
                  <c:v>5.027724739599571</c:v>
                </c:pt>
                <c:pt idx="9637">
                  <c:v>4.1744310563943348</c:v>
                </c:pt>
                <c:pt idx="9638">
                  <c:v>3.9577292662010719</c:v>
                </c:pt>
                <c:pt idx="9639">
                  <c:v>6.0538970922257382</c:v>
                </c:pt>
                <c:pt idx="9640">
                  <c:v>4.903450830490339</c:v>
                </c:pt>
                <c:pt idx="9641">
                  <c:v>4.994189037171644</c:v>
                </c:pt>
                <c:pt idx="9642">
                  <c:v>5.0419981816805945</c:v>
                </c:pt>
                <c:pt idx="9643">
                  <c:v>6.0184929020275142</c:v>
                </c:pt>
                <c:pt idx="9644">
                  <c:v>6.0637274459309394</c:v>
                </c:pt>
                <c:pt idx="9645">
                  <c:v>5.0896405031641239</c:v>
                </c:pt>
                <c:pt idx="9646">
                  <c:v>6.0233967340870986</c:v>
                </c:pt>
                <c:pt idx="9647">
                  <c:v>5.1479324297306404</c:v>
                </c:pt>
                <c:pt idx="9648">
                  <c:v>4.9212749323737688</c:v>
                </c:pt>
                <c:pt idx="9649">
                  <c:v>4.9469616738614901</c:v>
                </c:pt>
                <c:pt idx="9650">
                  <c:v>4.9782707544500981</c:v>
                </c:pt>
                <c:pt idx="9651">
                  <c:v>5.2141645271826125</c:v>
                </c:pt>
                <c:pt idx="9652">
                  <c:v>6.9150795760375052</c:v>
                </c:pt>
                <c:pt idx="9653">
                  <c:v>5.9233506948836965</c:v>
                </c:pt>
                <c:pt idx="9654">
                  <c:v>4.8308054961409264</c:v>
                </c:pt>
                <c:pt idx="9655">
                  <c:v>6.112296889014071</c:v>
                </c:pt>
                <c:pt idx="9656">
                  <c:v>5.1404447643174871</c:v>
                </c:pt>
                <c:pt idx="9657">
                  <c:v>5.9721518245532135</c:v>
                </c:pt>
                <c:pt idx="9658">
                  <c:v>6.0877577865688375</c:v>
                </c:pt>
                <c:pt idx="9659">
                  <c:v>4.9153412271179153</c:v>
                </c:pt>
                <c:pt idx="9660">
                  <c:v>5.9907629328919318</c:v>
                </c:pt>
                <c:pt idx="9661">
                  <c:v>6.1488159384079548</c:v>
                </c:pt>
                <c:pt idx="9662">
                  <c:v>5.1659263377292293</c:v>
                </c:pt>
                <c:pt idx="9663">
                  <c:v>6.0667229014591664</c:v>
                </c:pt>
                <c:pt idx="9664">
                  <c:v>6.0836614166439951</c:v>
                </c:pt>
                <c:pt idx="9665">
                  <c:v>4.9253316826150408</c:v>
                </c:pt>
                <c:pt idx="9666">
                  <c:v>5.0768624288872024</c:v>
                </c:pt>
                <c:pt idx="9667">
                  <c:v>5.0346494847623173</c:v>
                </c:pt>
                <c:pt idx="9668">
                  <c:v>5.9704368783994832</c:v>
                </c:pt>
                <c:pt idx="9669">
                  <c:v>4.8174365782958191</c:v>
                </c:pt>
                <c:pt idx="9670">
                  <c:v>5.212637437375089</c:v>
                </c:pt>
                <c:pt idx="9671">
                  <c:v>5.9046818436135906</c:v>
                </c:pt>
                <c:pt idx="9672">
                  <c:v>4.9884676219646504</c:v>
                </c:pt>
                <c:pt idx="9673">
                  <c:v>6.0268604177681304</c:v>
                </c:pt>
                <c:pt idx="9674">
                  <c:v>5.8700013399919868</c:v>
                </c:pt>
                <c:pt idx="9675">
                  <c:v>6.1494510769544801</c:v>
                </c:pt>
                <c:pt idx="9676">
                  <c:v>6.0549535218244337</c:v>
                </c:pt>
                <c:pt idx="9677">
                  <c:v>5.9608687769394839</c:v>
                </c:pt>
                <c:pt idx="9678">
                  <c:v>5.948865511527166</c:v>
                </c:pt>
                <c:pt idx="9679">
                  <c:v>6.0563991640296857</c:v>
                </c:pt>
                <c:pt idx="9680">
                  <c:v>5.0618195095464946</c:v>
                </c:pt>
                <c:pt idx="9681">
                  <c:v>5.895462981265621</c:v>
                </c:pt>
                <c:pt idx="9682">
                  <c:v>4.0023356133864905</c:v>
                </c:pt>
                <c:pt idx="9683">
                  <c:v>4.0195888370899899</c:v>
                </c:pt>
                <c:pt idx="9684">
                  <c:v>6.8932439663567182</c:v>
                </c:pt>
                <c:pt idx="9685">
                  <c:v>5.9319840812289222</c:v>
                </c:pt>
                <c:pt idx="9686">
                  <c:v>6.0106733027640455</c:v>
                </c:pt>
                <c:pt idx="9687">
                  <c:v>5.9732357913415415</c:v>
                </c:pt>
                <c:pt idx="9688">
                  <c:v>6.1314103404013949</c:v>
                </c:pt>
                <c:pt idx="9689">
                  <c:v>5.9153728966973906</c:v>
                </c:pt>
                <c:pt idx="9690">
                  <c:v>6.2025711188714698</c:v>
                </c:pt>
                <c:pt idx="9691">
                  <c:v>5.8519443906149879</c:v>
                </c:pt>
                <c:pt idx="9692">
                  <c:v>6.1657510797163253</c:v>
                </c:pt>
                <c:pt idx="9693">
                  <c:v>5.1447120220490348</c:v>
                </c:pt>
                <c:pt idx="9694">
                  <c:v>5.0017707735617076</c:v>
                </c:pt>
                <c:pt idx="9695">
                  <c:v>5.1266142085281796</c:v>
                </c:pt>
                <c:pt idx="9696">
                  <c:v>4.9671457049824514</c:v>
                </c:pt>
                <c:pt idx="9697">
                  <c:v>5.0594448625168651</c:v>
                </c:pt>
                <c:pt idx="9698">
                  <c:v>4.8632927151421601</c:v>
                </c:pt>
                <c:pt idx="9699">
                  <c:v>5.9010825379645961</c:v>
                </c:pt>
                <c:pt idx="9700">
                  <c:v>5.001750966358073</c:v>
                </c:pt>
                <c:pt idx="9701">
                  <c:v>6.0402284179155439</c:v>
                </c:pt>
                <c:pt idx="9702">
                  <c:v>5.9830160766646543</c:v>
                </c:pt>
                <c:pt idx="9703">
                  <c:v>5.8424753190606129</c:v>
                </c:pt>
                <c:pt idx="9704">
                  <c:v>6.069950807879736</c:v>
                </c:pt>
                <c:pt idx="9705">
                  <c:v>6.0391263157196171</c:v>
                </c:pt>
                <c:pt idx="9706">
                  <c:v>6.0564201690562127</c:v>
                </c:pt>
                <c:pt idx="9707">
                  <c:v>5.0321259255561213</c:v>
                </c:pt>
                <c:pt idx="9708">
                  <c:v>4.0307375105215568</c:v>
                </c:pt>
                <c:pt idx="9709">
                  <c:v>4.8137673704146149</c:v>
                </c:pt>
                <c:pt idx="9710">
                  <c:v>5.9062480380493172</c:v>
                </c:pt>
                <c:pt idx="9711">
                  <c:v>5.1590251931376132</c:v>
                </c:pt>
                <c:pt idx="9712">
                  <c:v>5.9915768043177611</c:v>
                </c:pt>
                <c:pt idx="9713">
                  <c:v>5.9535546918861106</c:v>
                </c:pt>
                <c:pt idx="9714">
                  <c:v>5.9741507033697818</c:v>
                </c:pt>
                <c:pt idx="9715">
                  <c:v>6.0071455592914047</c:v>
                </c:pt>
                <c:pt idx="9716">
                  <c:v>2.910928797674746</c:v>
                </c:pt>
                <c:pt idx="9717">
                  <c:v>5.8545744685034675</c:v>
                </c:pt>
                <c:pt idx="9718">
                  <c:v>5.9939939577005674</c:v>
                </c:pt>
                <c:pt idx="9719">
                  <c:v>2.9094285139093632</c:v>
                </c:pt>
                <c:pt idx="9720">
                  <c:v>5.1022514293502459</c:v>
                </c:pt>
                <c:pt idx="9721">
                  <c:v>2.9703911315938614</c:v>
                </c:pt>
                <c:pt idx="9722">
                  <c:v>5.0450301965538467</c:v>
                </c:pt>
                <c:pt idx="9723">
                  <c:v>5.9875685542552928</c:v>
                </c:pt>
                <c:pt idx="9724">
                  <c:v>5.9322766514047212</c:v>
                </c:pt>
                <c:pt idx="9725">
                  <c:v>5.9382197137468946</c:v>
                </c:pt>
                <c:pt idx="9726">
                  <c:v>4.9375824157219146</c:v>
                </c:pt>
                <c:pt idx="9727">
                  <c:v>4.8856599388567332</c:v>
                </c:pt>
                <c:pt idx="9728">
                  <c:v>5.9735814021808373</c:v>
                </c:pt>
                <c:pt idx="9729">
                  <c:v>6.0663845087494552</c:v>
                </c:pt>
                <c:pt idx="9730">
                  <c:v>6.9092863659930241</c:v>
                </c:pt>
                <c:pt idx="9731">
                  <c:v>5.9505231250166597</c:v>
                </c:pt>
                <c:pt idx="9732">
                  <c:v>5.9630228614957552</c:v>
                </c:pt>
                <c:pt idx="9733">
                  <c:v>4.9484497463167596</c:v>
                </c:pt>
                <c:pt idx="9734">
                  <c:v>5.1166721484342945</c:v>
                </c:pt>
                <c:pt idx="9735">
                  <c:v>6.24630205695372</c:v>
                </c:pt>
                <c:pt idx="9736">
                  <c:v>4.9571740434828504</c:v>
                </c:pt>
                <c:pt idx="9737">
                  <c:v>5.9670102431938732</c:v>
                </c:pt>
                <c:pt idx="9738">
                  <c:v>6.0629113960026375</c:v>
                </c:pt>
                <c:pt idx="9739">
                  <c:v>6.0154910043138257</c:v>
                </c:pt>
                <c:pt idx="9740">
                  <c:v>6.0621850351185094</c:v>
                </c:pt>
                <c:pt idx="9741">
                  <c:v>5.9293206374421992</c:v>
                </c:pt>
                <c:pt idx="9742">
                  <c:v>5.9942309630383832</c:v>
                </c:pt>
                <c:pt idx="9743">
                  <c:v>6.8795675695445606</c:v>
                </c:pt>
                <c:pt idx="9744">
                  <c:v>6.0254596542420078</c:v>
                </c:pt>
                <c:pt idx="9745">
                  <c:v>6.0277643444637219</c:v>
                </c:pt>
                <c:pt idx="9746">
                  <c:v>5.9505226522633841</c:v>
                </c:pt>
                <c:pt idx="9747">
                  <c:v>6.0401224733741383</c:v>
                </c:pt>
                <c:pt idx="9748">
                  <c:v>5.0256835848171102</c:v>
                </c:pt>
                <c:pt idx="9749">
                  <c:v>4.9072874591944631</c:v>
                </c:pt>
                <c:pt idx="9750">
                  <c:v>4.8281322478726798</c:v>
                </c:pt>
                <c:pt idx="9751">
                  <c:v>6.1047456188203046</c:v>
                </c:pt>
                <c:pt idx="9752">
                  <c:v>5.0662739683800462</c:v>
                </c:pt>
                <c:pt idx="9753">
                  <c:v>5.087634730296803</c:v>
                </c:pt>
                <c:pt idx="9754">
                  <c:v>1.9318062446772142</c:v>
                </c:pt>
                <c:pt idx="9755">
                  <c:v>1.9606230070228625</c:v>
                </c:pt>
                <c:pt idx="9756">
                  <c:v>6.0218019749832177</c:v>
                </c:pt>
                <c:pt idx="9757">
                  <c:v>5.0144398548965166</c:v>
                </c:pt>
                <c:pt idx="9758">
                  <c:v>5.0871416233646904</c:v>
                </c:pt>
                <c:pt idx="9759">
                  <c:v>5.0024939107788811</c:v>
                </c:pt>
                <c:pt idx="9760">
                  <c:v>5.0325478315521313</c:v>
                </c:pt>
                <c:pt idx="9761">
                  <c:v>6.1428066109479307</c:v>
                </c:pt>
                <c:pt idx="9762">
                  <c:v>5.8764656030808284</c:v>
                </c:pt>
                <c:pt idx="9763">
                  <c:v>4.8256747870335932</c:v>
                </c:pt>
                <c:pt idx="9764">
                  <c:v>5.8732703808195392</c:v>
                </c:pt>
                <c:pt idx="9765">
                  <c:v>6.0765664350321851</c:v>
                </c:pt>
                <c:pt idx="9766">
                  <c:v>6.9280002187633194</c:v>
                </c:pt>
                <c:pt idx="9767">
                  <c:v>5.9583949927576425</c:v>
                </c:pt>
                <c:pt idx="9768">
                  <c:v>5.0469478070828515</c:v>
                </c:pt>
                <c:pt idx="9769">
                  <c:v>6.0455423603405762</c:v>
                </c:pt>
                <c:pt idx="9770">
                  <c:v>5.931844452027188</c:v>
                </c:pt>
                <c:pt idx="9771">
                  <c:v>6.0635631804431753</c:v>
                </c:pt>
                <c:pt idx="9772">
                  <c:v>6.0921419761633739</c:v>
                </c:pt>
                <c:pt idx="9773">
                  <c:v>5.9314542139130557</c:v>
                </c:pt>
                <c:pt idx="9774">
                  <c:v>6.0511470707270858</c:v>
                </c:pt>
                <c:pt idx="9775">
                  <c:v>5.980303433427606</c:v>
                </c:pt>
                <c:pt idx="9776">
                  <c:v>6.2146487476230359</c:v>
                </c:pt>
                <c:pt idx="9777">
                  <c:v>5.9994325056539299</c:v>
                </c:pt>
                <c:pt idx="9778">
                  <c:v>4.8369598595527599</c:v>
                </c:pt>
                <c:pt idx="9779">
                  <c:v>3.0798320571685172</c:v>
                </c:pt>
                <c:pt idx="9780">
                  <c:v>6.1223342654138149</c:v>
                </c:pt>
                <c:pt idx="9781">
                  <c:v>6.0319020264165752</c:v>
                </c:pt>
                <c:pt idx="9782">
                  <c:v>5.9828905367394878</c:v>
                </c:pt>
                <c:pt idx="9783">
                  <c:v>5.0001101872250047</c:v>
                </c:pt>
                <c:pt idx="9784">
                  <c:v>5.023035920134828</c:v>
                </c:pt>
                <c:pt idx="9785">
                  <c:v>5.9090265810320286</c:v>
                </c:pt>
                <c:pt idx="9786">
                  <c:v>6.1523296822791345</c:v>
                </c:pt>
                <c:pt idx="9787">
                  <c:v>6.0188021656956554</c:v>
                </c:pt>
                <c:pt idx="9788">
                  <c:v>5.9596734903953781</c:v>
                </c:pt>
                <c:pt idx="9789">
                  <c:v>5.8996267807317402</c:v>
                </c:pt>
                <c:pt idx="9790">
                  <c:v>5.1008272776409074</c:v>
                </c:pt>
                <c:pt idx="9791">
                  <c:v>5.9922937094435316</c:v>
                </c:pt>
                <c:pt idx="9792">
                  <c:v>5.9749488014842767</c:v>
                </c:pt>
                <c:pt idx="9793">
                  <c:v>5.6959144752045718</c:v>
                </c:pt>
                <c:pt idx="9794">
                  <c:v>5.8755152082816249</c:v>
                </c:pt>
                <c:pt idx="9795">
                  <c:v>6.1311238247973012</c:v>
                </c:pt>
                <c:pt idx="9796">
                  <c:v>6.1733875071755699</c:v>
                </c:pt>
                <c:pt idx="9797">
                  <c:v>6.0888786413494458</c:v>
                </c:pt>
                <c:pt idx="9798">
                  <c:v>5.9360178171359212</c:v>
                </c:pt>
                <c:pt idx="9799">
                  <c:v>5.9857854339549865</c:v>
                </c:pt>
                <c:pt idx="9800">
                  <c:v>5.8215118859532851</c:v>
                </c:pt>
                <c:pt idx="9801">
                  <c:v>4.8976600751388748</c:v>
                </c:pt>
                <c:pt idx="9802">
                  <c:v>6.0775666525805008</c:v>
                </c:pt>
                <c:pt idx="9803">
                  <c:v>5.8794327093285021</c:v>
                </c:pt>
                <c:pt idx="9804">
                  <c:v>6.1230797876485319</c:v>
                </c:pt>
                <c:pt idx="9805">
                  <c:v>6.0898244579866381</c:v>
                </c:pt>
                <c:pt idx="9806">
                  <c:v>6.1292865334461153</c:v>
                </c:pt>
                <c:pt idx="9807">
                  <c:v>6.8912665204084602</c:v>
                </c:pt>
                <c:pt idx="9808">
                  <c:v>4.9953563705557782</c:v>
                </c:pt>
                <c:pt idx="9809">
                  <c:v>6.1182209975938511</c:v>
                </c:pt>
                <c:pt idx="9810">
                  <c:v>4.9081860045229933</c:v>
                </c:pt>
                <c:pt idx="9811">
                  <c:v>5.9255479884870734</c:v>
                </c:pt>
                <c:pt idx="9812">
                  <c:v>6.1390118427808602</c:v>
                </c:pt>
                <c:pt idx="9813">
                  <c:v>2.9826318074555243</c:v>
                </c:pt>
                <c:pt idx="9814">
                  <c:v>6.0547081412299466</c:v>
                </c:pt>
                <c:pt idx="9815">
                  <c:v>4.9572762579147689</c:v>
                </c:pt>
                <c:pt idx="9816">
                  <c:v>5.9239390985265521</c:v>
                </c:pt>
                <c:pt idx="9817">
                  <c:v>5.7519619650314375</c:v>
                </c:pt>
                <c:pt idx="9818">
                  <c:v>6.2028820949355854</c:v>
                </c:pt>
                <c:pt idx="9819">
                  <c:v>5.0341353079234468</c:v>
                </c:pt>
                <c:pt idx="9820">
                  <c:v>6.1165638239583835</c:v>
                </c:pt>
                <c:pt idx="9821">
                  <c:v>5.9158527929723279</c:v>
                </c:pt>
                <c:pt idx="9822">
                  <c:v>5.1532778430541644</c:v>
                </c:pt>
                <c:pt idx="9823">
                  <c:v>5.9132037800151194</c:v>
                </c:pt>
                <c:pt idx="9824">
                  <c:v>6.0577015148612752</c:v>
                </c:pt>
                <c:pt idx="9825">
                  <c:v>6.1453218422314411</c:v>
                </c:pt>
                <c:pt idx="9826">
                  <c:v>5.8780441119279692</c:v>
                </c:pt>
                <c:pt idx="9827">
                  <c:v>5.0898211600746697</c:v>
                </c:pt>
                <c:pt idx="9828">
                  <c:v>4.7578697175007987</c:v>
                </c:pt>
                <c:pt idx="9829">
                  <c:v>5.8773914584027871</c:v>
                </c:pt>
                <c:pt idx="9830">
                  <c:v>4.9777544546879096</c:v>
                </c:pt>
                <c:pt idx="9831">
                  <c:v>7.0603775218910076</c:v>
                </c:pt>
                <c:pt idx="9832">
                  <c:v>4.9617571172863748</c:v>
                </c:pt>
                <c:pt idx="9833">
                  <c:v>4.7690818886301356</c:v>
                </c:pt>
                <c:pt idx="9834">
                  <c:v>5.0639666662545793</c:v>
                </c:pt>
                <c:pt idx="9835">
                  <c:v>5.9103073297297062</c:v>
                </c:pt>
                <c:pt idx="9836">
                  <c:v>4.901511774064395</c:v>
                </c:pt>
                <c:pt idx="9837">
                  <c:v>7.0478195845428226</c:v>
                </c:pt>
                <c:pt idx="9838">
                  <c:v>4.930654162940038</c:v>
                </c:pt>
                <c:pt idx="9839">
                  <c:v>6.0668582663435471</c:v>
                </c:pt>
                <c:pt idx="9840">
                  <c:v>5.1105253233302355</c:v>
                </c:pt>
                <c:pt idx="9841">
                  <c:v>4.886845324659534</c:v>
                </c:pt>
                <c:pt idx="9842">
                  <c:v>6.0761143650216303</c:v>
                </c:pt>
                <c:pt idx="9843">
                  <c:v>5.0043806633124257</c:v>
                </c:pt>
                <c:pt idx="9844">
                  <c:v>5.9221493277888788</c:v>
                </c:pt>
                <c:pt idx="9845">
                  <c:v>6.0307008428962954</c:v>
                </c:pt>
                <c:pt idx="9846">
                  <c:v>5.8562687437954972</c:v>
                </c:pt>
                <c:pt idx="9847">
                  <c:v>6.0480594746899259</c:v>
                </c:pt>
                <c:pt idx="9848">
                  <c:v>4.9466330381816705</c:v>
                </c:pt>
                <c:pt idx="9849">
                  <c:v>4.9796149380853851</c:v>
                </c:pt>
                <c:pt idx="9850">
                  <c:v>7.1569132313230632</c:v>
                </c:pt>
                <c:pt idx="9851">
                  <c:v>6.1128923051166444</c:v>
                </c:pt>
                <c:pt idx="9852">
                  <c:v>5.9502125667408468</c:v>
                </c:pt>
                <c:pt idx="9853">
                  <c:v>6.9157423045193456</c:v>
                </c:pt>
                <c:pt idx="9854">
                  <c:v>6.9264494554276048</c:v>
                </c:pt>
                <c:pt idx="9855">
                  <c:v>6.9091649133176594</c:v>
                </c:pt>
                <c:pt idx="9856">
                  <c:v>6.9731635292180085</c:v>
                </c:pt>
                <c:pt idx="9857">
                  <c:v>5.9602560536960709</c:v>
                </c:pt>
                <c:pt idx="9858">
                  <c:v>5.8376070096843327</c:v>
                </c:pt>
                <c:pt idx="9859">
                  <c:v>5.8861478829984346</c:v>
                </c:pt>
                <c:pt idx="9860">
                  <c:v>5.0835980224713211</c:v>
                </c:pt>
                <c:pt idx="9861">
                  <c:v>5.1322022267834848</c:v>
                </c:pt>
                <c:pt idx="9862">
                  <c:v>6.0010725437122074</c:v>
                </c:pt>
                <c:pt idx="9863">
                  <c:v>5.9783307431523101</c:v>
                </c:pt>
                <c:pt idx="9864">
                  <c:v>5.9980960179940821</c:v>
                </c:pt>
                <c:pt idx="9865">
                  <c:v>4.9468422950320692</c:v>
                </c:pt>
                <c:pt idx="9866">
                  <c:v>6.0147770726931267</c:v>
                </c:pt>
                <c:pt idx="9867">
                  <c:v>4.9097460768546517</c:v>
                </c:pt>
                <c:pt idx="9868">
                  <c:v>5.9039257171991046</c:v>
                </c:pt>
                <c:pt idx="9869">
                  <c:v>4.9909912885026273</c:v>
                </c:pt>
                <c:pt idx="9870">
                  <c:v>5.0146535424597509</c:v>
                </c:pt>
                <c:pt idx="9871">
                  <c:v>4.8131717474255886</c:v>
                </c:pt>
                <c:pt idx="9872">
                  <c:v>4.9633790287625539</c:v>
                </c:pt>
                <c:pt idx="9873">
                  <c:v>6.1142431012842033</c:v>
                </c:pt>
                <c:pt idx="9874">
                  <c:v>5.8763244752015567</c:v>
                </c:pt>
                <c:pt idx="9875">
                  <c:v>5.8388364499165624</c:v>
                </c:pt>
                <c:pt idx="9876">
                  <c:v>7.1046301498941418</c:v>
                </c:pt>
                <c:pt idx="9877">
                  <c:v>5.972548886359677</c:v>
                </c:pt>
                <c:pt idx="9878">
                  <c:v>6.048342722955474</c:v>
                </c:pt>
                <c:pt idx="9879">
                  <c:v>4.952522066866865</c:v>
                </c:pt>
                <c:pt idx="9880">
                  <c:v>4.9826683350540755</c:v>
                </c:pt>
                <c:pt idx="9881">
                  <c:v>5.9652673508392766</c:v>
                </c:pt>
                <c:pt idx="9882">
                  <c:v>5.9038698168317065</c:v>
                </c:pt>
                <c:pt idx="9883">
                  <c:v>6.1661174485551102</c:v>
                </c:pt>
                <c:pt idx="9884">
                  <c:v>5.8415401171338734</c:v>
                </c:pt>
                <c:pt idx="9885">
                  <c:v>5.189513837903946</c:v>
                </c:pt>
                <c:pt idx="9886">
                  <c:v>4.9751596529537609</c:v>
                </c:pt>
                <c:pt idx="9887">
                  <c:v>4.9729990429220194</c:v>
                </c:pt>
                <c:pt idx="9888">
                  <c:v>6.033076171140495</c:v>
                </c:pt>
                <c:pt idx="9889">
                  <c:v>5.1867645153668782</c:v>
                </c:pt>
                <c:pt idx="9890">
                  <c:v>6.0933615467137585</c:v>
                </c:pt>
                <c:pt idx="9891">
                  <c:v>6.9854275616051389</c:v>
                </c:pt>
                <c:pt idx="9892">
                  <c:v>4.9292678848736813</c:v>
                </c:pt>
                <c:pt idx="9893">
                  <c:v>5.0570349784204716</c:v>
                </c:pt>
                <c:pt idx="9894">
                  <c:v>5.0815593482239043</c:v>
                </c:pt>
                <c:pt idx="9895">
                  <c:v>4.9745899041734241</c:v>
                </c:pt>
                <c:pt idx="9896">
                  <c:v>5.8484542620734272</c:v>
                </c:pt>
                <c:pt idx="9897">
                  <c:v>5.0704523026256743</c:v>
                </c:pt>
                <c:pt idx="9898">
                  <c:v>5.8501077406930158</c:v>
                </c:pt>
                <c:pt idx="9899">
                  <c:v>5.94381934475597</c:v>
                </c:pt>
                <c:pt idx="9900">
                  <c:v>5.8401427567092767</c:v>
                </c:pt>
                <c:pt idx="9901">
                  <c:v>5.9379981793782184</c:v>
                </c:pt>
                <c:pt idx="9902">
                  <c:v>5.0708863194891443</c:v>
                </c:pt>
                <c:pt idx="9903">
                  <c:v>7.0468587245942826</c:v>
                </c:pt>
                <c:pt idx="9904">
                  <c:v>6.1204474927619978</c:v>
                </c:pt>
                <c:pt idx="9905">
                  <c:v>5.1401935672982422</c:v>
                </c:pt>
                <c:pt idx="9906">
                  <c:v>6.0195897854286899</c:v>
                </c:pt>
                <c:pt idx="9907">
                  <c:v>6.1245479774535339</c:v>
                </c:pt>
                <c:pt idx="9908">
                  <c:v>6.0486172548601651</c:v>
                </c:pt>
                <c:pt idx="9909">
                  <c:v>5.9802819735128514</c:v>
                </c:pt>
                <c:pt idx="9910">
                  <c:v>5.9876721478100725</c:v>
                </c:pt>
                <c:pt idx="9911">
                  <c:v>5.1201448859329064</c:v>
                </c:pt>
                <c:pt idx="9912">
                  <c:v>6.0198362413420554</c:v>
                </c:pt>
                <c:pt idx="9913">
                  <c:v>4.8232398819467361</c:v>
                </c:pt>
                <c:pt idx="9914">
                  <c:v>5.1415626600558548</c:v>
                </c:pt>
                <c:pt idx="9915">
                  <c:v>5.9887194735764631</c:v>
                </c:pt>
                <c:pt idx="9916">
                  <c:v>6.0792648328848351</c:v>
                </c:pt>
                <c:pt idx="9917">
                  <c:v>5.0925233680534925</c:v>
                </c:pt>
                <c:pt idx="9918">
                  <c:v>6.0702390286045373</c:v>
                </c:pt>
                <c:pt idx="9919">
                  <c:v>5.091668885905074</c:v>
                </c:pt>
                <c:pt idx="9920">
                  <c:v>5.0533998866209799</c:v>
                </c:pt>
                <c:pt idx="9921">
                  <c:v>4.9228771326102292</c:v>
                </c:pt>
                <c:pt idx="9922">
                  <c:v>5.0348827184673581</c:v>
                </c:pt>
                <c:pt idx="9923">
                  <c:v>5.2065220017705176</c:v>
                </c:pt>
                <c:pt idx="9924">
                  <c:v>5.9837435915548545</c:v>
                </c:pt>
                <c:pt idx="9925">
                  <c:v>5.9591819017650929</c:v>
                </c:pt>
                <c:pt idx="9926">
                  <c:v>4.9813898059429418</c:v>
                </c:pt>
                <c:pt idx="9927">
                  <c:v>6.7686933016470752</c:v>
                </c:pt>
                <c:pt idx="9928">
                  <c:v>5.9704769121431402</c:v>
                </c:pt>
                <c:pt idx="9929">
                  <c:v>5.9113674201641144</c:v>
                </c:pt>
                <c:pt idx="9930">
                  <c:v>7.009221592286897</c:v>
                </c:pt>
                <c:pt idx="9931">
                  <c:v>5.9280901741758036</c:v>
                </c:pt>
                <c:pt idx="9932">
                  <c:v>5.9184490170138151</c:v>
                </c:pt>
                <c:pt idx="9933">
                  <c:v>2.9649255073497107</c:v>
                </c:pt>
                <c:pt idx="9934">
                  <c:v>4.8453341003813684</c:v>
                </c:pt>
                <c:pt idx="9935">
                  <c:v>7.0495626251881349</c:v>
                </c:pt>
                <c:pt idx="9936">
                  <c:v>6.0988111205618063</c:v>
                </c:pt>
                <c:pt idx="9937">
                  <c:v>5.0043633950320174</c:v>
                </c:pt>
                <c:pt idx="9938">
                  <c:v>6.0134680903197468</c:v>
                </c:pt>
                <c:pt idx="9939">
                  <c:v>6.06222635590371</c:v>
                </c:pt>
                <c:pt idx="9940">
                  <c:v>7.0287566569185556</c:v>
                </c:pt>
                <c:pt idx="9941">
                  <c:v>7.008107956215107</c:v>
                </c:pt>
                <c:pt idx="9942">
                  <c:v>6.0892440918914774</c:v>
                </c:pt>
                <c:pt idx="9943">
                  <c:v>6.9323446248942471</c:v>
                </c:pt>
                <c:pt idx="9944">
                  <c:v>7.0769539138889535</c:v>
                </c:pt>
                <c:pt idx="9945">
                  <c:v>7.0606503132671667</c:v>
                </c:pt>
                <c:pt idx="9946">
                  <c:v>5.8694864719419364</c:v>
                </c:pt>
                <c:pt idx="9947">
                  <c:v>7.0689149509979643</c:v>
                </c:pt>
                <c:pt idx="9948">
                  <c:v>5.9187280736941243</c:v>
                </c:pt>
                <c:pt idx="9949">
                  <c:v>6.2195795508622815</c:v>
                </c:pt>
                <c:pt idx="9950">
                  <c:v>6.1140034589582468</c:v>
                </c:pt>
                <c:pt idx="9951">
                  <c:v>5.9860451192893969</c:v>
                </c:pt>
                <c:pt idx="9952">
                  <c:v>7.2148351896278271</c:v>
                </c:pt>
                <c:pt idx="9953">
                  <c:v>5.9346359860952269</c:v>
                </c:pt>
                <c:pt idx="9954">
                  <c:v>6.0775195380544247</c:v>
                </c:pt>
                <c:pt idx="9955">
                  <c:v>6.0817824321797413</c:v>
                </c:pt>
                <c:pt idx="9956">
                  <c:v>4.985405455999615</c:v>
                </c:pt>
                <c:pt idx="9957">
                  <c:v>6.0558110974774078</c:v>
                </c:pt>
                <c:pt idx="9958">
                  <c:v>6.0640618032481148</c:v>
                </c:pt>
                <c:pt idx="9959">
                  <c:v>5.0327922233456084</c:v>
                </c:pt>
                <c:pt idx="9960">
                  <c:v>4.8799047712171983</c:v>
                </c:pt>
                <c:pt idx="9961">
                  <c:v>5.8827142839585873</c:v>
                </c:pt>
                <c:pt idx="9962">
                  <c:v>7.1667314834160321</c:v>
                </c:pt>
                <c:pt idx="9963">
                  <c:v>6.0379292017036938</c:v>
                </c:pt>
                <c:pt idx="9964">
                  <c:v>3.9866178189481358</c:v>
                </c:pt>
                <c:pt idx="9965">
                  <c:v>6.017945931698522</c:v>
                </c:pt>
                <c:pt idx="9966">
                  <c:v>4.7930521464638041</c:v>
                </c:pt>
                <c:pt idx="9967">
                  <c:v>5.0280860640985532</c:v>
                </c:pt>
                <c:pt idx="9968">
                  <c:v>5.9107031771321301</c:v>
                </c:pt>
                <c:pt idx="9969">
                  <c:v>5.8619317161076561</c:v>
                </c:pt>
                <c:pt idx="9970">
                  <c:v>5.9057238368453744</c:v>
                </c:pt>
                <c:pt idx="9971">
                  <c:v>5.0448960433264762</c:v>
                </c:pt>
                <c:pt idx="9972">
                  <c:v>5.9203921558111841</c:v>
                </c:pt>
                <c:pt idx="9973">
                  <c:v>5.0609740598687054</c:v>
                </c:pt>
                <c:pt idx="9974">
                  <c:v>4.8062870700343794</c:v>
                </c:pt>
                <c:pt idx="9975">
                  <c:v>6.1836530558304617</c:v>
                </c:pt>
                <c:pt idx="9976">
                  <c:v>5.945332464714471</c:v>
                </c:pt>
                <c:pt idx="9977">
                  <c:v>5.9826591401860973</c:v>
                </c:pt>
                <c:pt idx="9978">
                  <c:v>5.8208818503719391</c:v>
                </c:pt>
                <c:pt idx="9979">
                  <c:v>4.7935964672882463</c:v>
                </c:pt>
                <c:pt idx="9980">
                  <c:v>5.0166442628072607</c:v>
                </c:pt>
                <c:pt idx="9981">
                  <c:v>7.1083400936942862</c:v>
                </c:pt>
                <c:pt idx="9982">
                  <c:v>6.0119678026741337</c:v>
                </c:pt>
                <c:pt idx="9983">
                  <c:v>4.9376097970428035</c:v>
                </c:pt>
                <c:pt idx="9984">
                  <c:v>6.0155524599628301</c:v>
                </c:pt>
                <c:pt idx="9985">
                  <c:v>4.8479288065266495</c:v>
                </c:pt>
                <c:pt idx="9986">
                  <c:v>5.8362538804783473</c:v>
                </c:pt>
                <c:pt idx="9987">
                  <c:v>5.0259264632241303</c:v>
                </c:pt>
                <c:pt idx="9988">
                  <c:v>4.799564993284565</c:v>
                </c:pt>
                <c:pt idx="9989">
                  <c:v>6.1198152819650558</c:v>
                </c:pt>
                <c:pt idx="9990">
                  <c:v>5.6169416928589255</c:v>
                </c:pt>
                <c:pt idx="9991">
                  <c:v>5.8898736550241617</c:v>
                </c:pt>
                <c:pt idx="9992">
                  <c:v>6.0667497014022107</c:v>
                </c:pt>
                <c:pt idx="9993">
                  <c:v>6.1337927630409501</c:v>
                </c:pt>
                <c:pt idx="9994">
                  <c:v>6.0855696743894558</c:v>
                </c:pt>
                <c:pt idx="9995">
                  <c:v>3.1908145412575264</c:v>
                </c:pt>
                <c:pt idx="9996">
                  <c:v>6.1772623401370668</c:v>
                </c:pt>
                <c:pt idx="9997">
                  <c:v>5.0780316735745474</c:v>
                </c:pt>
                <c:pt idx="9998">
                  <c:v>5.8781182371865794</c:v>
                </c:pt>
                <c:pt idx="9999">
                  <c:v>5.9363665325225909</c:v>
                </c:pt>
                <c:pt idx="10000">
                  <c:v>5.0808584126229865</c:v>
                </c:pt>
                <c:pt idx="10001">
                  <c:v>7.0900745858192069</c:v>
                </c:pt>
                <c:pt idx="10002">
                  <c:v>5.0909051977990867</c:v>
                </c:pt>
                <c:pt idx="10003">
                  <c:v>4.9664969742296794</c:v>
                </c:pt>
                <c:pt idx="10004">
                  <c:v>4.9657386890544712</c:v>
                </c:pt>
                <c:pt idx="10005">
                  <c:v>5.8663040370734132</c:v>
                </c:pt>
                <c:pt idx="10006">
                  <c:v>5.967652696996316</c:v>
                </c:pt>
                <c:pt idx="10007">
                  <c:v>5.9048239936226539</c:v>
                </c:pt>
                <c:pt idx="10008">
                  <c:v>6.0021809300005247</c:v>
                </c:pt>
                <c:pt idx="10009">
                  <c:v>6.2491629465409284</c:v>
                </c:pt>
                <c:pt idx="10010">
                  <c:v>6.0481894575655071</c:v>
                </c:pt>
                <c:pt idx="10011">
                  <c:v>7.0462024036923241</c:v>
                </c:pt>
                <c:pt idx="10012">
                  <c:v>7.0801742120688074</c:v>
                </c:pt>
                <c:pt idx="10013">
                  <c:v>6.0418515068407137</c:v>
                </c:pt>
                <c:pt idx="10014">
                  <c:v>6.1603466346300229</c:v>
                </c:pt>
                <c:pt idx="10015">
                  <c:v>4.0371857045636466</c:v>
                </c:pt>
                <c:pt idx="10016">
                  <c:v>5.8747183908183418</c:v>
                </c:pt>
                <c:pt idx="10017">
                  <c:v>4.9976802208051305</c:v>
                </c:pt>
                <c:pt idx="10018">
                  <c:v>5.9745786101329825</c:v>
                </c:pt>
                <c:pt idx="10019">
                  <c:v>4.8849136884146462</c:v>
                </c:pt>
                <c:pt idx="10020">
                  <c:v>6.041522988335509</c:v>
                </c:pt>
                <c:pt idx="10021">
                  <c:v>4.9939188175227835</c:v>
                </c:pt>
                <c:pt idx="10022">
                  <c:v>5.9699367689240805</c:v>
                </c:pt>
                <c:pt idx="10023">
                  <c:v>6.1068128676914766</c:v>
                </c:pt>
                <c:pt idx="10024">
                  <c:v>4.9611362718870051</c:v>
                </c:pt>
                <c:pt idx="10025">
                  <c:v>5.9475661868546883</c:v>
                </c:pt>
                <c:pt idx="10026">
                  <c:v>5.0025560353984222</c:v>
                </c:pt>
                <c:pt idx="10027">
                  <c:v>4.9797826387936368</c:v>
                </c:pt>
                <c:pt idx="10028">
                  <c:v>4.8500792269550654</c:v>
                </c:pt>
                <c:pt idx="10029">
                  <c:v>4.9446624622398501</c:v>
                </c:pt>
                <c:pt idx="10030">
                  <c:v>4.961190834764067</c:v>
                </c:pt>
                <c:pt idx="10031">
                  <c:v>4.6982688529750058</c:v>
                </c:pt>
                <c:pt idx="10032">
                  <c:v>5.9288851994724237</c:v>
                </c:pt>
                <c:pt idx="10033">
                  <c:v>6.0346426285074468</c:v>
                </c:pt>
                <c:pt idx="10034">
                  <c:v>5.0123750830661731</c:v>
                </c:pt>
                <c:pt idx="10035">
                  <c:v>6.1360767193862875</c:v>
                </c:pt>
                <c:pt idx="10036">
                  <c:v>5.9108655702214152</c:v>
                </c:pt>
                <c:pt idx="10037">
                  <c:v>4.9299398154828804</c:v>
                </c:pt>
                <c:pt idx="10038">
                  <c:v>5.9767216348388761</c:v>
                </c:pt>
                <c:pt idx="10039">
                  <c:v>6.0568485612141965</c:v>
                </c:pt>
                <c:pt idx="10040">
                  <c:v>4.9968929148418235</c:v>
                </c:pt>
                <c:pt idx="10041">
                  <c:v>6.0298734770212725</c:v>
                </c:pt>
                <c:pt idx="10042">
                  <c:v>4.8902672578702955</c:v>
                </c:pt>
                <c:pt idx="10043">
                  <c:v>5.1149758862392227</c:v>
                </c:pt>
                <c:pt idx="10044">
                  <c:v>4.928225006967268</c:v>
                </c:pt>
                <c:pt idx="10045">
                  <c:v>6.0209236698992861</c:v>
                </c:pt>
                <c:pt idx="10046">
                  <c:v>5.9379944133785063</c:v>
                </c:pt>
                <c:pt idx="10047">
                  <c:v>6.0365841943326988</c:v>
                </c:pt>
                <c:pt idx="10048">
                  <c:v>5.9186748343334967</c:v>
                </c:pt>
                <c:pt idx="10049">
                  <c:v>5.9848749391547598</c:v>
                </c:pt>
                <c:pt idx="10050">
                  <c:v>5.9885297924196284</c:v>
                </c:pt>
                <c:pt idx="10051">
                  <c:v>6.1148583681292115</c:v>
                </c:pt>
                <c:pt idx="10052">
                  <c:v>6.0693591964010558</c:v>
                </c:pt>
                <c:pt idx="10053">
                  <c:v>5.9006643505720788</c:v>
                </c:pt>
                <c:pt idx="10054">
                  <c:v>3.9259055474764768</c:v>
                </c:pt>
                <c:pt idx="10055">
                  <c:v>4.0689298915164231</c:v>
                </c:pt>
                <c:pt idx="10056">
                  <c:v>6.0532288863690455</c:v>
                </c:pt>
                <c:pt idx="10057">
                  <c:v>6.1332404679317154</c:v>
                </c:pt>
                <c:pt idx="10058">
                  <c:v>6.1199311509648346</c:v>
                </c:pt>
                <c:pt idx="10059">
                  <c:v>5.0423651701493473</c:v>
                </c:pt>
                <c:pt idx="10060">
                  <c:v>6.07597657436785</c:v>
                </c:pt>
                <c:pt idx="10061">
                  <c:v>5.0668468002964602</c:v>
                </c:pt>
                <c:pt idx="10062">
                  <c:v>4.9140837931016765</c:v>
                </c:pt>
                <c:pt idx="10063">
                  <c:v>5.9787283185719673</c:v>
                </c:pt>
                <c:pt idx="10064">
                  <c:v>5.0919810068831968</c:v>
                </c:pt>
                <c:pt idx="10065">
                  <c:v>4.9348380251385979</c:v>
                </c:pt>
                <c:pt idx="10066">
                  <c:v>6.0543779076096076</c:v>
                </c:pt>
                <c:pt idx="10067">
                  <c:v>4.972040098009578</c:v>
                </c:pt>
                <c:pt idx="10068">
                  <c:v>5.9207265090099046</c:v>
                </c:pt>
                <c:pt idx="10069">
                  <c:v>5.027879570092721</c:v>
                </c:pt>
                <c:pt idx="10070">
                  <c:v>4.8971491212648326</c:v>
                </c:pt>
                <c:pt idx="10071">
                  <c:v>6.1660673677659013</c:v>
                </c:pt>
                <c:pt idx="10072">
                  <c:v>5.9350071483226206</c:v>
                </c:pt>
                <c:pt idx="10073">
                  <c:v>5.1052442974725931</c:v>
                </c:pt>
                <c:pt idx="10074">
                  <c:v>5.0441848900684052</c:v>
                </c:pt>
                <c:pt idx="10075">
                  <c:v>6.1432107087445393</c:v>
                </c:pt>
                <c:pt idx="10076">
                  <c:v>5.9421360488959971</c:v>
                </c:pt>
                <c:pt idx="10077">
                  <c:v>5.8787387936503563</c:v>
                </c:pt>
                <c:pt idx="10078">
                  <c:v>5.0446123925194097</c:v>
                </c:pt>
                <c:pt idx="10079">
                  <c:v>6.1027135646240289</c:v>
                </c:pt>
                <c:pt idx="10080">
                  <c:v>5.8795420982884261</c:v>
                </c:pt>
                <c:pt idx="10081">
                  <c:v>5.9998690137810424</c:v>
                </c:pt>
                <c:pt idx="10082">
                  <c:v>4.9835528313246042</c:v>
                </c:pt>
                <c:pt idx="10083">
                  <c:v>5.0209097646377066</c:v>
                </c:pt>
                <c:pt idx="10084">
                  <c:v>6.0757183237323691</c:v>
                </c:pt>
                <c:pt idx="10085">
                  <c:v>6.0739533209631151</c:v>
                </c:pt>
                <c:pt idx="10086">
                  <c:v>5.868763212145014</c:v>
                </c:pt>
                <c:pt idx="10087">
                  <c:v>5.068972030697136</c:v>
                </c:pt>
                <c:pt idx="10088">
                  <c:v>5.9211916022915592</c:v>
                </c:pt>
                <c:pt idx="10089">
                  <c:v>6.0761859552141582</c:v>
                </c:pt>
                <c:pt idx="10090">
                  <c:v>4.9992367477290607</c:v>
                </c:pt>
                <c:pt idx="10091">
                  <c:v>5.8278888914487386</c:v>
                </c:pt>
                <c:pt idx="10092">
                  <c:v>6.064147588857784</c:v>
                </c:pt>
                <c:pt idx="10093">
                  <c:v>6.1422954407554373</c:v>
                </c:pt>
                <c:pt idx="10094">
                  <c:v>5.9055344609716274</c:v>
                </c:pt>
                <c:pt idx="10095">
                  <c:v>6.0443335972853784</c:v>
                </c:pt>
                <c:pt idx="10096">
                  <c:v>6.0401693990254843</c:v>
                </c:pt>
                <c:pt idx="10097">
                  <c:v>6.0853397652750223</c:v>
                </c:pt>
                <c:pt idx="10098">
                  <c:v>5.1155617224670502</c:v>
                </c:pt>
                <c:pt idx="10099">
                  <c:v>4.9993178925560438</c:v>
                </c:pt>
                <c:pt idx="10100">
                  <c:v>5.9418381998127954</c:v>
                </c:pt>
                <c:pt idx="10101">
                  <c:v>4.8691569055930559</c:v>
                </c:pt>
                <c:pt idx="10102">
                  <c:v>5.9849547322042573</c:v>
                </c:pt>
                <c:pt idx="10103">
                  <c:v>6.1386142353364708</c:v>
                </c:pt>
                <c:pt idx="10104">
                  <c:v>4.8836180784508985</c:v>
                </c:pt>
                <c:pt idx="10105">
                  <c:v>4.0327561585699545</c:v>
                </c:pt>
                <c:pt idx="10106">
                  <c:v>4.9880608409691618</c:v>
                </c:pt>
                <c:pt idx="10107">
                  <c:v>5.9180698912400933</c:v>
                </c:pt>
                <c:pt idx="10108">
                  <c:v>4.8309438264072773</c:v>
                </c:pt>
                <c:pt idx="10109">
                  <c:v>5.0990927205565812</c:v>
                </c:pt>
                <c:pt idx="10110">
                  <c:v>6.0442465670798686</c:v>
                </c:pt>
                <c:pt idx="10111">
                  <c:v>4.9995841539464516</c:v>
                </c:pt>
                <c:pt idx="10112">
                  <c:v>5.210368752037418</c:v>
                </c:pt>
                <c:pt idx="10113">
                  <c:v>5.6384333350631746</c:v>
                </c:pt>
                <c:pt idx="10114">
                  <c:v>4.8888773609341794</c:v>
                </c:pt>
                <c:pt idx="10115">
                  <c:v>6.0995576478429356</c:v>
                </c:pt>
                <c:pt idx="10116">
                  <c:v>5.9060808610781255</c:v>
                </c:pt>
                <c:pt idx="10117">
                  <c:v>5.8934394399043137</c:v>
                </c:pt>
                <c:pt idx="10118">
                  <c:v>5.0488683989552054</c:v>
                </c:pt>
                <c:pt idx="10119">
                  <c:v>5.2658874384098553</c:v>
                </c:pt>
                <c:pt idx="10120">
                  <c:v>4.9979114000040701</c:v>
                </c:pt>
                <c:pt idx="10121">
                  <c:v>5.9441523592555745</c:v>
                </c:pt>
                <c:pt idx="10122">
                  <c:v>6.1440352572387873</c:v>
                </c:pt>
                <c:pt idx="10123">
                  <c:v>6.1165539147622203</c:v>
                </c:pt>
                <c:pt idx="10124">
                  <c:v>4.941962220291769</c:v>
                </c:pt>
                <c:pt idx="10125">
                  <c:v>6.3244007163582605</c:v>
                </c:pt>
                <c:pt idx="10126">
                  <c:v>5.0215981489326031</c:v>
                </c:pt>
                <c:pt idx="10127">
                  <c:v>6.1224859035968215</c:v>
                </c:pt>
                <c:pt idx="10128">
                  <c:v>5.9802940002695903</c:v>
                </c:pt>
                <c:pt idx="10129">
                  <c:v>5.8014143173258965</c:v>
                </c:pt>
                <c:pt idx="10130">
                  <c:v>5.0256106887663821</c:v>
                </c:pt>
                <c:pt idx="10131">
                  <c:v>6.0531735302495662</c:v>
                </c:pt>
                <c:pt idx="10132">
                  <c:v>5.9158917686411119</c:v>
                </c:pt>
                <c:pt idx="10133">
                  <c:v>6.1337849553678456</c:v>
                </c:pt>
                <c:pt idx="10134">
                  <c:v>5.8935300330179485</c:v>
                </c:pt>
                <c:pt idx="10135">
                  <c:v>5.1160238185528222</c:v>
                </c:pt>
                <c:pt idx="10136">
                  <c:v>5.962045090774347</c:v>
                </c:pt>
                <c:pt idx="10137">
                  <c:v>5.9295622471551344</c:v>
                </c:pt>
                <c:pt idx="10138">
                  <c:v>6.2111500737390859</c:v>
                </c:pt>
                <c:pt idx="10139">
                  <c:v>6.0773862602345901</c:v>
                </c:pt>
                <c:pt idx="10140">
                  <c:v>5.918305641261064</c:v>
                </c:pt>
                <c:pt idx="10141">
                  <c:v>4.8957833020101127</c:v>
                </c:pt>
                <c:pt idx="10142">
                  <c:v>5.958013805071559</c:v>
                </c:pt>
                <c:pt idx="10143">
                  <c:v>5.9620225815309231</c:v>
                </c:pt>
                <c:pt idx="10144">
                  <c:v>5.9054683282802483</c:v>
                </c:pt>
                <c:pt idx="10145">
                  <c:v>6.0652546616665948</c:v>
                </c:pt>
                <c:pt idx="10146">
                  <c:v>5.8996698600809889</c:v>
                </c:pt>
                <c:pt idx="10147">
                  <c:v>6.1212827265745622</c:v>
                </c:pt>
                <c:pt idx="10148">
                  <c:v>6.0562038288241222</c:v>
                </c:pt>
                <c:pt idx="10149">
                  <c:v>4.9659465362898603</c:v>
                </c:pt>
                <c:pt idx="10150">
                  <c:v>6.0496821983571287</c:v>
                </c:pt>
                <c:pt idx="10151">
                  <c:v>5.9385423671956099</c:v>
                </c:pt>
                <c:pt idx="10152">
                  <c:v>6.1573795976789469</c:v>
                </c:pt>
                <c:pt idx="10153">
                  <c:v>6.1445682376186443</c:v>
                </c:pt>
                <c:pt idx="10154">
                  <c:v>6.0002716569403365</c:v>
                </c:pt>
                <c:pt idx="10155">
                  <c:v>4.9710853291414727</c:v>
                </c:pt>
                <c:pt idx="10156">
                  <c:v>5.9314610847512066</c:v>
                </c:pt>
                <c:pt idx="10157">
                  <c:v>5.0184346583364823</c:v>
                </c:pt>
                <c:pt idx="10158">
                  <c:v>5.0987078992085619</c:v>
                </c:pt>
                <c:pt idx="10159">
                  <c:v>5.055862778961604</c:v>
                </c:pt>
                <c:pt idx="10160">
                  <c:v>6.1607777842427041</c:v>
                </c:pt>
                <c:pt idx="10161">
                  <c:v>5.8680124266265432</c:v>
                </c:pt>
                <c:pt idx="10162">
                  <c:v>6.1398683069933506</c:v>
                </c:pt>
                <c:pt idx="10163">
                  <c:v>5.1662092366552326</c:v>
                </c:pt>
                <c:pt idx="10164">
                  <c:v>5.0448941388171278</c:v>
                </c:pt>
                <c:pt idx="10165">
                  <c:v>5.0006592271257686</c:v>
                </c:pt>
                <c:pt idx="10166">
                  <c:v>6.0301260396347667</c:v>
                </c:pt>
                <c:pt idx="10167">
                  <c:v>5.9371318332332343</c:v>
                </c:pt>
                <c:pt idx="10168">
                  <c:v>5.9717171263116224</c:v>
                </c:pt>
                <c:pt idx="10169">
                  <c:v>5.0274691511528751</c:v>
                </c:pt>
                <c:pt idx="10170">
                  <c:v>5.9920671864962847</c:v>
                </c:pt>
                <c:pt idx="10171">
                  <c:v>4.9904828522559992</c:v>
                </c:pt>
                <c:pt idx="10172">
                  <c:v>5.8034074563484399</c:v>
                </c:pt>
                <c:pt idx="10173">
                  <c:v>5.1101708808010295</c:v>
                </c:pt>
                <c:pt idx="10174">
                  <c:v>5.9963627233780326</c:v>
                </c:pt>
                <c:pt idx="10175">
                  <c:v>5.9837595050144659</c:v>
                </c:pt>
                <c:pt idx="10176">
                  <c:v>6.0811610516497208</c:v>
                </c:pt>
                <c:pt idx="10177">
                  <c:v>4.8565088772922387</c:v>
                </c:pt>
                <c:pt idx="10178">
                  <c:v>6.0274145697273065</c:v>
                </c:pt>
                <c:pt idx="10179">
                  <c:v>5.0804442514435308</c:v>
                </c:pt>
                <c:pt idx="10180">
                  <c:v>5.935654983413218</c:v>
                </c:pt>
                <c:pt idx="10181">
                  <c:v>5.7941874828588205</c:v>
                </c:pt>
                <c:pt idx="10182">
                  <c:v>7.0698192426026507</c:v>
                </c:pt>
                <c:pt idx="10183">
                  <c:v>4.8154297932175938</c:v>
                </c:pt>
                <c:pt idx="10184">
                  <c:v>4.6961537118565984</c:v>
                </c:pt>
                <c:pt idx="10185">
                  <c:v>5.9248970021510452</c:v>
                </c:pt>
                <c:pt idx="10186">
                  <c:v>5.9236159621185136</c:v>
                </c:pt>
                <c:pt idx="10187">
                  <c:v>6.9097689617105305</c:v>
                </c:pt>
                <c:pt idx="10188">
                  <c:v>5.0774166238954495</c:v>
                </c:pt>
                <c:pt idx="10189">
                  <c:v>4.9977516506772783</c:v>
                </c:pt>
                <c:pt idx="10190">
                  <c:v>4.0103290929034134</c:v>
                </c:pt>
                <c:pt idx="10191">
                  <c:v>4.9746239165967756</c:v>
                </c:pt>
                <c:pt idx="10192">
                  <c:v>6.0662959307254365</c:v>
                </c:pt>
                <c:pt idx="10193">
                  <c:v>5.8478957258113029</c:v>
                </c:pt>
                <c:pt idx="10194">
                  <c:v>5.9010153404709023</c:v>
                </c:pt>
                <c:pt idx="10195">
                  <c:v>6.1207589262258155</c:v>
                </c:pt>
                <c:pt idx="10196">
                  <c:v>5.1374095274086651</c:v>
                </c:pt>
                <c:pt idx="10197">
                  <c:v>4.989471163755371</c:v>
                </c:pt>
                <c:pt idx="10198">
                  <c:v>6.0688812213537027</c:v>
                </c:pt>
                <c:pt idx="10199">
                  <c:v>5.0056524415571788</c:v>
                </c:pt>
                <c:pt idx="10200">
                  <c:v>5.9124834718967065</c:v>
                </c:pt>
                <c:pt idx="10201">
                  <c:v>4.8900015606792362</c:v>
                </c:pt>
                <c:pt idx="10202">
                  <c:v>5.976890317386947</c:v>
                </c:pt>
                <c:pt idx="10203">
                  <c:v>6.1130804645550674</c:v>
                </c:pt>
                <c:pt idx="10204">
                  <c:v>4.9657748506795372</c:v>
                </c:pt>
                <c:pt idx="10205">
                  <c:v>7.2008410679181223</c:v>
                </c:pt>
                <c:pt idx="10206">
                  <c:v>6.0339271992630508</c:v>
                </c:pt>
                <c:pt idx="10207">
                  <c:v>5.972515874447172</c:v>
                </c:pt>
                <c:pt idx="10208">
                  <c:v>6.187744962276561</c:v>
                </c:pt>
                <c:pt idx="10209">
                  <c:v>6.0271015822479121</c:v>
                </c:pt>
                <c:pt idx="10210">
                  <c:v>6.0463246662702597</c:v>
                </c:pt>
                <c:pt idx="10211">
                  <c:v>6.1458864633291936</c:v>
                </c:pt>
                <c:pt idx="10212">
                  <c:v>5.8023135512237074</c:v>
                </c:pt>
                <c:pt idx="10213">
                  <c:v>6.8707561496933387</c:v>
                </c:pt>
                <c:pt idx="10214">
                  <c:v>5.8397852631015557</c:v>
                </c:pt>
                <c:pt idx="10215">
                  <c:v>6.1349234434746274</c:v>
                </c:pt>
                <c:pt idx="10216">
                  <c:v>6.0187351435097174</c:v>
                </c:pt>
                <c:pt idx="10217">
                  <c:v>5.9110382573539413</c:v>
                </c:pt>
                <c:pt idx="10218">
                  <c:v>3.9827345155077634</c:v>
                </c:pt>
                <c:pt idx="10219">
                  <c:v>6.0054334487267411</c:v>
                </c:pt>
                <c:pt idx="10220">
                  <c:v>6.1070330454806854</c:v>
                </c:pt>
                <c:pt idx="10221">
                  <c:v>5.100749438150368</c:v>
                </c:pt>
                <c:pt idx="10222">
                  <c:v>6.9520114975030625</c:v>
                </c:pt>
                <c:pt idx="10223">
                  <c:v>5.9349986737564393</c:v>
                </c:pt>
                <c:pt idx="10224">
                  <c:v>4.9190802430513445</c:v>
                </c:pt>
                <c:pt idx="10225">
                  <c:v>5.9067757198227655</c:v>
                </c:pt>
                <c:pt idx="10226">
                  <c:v>4.9843450339489825</c:v>
                </c:pt>
                <c:pt idx="10227">
                  <c:v>5.9656274310523125</c:v>
                </c:pt>
                <c:pt idx="10228">
                  <c:v>4.9560425719428967</c:v>
                </c:pt>
                <c:pt idx="10229">
                  <c:v>5.9001390221489149</c:v>
                </c:pt>
                <c:pt idx="10230">
                  <c:v>6.0743573840674516</c:v>
                </c:pt>
                <c:pt idx="10231">
                  <c:v>4.997530314975295</c:v>
                </c:pt>
                <c:pt idx="10232">
                  <c:v>5.9008974804770862</c:v>
                </c:pt>
                <c:pt idx="10233">
                  <c:v>6.1989648477635688</c:v>
                </c:pt>
                <c:pt idx="10234">
                  <c:v>6.0591067211941185</c:v>
                </c:pt>
                <c:pt idx="10235">
                  <c:v>5.9332150254692122</c:v>
                </c:pt>
                <c:pt idx="10236">
                  <c:v>5.0861583237969308</c:v>
                </c:pt>
                <c:pt idx="10237">
                  <c:v>6.1284148883493499</c:v>
                </c:pt>
                <c:pt idx="10238">
                  <c:v>5.9330006567828706</c:v>
                </c:pt>
                <c:pt idx="10239">
                  <c:v>5.9500876516607955</c:v>
                </c:pt>
                <c:pt idx="10240">
                  <c:v>6.2873966502633749</c:v>
                </c:pt>
                <c:pt idx="10241">
                  <c:v>5.9432188613967067</c:v>
                </c:pt>
                <c:pt idx="10242">
                  <c:v>5.0266931197963949</c:v>
                </c:pt>
                <c:pt idx="10243">
                  <c:v>4.8834563549532115</c:v>
                </c:pt>
                <c:pt idx="10244">
                  <c:v>4.7720821696258335</c:v>
                </c:pt>
                <c:pt idx="10245">
                  <c:v>5.1087683900230703</c:v>
                </c:pt>
                <c:pt idx="10246">
                  <c:v>4.9724908887291974</c:v>
                </c:pt>
                <c:pt idx="10247">
                  <c:v>6.0316392069841918</c:v>
                </c:pt>
                <c:pt idx="10248">
                  <c:v>3.9859885773260171</c:v>
                </c:pt>
                <c:pt idx="10249">
                  <c:v>4.8780335806028985</c:v>
                </c:pt>
                <c:pt idx="10250">
                  <c:v>5.0660218222585289</c:v>
                </c:pt>
                <c:pt idx="10251">
                  <c:v>4.8981850802972788</c:v>
                </c:pt>
                <c:pt idx="10252">
                  <c:v>4.8833192969767598</c:v>
                </c:pt>
                <c:pt idx="10253">
                  <c:v>6.1217062249262639</c:v>
                </c:pt>
                <c:pt idx="10254">
                  <c:v>6.0586600883995798</c:v>
                </c:pt>
                <c:pt idx="10255">
                  <c:v>5.0540770129965535</c:v>
                </c:pt>
                <c:pt idx="10256">
                  <c:v>6.0226821743643848</c:v>
                </c:pt>
                <c:pt idx="10257">
                  <c:v>5.9837071891710645</c:v>
                </c:pt>
                <c:pt idx="10258">
                  <c:v>5.1078209702364381</c:v>
                </c:pt>
                <c:pt idx="10259">
                  <c:v>4.9962298029263472</c:v>
                </c:pt>
                <c:pt idx="10260">
                  <c:v>5.191400169893166</c:v>
                </c:pt>
                <c:pt idx="10261">
                  <c:v>7.0790732509587819</c:v>
                </c:pt>
                <c:pt idx="10262">
                  <c:v>6.1102951788814854</c:v>
                </c:pt>
                <c:pt idx="10263">
                  <c:v>6.3954622226750875</c:v>
                </c:pt>
                <c:pt idx="10264">
                  <c:v>5.9531627988705349</c:v>
                </c:pt>
                <c:pt idx="10265">
                  <c:v>4.9467246990184988</c:v>
                </c:pt>
                <c:pt idx="10266">
                  <c:v>4.8799653476445988</c:v>
                </c:pt>
                <c:pt idx="10267">
                  <c:v>4.9291799526117659</c:v>
                </c:pt>
                <c:pt idx="10268">
                  <c:v>4.935932715168005</c:v>
                </c:pt>
                <c:pt idx="10269">
                  <c:v>5.8851293763287309</c:v>
                </c:pt>
                <c:pt idx="10270">
                  <c:v>5.8881206191932733</c:v>
                </c:pt>
                <c:pt idx="10271">
                  <c:v>5.9853142163323954</c:v>
                </c:pt>
                <c:pt idx="10272">
                  <c:v>5.7949774213656031</c:v>
                </c:pt>
                <c:pt idx="10273">
                  <c:v>4.7938095140872958</c:v>
                </c:pt>
                <c:pt idx="10274">
                  <c:v>5.9016606672974108</c:v>
                </c:pt>
                <c:pt idx="10275">
                  <c:v>5.9181984325331687</c:v>
                </c:pt>
                <c:pt idx="10276">
                  <c:v>4.9541132836946611</c:v>
                </c:pt>
                <c:pt idx="10277">
                  <c:v>6.0410258815867488</c:v>
                </c:pt>
                <c:pt idx="10278">
                  <c:v>5.9153518122289555</c:v>
                </c:pt>
                <c:pt idx="10279">
                  <c:v>4.9741759102324936</c:v>
                </c:pt>
                <c:pt idx="10280">
                  <c:v>6.0357100736744682</c:v>
                </c:pt>
                <c:pt idx="10281">
                  <c:v>4.9476387868517957</c:v>
                </c:pt>
                <c:pt idx="10282">
                  <c:v>6.0323671252489435</c:v>
                </c:pt>
                <c:pt idx="10283">
                  <c:v>6.2213664307074206</c:v>
                </c:pt>
                <c:pt idx="10284">
                  <c:v>6.0958851446290083</c:v>
                </c:pt>
                <c:pt idx="10285">
                  <c:v>4.9887258036987392</c:v>
                </c:pt>
                <c:pt idx="10286">
                  <c:v>5.0855812098252891</c:v>
                </c:pt>
                <c:pt idx="10287">
                  <c:v>5.8816302887148844</c:v>
                </c:pt>
                <c:pt idx="10288">
                  <c:v>6.1219798455851642</c:v>
                </c:pt>
                <c:pt idx="10289">
                  <c:v>5.9638185104442671</c:v>
                </c:pt>
                <c:pt idx="10290">
                  <c:v>5.9080682932627884</c:v>
                </c:pt>
                <c:pt idx="10291">
                  <c:v>5.9680892295626942</c:v>
                </c:pt>
                <c:pt idx="10292">
                  <c:v>6.0138838878138019</c:v>
                </c:pt>
                <c:pt idx="10293">
                  <c:v>6.1428684006904417</c:v>
                </c:pt>
                <c:pt idx="10294">
                  <c:v>5.162718629816557</c:v>
                </c:pt>
                <c:pt idx="10295">
                  <c:v>6.082718812890902</c:v>
                </c:pt>
                <c:pt idx="10296">
                  <c:v>5.8829541276069941</c:v>
                </c:pt>
                <c:pt idx="10297">
                  <c:v>5.8666787338890574</c:v>
                </c:pt>
                <c:pt idx="10298">
                  <c:v>5.9887133337436413</c:v>
                </c:pt>
                <c:pt idx="10299">
                  <c:v>3.9708677954420137</c:v>
                </c:pt>
                <c:pt idx="10300">
                  <c:v>6.2409091505132093</c:v>
                </c:pt>
                <c:pt idx="10301">
                  <c:v>5.1909569067847539</c:v>
                </c:pt>
                <c:pt idx="10302">
                  <c:v>6.2880587353844319</c:v>
                </c:pt>
                <c:pt idx="10303">
                  <c:v>6.0400835960273431</c:v>
                </c:pt>
                <c:pt idx="10304">
                  <c:v>5.240898387532007</c:v>
                </c:pt>
                <c:pt idx="10305">
                  <c:v>5.0723751917454498</c:v>
                </c:pt>
                <c:pt idx="10306">
                  <c:v>4.9549087509496497</c:v>
                </c:pt>
                <c:pt idx="10307">
                  <c:v>6.0376964473713466</c:v>
                </c:pt>
                <c:pt idx="10308">
                  <c:v>4.9174513116330019</c:v>
                </c:pt>
                <c:pt idx="10309">
                  <c:v>5.9927882625194293</c:v>
                </c:pt>
                <c:pt idx="10310">
                  <c:v>5.9029027005469787</c:v>
                </c:pt>
                <c:pt idx="10311">
                  <c:v>5.0333448146088315</c:v>
                </c:pt>
                <c:pt idx="10312">
                  <c:v>5.8580084062297209</c:v>
                </c:pt>
                <c:pt idx="10313">
                  <c:v>6.0476240976564739</c:v>
                </c:pt>
                <c:pt idx="10314">
                  <c:v>5.8037952513060107</c:v>
                </c:pt>
                <c:pt idx="10315">
                  <c:v>3.1546531519755061</c:v>
                </c:pt>
                <c:pt idx="10316">
                  <c:v>3.0351372820323337</c:v>
                </c:pt>
                <c:pt idx="10317">
                  <c:v>5.9226737381753258</c:v>
                </c:pt>
                <c:pt idx="10318">
                  <c:v>2.967362238667314</c:v>
                </c:pt>
                <c:pt idx="10319">
                  <c:v>5.0530407340766734</c:v>
                </c:pt>
                <c:pt idx="10320">
                  <c:v>6.0405243773451724</c:v>
                </c:pt>
                <c:pt idx="10321">
                  <c:v>5.8980060144327195</c:v>
                </c:pt>
                <c:pt idx="10322">
                  <c:v>5.1357037191077115</c:v>
                </c:pt>
                <c:pt idx="10323">
                  <c:v>5.9773694703227411</c:v>
                </c:pt>
                <c:pt idx="10324">
                  <c:v>5.9839124862007722</c:v>
                </c:pt>
                <c:pt idx="10325">
                  <c:v>5.0489099198447818</c:v>
                </c:pt>
                <c:pt idx="10326">
                  <c:v>5.2192411853559966</c:v>
                </c:pt>
                <c:pt idx="10327">
                  <c:v>6.0499306038010126</c:v>
                </c:pt>
                <c:pt idx="10328">
                  <c:v>4.8498894376021919</c:v>
                </c:pt>
                <c:pt idx="10329">
                  <c:v>6.0957230187688829</c:v>
                </c:pt>
                <c:pt idx="10330">
                  <c:v>5.0622099033798733</c:v>
                </c:pt>
                <c:pt idx="10331">
                  <c:v>6.1154997518210061</c:v>
                </c:pt>
                <c:pt idx="10332">
                  <c:v>4.8571360421238818</c:v>
                </c:pt>
                <c:pt idx="10333">
                  <c:v>6.061045308305772</c:v>
                </c:pt>
                <c:pt idx="10334">
                  <c:v>6.1046707198439538</c:v>
                </c:pt>
                <c:pt idx="10335">
                  <c:v>6.1212828163103943</c:v>
                </c:pt>
                <c:pt idx="10336">
                  <c:v>5.075525307130123</c:v>
                </c:pt>
                <c:pt idx="10337">
                  <c:v>5.9070618535995632</c:v>
                </c:pt>
                <c:pt idx="10338">
                  <c:v>6.0937857379971563</c:v>
                </c:pt>
                <c:pt idx="10339">
                  <c:v>6.0701715123424602</c:v>
                </c:pt>
                <c:pt idx="10340">
                  <c:v>5.0893662971787439</c:v>
                </c:pt>
                <c:pt idx="10341">
                  <c:v>5.9901094851620993</c:v>
                </c:pt>
                <c:pt idx="10342">
                  <c:v>6.0545141364044941</c:v>
                </c:pt>
                <c:pt idx="10343">
                  <c:v>5.1920198596009763</c:v>
                </c:pt>
                <c:pt idx="10344">
                  <c:v>7.0699668935731861</c:v>
                </c:pt>
                <c:pt idx="10345">
                  <c:v>6.0262435478944392</c:v>
                </c:pt>
                <c:pt idx="10346">
                  <c:v>5.1308710542319345</c:v>
                </c:pt>
                <c:pt idx="10347">
                  <c:v>6.0018498002672267</c:v>
                </c:pt>
                <c:pt idx="10348">
                  <c:v>5.8544450814474613</c:v>
                </c:pt>
                <c:pt idx="10349">
                  <c:v>5.8636207572472996</c:v>
                </c:pt>
                <c:pt idx="10350">
                  <c:v>4.9858334720357158</c:v>
                </c:pt>
                <c:pt idx="10351">
                  <c:v>5.8619951874377199</c:v>
                </c:pt>
                <c:pt idx="10352">
                  <c:v>5.9067425901521329</c:v>
                </c:pt>
                <c:pt idx="10353">
                  <c:v>5.9433196794317027</c:v>
                </c:pt>
                <c:pt idx="10354">
                  <c:v>5.0093759730883081</c:v>
                </c:pt>
                <c:pt idx="10355">
                  <c:v>5.1170243619942806</c:v>
                </c:pt>
                <c:pt idx="10356">
                  <c:v>4.9519673574964207</c:v>
                </c:pt>
                <c:pt idx="10357">
                  <c:v>5.0428550588664809</c:v>
                </c:pt>
                <c:pt idx="10358">
                  <c:v>4.9764087715981518</c:v>
                </c:pt>
                <c:pt idx="10359">
                  <c:v>5.9614120534340032</c:v>
                </c:pt>
                <c:pt idx="10360">
                  <c:v>6.1363401392809713</c:v>
                </c:pt>
                <c:pt idx="10361">
                  <c:v>5.039232219175859</c:v>
                </c:pt>
                <c:pt idx="10362">
                  <c:v>7.1273820349781305</c:v>
                </c:pt>
                <c:pt idx="10363">
                  <c:v>5.0419055118160028</c:v>
                </c:pt>
                <c:pt idx="10364">
                  <c:v>4.8835320305985697</c:v>
                </c:pt>
                <c:pt idx="10365">
                  <c:v>6.0146435112399734</c:v>
                </c:pt>
                <c:pt idx="10366">
                  <c:v>7.1185472701633872</c:v>
                </c:pt>
                <c:pt idx="10367">
                  <c:v>4.9362379962183258</c:v>
                </c:pt>
                <c:pt idx="10368">
                  <c:v>6.0007888897492521</c:v>
                </c:pt>
                <c:pt idx="10369">
                  <c:v>6.1459060866363346</c:v>
                </c:pt>
                <c:pt idx="10370">
                  <c:v>6.0027647283859888</c:v>
                </c:pt>
                <c:pt idx="10371">
                  <c:v>3.9709692327323411</c:v>
                </c:pt>
                <c:pt idx="10372">
                  <c:v>4.001013342853839</c:v>
                </c:pt>
                <c:pt idx="10373">
                  <c:v>6.0452652708686569</c:v>
                </c:pt>
                <c:pt idx="10374">
                  <c:v>3.9174531511422188</c:v>
                </c:pt>
                <c:pt idx="10375">
                  <c:v>3.9726893817722528</c:v>
                </c:pt>
                <c:pt idx="10376">
                  <c:v>6.0635948011433296</c:v>
                </c:pt>
                <c:pt idx="10377">
                  <c:v>1.842097849600475</c:v>
                </c:pt>
                <c:pt idx="10378">
                  <c:v>6.01660735341967</c:v>
                </c:pt>
                <c:pt idx="10379">
                  <c:v>5.0869538039743309</c:v>
                </c:pt>
                <c:pt idx="10380">
                  <c:v>5.8969081777342662</c:v>
                </c:pt>
                <c:pt idx="10381">
                  <c:v>5.9943126800354971</c:v>
                </c:pt>
                <c:pt idx="10382">
                  <c:v>5.9564540208805816</c:v>
                </c:pt>
                <c:pt idx="10383">
                  <c:v>6.0240988302220044</c:v>
                </c:pt>
                <c:pt idx="10384">
                  <c:v>5.9789537190207618</c:v>
                </c:pt>
                <c:pt idx="10385">
                  <c:v>6.0011748841059909</c:v>
                </c:pt>
                <c:pt idx="10386">
                  <c:v>5.8569775198447669</c:v>
                </c:pt>
                <c:pt idx="10387">
                  <c:v>5.9273445014036268</c:v>
                </c:pt>
                <c:pt idx="10388">
                  <c:v>6.1239295791616861</c:v>
                </c:pt>
                <c:pt idx="10389">
                  <c:v>6.0837354918123721</c:v>
                </c:pt>
                <c:pt idx="10390">
                  <c:v>6.0623275508491172</c:v>
                </c:pt>
                <c:pt idx="10391">
                  <c:v>5.0351862301228092</c:v>
                </c:pt>
                <c:pt idx="10392">
                  <c:v>6.1276653953185365</c:v>
                </c:pt>
                <c:pt idx="10393">
                  <c:v>5.9362326729284041</c:v>
                </c:pt>
                <c:pt idx="10394">
                  <c:v>5.833532680553577</c:v>
                </c:pt>
                <c:pt idx="10395">
                  <c:v>5.8579446020835668</c:v>
                </c:pt>
                <c:pt idx="10396">
                  <c:v>5.0878474814776382</c:v>
                </c:pt>
                <c:pt idx="10397">
                  <c:v>6.044309815165243</c:v>
                </c:pt>
                <c:pt idx="10398">
                  <c:v>5.0012245636681065</c:v>
                </c:pt>
                <c:pt idx="10399">
                  <c:v>6.2841551130861895</c:v>
                </c:pt>
                <c:pt idx="10400">
                  <c:v>4.1623970912685557</c:v>
                </c:pt>
                <c:pt idx="10401">
                  <c:v>4.8937368108405668</c:v>
                </c:pt>
                <c:pt idx="10402">
                  <c:v>5.9968883674721249</c:v>
                </c:pt>
                <c:pt idx="10403">
                  <c:v>5.9409044013180434</c:v>
                </c:pt>
                <c:pt idx="10404">
                  <c:v>6.0137768762197874</c:v>
                </c:pt>
                <c:pt idx="10405">
                  <c:v>6.1554093404325414</c:v>
                </c:pt>
                <c:pt idx="10406">
                  <c:v>4.9826231293081173</c:v>
                </c:pt>
                <c:pt idx="10407">
                  <c:v>6.1315476540262166</c:v>
                </c:pt>
                <c:pt idx="10408">
                  <c:v>5.9175436894700075</c:v>
                </c:pt>
                <c:pt idx="10409">
                  <c:v>5.1068629789442967</c:v>
                </c:pt>
                <c:pt idx="10410">
                  <c:v>4.8154953910282963</c:v>
                </c:pt>
                <c:pt idx="10411">
                  <c:v>6.1155766177682054</c:v>
                </c:pt>
                <c:pt idx="10412">
                  <c:v>5.0264130601178403</c:v>
                </c:pt>
                <c:pt idx="10413">
                  <c:v>4.8138835441840211</c:v>
                </c:pt>
                <c:pt idx="10414">
                  <c:v>7.0748699597417328</c:v>
                </c:pt>
                <c:pt idx="10415">
                  <c:v>5.9589303811137659</c:v>
                </c:pt>
                <c:pt idx="10416">
                  <c:v>6.0584521781097793</c:v>
                </c:pt>
                <c:pt idx="10417">
                  <c:v>5.879940937127742</c:v>
                </c:pt>
                <c:pt idx="10418">
                  <c:v>5.9916511302686679</c:v>
                </c:pt>
                <c:pt idx="10419">
                  <c:v>6.9800062156431384</c:v>
                </c:pt>
                <c:pt idx="10420">
                  <c:v>6.0606402541913038</c:v>
                </c:pt>
                <c:pt idx="10421">
                  <c:v>5.0167566407244149</c:v>
                </c:pt>
                <c:pt idx="10422">
                  <c:v>4.9208530453408468</c:v>
                </c:pt>
                <c:pt idx="10423">
                  <c:v>6.1244537712042675</c:v>
                </c:pt>
                <c:pt idx="10424">
                  <c:v>5.9830188475384549</c:v>
                </c:pt>
                <c:pt idx="10425">
                  <c:v>4.9981413832262218</c:v>
                </c:pt>
                <c:pt idx="10426">
                  <c:v>5.9057373913458049</c:v>
                </c:pt>
                <c:pt idx="10427">
                  <c:v>6.0545796941393926</c:v>
                </c:pt>
                <c:pt idx="10428">
                  <c:v>5.9871777896163758</c:v>
                </c:pt>
                <c:pt idx="10429">
                  <c:v>6.1557562796657788</c:v>
                </c:pt>
                <c:pt idx="10430">
                  <c:v>6.0600198642240448</c:v>
                </c:pt>
                <c:pt idx="10431">
                  <c:v>6.1657451158973435</c:v>
                </c:pt>
                <c:pt idx="10432">
                  <c:v>6.0758782496498513</c:v>
                </c:pt>
                <c:pt idx="10433">
                  <c:v>5.0458071426033486</c:v>
                </c:pt>
                <c:pt idx="10434">
                  <c:v>6.1388181314009556</c:v>
                </c:pt>
                <c:pt idx="10435">
                  <c:v>5.9982160012644705</c:v>
                </c:pt>
                <c:pt idx="10436">
                  <c:v>5.9673610634824827</c:v>
                </c:pt>
                <c:pt idx="10437">
                  <c:v>6.0380606496511797</c:v>
                </c:pt>
                <c:pt idx="10438">
                  <c:v>5.1687925990355188</c:v>
                </c:pt>
                <c:pt idx="10439">
                  <c:v>5.9371132218123641</c:v>
                </c:pt>
                <c:pt idx="10440">
                  <c:v>6.0341072702099874</c:v>
                </c:pt>
                <c:pt idx="10441">
                  <c:v>6.9715420035289801</c:v>
                </c:pt>
                <c:pt idx="10442">
                  <c:v>4.9441062351032157</c:v>
                </c:pt>
                <c:pt idx="10443">
                  <c:v>5.9699874995167495</c:v>
                </c:pt>
                <c:pt idx="10444">
                  <c:v>5.1118498316878496</c:v>
                </c:pt>
                <c:pt idx="10445">
                  <c:v>5.0627730450827775</c:v>
                </c:pt>
                <c:pt idx="10446">
                  <c:v>4.961430605831568</c:v>
                </c:pt>
                <c:pt idx="10447">
                  <c:v>5.9976146631836675</c:v>
                </c:pt>
                <c:pt idx="10448">
                  <c:v>5.1352967443579889</c:v>
                </c:pt>
                <c:pt idx="10449">
                  <c:v>4.9331684072082931</c:v>
                </c:pt>
                <c:pt idx="10450">
                  <c:v>5.9196532502632477</c:v>
                </c:pt>
                <c:pt idx="10451">
                  <c:v>5.9881577925013802</c:v>
                </c:pt>
                <c:pt idx="10452">
                  <c:v>6.0197026145514334</c:v>
                </c:pt>
                <c:pt idx="10453">
                  <c:v>6.0566867849388668</c:v>
                </c:pt>
                <c:pt idx="10454">
                  <c:v>6.1230150582598313</c:v>
                </c:pt>
                <c:pt idx="10455">
                  <c:v>5.7555061661725437</c:v>
                </c:pt>
                <c:pt idx="10456">
                  <c:v>5.8687350514542453</c:v>
                </c:pt>
                <c:pt idx="10457">
                  <c:v>6.0132195811463811</c:v>
                </c:pt>
                <c:pt idx="10458">
                  <c:v>6.14248124701958</c:v>
                </c:pt>
                <c:pt idx="10459">
                  <c:v>5.9335615748880528</c:v>
                </c:pt>
                <c:pt idx="10460">
                  <c:v>5.9835357379734733</c:v>
                </c:pt>
                <c:pt idx="10461">
                  <c:v>5.9397542344662035</c:v>
                </c:pt>
                <c:pt idx="10462">
                  <c:v>6.0842756688598216</c:v>
                </c:pt>
                <c:pt idx="10463">
                  <c:v>5.9418391957177503</c:v>
                </c:pt>
                <c:pt idx="10464">
                  <c:v>5.9425444049818328</c:v>
                </c:pt>
                <c:pt idx="10465">
                  <c:v>4.8405389236858722</c:v>
                </c:pt>
                <c:pt idx="10466">
                  <c:v>7.1172580942021595</c:v>
                </c:pt>
                <c:pt idx="10467">
                  <c:v>6.0377211951503993</c:v>
                </c:pt>
                <c:pt idx="10468">
                  <c:v>4.8913321674274464</c:v>
                </c:pt>
                <c:pt idx="10469">
                  <c:v>6.0605966049688975</c:v>
                </c:pt>
                <c:pt idx="10470">
                  <c:v>5.868088443735461</c:v>
                </c:pt>
                <c:pt idx="10471">
                  <c:v>5.9573609283677804</c:v>
                </c:pt>
                <c:pt idx="10472">
                  <c:v>6.0885296219444669</c:v>
                </c:pt>
                <c:pt idx="10473">
                  <c:v>4.9221647789902478</c:v>
                </c:pt>
                <c:pt idx="10474">
                  <c:v>5.0248245523645938</c:v>
                </c:pt>
                <c:pt idx="10475">
                  <c:v>5.0886698329027311</c:v>
                </c:pt>
                <c:pt idx="10476">
                  <c:v>5.8736787931586996</c:v>
                </c:pt>
                <c:pt idx="10477">
                  <c:v>5.0379793810276698</c:v>
                </c:pt>
                <c:pt idx="10478">
                  <c:v>4.7865114781506808</c:v>
                </c:pt>
                <c:pt idx="10479">
                  <c:v>6.0428671056341212</c:v>
                </c:pt>
                <c:pt idx="10480">
                  <c:v>6.0232290726488449</c:v>
                </c:pt>
                <c:pt idx="10481">
                  <c:v>5.9085983373306119</c:v>
                </c:pt>
                <c:pt idx="10482">
                  <c:v>6.0723773496339284</c:v>
                </c:pt>
                <c:pt idx="10483">
                  <c:v>4.9363162968127794</c:v>
                </c:pt>
                <c:pt idx="10484">
                  <c:v>3.9486216246861336</c:v>
                </c:pt>
                <c:pt idx="10485">
                  <c:v>5.0247283716999345</c:v>
                </c:pt>
                <c:pt idx="10486">
                  <c:v>4.9045690172325651</c:v>
                </c:pt>
                <c:pt idx="10487">
                  <c:v>5.0453042186816388</c:v>
                </c:pt>
                <c:pt idx="10488">
                  <c:v>5.0424143137690685</c:v>
                </c:pt>
                <c:pt idx="10489">
                  <c:v>4.9151774897354992</c:v>
                </c:pt>
                <c:pt idx="10490">
                  <c:v>4.8839588260613835</c:v>
                </c:pt>
                <c:pt idx="10491">
                  <c:v>5.0880837680087598</c:v>
                </c:pt>
                <c:pt idx="10492">
                  <c:v>7.0485085728763961</c:v>
                </c:pt>
                <c:pt idx="10493">
                  <c:v>4.9380640632176895</c:v>
                </c:pt>
                <c:pt idx="10494">
                  <c:v>6.0739724150234062</c:v>
                </c:pt>
                <c:pt idx="10495">
                  <c:v>7.1225605232732594</c:v>
                </c:pt>
                <c:pt idx="10496">
                  <c:v>5.9189252846860283</c:v>
                </c:pt>
                <c:pt idx="10497">
                  <c:v>6.105613542937002</c:v>
                </c:pt>
                <c:pt idx="10498">
                  <c:v>6.0411243894897311</c:v>
                </c:pt>
                <c:pt idx="10499">
                  <c:v>5.006579423397608</c:v>
                </c:pt>
                <c:pt idx="10500">
                  <c:v>6.090556504607247</c:v>
                </c:pt>
                <c:pt idx="10501">
                  <c:v>4.9989661059783197</c:v>
                </c:pt>
                <c:pt idx="10502">
                  <c:v>6.0476052829754687</c:v>
                </c:pt>
                <c:pt idx="10503">
                  <c:v>5.2354110287026092</c:v>
                </c:pt>
                <c:pt idx="10504">
                  <c:v>5.9240705663199043</c:v>
                </c:pt>
                <c:pt idx="10505">
                  <c:v>5.1648896374110658</c:v>
                </c:pt>
                <c:pt idx="10506">
                  <c:v>6.0325985072084345</c:v>
                </c:pt>
                <c:pt idx="10507">
                  <c:v>6.0043534683325701</c:v>
                </c:pt>
                <c:pt idx="10508">
                  <c:v>6.2104388222473501</c:v>
                </c:pt>
                <c:pt idx="10509">
                  <c:v>5.0108983205983382</c:v>
                </c:pt>
                <c:pt idx="10510">
                  <c:v>4.9983798257494536</c:v>
                </c:pt>
                <c:pt idx="10511">
                  <c:v>6.1870594589888883</c:v>
                </c:pt>
                <c:pt idx="10512">
                  <c:v>5.2162317996041647</c:v>
                </c:pt>
                <c:pt idx="10513">
                  <c:v>5.9401254859045958</c:v>
                </c:pt>
                <c:pt idx="10514">
                  <c:v>5.0965983740880869</c:v>
                </c:pt>
                <c:pt idx="10515">
                  <c:v>4.9777972615748629</c:v>
                </c:pt>
                <c:pt idx="10516">
                  <c:v>5.1725324921697133</c:v>
                </c:pt>
                <c:pt idx="10517">
                  <c:v>5.953501933995093</c:v>
                </c:pt>
                <c:pt idx="10518">
                  <c:v>6.1042508864131229</c:v>
                </c:pt>
                <c:pt idx="10519">
                  <c:v>6.0479356275100589</c:v>
                </c:pt>
                <c:pt idx="10520">
                  <c:v>5.0426393803464586</c:v>
                </c:pt>
                <c:pt idx="10521">
                  <c:v>7.0699582207617189</c:v>
                </c:pt>
                <c:pt idx="10522">
                  <c:v>6.1123787846071922</c:v>
                </c:pt>
                <c:pt idx="10523">
                  <c:v>6.999536478317375</c:v>
                </c:pt>
                <c:pt idx="10524">
                  <c:v>4.9914616353629624</c:v>
                </c:pt>
                <c:pt idx="10525">
                  <c:v>6.0542949573861931</c:v>
                </c:pt>
                <c:pt idx="10526">
                  <c:v>5.9473189744689767</c:v>
                </c:pt>
                <c:pt idx="10527">
                  <c:v>6.0355550799329833</c:v>
                </c:pt>
                <c:pt idx="10528">
                  <c:v>6.1757598625156289</c:v>
                </c:pt>
                <c:pt idx="10529">
                  <c:v>5.8216658372869112</c:v>
                </c:pt>
                <c:pt idx="10530">
                  <c:v>6.0762564912353625</c:v>
                </c:pt>
                <c:pt idx="10531">
                  <c:v>6.1377156812982978</c:v>
                </c:pt>
                <c:pt idx="10532">
                  <c:v>6.1334315276681464</c:v>
                </c:pt>
                <c:pt idx="10533">
                  <c:v>5.9312051217140374</c:v>
                </c:pt>
                <c:pt idx="10534">
                  <c:v>5.9533003704130349</c:v>
                </c:pt>
                <c:pt idx="10535">
                  <c:v>6.0403646923084811</c:v>
                </c:pt>
                <c:pt idx="10536">
                  <c:v>5.9797093373598695</c:v>
                </c:pt>
                <c:pt idx="10537">
                  <c:v>5.9278799964221749</c:v>
                </c:pt>
                <c:pt idx="10538">
                  <c:v>6.1834191782905723</c:v>
                </c:pt>
                <c:pt idx="10539">
                  <c:v>6.2800139844826335</c:v>
                </c:pt>
                <c:pt idx="10540">
                  <c:v>4.9520013769325093</c:v>
                </c:pt>
                <c:pt idx="10541">
                  <c:v>7.1951437630022737</c:v>
                </c:pt>
                <c:pt idx="10542">
                  <c:v>6.1434192626576056</c:v>
                </c:pt>
                <c:pt idx="10543">
                  <c:v>5.0124907540432577</c:v>
                </c:pt>
                <c:pt idx="10544">
                  <c:v>5.0426252741863244</c:v>
                </c:pt>
                <c:pt idx="10545">
                  <c:v>6.065348819854556</c:v>
                </c:pt>
                <c:pt idx="10546">
                  <c:v>4.9572871274091455</c:v>
                </c:pt>
                <c:pt idx="10547">
                  <c:v>4.9986117991357162</c:v>
                </c:pt>
                <c:pt idx="10548">
                  <c:v>4.0947362339139142</c:v>
                </c:pt>
                <c:pt idx="10549">
                  <c:v>4.961102736520437</c:v>
                </c:pt>
                <c:pt idx="10550">
                  <c:v>6.0556784731047646</c:v>
                </c:pt>
                <c:pt idx="10551">
                  <c:v>5.0717918998425331</c:v>
                </c:pt>
                <c:pt idx="10552">
                  <c:v>4.90162616563632</c:v>
                </c:pt>
                <c:pt idx="10553">
                  <c:v>5.9969062147209975</c:v>
                </c:pt>
                <c:pt idx="10554">
                  <c:v>5.946511469856409</c:v>
                </c:pt>
                <c:pt idx="10555">
                  <c:v>5.1084301556876044</c:v>
                </c:pt>
                <c:pt idx="10556">
                  <c:v>5.9210134029018331</c:v>
                </c:pt>
                <c:pt idx="10557">
                  <c:v>6.1070958270494344</c:v>
                </c:pt>
                <c:pt idx="10558">
                  <c:v>6.9613427760838729</c:v>
                </c:pt>
                <c:pt idx="10559">
                  <c:v>6.0490099518472551</c:v>
                </c:pt>
                <c:pt idx="10560">
                  <c:v>4.9509839665998427</c:v>
                </c:pt>
                <c:pt idx="10561">
                  <c:v>6.0907432853277506</c:v>
                </c:pt>
                <c:pt idx="10562">
                  <c:v>5.9272298051246439</c:v>
                </c:pt>
                <c:pt idx="10563">
                  <c:v>4.9145204015084891</c:v>
                </c:pt>
                <c:pt idx="10564">
                  <c:v>5.1135484687685526</c:v>
                </c:pt>
                <c:pt idx="10565">
                  <c:v>5.9435904935021187</c:v>
                </c:pt>
                <c:pt idx="10566">
                  <c:v>5.9059843828608933</c:v>
                </c:pt>
                <c:pt idx="10567">
                  <c:v>5.1240615786628005</c:v>
                </c:pt>
                <c:pt idx="10568">
                  <c:v>4.9298641159387211</c:v>
                </c:pt>
                <c:pt idx="10569">
                  <c:v>4.9252570453359601</c:v>
                </c:pt>
                <c:pt idx="10570">
                  <c:v>5.9924077013492481</c:v>
                </c:pt>
                <c:pt idx="10571">
                  <c:v>6.9213444724072701</c:v>
                </c:pt>
                <c:pt idx="10572">
                  <c:v>6.0218611543448954</c:v>
                </c:pt>
                <c:pt idx="10573">
                  <c:v>5.9048635009007251</c:v>
                </c:pt>
                <c:pt idx="10574">
                  <c:v>5.9019222243040206</c:v>
                </c:pt>
                <c:pt idx="10575">
                  <c:v>5.9716324055296992</c:v>
                </c:pt>
                <c:pt idx="10576">
                  <c:v>5.9684481577951276</c:v>
                </c:pt>
                <c:pt idx="10577">
                  <c:v>4.9316633105260532</c:v>
                </c:pt>
                <c:pt idx="10578">
                  <c:v>6.1909350642411276</c:v>
                </c:pt>
                <c:pt idx="10579">
                  <c:v>7.0932670005970069</c:v>
                </c:pt>
                <c:pt idx="10580">
                  <c:v>6.2591697004001858</c:v>
                </c:pt>
                <c:pt idx="10581">
                  <c:v>7.0475104648861162</c:v>
                </c:pt>
                <c:pt idx="10582">
                  <c:v>6.9096807129347591</c:v>
                </c:pt>
                <c:pt idx="10583">
                  <c:v>6.1319146281729422</c:v>
                </c:pt>
                <c:pt idx="10584">
                  <c:v>6.8746522106946184</c:v>
                </c:pt>
                <c:pt idx="10585">
                  <c:v>3.8184611846911847</c:v>
                </c:pt>
                <c:pt idx="10586">
                  <c:v>6.0364890786615835</c:v>
                </c:pt>
                <c:pt idx="10587">
                  <c:v>7.210197237728635</c:v>
                </c:pt>
                <c:pt idx="10588">
                  <c:v>6.015816394061356</c:v>
                </c:pt>
                <c:pt idx="10589">
                  <c:v>5.9695549046577376</c:v>
                </c:pt>
                <c:pt idx="10590">
                  <c:v>5.0345129081093472</c:v>
                </c:pt>
                <c:pt idx="10591">
                  <c:v>5.7786856507105897</c:v>
                </c:pt>
                <c:pt idx="10592">
                  <c:v>6.1392907012419622</c:v>
                </c:pt>
                <c:pt idx="10593">
                  <c:v>4.1399151652882082</c:v>
                </c:pt>
                <c:pt idx="10594">
                  <c:v>6.1794577308838017</c:v>
                </c:pt>
                <c:pt idx="10595">
                  <c:v>5.9827460317608798</c:v>
                </c:pt>
                <c:pt idx="10596">
                  <c:v>6.043957131103892</c:v>
                </c:pt>
                <c:pt idx="10597">
                  <c:v>6.086530568717115</c:v>
                </c:pt>
                <c:pt idx="10598">
                  <c:v>6.072212751988558</c:v>
                </c:pt>
                <c:pt idx="10599">
                  <c:v>5.9887702479860945</c:v>
                </c:pt>
                <c:pt idx="10600">
                  <c:v>7.1980863359553826</c:v>
                </c:pt>
                <c:pt idx="10601">
                  <c:v>6.1228490667905859</c:v>
                </c:pt>
                <c:pt idx="10602">
                  <c:v>6.2987597345341264</c:v>
                </c:pt>
                <c:pt idx="10603">
                  <c:v>5.9229243083786596</c:v>
                </c:pt>
                <c:pt idx="10604">
                  <c:v>5.8096933745848229</c:v>
                </c:pt>
                <c:pt idx="10605">
                  <c:v>6.1192050915377809</c:v>
                </c:pt>
                <c:pt idx="10606">
                  <c:v>6.0327703881114596</c:v>
                </c:pt>
                <c:pt idx="10607">
                  <c:v>5.0222280247323825</c:v>
                </c:pt>
                <c:pt idx="10608">
                  <c:v>6.0667199583331319</c:v>
                </c:pt>
                <c:pt idx="10609">
                  <c:v>5.9428204202995767</c:v>
                </c:pt>
                <c:pt idx="10610">
                  <c:v>5.9305783289733114</c:v>
                </c:pt>
                <c:pt idx="10611">
                  <c:v>5.8334320468618444</c:v>
                </c:pt>
                <c:pt idx="10612">
                  <c:v>5.9172633756356099</c:v>
                </c:pt>
                <c:pt idx="10613">
                  <c:v>6.0119504346674919</c:v>
                </c:pt>
                <c:pt idx="10614">
                  <c:v>6.141912412121024</c:v>
                </c:pt>
                <c:pt idx="10615">
                  <c:v>5.9580289145368877</c:v>
                </c:pt>
                <c:pt idx="10616">
                  <c:v>7.0764797161909714</c:v>
                </c:pt>
                <c:pt idx="10617">
                  <c:v>4.9641455176723346</c:v>
                </c:pt>
                <c:pt idx="10618">
                  <c:v>6.1314533274194147</c:v>
                </c:pt>
                <c:pt idx="10619">
                  <c:v>6.0981719196615947</c:v>
                </c:pt>
                <c:pt idx="10620">
                  <c:v>6.1361937976411127</c:v>
                </c:pt>
                <c:pt idx="10621">
                  <c:v>5.8641912033328953</c:v>
                </c:pt>
                <c:pt idx="10622">
                  <c:v>6.112905039366094</c:v>
                </c:pt>
                <c:pt idx="10623">
                  <c:v>4.8858004036587959</c:v>
                </c:pt>
                <c:pt idx="10624">
                  <c:v>6.0071839489043555</c:v>
                </c:pt>
                <c:pt idx="10625">
                  <c:v>6.0744912100022033</c:v>
                </c:pt>
                <c:pt idx="10626">
                  <c:v>6.0353114717138663</c:v>
                </c:pt>
                <c:pt idx="10627">
                  <c:v>5.943288844279655</c:v>
                </c:pt>
                <c:pt idx="10628">
                  <c:v>5.9720031304577308</c:v>
                </c:pt>
                <c:pt idx="10629">
                  <c:v>5.9080299747713276</c:v>
                </c:pt>
                <c:pt idx="10630">
                  <c:v>5.9461737079604973</c:v>
                </c:pt>
                <c:pt idx="10631">
                  <c:v>6.1030113267924522</c:v>
                </c:pt>
                <c:pt idx="10632">
                  <c:v>6.0730477942629566</c:v>
                </c:pt>
                <c:pt idx="10633">
                  <c:v>7.0934938682185633</c:v>
                </c:pt>
                <c:pt idx="10634">
                  <c:v>4.9095724442374955</c:v>
                </c:pt>
                <c:pt idx="10635">
                  <c:v>6.1241561251015693</c:v>
                </c:pt>
                <c:pt idx="10636">
                  <c:v>5.8834161246500916</c:v>
                </c:pt>
                <c:pt idx="10637">
                  <c:v>6.0573048726692216</c:v>
                </c:pt>
                <c:pt idx="10638">
                  <c:v>5.9037643534095858</c:v>
                </c:pt>
                <c:pt idx="10639">
                  <c:v>5.9392713465030447</c:v>
                </c:pt>
                <c:pt idx="10640">
                  <c:v>6.9499185954348235</c:v>
                </c:pt>
                <c:pt idx="10641">
                  <c:v>5.8754828284694245</c:v>
                </c:pt>
                <c:pt idx="10642">
                  <c:v>5.9813044588384523</c:v>
                </c:pt>
                <c:pt idx="10643">
                  <c:v>5.959061281820607</c:v>
                </c:pt>
                <c:pt idx="10644">
                  <c:v>5.9640232455291109</c:v>
                </c:pt>
                <c:pt idx="10645">
                  <c:v>5.9331769209105545</c:v>
                </c:pt>
                <c:pt idx="10646">
                  <c:v>5.9399496807491756</c:v>
                </c:pt>
                <c:pt idx="10647">
                  <c:v>6.1434407407260681</c:v>
                </c:pt>
                <c:pt idx="10648">
                  <c:v>6.0950492792198014</c:v>
                </c:pt>
                <c:pt idx="10649">
                  <c:v>6.057108053595762</c:v>
                </c:pt>
                <c:pt idx="10650">
                  <c:v>5.0305609484533313</c:v>
                </c:pt>
                <c:pt idx="10651">
                  <c:v>6.09916028562506</c:v>
                </c:pt>
                <c:pt idx="10652">
                  <c:v>5.7980216893155179</c:v>
                </c:pt>
                <c:pt idx="10653">
                  <c:v>5.9480408428146765</c:v>
                </c:pt>
                <c:pt idx="10654">
                  <c:v>5.8940931004560868</c:v>
                </c:pt>
                <c:pt idx="10655">
                  <c:v>6.9732310927058982</c:v>
                </c:pt>
                <c:pt idx="10656">
                  <c:v>5.9585038628979383</c:v>
                </c:pt>
                <c:pt idx="10657">
                  <c:v>5.8746931589036988</c:v>
                </c:pt>
                <c:pt idx="10658">
                  <c:v>5.0678404639745507</c:v>
                </c:pt>
                <c:pt idx="10659">
                  <c:v>6.1210693009386858</c:v>
                </c:pt>
                <c:pt idx="10660">
                  <c:v>5.9490328597711812</c:v>
                </c:pt>
                <c:pt idx="10661">
                  <c:v>6.0902318727492055</c:v>
                </c:pt>
                <c:pt idx="10662">
                  <c:v>4.9658519721403138</c:v>
                </c:pt>
                <c:pt idx="10663">
                  <c:v>6.2060248896343282</c:v>
                </c:pt>
                <c:pt idx="10664">
                  <c:v>3.9826272924559514</c:v>
                </c:pt>
                <c:pt idx="10665">
                  <c:v>7.0061381111511123</c:v>
                </c:pt>
                <c:pt idx="10666">
                  <c:v>6.9660047535693437</c:v>
                </c:pt>
                <c:pt idx="10667">
                  <c:v>6.0579906081099884</c:v>
                </c:pt>
                <c:pt idx="10668">
                  <c:v>5.9678275509465335</c:v>
                </c:pt>
                <c:pt idx="10669">
                  <c:v>6.0178196411924469</c:v>
                </c:pt>
                <c:pt idx="10670">
                  <c:v>6.0793862430200285</c:v>
                </c:pt>
                <c:pt idx="10671">
                  <c:v>5.8967682214081405</c:v>
                </c:pt>
                <c:pt idx="10672">
                  <c:v>6.1505574848919782</c:v>
                </c:pt>
                <c:pt idx="10673">
                  <c:v>5.7619453734082633</c:v>
                </c:pt>
                <c:pt idx="10674">
                  <c:v>5.9778989679442756</c:v>
                </c:pt>
                <c:pt idx="10675">
                  <c:v>5.9051974222851138</c:v>
                </c:pt>
                <c:pt idx="10676">
                  <c:v>5.2044578094288756</c:v>
                </c:pt>
                <c:pt idx="10677">
                  <c:v>5.9251664963507178</c:v>
                </c:pt>
                <c:pt idx="10678">
                  <c:v>6.0214503665310337</c:v>
                </c:pt>
                <c:pt idx="10679">
                  <c:v>5.963094731619635</c:v>
                </c:pt>
                <c:pt idx="10680">
                  <c:v>5.9051404310543161</c:v>
                </c:pt>
                <c:pt idx="10681">
                  <c:v>6.1192501840841071</c:v>
                </c:pt>
                <c:pt idx="10682">
                  <c:v>6.0691075849577079</c:v>
                </c:pt>
                <c:pt idx="10683">
                  <c:v>5.8940889020076153</c:v>
                </c:pt>
                <c:pt idx="10684">
                  <c:v>5.2162913768589236</c:v>
                </c:pt>
                <c:pt idx="10685">
                  <c:v>5.9764940258823041</c:v>
                </c:pt>
                <c:pt idx="10686">
                  <c:v>6.0806766530123406</c:v>
                </c:pt>
                <c:pt idx="10687">
                  <c:v>5.9367202254450495</c:v>
                </c:pt>
                <c:pt idx="10688">
                  <c:v>5.7564363839923338</c:v>
                </c:pt>
                <c:pt idx="10689">
                  <c:v>6.1911875496259148</c:v>
                </c:pt>
                <c:pt idx="10690">
                  <c:v>5.7751930015944755</c:v>
                </c:pt>
                <c:pt idx="10691">
                  <c:v>6.0422442727265127</c:v>
                </c:pt>
                <c:pt idx="10692">
                  <c:v>5.8568248551340849</c:v>
                </c:pt>
                <c:pt idx="10693">
                  <c:v>6.0027603419108067</c:v>
                </c:pt>
                <c:pt idx="10694">
                  <c:v>6.0207294235945135</c:v>
                </c:pt>
                <c:pt idx="10695">
                  <c:v>6.0059172789479964</c:v>
                </c:pt>
                <c:pt idx="10696">
                  <c:v>5.9109199416115867</c:v>
                </c:pt>
                <c:pt idx="10697">
                  <c:v>5.9161020894620027</c:v>
                </c:pt>
                <c:pt idx="10698">
                  <c:v>5.9231171651892733</c:v>
                </c:pt>
                <c:pt idx="10699">
                  <c:v>6.1072557021270724</c:v>
                </c:pt>
                <c:pt idx="10700">
                  <c:v>5.0414440137616081</c:v>
                </c:pt>
                <c:pt idx="10701">
                  <c:v>5.911284838047294</c:v>
                </c:pt>
                <c:pt idx="10702">
                  <c:v>6.1133775921334816</c:v>
                </c:pt>
                <c:pt idx="10703">
                  <c:v>5.950883891208135</c:v>
                </c:pt>
                <c:pt idx="10704">
                  <c:v>6.0807812610818273</c:v>
                </c:pt>
                <c:pt idx="10705">
                  <c:v>4.9516644163116563</c:v>
                </c:pt>
                <c:pt idx="10706">
                  <c:v>5.9414961756580498</c:v>
                </c:pt>
                <c:pt idx="10707">
                  <c:v>5.0828192470106801</c:v>
                </c:pt>
                <c:pt idx="10708">
                  <c:v>5.1471920972558074</c:v>
                </c:pt>
                <c:pt idx="10709">
                  <c:v>5.820369093128809</c:v>
                </c:pt>
                <c:pt idx="10710">
                  <c:v>5.9743273178691947</c:v>
                </c:pt>
                <c:pt idx="10711">
                  <c:v>6.1599580851407962</c:v>
                </c:pt>
                <c:pt idx="10712">
                  <c:v>5.8762551973304742</c:v>
                </c:pt>
                <c:pt idx="10713">
                  <c:v>5.1233280782957396</c:v>
                </c:pt>
                <c:pt idx="10714">
                  <c:v>5.0904164108736927</c:v>
                </c:pt>
                <c:pt idx="10715">
                  <c:v>4.8575146434491883</c:v>
                </c:pt>
                <c:pt idx="10716">
                  <c:v>6.0315382939131181</c:v>
                </c:pt>
                <c:pt idx="10717">
                  <c:v>6.2109839730214365</c:v>
                </c:pt>
                <c:pt idx="10718">
                  <c:v>5.9516622285715481</c:v>
                </c:pt>
                <c:pt idx="10719">
                  <c:v>4.8159130177012068</c:v>
                </c:pt>
                <c:pt idx="10720">
                  <c:v>5.8948202367940166</c:v>
                </c:pt>
                <c:pt idx="10721">
                  <c:v>7.144895961794969</c:v>
                </c:pt>
                <c:pt idx="10722">
                  <c:v>5.912537525585611</c:v>
                </c:pt>
                <c:pt idx="10723">
                  <c:v>5.9449550842411636</c:v>
                </c:pt>
                <c:pt idx="10724">
                  <c:v>4.9679226191451464</c:v>
                </c:pt>
                <c:pt idx="10725">
                  <c:v>4.8192399950828388</c:v>
                </c:pt>
                <c:pt idx="10726">
                  <c:v>5.1170303524946537</c:v>
                </c:pt>
                <c:pt idx="10727">
                  <c:v>4.8427527434004833</c:v>
                </c:pt>
                <c:pt idx="10728">
                  <c:v>6.9855788294721339</c:v>
                </c:pt>
                <c:pt idx="10729">
                  <c:v>6.8943660671541904</c:v>
                </c:pt>
                <c:pt idx="10730">
                  <c:v>4.9354756758703591</c:v>
                </c:pt>
                <c:pt idx="10731">
                  <c:v>5.1359765373736899</c:v>
                </c:pt>
                <c:pt idx="10732">
                  <c:v>4.2387691433860777</c:v>
                </c:pt>
                <c:pt idx="10733">
                  <c:v>6.1887099112606592</c:v>
                </c:pt>
                <c:pt idx="10734">
                  <c:v>5.1052211297304595</c:v>
                </c:pt>
                <c:pt idx="10735">
                  <c:v>6.2141497623904716</c:v>
                </c:pt>
                <c:pt idx="10736">
                  <c:v>5.0376532054817327</c:v>
                </c:pt>
                <c:pt idx="10737">
                  <c:v>7.0924040209009585</c:v>
                </c:pt>
                <c:pt idx="10738">
                  <c:v>6.0608410806425166</c:v>
                </c:pt>
                <c:pt idx="10739">
                  <c:v>4.8983240974581967</c:v>
                </c:pt>
                <c:pt idx="10740">
                  <c:v>6.1036297156926906</c:v>
                </c:pt>
                <c:pt idx="10741">
                  <c:v>6.0128599085108112</c:v>
                </c:pt>
                <c:pt idx="10742">
                  <c:v>5.8587368857909583</c:v>
                </c:pt>
                <c:pt idx="10743">
                  <c:v>5.9554892328934894</c:v>
                </c:pt>
                <c:pt idx="10744">
                  <c:v>5.891547716903724</c:v>
                </c:pt>
                <c:pt idx="10745">
                  <c:v>5.9655465572984481</c:v>
                </c:pt>
                <c:pt idx="10746">
                  <c:v>6.1439857519175369</c:v>
                </c:pt>
                <c:pt idx="10747">
                  <c:v>4.9040896220763663</c:v>
                </c:pt>
                <c:pt idx="10748">
                  <c:v>4.9047786261943864</c:v>
                </c:pt>
                <c:pt idx="10749">
                  <c:v>6.0850422194796208</c:v>
                </c:pt>
                <c:pt idx="10750">
                  <c:v>5.8946662296475534</c:v>
                </c:pt>
                <c:pt idx="10751">
                  <c:v>5.8097268048912998</c:v>
                </c:pt>
                <c:pt idx="10752">
                  <c:v>5.2591817013474103</c:v>
                </c:pt>
                <c:pt idx="10753">
                  <c:v>5.8719481110332117</c:v>
                </c:pt>
                <c:pt idx="10754">
                  <c:v>6.1517976704977286</c:v>
                </c:pt>
                <c:pt idx="10755">
                  <c:v>3.8949335234146929</c:v>
                </c:pt>
                <c:pt idx="10756">
                  <c:v>5.9365672854001641</c:v>
                </c:pt>
                <c:pt idx="10757">
                  <c:v>5.0019171259007749</c:v>
                </c:pt>
                <c:pt idx="10758">
                  <c:v>6.0541603917199343</c:v>
                </c:pt>
                <c:pt idx="10759">
                  <c:v>4.9491173551649466</c:v>
                </c:pt>
                <c:pt idx="10760">
                  <c:v>5.0300944142030026</c:v>
                </c:pt>
                <c:pt idx="10761">
                  <c:v>6.0537337042540029</c:v>
                </c:pt>
                <c:pt idx="10762">
                  <c:v>5.9567896469839567</c:v>
                </c:pt>
                <c:pt idx="10763">
                  <c:v>5.8730185491408831</c:v>
                </c:pt>
                <c:pt idx="10764">
                  <c:v>6.1498181445179156</c:v>
                </c:pt>
                <c:pt idx="10765">
                  <c:v>6.0626402771362837</c:v>
                </c:pt>
                <c:pt idx="10766">
                  <c:v>5.1337028860644756</c:v>
                </c:pt>
                <c:pt idx="10767">
                  <c:v>5.0031115012522784</c:v>
                </c:pt>
                <c:pt idx="10768">
                  <c:v>6.1000965512804388</c:v>
                </c:pt>
                <c:pt idx="10769">
                  <c:v>4.9957638650343661</c:v>
                </c:pt>
                <c:pt idx="10770">
                  <c:v>6.0712615577121696</c:v>
                </c:pt>
                <c:pt idx="10771">
                  <c:v>4.0041919356863218</c:v>
                </c:pt>
                <c:pt idx="10772">
                  <c:v>4.1087253507865533</c:v>
                </c:pt>
                <c:pt idx="10773">
                  <c:v>4.9215676231966077</c:v>
                </c:pt>
                <c:pt idx="10774">
                  <c:v>5.8919585789779108</c:v>
                </c:pt>
                <c:pt idx="10775">
                  <c:v>6.062937512398622</c:v>
                </c:pt>
                <c:pt idx="10776">
                  <c:v>4.0665246551211922</c:v>
                </c:pt>
                <c:pt idx="10777">
                  <c:v>5.9604398087155701</c:v>
                </c:pt>
                <c:pt idx="10778">
                  <c:v>6.0715494296352359</c:v>
                </c:pt>
                <c:pt idx="10779">
                  <c:v>4.7939250422549247</c:v>
                </c:pt>
                <c:pt idx="10780">
                  <c:v>4.9749081706423066</c:v>
                </c:pt>
                <c:pt idx="10781">
                  <c:v>3.9201020046978892</c:v>
                </c:pt>
                <c:pt idx="10782">
                  <c:v>5.0775047172573222</c:v>
                </c:pt>
                <c:pt idx="10783">
                  <c:v>4.8735615442041942</c:v>
                </c:pt>
                <c:pt idx="10784">
                  <c:v>5.9852214889929707</c:v>
                </c:pt>
                <c:pt idx="10785">
                  <c:v>5.9123457370320001</c:v>
                </c:pt>
                <c:pt idx="10786">
                  <c:v>4.8274184212549072</c:v>
                </c:pt>
                <c:pt idx="10787">
                  <c:v>5.0268340188611873</c:v>
                </c:pt>
                <c:pt idx="10788">
                  <c:v>5.954347946153316</c:v>
                </c:pt>
                <c:pt idx="10789">
                  <c:v>4.843432627691894</c:v>
                </c:pt>
                <c:pt idx="10790">
                  <c:v>5.9740549664038198</c:v>
                </c:pt>
                <c:pt idx="10791">
                  <c:v>7.0918399366671263</c:v>
                </c:pt>
                <c:pt idx="10792">
                  <c:v>4.95670711263777</c:v>
                </c:pt>
                <c:pt idx="10793">
                  <c:v>7.1493092139444432</c:v>
                </c:pt>
                <c:pt idx="10794">
                  <c:v>7.076675625839921</c:v>
                </c:pt>
                <c:pt idx="10795">
                  <c:v>6.0940019864898431</c:v>
                </c:pt>
                <c:pt idx="10796">
                  <c:v>6.1224278946037405</c:v>
                </c:pt>
                <c:pt idx="10797">
                  <c:v>5.9859441093351426</c:v>
                </c:pt>
                <c:pt idx="10798">
                  <c:v>5.0972306794006057</c:v>
                </c:pt>
                <c:pt idx="10799">
                  <c:v>5.9290353552932338</c:v>
                </c:pt>
                <c:pt idx="10800">
                  <c:v>6.1042992490928611</c:v>
                </c:pt>
                <c:pt idx="10801">
                  <c:v>4.8491738005121015</c:v>
                </c:pt>
                <c:pt idx="10802">
                  <c:v>5.058477963097026</c:v>
                </c:pt>
                <c:pt idx="10803">
                  <c:v>4.8512469869335542</c:v>
                </c:pt>
                <c:pt idx="10804">
                  <c:v>5.9078080503493355</c:v>
                </c:pt>
                <c:pt idx="10805">
                  <c:v>5.961013076162013</c:v>
                </c:pt>
                <c:pt idx="10806">
                  <c:v>5.0464219700671551</c:v>
                </c:pt>
                <c:pt idx="10807">
                  <c:v>5.9101748623585335</c:v>
                </c:pt>
                <c:pt idx="10808">
                  <c:v>5.832002418792487</c:v>
                </c:pt>
                <c:pt idx="10809">
                  <c:v>5.0681394896302887</c:v>
                </c:pt>
                <c:pt idx="10810">
                  <c:v>4.8803715238401324</c:v>
                </c:pt>
                <c:pt idx="10811">
                  <c:v>5.9907289086432565</c:v>
                </c:pt>
                <c:pt idx="10812">
                  <c:v>3.9471634790893875</c:v>
                </c:pt>
                <c:pt idx="10813">
                  <c:v>5.0291510515634146</c:v>
                </c:pt>
                <c:pt idx="10814">
                  <c:v>6.1100959438094318</c:v>
                </c:pt>
                <c:pt idx="10815">
                  <c:v>5.8704908562830971</c:v>
                </c:pt>
                <c:pt idx="10816">
                  <c:v>6.8460412204095569</c:v>
                </c:pt>
                <c:pt idx="10817">
                  <c:v>5.0083143930327294</c:v>
                </c:pt>
                <c:pt idx="10818">
                  <c:v>7.0672561648723065</c:v>
                </c:pt>
                <c:pt idx="10819">
                  <c:v>4.9551955392303837</c:v>
                </c:pt>
                <c:pt idx="10820">
                  <c:v>6.0707897564560183</c:v>
                </c:pt>
                <c:pt idx="10821">
                  <c:v>5.084344049603887</c:v>
                </c:pt>
                <c:pt idx="10822">
                  <c:v>6.1074895664582014</c:v>
                </c:pt>
                <c:pt idx="10823">
                  <c:v>6.0185818257652128</c:v>
                </c:pt>
                <c:pt idx="10824">
                  <c:v>4.974412659013832</c:v>
                </c:pt>
                <c:pt idx="10825">
                  <c:v>5.0355943169983668</c:v>
                </c:pt>
                <c:pt idx="10826">
                  <c:v>5.9948966214843074</c:v>
                </c:pt>
                <c:pt idx="10827">
                  <c:v>6.9730110178379618</c:v>
                </c:pt>
                <c:pt idx="10828">
                  <c:v>5.2049435934799639</c:v>
                </c:pt>
                <c:pt idx="10829">
                  <c:v>5.0376162744865356</c:v>
                </c:pt>
                <c:pt idx="10830">
                  <c:v>4.9931294088286204</c:v>
                </c:pt>
                <c:pt idx="10831">
                  <c:v>4.8886329355568847</c:v>
                </c:pt>
                <c:pt idx="10832">
                  <c:v>6.0026455476462566</c:v>
                </c:pt>
                <c:pt idx="10833">
                  <c:v>5.1045571690279665</c:v>
                </c:pt>
                <c:pt idx="10834">
                  <c:v>5.944935334415101</c:v>
                </c:pt>
                <c:pt idx="10835">
                  <c:v>4.9002575382775895</c:v>
                </c:pt>
                <c:pt idx="10836">
                  <c:v>6.1203176930893397</c:v>
                </c:pt>
                <c:pt idx="10837">
                  <c:v>5.0002860794435735</c:v>
                </c:pt>
                <c:pt idx="10838">
                  <c:v>5.8890787467206174</c:v>
                </c:pt>
                <c:pt idx="10839">
                  <c:v>6.0697851695014782</c:v>
                </c:pt>
                <c:pt idx="10840">
                  <c:v>6.0338830805711785</c:v>
                </c:pt>
                <c:pt idx="10841">
                  <c:v>7.0875762248793972</c:v>
                </c:pt>
                <c:pt idx="10842">
                  <c:v>7.1200374769302615</c:v>
                </c:pt>
                <c:pt idx="10843">
                  <c:v>7.1196741613365662</c:v>
                </c:pt>
                <c:pt idx="10844">
                  <c:v>5.0804734034981172</c:v>
                </c:pt>
                <c:pt idx="10845">
                  <c:v>5.0956549490515695</c:v>
                </c:pt>
                <c:pt idx="10846">
                  <c:v>4.9227488875608918</c:v>
                </c:pt>
                <c:pt idx="10847">
                  <c:v>5.148601657352434</c:v>
                </c:pt>
                <c:pt idx="10848">
                  <c:v>5.0153879592108961</c:v>
                </c:pt>
                <c:pt idx="10849">
                  <c:v>4.6793480769077958</c:v>
                </c:pt>
                <c:pt idx="10850">
                  <c:v>4.8671093305779065</c:v>
                </c:pt>
                <c:pt idx="10851">
                  <c:v>5.1871442457638084</c:v>
                </c:pt>
                <c:pt idx="10852">
                  <c:v>4.9257397240820717</c:v>
                </c:pt>
                <c:pt idx="10853">
                  <c:v>5.0676171782749337</c:v>
                </c:pt>
                <c:pt idx="10854">
                  <c:v>5.9704337087680308</c:v>
                </c:pt>
                <c:pt idx="10855">
                  <c:v>4.8520649227548454</c:v>
                </c:pt>
                <c:pt idx="10856">
                  <c:v>5.0956712753843494</c:v>
                </c:pt>
                <c:pt idx="10857">
                  <c:v>6.9314248817719806</c:v>
                </c:pt>
                <c:pt idx="10858">
                  <c:v>5.9187451489613983</c:v>
                </c:pt>
                <c:pt idx="10859">
                  <c:v>4.8887271649869151</c:v>
                </c:pt>
                <c:pt idx="10860">
                  <c:v>5.0637877258467281</c:v>
                </c:pt>
                <c:pt idx="10861">
                  <c:v>5.0356347714520222</c:v>
                </c:pt>
                <c:pt idx="10862">
                  <c:v>5.9319184129052918</c:v>
                </c:pt>
                <c:pt idx="10863">
                  <c:v>4.965509422835062</c:v>
                </c:pt>
                <c:pt idx="10864">
                  <c:v>4.1579575083068141</c:v>
                </c:pt>
                <c:pt idx="10865">
                  <c:v>5.003728835153038</c:v>
                </c:pt>
                <c:pt idx="10866">
                  <c:v>6.971683125753505</c:v>
                </c:pt>
                <c:pt idx="10867">
                  <c:v>5.0772059403853262</c:v>
                </c:pt>
                <c:pt idx="10868">
                  <c:v>5.9312664308561338</c:v>
                </c:pt>
                <c:pt idx="10869">
                  <c:v>4.912967072844717</c:v>
                </c:pt>
                <c:pt idx="10870">
                  <c:v>5.9721474011569384</c:v>
                </c:pt>
                <c:pt idx="10871">
                  <c:v>4.9120142822135318</c:v>
                </c:pt>
                <c:pt idx="10872">
                  <c:v>4.8833406760582818</c:v>
                </c:pt>
                <c:pt idx="10873">
                  <c:v>4.9519081466733894</c:v>
                </c:pt>
                <c:pt idx="10874">
                  <c:v>5.8922715629527698</c:v>
                </c:pt>
                <c:pt idx="10875">
                  <c:v>5.0622854147388336</c:v>
                </c:pt>
                <c:pt idx="10876">
                  <c:v>5.1937535999523234</c:v>
                </c:pt>
                <c:pt idx="10877">
                  <c:v>4.9622265542545723</c:v>
                </c:pt>
                <c:pt idx="10878">
                  <c:v>7.0805717202273506</c:v>
                </c:pt>
                <c:pt idx="10879">
                  <c:v>5.0188270335075691</c:v>
                </c:pt>
                <c:pt idx="10880">
                  <c:v>5.0007517411429081</c:v>
                </c:pt>
                <c:pt idx="10881">
                  <c:v>6.0318518189279322</c:v>
                </c:pt>
                <c:pt idx="10882">
                  <c:v>6.0288700638380917</c:v>
                </c:pt>
                <c:pt idx="10883">
                  <c:v>6.1259923325440697</c:v>
                </c:pt>
                <c:pt idx="10884">
                  <c:v>4.9184762703544509</c:v>
                </c:pt>
                <c:pt idx="10885">
                  <c:v>5.9578388856339419</c:v>
                </c:pt>
                <c:pt idx="10886">
                  <c:v>5.9131021178346277</c:v>
                </c:pt>
                <c:pt idx="10887">
                  <c:v>4.8302998668265742</c:v>
                </c:pt>
                <c:pt idx="10888">
                  <c:v>6.1276413904201386</c:v>
                </c:pt>
                <c:pt idx="10889">
                  <c:v>4.9990398701243324</c:v>
                </c:pt>
                <c:pt idx="10890">
                  <c:v>4.8301257097097672</c:v>
                </c:pt>
                <c:pt idx="10891">
                  <c:v>5.1600957161188967</c:v>
                </c:pt>
                <c:pt idx="10892">
                  <c:v>6.0916617988251289</c:v>
                </c:pt>
                <c:pt idx="10893">
                  <c:v>6.0617802617226841</c:v>
                </c:pt>
                <c:pt idx="10894">
                  <c:v>4.9173669294420943</c:v>
                </c:pt>
                <c:pt idx="10895">
                  <c:v>6.0385062634450861</c:v>
                </c:pt>
                <c:pt idx="10896">
                  <c:v>6.1179626767254005</c:v>
                </c:pt>
                <c:pt idx="10897">
                  <c:v>5.0333886019025096</c:v>
                </c:pt>
                <c:pt idx="10898">
                  <c:v>5.8690874101068733</c:v>
                </c:pt>
                <c:pt idx="10899">
                  <c:v>5.1204963538487567</c:v>
                </c:pt>
                <c:pt idx="10900">
                  <c:v>6.0016720105286705</c:v>
                </c:pt>
                <c:pt idx="10901">
                  <c:v>5.1692737149678178</c:v>
                </c:pt>
                <c:pt idx="10902">
                  <c:v>5.9140618757220835</c:v>
                </c:pt>
                <c:pt idx="10903">
                  <c:v>5.0060739071989069</c:v>
                </c:pt>
                <c:pt idx="10904">
                  <c:v>5.9996844519911008</c:v>
                </c:pt>
                <c:pt idx="10905">
                  <c:v>5.9294421071846397</c:v>
                </c:pt>
                <c:pt idx="10906">
                  <c:v>5.9990224958337475</c:v>
                </c:pt>
                <c:pt idx="10907">
                  <c:v>6.0368175554371017</c:v>
                </c:pt>
                <c:pt idx="10908">
                  <c:v>5.9622943255450149</c:v>
                </c:pt>
                <c:pt idx="10909">
                  <c:v>4.8854890633020052</c:v>
                </c:pt>
                <c:pt idx="10910">
                  <c:v>5.0077114424402192</c:v>
                </c:pt>
                <c:pt idx="10911">
                  <c:v>5.2026563422022116</c:v>
                </c:pt>
                <c:pt idx="10912">
                  <c:v>6.0495692406507606</c:v>
                </c:pt>
                <c:pt idx="10913">
                  <c:v>6.1253513250142051</c:v>
                </c:pt>
                <c:pt idx="10914">
                  <c:v>5.9886620938858517</c:v>
                </c:pt>
                <c:pt idx="10915">
                  <c:v>6.0820557336281622</c:v>
                </c:pt>
                <c:pt idx="10916">
                  <c:v>4.8970190469725612</c:v>
                </c:pt>
                <c:pt idx="10917">
                  <c:v>5.0562363009425679</c:v>
                </c:pt>
                <c:pt idx="10918">
                  <c:v>5.9927377483311446</c:v>
                </c:pt>
                <c:pt idx="10919">
                  <c:v>5.0044687832800889</c:v>
                </c:pt>
                <c:pt idx="10920">
                  <c:v>5.1481382081015692</c:v>
                </c:pt>
                <c:pt idx="10921">
                  <c:v>6.048620691964409</c:v>
                </c:pt>
                <c:pt idx="10922">
                  <c:v>6.13930375962277</c:v>
                </c:pt>
                <c:pt idx="10923">
                  <c:v>6.0197349180876811</c:v>
                </c:pt>
                <c:pt idx="10924">
                  <c:v>5.9627874826274576</c:v>
                </c:pt>
                <c:pt idx="10925">
                  <c:v>4.9397731326441807</c:v>
                </c:pt>
                <c:pt idx="10926">
                  <c:v>5.1071277529811754</c:v>
                </c:pt>
                <c:pt idx="10927">
                  <c:v>4.8712420811380044</c:v>
                </c:pt>
                <c:pt idx="10928">
                  <c:v>5.9137146099874984</c:v>
                </c:pt>
                <c:pt idx="10929">
                  <c:v>5.9533432430520641</c:v>
                </c:pt>
                <c:pt idx="10930">
                  <c:v>5.9674589284173685</c:v>
                </c:pt>
                <c:pt idx="10931">
                  <c:v>5.0292149405233779</c:v>
                </c:pt>
                <c:pt idx="10932">
                  <c:v>5.9874158320367163</c:v>
                </c:pt>
                <c:pt idx="10933">
                  <c:v>5.1604415721099146</c:v>
                </c:pt>
                <c:pt idx="10934">
                  <c:v>5.0364999002710089</c:v>
                </c:pt>
                <c:pt idx="10935">
                  <c:v>4.9146359713584644</c:v>
                </c:pt>
                <c:pt idx="10936">
                  <c:v>5.0831010496584605</c:v>
                </c:pt>
                <c:pt idx="10937">
                  <c:v>5.8934203609390439</c:v>
                </c:pt>
                <c:pt idx="10938">
                  <c:v>6.0137331609210563</c:v>
                </c:pt>
                <c:pt idx="10939">
                  <c:v>5.0772401468211479</c:v>
                </c:pt>
                <c:pt idx="10940">
                  <c:v>4.8624419571623578</c:v>
                </c:pt>
                <c:pt idx="10941">
                  <c:v>6.0336198400639587</c:v>
                </c:pt>
                <c:pt idx="10942">
                  <c:v>5.0248651381664908</c:v>
                </c:pt>
                <c:pt idx="10943">
                  <c:v>6.1187425914971056</c:v>
                </c:pt>
                <c:pt idx="10944">
                  <c:v>5.9845830585461677</c:v>
                </c:pt>
                <c:pt idx="10945">
                  <c:v>5.0125367933133971</c:v>
                </c:pt>
                <c:pt idx="10946">
                  <c:v>5.9335537121137696</c:v>
                </c:pt>
                <c:pt idx="10947">
                  <c:v>4.9450106486557655</c:v>
                </c:pt>
                <c:pt idx="10948">
                  <c:v>6.0186693340316229</c:v>
                </c:pt>
                <c:pt idx="10949">
                  <c:v>5.8246258896823822</c:v>
                </c:pt>
                <c:pt idx="10950">
                  <c:v>6.0087160544135623</c:v>
                </c:pt>
                <c:pt idx="10951">
                  <c:v>6.0434784196568661</c:v>
                </c:pt>
                <c:pt idx="10952">
                  <c:v>5.8676247276837898</c:v>
                </c:pt>
                <c:pt idx="10953">
                  <c:v>5.9077554290511483</c:v>
                </c:pt>
                <c:pt idx="10954">
                  <c:v>5.9707107391980987</c:v>
                </c:pt>
                <c:pt idx="10955">
                  <c:v>5.0159939497665738</c:v>
                </c:pt>
                <c:pt idx="10956">
                  <c:v>6.1094446476445281</c:v>
                </c:pt>
                <c:pt idx="10957">
                  <c:v>5.8991191476686371</c:v>
                </c:pt>
                <c:pt idx="10958">
                  <c:v>3.9544182596572583</c:v>
                </c:pt>
                <c:pt idx="10959">
                  <c:v>4.9607381227519838</c:v>
                </c:pt>
                <c:pt idx="10960">
                  <c:v>5.8817780289333639</c:v>
                </c:pt>
                <c:pt idx="10961">
                  <c:v>6.0202561311380496</c:v>
                </c:pt>
                <c:pt idx="10962">
                  <c:v>4.988255505435566</c:v>
                </c:pt>
                <c:pt idx="10963">
                  <c:v>6.1677843924951157</c:v>
                </c:pt>
                <c:pt idx="10964">
                  <c:v>5.970436890028628</c:v>
                </c:pt>
                <c:pt idx="10965">
                  <c:v>2.9088993955288043</c:v>
                </c:pt>
                <c:pt idx="10966">
                  <c:v>2.9175281913896454</c:v>
                </c:pt>
                <c:pt idx="10967">
                  <c:v>3.100032174455996</c:v>
                </c:pt>
                <c:pt idx="10968">
                  <c:v>3.0073745956357976</c:v>
                </c:pt>
                <c:pt idx="10969">
                  <c:v>3.0276358807940742</c:v>
                </c:pt>
                <c:pt idx="10970">
                  <c:v>5.1295432475030687</c:v>
                </c:pt>
                <c:pt idx="10971">
                  <c:v>5.1008368079002961</c:v>
                </c:pt>
                <c:pt idx="10972">
                  <c:v>5.1060271759178324</c:v>
                </c:pt>
                <c:pt idx="10973">
                  <c:v>4.955573018375194</c:v>
                </c:pt>
                <c:pt idx="10974">
                  <c:v>4.9303325663065607</c:v>
                </c:pt>
                <c:pt idx="10975">
                  <c:v>4.9780475566909708</c:v>
                </c:pt>
                <c:pt idx="10976">
                  <c:v>5.0251498437826845</c:v>
                </c:pt>
                <c:pt idx="10977">
                  <c:v>6.0508164771304651</c:v>
                </c:pt>
                <c:pt idx="10978">
                  <c:v>5.8686304314954594</c:v>
                </c:pt>
                <c:pt idx="10979">
                  <c:v>6.0468653286490159</c:v>
                </c:pt>
                <c:pt idx="10980">
                  <c:v>6.0427664395687124</c:v>
                </c:pt>
                <c:pt idx="10981">
                  <c:v>6.944042280302904</c:v>
                </c:pt>
                <c:pt idx="10982">
                  <c:v>6.0705665961358273</c:v>
                </c:pt>
                <c:pt idx="10983">
                  <c:v>4.9979985979621047</c:v>
                </c:pt>
                <c:pt idx="10984">
                  <c:v>5.9816451017837524</c:v>
                </c:pt>
                <c:pt idx="10985">
                  <c:v>4.9599226432437034</c:v>
                </c:pt>
                <c:pt idx="10986">
                  <c:v>5.9695472649088188</c:v>
                </c:pt>
                <c:pt idx="10987">
                  <c:v>7.1261601602212057</c:v>
                </c:pt>
                <c:pt idx="10988">
                  <c:v>6.0996830791613972</c:v>
                </c:pt>
                <c:pt idx="10989">
                  <c:v>6.1563045471767959</c:v>
                </c:pt>
                <c:pt idx="10990">
                  <c:v>6.1104026590063878</c:v>
                </c:pt>
                <c:pt idx="10991">
                  <c:v>6.2257786553321459</c:v>
                </c:pt>
                <c:pt idx="10992">
                  <c:v>6.0730471065600105</c:v>
                </c:pt>
                <c:pt idx="10993">
                  <c:v>5.0655890912665118</c:v>
                </c:pt>
                <c:pt idx="10994">
                  <c:v>4.9893282559424765</c:v>
                </c:pt>
                <c:pt idx="10995">
                  <c:v>5.9542477531249514</c:v>
                </c:pt>
                <c:pt idx="10996">
                  <c:v>5.9688998564534002</c:v>
                </c:pt>
                <c:pt idx="10997">
                  <c:v>6.0426915132313175</c:v>
                </c:pt>
                <c:pt idx="10998">
                  <c:v>6.0691915527146092</c:v>
                </c:pt>
                <c:pt idx="10999">
                  <c:v>6.0248876144457784</c:v>
                </c:pt>
                <c:pt idx="11000">
                  <c:v>6.1893366206187563</c:v>
                </c:pt>
                <c:pt idx="11001">
                  <c:v>4.9265000975628848</c:v>
                </c:pt>
                <c:pt idx="11002">
                  <c:v>5.9047212940389286</c:v>
                </c:pt>
                <c:pt idx="11003">
                  <c:v>5.8184813808031262</c:v>
                </c:pt>
                <c:pt idx="11004">
                  <c:v>4.9148390959892891</c:v>
                </c:pt>
                <c:pt idx="11005">
                  <c:v>5.9410175188510532</c:v>
                </c:pt>
                <c:pt idx="11006">
                  <c:v>4.9076011422818286</c:v>
                </c:pt>
                <c:pt idx="11007">
                  <c:v>5.8915578679816258</c:v>
                </c:pt>
                <c:pt idx="11008">
                  <c:v>6.0754214640016118</c:v>
                </c:pt>
                <c:pt idx="11009">
                  <c:v>5.9887954710995341</c:v>
                </c:pt>
                <c:pt idx="11010">
                  <c:v>5.1046554277976988</c:v>
                </c:pt>
                <c:pt idx="11011">
                  <c:v>5.025191327273232</c:v>
                </c:pt>
                <c:pt idx="11012">
                  <c:v>4.9590163814434547</c:v>
                </c:pt>
                <c:pt idx="11013">
                  <c:v>6.0403457695099938</c:v>
                </c:pt>
                <c:pt idx="11014">
                  <c:v>5.0968459081941893</c:v>
                </c:pt>
                <c:pt idx="11015">
                  <c:v>5.9374790818343</c:v>
                </c:pt>
                <c:pt idx="11016">
                  <c:v>5.1239634816586657</c:v>
                </c:pt>
                <c:pt idx="11017">
                  <c:v>6.8529069821370516</c:v>
                </c:pt>
                <c:pt idx="11018">
                  <c:v>5.9935722072487616</c:v>
                </c:pt>
                <c:pt idx="11019">
                  <c:v>5.9379217648316098</c:v>
                </c:pt>
                <c:pt idx="11020">
                  <c:v>5.0879366796511896</c:v>
                </c:pt>
                <c:pt idx="11021">
                  <c:v>4.9738979430412229</c:v>
                </c:pt>
                <c:pt idx="11022">
                  <c:v>6.1479417434281212</c:v>
                </c:pt>
                <c:pt idx="11023">
                  <c:v>5.8559914358592939</c:v>
                </c:pt>
                <c:pt idx="11024">
                  <c:v>5.0344183522763579</c:v>
                </c:pt>
                <c:pt idx="11025">
                  <c:v>5.9424658817763447</c:v>
                </c:pt>
                <c:pt idx="11026">
                  <c:v>6.1245048267050217</c:v>
                </c:pt>
                <c:pt idx="11027">
                  <c:v>5.0792578039536211</c:v>
                </c:pt>
                <c:pt idx="11028">
                  <c:v>5.8825508148380292</c:v>
                </c:pt>
                <c:pt idx="11029">
                  <c:v>5.9326927754654815</c:v>
                </c:pt>
                <c:pt idx="11030">
                  <c:v>4.86680716506085</c:v>
                </c:pt>
                <c:pt idx="11031">
                  <c:v>6.0565897133526123</c:v>
                </c:pt>
                <c:pt idx="11032">
                  <c:v>6.013763171106028</c:v>
                </c:pt>
                <c:pt idx="11033">
                  <c:v>6.1618732206659388</c:v>
                </c:pt>
                <c:pt idx="11034">
                  <c:v>5.9507899631568915</c:v>
                </c:pt>
                <c:pt idx="11035">
                  <c:v>4.9710833934522114</c:v>
                </c:pt>
                <c:pt idx="11036">
                  <c:v>5.9537763173810534</c:v>
                </c:pt>
                <c:pt idx="11037">
                  <c:v>6.009927870144276</c:v>
                </c:pt>
                <c:pt idx="11038">
                  <c:v>5.9718076725246405</c:v>
                </c:pt>
                <c:pt idx="11039">
                  <c:v>6.0536620034666546</c:v>
                </c:pt>
                <c:pt idx="11040">
                  <c:v>5.9612822486270431</c:v>
                </c:pt>
                <c:pt idx="11041">
                  <c:v>5.9610728606100238</c:v>
                </c:pt>
                <c:pt idx="11042">
                  <c:v>5.9634767488744078</c:v>
                </c:pt>
                <c:pt idx="11043">
                  <c:v>5.9727003386730804</c:v>
                </c:pt>
                <c:pt idx="11044">
                  <c:v>6.015922055305496</c:v>
                </c:pt>
                <c:pt idx="11045">
                  <c:v>6.1263172989058301</c:v>
                </c:pt>
                <c:pt idx="11046">
                  <c:v>6.0516616940670547</c:v>
                </c:pt>
                <c:pt idx="11047">
                  <c:v>6.1570201813018866</c:v>
                </c:pt>
                <c:pt idx="11048">
                  <c:v>5.1470373511520044</c:v>
                </c:pt>
                <c:pt idx="11049">
                  <c:v>4.8923048131581526</c:v>
                </c:pt>
                <c:pt idx="11050">
                  <c:v>6.0248442897910151</c:v>
                </c:pt>
                <c:pt idx="11051">
                  <c:v>6.0023749231329875</c:v>
                </c:pt>
                <c:pt idx="11052">
                  <c:v>6.0222741615951403</c:v>
                </c:pt>
                <c:pt idx="11053">
                  <c:v>4.0496776296526162</c:v>
                </c:pt>
                <c:pt idx="11054">
                  <c:v>5.9378358259402884</c:v>
                </c:pt>
                <c:pt idx="11055">
                  <c:v>5.8927864775398344</c:v>
                </c:pt>
                <c:pt idx="11056">
                  <c:v>5.0188110825829977</c:v>
                </c:pt>
                <c:pt idx="11057">
                  <c:v>5.8165284627360059</c:v>
                </c:pt>
                <c:pt idx="11058">
                  <c:v>6.0502220282351038</c:v>
                </c:pt>
                <c:pt idx="11059">
                  <c:v>5.9953976499717285</c:v>
                </c:pt>
                <c:pt idx="11060">
                  <c:v>4.7403522116148578</c:v>
                </c:pt>
                <c:pt idx="11061">
                  <c:v>5.7473500847859942</c:v>
                </c:pt>
                <c:pt idx="11062">
                  <c:v>4.7279340106929899</c:v>
                </c:pt>
                <c:pt idx="11063">
                  <c:v>5.9935753710489621</c:v>
                </c:pt>
                <c:pt idx="11064">
                  <c:v>5.0709389761332693</c:v>
                </c:pt>
                <c:pt idx="11065">
                  <c:v>5.8780059055768472</c:v>
                </c:pt>
                <c:pt idx="11066">
                  <c:v>4.9503696983007472</c:v>
                </c:pt>
                <c:pt idx="11067">
                  <c:v>5.9267011600055577</c:v>
                </c:pt>
                <c:pt idx="11068">
                  <c:v>5.9011774163922226</c:v>
                </c:pt>
                <c:pt idx="11069">
                  <c:v>5.1943466541792978</c:v>
                </c:pt>
                <c:pt idx="11070">
                  <c:v>6.0313233966541233</c:v>
                </c:pt>
                <c:pt idx="11071">
                  <c:v>5.1844514553441181</c:v>
                </c:pt>
                <c:pt idx="11072">
                  <c:v>6.0618886089737627</c:v>
                </c:pt>
                <c:pt idx="11073">
                  <c:v>5.915017610184659</c:v>
                </c:pt>
                <c:pt idx="11074">
                  <c:v>5.1179126737311753</c:v>
                </c:pt>
                <c:pt idx="11075">
                  <c:v>5.8933942231650773</c:v>
                </c:pt>
                <c:pt idx="11076">
                  <c:v>5.9929363037606969</c:v>
                </c:pt>
                <c:pt idx="11077">
                  <c:v>5.7708445771730075</c:v>
                </c:pt>
                <c:pt idx="11078">
                  <c:v>4.9793121165313474</c:v>
                </c:pt>
                <c:pt idx="11079">
                  <c:v>5.9456366821758673</c:v>
                </c:pt>
                <c:pt idx="11080">
                  <c:v>6.2067846378393927</c:v>
                </c:pt>
                <c:pt idx="11081">
                  <c:v>4.8550700858805067</c:v>
                </c:pt>
                <c:pt idx="11082">
                  <c:v>5.9645746569018927</c:v>
                </c:pt>
                <c:pt idx="11083">
                  <c:v>5.1212552527145148</c:v>
                </c:pt>
                <c:pt idx="11084">
                  <c:v>6.0556227439035464</c:v>
                </c:pt>
                <c:pt idx="11085">
                  <c:v>5.9970780453026222</c:v>
                </c:pt>
                <c:pt idx="11086">
                  <c:v>5.0773194409942297</c:v>
                </c:pt>
                <c:pt idx="11087">
                  <c:v>5.8045643147175889</c:v>
                </c:pt>
                <c:pt idx="11088">
                  <c:v>5.9038807364388406</c:v>
                </c:pt>
                <c:pt idx="11089">
                  <c:v>6.0605868065617061</c:v>
                </c:pt>
                <c:pt idx="11090">
                  <c:v>5.8627191176056286</c:v>
                </c:pt>
                <c:pt idx="11091">
                  <c:v>5.9977722835774676</c:v>
                </c:pt>
                <c:pt idx="11092">
                  <c:v>6.051173382821454</c:v>
                </c:pt>
                <c:pt idx="11093">
                  <c:v>6.0488620766390779</c:v>
                </c:pt>
                <c:pt idx="11094">
                  <c:v>7.1568882657113422</c:v>
                </c:pt>
                <c:pt idx="11095">
                  <c:v>6.0046954358869238</c:v>
                </c:pt>
                <c:pt idx="11096">
                  <c:v>6.0959056032169121</c:v>
                </c:pt>
                <c:pt idx="11097">
                  <c:v>6.1506986452258925</c:v>
                </c:pt>
                <c:pt idx="11098">
                  <c:v>6.0016694023997266</c:v>
                </c:pt>
                <c:pt idx="11099">
                  <c:v>6.0444798846922483</c:v>
                </c:pt>
                <c:pt idx="11100">
                  <c:v>5.9423921405927498</c:v>
                </c:pt>
                <c:pt idx="11101">
                  <c:v>6.058687765333862</c:v>
                </c:pt>
                <c:pt idx="11102">
                  <c:v>6.1705790630748449</c:v>
                </c:pt>
                <c:pt idx="11103">
                  <c:v>6.1358548279600598</c:v>
                </c:pt>
                <c:pt idx="11104">
                  <c:v>5.8805079892220995</c:v>
                </c:pt>
                <c:pt idx="11105">
                  <c:v>6.0438623369477549</c:v>
                </c:pt>
                <c:pt idx="11106">
                  <c:v>5.880670968412165</c:v>
                </c:pt>
                <c:pt idx="11107">
                  <c:v>6.0134153392557481</c:v>
                </c:pt>
                <c:pt idx="11108">
                  <c:v>6.2519802089882743</c:v>
                </c:pt>
                <c:pt idx="11109">
                  <c:v>6.1369441793148551</c:v>
                </c:pt>
                <c:pt idx="11110">
                  <c:v>5.9297834548563202</c:v>
                </c:pt>
                <c:pt idx="11111">
                  <c:v>5.9905932928368815</c:v>
                </c:pt>
                <c:pt idx="11112">
                  <c:v>6.0582039852915059</c:v>
                </c:pt>
                <c:pt idx="11113">
                  <c:v>4.0851117410109499</c:v>
                </c:pt>
                <c:pt idx="11114">
                  <c:v>6.1190322981406489</c:v>
                </c:pt>
                <c:pt idx="11115">
                  <c:v>5.8103789934372667</c:v>
                </c:pt>
                <c:pt idx="11116">
                  <c:v>5.8894370388230577</c:v>
                </c:pt>
                <c:pt idx="11117">
                  <c:v>6.1008801749667994</c:v>
                </c:pt>
                <c:pt idx="11118">
                  <c:v>5.9700522875237976</c:v>
                </c:pt>
                <c:pt idx="11119">
                  <c:v>5.1399605698289728</c:v>
                </c:pt>
                <c:pt idx="11120">
                  <c:v>6.0250847401523151</c:v>
                </c:pt>
                <c:pt idx="11121">
                  <c:v>6.0766383969692397</c:v>
                </c:pt>
                <c:pt idx="11122">
                  <c:v>5.0937564367387367</c:v>
                </c:pt>
                <c:pt idx="11123">
                  <c:v>3.9248131211994473</c:v>
                </c:pt>
                <c:pt idx="11124">
                  <c:v>5.9357617038402486</c:v>
                </c:pt>
                <c:pt idx="11125">
                  <c:v>6.1627115224153926</c:v>
                </c:pt>
                <c:pt idx="11126">
                  <c:v>6.0806026410782499</c:v>
                </c:pt>
                <c:pt idx="11127">
                  <c:v>6.073905365544892</c:v>
                </c:pt>
                <c:pt idx="11128">
                  <c:v>5.0663337212722803</c:v>
                </c:pt>
                <c:pt idx="11129">
                  <c:v>5.9882138369100062</c:v>
                </c:pt>
                <c:pt idx="11130">
                  <c:v>6.0392941211558862</c:v>
                </c:pt>
                <c:pt idx="11131">
                  <c:v>6.9582472627432708</c:v>
                </c:pt>
                <c:pt idx="11132">
                  <c:v>6.9826008087131637</c:v>
                </c:pt>
                <c:pt idx="11133">
                  <c:v>6.2324841473118022</c:v>
                </c:pt>
                <c:pt idx="11134">
                  <c:v>5.9408962378866006</c:v>
                </c:pt>
                <c:pt idx="11135">
                  <c:v>6.0635665903695024</c:v>
                </c:pt>
                <c:pt idx="11136">
                  <c:v>6.9408243625404946</c:v>
                </c:pt>
                <c:pt idx="11137">
                  <c:v>6.0258558458307423</c:v>
                </c:pt>
                <c:pt idx="11138">
                  <c:v>1.8247528341917081</c:v>
                </c:pt>
                <c:pt idx="11139">
                  <c:v>2.0065941031787022</c:v>
                </c:pt>
                <c:pt idx="11140">
                  <c:v>6.0488690000426617</c:v>
                </c:pt>
                <c:pt idx="11141">
                  <c:v>1.897755836365451</c:v>
                </c:pt>
                <c:pt idx="11142">
                  <c:v>6.0846925134459271</c:v>
                </c:pt>
                <c:pt idx="11143">
                  <c:v>5.979802095878072</c:v>
                </c:pt>
                <c:pt idx="11144">
                  <c:v>5.9748740415616357</c:v>
                </c:pt>
                <c:pt idx="11145">
                  <c:v>5.9176444064964793</c:v>
                </c:pt>
                <c:pt idx="11146">
                  <c:v>6.0325951515336742</c:v>
                </c:pt>
                <c:pt idx="11147">
                  <c:v>5.8746829952560864</c:v>
                </c:pt>
                <c:pt idx="11148">
                  <c:v>6.2867535132379802</c:v>
                </c:pt>
                <c:pt idx="11149">
                  <c:v>6.0426905060754867</c:v>
                </c:pt>
                <c:pt idx="11150">
                  <c:v>5.9773730463430832</c:v>
                </c:pt>
                <c:pt idx="11151">
                  <c:v>5.9973797103363911</c:v>
                </c:pt>
                <c:pt idx="11152">
                  <c:v>5.95346989355492</c:v>
                </c:pt>
                <c:pt idx="11153">
                  <c:v>5.0310437499599159</c:v>
                </c:pt>
                <c:pt idx="11154">
                  <c:v>5.9432066958368761</c:v>
                </c:pt>
                <c:pt idx="11155">
                  <c:v>7.0229751048044431</c:v>
                </c:pt>
                <c:pt idx="11156">
                  <c:v>5.9869420151811781</c:v>
                </c:pt>
                <c:pt idx="11157">
                  <c:v>6.0535696406992248</c:v>
                </c:pt>
                <c:pt idx="11158">
                  <c:v>5.967825755512175</c:v>
                </c:pt>
                <c:pt idx="11159">
                  <c:v>5.9254979160878962</c:v>
                </c:pt>
                <c:pt idx="11160">
                  <c:v>4.9356012264057201</c:v>
                </c:pt>
                <c:pt idx="11161">
                  <c:v>4.8665565470430119</c:v>
                </c:pt>
                <c:pt idx="11162">
                  <c:v>6.0125073805477811</c:v>
                </c:pt>
                <c:pt idx="11163">
                  <c:v>4.9586263776176152</c:v>
                </c:pt>
                <c:pt idx="11164">
                  <c:v>6.0750828394978145</c:v>
                </c:pt>
                <c:pt idx="11165">
                  <c:v>5.8544647690106002</c:v>
                </c:pt>
                <c:pt idx="11166">
                  <c:v>5.0949828797038359</c:v>
                </c:pt>
                <c:pt idx="11167">
                  <c:v>5.8564756272642722</c:v>
                </c:pt>
                <c:pt idx="11168">
                  <c:v>6.9436191195629835</c:v>
                </c:pt>
                <c:pt idx="11169">
                  <c:v>5.8516846862828791</c:v>
                </c:pt>
                <c:pt idx="11170">
                  <c:v>5.8781760403432779</c:v>
                </c:pt>
                <c:pt idx="11171">
                  <c:v>6.0870410540308626</c:v>
                </c:pt>
                <c:pt idx="11172">
                  <c:v>6.2695637526182386</c:v>
                </c:pt>
                <c:pt idx="11173">
                  <c:v>6.2202258158513795</c:v>
                </c:pt>
                <c:pt idx="11174">
                  <c:v>6.0374835394667086</c:v>
                </c:pt>
                <c:pt idx="11175">
                  <c:v>5.85239938281783</c:v>
                </c:pt>
                <c:pt idx="11176">
                  <c:v>6.9454203728767938</c:v>
                </c:pt>
                <c:pt idx="11177">
                  <c:v>5.8608830692446201</c:v>
                </c:pt>
                <c:pt idx="11178">
                  <c:v>4.8722189594372116</c:v>
                </c:pt>
                <c:pt idx="11179">
                  <c:v>5.9918605223436741</c:v>
                </c:pt>
                <c:pt idx="11180">
                  <c:v>6.0173555856243954</c:v>
                </c:pt>
                <c:pt idx="11181">
                  <c:v>5.8554686681630548</c:v>
                </c:pt>
                <c:pt idx="11182">
                  <c:v>6.0261553117905438</c:v>
                </c:pt>
                <c:pt idx="11183">
                  <c:v>6.0899492981110201</c:v>
                </c:pt>
                <c:pt idx="11184">
                  <c:v>5.9986873561139999</c:v>
                </c:pt>
                <c:pt idx="11185">
                  <c:v>6.0454659640446646</c:v>
                </c:pt>
                <c:pt idx="11186">
                  <c:v>6.0775985832940025</c:v>
                </c:pt>
                <c:pt idx="11187">
                  <c:v>5.9169276553820662</c:v>
                </c:pt>
                <c:pt idx="11188">
                  <c:v>3.1965787535498125</c:v>
                </c:pt>
                <c:pt idx="11189">
                  <c:v>5.8592096721351856</c:v>
                </c:pt>
                <c:pt idx="11190">
                  <c:v>5.8983500432377625</c:v>
                </c:pt>
                <c:pt idx="11191">
                  <c:v>5.8580076212887118</c:v>
                </c:pt>
                <c:pt idx="11192">
                  <c:v>5.1191946003098563</c:v>
                </c:pt>
                <c:pt idx="11193">
                  <c:v>6.2328934988232065</c:v>
                </c:pt>
                <c:pt idx="11194">
                  <c:v>5.9625353361522375</c:v>
                </c:pt>
                <c:pt idx="11195">
                  <c:v>5.9509274603747233</c:v>
                </c:pt>
                <c:pt idx="11196">
                  <c:v>5.9949537933449291</c:v>
                </c:pt>
                <c:pt idx="11197">
                  <c:v>6.0459110878263704</c:v>
                </c:pt>
                <c:pt idx="11198">
                  <c:v>5.7903273600484395</c:v>
                </c:pt>
                <c:pt idx="11199">
                  <c:v>6.0234079850104179</c:v>
                </c:pt>
                <c:pt idx="11200">
                  <c:v>5.931037031608982</c:v>
                </c:pt>
                <c:pt idx="11201">
                  <c:v>5.9676379439787475</c:v>
                </c:pt>
                <c:pt idx="11202">
                  <c:v>6.222943591290111</c:v>
                </c:pt>
                <c:pt idx="11203">
                  <c:v>6.0322524279157728</c:v>
                </c:pt>
                <c:pt idx="11204">
                  <c:v>6.1327447403806135</c:v>
                </c:pt>
                <c:pt idx="11205">
                  <c:v>5.9767163441508702</c:v>
                </c:pt>
                <c:pt idx="11206">
                  <c:v>7.0169109623175414</c:v>
                </c:pt>
                <c:pt idx="11207">
                  <c:v>6.1250489856410395</c:v>
                </c:pt>
                <c:pt idx="11208">
                  <c:v>6.1288461319074035</c:v>
                </c:pt>
                <c:pt idx="11209">
                  <c:v>5.0341787941537683</c:v>
                </c:pt>
                <c:pt idx="11210">
                  <c:v>5.0279428342164403</c:v>
                </c:pt>
                <c:pt idx="11211">
                  <c:v>5.1363926632843677</c:v>
                </c:pt>
                <c:pt idx="11212">
                  <c:v>4.9836270454407572</c:v>
                </c:pt>
                <c:pt idx="11213">
                  <c:v>3.9356400033138574</c:v>
                </c:pt>
                <c:pt idx="11214">
                  <c:v>3.8727526330003634</c:v>
                </c:pt>
                <c:pt idx="11215">
                  <c:v>6.2082531715766658</c:v>
                </c:pt>
                <c:pt idx="11216">
                  <c:v>6.1352763724819139</c:v>
                </c:pt>
                <c:pt idx="11217">
                  <c:v>6.0347449144651382</c:v>
                </c:pt>
                <c:pt idx="11218">
                  <c:v>3.8534934010443673</c:v>
                </c:pt>
                <c:pt idx="11219">
                  <c:v>3.883101788286099</c:v>
                </c:pt>
                <c:pt idx="11220">
                  <c:v>4.1019260112272322</c:v>
                </c:pt>
                <c:pt idx="11221">
                  <c:v>6.00882170073357</c:v>
                </c:pt>
                <c:pt idx="11222">
                  <c:v>5.9688081158291242</c:v>
                </c:pt>
                <c:pt idx="11223">
                  <c:v>4.9799006543744273</c:v>
                </c:pt>
                <c:pt idx="11224">
                  <c:v>6.0178067468526848</c:v>
                </c:pt>
                <c:pt idx="11225">
                  <c:v>5.9916662090750501</c:v>
                </c:pt>
                <c:pt idx="11226">
                  <c:v>6.0094088695981061</c:v>
                </c:pt>
                <c:pt idx="11227">
                  <c:v>6.0389426155992574</c:v>
                </c:pt>
                <c:pt idx="11228">
                  <c:v>5.9868942136299177</c:v>
                </c:pt>
                <c:pt idx="11229">
                  <c:v>3.8580857035667533</c:v>
                </c:pt>
                <c:pt idx="11230">
                  <c:v>4.0006430429597808</c:v>
                </c:pt>
                <c:pt idx="11231">
                  <c:v>4.0026573522947064</c:v>
                </c:pt>
                <c:pt idx="11232">
                  <c:v>3.9887648554752646</c:v>
                </c:pt>
                <c:pt idx="11233">
                  <c:v>3.8925763804134448</c:v>
                </c:pt>
                <c:pt idx="11234">
                  <c:v>6.0108199747400386</c:v>
                </c:pt>
                <c:pt idx="11235">
                  <c:v>6.1688766388338099</c:v>
                </c:pt>
                <c:pt idx="11236">
                  <c:v>2.0375824134319735</c:v>
                </c:pt>
                <c:pt idx="11237">
                  <c:v>5.0609443627037027</c:v>
                </c:pt>
                <c:pt idx="11238">
                  <c:v>5.0775050080428139</c:v>
                </c:pt>
                <c:pt idx="11239">
                  <c:v>6.0324057881407347</c:v>
                </c:pt>
                <c:pt idx="11240">
                  <c:v>5.9279859585123038</c:v>
                </c:pt>
                <c:pt idx="11241">
                  <c:v>5.9233650757420113</c:v>
                </c:pt>
                <c:pt idx="11242">
                  <c:v>5.1089470933378029</c:v>
                </c:pt>
                <c:pt idx="11243">
                  <c:v>5.1423929827647097</c:v>
                </c:pt>
                <c:pt idx="11244">
                  <c:v>5.9235264552887097</c:v>
                </c:pt>
                <c:pt idx="11245">
                  <c:v>6.13231627906202</c:v>
                </c:pt>
                <c:pt idx="11246">
                  <c:v>5.9207363570648219</c:v>
                </c:pt>
                <c:pt idx="11247">
                  <c:v>6.8540074753443632</c:v>
                </c:pt>
                <c:pt idx="11248">
                  <c:v>5.9081949898126886</c:v>
                </c:pt>
                <c:pt idx="11249">
                  <c:v>5.09281754164991</c:v>
                </c:pt>
                <c:pt idx="11250">
                  <c:v>4.9894777122237954</c:v>
                </c:pt>
                <c:pt idx="11251">
                  <c:v>6.0270135475783135</c:v>
                </c:pt>
                <c:pt idx="11252">
                  <c:v>4.9297638180803949</c:v>
                </c:pt>
                <c:pt idx="11253">
                  <c:v>6.0163615908002317</c:v>
                </c:pt>
                <c:pt idx="11254">
                  <c:v>5.0713557909543647</c:v>
                </c:pt>
                <c:pt idx="11255">
                  <c:v>5.9364264983664583</c:v>
                </c:pt>
                <c:pt idx="11256">
                  <c:v>6.0068321403309826</c:v>
                </c:pt>
                <c:pt idx="11257">
                  <c:v>6.0153232298018358</c:v>
                </c:pt>
                <c:pt idx="11258">
                  <c:v>4.9612789862749951</c:v>
                </c:pt>
                <c:pt idx="11259">
                  <c:v>6.0248399411210247</c:v>
                </c:pt>
                <c:pt idx="11260">
                  <c:v>6.0138837653716948</c:v>
                </c:pt>
                <c:pt idx="11261">
                  <c:v>6.0410206460391578</c:v>
                </c:pt>
                <c:pt idx="11262">
                  <c:v>4.9104555691165404</c:v>
                </c:pt>
                <c:pt idx="11263">
                  <c:v>7.108884191419147</c:v>
                </c:pt>
                <c:pt idx="11264">
                  <c:v>5.8384128713165975</c:v>
                </c:pt>
                <c:pt idx="11265">
                  <c:v>4.9471659967916102</c:v>
                </c:pt>
                <c:pt idx="11266">
                  <c:v>5.9907807180979313</c:v>
                </c:pt>
                <c:pt idx="11267">
                  <c:v>4.8330222078268585</c:v>
                </c:pt>
                <c:pt idx="11268">
                  <c:v>5.9038585937272412</c:v>
                </c:pt>
                <c:pt idx="11269">
                  <c:v>5.9360741177339333</c:v>
                </c:pt>
                <c:pt idx="11270">
                  <c:v>6.1325806459039445</c:v>
                </c:pt>
                <c:pt idx="11271">
                  <c:v>5.8385611144080194</c:v>
                </c:pt>
                <c:pt idx="11272">
                  <c:v>5.9575576606921228</c:v>
                </c:pt>
                <c:pt idx="11273">
                  <c:v>5.0162444794377361</c:v>
                </c:pt>
                <c:pt idx="11274">
                  <c:v>5.0674212754148815</c:v>
                </c:pt>
                <c:pt idx="11275">
                  <c:v>5.0662891966861086</c:v>
                </c:pt>
                <c:pt idx="11276">
                  <c:v>4.8572613659248676</c:v>
                </c:pt>
                <c:pt idx="11277">
                  <c:v>6.0609011389087897</c:v>
                </c:pt>
                <c:pt idx="11278">
                  <c:v>4.8161206365992317</c:v>
                </c:pt>
                <c:pt idx="11279">
                  <c:v>5.7781277982619832</c:v>
                </c:pt>
                <c:pt idx="11280">
                  <c:v>6.0033071318896996</c:v>
                </c:pt>
                <c:pt idx="11281">
                  <c:v>6.1186607962474433</c:v>
                </c:pt>
                <c:pt idx="11282">
                  <c:v>5.9573837001886778</c:v>
                </c:pt>
                <c:pt idx="11283">
                  <c:v>6.0276270385645354</c:v>
                </c:pt>
                <c:pt idx="11284">
                  <c:v>6.0337131994912019</c:v>
                </c:pt>
                <c:pt idx="11285">
                  <c:v>6.0967316821726376</c:v>
                </c:pt>
                <c:pt idx="11286">
                  <c:v>4.8646265739298657</c:v>
                </c:pt>
                <c:pt idx="11287">
                  <c:v>5.1881041327507429</c:v>
                </c:pt>
                <c:pt idx="11288">
                  <c:v>5.1424424778771609</c:v>
                </c:pt>
                <c:pt idx="11289">
                  <c:v>5.9656457783207761</c:v>
                </c:pt>
                <c:pt idx="11290">
                  <c:v>4.7971288715426503</c:v>
                </c:pt>
                <c:pt idx="11291">
                  <c:v>6.0334229548921172</c:v>
                </c:pt>
                <c:pt idx="11292">
                  <c:v>6.0517016685062393</c:v>
                </c:pt>
                <c:pt idx="11293">
                  <c:v>5.9807727426684529</c:v>
                </c:pt>
                <c:pt idx="11294">
                  <c:v>5.0863721240743942</c:v>
                </c:pt>
                <c:pt idx="11295">
                  <c:v>5.9521234139243768</c:v>
                </c:pt>
                <c:pt idx="11296">
                  <c:v>6.2191274855971495</c:v>
                </c:pt>
                <c:pt idx="11297">
                  <c:v>6.004853503288933</c:v>
                </c:pt>
                <c:pt idx="11298">
                  <c:v>6.0783860133156749</c:v>
                </c:pt>
                <c:pt idx="11299">
                  <c:v>6.0151206950381733</c:v>
                </c:pt>
                <c:pt idx="11300">
                  <c:v>5.8771753823361923</c:v>
                </c:pt>
                <c:pt idx="11301">
                  <c:v>5.9290741288728119</c:v>
                </c:pt>
                <c:pt idx="11302">
                  <c:v>6.0026462735721182</c:v>
                </c:pt>
                <c:pt idx="11303">
                  <c:v>5.961697027718099</c:v>
                </c:pt>
                <c:pt idx="11304">
                  <c:v>5.008719660948028</c:v>
                </c:pt>
                <c:pt idx="11305">
                  <c:v>5.0107429139534609</c:v>
                </c:pt>
                <c:pt idx="11306">
                  <c:v>5.8952368612422097</c:v>
                </c:pt>
                <c:pt idx="11307">
                  <c:v>4.8649378453050893</c:v>
                </c:pt>
                <c:pt idx="11308">
                  <c:v>5.2267341074732236</c:v>
                </c:pt>
                <c:pt idx="11309">
                  <c:v>4.9760056777301145</c:v>
                </c:pt>
                <c:pt idx="11310">
                  <c:v>5.1330339593868226</c:v>
                </c:pt>
                <c:pt idx="11311">
                  <c:v>5.8021395231295854</c:v>
                </c:pt>
                <c:pt idx="11312">
                  <c:v>5.9189552962361782</c:v>
                </c:pt>
                <c:pt idx="11313">
                  <c:v>5.9416668529187548</c:v>
                </c:pt>
                <c:pt idx="11314">
                  <c:v>4.9941912225523124</c:v>
                </c:pt>
                <c:pt idx="11315">
                  <c:v>4.9681747733462673</c:v>
                </c:pt>
                <c:pt idx="11316">
                  <c:v>6.0253406864444932</c:v>
                </c:pt>
                <c:pt idx="11317">
                  <c:v>5.8936281460963897</c:v>
                </c:pt>
                <c:pt idx="11318">
                  <c:v>5.7931529541285265</c:v>
                </c:pt>
                <c:pt idx="11319">
                  <c:v>5.0671365179603987</c:v>
                </c:pt>
                <c:pt idx="11320">
                  <c:v>4.9414967049650329</c:v>
                </c:pt>
                <c:pt idx="11321">
                  <c:v>5.0262875813813057</c:v>
                </c:pt>
                <c:pt idx="11322">
                  <c:v>4.9866531318582457</c:v>
                </c:pt>
                <c:pt idx="11323">
                  <c:v>6.1053682958239026</c:v>
                </c:pt>
                <c:pt idx="11324">
                  <c:v>5.8179070418145731</c:v>
                </c:pt>
                <c:pt idx="11325">
                  <c:v>6.0947276630156217</c:v>
                </c:pt>
                <c:pt idx="11326">
                  <c:v>5.1363252007178399</c:v>
                </c:pt>
                <c:pt idx="11327">
                  <c:v>4.9682763596492512</c:v>
                </c:pt>
                <c:pt idx="11328">
                  <c:v>5.0471280062908015</c:v>
                </c:pt>
                <c:pt idx="11329">
                  <c:v>6.0315759703822431</c:v>
                </c:pt>
                <c:pt idx="11330">
                  <c:v>5.8926273169250116</c:v>
                </c:pt>
                <c:pt idx="11331">
                  <c:v>5.9772271971175321</c:v>
                </c:pt>
                <c:pt idx="11332">
                  <c:v>5.0917250684261903</c:v>
                </c:pt>
                <c:pt idx="11333">
                  <c:v>5.0077773920559991</c:v>
                </c:pt>
                <c:pt idx="11334">
                  <c:v>6.1061949390772012</c:v>
                </c:pt>
                <c:pt idx="11335">
                  <c:v>4.9755112495880223</c:v>
                </c:pt>
                <c:pt idx="11336">
                  <c:v>5.979652224453865</c:v>
                </c:pt>
                <c:pt idx="11337">
                  <c:v>2.85179803421281</c:v>
                </c:pt>
                <c:pt idx="11338">
                  <c:v>4.8984522458386888</c:v>
                </c:pt>
                <c:pt idx="11339">
                  <c:v>6.0610034717507384</c:v>
                </c:pt>
                <c:pt idx="11340">
                  <c:v>5.0201921776637484</c:v>
                </c:pt>
                <c:pt idx="11341">
                  <c:v>5.8505119488147246</c:v>
                </c:pt>
                <c:pt idx="11342">
                  <c:v>5.7940135438558382</c:v>
                </c:pt>
                <c:pt idx="11343">
                  <c:v>4.8993286992579836</c:v>
                </c:pt>
                <c:pt idx="11344">
                  <c:v>4.9665225010104992</c:v>
                </c:pt>
                <c:pt idx="11345">
                  <c:v>6.0906612626158028</c:v>
                </c:pt>
                <c:pt idx="11346">
                  <c:v>6.1690883361250863</c:v>
                </c:pt>
                <c:pt idx="11347">
                  <c:v>5.9033160669335984</c:v>
                </c:pt>
                <c:pt idx="11348">
                  <c:v>4.8689137872865569</c:v>
                </c:pt>
                <c:pt idx="11349">
                  <c:v>5.0918555614001191</c:v>
                </c:pt>
                <c:pt idx="11350">
                  <c:v>5.9912073556886325</c:v>
                </c:pt>
                <c:pt idx="11351">
                  <c:v>5.8295808978585431</c:v>
                </c:pt>
                <c:pt idx="11352">
                  <c:v>6.1146854320173389</c:v>
                </c:pt>
                <c:pt idx="11353">
                  <c:v>6.2277765737102015</c:v>
                </c:pt>
                <c:pt idx="11354">
                  <c:v>6.0449001478406856</c:v>
                </c:pt>
                <c:pt idx="11355">
                  <c:v>4.9850006017294239</c:v>
                </c:pt>
                <c:pt idx="11356">
                  <c:v>5.915587452957257</c:v>
                </c:pt>
                <c:pt idx="11357">
                  <c:v>5.0457567332550326</c:v>
                </c:pt>
                <c:pt idx="11358">
                  <c:v>6.1382431383586002</c:v>
                </c:pt>
                <c:pt idx="11359">
                  <c:v>6.0259662541290293</c:v>
                </c:pt>
                <c:pt idx="11360">
                  <c:v>6.1788637775147421</c:v>
                </c:pt>
                <c:pt idx="11361">
                  <c:v>3.9849819246345208</c:v>
                </c:pt>
                <c:pt idx="11362">
                  <c:v>4.0566634509001052</c:v>
                </c:pt>
                <c:pt idx="11363">
                  <c:v>4.9780747577794973</c:v>
                </c:pt>
                <c:pt idx="11364">
                  <c:v>5.8404271311878091</c:v>
                </c:pt>
                <c:pt idx="11365">
                  <c:v>6.0142255434640273</c:v>
                </c:pt>
                <c:pt idx="11366">
                  <c:v>6.1037990509460673</c:v>
                </c:pt>
                <c:pt idx="11367">
                  <c:v>5.1349878151088264</c:v>
                </c:pt>
                <c:pt idx="11368">
                  <c:v>6.0495857111385352</c:v>
                </c:pt>
                <c:pt idx="11369">
                  <c:v>6.0813537229103751</c:v>
                </c:pt>
                <c:pt idx="11370">
                  <c:v>6.0448069233767594</c:v>
                </c:pt>
                <c:pt idx="11371">
                  <c:v>6.0234391854941327</c:v>
                </c:pt>
                <c:pt idx="11372">
                  <c:v>4.8243250481615387</c:v>
                </c:pt>
                <c:pt idx="11373">
                  <c:v>5.0427691181696099</c:v>
                </c:pt>
                <c:pt idx="11374">
                  <c:v>5.9942093191773358</c:v>
                </c:pt>
                <c:pt idx="11375">
                  <c:v>6.0404423928649198</c:v>
                </c:pt>
                <c:pt idx="11376">
                  <c:v>5.8565913504114357</c:v>
                </c:pt>
                <c:pt idx="11377">
                  <c:v>6.0850442065905881</c:v>
                </c:pt>
                <c:pt idx="11378">
                  <c:v>5.7546833171635363</c:v>
                </c:pt>
                <c:pt idx="11379">
                  <c:v>6.9014195472276194</c:v>
                </c:pt>
                <c:pt idx="11380">
                  <c:v>5.1324029635427024</c:v>
                </c:pt>
                <c:pt idx="11381">
                  <c:v>6.9337104209365714</c:v>
                </c:pt>
                <c:pt idx="11382">
                  <c:v>5.7715715787923436</c:v>
                </c:pt>
                <c:pt idx="11383">
                  <c:v>6.0898920969382164</c:v>
                </c:pt>
                <c:pt idx="11384">
                  <c:v>5.8969566724229106</c:v>
                </c:pt>
                <c:pt idx="11385">
                  <c:v>5.7835374264981096</c:v>
                </c:pt>
                <c:pt idx="11386">
                  <c:v>6.9809473975315948</c:v>
                </c:pt>
                <c:pt idx="11387">
                  <c:v>6.0118867857363965</c:v>
                </c:pt>
                <c:pt idx="11388">
                  <c:v>7.0300569578226364</c:v>
                </c:pt>
                <c:pt idx="11389">
                  <c:v>7.1609822480270724</c:v>
                </c:pt>
                <c:pt idx="11390">
                  <c:v>6.1595782246967161</c:v>
                </c:pt>
                <c:pt idx="11391">
                  <c:v>5.9495210865104395</c:v>
                </c:pt>
                <c:pt idx="11392">
                  <c:v>4.862754410356616</c:v>
                </c:pt>
                <c:pt idx="11393">
                  <c:v>6.0866392360210551</c:v>
                </c:pt>
                <c:pt idx="11394">
                  <c:v>5.9956387534751316</c:v>
                </c:pt>
                <c:pt idx="11395">
                  <c:v>6.1929776947942647</c:v>
                </c:pt>
                <c:pt idx="11396">
                  <c:v>4.9601757406434261</c:v>
                </c:pt>
                <c:pt idx="11397">
                  <c:v>4.9215026394678958</c:v>
                </c:pt>
                <c:pt idx="11398">
                  <c:v>5.7550289128996166</c:v>
                </c:pt>
                <c:pt idx="11399">
                  <c:v>6.0568041675700668</c:v>
                </c:pt>
                <c:pt idx="11400">
                  <c:v>6.1542785838057839</c:v>
                </c:pt>
                <c:pt idx="11401">
                  <c:v>6.024072513822011</c:v>
                </c:pt>
                <c:pt idx="11402">
                  <c:v>5.1056471056355912</c:v>
                </c:pt>
                <c:pt idx="11403">
                  <c:v>5.8846132065346994</c:v>
                </c:pt>
                <c:pt idx="11404">
                  <c:v>6.0070042539284936</c:v>
                </c:pt>
                <c:pt idx="11405">
                  <c:v>6.0054666794517342</c:v>
                </c:pt>
                <c:pt idx="11406">
                  <c:v>5.036652471601081</c:v>
                </c:pt>
                <c:pt idx="11407">
                  <c:v>5.0575992125294604</c:v>
                </c:pt>
                <c:pt idx="11408">
                  <c:v>5.8808308752694636</c:v>
                </c:pt>
                <c:pt idx="11409">
                  <c:v>6.1062082445614116</c:v>
                </c:pt>
                <c:pt idx="11410">
                  <c:v>5.8291801395844853</c:v>
                </c:pt>
                <c:pt idx="11411">
                  <c:v>6.0246339036365102</c:v>
                </c:pt>
                <c:pt idx="11412">
                  <c:v>5.1137556780073341</c:v>
                </c:pt>
                <c:pt idx="11413">
                  <c:v>5.8460612194199593</c:v>
                </c:pt>
                <c:pt idx="11414">
                  <c:v>4.9864000605049128</c:v>
                </c:pt>
                <c:pt idx="11415">
                  <c:v>5.9643419861995639</c:v>
                </c:pt>
                <c:pt idx="11416">
                  <c:v>7.0485521729279954</c:v>
                </c:pt>
                <c:pt idx="11417">
                  <c:v>5.0618894132682</c:v>
                </c:pt>
                <c:pt idx="11418">
                  <c:v>6.1121622369719786</c:v>
                </c:pt>
                <c:pt idx="11419">
                  <c:v>5.9541570911462092</c:v>
                </c:pt>
                <c:pt idx="11420">
                  <c:v>5.9687931816030613</c:v>
                </c:pt>
                <c:pt idx="11421">
                  <c:v>6.0282191172608375</c:v>
                </c:pt>
                <c:pt idx="11422">
                  <c:v>6.1181376018041913</c:v>
                </c:pt>
                <c:pt idx="11423">
                  <c:v>5.0276177115732086</c:v>
                </c:pt>
                <c:pt idx="11424">
                  <c:v>7.1166395507755809</c:v>
                </c:pt>
                <c:pt idx="11425">
                  <c:v>5.954834887937583</c:v>
                </c:pt>
                <c:pt idx="11426">
                  <c:v>6.2386799338909631</c:v>
                </c:pt>
                <c:pt idx="11427">
                  <c:v>5.0022273852146002</c:v>
                </c:pt>
                <c:pt idx="11428">
                  <c:v>7.0364433507777058</c:v>
                </c:pt>
                <c:pt idx="11429">
                  <c:v>5.8672252692074203</c:v>
                </c:pt>
                <c:pt idx="11430">
                  <c:v>5.7510997237962584</c:v>
                </c:pt>
                <c:pt idx="11431">
                  <c:v>5.0903674194199242</c:v>
                </c:pt>
                <c:pt idx="11432">
                  <c:v>6.9557531082725443</c:v>
                </c:pt>
                <c:pt idx="11433">
                  <c:v>6.8199208317325821</c:v>
                </c:pt>
                <c:pt idx="11434">
                  <c:v>5.940961033154359</c:v>
                </c:pt>
                <c:pt idx="11435">
                  <c:v>7.2162224045766816</c:v>
                </c:pt>
                <c:pt idx="11436">
                  <c:v>7.0104314543823492</c:v>
                </c:pt>
                <c:pt idx="11437">
                  <c:v>5.0098021720874462</c:v>
                </c:pt>
                <c:pt idx="11438">
                  <c:v>5.9056875508225382</c:v>
                </c:pt>
                <c:pt idx="11439">
                  <c:v>5.8584410366061199</c:v>
                </c:pt>
                <c:pt idx="11440">
                  <c:v>5.9031425331936891</c:v>
                </c:pt>
                <c:pt idx="11441">
                  <c:v>5.9645005897390186</c:v>
                </c:pt>
                <c:pt idx="11442">
                  <c:v>5.9211840745291742</c:v>
                </c:pt>
                <c:pt idx="11443">
                  <c:v>5.8938443372735865</c:v>
                </c:pt>
                <c:pt idx="11444">
                  <c:v>5.0871222300186965</c:v>
                </c:pt>
                <c:pt idx="11445">
                  <c:v>6.081471970536672</c:v>
                </c:pt>
                <c:pt idx="11446">
                  <c:v>6.0480796175381837</c:v>
                </c:pt>
                <c:pt idx="11447">
                  <c:v>5.0824710779731594</c:v>
                </c:pt>
                <c:pt idx="11448">
                  <c:v>5.8155546264448992</c:v>
                </c:pt>
                <c:pt idx="11449">
                  <c:v>5.9554660080270683</c:v>
                </c:pt>
                <c:pt idx="11450">
                  <c:v>5.8632378750005154</c:v>
                </c:pt>
                <c:pt idx="11451">
                  <c:v>6.1085342506797957</c:v>
                </c:pt>
                <c:pt idx="11452">
                  <c:v>5.0049822425977002</c:v>
                </c:pt>
                <c:pt idx="11453">
                  <c:v>6.1083438660830129</c:v>
                </c:pt>
                <c:pt idx="11454">
                  <c:v>5.0395263797784215</c:v>
                </c:pt>
                <c:pt idx="11455">
                  <c:v>4.9713648696071964</c:v>
                </c:pt>
                <c:pt idx="11456">
                  <c:v>5.010771743962664</c:v>
                </c:pt>
                <c:pt idx="11457">
                  <c:v>5.8437609057331841</c:v>
                </c:pt>
                <c:pt idx="11458">
                  <c:v>3.8865077689159628</c:v>
                </c:pt>
                <c:pt idx="11459">
                  <c:v>3.9821982049454352</c:v>
                </c:pt>
                <c:pt idx="11460">
                  <c:v>5.9522427362332744</c:v>
                </c:pt>
                <c:pt idx="11461">
                  <c:v>6.7544310473430533</c:v>
                </c:pt>
                <c:pt idx="11462">
                  <c:v>6.8807851618339111</c:v>
                </c:pt>
                <c:pt idx="11463">
                  <c:v>6.9841653228196732</c:v>
                </c:pt>
                <c:pt idx="11464">
                  <c:v>6.0397795282492863</c:v>
                </c:pt>
                <c:pt idx="11465">
                  <c:v>5.8505572272123159</c:v>
                </c:pt>
                <c:pt idx="11466">
                  <c:v>6.0103071240481549</c:v>
                </c:pt>
                <c:pt idx="11467">
                  <c:v>6.0484968142871187</c:v>
                </c:pt>
                <c:pt idx="11468">
                  <c:v>4.9716868612648577</c:v>
                </c:pt>
                <c:pt idx="11469">
                  <c:v>5.1710274153451836</c:v>
                </c:pt>
                <c:pt idx="11470">
                  <c:v>5.88153399605239</c:v>
                </c:pt>
                <c:pt idx="11471">
                  <c:v>6.0422626770568391</c:v>
                </c:pt>
                <c:pt idx="11472">
                  <c:v>4.942307348809301</c:v>
                </c:pt>
                <c:pt idx="11473">
                  <c:v>5.9689822752993287</c:v>
                </c:pt>
                <c:pt idx="11474">
                  <c:v>4.0961652663540802</c:v>
                </c:pt>
                <c:pt idx="11475">
                  <c:v>5.9823678234371203</c:v>
                </c:pt>
                <c:pt idx="11476">
                  <c:v>5.0877351527750045</c:v>
                </c:pt>
                <c:pt idx="11477">
                  <c:v>5.9743415804383471</c:v>
                </c:pt>
                <c:pt idx="11478">
                  <c:v>5.7766832399895272</c:v>
                </c:pt>
                <c:pt idx="11479">
                  <c:v>4.9715614820466776</c:v>
                </c:pt>
                <c:pt idx="11480">
                  <c:v>6.9159454451422189</c:v>
                </c:pt>
                <c:pt idx="11481">
                  <c:v>4.903965990803794</c:v>
                </c:pt>
                <c:pt idx="11482">
                  <c:v>5.8368733981787431</c:v>
                </c:pt>
                <c:pt idx="11483">
                  <c:v>4.9469785464837095</c:v>
                </c:pt>
                <c:pt idx="11484">
                  <c:v>5.1611255610512012</c:v>
                </c:pt>
                <c:pt idx="11485">
                  <c:v>6.0979382751205105</c:v>
                </c:pt>
                <c:pt idx="11486">
                  <c:v>6.0982083164683747</c:v>
                </c:pt>
                <c:pt idx="11487">
                  <c:v>5.1186812313758958</c:v>
                </c:pt>
                <c:pt idx="11488">
                  <c:v>4.9775514791276754</c:v>
                </c:pt>
                <c:pt idx="11489">
                  <c:v>5.9714148296756084</c:v>
                </c:pt>
                <c:pt idx="11490">
                  <c:v>6.0618707532095311</c:v>
                </c:pt>
                <c:pt idx="11491">
                  <c:v>6.0919092980391794</c:v>
                </c:pt>
                <c:pt idx="11492">
                  <c:v>6.0193590945963038</c:v>
                </c:pt>
                <c:pt idx="11493">
                  <c:v>5.921766038555746</c:v>
                </c:pt>
                <c:pt idx="11494">
                  <c:v>5.987524462433135</c:v>
                </c:pt>
                <c:pt idx="11495">
                  <c:v>5.8832821103273503</c:v>
                </c:pt>
                <c:pt idx="11496">
                  <c:v>5.8428313196912107</c:v>
                </c:pt>
                <c:pt idx="11497">
                  <c:v>6.0020817798302879</c:v>
                </c:pt>
                <c:pt idx="11498">
                  <c:v>5.0024090118100268</c:v>
                </c:pt>
                <c:pt idx="11499">
                  <c:v>5.9139638411496804</c:v>
                </c:pt>
                <c:pt idx="11500">
                  <c:v>7.0450348435591117</c:v>
                </c:pt>
                <c:pt idx="11501">
                  <c:v>5.8164065305261632</c:v>
                </c:pt>
                <c:pt idx="11502">
                  <c:v>6.837134050232045</c:v>
                </c:pt>
                <c:pt idx="11503">
                  <c:v>6.0770158361078295</c:v>
                </c:pt>
                <c:pt idx="11504">
                  <c:v>4.8884400699774302</c:v>
                </c:pt>
                <c:pt idx="11505">
                  <c:v>5.9034172458415659</c:v>
                </c:pt>
                <c:pt idx="11506">
                  <c:v>4.907967367838034</c:v>
                </c:pt>
                <c:pt idx="11507">
                  <c:v>5.9032611925079079</c:v>
                </c:pt>
                <c:pt idx="11508">
                  <c:v>6.0283326453340802</c:v>
                </c:pt>
                <c:pt idx="11509">
                  <c:v>5.9665957616617531</c:v>
                </c:pt>
                <c:pt idx="11510">
                  <c:v>5.8360512629653032</c:v>
                </c:pt>
                <c:pt idx="11511">
                  <c:v>4.0551179615859629</c:v>
                </c:pt>
                <c:pt idx="11512">
                  <c:v>4.079556135186114</c:v>
                </c:pt>
                <c:pt idx="11513">
                  <c:v>5.1626137199463145</c:v>
                </c:pt>
                <c:pt idx="11514">
                  <c:v>5.9910011534032206</c:v>
                </c:pt>
                <c:pt idx="11515">
                  <c:v>5.1771000709585238</c:v>
                </c:pt>
                <c:pt idx="11516">
                  <c:v>6.0753505994591732</c:v>
                </c:pt>
                <c:pt idx="11517">
                  <c:v>4.9254909011807539</c:v>
                </c:pt>
                <c:pt idx="11518">
                  <c:v>6.1235055021924216</c:v>
                </c:pt>
                <c:pt idx="11519">
                  <c:v>6.1148654545722954</c:v>
                </c:pt>
                <c:pt idx="11520">
                  <c:v>5.9800604687100609</c:v>
                </c:pt>
                <c:pt idx="11521">
                  <c:v>5.0625568972295252</c:v>
                </c:pt>
                <c:pt idx="11522">
                  <c:v>5.0875857485413762</c:v>
                </c:pt>
                <c:pt idx="11523">
                  <c:v>5.9636362830360827</c:v>
                </c:pt>
                <c:pt idx="11524">
                  <c:v>5.9030348167345847</c:v>
                </c:pt>
                <c:pt idx="11525">
                  <c:v>6.0927203586265701</c:v>
                </c:pt>
                <c:pt idx="11526">
                  <c:v>5.9084569461267735</c:v>
                </c:pt>
                <c:pt idx="11527">
                  <c:v>5.0179915411218667</c:v>
                </c:pt>
                <c:pt idx="11528">
                  <c:v>4.8803949912643105</c:v>
                </c:pt>
                <c:pt idx="11529">
                  <c:v>5.9508678867749234</c:v>
                </c:pt>
                <c:pt idx="11530">
                  <c:v>4.9398054700682339</c:v>
                </c:pt>
                <c:pt idx="11531">
                  <c:v>6.19098811676424</c:v>
                </c:pt>
                <c:pt idx="11532">
                  <c:v>6.0121087411503433</c:v>
                </c:pt>
                <c:pt idx="11533">
                  <c:v>5.9338217457659663</c:v>
                </c:pt>
                <c:pt idx="11534">
                  <c:v>6.1099848320759778</c:v>
                </c:pt>
                <c:pt idx="11535">
                  <c:v>6.1457296238074717</c:v>
                </c:pt>
                <c:pt idx="11536">
                  <c:v>5.8466429391234822</c:v>
                </c:pt>
                <c:pt idx="11537">
                  <c:v>5.8742946187325611</c:v>
                </c:pt>
                <c:pt idx="11538">
                  <c:v>8.0671490381665212</c:v>
                </c:pt>
                <c:pt idx="11539">
                  <c:v>6.2368120651856618</c:v>
                </c:pt>
                <c:pt idx="11540">
                  <c:v>6.0024994402253595</c:v>
                </c:pt>
                <c:pt idx="11541">
                  <c:v>6.099361554944581</c:v>
                </c:pt>
                <c:pt idx="11542">
                  <c:v>6.0234575069366478</c:v>
                </c:pt>
                <c:pt idx="11543">
                  <c:v>6.1148799124800099</c:v>
                </c:pt>
                <c:pt idx="11544">
                  <c:v>5.9096101415297531</c:v>
                </c:pt>
                <c:pt idx="11545">
                  <c:v>5.0338761527177489</c:v>
                </c:pt>
                <c:pt idx="11546">
                  <c:v>5.1427598099884948</c:v>
                </c:pt>
                <c:pt idx="11547">
                  <c:v>5.9277713037250104</c:v>
                </c:pt>
                <c:pt idx="11548">
                  <c:v>6.1494391212189203</c:v>
                </c:pt>
                <c:pt idx="11549">
                  <c:v>7.1025231015718973</c:v>
                </c:pt>
                <c:pt idx="11550">
                  <c:v>6.1380291879897735</c:v>
                </c:pt>
                <c:pt idx="11551">
                  <c:v>5.9680937116729416</c:v>
                </c:pt>
                <c:pt idx="11552">
                  <c:v>5.9699899200498159</c:v>
                </c:pt>
                <c:pt idx="11553">
                  <c:v>7.0341170516461355</c:v>
                </c:pt>
                <c:pt idx="11554">
                  <c:v>4.9950314577155295</c:v>
                </c:pt>
                <c:pt idx="11555">
                  <c:v>6.9263637467098276</c:v>
                </c:pt>
                <c:pt idx="11556">
                  <c:v>4.8739156136099062</c:v>
                </c:pt>
                <c:pt idx="11557">
                  <c:v>7.0012082534932274</c:v>
                </c:pt>
                <c:pt idx="11558">
                  <c:v>6.91656437770515</c:v>
                </c:pt>
                <c:pt idx="11559">
                  <c:v>6.9333788585170826</c:v>
                </c:pt>
                <c:pt idx="11560">
                  <c:v>7.0615502123854768</c:v>
                </c:pt>
                <c:pt idx="11561">
                  <c:v>6.8606770403212884</c:v>
                </c:pt>
                <c:pt idx="11562">
                  <c:v>5.9550840568579568</c:v>
                </c:pt>
                <c:pt idx="11563">
                  <c:v>4.9705194906820145</c:v>
                </c:pt>
                <c:pt idx="11564">
                  <c:v>5.971629171657538</c:v>
                </c:pt>
                <c:pt idx="11565">
                  <c:v>4.8336488087836189</c:v>
                </c:pt>
                <c:pt idx="11566">
                  <c:v>6.2438331760521528</c:v>
                </c:pt>
                <c:pt idx="11567">
                  <c:v>6.0226480626421113</c:v>
                </c:pt>
                <c:pt idx="11568">
                  <c:v>4.871932862736128</c:v>
                </c:pt>
                <c:pt idx="11569">
                  <c:v>5.0049181335023851</c:v>
                </c:pt>
                <c:pt idx="11570">
                  <c:v>5.9938868961564022</c:v>
                </c:pt>
                <c:pt idx="11571">
                  <c:v>6.0313483334258491</c:v>
                </c:pt>
                <c:pt idx="11572">
                  <c:v>5.9290036160229347</c:v>
                </c:pt>
                <c:pt idx="11573">
                  <c:v>5.9708003314469025</c:v>
                </c:pt>
                <c:pt idx="11574">
                  <c:v>5.8425845417899742</c:v>
                </c:pt>
                <c:pt idx="11575">
                  <c:v>5.9769244397609969</c:v>
                </c:pt>
                <c:pt idx="11576">
                  <c:v>6.0526317648870958</c:v>
                </c:pt>
                <c:pt idx="11577">
                  <c:v>7.1575795978619174</c:v>
                </c:pt>
                <c:pt idx="11578">
                  <c:v>5.9043463891489498</c:v>
                </c:pt>
                <c:pt idx="11579">
                  <c:v>5.9066904910768248</c:v>
                </c:pt>
                <c:pt idx="11580">
                  <c:v>5.8470900258690035</c:v>
                </c:pt>
                <c:pt idx="11581">
                  <c:v>5.7990048890768788</c:v>
                </c:pt>
                <c:pt idx="11582">
                  <c:v>5.8081035792494671</c:v>
                </c:pt>
                <c:pt idx="11583">
                  <c:v>6.9676677131520766</c:v>
                </c:pt>
                <c:pt idx="11584">
                  <c:v>5.0322286816737298</c:v>
                </c:pt>
                <c:pt idx="11585">
                  <c:v>6.0366266249508307</c:v>
                </c:pt>
                <c:pt idx="11586">
                  <c:v>6.0034942190016798</c:v>
                </c:pt>
                <c:pt idx="11587">
                  <c:v>6.1972998760972873</c:v>
                </c:pt>
                <c:pt idx="11588">
                  <c:v>6.0107210893026366</c:v>
                </c:pt>
                <c:pt idx="11589">
                  <c:v>5.9552417459818123</c:v>
                </c:pt>
                <c:pt idx="11590">
                  <c:v>6.0169595003365144</c:v>
                </c:pt>
                <c:pt idx="11591">
                  <c:v>5.8645661876867505</c:v>
                </c:pt>
                <c:pt idx="11592">
                  <c:v>6.0404655065782986</c:v>
                </c:pt>
                <c:pt idx="11593">
                  <c:v>5.9441838570188033</c:v>
                </c:pt>
                <c:pt idx="11594">
                  <c:v>5.8816936567833684</c:v>
                </c:pt>
                <c:pt idx="11595">
                  <c:v>4.8438569123253723</c:v>
                </c:pt>
                <c:pt idx="11596">
                  <c:v>5.959397635995729</c:v>
                </c:pt>
                <c:pt idx="11597">
                  <c:v>5.9945068909918282</c:v>
                </c:pt>
                <c:pt idx="11598">
                  <c:v>4.9750725896783905</c:v>
                </c:pt>
                <c:pt idx="11599">
                  <c:v>5.2343511771446414</c:v>
                </c:pt>
                <c:pt idx="11600">
                  <c:v>5.8948964305829987</c:v>
                </c:pt>
                <c:pt idx="11601">
                  <c:v>6.0811958068306451</c:v>
                </c:pt>
                <c:pt idx="11602">
                  <c:v>6.0339110402502483</c:v>
                </c:pt>
                <c:pt idx="11603">
                  <c:v>4.9310437831026501</c:v>
                </c:pt>
                <c:pt idx="11604">
                  <c:v>6.0673699924056272</c:v>
                </c:pt>
                <c:pt idx="11605">
                  <c:v>4.7926934290176488</c:v>
                </c:pt>
                <c:pt idx="11606">
                  <c:v>5.0306991146636388</c:v>
                </c:pt>
                <c:pt idx="11607">
                  <c:v>3.9474748804788837</c:v>
                </c:pt>
                <c:pt idx="11608">
                  <c:v>4.8516605973192819</c:v>
                </c:pt>
                <c:pt idx="11609">
                  <c:v>5.9501376574829337</c:v>
                </c:pt>
                <c:pt idx="11610">
                  <c:v>5.1406797971544194</c:v>
                </c:pt>
                <c:pt idx="11611">
                  <c:v>4.9063647199576064</c:v>
                </c:pt>
                <c:pt idx="11612">
                  <c:v>5.9643473918149548</c:v>
                </c:pt>
                <c:pt idx="11613">
                  <c:v>6.0030758804715116</c:v>
                </c:pt>
                <c:pt idx="11614">
                  <c:v>6.0144188390744411</c:v>
                </c:pt>
                <c:pt idx="11615">
                  <c:v>6.0022002828743304</c:v>
                </c:pt>
                <c:pt idx="11616">
                  <c:v>5.9927345811502004</c:v>
                </c:pt>
                <c:pt idx="11617">
                  <c:v>5.8544236796879137</c:v>
                </c:pt>
                <c:pt idx="11618">
                  <c:v>4.9080374922952856</c:v>
                </c:pt>
                <c:pt idx="11619">
                  <c:v>5.9689669792204612</c:v>
                </c:pt>
                <c:pt idx="11620">
                  <c:v>6.063498431681567</c:v>
                </c:pt>
                <c:pt idx="11621">
                  <c:v>5.0746811804703915</c:v>
                </c:pt>
                <c:pt idx="11622">
                  <c:v>6.0122888106929899</c:v>
                </c:pt>
                <c:pt idx="11623">
                  <c:v>5.1411296141951901</c:v>
                </c:pt>
                <c:pt idx="11624">
                  <c:v>5.0004015473407559</c:v>
                </c:pt>
                <c:pt idx="11625">
                  <c:v>4.9265559849516487</c:v>
                </c:pt>
                <c:pt idx="11626">
                  <c:v>5.9420680778853701</c:v>
                </c:pt>
                <c:pt idx="11627">
                  <c:v>7.0488880518661947</c:v>
                </c:pt>
                <c:pt idx="11628">
                  <c:v>5.097736651582272</c:v>
                </c:pt>
                <c:pt idx="11629">
                  <c:v>5.88573920579391</c:v>
                </c:pt>
                <c:pt idx="11630">
                  <c:v>7.1177986430085003</c:v>
                </c:pt>
                <c:pt idx="11631">
                  <c:v>6.138146740079832</c:v>
                </c:pt>
                <c:pt idx="11632">
                  <c:v>5.0355497050629756</c:v>
                </c:pt>
                <c:pt idx="11633">
                  <c:v>5.0312424038456527</c:v>
                </c:pt>
                <c:pt idx="11634">
                  <c:v>6.0758603269342544</c:v>
                </c:pt>
                <c:pt idx="11635">
                  <c:v>6.1676655428018012</c:v>
                </c:pt>
                <c:pt idx="11636">
                  <c:v>6.0905933590951173</c:v>
                </c:pt>
                <c:pt idx="11637">
                  <c:v>5.8342106020437754</c:v>
                </c:pt>
                <c:pt idx="11638">
                  <c:v>5.0233023330679529</c:v>
                </c:pt>
                <c:pt idx="11639">
                  <c:v>6.0381484370849074</c:v>
                </c:pt>
                <c:pt idx="11640">
                  <c:v>6.0815932435044839</c:v>
                </c:pt>
                <c:pt idx="11641">
                  <c:v>6.0883921509660901</c:v>
                </c:pt>
                <c:pt idx="11642">
                  <c:v>5.0858741436843014</c:v>
                </c:pt>
                <c:pt idx="11643">
                  <c:v>4.9235049077960253</c:v>
                </c:pt>
                <c:pt idx="11644">
                  <c:v>6.0283244619495955</c:v>
                </c:pt>
                <c:pt idx="11645">
                  <c:v>6.1994150378681896</c:v>
                </c:pt>
                <c:pt idx="11646">
                  <c:v>5.985078265288962</c:v>
                </c:pt>
                <c:pt idx="11647">
                  <c:v>5.9132768723833466</c:v>
                </c:pt>
                <c:pt idx="11648">
                  <c:v>6.0935184699602187</c:v>
                </c:pt>
                <c:pt idx="11649">
                  <c:v>5.921979662267316</c:v>
                </c:pt>
                <c:pt idx="11650">
                  <c:v>6.0526727073340512</c:v>
                </c:pt>
                <c:pt idx="11651">
                  <c:v>5.0452731578178271</c:v>
                </c:pt>
                <c:pt idx="11652">
                  <c:v>5.9232864695637586</c:v>
                </c:pt>
                <c:pt idx="11653">
                  <c:v>5.9106933615731307</c:v>
                </c:pt>
                <c:pt idx="11654">
                  <c:v>4.6752069447082141</c:v>
                </c:pt>
                <c:pt idx="11655">
                  <c:v>5.0686532070868919</c:v>
                </c:pt>
                <c:pt idx="11656">
                  <c:v>5.918652535153047</c:v>
                </c:pt>
                <c:pt idx="11657">
                  <c:v>5.8893473577148123</c:v>
                </c:pt>
                <c:pt idx="11658">
                  <c:v>6.1067520426721513</c:v>
                </c:pt>
                <c:pt idx="11659">
                  <c:v>7.0395590517741597</c:v>
                </c:pt>
                <c:pt idx="11660">
                  <c:v>4.9110626561405395</c:v>
                </c:pt>
                <c:pt idx="11661">
                  <c:v>6.0169768319672059</c:v>
                </c:pt>
                <c:pt idx="11662">
                  <c:v>5.00540269418227</c:v>
                </c:pt>
                <c:pt idx="11663">
                  <c:v>5.132106509706575</c:v>
                </c:pt>
                <c:pt idx="11664">
                  <c:v>5.0847900268495128</c:v>
                </c:pt>
                <c:pt idx="11665">
                  <c:v>4.9311211876147567</c:v>
                </c:pt>
                <c:pt idx="11666">
                  <c:v>5.935573339763363</c:v>
                </c:pt>
                <c:pt idx="11667">
                  <c:v>6.0564185475891925</c:v>
                </c:pt>
                <c:pt idx="11668">
                  <c:v>6.0493526651155252</c:v>
                </c:pt>
                <c:pt idx="11669">
                  <c:v>4.8849135532144849</c:v>
                </c:pt>
                <c:pt idx="11670">
                  <c:v>5.8400129483729879</c:v>
                </c:pt>
                <c:pt idx="11671">
                  <c:v>6.0676669804447156</c:v>
                </c:pt>
                <c:pt idx="11672">
                  <c:v>5.0232603609186537</c:v>
                </c:pt>
                <c:pt idx="11673">
                  <c:v>5.9811532717759572</c:v>
                </c:pt>
                <c:pt idx="11674">
                  <c:v>4.8778653769156612</c:v>
                </c:pt>
                <c:pt idx="11675">
                  <c:v>5.961589805803948</c:v>
                </c:pt>
                <c:pt idx="11676">
                  <c:v>6.0387356895596485</c:v>
                </c:pt>
                <c:pt idx="11677">
                  <c:v>5.8977668681432602</c:v>
                </c:pt>
                <c:pt idx="11678">
                  <c:v>7.1029430993006102</c:v>
                </c:pt>
                <c:pt idx="11679">
                  <c:v>5.8702111653156743</c:v>
                </c:pt>
                <c:pt idx="11680">
                  <c:v>6.0009257935944929</c:v>
                </c:pt>
                <c:pt idx="11681">
                  <c:v>6.0080314039235816</c:v>
                </c:pt>
                <c:pt idx="11682">
                  <c:v>5.8103952325879487</c:v>
                </c:pt>
                <c:pt idx="11683">
                  <c:v>6.0237581537772229</c:v>
                </c:pt>
                <c:pt idx="11684">
                  <c:v>6.1004099963191445</c:v>
                </c:pt>
                <c:pt idx="11685">
                  <c:v>4.9200333981708555</c:v>
                </c:pt>
                <c:pt idx="11686">
                  <c:v>5.9333738945618695</c:v>
                </c:pt>
                <c:pt idx="11687">
                  <c:v>6.1461945536658975</c:v>
                </c:pt>
                <c:pt idx="11688">
                  <c:v>6.0534703884257626</c:v>
                </c:pt>
                <c:pt idx="11689">
                  <c:v>6.0025765543822267</c:v>
                </c:pt>
                <c:pt idx="11690">
                  <c:v>6.1323417698094662</c:v>
                </c:pt>
                <c:pt idx="11691">
                  <c:v>7.0960828972569905</c:v>
                </c:pt>
                <c:pt idx="11692">
                  <c:v>6.0609425680776434</c:v>
                </c:pt>
                <c:pt idx="11693">
                  <c:v>6.0199197485055933</c:v>
                </c:pt>
                <c:pt idx="11694">
                  <c:v>5.9640336802447891</c:v>
                </c:pt>
                <c:pt idx="11695">
                  <c:v>5.9512937421522132</c:v>
                </c:pt>
                <c:pt idx="11696">
                  <c:v>6.0539480278966877</c:v>
                </c:pt>
                <c:pt idx="11697">
                  <c:v>5.0524704350076703</c:v>
                </c:pt>
                <c:pt idx="11698">
                  <c:v>6.0169060725468864</c:v>
                </c:pt>
                <c:pt idx="11699">
                  <c:v>6.0486824858459558</c:v>
                </c:pt>
                <c:pt idx="11700">
                  <c:v>5.9939199466646675</c:v>
                </c:pt>
                <c:pt idx="11701">
                  <c:v>5.9602998537823959</c:v>
                </c:pt>
                <c:pt idx="11702">
                  <c:v>5.913195710981733</c:v>
                </c:pt>
                <c:pt idx="11703">
                  <c:v>6.0494843427374416</c:v>
                </c:pt>
                <c:pt idx="11704">
                  <c:v>4.9842264182091984</c:v>
                </c:pt>
                <c:pt idx="11705">
                  <c:v>6.0015826217702228</c:v>
                </c:pt>
                <c:pt idx="11706">
                  <c:v>5.0323755244207513</c:v>
                </c:pt>
                <c:pt idx="11707">
                  <c:v>6.0749895945802308</c:v>
                </c:pt>
                <c:pt idx="11708">
                  <c:v>6.0903450133667114</c:v>
                </c:pt>
                <c:pt idx="11709">
                  <c:v>5.8617648919937961</c:v>
                </c:pt>
                <c:pt idx="11710">
                  <c:v>6.0274757662482212</c:v>
                </c:pt>
                <c:pt idx="11711">
                  <c:v>5.8980713691989175</c:v>
                </c:pt>
                <c:pt idx="11712">
                  <c:v>4.8746140986595377</c:v>
                </c:pt>
                <c:pt idx="11713">
                  <c:v>5.9983558544930053</c:v>
                </c:pt>
                <c:pt idx="11714">
                  <c:v>5.9283092560920023</c:v>
                </c:pt>
                <c:pt idx="11715">
                  <c:v>4.8306087697629039</c:v>
                </c:pt>
                <c:pt idx="11716">
                  <c:v>5.8621898490075219</c:v>
                </c:pt>
                <c:pt idx="11717">
                  <c:v>5.8760118181436081</c:v>
                </c:pt>
                <c:pt idx="11718">
                  <c:v>6.0890355761592438</c:v>
                </c:pt>
                <c:pt idx="11719">
                  <c:v>6.0417538443130452</c:v>
                </c:pt>
                <c:pt idx="11720">
                  <c:v>6.0075811122173004</c:v>
                </c:pt>
                <c:pt idx="11721">
                  <c:v>6.1185367654822151</c:v>
                </c:pt>
                <c:pt idx="11722">
                  <c:v>5.9773407785579611</c:v>
                </c:pt>
                <c:pt idx="11723">
                  <c:v>6.1128591470766835</c:v>
                </c:pt>
                <c:pt idx="11724">
                  <c:v>5.9002899384714933</c:v>
                </c:pt>
                <c:pt idx="11725">
                  <c:v>6.03363749252585</c:v>
                </c:pt>
                <c:pt idx="11726">
                  <c:v>6.0452517991566035</c:v>
                </c:pt>
                <c:pt idx="11727">
                  <c:v>4.0369391271770514</c:v>
                </c:pt>
                <c:pt idx="11728">
                  <c:v>6.016734544393656</c:v>
                </c:pt>
                <c:pt idx="11729">
                  <c:v>6.1357075858394259</c:v>
                </c:pt>
                <c:pt idx="11730">
                  <c:v>5.0440982888165751</c:v>
                </c:pt>
                <c:pt idx="11731">
                  <c:v>5.823721945418983</c:v>
                </c:pt>
                <c:pt idx="11732">
                  <c:v>6.8225580976905551</c:v>
                </c:pt>
                <c:pt idx="11733">
                  <c:v>5.8833305512161944</c:v>
                </c:pt>
                <c:pt idx="11734">
                  <c:v>6.8293695460634307</c:v>
                </c:pt>
                <c:pt idx="11735">
                  <c:v>6.0218570331141699</c:v>
                </c:pt>
                <c:pt idx="11736">
                  <c:v>7.0940080499011353</c:v>
                </c:pt>
                <c:pt idx="11737">
                  <c:v>5.9290637184067645</c:v>
                </c:pt>
                <c:pt idx="11738">
                  <c:v>5.9635318794872436</c:v>
                </c:pt>
                <c:pt idx="11739">
                  <c:v>5.0635677462407989</c:v>
                </c:pt>
                <c:pt idx="11740">
                  <c:v>4.8492897186639388</c:v>
                </c:pt>
                <c:pt idx="11741">
                  <c:v>4.9689432225064785</c:v>
                </c:pt>
                <c:pt idx="11742">
                  <c:v>5.9877212192193792</c:v>
                </c:pt>
                <c:pt idx="11743">
                  <c:v>5.861921647785822</c:v>
                </c:pt>
                <c:pt idx="11744">
                  <c:v>5.1032814436699407</c:v>
                </c:pt>
                <c:pt idx="11745">
                  <c:v>6.9836778404395083</c:v>
                </c:pt>
                <c:pt idx="11746">
                  <c:v>7.0675159176212796</c:v>
                </c:pt>
                <c:pt idx="11747">
                  <c:v>7.0047830930425752</c:v>
                </c:pt>
                <c:pt idx="11748">
                  <c:v>6.0456282114885598</c:v>
                </c:pt>
                <c:pt idx="11749">
                  <c:v>5.9316260593122463</c:v>
                </c:pt>
                <c:pt idx="11750">
                  <c:v>5.9361498796416265</c:v>
                </c:pt>
                <c:pt idx="11751">
                  <c:v>5.9488576210378437</c:v>
                </c:pt>
                <c:pt idx="11752">
                  <c:v>5.9619289463681993</c:v>
                </c:pt>
                <c:pt idx="11753">
                  <c:v>4.9490488747344079</c:v>
                </c:pt>
                <c:pt idx="11754">
                  <c:v>7.0337467307061967</c:v>
                </c:pt>
                <c:pt idx="11755">
                  <c:v>5.9189730631435413</c:v>
                </c:pt>
                <c:pt idx="11756">
                  <c:v>5.9093732516236184</c:v>
                </c:pt>
                <c:pt idx="11757">
                  <c:v>5.933987136680118</c:v>
                </c:pt>
                <c:pt idx="11758">
                  <c:v>5.8851624877856388</c:v>
                </c:pt>
                <c:pt idx="11759">
                  <c:v>6.1013720173907968</c:v>
                </c:pt>
                <c:pt idx="11760">
                  <c:v>6.9754013882631014</c:v>
                </c:pt>
                <c:pt idx="11761">
                  <c:v>6.1048867797480399</c:v>
                </c:pt>
                <c:pt idx="11762">
                  <c:v>4.0951744828579013</c:v>
                </c:pt>
                <c:pt idx="11763">
                  <c:v>5.9858506424292957</c:v>
                </c:pt>
                <c:pt idx="11764">
                  <c:v>7.0395322628906385</c:v>
                </c:pt>
                <c:pt idx="11765">
                  <c:v>5.8832034104166135</c:v>
                </c:pt>
                <c:pt idx="11766">
                  <c:v>5.8915464328212561</c:v>
                </c:pt>
                <c:pt idx="11767">
                  <c:v>3.864761295197773</c:v>
                </c:pt>
                <c:pt idx="11768">
                  <c:v>6.0795786278703678</c:v>
                </c:pt>
                <c:pt idx="11769">
                  <c:v>5.9873840687788489</c:v>
                </c:pt>
                <c:pt idx="11770">
                  <c:v>6.0717293977340834</c:v>
                </c:pt>
                <c:pt idx="11771">
                  <c:v>3.0394526699067814</c:v>
                </c:pt>
                <c:pt idx="11772">
                  <c:v>5.8631776640274378</c:v>
                </c:pt>
                <c:pt idx="11773">
                  <c:v>6.0211326615040335</c:v>
                </c:pt>
                <c:pt idx="11774">
                  <c:v>5.9593817912284752</c:v>
                </c:pt>
                <c:pt idx="11775">
                  <c:v>5.9812355677677331</c:v>
                </c:pt>
                <c:pt idx="11776">
                  <c:v>5.943920759891081</c:v>
                </c:pt>
                <c:pt idx="11777">
                  <c:v>5.9709205104207772</c:v>
                </c:pt>
                <c:pt idx="11778">
                  <c:v>6.1801679413014181</c:v>
                </c:pt>
                <c:pt idx="11779">
                  <c:v>6.2488609942084929</c:v>
                </c:pt>
                <c:pt idx="11780">
                  <c:v>6.2288075289979528</c:v>
                </c:pt>
                <c:pt idx="11781">
                  <c:v>6.0160281738495636</c:v>
                </c:pt>
                <c:pt idx="11782">
                  <c:v>5.1380874537106429</c:v>
                </c:pt>
                <c:pt idx="11783">
                  <c:v>5.900294578149393</c:v>
                </c:pt>
                <c:pt idx="11784">
                  <c:v>4.9044963132413839</c:v>
                </c:pt>
                <c:pt idx="11785">
                  <c:v>5.8102399748891989</c:v>
                </c:pt>
                <c:pt idx="11786">
                  <c:v>5.8778650993304726</c:v>
                </c:pt>
                <c:pt idx="11787">
                  <c:v>6.9057126324550371</c:v>
                </c:pt>
                <c:pt idx="11788">
                  <c:v>5.0416648542077453</c:v>
                </c:pt>
                <c:pt idx="11789">
                  <c:v>5.0169609172649867</c:v>
                </c:pt>
                <c:pt idx="11790">
                  <c:v>4.8754765369874633</c:v>
                </c:pt>
                <c:pt idx="11791">
                  <c:v>6.0768638416031253</c:v>
                </c:pt>
                <c:pt idx="11792">
                  <c:v>6.0821766501879395</c:v>
                </c:pt>
                <c:pt idx="11793">
                  <c:v>5.8642058172550966</c:v>
                </c:pt>
                <c:pt idx="11794">
                  <c:v>6.9370818800050857</c:v>
                </c:pt>
                <c:pt idx="11795">
                  <c:v>6.1169356010702192</c:v>
                </c:pt>
                <c:pt idx="11796">
                  <c:v>5.9448735833180644</c:v>
                </c:pt>
                <c:pt idx="11797">
                  <c:v>3.9644924522792784</c:v>
                </c:pt>
                <c:pt idx="11798">
                  <c:v>4.9051491491585972</c:v>
                </c:pt>
                <c:pt idx="11799">
                  <c:v>4.9944203506390128</c:v>
                </c:pt>
                <c:pt idx="11800">
                  <c:v>3.9879414160667119</c:v>
                </c:pt>
                <c:pt idx="11801">
                  <c:v>4.0772846325811205</c:v>
                </c:pt>
                <c:pt idx="11802">
                  <c:v>6.1627804349425359</c:v>
                </c:pt>
                <c:pt idx="11803">
                  <c:v>4.9638953631423552</c:v>
                </c:pt>
                <c:pt idx="11804">
                  <c:v>6.8062294813483586</c:v>
                </c:pt>
                <c:pt idx="11805">
                  <c:v>6.1113968565130738</c:v>
                </c:pt>
                <c:pt idx="11806">
                  <c:v>6.9337891400156124</c:v>
                </c:pt>
                <c:pt idx="11807">
                  <c:v>5.1906490985326998</c:v>
                </c:pt>
                <c:pt idx="11808">
                  <c:v>4.9428238739645796</c:v>
                </c:pt>
                <c:pt idx="11809">
                  <c:v>6.1242336033744218</c:v>
                </c:pt>
                <c:pt idx="11810">
                  <c:v>5.9937534500813445</c:v>
                </c:pt>
                <c:pt idx="11811">
                  <c:v>4.9715210184430791</c:v>
                </c:pt>
                <c:pt idx="11812">
                  <c:v>5.9812122578139792</c:v>
                </c:pt>
                <c:pt idx="11813">
                  <c:v>5.9082527863359182</c:v>
                </c:pt>
                <c:pt idx="11814">
                  <c:v>6.0612433670377559</c:v>
                </c:pt>
                <c:pt idx="11815">
                  <c:v>5.9898244109300904</c:v>
                </c:pt>
                <c:pt idx="11816">
                  <c:v>5.8848106458182921</c:v>
                </c:pt>
                <c:pt idx="11817">
                  <c:v>5.9518253132866761</c:v>
                </c:pt>
                <c:pt idx="11818">
                  <c:v>5.046317311654116</c:v>
                </c:pt>
                <c:pt idx="11819">
                  <c:v>4.9731108248138067</c:v>
                </c:pt>
                <c:pt idx="11820">
                  <c:v>5.8515485327518908</c:v>
                </c:pt>
                <c:pt idx="11821">
                  <c:v>5.0892276644754739</c:v>
                </c:pt>
                <c:pt idx="11822">
                  <c:v>4.9473803099097378</c:v>
                </c:pt>
                <c:pt idx="11823">
                  <c:v>5.1458859667952046</c:v>
                </c:pt>
                <c:pt idx="11824">
                  <c:v>5.9571969195418131</c:v>
                </c:pt>
                <c:pt idx="11825">
                  <c:v>4.9887096739877768</c:v>
                </c:pt>
                <c:pt idx="11826">
                  <c:v>6.01544616709712</c:v>
                </c:pt>
                <c:pt idx="11827">
                  <c:v>5.846677430356654</c:v>
                </c:pt>
                <c:pt idx="11828">
                  <c:v>6.0447224888368023</c:v>
                </c:pt>
                <c:pt idx="11829">
                  <c:v>5.0174033313515762</c:v>
                </c:pt>
                <c:pt idx="11830">
                  <c:v>4.9246695271645118</c:v>
                </c:pt>
                <c:pt idx="11831">
                  <c:v>5.1786369717866059</c:v>
                </c:pt>
                <c:pt idx="11832">
                  <c:v>5.9403229613190014</c:v>
                </c:pt>
                <c:pt idx="11833">
                  <c:v>5.1697949703118589</c:v>
                </c:pt>
                <c:pt idx="11834">
                  <c:v>5.0592223504700566</c:v>
                </c:pt>
                <c:pt idx="11835">
                  <c:v>4.9209687970041287</c:v>
                </c:pt>
                <c:pt idx="11836">
                  <c:v>5.88294122878421</c:v>
                </c:pt>
                <c:pt idx="11837">
                  <c:v>4.8964871505008176</c:v>
                </c:pt>
                <c:pt idx="11838">
                  <c:v>6.1952984310198023</c:v>
                </c:pt>
                <c:pt idx="11839">
                  <c:v>5.1445084973261146</c:v>
                </c:pt>
                <c:pt idx="11840">
                  <c:v>5.0678663146292227</c:v>
                </c:pt>
                <c:pt idx="11841">
                  <c:v>6.09935941708709</c:v>
                </c:pt>
                <c:pt idx="11842">
                  <c:v>5.0701272483432955</c:v>
                </c:pt>
                <c:pt idx="11843">
                  <c:v>4.904073460991861</c:v>
                </c:pt>
                <c:pt idx="11844">
                  <c:v>5.0088184993115306</c:v>
                </c:pt>
                <c:pt idx="11845">
                  <c:v>4.7252032513158868</c:v>
                </c:pt>
                <c:pt idx="11846">
                  <c:v>6.8932110189089704</c:v>
                </c:pt>
                <c:pt idx="11847">
                  <c:v>6.1289584015906566</c:v>
                </c:pt>
                <c:pt idx="11848">
                  <c:v>4.9919373294005762</c:v>
                </c:pt>
                <c:pt idx="11849">
                  <c:v>5.1051916105851687</c:v>
                </c:pt>
                <c:pt idx="11850">
                  <c:v>4.9936646897755645</c:v>
                </c:pt>
                <c:pt idx="11851">
                  <c:v>4.9809082456924774</c:v>
                </c:pt>
                <c:pt idx="11852">
                  <c:v>5.0840201248744163</c:v>
                </c:pt>
                <c:pt idx="11853">
                  <c:v>5.0560125425706834</c:v>
                </c:pt>
                <c:pt idx="11854">
                  <c:v>5.0250767905360361</c:v>
                </c:pt>
                <c:pt idx="11855">
                  <c:v>5.1677609802728508</c:v>
                </c:pt>
                <c:pt idx="11856">
                  <c:v>4.7708661101847589</c:v>
                </c:pt>
                <c:pt idx="11857">
                  <c:v>5.0701873667091695</c:v>
                </c:pt>
                <c:pt idx="11858">
                  <c:v>4.8263373867640063</c:v>
                </c:pt>
                <c:pt idx="11859">
                  <c:v>6.0627246409508597</c:v>
                </c:pt>
                <c:pt idx="11860">
                  <c:v>5.2234091810808536</c:v>
                </c:pt>
                <c:pt idx="11861">
                  <c:v>5.1087605325441077</c:v>
                </c:pt>
                <c:pt idx="11862">
                  <c:v>5.0422714326529521</c:v>
                </c:pt>
                <c:pt idx="11863">
                  <c:v>5.0401049466740657</c:v>
                </c:pt>
                <c:pt idx="11864">
                  <c:v>6.0431774061634105</c:v>
                </c:pt>
                <c:pt idx="11865">
                  <c:v>5.9829632780530142</c:v>
                </c:pt>
                <c:pt idx="11866">
                  <c:v>4.9469192064528436</c:v>
                </c:pt>
                <c:pt idx="11867">
                  <c:v>4.744913409428543</c:v>
                </c:pt>
                <c:pt idx="11868">
                  <c:v>6.0266226250270218</c:v>
                </c:pt>
                <c:pt idx="11869">
                  <c:v>4.928702665841592</c:v>
                </c:pt>
                <c:pt idx="11870">
                  <c:v>5.9665215261232252</c:v>
                </c:pt>
                <c:pt idx="11871">
                  <c:v>4.9793222964663615</c:v>
                </c:pt>
                <c:pt idx="11872">
                  <c:v>3.9877048630674206</c:v>
                </c:pt>
                <c:pt idx="11873">
                  <c:v>6.8868136501610913</c:v>
                </c:pt>
                <c:pt idx="11874">
                  <c:v>6.0028824103922149</c:v>
                </c:pt>
                <c:pt idx="11875">
                  <c:v>4.9223626779284206</c:v>
                </c:pt>
                <c:pt idx="11876">
                  <c:v>5.094847024427331</c:v>
                </c:pt>
                <c:pt idx="11877">
                  <c:v>5.26715547008763</c:v>
                </c:pt>
                <c:pt idx="11878">
                  <c:v>4.9214410243181259</c:v>
                </c:pt>
                <c:pt idx="11879">
                  <c:v>4.9618157566666854</c:v>
                </c:pt>
                <c:pt idx="11880">
                  <c:v>6.0693690250935521</c:v>
                </c:pt>
                <c:pt idx="11881">
                  <c:v>5.8601634049911295</c:v>
                </c:pt>
                <c:pt idx="11882">
                  <c:v>5.8738296531210414</c:v>
                </c:pt>
                <c:pt idx="11883">
                  <c:v>5.1637537427800355</c:v>
                </c:pt>
                <c:pt idx="11884">
                  <c:v>4.9233460932104771</c:v>
                </c:pt>
                <c:pt idx="11885">
                  <c:v>5.9926525644936763</c:v>
                </c:pt>
                <c:pt idx="11886">
                  <c:v>5.0371892596210266</c:v>
                </c:pt>
                <c:pt idx="11887">
                  <c:v>6.1153115069979433</c:v>
                </c:pt>
                <c:pt idx="11888">
                  <c:v>6.0951532609762387</c:v>
                </c:pt>
                <c:pt idx="11889">
                  <c:v>6.034040314717604</c:v>
                </c:pt>
                <c:pt idx="11890">
                  <c:v>5.0226774144529163</c:v>
                </c:pt>
                <c:pt idx="11891">
                  <c:v>7.0330189980257725</c:v>
                </c:pt>
                <c:pt idx="11892">
                  <c:v>6.1439958218088089</c:v>
                </c:pt>
                <c:pt idx="11893">
                  <c:v>5.8171631695098469</c:v>
                </c:pt>
                <c:pt idx="11894">
                  <c:v>5.1183948310710097</c:v>
                </c:pt>
                <c:pt idx="11895">
                  <c:v>5.9062145185027086</c:v>
                </c:pt>
                <c:pt idx="11896">
                  <c:v>5.9829192177929755</c:v>
                </c:pt>
                <c:pt idx="11897">
                  <c:v>5.968078030054226</c:v>
                </c:pt>
                <c:pt idx="11898">
                  <c:v>5.9709161424629595</c:v>
                </c:pt>
                <c:pt idx="11899">
                  <c:v>6.1026559571691585</c:v>
                </c:pt>
                <c:pt idx="11900">
                  <c:v>4.9182654079452153</c:v>
                </c:pt>
                <c:pt idx="11901">
                  <c:v>4.9495862786819194</c:v>
                </c:pt>
                <c:pt idx="11902">
                  <c:v>6.0821164850874849</c:v>
                </c:pt>
                <c:pt idx="11903">
                  <c:v>5.0818770685303249</c:v>
                </c:pt>
                <c:pt idx="11904">
                  <c:v>5.9774122059917509</c:v>
                </c:pt>
                <c:pt idx="11905">
                  <c:v>6.9434267330297708</c:v>
                </c:pt>
                <c:pt idx="11906">
                  <c:v>6.058791506234428</c:v>
                </c:pt>
                <c:pt idx="11907">
                  <c:v>5.0910253731319939</c:v>
                </c:pt>
                <c:pt idx="11908">
                  <c:v>5.1122013242810915</c:v>
                </c:pt>
                <c:pt idx="11909">
                  <c:v>5.9544249278013703</c:v>
                </c:pt>
                <c:pt idx="11910">
                  <c:v>7.0390936968643913</c:v>
                </c:pt>
                <c:pt idx="11911">
                  <c:v>5.9992044069181478</c:v>
                </c:pt>
                <c:pt idx="11912">
                  <c:v>5.8854678112709582</c:v>
                </c:pt>
                <c:pt idx="11913">
                  <c:v>5.9464011671217385</c:v>
                </c:pt>
                <c:pt idx="11914">
                  <c:v>5.8874213045628112</c:v>
                </c:pt>
                <c:pt idx="11915">
                  <c:v>6.1269789985233256</c:v>
                </c:pt>
                <c:pt idx="11916">
                  <c:v>6.1921780394753236</c:v>
                </c:pt>
                <c:pt idx="11917">
                  <c:v>7.1007951323187743</c:v>
                </c:pt>
                <c:pt idx="11918">
                  <c:v>6.1388443722984833</c:v>
                </c:pt>
                <c:pt idx="11919">
                  <c:v>4.9946491485265634</c:v>
                </c:pt>
                <c:pt idx="11920">
                  <c:v>6.0232184549068721</c:v>
                </c:pt>
                <c:pt idx="11921">
                  <c:v>6.1222009246743294</c:v>
                </c:pt>
                <c:pt idx="11922">
                  <c:v>5.0387691724524677</c:v>
                </c:pt>
                <c:pt idx="11923">
                  <c:v>5.975378521538965</c:v>
                </c:pt>
                <c:pt idx="11924">
                  <c:v>4.9301167181864107</c:v>
                </c:pt>
                <c:pt idx="11925">
                  <c:v>6.8751539317845358</c:v>
                </c:pt>
                <c:pt idx="11926">
                  <c:v>6.0245093303076303</c:v>
                </c:pt>
                <c:pt idx="11927">
                  <c:v>7.0866984401186395</c:v>
                </c:pt>
                <c:pt idx="11928">
                  <c:v>6.9934250036907608</c:v>
                </c:pt>
                <c:pt idx="11929">
                  <c:v>5.9424825419820424</c:v>
                </c:pt>
                <c:pt idx="11930">
                  <c:v>6.0251870738451787</c:v>
                </c:pt>
                <c:pt idx="11931">
                  <c:v>6.0838994648832418</c:v>
                </c:pt>
                <c:pt idx="11932">
                  <c:v>4.981423155387156</c:v>
                </c:pt>
                <c:pt idx="11933">
                  <c:v>6.1533633242673496</c:v>
                </c:pt>
                <c:pt idx="11934">
                  <c:v>5.9608792437049569</c:v>
                </c:pt>
                <c:pt idx="11935">
                  <c:v>6.0254847284058473</c:v>
                </c:pt>
                <c:pt idx="11936">
                  <c:v>5.9764691209112009</c:v>
                </c:pt>
                <c:pt idx="11937">
                  <c:v>5.0286030249430489</c:v>
                </c:pt>
                <c:pt idx="11938">
                  <c:v>5.9547814295757542</c:v>
                </c:pt>
                <c:pt idx="11939">
                  <c:v>6.1623339247015538</c:v>
                </c:pt>
                <c:pt idx="11940">
                  <c:v>6.1838989473385526</c:v>
                </c:pt>
                <c:pt idx="11941">
                  <c:v>5.0770319307837983</c:v>
                </c:pt>
                <c:pt idx="11942">
                  <c:v>4.9196948101657298</c:v>
                </c:pt>
                <c:pt idx="11943">
                  <c:v>6.0480578845933879</c:v>
                </c:pt>
                <c:pt idx="11944">
                  <c:v>6.0234622948571159</c:v>
                </c:pt>
                <c:pt idx="11945">
                  <c:v>5.9711267094927303</c:v>
                </c:pt>
                <c:pt idx="11946">
                  <c:v>6.1783026493445696</c:v>
                </c:pt>
                <c:pt idx="11947">
                  <c:v>6.0926319320108719</c:v>
                </c:pt>
                <c:pt idx="11948">
                  <c:v>4.9221042167405464</c:v>
                </c:pt>
                <c:pt idx="11949">
                  <c:v>6.9465226428781</c:v>
                </c:pt>
                <c:pt idx="11950">
                  <c:v>5.9058796466818295</c:v>
                </c:pt>
                <c:pt idx="11951">
                  <c:v>5.9956696521193704</c:v>
                </c:pt>
                <c:pt idx="11952">
                  <c:v>5.9379686216746634</c:v>
                </c:pt>
                <c:pt idx="11953">
                  <c:v>5.9574778413855576</c:v>
                </c:pt>
                <c:pt idx="11954">
                  <c:v>6.1857731915567653</c:v>
                </c:pt>
                <c:pt idx="11955">
                  <c:v>4.8718196579695405</c:v>
                </c:pt>
                <c:pt idx="11956">
                  <c:v>5.8352806428637765</c:v>
                </c:pt>
                <c:pt idx="11957">
                  <c:v>5.9893983885304491</c:v>
                </c:pt>
                <c:pt idx="11958">
                  <c:v>6.0381073447044926</c:v>
                </c:pt>
                <c:pt idx="11959">
                  <c:v>6.0828689585788638</c:v>
                </c:pt>
                <c:pt idx="11960">
                  <c:v>5.9272371246942068</c:v>
                </c:pt>
                <c:pt idx="11961">
                  <c:v>6.0265849767184987</c:v>
                </c:pt>
                <c:pt idx="11962">
                  <c:v>5.8775676435572892</c:v>
                </c:pt>
                <c:pt idx="11963">
                  <c:v>6.1941081878993698</c:v>
                </c:pt>
                <c:pt idx="11964">
                  <c:v>5.9684391108953401</c:v>
                </c:pt>
                <c:pt idx="11965">
                  <c:v>5.9383571306051071</c:v>
                </c:pt>
                <c:pt idx="11966">
                  <c:v>6.0981326494281731</c:v>
                </c:pt>
                <c:pt idx="11967">
                  <c:v>6.0613206089880434</c:v>
                </c:pt>
                <c:pt idx="11968">
                  <c:v>5.9011820898922744</c:v>
                </c:pt>
                <c:pt idx="11969">
                  <c:v>6.1653980075441348</c:v>
                </c:pt>
                <c:pt idx="11970">
                  <c:v>5.9306624735158069</c:v>
                </c:pt>
                <c:pt idx="11971">
                  <c:v>5.6423887198257496</c:v>
                </c:pt>
                <c:pt idx="11972">
                  <c:v>6.0418629012668079</c:v>
                </c:pt>
                <c:pt idx="11973">
                  <c:v>5.0392407680635163</c:v>
                </c:pt>
                <c:pt idx="11974">
                  <c:v>5.9719820596293118</c:v>
                </c:pt>
                <c:pt idx="11975">
                  <c:v>7.1302799666098737</c:v>
                </c:pt>
                <c:pt idx="11976">
                  <c:v>4.8784414309716562</c:v>
                </c:pt>
                <c:pt idx="11977">
                  <c:v>3.2056488128511993</c:v>
                </c:pt>
                <c:pt idx="11978">
                  <c:v>7.0735102699908827</c:v>
                </c:pt>
                <c:pt idx="11979">
                  <c:v>5.0482164209719977</c:v>
                </c:pt>
                <c:pt idx="11980">
                  <c:v>6.1077738150992262</c:v>
                </c:pt>
                <c:pt idx="11981">
                  <c:v>5.920326071253581</c:v>
                </c:pt>
                <c:pt idx="11982">
                  <c:v>6.0026733374430217</c:v>
                </c:pt>
                <c:pt idx="11983">
                  <c:v>5.0821092363698401</c:v>
                </c:pt>
                <c:pt idx="11984">
                  <c:v>5.8970118798578479</c:v>
                </c:pt>
                <c:pt idx="11985">
                  <c:v>6.1388124417337453</c:v>
                </c:pt>
                <c:pt idx="11986">
                  <c:v>4.8778782694720064</c:v>
                </c:pt>
                <c:pt idx="11987">
                  <c:v>6.1720114863657427</c:v>
                </c:pt>
                <c:pt idx="11988">
                  <c:v>5.1043398995126577</c:v>
                </c:pt>
                <c:pt idx="11989">
                  <c:v>5.972300737826842</c:v>
                </c:pt>
                <c:pt idx="11990">
                  <c:v>6.0850746657490165</c:v>
                </c:pt>
                <c:pt idx="11991">
                  <c:v>6.001401721180482</c:v>
                </c:pt>
                <c:pt idx="11992">
                  <c:v>5.9100146183902629</c:v>
                </c:pt>
                <c:pt idx="11993">
                  <c:v>5.9026301804207222</c:v>
                </c:pt>
                <c:pt idx="11994">
                  <c:v>6.1157524747792067</c:v>
                </c:pt>
                <c:pt idx="11995">
                  <c:v>7.2235029835414286</c:v>
                </c:pt>
                <c:pt idx="11996">
                  <c:v>5.8981497915216172</c:v>
                </c:pt>
                <c:pt idx="11997">
                  <c:v>5.8240288641997573</c:v>
                </c:pt>
                <c:pt idx="11998">
                  <c:v>6.0071681004163535</c:v>
                </c:pt>
                <c:pt idx="11999">
                  <c:v>4.7117547192954818</c:v>
                </c:pt>
                <c:pt idx="12000">
                  <c:v>5.8237453736400688</c:v>
                </c:pt>
                <c:pt idx="12001">
                  <c:v>6.0290330549312818</c:v>
                </c:pt>
                <c:pt idx="12002">
                  <c:v>6.0968292666082773</c:v>
                </c:pt>
                <c:pt idx="12003">
                  <c:v>3.0612001731802465</c:v>
                </c:pt>
                <c:pt idx="12004">
                  <c:v>6.2388374261448796</c:v>
                </c:pt>
                <c:pt idx="12005">
                  <c:v>5.9152589825257404</c:v>
                </c:pt>
                <c:pt idx="12006">
                  <c:v>5.2108171971378434</c:v>
                </c:pt>
                <c:pt idx="12007">
                  <c:v>7.1338780613975548</c:v>
                </c:pt>
                <c:pt idx="12008">
                  <c:v>6.9338223143742717</c:v>
                </c:pt>
                <c:pt idx="12009">
                  <c:v>5.9349019445733173</c:v>
                </c:pt>
                <c:pt idx="12010">
                  <c:v>7.0563272978206859</c:v>
                </c:pt>
                <c:pt idx="12011">
                  <c:v>5.984983486760667</c:v>
                </c:pt>
                <c:pt idx="12012">
                  <c:v>7.0314776789303215</c:v>
                </c:pt>
                <c:pt idx="12013">
                  <c:v>5.9918981044529867</c:v>
                </c:pt>
                <c:pt idx="12014">
                  <c:v>5.9325666942531194</c:v>
                </c:pt>
                <c:pt idx="12015">
                  <c:v>5.9283099450392429</c:v>
                </c:pt>
                <c:pt idx="12016">
                  <c:v>5.859877163496038</c:v>
                </c:pt>
                <c:pt idx="12017">
                  <c:v>6.9684830551554366</c:v>
                </c:pt>
                <c:pt idx="12018">
                  <c:v>6.0065609868179575</c:v>
                </c:pt>
                <c:pt idx="12019">
                  <c:v>7.1049650146513121</c:v>
                </c:pt>
                <c:pt idx="12020">
                  <c:v>4.953307977356574</c:v>
                </c:pt>
                <c:pt idx="12021">
                  <c:v>5.134874223753326</c:v>
                </c:pt>
                <c:pt idx="12022">
                  <c:v>6.0572654883080643</c:v>
                </c:pt>
                <c:pt idx="12023">
                  <c:v>6.2014186741411654</c:v>
                </c:pt>
                <c:pt idx="12024">
                  <c:v>6.0719317493123546</c:v>
                </c:pt>
                <c:pt idx="12025">
                  <c:v>5.9481853530996647</c:v>
                </c:pt>
                <c:pt idx="12026">
                  <c:v>6.1018185533904203</c:v>
                </c:pt>
                <c:pt idx="12027">
                  <c:v>5.862418068814419</c:v>
                </c:pt>
                <c:pt idx="12028">
                  <c:v>5.062541742905716</c:v>
                </c:pt>
                <c:pt idx="12029">
                  <c:v>6.0936446177676249</c:v>
                </c:pt>
                <c:pt idx="12030">
                  <c:v>5.041216021333601</c:v>
                </c:pt>
                <c:pt idx="12031">
                  <c:v>5.7991153956858206</c:v>
                </c:pt>
                <c:pt idx="12032">
                  <c:v>5.9754834142788527</c:v>
                </c:pt>
                <c:pt idx="12033">
                  <c:v>6.0194474837181353</c:v>
                </c:pt>
                <c:pt idx="12034">
                  <c:v>5.9783965111405983</c:v>
                </c:pt>
                <c:pt idx="12035">
                  <c:v>5.782659177811138</c:v>
                </c:pt>
                <c:pt idx="12036">
                  <c:v>5.9680151835334074</c:v>
                </c:pt>
                <c:pt idx="12037">
                  <c:v>5.9088423430950217</c:v>
                </c:pt>
                <c:pt idx="12038">
                  <c:v>6.0337988136785627</c:v>
                </c:pt>
                <c:pt idx="12039">
                  <c:v>6.0897474676878849</c:v>
                </c:pt>
                <c:pt idx="12040">
                  <c:v>6.2358088102235465</c:v>
                </c:pt>
                <c:pt idx="12041">
                  <c:v>6.0013352194369416</c:v>
                </c:pt>
                <c:pt idx="12042">
                  <c:v>6.1722247593325648</c:v>
                </c:pt>
                <c:pt idx="12043">
                  <c:v>5.0108240608732029</c:v>
                </c:pt>
                <c:pt idx="12044">
                  <c:v>5.8477728623704941</c:v>
                </c:pt>
                <c:pt idx="12045">
                  <c:v>6.033973707887899</c:v>
                </c:pt>
                <c:pt idx="12046">
                  <c:v>5.968987610330009</c:v>
                </c:pt>
                <c:pt idx="12047">
                  <c:v>6.0943615905025679</c:v>
                </c:pt>
                <c:pt idx="12048">
                  <c:v>6.0131560593084608</c:v>
                </c:pt>
                <c:pt idx="12049">
                  <c:v>5.034520410168188</c:v>
                </c:pt>
                <c:pt idx="12050">
                  <c:v>5.1236426579655543</c:v>
                </c:pt>
                <c:pt idx="12051">
                  <c:v>4.9058884743159901</c:v>
                </c:pt>
                <c:pt idx="12052">
                  <c:v>7.0875429860371737</c:v>
                </c:pt>
                <c:pt idx="12053">
                  <c:v>5.0944119813432618</c:v>
                </c:pt>
                <c:pt idx="12054">
                  <c:v>6.0685433750809237</c:v>
                </c:pt>
                <c:pt idx="12055">
                  <c:v>4.9280869059848822</c:v>
                </c:pt>
                <c:pt idx="12056">
                  <c:v>7.0274243615303957</c:v>
                </c:pt>
                <c:pt idx="12057">
                  <c:v>6.1369904227805847</c:v>
                </c:pt>
                <c:pt idx="12058">
                  <c:v>5.8728888118351517</c:v>
                </c:pt>
                <c:pt idx="12059">
                  <c:v>5.0373496865055314</c:v>
                </c:pt>
                <c:pt idx="12060">
                  <c:v>6.9273050929930644</c:v>
                </c:pt>
                <c:pt idx="12061">
                  <c:v>5.0956083162759276</c:v>
                </c:pt>
                <c:pt idx="12062">
                  <c:v>5.9771853977931286</c:v>
                </c:pt>
                <c:pt idx="12063">
                  <c:v>5.1277845177703583</c:v>
                </c:pt>
                <c:pt idx="12064">
                  <c:v>4.9785517023397921</c:v>
                </c:pt>
                <c:pt idx="12065">
                  <c:v>5.9424137616192354</c:v>
                </c:pt>
                <c:pt idx="12066">
                  <c:v>5.1401494773193797</c:v>
                </c:pt>
                <c:pt idx="12067">
                  <c:v>5.9752120009392158</c:v>
                </c:pt>
                <c:pt idx="12068">
                  <c:v>5.9053902100213538</c:v>
                </c:pt>
                <c:pt idx="12069">
                  <c:v>6.9356591408166244</c:v>
                </c:pt>
                <c:pt idx="12070">
                  <c:v>7.0319915222511922</c:v>
                </c:pt>
                <c:pt idx="12071">
                  <c:v>6.9536920153852151</c:v>
                </c:pt>
                <c:pt idx="12072">
                  <c:v>6.1185947864887016</c:v>
                </c:pt>
                <c:pt idx="12073">
                  <c:v>5.9671223951837975</c:v>
                </c:pt>
                <c:pt idx="12074">
                  <c:v>6.0261657016969394</c:v>
                </c:pt>
                <c:pt idx="12075">
                  <c:v>6.0071066501963832</c:v>
                </c:pt>
                <c:pt idx="12076">
                  <c:v>6.060194920394756</c:v>
                </c:pt>
                <c:pt idx="12077">
                  <c:v>6.0552780411152076</c:v>
                </c:pt>
                <c:pt idx="12078">
                  <c:v>5.9259826128666422</c:v>
                </c:pt>
                <c:pt idx="12079">
                  <c:v>5.9374614455192969</c:v>
                </c:pt>
                <c:pt idx="12080">
                  <c:v>6.0261078515854676</c:v>
                </c:pt>
                <c:pt idx="12081">
                  <c:v>5.9963807248542036</c:v>
                </c:pt>
                <c:pt idx="12082">
                  <c:v>6.9220029052454226</c:v>
                </c:pt>
                <c:pt idx="12083">
                  <c:v>5.9666729831386522</c:v>
                </c:pt>
                <c:pt idx="12084">
                  <c:v>4.856821228900551</c:v>
                </c:pt>
                <c:pt idx="12085">
                  <c:v>5.1033182123943046</c:v>
                </c:pt>
                <c:pt idx="12086">
                  <c:v>5.9930364987094826</c:v>
                </c:pt>
                <c:pt idx="12087">
                  <c:v>5.9547135806765548</c:v>
                </c:pt>
                <c:pt idx="12088">
                  <c:v>5.9213347125572575</c:v>
                </c:pt>
                <c:pt idx="12089">
                  <c:v>6.1654705021909662</c:v>
                </c:pt>
                <c:pt idx="12090">
                  <c:v>6.0077268422909018</c:v>
                </c:pt>
                <c:pt idx="12091">
                  <c:v>4.9873468131750274</c:v>
                </c:pt>
                <c:pt idx="12092">
                  <c:v>5.9990060079947165</c:v>
                </c:pt>
                <c:pt idx="12093">
                  <c:v>6.0200892116655194</c:v>
                </c:pt>
                <c:pt idx="12094">
                  <c:v>6.9914388719208711</c:v>
                </c:pt>
                <c:pt idx="12095">
                  <c:v>5.9287008236703436</c:v>
                </c:pt>
                <c:pt idx="12096">
                  <c:v>5.8227754079807665</c:v>
                </c:pt>
                <c:pt idx="12097">
                  <c:v>5.9721772576576981</c:v>
                </c:pt>
                <c:pt idx="12098">
                  <c:v>6.1472192987334964</c:v>
                </c:pt>
                <c:pt idx="12099">
                  <c:v>5.1131851432621982</c:v>
                </c:pt>
                <c:pt idx="12100">
                  <c:v>6.0091487571411042</c:v>
                </c:pt>
                <c:pt idx="12101">
                  <c:v>7.0349079037341786</c:v>
                </c:pt>
                <c:pt idx="12102">
                  <c:v>5.1506686929571011</c:v>
                </c:pt>
                <c:pt idx="12103">
                  <c:v>6.1255707738025631</c:v>
                </c:pt>
                <c:pt idx="12104">
                  <c:v>7.0273533593743656</c:v>
                </c:pt>
                <c:pt idx="12105">
                  <c:v>7.1091703171752432</c:v>
                </c:pt>
                <c:pt idx="12106">
                  <c:v>4.9279437033442202</c:v>
                </c:pt>
                <c:pt idx="12107">
                  <c:v>6.0684595008856661</c:v>
                </c:pt>
                <c:pt idx="12108">
                  <c:v>6.0624748518993776</c:v>
                </c:pt>
                <c:pt idx="12109">
                  <c:v>6.0366811457622571</c:v>
                </c:pt>
                <c:pt idx="12110">
                  <c:v>4.8707610775286696</c:v>
                </c:pt>
                <c:pt idx="12111">
                  <c:v>5.9280631105982087</c:v>
                </c:pt>
                <c:pt idx="12112">
                  <c:v>5.9331301946488333</c:v>
                </c:pt>
                <c:pt idx="12113">
                  <c:v>6.0572968566455492</c:v>
                </c:pt>
                <c:pt idx="12114">
                  <c:v>6.0717429024552327</c:v>
                </c:pt>
                <c:pt idx="12115">
                  <c:v>6.0230024832961302</c:v>
                </c:pt>
                <c:pt idx="12116">
                  <c:v>7.0582311723573765</c:v>
                </c:pt>
                <c:pt idx="12117">
                  <c:v>7.1627096391531362</c:v>
                </c:pt>
                <c:pt idx="12118">
                  <c:v>7.083016924554995</c:v>
                </c:pt>
                <c:pt idx="12119">
                  <c:v>5.8584393566432382</c:v>
                </c:pt>
                <c:pt idx="12120">
                  <c:v>7.0836208245624936</c:v>
                </c:pt>
                <c:pt idx="12121">
                  <c:v>6.0598265711310439</c:v>
                </c:pt>
                <c:pt idx="12122">
                  <c:v>5.9977577619792823</c:v>
                </c:pt>
                <c:pt idx="12123">
                  <c:v>6.0416049957485276</c:v>
                </c:pt>
                <c:pt idx="12124">
                  <c:v>5.9489305738931701</c:v>
                </c:pt>
                <c:pt idx="12125">
                  <c:v>7.0818273852954938</c:v>
                </c:pt>
                <c:pt idx="12126">
                  <c:v>7.1709392438869664</c:v>
                </c:pt>
                <c:pt idx="12127">
                  <c:v>6.006271093577916</c:v>
                </c:pt>
                <c:pt idx="12128">
                  <c:v>5.8858093229324497</c:v>
                </c:pt>
                <c:pt idx="12129">
                  <c:v>5.9515586650893573</c:v>
                </c:pt>
                <c:pt idx="12130">
                  <c:v>6.9389297696731482</c:v>
                </c:pt>
                <c:pt idx="12131">
                  <c:v>7.0399650472137116</c:v>
                </c:pt>
                <c:pt idx="12132">
                  <c:v>7.0045944697896818</c:v>
                </c:pt>
                <c:pt idx="12133">
                  <c:v>4.9717533706563675</c:v>
                </c:pt>
                <c:pt idx="12134">
                  <c:v>4.8266781759010735</c:v>
                </c:pt>
                <c:pt idx="12135">
                  <c:v>6.8653263019624768</c:v>
                </c:pt>
                <c:pt idx="12136">
                  <c:v>5.9234300153551942</c:v>
                </c:pt>
                <c:pt idx="12137">
                  <c:v>7.0220160732790875</c:v>
                </c:pt>
                <c:pt idx="12138">
                  <c:v>6.9258392537881308</c:v>
                </c:pt>
                <c:pt idx="12139">
                  <c:v>5.9617096975468122</c:v>
                </c:pt>
                <c:pt idx="12140">
                  <c:v>6.007346684444105</c:v>
                </c:pt>
                <c:pt idx="12141">
                  <c:v>6.0005631270799631</c:v>
                </c:pt>
                <c:pt idx="12142">
                  <c:v>6.0703275303930679</c:v>
                </c:pt>
                <c:pt idx="12143">
                  <c:v>4.8928095342699889</c:v>
                </c:pt>
                <c:pt idx="12144">
                  <c:v>7.0545431098550395</c:v>
                </c:pt>
                <c:pt idx="12145">
                  <c:v>6.8647288847669694</c:v>
                </c:pt>
                <c:pt idx="12146">
                  <c:v>5.9072216036479723</c:v>
                </c:pt>
                <c:pt idx="12147">
                  <c:v>4.756835356098871</c:v>
                </c:pt>
                <c:pt idx="12148">
                  <c:v>6.0789303393379654</c:v>
                </c:pt>
                <c:pt idx="12149">
                  <c:v>5.8986208039834143</c:v>
                </c:pt>
                <c:pt idx="12150">
                  <c:v>5.2578150035793216</c:v>
                </c:pt>
                <c:pt idx="12151">
                  <c:v>5.9795868003761061</c:v>
                </c:pt>
                <c:pt idx="12152">
                  <c:v>5.06265289602098</c:v>
                </c:pt>
                <c:pt idx="12153">
                  <c:v>5.0802536836443073</c:v>
                </c:pt>
                <c:pt idx="12154">
                  <c:v>5.0865245572315461</c:v>
                </c:pt>
                <c:pt idx="12155">
                  <c:v>6.9649097608412323</c:v>
                </c:pt>
                <c:pt idx="12156">
                  <c:v>4.9000874973498583</c:v>
                </c:pt>
                <c:pt idx="12157">
                  <c:v>6.0663056705024712</c:v>
                </c:pt>
                <c:pt idx="12158">
                  <c:v>4.0380600015376755</c:v>
                </c:pt>
                <c:pt idx="12159">
                  <c:v>6.0301616068637998</c:v>
                </c:pt>
                <c:pt idx="12160">
                  <c:v>5.0476529779410173</c:v>
                </c:pt>
                <c:pt idx="12161">
                  <c:v>5.9805904111383157</c:v>
                </c:pt>
                <c:pt idx="12162">
                  <c:v>5.1518558981566507</c:v>
                </c:pt>
                <c:pt idx="12163">
                  <c:v>7.0464825634439947</c:v>
                </c:pt>
                <c:pt idx="12164">
                  <c:v>7.0022287306241457</c:v>
                </c:pt>
                <c:pt idx="12165">
                  <c:v>6.1544173204461998</c:v>
                </c:pt>
                <c:pt idx="12166">
                  <c:v>5.9225070891825027</c:v>
                </c:pt>
                <c:pt idx="12167">
                  <c:v>4.9719455190931408</c:v>
                </c:pt>
                <c:pt idx="12168">
                  <c:v>5.0158075896739911</c:v>
                </c:pt>
                <c:pt idx="12169">
                  <c:v>5.8457708367660777</c:v>
                </c:pt>
                <c:pt idx="12170">
                  <c:v>5.0229849062921836</c:v>
                </c:pt>
                <c:pt idx="12171">
                  <c:v>6.1658900191277652</c:v>
                </c:pt>
                <c:pt idx="12172">
                  <c:v>6.068294300377346</c:v>
                </c:pt>
                <c:pt idx="12173">
                  <c:v>5.9350513361815578</c:v>
                </c:pt>
                <c:pt idx="12174">
                  <c:v>6.06487195733704</c:v>
                </c:pt>
                <c:pt idx="12175">
                  <c:v>6.0828843662380869</c:v>
                </c:pt>
                <c:pt idx="12176">
                  <c:v>5.8558115739462924</c:v>
                </c:pt>
                <c:pt idx="12177">
                  <c:v>5.8208616558469624</c:v>
                </c:pt>
                <c:pt idx="12178">
                  <c:v>5.9887129395078817</c:v>
                </c:pt>
                <c:pt idx="12179">
                  <c:v>5.9382598813551972</c:v>
                </c:pt>
                <c:pt idx="12180">
                  <c:v>6.2735380154101579</c:v>
                </c:pt>
                <c:pt idx="12181">
                  <c:v>6.1110473898783058</c:v>
                </c:pt>
                <c:pt idx="12182">
                  <c:v>6.8547814299125802</c:v>
                </c:pt>
                <c:pt idx="12183">
                  <c:v>5.9619548887966083</c:v>
                </c:pt>
                <c:pt idx="12184">
                  <c:v>4.9590690606576926</c:v>
                </c:pt>
                <c:pt idx="12185">
                  <c:v>6.8411327959807995</c:v>
                </c:pt>
                <c:pt idx="12186">
                  <c:v>5.9651089214994073</c:v>
                </c:pt>
                <c:pt idx="12187">
                  <c:v>6.0836778017369202</c:v>
                </c:pt>
                <c:pt idx="12188">
                  <c:v>5.8298022570921733</c:v>
                </c:pt>
                <c:pt idx="12189">
                  <c:v>5.0285769389498176</c:v>
                </c:pt>
                <c:pt idx="12190">
                  <c:v>5.9445962736503812</c:v>
                </c:pt>
                <c:pt idx="12191">
                  <c:v>6.790209606505929</c:v>
                </c:pt>
                <c:pt idx="12192">
                  <c:v>5.9255813859419337</c:v>
                </c:pt>
                <c:pt idx="12193">
                  <c:v>5.9618576129097409</c:v>
                </c:pt>
                <c:pt idx="12194">
                  <c:v>4.9519507716256479</c:v>
                </c:pt>
                <c:pt idx="12195">
                  <c:v>6.8849222671967576</c:v>
                </c:pt>
                <c:pt idx="12196">
                  <c:v>7.0931838932246505</c:v>
                </c:pt>
                <c:pt idx="12197">
                  <c:v>7.1011894664230226</c:v>
                </c:pt>
                <c:pt idx="12198">
                  <c:v>7.0650566523176437</c:v>
                </c:pt>
                <c:pt idx="12199">
                  <c:v>4.9812594205417744</c:v>
                </c:pt>
                <c:pt idx="12200">
                  <c:v>6.0334350313176577</c:v>
                </c:pt>
                <c:pt idx="12201">
                  <c:v>7.1600899736422354</c:v>
                </c:pt>
                <c:pt idx="12202">
                  <c:v>6.0395099695633139</c:v>
                </c:pt>
                <c:pt idx="12203">
                  <c:v>6.8897853237426974</c:v>
                </c:pt>
                <c:pt idx="12204">
                  <c:v>5.8080294341256709</c:v>
                </c:pt>
                <c:pt idx="12205">
                  <c:v>6.0118704528749909</c:v>
                </c:pt>
                <c:pt idx="12206">
                  <c:v>7.0416620399758383</c:v>
                </c:pt>
                <c:pt idx="12207">
                  <c:v>5.9253958675578762</c:v>
                </c:pt>
                <c:pt idx="12208">
                  <c:v>5.1237255274681752</c:v>
                </c:pt>
                <c:pt idx="12209">
                  <c:v>5.8149123851302811</c:v>
                </c:pt>
                <c:pt idx="12210">
                  <c:v>5.9970127225548415</c:v>
                </c:pt>
                <c:pt idx="12211">
                  <c:v>6.0190919543447245</c:v>
                </c:pt>
                <c:pt idx="12212">
                  <c:v>6.1170856655289896</c:v>
                </c:pt>
                <c:pt idx="12213">
                  <c:v>5.0344039695338392</c:v>
                </c:pt>
                <c:pt idx="12214">
                  <c:v>6.1248631170081422</c:v>
                </c:pt>
                <c:pt idx="12215">
                  <c:v>5.973847719925093</c:v>
                </c:pt>
                <c:pt idx="12216">
                  <c:v>6.137588000459294</c:v>
                </c:pt>
                <c:pt idx="12217">
                  <c:v>5.0524407744595186</c:v>
                </c:pt>
                <c:pt idx="12218">
                  <c:v>5.9476563897725425</c:v>
                </c:pt>
                <c:pt idx="12219">
                  <c:v>5.9340087127915888</c:v>
                </c:pt>
                <c:pt idx="12220">
                  <c:v>5.8408091894548013</c:v>
                </c:pt>
                <c:pt idx="12221">
                  <c:v>7.0477661089771688</c:v>
                </c:pt>
                <c:pt idx="12222">
                  <c:v>6.8474648660088784</c:v>
                </c:pt>
                <c:pt idx="12223">
                  <c:v>6.9999192637103693</c:v>
                </c:pt>
                <c:pt idx="12224">
                  <c:v>5.8619270726835326</c:v>
                </c:pt>
                <c:pt idx="12225">
                  <c:v>6.0137603000596824</c:v>
                </c:pt>
                <c:pt idx="12226">
                  <c:v>6.0880839553415083</c:v>
                </c:pt>
                <c:pt idx="12227">
                  <c:v>5.0475194725414312</c:v>
                </c:pt>
                <c:pt idx="12228">
                  <c:v>6.0215633115545248</c:v>
                </c:pt>
                <c:pt idx="12229">
                  <c:v>5.1581631193681261</c:v>
                </c:pt>
                <c:pt idx="12230">
                  <c:v>5.9474107259923139</c:v>
                </c:pt>
                <c:pt idx="12231">
                  <c:v>5.790091181325665</c:v>
                </c:pt>
                <c:pt idx="12232">
                  <c:v>6.1969049921523851</c:v>
                </c:pt>
                <c:pt idx="12233">
                  <c:v>6.077067682413988</c:v>
                </c:pt>
                <c:pt idx="12234">
                  <c:v>6.1015485071795146</c:v>
                </c:pt>
                <c:pt idx="12235">
                  <c:v>5.143368878094587</c:v>
                </c:pt>
                <c:pt idx="12236">
                  <c:v>5.9947932967870683</c:v>
                </c:pt>
                <c:pt idx="12237">
                  <c:v>6.0061142729267365</c:v>
                </c:pt>
                <c:pt idx="12238">
                  <c:v>5.991223825983603</c:v>
                </c:pt>
                <c:pt idx="12239">
                  <c:v>5.015402848136806</c:v>
                </c:pt>
                <c:pt idx="12240">
                  <c:v>5.8041557541726903</c:v>
                </c:pt>
                <c:pt idx="12241">
                  <c:v>5.0959153502629793</c:v>
                </c:pt>
                <c:pt idx="12242">
                  <c:v>5.8039082378063647</c:v>
                </c:pt>
                <c:pt idx="12243">
                  <c:v>5.9544259196827198</c:v>
                </c:pt>
                <c:pt idx="12244">
                  <c:v>8.9697964181873981</c:v>
                </c:pt>
                <c:pt idx="12245">
                  <c:v>8.0327085564418592</c:v>
                </c:pt>
                <c:pt idx="12246">
                  <c:v>4.9344589320427339</c:v>
                </c:pt>
                <c:pt idx="12247">
                  <c:v>6.0593985968063633</c:v>
                </c:pt>
                <c:pt idx="12248">
                  <c:v>1.9369471503582578</c:v>
                </c:pt>
                <c:pt idx="12249">
                  <c:v>5.8785046067998685</c:v>
                </c:pt>
                <c:pt idx="12250">
                  <c:v>5.8559691373964373</c:v>
                </c:pt>
                <c:pt idx="12251">
                  <c:v>5.9853679929706161</c:v>
                </c:pt>
                <c:pt idx="12252">
                  <c:v>5.8321638481219917</c:v>
                </c:pt>
                <c:pt idx="12253">
                  <c:v>5.9787339113470654</c:v>
                </c:pt>
                <c:pt idx="12254">
                  <c:v>6.0571547129514069</c:v>
                </c:pt>
                <c:pt idx="12255">
                  <c:v>6.0850660221061164</c:v>
                </c:pt>
                <c:pt idx="12256">
                  <c:v>5.7494972888722629</c:v>
                </c:pt>
                <c:pt idx="12257">
                  <c:v>5.0051082241391089</c:v>
                </c:pt>
                <c:pt idx="12258">
                  <c:v>6.9878823571347368</c:v>
                </c:pt>
                <c:pt idx="12259">
                  <c:v>5.975148670319725</c:v>
                </c:pt>
                <c:pt idx="12260">
                  <c:v>6.9835031546415749</c:v>
                </c:pt>
                <c:pt idx="12261">
                  <c:v>6.1097537775329229</c:v>
                </c:pt>
                <c:pt idx="12262">
                  <c:v>3.0978333897477532</c:v>
                </c:pt>
                <c:pt idx="12263">
                  <c:v>6.0493386463201162</c:v>
                </c:pt>
                <c:pt idx="12264">
                  <c:v>5.7684594748408919</c:v>
                </c:pt>
                <c:pt idx="12265">
                  <c:v>4.8620110512472507</c:v>
                </c:pt>
                <c:pt idx="12266">
                  <c:v>6.1171974212552689</c:v>
                </c:pt>
                <c:pt idx="12267">
                  <c:v>5.958866779336863</c:v>
                </c:pt>
                <c:pt idx="12268">
                  <c:v>4.8732561734563102</c:v>
                </c:pt>
                <c:pt idx="12269">
                  <c:v>5.0612767937649661</c:v>
                </c:pt>
                <c:pt idx="12270">
                  <c:v>5.9998241432845481</c:v>
                </c:pt>
                <c:pt idx="12271">
                  <c:v>4.8625736123723309</c:v>
                </c:pt>
                <c:pt idx="12272">
                  <c:v>6.020248583097537</c:v>
                </c:pt>
                <c:pt idx="12273">
                  <c:v>5.1194927266030756</c:v>
                </c:pt>
                <c:pt idx="12274">
                  <c:v>6.219820283232778</c:v>
                </c:pt>
                <c:pt idx="12275">
                  <c:v>5.0962522731779023</c:v>
                </c:pt>
                <c:pt idx="12276">
                  <c:v>4.8870757107827867</c:v>
                </c:pt>
                <c:pt idx="12277">
                  <c:v>6.0922160434778014</c:v>
                </c:pt>
                <c:pt idx="12278">
                  <c:v>5.0228766643857705</c:v>
                </c:pt>
                <c:pt idx="12279">
                  <c:v>5.9596683633989542</c:v>
                </c:pt>
                <c:pt idx="12280">
                  <c:v>5.9391291095543375</c:v>
                </c:pt>
                <c:pt idx="12281">
                  <c:v>5.0634108391916612</c:v>
                </c:pt>
                <c:pt idx="12282">
                  <c:v>7.1116165130467053</c:v>
                </c:pt>
                <c:pt idx="12283">
                  <c:v>5.0018967508273144</c:v>
                </c:pt>
                <c:pt idx="12284">
                  <c:v>5.9711941704912741</c:v>
                </c:pt>
                <c:pt idx="12285">
                  <c:v>5.0275657494490078</c:v>
                </c:pt>
                <c:pt idx="12286">
                  <c:v>6.1757670756444565</c:v>
                </c:pt>
                <c:pt idx="12287">
                  <c:v>6.0466869087593986</c:v>
                </c:pt>
                <c:pt idx="12288">
                  <c:v>6.090300167919815</c:v>
                </c:pt>
                <c:pt idx="12289">
                  <c:v>4.9686644158087194</c:v>
                </c:pt>
                <c:pt idx="12290">
                  <c:v>5.8893347966009637</c:v>
                </c:pt>
                <c:pt idx="12291">
                  <c:v>5.9936170845282124</c:v>
                </c:pt>
                <c:pt idx="12292">
                  <c:v>6.9091013117841031</c:v>
                </c:pt>
                <c:pt idx="12293">
                  <c:v>6.7417075635927315</c:v>
                </c:pt>
                <c:pt idx="12294">
                  <c:v>6.0174852280666347</c:v>
                </c:pt>
                <c:pt idx="12295">
                  <c:v>7.1062044201979795</c:v>
                </c:pt>
                <c:pt idx="12296">
                  <c:v>5.9933992272838559</c:v>
                </c:pt>
                <c:pt idx="12297">
                  <c:v>4.777302052541021</c:v>
                </c:pt>
                <c:pt idx="12298">
                  <c:v>5.8681049069772966</c:v>
                </c:pt>
                <c:pt idx="12299">
                  <c:v>5.9673711290265965</c:v>
                </c:pt>
                <c:pt idx="12300">
                  <c:v>5.897958969271536</c:v>
                </c:pt>
                <c:pt idx="12301">
                  <c:v>5.0828388867958854</c:v>
                </c:pt>
                <c:pt idx="12302">
                  <c:v>5.9071168700511167</c:v>
                </c:pt>
                <c:pt idx="12303">
                  <c:v>6.9200953484680845</c:v>
                </c:pt>
                <c:pt idx="12304">
                  <c:v>6.9751928856479282</c:v>
                </c:pt>
                <c:pt idx="12305">
                  <c:v>4.9922789810519621</c:v>
                </c:pt>
                <c:pt idx="12306">
                  <c:v>4.9559688136118787</c:v>
                </c:pt>
                <c:pt idx="12307">
                  <c:v>7.1414785011041788</c:v>
                </c:pt>
                <c:pt idx="12308">
                  <c:v>3.8186399037625778</c:v>
                </c:pt>
                <c:pt idx="12309">
                  <c:v>6.2083630930905498</c:v>
                </c:pt>
                <c:pt idx="12310">
                  <c:v>7.0192547137384711</c:v>
                </c:pt>
                <c:pt idx="12311">
                  <c:v>6.9891707276067487</c:v>
                </c:pt>
                <c:pt idx="12312">
                  <c:v>5.8570218525886162</c:v>
                </c:pt>
                <c:pt idx="12313">
                  <c:v>5.0634564150630457</c:v>
                </c:pt>
                <c:pt idx="12314">
                  <c:v>5.8789527817448972</c:v>
                </c:pt>
                <c:pt idx="12315">
                  <c:v>5.9339788885420468</c:v>
                </c:pt>
                <c:pt idx="12316">
                  <c:v>5.0393853381827913</c:v>
                </c:pt>
                <c:pt idx="12317">
                  <c:v>5.9592633245556073</c:v>
                </c:pt>
                <c:pt idx="12318">
                  <c:v>5.1202836796287245</c:v>
                </c:pt>
                <c:pt idx="12319">
                  <c:v>6.0479919437258411</c:v>
                </c:pt>
                <c:pt idx="12320">
                  <c:v>5.0075060588772544</c:v>
                </c:pt>
                <c:pt idx="12321">
                  <c:v>5.1848955912170576</c:v>
                </c:pt>
                <c:pt idx="12322">
                  <c:v>5.0642954412111845</c:v>
                </c:pt>
                <c:pt idx="12323">
                  <c:v>6.8987887664402834</c:v>
                </c:pt>
                <c:pt idx="12324">
                  <c:v>4.9116047575540396</c:v>
                </c:pt>
                <c:pt idx="12325">
                  <c:v>5.002423110305287</c:v>
                </c:pt>
                <c:pt idx="12326">
                  <c:v>5.1399859180145739</c:v>
                </c:pt>
                <c:pt idx="12327">
                  <c:v>5.0858363155121165</c:v>
                </c:pt>
                <c:pt idx="12328">
                  <c:v>6.0135189843913812</c:v>
                </c:pt>
                <c:pt idx="12329">
                  <c:v>4.9959232005116485</c:v>
                </c:pt>
                <c:pt idx="12330">
                  <c:v>5.9280280264670973</c:v>
                </c:pt>
                <c:pt idx="12331">
                  <c:v>4.8683197736206862</c:v>
                </c:pt>
                <c:pt idx="12332">
                  <c:v>5.0242818941648153</c:v>
                </c:pt>
                <c:pt idx="12333">
                  <c:v>5.0033055123421146</c:v>
                </c:pt>
                <c:pt idx="12334">
                  <c:v>6.0268423260209758</c:v>
                </c:pt>
                <c:pt idx="12335">
                  <c:v>5.0280330247633929</c:v>
                </c:pt>
                <c:pt idx="12336">
                  <c:v>5.3183378979566474</c:v>
                </c:pt>
                <c:pt idx="12337">
                  <c:v>4.9082061476020336</c:v>
                </c:pt>
                <c:pt idx="12338">
                  <c:v>4.851402618837759</c:v>
                </c:pt>
                <c:pt idx="12339">
                  <c:v>5.8912917542920376</c:v>
                </c:pt>
                <c:pt idx="12340">
                  <c:v>4.9523704473599066</c:v>
                </c:pt>
                <c:pt idx="12341">
                  <c:v>6.0170897304388857</c:v>
                </c:pt>
                <c:pt idx="12342">
                  <c:v>4.804206151904963</c:v>
                </c:pt>
                <c:pt idx="12343">
                  <c:v>6.0129499545422478</c:v>
                </c:pt>
                <c:pt idx="12344">
                  <c:v>4.9883721754583448</c:v>
                </c:pt>
                <c:pt idx="12345">
                  <c:v>7.0996820051636913</c:v>
                </c:pt>
                <c:pt idx="12346">
                  <c:v>5.9746314472981119</c:v>
                </c:pt>
                <c:pt idx="12347">
                  <c:v>5.0017324470976279</c:v>
                </c:pt>
                <c:pt idx="12348">
                  <c:v>4.1981168016853925</c:v>
                </c:pt>
                <c:pt idx="12349">
                  <c:v>6.124653731773587</c:v>
                </c:pt>
                <c:pt idx="12350">
                  <c:v>6.0140874550958934</c:v>
                </c:pt>
                <c:pt idx="12351">
                  <c:v>5.0166976553968752</c:v>
                </c:pt>
                <c:pt idx="12352">
                  <c:v>6.0975407928351375</c:v>
                </c:pt>
                <c:pt idx="12353">
                  <c:v>5.879272019711931</c:v>
                </c:pt>
                <c:pt idx="12354">
                  <c:v>6.2479484844326443</c:v>
                </c:pt>
                <c:pt idx="12355">
                  <c:v>6.0033623575380215</c:v>
                </c:pt>
                <c:pt idx="12356">
                  <c:v>6.0974092693720481</c:v>
                </c:pt>
                <c:pt idx="12357">
                  <c:v>6.0327838525557373</c:v>
                </c:pt>
                <c:pt idx="12358">
                  <c:v>6.0225066501306985</c:v>
                </c:pt>
                <c:pt idx="12359">
                  <c:v>5.1058538524096271</c:v>
                </c:pt>
                <c:pt idx="12360">
                  <c:v>4.9208119564868031</c:v>
                </c:pt>
                <c:pt idx="12361">
                  <c:v>5.1981074837677141</c:v>
                </c:pt>
                <c:pt idx="12362">
                  <c:v>5.0199067993409399</c:v>
                </c:pt>
                <c:pt idx="12363">
                  <c:v>5.0778023718654683</c:v>
                </c:pt>
                <c:pt idx="12364">
                  <c:v>6.0024932440738095</c:v>
                </c:pt>
                <c:pt idx="12365">
                  <c:v>5.0180238004589466</c:v>
                </c:pt>
                <c:pt idx="12366">
                  <c:v>6.0431528106325212</c:v>
                </c:pt>
                <c:pt idx="12367">
                  <c:v>6.0272941587928335</c:v>
                </c:pt>
                <c:pt idx="12368">
                  <c:v>5.8850185161792385</c:v>
                </c:pt>
                <c:pt idx="12369">
                  <c:v>5.9963141522678978</c:v>
                </c:pt>
                <c:pt idx="12370">
                  <c:v>6.0386362091673176</c:v>
                </c:pt>
                <c:pt idx="12371">
                  <c:v>5.9051101448748344</c:v>
                </c:pt>
                <c:pt idx="12372">
                  <c:v>5.1526174079907516</c:v>
                </c:pt>
                <c:pt idx="12373">
                  <c:v>6.1465264522958822</c:v>
                </c:pt>
                <c:pt idx="12374">
                  <c:v>5.9603325241000116</c:v>
                </c:pt>
                <c:pt idx="12375">
                  <c:v>4.9957224428232783</c:v>
                </c:pt>
                <c:pt idx="12376">
                  <c:v>5.8482790120143004</c:v>
                </c:pt>
                <c:pt idx="12377">
                  <c:v>4.9385480652099689</c:v>
                </c:pt>
                <c:pt idx="12378">
                  <c:v>5.9763986325793859</c:v>
                </c:pt>
                <c:pt idx="12379">
                  <c:v>6.0520601196750654</c:v>
                </c:pt>
                <c:pt idx="12380">
                  <c:v>7.1069613757301626</c:v>
                </c:pt>
                <c:pt idx="12381">
                  <c:v>5.0068926707346142</c:v>
                </c:pt>
                <c:pt idx="12382">
                  <c:v>6.0263142831136882</c:v>
                </c:pt>
                <c:pt idx="12383">
                  <c:v>5.984989434329461</c:v>
                </c:pt>
                <c:pt idx="12384">
                  <c:v>6.0236589831550624</c:v>
                </c:pt>
                <c:pt idx="12385">
                  <c:v>6.0655918780057654</c:v>
                </c:pt>
                <c:pt idx="12386">
                  <c:v>6.9578662324070537</c:v>
                </c:pt>
                <c:pt idx="12387">
                  <c:v>5.9981034745063795</c:v>
                </c:pt>
                <c:pt idx="12388">
                  <c:v>6.9445883179823813</c:v>
                </c:pt>
                <c:pt idx="12389">
                  <c:v>5.8698540800718861</c:v>
                </c:pt>
                <c:pt idx="12390">
                  <c:v>6.1359989570357962</c:v>
                </c:pt>
                <c:pt idx="12391">
                  <c:v>5.9567679891124659</c:v>
                </c:pt>
                <c:pt idx="12392">
                  <c:v>4.8334318355260599</c:v>
                </c:pt>
                <c:pt idx="12393">
                  <c:v>6.8444216249541112</c:v>
                </c:pt>
                <c:pt idx="12394">
                  <c:v>6.018963244347054</c:v>
                </c:pt>
                <c:pt idx="12395">
                  <c:v>6.0380304480649389</c:v>
                </c:pt>
                <c:pt idx="12396">
                  <c:v>6.9213604863486333</c:v>
                </c:pt>
                <c:pt idx="12397">
                  <c:v>5.9584260901135968</c:v>
                </c:pt>
                <c:pt idx="12398">
                  <c:v>6.0111142396596948</c:v>
                </c:pt>
                <c:pt idx="12399">
                  <c:v>4.8435305267248392</c:v>
                </c:pt>
                <c:pt idx="12400">
                  <c:v>5.9883404000983287</c:v>
                </c:pt>
                <c:pt idx="12401">
                  <c:v>5.8247419149032584</c:v>
                </c:pt>
                <c:pt idx="12402">
                  <c:v>5.9082399799507304</c:v>
                </c:pt>
                <c:pt idx="12403">
                  <c:v>5.9660905013998855</c:v>
                </c:pt>
                <c:pt idx="12404">
                  <c:v>7.032496402379194</c:v>
                </c:pt>
                <c:pt idx="12405">
                  <c:v>5.9735864064307949</c:v>
                </c:pt>
                <c:pt idx="12406">
                  <c:v>6.9715724023164336</c:v>
                </c:pt>
                <c:pt idx="12407">
                  <c:v>6.0764756371132718</c:v>
                </c:pt>
                <c:pt idx="12408">
                  <c:v>6.0215945279159522</c:v>
                </c:pt>
                <c:pt idx="12409">
                  <c:v>4.9493748356535701</c:v>
                </c:pt>
                <c:pt idx="12410">
                  <c:v>5.8941440970709902</c:v>
                </c:pt>
                <c:pt idx="12411">
                  <c:v>6.1437097792289865</c:v>
                </c:pt>
                <c:pt idx="12412">
                  <c:v>6.1426867924105819</c:v>
                </c:pt>
                <c:pt idx="12413">
                  <c:v>6.0168249700843175</c:v>
                </c:pt>
                <c:pt idx="12414">
                  <c:v>6.0629232743246844</c:v>
                </c:pt>
                <c:pt idx="12415">
                  <c:v>6.0535033744676321</c:v>
                </c:pt>
                <c:pt idx="12416">
                  <c:v>6.0580487112256129</c:v>
                </c:pt>
                <c:pt idx="12417">
                  <c:v>5.7662145259117024</c:v>
                </c:pt>
                <c:pt idx="12418">
                  <c:v>6.131084846700622</c:v>
                </c:pt>
                <c:pt idx="12419">
                  <c:v>5.8711834840976111</c:v>
                </c:pt>
                <c:pt idx="12420">
                  <c:v>7.0677205881458347</c:v>
                </c:pt>
                <c:pt idx="12421">
                  <c:v>6.0259738804093725</c:v>
                </c:pt>
                <c:pt idx="12422">
                  <c:v>5.9094912257137695</c:v>
                </c:pt>
                <c:pt idx="12423">
                  <c:v>5.8567226232068794</c:v>
                </c:pt>
                <c:pt idx="12424">
                  <c:v>6.1275615223941138</c:v>
                </c:pt>
                <c:pt idx="12425">
                  <c:v>5.9700291983964489</c:v>
                </c:pt>
                <c:pt idx="12426">
                  <c:v>5.8757550733487349</c:v>
                </c:pt>
                <c:pt idx="12427">
                  <c:v>6.0238955785364254</c:v>
                </c:pt>
                <c:pt idx="12428">
                  <c:v>6.8593787374901227</c:v>
                </c:pt>
                <c:pt idx="12429">
                  <c:v>6.0022244570501631</c:v>
                </c:pt>
                <c:pt idx="12430">
                  <c:v>7.1869129293068728</c:v>
                </c:pt>
                <c:pt idx="12431">
                  <c:v>5.8958324824606558</c:v>
                </c:pt>
                <c:pt idx="12432">
                  <c:v>6.0741282445414519</c:v>
                </c:pt>
                <c:pt idx="12433">
                  <c:v>5.825252297726685</c:v>
                </c:pt>
                <c:pt idx="12434">
                  <c:v>5.0855530740869481</c:v>
                </c:pt>
                <c:pt idx="12435">
                  <c:v>3.8269730225027225</c:v>
                </c:pt>
                <c:pt idx="12436">
                  <c:v>6.0678095234678739</c:v>
                </c:pt>
                <c:pt idx="12437">
                  <c:v>4.1756300779893341</c:v>
                </c:pt>
                <c:pt idx="12438">
                  <c:v>5.9112141512277709</c:v>
                </c:pt>
                <c:pt idx="12439">
                  <c:v>6.0948923086311195</c:v>
                </c:pt>
                <c:pt idx="12440">
                  <c:v>5.1256538909121234</c:v>
                </c:pt>
                <c:pt idx="12441">
                  <c:v>6.0810546802003671</c:v>
                </c:pt>
                <c:pt idx="12442">
                  <c:v>4.0795317467708765</c:v>
                </c:pt>
                <c:pt idx="12443">
                  <c:v>6.050066713136248</c:v>
                </c:pt>
                <c:pt idx="12444">
                  <c:v>6.0775429022280676</c:v>
                </c:pt>
                <c:pt idx="12445">
                  <c:v>6.0220228506930287</c:v>
                </c:pt>
                <c:pt idx="12446">
                  <c:v>6.1116734405239468</c:v>
                </c:pt>
                <c:pt idx="12447">
                  <c:v>7.0359037564182092</c:v>
                </c:pt>
                <c:pt idx="12448">
                  <c:v>4.8417474555848914</c:v>
                </c:pt>
                <c:pt idx="12449">
                  <c:v>6.205809831771707</c:v>
                </c:pt>
                <c:pt idx="12450">
                  <c:v>7.0677875264616583</c:v>
                </c:pt>
                <c:pt idx="12451">
                  <c:v>5.9346433587132399</c:v>
                </c:pt>
                <c:pt idx="12452">
                  <c:v>5.018100837800926</c:v>
                </c:pt>
                <c:pt idx="12453">
                  <c:v>6.0757487553870879</c:v>
                </c:pt>
                <c:pt idx="12454">
                  <c:v>6.06170407715544</c:v>
                </c:pt>
                <c:pt idx="12455">
                  <c:v>6.0500880466007665</c:v>
                </c:pt>
                <c:pt idx="12456">
                  <c:v>5.990543945346559</c:v>
                </c:pt>
                <c:pt idx="12457">
                  <c:v>3.8404232916354863</c:v>
                </c:pt>
                <c:pt idx="12458">
                  <c:v>6.9079131313399573</c:v>
                </c:pt>
                <c:pt idx="12459">
                  <c:v>5.9970751259004258</c:v>
                </c:pt>
                <c:pt idx="12460">
                  <c:v>6.9595786925820962</c:v>
                </c:pt>
                <c:pt idx="12461">
                  <c:v>6.1267719536005405</c:v>
                </c:pt>
                <c:pt idx="12462">
                  <c:v>4.8655516512264008</c:v>
                </c:pt>
                <c:pt idx="12463">
                  <c:v>5.9854568875558831</c:v>
                </c:pt>
                <c:pt idx="12464">
                  <c:v>5.9192379401195394</c:v>
                </c:pt>
                <c:pt idx="12465">
                  <c:v>5.9642565371848901</c:v>
                </c:pt>
                <c:pt idx="12466">
                  <c:v>7.2506500577139015</c:v>
                </c:pt>
                <c:pt idx="12467">
                  <c:v>5.981351942958776</c:v>
                </c:pt>
                <c:pt idx="12468">
                  <c:v>5.0143956607034035</c:v>
                </c:pt>
                <c:pt idx="12469">
                  <c:v>6.9843231967671464</c:v>
                </c:pt>
                <c:pt idx="12470">
                  <c:v>5.0503812545813958</c:v>
                </c:pt>
                <c:pt idx="12471">
                  <c:v>4.9370131918513929</c:v>
                </c:pt>
                <c:pt idx="12472">
                  <c:v>5.9315808380246819</c:v>
                </c:pt>
                <c:pt idx="12473">
                  <c:v>5.9450560557607037</c:v>
                </c:pt>
                <c:pt idx="12474">
                  <c:v>6.9842800642512426</c:v>
                </c:pt>
                <c:pt idx="12475">
                  <c:v>6.9620292719386994</c:v>
                </c:pt>
                <c:pt idx="12476">
                  <c:v>6.0870061011120562</c:v>
                </c:pt>
                <c:pt idx="12477">
                  <c:v>4.9536406278191745</c:v>
                </c:pt>
                <c:pt idx="12478">
                  <c:v>5.9772186023648741</c:v>
                </c:pt>
                <c:pt idx="12479">
                  <c:v>6.9315125071804111</c:v>
                </c:pt>
                <c:pt idx="12480">
                  <c:v>6.0847438775694824</c:v>
                </c:pt>
                <c:pt idx="12481">
                  <c:v>5.9726849031352156</c:v>
                </c:pt>
                <c:pt idx="12482">
                  <c:v>7.0942791212587295</c:v>
                </c:pt>
                <c:pt idx="12483">
                  <c:v>6.9301045142268096</c:v>
                </c:pt>
                <c:pt idx="12484">
                  <c:v>4.9603410520520992</c:v>
                </c:pt>
                <c:pt idx="12485">
                  <c:v>5.9159489532764189</c:v>
                </c:pt>
                <c:pt idx="12486">
                  <c:v>7.0573888721046574</c:v>
                </c:pt>
                <c:pt idx="12487">
                  <c:v>5.9069732564007253</c:v>
                </c:pt>
                <c:pt idx="12488">
                  <c:v>4.9909118611068637</c:v>
                </c:pt>
                <c:pt idx="12489">
                  <c:v>4.8657084333300729</c:v>
                </c:pt>
                <c:pt idx="12490">
                  <c:v>7.1383629276669502</c:v>
                </c:pt>
                <c:pt idx="12491">
                  <c:v>5.9700854820467173</c:v>
                </c:pt>
                <c:pt idx="12492">
                  <c:v>5.9333495261469427</c:v>
                </c:pt>
                <c:pt idx="12493">
                  <c:v>6.9836965705761784</c:v>
                </c:pt>
                <c:pt idx="12494">
                  <c:v>6.0201124368195789</c:v>
                </c:pt>
                <c:pt idx="12495">
                  <c:v>7.0187883969785014</c:v>
                </c:pt>
                <c:pt idx="12496">
                  <c:v>6.1348928208380489</c:v>
                </c:pt>
                <c:pt idx="12497">
                  <c:v>5.8162807930870599</c:v>
                </c:pt>
                <c:pt idx="12498">
                  <c:v>7.0977451739077448</c:v>
                </c:pt>
                <c:pt idx="12499">
                  <c:v>6.1112436907175089</c:v>
                </c:pt>
                <c:pt idx="12500">
                  <c:v>7.0341902754338372</c:v>
                </c:pt>
                <c:pt idx="12501">
                  <c:v>7.0717192205019526</c:v>
                </c:pt>
                <c:pt idx="12502">
                  <c:v>6.9888494295636141</c:v>
                </c:pt>
                <c:pt idx="12503">
                  <c:v>5.9488457455572936</c:v>
                </c:pt>
                <c:pt idx="12504">
                  <c:v>6.8926288128118705</c:v>
                </c:pt>
                <c:pt idx="12505">
                  <c:v>6.7914553202174535</c:v>
                </c:pt>
                <c:pt idx="12506">
                  <c:v>6.9291520150946821</c:v>
                </c:pt>
                <c:pt idx="12507">
                  <c:v>5.9970985038957636</c:v>
                </c:pt>
                <c:pt idx="12508">
                  <c:v>6.1049183312270401</c:v>
                </c:pt>
                <c:pt idx="12509">
                  <c:v>3.9263915675200498</c:v>
                </c:pt>
                <c:pt idx="12510">
                  <c:v>6.0337959120350781</c:v>
                </c:pt>
                <c:pt idx="12511">
                  <c:v>6.8895703700418647</c:v>
                </c:pt>
                <c:pt idx="12512">
                  <c:v>7.1621296140667488</c:v>
                </c:pt>
                <c:pt idx="12513">
                  <c:v>6.9996457502806342</c:v>
                </c:pt>
                <c:pt idx="12514">
                  <c:v>3.0533032506038471</c:v>
                </c:pt>
                <c:pt idx="12515">
                  <c:v>6.1417582254162131</c:v>
                </c:pt>
                <c:pt idx="12516">
                  <c:v>7.0449373209042241</c:v>
                </c:pt>
                <c:pt idx="12517">
                  <c:v>6.9521504808440655</c:v>
                </c:pt>
                <c:pt idx="12518">
                  <c:v>5.0183721449420862</c:v>
                </c:pt>
                <c:pt idx="12519">
                  <c:v>6.0781998100523777</c:v>
                </c:pt>
                <c:pt idx="12520">
                  <c:v>5.951734599251929</c:v>
                </c:pt>
                <c:pt idx="12521">
                  <c:v>6.0560543707897958</c:v>
                </c:pt>
                <c:pt idx="12522">
                  <c:v>4.8561330856166993</c:v>
                </c:pt>
                <c:pt idx="12523">
                  <c:v>5.9345603951306929</c:v>
                </c:pt>
                <c:pt idx="12524">
                  <c:v>6.7978689691471468</c:v>
                </c:pt>
                <c:pt idx="12525">
                  <c:v>6.0625436628862897</c:v>
                </c:pt>
                <c:pt idx="12526">
                  <c:v>4.9827217773634604</c:v>
                </c:pt>
                <c:pt idx="12527">
                  <c:v>6.0304847131003747</c:v>
                </c:pt>
                <c:pt idx="12528">
                  <c:v>5.8650973291304567</c:v>
                </c:pt>
                <c:pt idx="12529">
                  <c:v>5.0700090580334694</c:v>
                </c:pt>
                <c:pt idx="12530">
                  <c:v>5.8726949925297216</c:v>
                </c:pt>
                <c:pt idx="12531">
                  <c:v>5.0330976817454465</c:v>
                </c:pt>
                <c:pt idx="12532">
                  <c:v>5.0407771863918605</c:v>
                </c:pt>
                <c:pt idx="12533">
                  <c:v>6.1104729271173044</c:v>
                </c:pt>
                <c:pt idx="12534">
                  <c:v>5.9106466146923822</c:v>
                </c:pt>
                <c:pt idx="12535">
                  <c:v>6.1608241847917808</c:v>
                </c:pt>
                <c:pt idx="12536">
                  <c:v>6.053590674879036</c:v>
                </c:pt>
                <c:pt idx="12537">
                  <c:v>6.9282250794592386</c:v>
                </c:pt>
                <c:pt idx="12538">
                  <c:v>6.0769938977058642</c:v>
                </c:pt>
                <c:pt idx="12539">
                  <c:v>5.8905298693693116</c:v>
                </c:pt>
                <c:pt idx="12540">
                  <c:v>6.0059675197137379</c:v>
                </c:pt>
                <c:pt idx="12541">
                  <c:v>6.0945529847674083</c:v>
                </c:pt>
                <c:pt idx="12542">
                  <c:v>1.9444771351321299</c:v>
                </c:pt>
                <c:pt idx="12543">
                  <c:v>5.8366687187289923</c:v>
                </c:pt>
                <c:pt idx="12544">
                  <c:v>6.3239402387660668</c:v>
                </c:pt>
                <c:pt idx="12545">
                  <c:v>6.9774121344182944</c:v>
                </c:pt>
                <c:pt idx="12546">
                  <c:v>5.0667000266821436</c:v>
                </c:pt>
                <c:pt idx="12547">
                  <c:v>5.9626460912327595</c:v>
                </c:pt>
                <c:pt idx="12548">
                  <c:v>7.1693857186145395</c:v>
                </c:pt>
                <c:pt idx="12549">
                  <c:v>6.0277078134265585</c:v>
                </c:pt>
                <c:pt idx="12550">
                  <c:v>6.0962296961757048</c:v>
                </c:pt>
                <c:pt idx="12551">
                  <c:v>5.8800630745036582</c:v>
                </c:pt>
                <c:pt idx="12552">
                  <c:v>6.1372102193592921</c:v>
                </c:pt>
                <c:pt idx="12553">
                  <c:v>6.8764704747095093</c:v>
                </c:pt>
                <c:pt idx="12554">
                  <c:v>2.1861048549222044</c:v>
                </c:pt>
                <c:pt idx="12555">
                  <c:v>5.9952060671323588</c:v>
                </c:pt>
                <c:pt idx="12556">
                  <c:v>6.0193470672033076</c:v>
                </c:pt>
                <c:pt idx="12557">
                  <c:v>4.9791072779773966</c:v>
                </c:pt>
                <c:pt idx="12558">
                  <c:v>5.9737174766364207</c:v>
                </c:pt>
                <c:pt idx="12559">
                  <c:v>6.1195493719708294</c:v>
                </c:pt>
                <c:pt idx="12560">
                  <c:v>5.8956641511202061</c:v>
                </c:pt>
                <c:pt idx="12561">
                  <c:v>5.8325529377932384</c:v>
                </c:pt>
                <c:pt idx="12562">
                  <c:v>6.0621872556309091</c:v>
                </c:pt>
                <c:pt idx="12563">
                  <c:v>5.8561129542094719</c:v>
                </c:pt>
                <c:pt idx="12564">
                  <c:v>6.2943603292040136</c:v>
                </c:pt>
                <c:pt idx="12565">
                  <c:v>6.0034051585482171</c:v>
                </c:pt>
                <c:pt idx="12566">
                  <c:v>6.1559974934685027</c:v>
                </c:pt>
                <c:pt idx="12567">
                  <c:v>5.8672310118208362</c:v>
                </c:pt>
                <c:pt idx="12568">
                  <c:v>5.9401591770838706</c:v>
                </c:pt>
                <c:pt idx="12569">
                  <c:v>5.963079742083278</c:v>
                </c:pt>
                <c:pt idx="12570">
                  <c:v>5.0078945950724485</c:v>
                </c:pt>
                <c:pt idx="12571">
                  <c:v>6.0177430336588911</c:v>
                </c:pt>
                <c:pt idx="12572">
                  <c:v>4.880816111180037</c:v>
                </c:pt>
                <c:pt idx="12573">
                  <c:v>6.0248796949304477</c:v>
                </c:pt>
                <c:pt idx="12574">
                  <c:v>5.0280860738682147</c:v>
                </c:pt>
                <c:pt idx="12575">
                  <c:v>6.9729959159643364</c:v>
                </c:pt>
                <c:pt idx="12576">
                  <c:v>5.9896893789371788</c:v>
                </c:pt>
                <c:pt idx="12577">
                  <c:v>6.0906777505212988</c:v>
                </c:pt>
                <c:pt idx="12578">
                  <c:v>6.7371432976861314</c:v>
                </c:pt>
                <c:pt idx="12579">
                  <c:v>5.9307173656251528</c:v>
                </c:pt>
                <c:pt idx="12580">
                  <c:v>6.1708736857354864</c:v>
                </c:pt>
                <c:pt idx="12581">
                  <c:v>5.886813209769536</c:v>
                </c:pt>
                <c:pt idx="12582">
                  <c:v>5.9363015073802483</c:v>
                </c:pt>
                <c:pt idx="12583">
                  <c:v>6.0676692180464959</c:v>
                </c:pt>
                <c:pt idx="12584">
                  <c:v>5.9195732702292894</c:v>
                </c:pt>
                <c:pt idx="12585">
                  <c:v>5.8612206181971001</c:v>
                </c:pt>
                <c:pt idx="12586">
                  <c:v>5.8386580435757454</c:v>
                </c:pt>
                <c:pt idx="12587">
                  <c:v>6.0149330780596779</c:v>
                </c:pt>
                <c:pt idx="12588">
                  <c:v>6.0162980490043898</c:v>
                </c:pt>
                <c:pt idx="12589">
                  <c:v>6.0559946862119078</c:v>
                </c:pt>
                <c:pt idx="12590">
                  <c:v>5.7993783812223958</c:v>
                </c:pt>
                <c:pt idx="12591">
                  <c:v>6.9525935120704085</c:v>
                </c:pt>
                <c:pt idx="12592">
                  <c:v>4.0752358930515822</c:v>
                </c:pt>
                <c:pt idx="12593">
                  <c:v>5.8467269325469031</c:v>
                </c:pt>
                <c:pt idx="12594">
                  <c:v>5.9021736357879888</c:v>
                </c:pt>
                <c:pt idx="12595">
                  <c:v>6.0787814333319101</c:v>
                </c:pt>
                <c:pt idx="12596">
                  <c:v>6.1103340432458522</c:v>
                </c:pt>
                <c:pt idx="12597">
                  <c:v>6.1158979986223452</c:v>
                </c:pt>
                <c:pt idx="12598">
                  <c:v>5.9546514695331938</c:v>
                </c:pt>
                <c:pt idx="12599">
                  <c:v>5.9387889620214356</c:v>
                </c:pt>
                <c:pt idx="12600">
                  <c:v>5.8591793943855697</c:v>
                </c:pt>
                <c:pt idx="12601">
                  <c:v>5.9755095795865341</c:v>
                </c:pt>
                <c:pt idx="12602">
                  <c:v>5.8776707030901427</c:v>
                </c:pt>
                <c:pt idx="12603">
                  <c:v>6.139659592453194</c:v>
                </c:pt>
                <c:pt idx="12604">
                  <c:v>6.9618562786093001</c:v>
                </c:pt>
                <c:pt idx="12605">
                  <c:v>5.9980262127018298</c:v>
                </c:pt>
                <c:pt idx="12606">
                  <c:v>6.0449834867042682</c:v>
                </c:pt>
                <c:pt idx="12607">
                  <c:v>6.9241699756238244</c:v>
                </c:pt>
                <c:pt idx="12608">
                  <c:v>6.0626676041726437</c:v>
                </c:pt>
                <c:pt idx="12609">
                  <c:v>5.8310983186727077</c:v>
                </c:pt>
                <c:pt idx="12610">
                  <c:v>5.8499801302425558</c:v>
                </c:pt>
                <c:pt idx="12611">
                  <c:v>5.8863490289588665</c:v>
                </c:pt>
                <c:pt idx="12612">
                  <c:v>6.1936783741300587</c:v>
                </c:pt>
                <c:pt idx="12613">
                  <c:v>5.9932773660295178</c:v>
                </c:pt>
                <c:pt idx="12614">
                  <c:v>6.0080804099803986</c:v>
                </c:pt>
                <c:pt idx="12615">
                  <c:v>6.0561149795766509</c:v>
                </c:pt>
                <c:pt idx="12616">
                  <c:v>6.1358861914006777</c:v>
                </c:pt>
                <c:pt idx="12617">
                  <c:v>5.8826563055667709</c:v>
                </c:pt>
                <c:pt idx="12618">
                  <c:v>6.0204089434773467</c:v>
                </c:pt>
                <c:pt idx="12619">
                  <c:v>6.1203960890602129</c:v>
                </c:pt>
                <c:pt idx="12620">
                  <c:v>6.6696032514314787</c:v>
                </c:pt>
                <c:pt idx="12621">
                  <c:v>6.0822771785007106</c:v>
                </c:pt>
                <c:pt idx="12622">
                  <c:v>6.1773772275438308</c:v>
                </c:pt>
                <c:pt idx="12623">
                  <c:v>6.7976880761366356</c:v>
                </c:pt>
                <c:pt idx="12624">
                  <c:v>3.0269737410496664</c:v>
                </c:pt>
                <c:pt idx="12625">
                  <c:v>7.0786278353117726</c:v>
                </c:pt>
                <c:pt idx="12626">
                  <c:v>6.1515952184995637</c:v>
                </c:pt>
                <c:pt idx="12627">
                  <c:v>7.0265679740663947</c:v>
                </c:pt>
                <c:pt idx="12628">
                  <c:v>5.997413032325615</c:v>
                </c:pt>
                <c:pt idx="12629">
                  <c:v>5.8477492433427978</c:v>
                </c:pt>
                <c:pt idx="12630">
                  <c:v>6.0285402314796848</c:v>
                </c:pt>
                <c:pt idx="12631">
                  <c:v>5.8869408892892601</c:v>
                </c:pt>
                <c:pt idx="12632">
                  <c:v>6.0192069697734629</c:v>
                </c:pt>
                <c:pt idx="12633">
                  <c:v>6.0950656526248608</c:v>
                </c:pt>
                <c:pt idx="12634">
                  <c:v>5.8895283755333745</c:v>
                </c:pt>
                <c:pt idx="12635">
                  <c:v>6.1067655015510747</c:v>
                </c:pt>
                <c:pt idx="12636">
                  <c:v>6.0438264812721165</c:v>
                </c:pt>
                <c:pt idx="12637">
                  <c:v>6.0919549088735314</c:v>
                </c:pt>
                <c:pt idx="12638">
                  <c:v>6.1128436437886009</c:v>
                </c:pt>
                <c:pt idx="12639">
                  <c:v>6.0371399707814559</c:v>
                </c:pt>
                <c:pt idx="12640">
                  <c:v>6.154492464412364</c:v>
                </c:pt>
                <c:pt idx="12641">
                  <c:v>5.9552051720499311</c:v>
                </c:pt>
                <c:pt idx="12642">
                  <c:v>6.0676362667105428</c:v>
                </c:pt>
                <c:pt idx="12643">
                  <c:v>5.9802761376342213</c:v>
                </c:pt>
                <c:pt idx="12644">
                  <c:v>5.0629710207567724</c:v>
                </c:pt>
                <c:pt idx="12645">
                  <c:v>6.1565268765005046</c:v>
                </c:pt>
                <c:pt idx="12646">
                  <c:v>6.0303720260529543</c:v>
                </c:pt>
                <c:pt idx="12647">
                  <c:v>6.9732326524726664</c:v>
                </c:pt>
                <c:pt idx="12648">
                  <c:v>6.9356138594164145</c:v>
                </c:pt>
                <c:pt idx="12649">
                  <c:v>5.8663647406681454</c:v>
                </c:pt>
                <c:pt idx="12650">
                  <c:v>6.1123683699984701</c:v>
                </c:pt>
                <c:pt idx="12651">
                  <c:v>5.0002850993163523</c:v>
                </c:pt>
                <c:pt idx="12652">
                  <c:v>4.017703542072744</c:v>
                </c:pt>
                <c:pt idx="12653">
                  <c:v>3.9222297218111644</c:v>
                </c:pt>
                <c:pt idx="12654">
                  <c:v>5.897116104167238</c:v>
                </c:pt>
                <c:pt idx="12655">
                  <c:v>7.1644864234994179</c:v>
                </c:pt>
                <c:pt idx="12656">
                  <c:v>5.0736765198485765</c:v>
                </c:pt>
                <c:pt idx="12657">
                  <c:v>6.0452188367573312</c:v>
                </c:pt>
                <c:pt idx="12658">
                  <c:v>6.0642173820719432</c:v>
                </c:pt>
                <c:pt idx="12659">
                  <c:v>5.004812211522875</c:v>
                </c:pt>
                <c:pt idx="12660">
                  <c:v>5.0918384348814021</c:v>
                </c:pt>
                <c:pt idx="12661">
                  <c:v>5.9177658302905156</c:v>
                </c:pt>
                <c:pt idx="12662">
                  <c:v>4.9452411259560112</c:v>
                </c:pt>
                <c:pt idx="12663">
                  <c:v>6.1157249052648259</c:v>
                </c:pt>
                <c:pt idx="12664">
                  <c:v>6.0320558279728518</c:v>
                </c:pt>
                <c:pt idx="12665">
                  <c:v>4.9386415199736415</c:v>
                </c:pt>
                <c:pt idx="12666">
                  <c:v>5.943723422475558</c:v>
                </c:pt>
                <c:pt idx="12667">
                  <c:v>7.0692576016358393</c:v>
                </c:pt>
                <c:pt idx="12668">
                  <c:v>5.9673659061460951</c:v>
                </c:pt>
                <c:pt idx="12669">
                  <c:v>6.9755155566703078</c:v>
                </c:pt>
                <c:pt idx="12670">
                  <c:v>4.872169731235295</c:v>
                </c:pt>
                <c:pt idx="12671">
                  <c:v>4.9348931735159116</c:v>
                </c:pt>
                <c:pt idx="12672">
                  <c:v>5.98026771911948</c:v>
                </c:pt>
                <c:pt idx="12673">
                  <c:v>6.0657782694687015</c:v>
                </c:pt>
                <c:pt idx="12674">
                  <c:v>5.1181897551515405</c:v>
                </c:pt>
                <c:pt idx="12675">
                  <c:v>6.0734669709654598</c:v>
                </c:pt>
                <c:pt idx="12676">
                  <c:v>6.122984246826654</c:v>
                </c:pt>
                <c:pt idx="12677">
                  <c:v>5.9095423077091827</c:v>
                </c:pt>
                <c:pt idx="12678">
                  <c:v>5.8793470802112244</c:v>
                </c:pt>
                <c:pt idx="12679">
                  <c:v>7.0437350373457059</c:v>
                </c:pt>
                <c:pt idx="12680">
                  <c:v>7.0381617188990084</c:v>
                </c:pt>
                <c:pt idx="12681">
                  <c:v>7.0991960712011331</c:v>
                </c:pt>
                <c:pt idx="12682">
                  <c:v>6.9624281280167439</c:v>
                </c:pt>
                <c:pt idx="12683">
                  <c:v>5.9278897500334917</c:v>
                </c:pt>
                <c:pt idx="12684">
                  <c:v>7.0345319739540066</c:v>
                </c:pt>
                <c:pt idx="12685">
                  <c:v>5.8477395404025527</c:v>
                </c:pt>
                <c:pt idx="12686">
                  <c:v>6.045866667913141</c:v>
                </c:pt>
                <c:pt idx="12687">
                  <c:v>6.1226534169492286</c:v>
                </c:pt>
                <c:pt idx="12688">
                  <c:v>6.0669669113346716</c:v>
                </c:pt>
                <c:pt idx="12689">
                  <c:v>6.0147184640897402</c:v>
                </c:pt>
                <c:pt idx="12690">
                  <c:v>5.9301001082011844</c:v>
                </c:pt>
                <c:pt idx="12691">
                  <c:v>4.9953426413430577</c:v>
                </c:pt>
                <c:pt idx="12692">
                  <c:v>6.0414879231445004</c:v>
                </c:pt>
                <c:pt idx="12693">
                  <c:v>5.8123329304592035</c:v>
                </c:pt>
                <c:pt idx="12694">
                  <c:v>5.8971475962533715</c:v>
                </c:pt>
                <c:pt idx="12695">
                  <c:v>6.0662297363024829</c:v>
                </c:pt>
                <c:pt idx="12696">
                  <c:v>6.1654970849832829</c:v>
                </c:pt>
                <c:pt idx="12697">
                  <c:v>5.9447833852030838</c:v>
                </c:pt>
                <c:pt idx="12698">
                  <c:v>5.8826305017787091</c:v>
                </c:pt>
                <c:pt idx="12699">
                  <c:v>6.0269533795047847</c:v>
                </c:pt>
                <c:pt idx="12700">
                  <c:v>5.0018401228886198</c:v>
                </c:pt>
                <c:pt idx="12701">
                  <c:v>5.9782955394904276</c:v>
                </c:pt>
                <c:pt idx="12702">
                  <c:v>7.0073104870721847</c:v>
                </c:pt>
                <c:pt idx="12703">
                  <c:v>5.9278119851193658</c:v>
                </c:pt>
                <c:pt idx="12704">
                  <c:v>5.9665642055665602</c:v>
                </c:pt>
                <c:pt idx="12705">
                  <c:v>4.9075114761661673</c:v>
                </c:pt>
                <c:pt idx="12706">
                  <c:v>5.909836848397406</c:v>
                </c:pt>
                <c:pt idx="12707">
                  <c:v>6.0658854310799306</c:v>
                </c:pt>
                <c:pt idx="12708">
                  <c:v>5.92431434971689</c:v>
                </c:pt>
                <c:pt idx="12709">
                  <c:v>6.9600979619186019</c:v>
                </c:pt>
                <c:pt idx="12710">
                  <c:v>6.0032700582475407</c:v>
                </c:pt>
                <c:pt idx="12711">
                  <c:v>6.0032907406223925</c:v>
                </c:pt>
                <c:pt idx="12712">
                  <c:v>5.981100064189766</c:v>
                </c:pt>
                <c:pt idx="12713">
                  <c:v>6.1168398569443081</c:v>
                </c:pt>
                <c:pt idx="12714">
                  <c:v>6.1409091196987982</c:v>
                </c:pt>
                <c:pt idx="12715">
                  <c:v>5.0956300513233641</c:v>
                </c:pt>
                <c:pt idx="12716">
                  <c:v>5.9069240284394722</c:v>
                </c:pt>
                <c:pt idx="12717">
                  <c:v>5.9178110068597336</c:v>
                </c:pt>
                <c:pt idx="12718">
                  <c:v>6.1184839803740774</c:v>
                </c:pt>
                <c:pt idx="12719">
                  <c:v>4.9602749504803603</c:v>
                </c:pt>
                <c:pt idx="12720">
                  <c:v>6.0513757172422222</c:v>
                </c:pt>
                <c:pt idx="12721">
                  <c:v>7.0095139871802559</c:v>
                </c:pt>
                <c:pt idx="12722">
                  <c:v>6.1212141911846141</c:v>
                </c:pt>
                <c:pt idx="12723">
                  <c:v>6.0434613865304279</c:v>
                </c:pt>
                <c:pt idx="12724">
                  <c:v>6.2425671952820636</c:v>
                </c:pt>
                <c:pt idx="12725">
                  <c:v>5.9933474644265274</c:v>
                </c:pt>
                <c:pt idx="12726">
                  <c:v>6.1564388002791191</c:v>
                </c:pt>
                <c:pt idx="12727">
                  <c:v>5.9765162997110437</c:v>
                </c:pt>
                <c:pt idx="12728">
                  <c:v>5.8855668449705689</c:v>
                </c:pt>
                <c:pt idx="12729">
                  <c:v>4.9642499126818933</c:v>
                </c:pt>
                <c:pt idx="12730">
                  <c:v>5.9558573667155343</c:v>
                </c:pt>
                <c:pt idx="12731">
                  <c:v>4.98092200326158</c:v>
                </c:pt>
                <c:pt idx="12732">
                  <c:v>5.966704583612791</c:v>
                </c:pt>
                <c:pt idx="12733">
                  <c:v>5.9901220799074322</c:v>
                </c:pt>
                <c:pt idx="12734">
                  <c:v>6.8212082305006057</c:v>
                </c:pt>
                <c:pt idx="12735">
                  <c:v>7.0856398215784262</c:v>
                </c:pt>
                <c:pt idx="12736">
                  <c:v>6.0785845575424737</c:v>
                </c:pt>
                <c:pt idx="12737">
                  <c:v>5.9205312248677311</c:v>
                </c:pt>
                <c:pt idx="12738">
                  <c:v>5.9144728955654369</c:v>
                </c:pt>
                <c:pt idx="12739">
                  <c:v>5.1557007073720289</c:v>
                </c:pt>
                <c:pt idx="12740">
                  <c:v>5.9381023629031215</c:v>
                </c:pt>
                <c:pt idx="12741">
                  <c:v>4.950810167906849</c:v>
                </c:pt>
                <c:pt idx="12742">
                  <c:v>5.0714360400085674</c:v>
                </c:pt>
                <c:pt idx="12743">
                  <c:v>7.0220584742693983</c:v>
                </c:pt>
                <c:pt idx="12744">
                  <c:v>6.9980034800454467</c:v>
                </c:pt>
                <c:pt idx="12745">
                  <c:v>6.02117315151611</c:v>
                </c:pt>
                <c:pt idx="12746">
                  <c:v>6.9796919597653488</c:v>
                </c:pt>
                <c:pt idx="12747">
                  <c:v>7.1336064069370462</c:v>
                </c:pt>
                <c:pt idx="12748">
                  <c:v>6.8884272099769541</c:v>
                </c:pt>
                <c:pt idx="12749">
                  <c:v>6.9515230876181731</c:v>
                </c:pt>
                <c:pt idx="12750">
                  <c:v>6.9698944480456761</c:v>
                </c:pt>
                <c:pt idx="12751">
                  <c:v>7.0686429074129187</c:v>
                </c:pt>
                <c:pt idx="12752">
                  <c:v>7.0092899210714075</c:v>
                </c:pt>
                <c:pt idx="12753">
                  <c:v>7.2744873771048759</c:v>
                </c:pt>
                <c:pt idx="12754">
                  <c:v>6.8842889263865077</c:v>
                </c:pt>
                <c:pt idx="12755">
                  <c:v>5.8529685288440945</c:v>
                </c:pt>
                <c:pt idx="12756">
                  <c:v>6.9517086587037884</c:v>
                </c:pt>
                <c:pt idx="12757">
                  <c:v>7.0469805339227705</c:v>
                </c:pt>
                <c:pt idx="12758">
                  <c:v>7.114554895741497</c:v>
                </c:pt>
                <c:pt idx="12759">
                  <c:v>5.8752798840788447</c:v>
                </c:pt>
                <c:pt idx="12760">
                  <c:v>6.0288352178063462</c:v>
                </c:pt>
                <c:pt idx="12761">
                  <c:v>5.9992018317878841</c:v>
                </c:pt>
                <c:pt idx="12762">
                  <c:v>6.0266974342793471</c:v>
                </c:pt>
                <c:pt idx="12763">
                  <c:v>5.9108510877631417</c:v>
                </c:pt>
                <c:pt idx="12764">
                  <c:v>5.9662823117987296</c:v>
                </c:pt>
                <c:pt idx="12765">
                  <c:v>6.0915908222989721</c:v>
                </c:pt>
                <c:pt idx="12766">
                  <c:v>6.9781544671389684</c:v>
                </c:pt>
                <c:pt idx="12767">
                  <c:v>6.1798004408642448</c:v>
                </c:pt>
                <c:pt idx="12768">
                  <c:v>6.0951969260187884</c:v>
                </c:pt>
                <c:pt idx="12769">
                  <c:v>7.1103645483307236</c:v>
                </c:pt>
                <c:pt idx="12770">
                  <c:v>7.0324330885037156</c:v>
                </c:pt>
                <c:pt idx="12771">
                  <c:v>7.0302636432224537</c:v>
                </c:pt>
                <c:pt idx="12772">
                  <c:v>6.0654251960924208</c:v>
                </c:pt>
                <c:pt idx="12773">
                  <c:v>6.0363187141294112</c:v>
                </c:pt>
                <c:pt idx="12774">
                  <c:v>6.1054469097795243</c:v>
                </c:pt>
                <c:pt idx="12775">
                  <c:v>6.031885339559107</c:v>
                </c:pt>
                <c:pt idx="12776">
                  <c:v>5.881049122110805</c:v>
                </c:pt>
                <c:pt idx="12777">
                  <c:v>5.8887265747529591</c:v>
                </c:pt>
                <c:pt idx="12778">
                  <c:v>6.0476084896886757</c:v>
                </c:pt>
                <c:pt idx="12779">
                  <c:v>5.8720614776830313</c:v>
                </c:pt>
                <c:pt idx="12780">
                  <c:v>5.9093272371334447</c:v>
                </c:pt>
                <c:pt idx="12781">
                  <c:v>6.1441252723004611</c:v>
                </c:pt>
                <c:pt idx="12782">
                  <c:v>6.1099758532925206</c:v>
                </c:pt>
                <c:pt idx="12783">
                  <c:v>2.0411116702457424</c:v>
                </c:pt>
                <c:pt idx="12784">
                  <c:v>6.0500886304544634</c:v>
                </c:pt>
                <c:pt idx="12785">
                  <c:v>5.1031398678356998</c:v>
                </c:pt>
                <c:pt idx="12786">
                  <c:v>5.9119358251722085</c:v>
                </c:pt>
                <c:pt idx="12787">
                  <c:v>6.1012497036310167</c:v>
                </c:pt>
                <c:pt idx="12788">
                  <c:v>6.146766909442662</c:v>
                </c:pt>
                <c:pt idx="12789">
                  <c:v>6.0630490178036327</c:v>
                </c:pt>
                <c:pt idx="12790">
                  <c:v>4.8321730625174446</c:v>
                </c:pt>
                <c:pt idx="12791">
                  <c:v>5.9218735974627235</c:v>
                </c:pt>
                <c:pt idx="12792">
                  <c:v>6.035662566220509</c:v>
                </c:pt>
                <c:pt idx="12793">
                  <c:v>6.0701931659291288</c:v>
                </c:pt>
                <c:pt idx="12794">
                  <c:v>3.848765604355096</c:v>
                </c:pt>
                <c:pt idx="12795">
                  <c:v>5.9207605191169348</c:v>
                </c:pt>
                <c:pt idx="12796">
                  <c:v>6.0903474920863312</c:v>
                </c:pt>
                <c:pt idx="12797">
                  <c:v>6.1782833384995621</c:v>
                </c:pt>
                <c:pt idx="12798">
                  <c:v>5.0775831112698349</c:v>
                </c:pt>
                <c:pt idx="12799">
                  <c:v>5.9886771101556491</c:v>
                </c:pt>
                <c:pt idx="12800">
                  <c:v>5.916032756320317</c:v>
                </c:pt>
                <c:pt idx="12801">
                  <c:v>5.8196259924563334</c:v>
                </c:pt>
                <c:pt idx="12802">
                  <c:v>4.7336306456651451</c:v>
                </c:pt>
                <c:pt idx="12803">
                  <c:v>5.0150009191970115</c:v>
                </c:pt>
                <c:pt idx="12804">
                  <c:v>6.0037259452576155</c:v>
                </c:pt>
                <c:pt idx="12805">
                  <c:v>6.0717146864960831</c:v>
                </c:pt>
                <c:pt idx="12806">
                  <c:v>6.0640871174890272</c:v>
                </c:pt>
                <c:pt idx="12807">
                  <c:v>5.9009567681430317</c:v>
                </c:pt>
                <c:pt idx="12808">
                  <c:v>6.113474328964176</c:v>
                </c:pt>
                <c:pt idx="12809">
                  <c:v>6.059356482717166</c:v>
                </c:pt>
                <c:pt idx="12810">
                  <c:v>4.9597903788854865</c:v>
                </c:pt>
                <c:pt idx="12811">
                  <c:v>7.0542394100695045</c:v>
                </c:pt>
                <c:pt idx="12812">
                  <c:v>6.9756497565842999</c:v>
                </c:pt>
                <c:pt idx="12813">
                  <c:v>5.8943201843005522</c:v>
                </c:pt>
                <c:pt idx="12814">
                  <c:v>6.1130375196960536</c:v>
                </c:pt>
                <c:pt idx="12815">
                  <c:v>5.8301192130626962</c:v>
                </c:pt>
                <c:pt idx="12816">
                  <c:v>5.9299282410733625</c:v>
                </c:pt>
                <c:pt idx="12817">
                  <c:v>5.9794995681696186</c:v>
                </c:pt>
                <c:pt idx="12818">
                  <c:v>4.9672367098364951</c:v>
                </c:pt>
                <c:pt idx="12819">
                  <c:v>4.8402973953555462</c:v>
                </c:pt>
                <c:pt idx="12820">
                  <c:v>6.9010292665158914</c:v>
                </c:pt>
                <c:pt idx="12821">
                  <c:v>7.187252563607017</c:v>
                </c:pt>
                <c:pt idx="12822">
                  <c:v>5.1838625322080354</c:v>
                </c:pt>
                <c:pt idx="12823">
                  <c:v>6.0296363449029027</c:v>
                </c:pt>
                <c:pt idx="12824">
                  <c:v>5.8895804175791104</c:v>
                </c:pt>
                <c:pt idx="12825">
                  <c:v>5.0055953629993528</c:v>
                </c:pt>
                <c:pt idx="12826">
                  <c:v>5.8522117981517594</c:v>
                </c:pt>
                <c:pt idx="12827">
                  <c:v>5.9213297481881702</c:v>
                </c:pt>
                <c:pt idx="12828">
                  <c:v>6.0800845024673125</c:v>
                </c:pt>
                <c:pt idx="12829">
                  <c:v>6.1530754789016111</c:v>
                </c:pt>
                <c:pt idx="12830">
                  <c:v>5.046865502258763</c:v>
                </c:pt>
                <c:pt idx="12831">
                  <c:v>4.8927468318458276</c:v>
                </c:pt>
                <c:pt idx="12832">
                  <c:v>5.8841455651724832</c:v>
                </c:pt>
                <c:pt idx="12833">
                  <c:v>5.9683086855502818</c:v>
                </c:pt>
                <c:pt idx="12834">
                  <c:v>4.9225428274064198</c:v>
                </c:pt>
                <c:pt idx="12835">
                  <c:v>6.9230837221116914</c:v>
                </c:pt>
                <c:pt idx="12836">
                  <c:v>6.9118515492166424</c:v>
                </c:pt>
                <c:pt idx="12837">
                  <c:v>5.011453051649486</c:v>
                </c:pt>
                <c:pt idx="12838">
                  <c:v>7.1143028644922497</c:v>
                </c:pt>
                <c:pt idx="12839">
                  <c:v>6.9710229135618507</c:v>
                </c:pt>
                <c:pt idx="12840">
                  <c:v>4.9145861357720184</c:v>
                </c:pt>
                <c:pt idx="12841">
                  <c:v>6.9803493692950926</c:v>
                </c:pt>
                <c:pt idx="12842">
                  <c:v>6.01408302337442</c:v>
                </c:pt>
                <c:pt idx="12843">
                  <c:v>6.1322008216394108</c:v>
                </c:pt>
                <c:pt idx="12844">
                  <c:v>5.0164811130104665</c:v>
                </c:pt>
                <c:pt idx="12845">
                  <c:v>7.0918289421444243</c:v>
                </c:pt>
                <c:pt idx="12846">
                  <c:v>4.9251359714067542</c:v>
                </c:pt>
                <c:pt idx="12847">
                  <c:v>5.9532978929206184</c:v>
                </c:pt>
                <c:pt idx="12848">
                  <c:v>5.9414113048041859</c:v>
                </c:pt>
                <c:pt idx="12849">
                  <c:v>5.9484167694495724</c:v>
                </c:pt>
                <c:pt idx="12850">
                  <c:v>5.8812269870491312</c:v>
                </c:pt>
                <c:pt idx="12851">
                  <c:v>5.8974517102901443</c:v>
                </c:pt>
                <c:pt idx="12852">
                  <c:v>5.9542420186868519</c:v>
                </c:pt>
                <c:pt idx="12853">
                  <c:v>6.0903906432201191</c:v>
                </c:pt>
                <c:pt idx="12854">
                  <c:v>4.0399411286139335</c:v>
                </c:pt>
                <c:pt idx="12855">
                  <c:v>2.9281401492276387</c:v>
                </c:pt>
                <c:pt idx="12856">
                  <c:v>5.8592813485686577</c:v>
                </c:pt>
                <c:pt idx="12857">
                  <c:v>5.9005240259403093</c:v>
                </c:pt>
                <c:pt idx="12858">
                  <c:v>5.0703922372214425</c:v>
                </c:pt>
                <c:pt idx="12859">
                  <c:v>5.9943096239866165</c:v>
                </c:pt>
                <c:pt idx="12860">
                  <c:v>4.848654815405018</c:v>
                </c:pt>
                <c:pt idx="12861">
                  <c:v>6.0361903690146894</c:v>
                </c:pt>
                <c:pt idx="12862">
                  <c:v>5.0569591387576889</c:v>
                </c:pt>
                <c:pt idx="12863">
                  <c:v>4.9498250788375149</c:v>
                </c:pt>
                <c:pt idx="12864">
                  <c:v>4.9537318561505641</c:v>
                </c:pt>
                <c:pt idx="12865">
                  <c:v>5.0885224554238899</c:v>
                </c:pt>
                <c:pt idx="12866">
                  <c:v>5.0121411079236875</c:v>
                </c:pt>
                <c:pt idx="12867">
                  <c:v>6.0287986045493147</c:v>
                </c:pt>
                <c:pt idx="12868">
                  <c:v>7.0615967741493613</c:v>
                </c:pt>
                <c:pt idx="12869">
                  <c:v>4.9523468243485915</c:v>
                </c:pt>
                <c:pt idx="12870">
                  <c:v>6.202174912958017</c:v>
                </c:pt>
                <c:pt idx="12871">
                  <c:v>5.9388729886422551</c:v>
                </c:pt>
                <c:pt idx="12872">
                  <c:v>5.8772094684034402</c:v>
                </c:pt>
                <c:pt idx="12873">
                  <c:v>5.0070822397337116</c:v>
                </c:pt>
                <c:pt idx="12874">
                  <c:v>5.0220208344001946</c:v>
                </c:pt>
                <c:pt idx="12875">
                  <c:v>5.0255280873532362</c:v>
                </c:pt>
                <c:pt idx="12876">
                  <c:v>5.9230622201616203</c:v>
                </c:pt>
                <c:pt idx="12877">
                  <c:v>5.0140521183150932</c:v>
                </c:pt>
                <c:pt idx="12878">
                  <c:v>5.9078344069212783</c:v>
                </c:pt>
                <c:pt idx="12879">
                  <c:v>5.869655159500315</c:v>
                </c:pt>
                <c:pt idx="12880">
                  <c:v>6.117287688056753</c:v>
                </c:pt>
                <c:pt idx="12881">
                  <c:v>9.0449240105679909</c:v>
                </c:pt>
                <c:pt idx="12882">
                  <c:v>6.0431729281061033</c:v>
                </c:pt>
                <c:pt idx="12883">
                  <c:v>3.9935901267655614</c:v>
                </c:pt>
                <c:pt idx="12884">
                  <c:v>5.7882856494349086</c:v>
                </c:pt>
                <c:pt idx="12885">
                  <c:v>7.1275211836454071</c:v>
                </c:pt>
                <c:pt idx="12886">
                  <c:v>7.0455750898627967</c:v>
                </c:pt>
                <c:pt idx="12887">
                  <c:v>5.9125098944978145</c:v>
                </c:pt>
                <c:pt idx="12888">
                  <c:v>5.8327997293939102</c:v>
                </c:pt>
                <c:pt idx="12889">
                  <c:v>4.8362247594034518</c:v>
                </c:pt>
                <c:pt idx="12890">
                  <c:v>7.0482565947881657</c:v>
                </c:pt>
                <c:pt idx="12891">
                  <c:v>6.0185297245985732</c:v>
                </c:pt>
                <c:pt idx="12892">
                  <c:v>4.9697718256937815</c:v>
                </c:pt>
                <c:pt idx="12893">
                  <c:v>5.924633671233682</c:v>
                </c:pt>
                <c:pt idx="12894">
                  <c:v>4.9982759934781011</c:v>
                </c:pt>
                <c:pt idx="12895">
                  <c:v>6.8496627549674853</c:v>
                </c:pt>
                <c:pt idx="12896">
                  <c:v>6.020840344412818</c:v>
                </c:pt>
                <c:pt idx="12897">
                  <c:v>6.0048891489217668</c:v>
                </c:pt>
                <c:pt idx="12898">
                  <c:v>5.8656442944021183</c:v>
                </c:pt>
                <c:pt idx="12899">
                  <c:v>6.169584686257358</c:v>
                </c:pt>
                <c:pt idx="12900">
                  <c:v>6.9834741262756133</c:v>
                </c:pt>
                <c:pt idx="12901">
                  <c:v>5.8570814867493066</c:v>
                </c:pt>
                <c:pt idx="12902">
                  <c:v>7.1567651859778261</c:v>
                </c:pt>
                <c:pt idx="12903">
                  <c:v>5.8355165490004328</c:v>
                </c:pt>
                <c:pt idx="12904">
                  <c:v>5.0584735644717336</c:v>
                </c:pt>
                <c:pt idx="12905">
                  <c:v>5.9972088128806931</c:v>
                </c:pt>
                <c:pt idx="12906">
                  <c:v>5.9737813719367576</c:v>
                </c:pt>
                <c:pt idx="12907">
                  <c:v>6.07639760007046</c:v>
                </c:pt>
                <c:pt idx="12908">
                  <c:v>6.024970998391491</c:v>
                </c:pt>
                <c:pt idx="12909">
                  <c:v>6.0519281752899268</c:v>
                </c:pt>
                <c:pt idx="12910">
                  <c:v>9.1281917455379293</c:v>
                </c:pt>
                <c:pt idx="12911">
                  <c:v>5.9099024977769039</c:v>
                </c:pt>
                <c:pt idx="12912">
                  <c:v>5.9806966056732351</c:v>
                </c:pt>
                <c:pt idx="12913">
                  <c:v>6.953299529223214</c:v>
                </c:pt>
                <c:pt idx="12914">
                  <c:v>4.9014291046749792</c:v>
                </c:pt>
                <c:pt idx="12915">
                  <c:v>6.9193499529556002</c:v>
                </c:pt>
                <c:pt idx="12916">
                  <c:v>3.906069628371001</c:v>
                </c:pt>
                <c:pt idx="12917">
                  <c:v>6.0784591530381773</c:v>
                </c:pt>
                <c:pt idx="12918">
                  <c:v>6.0837880070051771</c:v>
                </c:pt>
                <c:pt idx="12919">
                  <c:v>4.1652740031689621</c:v>
                </c:pt>
                <c:pt idx="12920">
                  <c:v>5.9541304270465556</c:v>
                </c:pt>
                <c:pt idx="12921">
                  <c:v>6.9595987621587616</c:v>
                </c:pt>
                <c:pt idx="12922">
                  <c:v>5.9890735066229954</c:v>
                </c:pt>
                <c:pt idx="12923">
                  <c:v>6.048981761237842</c:v>
                </c:pt>
                <c:pt idx="12924">
                  <c:v>6.1607698157626123</c:v>
                </c:pt>
                <c:pt idx="12925">
                  <c:v>6.9399283065298212</c:v>
                </c:pt>
                <c:pt idx="12926">
                  <c:v>7.0185448643518589</c:v>
                </c:pt>
                <c:pt idx="12927">
                  <c:v>6.0300636961778862</c:v>
                </c:pt>
                <c:pt idx="12928">
                  <c:v>7.8899505866676813</c:v>
                </c:pt>
                <c:pt idx="12929">
                  <c:v>4.2873586785438365</c:v>
                </c:pt>
                <c:pt idx="12930">
                  <c:v>4.065252983590228</c:v>
                </c:pt>
                <c:pt idx="12931">
                  <c:v>3.9368257098590198</c:v>
                </c:pt>
                <c:pt idx="12932">
                  <c:v>6.1627363326608551</c:v>
                </c:pt>
                <c:pt idx="12933">
                  <c:v>3.9721912786418181</c:v>
                </c:pt>
                <c:pt idx="12934">
                  <c:v>6.9655497501138912</c:v>
                </c:pt>
                <c:pt idx="12935">
                  <c:v>7.0754733171881528</c:v>
                </c:pt>
                <c:pt idx="12936">
                  <c:v>6.9442828129696146</c:v>
                </c:pt>
                <c:pt idx="12937">
                  <c:v>4.1307914303332467</c:v>
                </c:pt>
                <c:pt idx="12938">
                  <c:v>3.8769352766369987</c:v>
                </c:pt>
                <c:pt idx="12939">
                  <c:v>5.9160122312229797</c:v>
                </c:pt>
                <c:pt idx="12940">
                  <c:v>5.9684764299769837</c:v>
                </c:pt>
                <c:pt idx="12941">
                  <c:v>6.2418958711224874</c:v>
                </c:pt>
                <c:pt idx="12942">
                  <c:v>7.0363719865584304</c:v>
                </c:pt>
                <c:pt idx="12943">
                  <c:v>4.8728133585746898</c:v>
                </c:pt>
                <c:pt idx="12944">
                  <c:v>5.9983861347653802</c:v>
                </c:pt>
                <c:pt idx="12945">
                  <c:v>6.8327938134362585</c:v>
                </c:pt>
                <c:pt idx="12946">
                  <c:v>2.0604309912966232</c:v>
                </c:pt>
                <c:pt idx="12947">
                  <c:v>5.9846071204397076</c:v>
                </c:pt>
                <c:pt idx="12948">
                  <c:v>4.871791124196009</c:v>
                </c:pt>
                <c:pt idx="12949">
                  <c:v>7.0529706404731876</c:v>
                </c:pt>
                <c:pt idx="12950">
                  <c:v>4.9575750999648243</c:v>
                </c:pt>
                <c:pt idx="12951">
                  <c:v>6.8713571806149067</c:v>
                </c:pt>
                <c:pt idx="12952">
                  <c:v>4.9039528379740984</c:v>
                </c:pt>
                <c:pt idx="12953">
                  <c:v>5.9690903463969223</c:v>
                </c:pt>
                <c:pt idx="12954">
                  <c:v>6.0168537813891332</c:v>
                </c:pt>
                <c:pt idx="12955">
                  <c:v>5.155317282117899</c:v>
                </c:pt>
                <c:pt idx="12956">
                  <c:v>4.9674628114884403</c:v>
                </c:pt>
                <c:pt idx="12957">
                  <c:v>5.938870155672606</c:v>
                </c:pt>
                <c:pt idx="12958">
                  <c:v>6.112416801626793</c:v>
                </c:pt>
                <c:pt idx="12959">
                  <c:v>4.932060235210753</c:v>
                </c:pt>
                <c:pt idx="12960">
                  <c:v>5.9749051794587</c:v>
                </c:pt>
                <c:pt idx="12961">
                  <c:v>5.1197759576353947</c:v>
                </c:pt>
                <c:pt idx="12962">
                  <c:v>6.0848947055077138</c:v>
                </c:pt>
                <c:pt idx="12963">
                  <c:v>7.1480641456314853</c:v>
                </c:pt>
                <c:pt idx="12964">
                  <c:v>5.0084232931765706</c:v>
                </c:pt>
                <c:pt idx="12965">
                  <c:v>5.9531802356159442</c:v>
                </c:pt>
                <c:pt idx="12966">
                  <c:v>4.9026826210676244</c:v>
                </c:pt>
                <c:pt idx="12967">
                  <c:v>4.8775003674406792</c:v>
                </c:pt>
                <c:pt idx="12968">
                  <c:v>4.8914703400706658</c:v>
                </c:pt>
                <c:pt idx="12969">
                  <c:v>5.8352450960807056</c:v>
                </c:pt>
                <c:pt idx="12970">
                  <c:v>4.8569313905935472</c:v>
                </c:pt>
                <c:pt idx="12971">
                  <c:v>6.8667943129736058</c:v>
                </c:pt>
                <c:pt idx="12972">
                  <c:v>5.7745955707604768</c:v>
                </c:pt>
                <c:pt idx="12973">
                  <c:v>6.1451751837600934</c:v>
                </c:pt>
                <c:pt idx="12974">
                  <c:v>4.9098740438195341</c:v>
                </c:pt>
                <c:pt idx="12975">
                  <c:v>3.0422621697778602</c:v>
                </c:pt>
                <c:pt idx="12976">
                  <c:v>6.035026644441893</c:v>
                </c:pt>
                <c:pt idx="12977">
                  <c:v>6.2475244359270503</c:v>
                </c:pt>
                <c:pt idx="12978">
                  <c:v>3.9391700489101233</c:v>
                </c:pt>
                <c:pt idx="12979">
                  <c:v>5.9169982514809227</c:v>
                </c:pt>
                <c:pt idx="12980">
                  <c:v>5.0041016928918722</c:v>
                </c:pt>
                <c:pt idx="12981">
                  <c:v>6.0887817035994996</c:v>
                </c:pt>
                <c:pt idx="12982">
                  <c:v>4.0656279740641192</c:v>
                </c:pt>
                <c:pt idx="12983">
                  <c:v>6.0434743878365538</c:v>
                </c:pt>
                <c:pt idx="12984">
                  <c:v>3.9141584293681775</c:v>
                </c:pt>
                <c:pt idx="12985">
                  <c:v>6.0913195486303371</c:v>
                </c:pt>
                <c:pt idx="12986">
                  <c:v>5.0464105285868373</c:v>
                </c:pt>
                <c:pt idx="12987">
                  <c:v>4.8756253165323171</c:v>
                </c:pt>
                <c:pt idx="12988">
                  <c:v>5.0111739994273305</c:v>
                </c:pt>
                <c:pt idx="12989">
                  <c:v>4.9883825313343229</c:v>
                </c:pt>
                <c:pt idx="12990">
                  <c:v>4.9849135260101347</c:v>
                </c:pt>
                <c:pt idx="12991">
                  <c:v>5.904504475267963</c:v>
                </c:pt>
                <c:pt idx="12992">
                  <c:v>4.817727909677445</c:v>
                </c:pt>
                <c:pt idx="12993">
                  <c:v>4.0694466899976449</c:v>
                </c:pt>
                <c:pt idx="12994">
                  <c:v>5.2487266069455547</c:v>
                </c:pt>
                <c:pt idx="12995">
                  <c:v>5.9067674445390042</c:v>
                </c:pt>
                <c:pt idx="12996">
                  <c:v>5.8797901067857365</c:v>
                </c:pt>
                <c:pt idx="12997">
                  <c:v>6.9235097227302438</c:v>
                </c:pt>
                <c:pt idx="12998">
                  <c:v>6.9563374959010575</c:v>
                </c:pt>
                <c:pt idx="12999">
                  <c:v>3.1337168436135756</c:v>
                </c:pt>
                <c:pt idx="13000">
                  <c:v>4.2744983259940392</c:v>
                </c:pt>
                <c:pt idx="13001">
                  <c:v>6.9613608845628612</c:v>
                </c:pt>
                <c:pt idx="13002">
                  <c:v>3.9727720120926984</c:v>
                </c:pt>
                <c:pt idx="13003">
                  <c:v>2.9999366087733077</c:v>
                </c:pt>
                <c:pt idx="13004">
                  <c:v>6.1616665215075042</c:v>
                </c:pt>
                <c:pt idx="13005">
                  <c:v>5.0133699362281199</c:v>
                </c:pt>
                <c:pt idx="13006">
                  <c:v>6.0060055172056135</c:v>
                </c:pt>
                <c:pt idx="13007">
                  <c:v>5.9110886086289449</c:v>
                </c:pt>
                <c:pt idx="13008">
                  <c:v>7.1240769936327784</c:v>
                </c:pt>
                <c:pt idx="13009">
                  <c:v>7.0338911636757953</c:v>
                </c:pt>
                <c:pt idx="13010">
                  <c:v>5.9151217530753843</c:v>
                </c:pt>
                <c:pt idx="13011">
                  <c:v>6.9114050632545467</c:v>
                </c:pt>
                <c:pt idx="13012">
                  <c:v>5.0776697392168568</c:v>
                </c:pt>
                <c:pt idx="13013">
                  <c:v>5.954949220048487</c:v>
                </c:pt>
                <c:pt idx="13014">
                  <c:v>5.8838756240795638</c:v>
                </c:pt>
                <c:pt idx="13015">
                  <c:v>5.0233410703068042</c:v>
                </c:pt>
                <c:pt idx="13016">
                  <c:v>7.9305516023115121</c:v>
                </c:pt>
                <c:pt idx="13017">
                  <c:v>5.0346771964621535</c:v>
                </c:pt>
                <c:pt idx="13018">
                  <c:v>6.1397204856747392</c:v>
                </c:pt>
                <c:pt idx="13019">
                  <c:v>7.1035798748719383</c:v>
                </c:pt>
                <c:pt idx="13020">
                  <c:v>5.9987052763483595</c:v>
                </c:pt>
                <c:pt idx="13021">
                  <c:v>7.0356393132613197</c:v>
                </c:pt>
                <c:pt idx="13022">
                  <c:v>2.9877402415856777</c:v>
                </c:pt>
                <c:pt idx="13023">
                  <c:v>2.9927817229751934</c:v>
                </c:pt>
                <c:pt idx="13024">
                  <c:v>6.0678893115153612</c:v>
                </c:pt>
                <c:pt idx="13025">
                  <c:v>3.0311397522508257</c:v>
                </c:pt>
                <c:pt idx="13026">
                  <c:v>5.0526035713069763</c:v>
                </c:pt>
                <c:pt idx="13027">
                  <c:v>5.0592100019276334</c:v>
                </c:pt>
                <c:pt idx="13028">
                  <c:v>6.0521412545019437</c:v>
                </c:pt>
                <c:pt idx="13029">
                  <c:v>7.0359304813654333</c:v>
                </c:pt>
                <c:pt idx="13030">
                  <c:v>4.8637341774992606</c:v>
                </c:pt>
                <c:pt idx="13031">
                  <c:v>7.0173994333300627</c:v>
                </c:pt>
                <c:pt idx="13032">
                  <c:v>3.0058190361483166</c:v>
                </c:pt>
                <c:pt idx="13033">
                  <c:v>4.9257655810675098</c:v>
                </c:pt>
                <c:pt idx="13034">
                  <c:v>6.0427861907019995</c:v>
                </c:pt>
                <c:pt idx="13035">
                  <c:v>6.9478215303365358</c:v>
                </c:pt>
                <c:pt idx="13036">
                  <c:v>5.1848036842148844</c:v>
                </c:pt>
                <c:pt idx="13037">
                  <c:v>2.0297000293494101</c:v>
                </c:pt>
                <c:pt idx="13038">
                  <c:v>4.9698589347474158</c:v>
                </c:pt>
                <c:pt idx="13039">
                  <c:v>6.0272936135539048</c:v>
                </c:pt>
                <c:pt idx="13040">
                  <c:v>8.02833359353113</c:v>
                </c:pt>
                <c:pt idx="13041">
                  <c:v>8.0289330266707637</c:v>
                </c:pt>
                <c:pt idx="13042">
                  <c:v>8.096038379773308</c:v>
                </c:pt>
                <c:pt idx="13043">
                  <c:v>8.0226374381105572</c:v>
                </c:pt>
                <c:pt idx="13044">
                  <c:v>7.9791864977780858</c:v>
                </c:pt>
                <c:pt idx="13045">
                  <c:v>5.9720061969252702</c:v>
                </c:pt>
                <c:pt idx="13046">
                  <c:v>6.0786666265607812</c:v>
                </c:pt>
                <c:pt idx="13047">
                  <c:v>5.9519201935610866</c:v>
                </c:pt>
                <c:pt idx="13048">
                  <c:v>5.9159762710620978</c:v>
                </c:pt>
                <c:pt idx="13049">
                  <c:v>7.115247403510315</c:v>
                </c:pt>
                <c:pt idx="13050">
                  <c:v>6.8952952268375061</c:v>
                </c:pt>
                <c:pt idx="13051">
                  <c:v>7.0222937623964867</c:v>
                </c:pt>
                <c:pt idx="13052">
                  <c:v>6.1639082769587787</c:v>
                </c:pt>
                <c:pt idx="13053">
                  <c:v>6.8913050406479277</c:v>
                </c:pt>
                <c:pt idx="13054">
                  <c:v>7.02197325591123</c:v>
                </c:pt>
                <c:pt idx="13055">
                  <c:v>3.9967825833492965</c:v>
                </c:pt>
                <c:pt idx="13056">
                  <c:v>5.0175739963299746</c:v>
                </c:pt>
                <c:pt idx="13057">
                  <c:v>3.8771865793336775</c:v>
                </c:pt>
                <c:pt idx="13058">
                  <c:v>5.9559768048808763</c:v>
                </c:pt>
                <c:pt idx="13059">
                  <c:v>5.9036136368231276</c:v>
                </c:pt>
                <c:pt idx="13060">
                  <c:v>7.0531412311597075</c:v>
                </c:pt>
                <c:pt idx="13061">
                  <c:v>6.8906431080914992</c:v>
                </c:pt>
                <c:pt idx="13062">
                  <c:v>5.9738345966711464</c:v>
                </c:pt>
                <c:pt idx="13063">
                  <c:v>4.9417148419643429</c:v>
                </c:pt>
                <c:pt idx="13064">
                  <c:v>7.077049533041758</c:v>
                </c:pt>
                <c:pt idx="13065">
                  <c:v>3.9639264590526837</c:v>
                </c:pt>
                <c:pt idx="13066">
                  <c:v>6.9211564355071209</c:v>
                </c:pt>
                <c:pt idx="13067">
                  <c:v>4.9732353419603044</c:v>
                </c:pt>
                <c:pt idx="13068">
                  <c:v>5.0025083250848965</c:v>
                </c:pt>
                <c:pt idx="13069">
                  <c:v>7.0969143951824121</c:v>
                </c:pt>
                <c:pt idx="13070">
                  <c:v>4.8692088612812876</c:v>
                </c:pt>
                <c:pt idx="13071">
                  <c:v>5.1043530288091565</c:v>
                </c:pt>
                <c:pt idx="13072">
                  <c:v>5.0276593994277974</c:v>
                </c:pt>
                <c:pt idx="13073">
                  <c:v>6.9371997964985752</c:v>
                </c:pt>
                <c:pt idx="13074">
                  <c:v>4.9676769299709163</c:v>
                </c:pt>
                <c:pt idx="13075">
                  <c:v>7.0383912737638612</c:v>
                </c:pt>
                <c:pt idx="13076">
                  <c:v>7.0059404557840601</c:v>
                </c:pt>
                <c:pt idx="13077">
                  <c:v>3.9667851694152656</c:v>
                </c:pt>
                <c:pt idx="13078">
                  <c:v>7.9598965873155487</c:v>
                </c:pt>
                <c:pt idx="13079">
                  <c:v>6.9151993678374861</c:v>
                </c:pt>
                <c:pt idx="13080">
                  <c:v>4.0978510674826119</c:v>
                </c:pt>
              </c:numCache>
            </c:numRef>
          </c:yVal>
          <c:smooth val="0"/>
          <c:extLst>
            <c:ext xmlns:c16="http://schemas.microsoft.com/office/drawing/2014/chart" uri="{C3380CC4-5D6E-409C-BE32-E72D297353CC}">
              <c16:uniqueId val="{00000004-CB98-46CC-B7E4-0466270B0873}"/>
            </c:ext>
          </c:extLst>
        </c:ser>
        <c:ser>
          <c:idx val="6"/>
          <c:order val="5"/>
          <c:tx>
            <c:v>Wind</c:v>
          </c:tx>
          <c:spPr>
            <a:ln w="25400" cap="rnd">
              <a:noFill/>
              <a:round/>
            </a:ln>
            <a:effectLst/>
          </c:spPr>
          <c:marker>
            <c:symbol val="square"/>
            <c:size val="5"/>
            <c:spPr>
              <a:solidFill>
                <a:srgbClr val="35B5AA">
                  <a:alpha val="25000"/>
                </a:srgbClr>
              </a:solidFill>
              <a:ln w="12700">
                <a:solidFill>
                  <a:srgbClr val="35B5AA"/>
                </a:solidFill>
              </a:ln>
              <a:effectLst/>
            </c:spPr>
          </c:marker>
          <c:xVal>
            <c:numRef>
              <c:f>'power_generator-2024-09-23T (2)'!$AA$2:$AA$13082</c:f>
              <c:numCache>
                <c:formatCode>0.00</c:formatCode>
                <c:ptCount val="13081"/>
                <c:pt idx="0">
                  <c:v>#N/A</c:v>
                </c:pt>
                <c:pt idx="1">
                  <c:v>#N/A</c:v>
                </c:pt>
                <c:pt idx="2">
                  <c:v>#N/A</c:v>
                </c:pt>
                <c:pt idx="3">
                  <c:v>#N/A</c:v>
                </c:pt>
                <c:pt idx="4">
                  <c:v>#N/A</c:v>
                </c:pt>
                <c:pt idx="5">
                  <c:v>#N/A</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pt idx="34">
                  <c:v>#N/A</c:v>
                </c:pt>
                <c:pt idx="35">
                  <c:v>#N/A</c:v>
                </c:pt>
                <c:pt idx="36">
                  <c:v>#N/A</c:v>
                </c:pt>
                <c:pt idx="37">
                  <c:v>0.19726027397260273</c:v>
                </c:pt>
                <c:pt idx="38">
                  <c:v>#N/A</c:v>
                </c:pt>
                <c:pt idx="39">
                  <c:v>#N/A</c:v>
                </c:pt>
                <c:pt idx="40">
                  <c:v>#N/A</c:v>
                </c:pt>
                <c:pt idx="41">
                  <c:v>#N/A</c:v>
                </c:pt>
                <c:pt idx="42">
                  <c:v>#N/A</c:v>
                </c:pt>
                <c:pt idx="43">
                  <c:v>#N/A</c:v>
                </c:pt>
                <c:pt idx="44">
                  <c:v>#N/A</c:v>
                </c:pt>
                <c:pt idx="45">
                  <c:v>0.19726027397260273</c:v>
                </c:pt>
                <c:pt idx="46">
                  <c:v>#N/A</c:v>
                </c:pt>
                <c:pt idx="47">
                  <c:v>#N/A</c:v>
                </c:pt>
                <c:pt idx="48">
                  <c:v>#N/A</c:v>
                </c:pt>
                <c:pt idx="49">
                  <c:v>#N/A</c:v>
                </c:pt>
                <c:pt idx="50">
                  <c:v>#N/A</c:v>
                </c:pt>
                <c:pt idx="51">
                  <c:v>#N/A</c:v>
                </c:pt>
                <c:pt idx="52">
                  <c:v>#N/A</c:v>
                </c:pt>
                <c:pt idx="53">
                  <c:v>#N/A</c:v>
                </c:pt>
                <c:pt idx="54">
                  <c:v>#N/A</c:v>
                </c:pt>
                <c:pt idx="55">
                  <c:v>#N/A</c:v>
                </c:pt>
                <c:pt idx="56">
                  <c:v>#N/A</c:v>
                </c:pt>
                <c:pt idx="57">
                  <c:v>#N/A</c:v>
                </c:pt>
                <c:pt idx="58">
                  <c:v>#N/A</c:v>
                </c:pt>
                <c:pt idx="59">
                  <c:v>#N/A</c:v>
                </c:pt>
                <c:pt idx="60">
                  <c:v>#N/A</c:v>
                </c:pt>
                <c:pt idx="61">
                  <c:v>#N/A</c:v>
                </c:pt>
                <c:pt idx="62">
                  <c:v>#N/A</c:v>
                </c:pt>
                <c:pt idx="63">
                  <c:v>#N/A</c:v>
                </c:pt>
                <c:pt idx="64">
                  <c:v>#N/A</c:v>
                </c:pt>
                <c:pt idx="65">
                  <c:v>#N/A</c:v>
                </c:pt>
                <c:pt idx="66">
                  <c:v>#N/A</c:v>
                </c:pt>
                <c:pt idx="67">
                  <c:v>#N/A</c:v>
                </c:pt>
                <c:pt idx="68">
                  <c:v>#N/A</c:v>
                </c:pt>
                <c:pt idx="69">
                  <c:v>#N/A</c:v>
                </c:pt>
                <c:pt idx="70">
                  <c:v>#N/A</c:v>
                </c:pt>
                <c:pt idx="71">
                  <c:v>#N/A</c:v>
                </c:pt>
                <c:pt idx="72">
                  <c:v>#N/A</c:v>
                </c:pt>
                <c:pt idx="73">
                  <c:v>#N/A</c:v>
                </c:pt>
                <c:pt idx="74">
                  <c:v>#N/A</c:v>
                </c:pt>
                <c:pt idx="75">
                  <c:v>#N/A</c:v>
                </c:pt>
                <c:pt idx="76">
                  <c:v>#N/A</c:v>
                </c:pt>
                <c:pt idx="77">
                  <c:v>#N/A</c:v>
                </c:pt>
                <c:pt idx="78">
                  <c:v>#N/A</c:v>
                </c:pt>
                <c:pt idx="79">
                  <c:v>#N/A</c:v>
                </c:pt>
                <c:pt idx="80">
                  <c:v>#N/A</c:v>
                </c:pt>
                <c:pt idx="81">
                  <c:v>#N/A</c:v>
                </c:pt>
                <c:pt idx="82">
                  <c:v>#N/A</c:v>
                </c:pt>
                <c:pt idx="83">
                  <c:v>#N/A</c:v>
                </c:pt>
                <c:pt idx="84">
                  <c:v>#N/A</c:v>
                </c:pt>
                <c:pt idx="85">
                  <c:v>#N/A</c:v>
                </c:pt>
                <c:pt idx="86">
                  <c:v>#N/A</c:v>
                </c:pt>
                <c:pt idx="87">
                  <c:v>#N/A</c:v>
                </c:pt>
                <c:pt idx="88">
                  <c:v>#N/A</c:v>
                </c:pt>
                <c:pt idx="89">
                  <c:v>#N/A</c:v>
                </c:pt>
                <c:pt idx="90">
                  <c:v>#N/A</c:v>
                </c:pt>
                <c:pt idx="91">
                  <c:v>#N/A</c:v>
                </c:pt>
                <c:pt idx="92">
                  <c:v>#N/A</c:v>
                </c:pt>
                <c:pt idx="93">
                  <c:v>#N/A</c:v>
                </c:pt>
                <c:pt idx="94">
                  <c:v>#N/A</c:v>
                </c:pt>
                <c:pt idx="95">
                  <c:v>#N/A</c:v>
                </c:pt>
                <c:pt idx="96">
                  <c:v>#N/A</c:v>
                </c:pt>
                <c:pt idx="97">
                  <c:v>#N/A</c:v>
                </c:pt>
                <c:pt idx="98">
                  <c:v>#N/A</c:v>
                </c:pt>
                <c:pt idx="99">
                  <c:v>#N/A</c:v>
                </c:pt>
                <c:pt idx="100">
                  <c:v>#N/A</c:v>
                </c:pt>
                <c:pt idx="101">
                  <c:v>#N/A</c:v>
                </c:pt>
                <c:pt idx="102">
                  <c:v>#N/A</c:v>
                </c:pt>
                <c:pt idx="103">
                  <c:v>#N/A</c:v>
                </c:pt>
                <c:pt idx="104">
                  <c:v>#N/A</c:v>
                </c:pt>
                <c:pt idx="105">
                  <c:v>#N/A</c:v>
                </c:pt>
                <c:pt idx="106">
                  <c:v>#N/A</c:v>
                </c:pt>
                <c:pt idx="107">
                  <c:v>#N/A</c:v>
                </c:pt>
                <c:pt idx="108">
                  <c:v>#N/A</c:v>
                </c:pt>
                <c:pt idx="109">
                  <c:v>#N/A</c:v>
                </c:pt>
                <c:pt idx="110">
                  <c:v>#N/A</c:v>
                </c:pt>
                <c:pt idx="111">
                  <c:v>#N/A</c:v>
                </c:pt>
                <c:pt idx="112">
                  <c:v>#N/A</c:v>
                </c:pt>
                <c:pt idx="113">
                  <c:v>#N/A</c:v>
                </c:pt>
                <c:pt idx="114">
                  <c:v>0.30958904109589042</c:v>
                </c:pt>
                <c:pt idx="115">
                  <c:v>#N/A</c:v>
                </c:pt>
                <c:pt idx="116">
                  <c:v>#N/A</c:v>
                </c:pt>
                <c:pt idx="117">
                  <c:v>#N/A</c:v>
                </c:pt>
                <c:pt idx="118">
                  <c:v>#N/A</c:v>
                </c:pt>
                <c:pt idx="119">
                  <c:v>#N/A</c:v>
                </c:pt>
                <c:pt idx="120">
                  <c:v>#N/A</c:v>
                </c:pt>
                <c:pt idx="121">
                  <c:v>#N/A</c:v>
                </c:pt>
                <c:pt idx="122">
                  <c:v>#N/A</c:v>
                </c:pt>
                <c:pt idx="123">
                  <c:v>#N/A</c:v>
                </c:pt>
                <c:pt idx="124">
                  <c:v>#N/A</c:v>
                </c:pt>
                <c:pt idx="125">
                  <c:v>#N/A</c:v>
                </c:pt>
                <c:pt idx="126">
                  <c:v>#N/A</c:v>
                </c:pt>
                <c:pt idx="127">
                  <c:v>#N/A</c:v>
                </c:pt>
                <c:pt idx="128">
                  <c:v>#N/A</c:v>
                </c:pt>
                <c:pt idx="129">
                  <c:v>#N/A</c:v>
                </c:pt>
                <c:pt idx="130">
                  <c:v>#N/A</c:v>
                </c:pt>
                <c:pt idx="131">
                  <c:v>#N/A</c:v>
                </c:pt>
                <c:pt idx="132">
                  <c:v>#N/A</c:v>
                </c:pt>
                <c:pt idx="133">
                  <c:v>0.32602739726027397</c:v>
                </c:pt>
                <c:pt idx="134">
                  <c:v>#N/A</c:v>
                </c:pt>
                <c:pt idx="135">
                  <c:v>#N/A</c:v>
                </c:pt>
                <c:pt idx="136">
                  <c:v>#N/A</c:v>
                </c:pt>
                <c:pt idx="137">
                  <c:v>#N/A</c:v>
                </c:pt>
                <c:pt idx="138">
                  <c:v>#N/A</c:v>
                </c:pt>
                <c:pt idx="139">
                  <c:v>#N/A</c:v>
                </c:pt>
                <c:pt idx="140">
                  <c:v>#N/A</c:v>
                </c:pt>
                <c:pt idx="141">
                  <c:v>#N/A</c:v>
                </c:pt>
                <c:pt idx="142">
                  <c:v>#N/A</c:v>
                </c:pt>
                <c:pt idx="143">
                  <c:v>#N/A</c:v>
                </c:pt>
                <c:pt idx="144">
                  <c:v>#N/A</c:v>
                </c:pt>
                <c:pt idx="145">
                  <c:v>#N/A</c:v>
                </c:pt>
                <c:pt idx="146">
                  <c:v>#N/A</c:v>
                </c:pt>
                <c:pt idx="147">
                  <c:v>#N/A</c:v>
                </c:pt>
                <c:pt idx="148">
                  <c:v>#N/A</c:v>
                </c:pt>
                <c:pt idx="149">
                  <c:v>#N/A</c:v>
                </c:pt>
                <c:pt idx="150">
                  <c:v>#N/A</c:v>
                </c:pt>
                <c:pt idx="151">
                  <c:v>#N/A</c:v>
                </c:pt>
                <c:pt idx="152">
                  <c:v>#N/A</c:v>
                </c:pt>
                <c:pt idx="153">
                  <c:v>#N/A</c:v>
                </c:pt>
                <c:pt idx="154">
                  <c:v>#N/A</c:v>
                </c:pt>
                <c:pt idx="155">
                  <c:v>#N/A</c:v>
                </c:pt>
                <c:pt idx="156">
                  <c:v>#N/A</c:v>
                </c:pt>
                <c:pt idx="157">
                  <c:v>#N/A</c:v>
                </c:pt>
                <c:pt idx="158">
                  <c:v>#N/A</c:v>
                </c:pt>
                <c:pt idx="159">
                  <c:v>0.34246575342465752</c:v>
                </c:pt>
                <c:pt idx="160">
                  <c:v>#N/A</c:v>
                </c:pt>
                <c:pt idx="161">
                  <c:v>#N/A</c:v>
                </c:pt>
                <c:pt idx="162">
                  <c:v>#N/A</c:v>
                </c:pt>
                <c:pt idx="163">
                  <c:v>#N/A</c:v>
                </c:pt>
                <c:pt idx="164">
                  <c:v>#N/A</c:v>
                </c:pt>
                <c:pt idx="165">
                  <c:v>#N/A</c:v>
                </c:pt>
                <c:pt idx="166">
                  <c:v>#N/A</c:v>
                </c:pt>
                <c:pt idx="167">
                  <c:v>0.34520547945205482</c:v>
                </c:pt>
                <c:pt idx="168">
                  <c:v>#N/A</c:v>
                </c:pt>
                <c:pt idx="169">
                  <c:v>#N/A</c:v>
                </c:pt>
                <c:pt idx="170">
                  <c:v>#N/A</c:v>
                </c:pt>
                <c:pt idx="171">
                  <c:v>0.34520547945205482</c:v>
                </c:pt>
                <c:pt idx="172">
                  <c:v>#N/A</c:v>
                </c:pt>
                <c:pt idx="173">
                  <c:v>#N/A</c:v>
                </c:pt>
                <c:pt idx="174">
                  <c:v>#N/A</c:v>
                </c:pt>
                <c:pt idx="175">
                  <c:v>#N/A</c:v>
                </c:pt>
                <c:pt idx="176">
                  <c:v>#N/A</c:v>
                </c:pt>
                <c:pt idx="177">
                  <c:v>0.34520547945205482</c:v>
                </c:pt>
                <c:pt idx="178">
                  <c:v>#N/A</c:v>
                </c:pt>
                <c:pt idx="179">
                  <c:v>0.34520547945205482</c:v>
                </c:pt>
                <c:pt idx="180">
                  <c:v>#N/A</c:v>
                </c:pt>
                <c:pt idx="181">
                  <c:v>0.34520547945205482</c:v>
                </c:pt>
                <c:pt idx="182">
                  <c:v>#N/A</c:v>
                </c:pt>
                <c:pt idx="183">
                  <c:v>#N/A</c:v>
                </c:pt>
                <c:pt idx="184">
                  <c:v>#N/A</c:v>
                </c:pt>
                <c:pt idx="185">
                  <c:v>0.34520547945205482</c:v>
                </c:pt>
                <c:pt idx="186">
                  <c:v>#N/A</c:v>
                </c:pt>
                <c:pt idx="187">
                  <c:v>#N/A</c:v>
                </c:pt>
                <c:pt idx="188">
                  <c:v>#N/A</c:v>
                </c:pt>
                <c:pt idx="189">
                  <c:v>#N/A</c:v>
                </c:pt>
                <c:pt idx="190">
                  <c:v>#N/A</c:v>
                </c:pt>
                <c:pt idx="191">
                  <c:v>#N/A</c:v>
                </c:pt>
                <c:pt idx="192">
                  <c:v>#N/A</c:v>
                </c:pt>
                <c:pt idx="193">
                  <c:v>#N/A</c:v>
                </c:pt>
                <c:pt idx="194">
                  <c:v>#N/A</c:v>
                </c:pt>
                <c:pt idx="195">
                  <c:v>0.34794520547945207</c:v>
                </c:pt>
                <c:pt idx="196">
                  <c:v>#N/A</c:v>
                </c:pt>
                <c:pt idx="197">
                  <c:v>#N/A</c:v>
                </c:pt>
                <c:pt idx="198">
                  <c:v>#N/A</c:v>
                </c:pt>
                <c:pt idx="199">
                  <c:v>#N/A</c:v>
                </c:pt>
                <c:pt idx="200">
                  <c:v>#N/A</c:v>
                </c:pt>
                <c:pt idx="201">
                  <c:v>#N/A</c:v>
                </c:pt>
                <c:pt idx="202">
                  <c:v>#N/A</c:v>
                </c:pt>
                <c:pt idx="203">
                  <c:v>#N/A</c:v>
                </c:pt>
                <c:pt idx="204">
                  <c:v>#N/A</c:v>
                </c:pt>
                <c:pt idx="205">
                  <c:v>#N/A</c:v>
                </c:pt>
                <c:pt idx="206">
                  <c:v>#N/A</c:v>
                </c:pt>
                <c:pt idx="207">
                  <c:v>#N/A</c:v>
                </c:pt>
                <c:pt idx="208">
                  <c:v>#N/A</c:v>
                </c:pt>
                <c:pt idx="209">
                  <c:v>#N/A</c:v>
                </c:pt>
                <c:pt idx="210">
                  <c:v>#N/A</c:v>
                </c:pt>
                <c:pt idx="211">
                  <c:v>#N/A</c:v>
                </c:pt>
                <c:pt idx="212">
                  <c:v>#N/A</c:v>
                </c:pt>
                <c:pt idx="213">
                  <c:v>#N/A</c:v>
                </c:pt>
                <c:pt idx="214">
                  <c:v>#N/A</c:v>
                </c:pt>
                <c:pt idx="215">
                  <c:v>#N/A</c:v>
                </c:pt>
                <c:pt idx="216">
                  <c:v>#N/A</c:v>
                </c:pt>
                <c:pt idx="217">
                  <c:v>#N/A</c:v>
                </c:pt>
                <c:pt idx="218">
                  <c:v>#N/A</c:v>
                </c:pt>
                <c:pt idx="219">
                  <c:v>#N/A</c:v>
                </c:pt>
                <c:pt idx="220">
                  <c:v>#N/A</c:v>
                </c:pt>
                <c:pt idx="221">
                  <c:v>0.36712328767123287</c:v>
                </c:pt>
                <c:pt idx="222">
                  <c:v>#N/A</c:v>
                </c:pt>
                <c:pt idx="223">
                  <c:v>#N/A</c:v>
                </c:pt>
                <c:pt idx="224">
                  <c:v>0.36986301369863012</c:v>
                </c:pt>
                <c:pt idx="225">
                  <c:v>#N/A</c:v>
                </c:pt>
                <c:pt idx="226">
                  <c:v>#N/A</c:v>
                </c:pt>
                <c:pt idx="227">
                  <c:v>#N/A</c:v>
                </c:pt>
                <c:pt idx="228">
                  <c:v>#N/A</c:v>
                </c:pt>
                <c:pt idx="229">
                  <c:v>0.36986301369863012</c:v>
                </c:pt>
                <c:pt idx="230">
                  <c:v>#N/A</c:v>
                </c:pt>
                <c:pt idx="231">
                  <c:v>#N/A</c:v>
                </c:pt>
                <c:pt idx="232">
                  <c:v>#N/A</c:v>
                </c:pt>
                <c:pt idx="233">
                  <c:v>#N/A</c:v>
                </c:pt>
                <c:pt idx="234">
                  <c:v>#N/A</c:v>
                </c:pt>
                <c:pt idx="235">
                  <c:v>#N/A</c:v>
                </c:pt>
                <c:pt idx="236">
                  <c:v>#N/A</c:v>
                </c:pt>
                <c:pt idx="237">
                  <c:v>#N/A</c:v>
                </c:pt>
                <c:pt idx="238">
                  <c:v>#N/A</c:v>
                </c:pt>
                <c:pt idx="239">
                  <c:v>#N/A</c:v>
                </c:pt>
                <c:pt idx="240">
                  <c:v>#N/A</c:v>
                </c:pt>
                <c:pt idx="241">
                  <c:v>#N/A</c:v>
                </c:pt>
                <c:pt idx="242">
                  <c:v>#N/A</c:v>
                </c:pt>
                <c:pt idx="243">
                  <c:v>#N/A</c:v>
                </c:pt>
                <c:pt idx="244">
                  <c:v>#N/A</c:v>
                </c:pt>
                <c:pt idx="245">
                  <c:v>#N/A</c:v>
                </c:pt>
                <c:pt idx="246">
                  <c:v>#N/A</c:v>
                </c:pt>
                <c:pt idx="247">
                  <c:v>#N/A</c:v>
                </c:pt>
                <c:pt idx="248">
                  <c:v>#N/A</c:v>
                </c:pt>
                <c:pt idx="249">
                  <c:v>#N/A</c:v>
                </c:pt>
                <c:pt idx="250">
                  <c:v>#N/A</c:v>
                </c:pt>
                <c:pt idx="251">
                  <c:v>#N/A</c:v>
                </c:pt>
                <c:pt idx="252">
                  <c:v>#N/A</c:v>
                </c:pt>
                <c:pt idx="253">
                  <c:v>#N/A</c:v>
                </c:pt>
                <c:pt idx="254">
                  <c:v>#N/A</c:v>
                </c:pt>
                <c:pt idx="255">
                  <c:v>#N/A</c:v>
                </c:pt>
                <c:pt idx="256">
                  <c:v>#N/A</c:v>
                </c:pt>
                <c:pt idx="257">
                  <c:v>#N/A</c:v>
                </c:pt>
                <c:pt idx="258">
                  <c:v>#N/A</c:v>
                </c:pt>
                <c:pt idx="259">
                  <c:v>#N/A</c:v>
                </c:pt>
                <c:pt idx="260">
                  <c:v>#N/A</c:v>
                </c:pt>
                <c:pt idx="261">
                  <c:v>#N/A</c:v>
                </c:pt>
                <c:pt idx="262">
                  <c:v>#N/A</c:v>
                </c:pt>
                <c:pt idx="263">
                  <c:v>#N/A</c:v>
                </c:pt>
                <c:pt idx="264">
                  <c:v>#N/A</c:v>
                </c:pt>
                <c:pt idx="265">
                  <c:v>#N/A</c:v>
                </c:pt>
                <c:pt idx="266">
                  <c:v>#N/A</c:v>
                </c:pt>
                <c:pt idx="267">
                  <c:v>#N/A</c:v>
                </c:pt>
                <c:pt idx="268">
                  <c:v>#N/A</c:v>
                </c:pt>
                <c:pt idx="269">
                  <c:v>#N/A</c:v>
                </c:pt>
                <c:pt idx="270">
                  <c:v>#N/A</c:v>
                </c:pt>
                <c:pt idx="271">
                  <c:v>#N/A</c:v>
                </c:pt>
                <c:pt idx="272">
                  <c:v>#N/A</c:v>
                </c:pt>
                <c:pt idx="273">
                  <c:v>#N/A</c:v>
                </c:pt>
                <c:pt idx="274">
                  <c:v>#N/A</c:v>
                </c:pt>
                <c:pt idx="275">
                  <c:v>#N/A</c:v>
                </c:pt>
                <c:pt idx="276">
                  <c:v>#N/A</c:v>
                </c:pt>
                <c:pt idx="277">
                  <c:v>#N/A</c:v>
                </c:pt>
                <c:pt idx="278">
                  <c:v>#N/A</c:v>
                </c:pt>
                <c:pt idx="279">
                  <c:v>#N/A</c:v>
                </c:pt>
                <c:pt idx="280">
                  <c:v>#N/A</c:v>
                </c:pt>
                <c:pt idx="281">
                  <c:v>#N/A</c:v>
                </c:pt>
                <c:pt idx="282">
                  <c:v>#N/A</c:v>
                </c:pt>
                <c:pt idx="283">
                  <c:v>#N/A</c:v>
                </c:pt>
                <c:pt idx="284">
                  <c:v>#N/A</c:v>
                </c:pt>
                <c:pt idx="285">
                  <c:v>#N/A</c:v>
                </c:pt>
                <c:pt idx="286">
                  <c:v>#N/A</c:v>
                </c:pt>
                <c:pt idx="287">
                  <c:v>0.38356164383561642</c:v>
                </c:pt>
                <c:pt idx="288">
                  <c:v>#N/A</c:v>
                </c:pt>
                <c:pt idx="289">
                  <c:v>#N/A</c:v>
                </c:pt>
                <c:pt idx="290">
                  <c:v>#N/A</c:v>
                </c:pt>
                <c:pt idx="291">
                  <c:v>#N/A</c:v>
                </c:pt>
                <c:pt idx="292">
                  <c:v>#N/A</c:v>
                </c:pt>
                <c:pt idx="293">
                  <c:v>#N/A</c:v>
                </c:pt>
                <c:pt idx="294">
                  <c:v>#N/A</c:v>
                </c:pt>
                <c:pt idx="295">
                  <c:v>#N/A</c:v>
                </c:pt>
                <c:pt idx="296">
                  <c:v>#N/A</c:v>
                </c:pt>
                <c:pt idx="297">
                  <c:v>#N/A</c:v>
                </c:pt>
                <c:pt idx="298">
                  <c:v>#N/A</c:v>
                </c:pt>
                <c:pt idx="299">
                  <c:v>#N/A</c:v>
                </c:pt>
                <c:pt idx="300">
                  <c:v>#N/A</c:v>
                </c:pt>
                <c:pt idx="301">
                  <c:v>#N/A</c:v>
                </c:pt>
                <c:pt idx="302">
                  <c:v>#N/A</c:v>
                </c:pt>
                <c:pt idx="303">
                  <c:v>#N/A</c:v>
                </c:pt>
                <c:pt idx="304">
                  <c:v>#N/A</c:v>
                </c:pt>
                <c:pt idx="305">
                  <c:v>#N/A</c:v>
                </c:pt>
                <c:pt idx="306">
                  <c:v>#N/A</c:v>
                </c:pt>
                <c:pt idx="307">
                  <c:v>#N/A</c:v>
                </c:pt>
                <c:pt idx="308">
                  <c:v>#N/A</c:v>
                </c:pt>
                <c:pt idx="309">
                  <c:v>#N/A</c:v>
                </c:pt>
                <c:pt idx="310">
                  <c:v>#N/A</c:v>
                </c:pt>
                <c:pt idx="311">
                  <c:v>#N/A</c:v>
                </c:pt>
                <c:pt idx="312">
                  <c:v>#N/A</c:v>
                </c:pt>
                <c:pt idx="313">
                  <c:v>#N/A</c:v>
                </c:pt>
                <c:pt idx="314">
                  <c:v>#N/A</c:v>
                </c:pt>
                <c:pt idx="315">
                  <c:v>#N/A</c:v>
                </c:pt>
                <c:pt idx="316">
                  <c:v>#N/A</c:v>
                </c:pt>
                <c:pt idx="317">
                  <c:v>#N/A</c:v>
                </c:pt>
                <c:pt idx="318">
                  <c:v>#N/A</c:v>
                </c:pt>
                <c:pt idx="319">
                  <c:v>#N/A</c:v>
                </c:pt>
                <c:pt idx="320">
                  <c:v>#N/A</c:v>
                </c:pt>
                <c:pt idx="321">
                  <c:v>#N/A</c:v>
                </c:pt>
                <c:pt idx="322">
                  <c:v>#N/A</c:v>
                </c:pt>
                <c:pt idx="323">
                  <c:v>#N/A</c:v>
                </c:pt>
                <c:pt idx="324">
                  <c:v>0.38356164383561642</c:v>
                </c:pt>
                <c:pt idx="325">
                  <c:v>#N/A</c:v>
                </c:pt>
                <c:pt idx="326">
                  <c:v>#N/A</c:v>
                </c:pt>
                <c:pt idx="327">
                  <c:v>#N/A</c:v>
                </c:pt>
                <c:pt idx="328">
                  <c:v>#N/A</c:v>
                </c:pt>
                <c:pt idx="329">
                  <c:v>#N/A</c:v>
                </c:pt>
                <c:pt idx="330">
                  <c:v>#N/A</c:v>
                </c:pt>
                <c:pt idx="331">
                  <c:v>0.38356164383561642</c:v>
                </c:pt>
                <c:pt idx="332">
                  <c:v>#N/A</c:v>
                </c:pt>
                <c:pt idx="333">
                  <c:v>#N/A</c:v>
                </c:pt>
                <c:pt idx="334">
                  <c:v>#N/A</c:v>
                </c:pt>
                <c:pt idx="335">
                  <c:v>#N/A</c:v>
                </c:pt>
                <c:pt idx="336">
                  <c:v>#N/A</c:v>
                </c:pt>
                <c:pt idx="337">
                  <c:v>#N/A</c:v>
                </c:pt>
                <c:pt idx="338">
                  <c:v>#N/A</c:v>
                </c:pt>
                <c:pt idx="339">
                  <c:v>#N/A</c:v>
                </c:pt>
                <c:pt idx="340">
                  <c:v>#N/A</c:v>
                </c:pt>
                <c:pt idx="341">
                  <c:v>#N/A</c:v>
                </c:pt>
                <c:pt idx="342">
                  <c:v>#N/A</c:v>
                </c:pt>
                <c:pt idx="343">
                  <c:v>#N/A</c:v>
                </c:pt>
                <c:pt idx="344">
                  <c:v>#N/A</c:v>
                </c:pt>
                <c:pt idx="345">
                  <c:v>#N/A</c:v>
                </c:pt>
                <c:pt idx="346">
                  <c:v>#N/A</c:v>
                </c:pt>
                <c:pt idx="347">
                  <c:v>#N/A</c:v>
                </c:pt>
                <c:pt idx="348">
                  <c:v>#N/A</c:v>
                </c:pt>
                <c:pt idx="349">
                  <c:v>#N/A</c:v>
                </c:pt>
                <c:pt idx="350">
                  <c:v>#N/A</c:v>
                </c:pt>
                <c:pt idx="351">
                  <c:v>#N/A</c:v>
                </c:pt>
                <c:pt idx="352">
                  <c:v>#N/A</c:v>
                </c:pt>
                <c:pt idx="353">
                  <c:v>#N/A</c:v>
                </c:pt>
                <c:pt idx="354">
                  <c:v>#N/A</c:v>
                </c:pt>
                <c:pt idx="355">
                  <c:v>#N/A</c:v>
                </c:pt>
                <c:pt idx="356">
                  <c:v>#N/A</c:v>
                </c:pt>
                <c:pt idx="357">
                  <c:v>#N/A</c:v>
                </c:pt>
                <c:pt idx="358">
                  <c:v>#N/A</c:v>
                </c:pt>
                <c:pt idx="359">
                  <c:v>#N/A</c:v>
                </c:pt>
                <c:pt idx="360">
                  <c:v>#N/A</c:v>
                </c:pt>
                <c:pt idx="361">
                  <c:v>#N/A</c:v>
                </c:pt>
                <c:pt idx="362">
                  <c:v>#N/A</c:v>
                </c:pt>
                <c:pt idx="363">
                  <c:v>#N/A</c:v>
                </c:pt>
                <c:pt idx="364">
                  <c:v>#N/A</c:v>
                </c:pt>
                <c:pt idx="365">
                  <c:v>#N/A</c:v>
                </c:pt>
                <c:pt idx="366">
                  <c:v>#N/A</c:v>
                </c:pt>
                <c:pt idx="367">
                  <c:v>#N/A</c:v>
                </c:pt>
                <c:pt idx="368">
                  <c:v>#N/A</c:v>
                </c:pt>
                <c:pt idx="369">
                  <c:v>#N/A</c:v>
                </c:pt>
                <c:pt idx="370">
                  <c:v>#N/A</c:v>
                </c:pt>
                <c:pt idx="371">
                  <c:v>#N/A</c:v>
                </c:pt>
                <c:pt idx="372">
                  <c:v>#N/A</c:v>
                </c:pt>
                <c:pt idx="373">
                  <c:v>#N/A</c:v>
                </c:pt>
                <c:pt idx="374">
                  <c:v>#N/A</c:v>
                </c:pt>
                <c:pt idx="375">
                  <c:v>#N/A</c:v>
                </c:pt>
                <c:pt idx="376">
                  <c:v>#N/A</c:v>
                </c:pt>
                <c:pt idx="377">
                  <c:v>#N/A</c:v>
                </c:pt>
                <c:pt idx="378">
                  <c:v>#N/A</c:v>
                </c:pt>
                <c:pt idx="379">
                  <c:v>0.38356164383561642</c:v>
                </c:pt>
                <c:pt idx="380">
                  <c:v>#N/A</c:v>
                </c:pt>
                <c:pt idx="381">
                  <c:v>#N/A</c:v>
                </c:pt>
                <c:pt idx="382">
                  <c:v>#N/A</c:v>
                </c:pt>
                <c:pt idx="383">
                  <c:v>#N/A</c:v>
                </c:pt>
                <c:pt idx="384">
                  <c:v>#N/A</c:v>
                </c:pt>
                <c:pt idx="385">
                  <c:v>#N/A</c:v>
                </c:pt>
                <c:pt idx="386">
                  <c:v>#N/A</c:v>
                </c:pt>
                <c:pt idx="387">
                  <c:v>#N/A</c:v>
                </c:pt>
                <c:pt idx="388">
                  <c:v>#N/A</c:v>
                </c:pt>
                <c:pt idx="389">
                  <c:v>#N/A</c:v>
                </c:pt>
                <c:pt idx="390">
                  <c:v>#N/A</c:v>
                </c:pt>
                <c:pt idx="391">
                  <c:v>#N/A</c:v>
                </c:pt>
                <c:pt idx="392">
                  <c:v>0.38630136986301372</c:v>
                </c:pt>
                <c:pt idx="393">
                  <c:v>0.38630136986301372</c:v>
                </c:pt>
                <c:pt idx="394">
                  <c:v>0.38630136986301372</c:v>
                </c:pt>
                <c:pt idx="395">
                  <c:v>#N/A</c:v>
                </c:pt>
                <c:pt idx="396">
                  <c:v>#N/A</c:v>
                </c:pt>
                <c:pt idx="397">
                  <c:v>#N/A</c:v>
                </c:pt>
                <c:pt idx="398">
                  <c:v>0.38630136986301372</c:v>
                </c:pt>
                <c:pt idx="399">
                  <c:v>#N/A</c:v>
                </c:pt>
                <c:pt idx="400">
                  <c:v>#N/A</c:v>
                </c:pt>
                <c:pt idx="401">
                  <c:v>#N/A</c:v>
                </c:pt>
                <c:pt idx="402">
                  <c:v>#N/A</c:v>
                </c:pt>
                <c:pt idx="403">
                  <c:v>0.38630136986301372</c:v>
                </c:pt>
                <c:pt idx="404">
                  <c:v>#N/A</c:v>
                </c:pt>
                <c:pt idx="405">
                  <c:v>#N/A</c:v>
                </c:pt>
                <c:pt idx="406">
                  <c:v>#N/A</c:v>
                </c:pt>
                <c:pt idx="407">
                  <c:v>#N/A</c:v>
                </c:pt>
                <c:pt idx="408">
                  <c:v>#N/A</c:v>
                </c:pt>
                <c:pt idx="409">
                  <c:v>#N/A</c:v>
                </c:pt>
                <c:pt idx="410">
                  <c:v>#N/A</c:v>
                </c:pt>
                <c:pt idx="411">
                  <c:v>#N/A</c:v>
                </c:pt>
                <c:pt idx="412">
                  <c:v>#N/A</c:v>
                </c:pt>
                <c:pt idx="413">
                  <c:v>#N/A</c:v>
                </c:pt>
                <c:pt idx="414">
                  <c:v>#N/A</c:v>
                </c:pt>
                <c:pt idx="415">
                  <c:v>#N/A</c:v>
                </c:pt>
                <c:pt idx="416">
                  <c:v>#N/A</c:v>
                </c:pt>
                <c:pt idx="417">
                  <c:v>#N/A</c:v>
                </c:pt>
                <c:pt idx="418">
                  <c:v>#N/A</c:v>
                </c:pt>
                <c:pt idx="419">
                  <c:v>#N/A</c:v>
                </c:pt>
                <c:pt idx="420">
                  <c:v>#N/A</c:v>
                </c:pt>
                <c:pt idx="421">
                  <c:v>#N/A</c:v>
                </c:pt>
                <c:pt idx="422">
                  <c:v>#N/A</c:v>
                </c:pt>
                <c:pt idx="423">
                  <c:v>#N/A</c:v>
                </c:pt>
                <c:pt idx="424">
                  <c:v>#N/A</c:v>
                </c:pt>
                <c:pt idx="425">
                  <c:v>#N/A</c:v>
                </c:pt>
                <c:pt idx="426">
                  <c:v>#N/A</c:v>
                </c:pt>
                <c:pt idx="427">
                  <c:v>#N/A</c:v>
                </c:pt>
                <c:pt idx="428">
                  <c:v>#N/A</c:v>
                </c:pt>
                <c:pt idx="429">
                  <c:v>#N/A</c:v>
                </c:pt>
                <c:pt idx="430">
                  <c:v>#N/A</c:v>
                </c:pt>
                <c:pt idx="431">
                  <c:v>#N/A</c:v>
                </c:pt>
                <c:pt idx="432">
                  <c:v>#N/A</c:v>
                </c:pt>
                <c:pt idx="433">
                  <c:v>#N/A</c:v>
                </c:pt>
                <c:pt idx="434">
                  <c:v>#N/A</c:v>
                </c:pt>
                <c:pt idx="435">
                  <c:v>0.4</c:v>
                </c:pt>
                <c:pt idx="436">
                  <c:v>#N/A</c:v>
                </c:pt>
                <c:pt idx="437">
                  <c:v>#N/A</c:v>
                </c:pt>
                <c:pt idx="438">
                  <c:v>0.4</c:v>
                </c:pt>
                <c:pt idx="439">
                  <c:v>#N/A</c:v>
                </c:pt>
                <c:pt idx="440">
                  <c:v>#N/A</c:v>
                </c:pt>
                <c:pt idx="441">
                  <c:v>#N/A</c:v>
                </c:pt>
                <c:pt idx="442">
                  <c:v>#N/A</c:v>
                </c:pt>
                <c:pt idx="443">
                  <c:v>0.4</c:v>
                </c:pt>
                <c:pt idx="444">
                  <c:v>#N/A</c:v>
                </c:pt>
                <c:pt idx="445">
                  <c:v>#N/A</c:v>
                </c:pt>
                <c:pt idx="446">
                  <c:v>#N/A</c:v>
                </c:pt>
                <c:pt idx="447">
                  <c:v>#N/A</c:v>
                </c:pt>
                <c:pt idx="448">
                  <c:v>#N/A</c:v>
                </c:pt>
                <c:pt idx="449">
                  <c:v>#N/A</c:v>
                </c:pt>
                <c:pt idx="450">
                  <c:v>#N/A</c:v>
                </c:pt>
                <c:pt idx="451">
                  <c:v>#N/A</c:v>
                </c:pt>
                <c:pt idx="452">
                  <c:v>#N/A</c:v>
                </c:pt>
                <c:pt idx="453">
                  <c:v>#N/A</c:v>
                </c:pt>
                <c:pt idx="454">
                  <c:v>#N/A</c:v>
                </c:pt>
                <c:pt idx="455">
                  <c:v>#N/A</c:v>
                </c:pt>
                <c:pt idx="456">
                  <c:v>#N/A</c:v>
                </c:pt>
                <c:pt idx="457">
                  <c:v>#N/A</c:v>
                </c:pt>
                <c:pt idx="458">
                  <c:v>#N/A</c:v>
                </c:pt>
                <c:pt idx="459">
                  <c:v>#N/A</c:v>
                </c:pt>
                <c:pt idx="460">
                  <c:v>#N/A</c:v>
                </c:pt>
                <c:pt idx="461">
                  <c:v>#N/A</c:v>
                </c:pt>
                <c:pt idx="462">
                  <c:v>#N/A</c:v>
                </c:pt>
                <c:pt idx="463">
                  <c:v>#N/A</c:v>
                </c:pt>
                <c:pt idx="464">
                  <c:v>#N/A</c:v>
                </c:pt>
                <c:pt idx="465">
                  <c:v>#N/A</c:v>
                </c:pt>
                <c:pt idx="466">
                  <c:v>0.40273972602739727</c:v>
                </c:pt>
                <c:pt idx="467">
                  <c:v>#N/A</c:v>
                </c:pt>
                <c:pt idx="468">
                  <c:v>#N/A</c:v>
                </c:pt>
                <c:pt idx="469">
                  <c:v>#N/A</c:v>
                </c:pt>
                <c:pt idx="470">
                  <c:v>#N/A</c:v>
                </c:pt>
                <c:pt idx="471">
                  <c:v>#N/A</c:v>
                </c:pt>
                <c:pt idx="472">
                  <c:v>#N/A</c:v>
                </c:pt>
                <c:pt idx="473">
                  <c:v>#N/A</c:v>
                </c:pt>
                <c:pt idx="474">
                  <c:v>#N/A</c:v>
                </c:pt>
                <c:pt idx="475">
                  <c:v>0.40821917808219177</c:v>
                </c:pt>
                <c:pt idx="476">
                  <c:v>#N/A</c:v>
                </c:pt>
                <c:pt idx="477">
                  <c:v>0.40821917808219177</c:v>
                </c:pt>
                <c:pt idx="478">
                  <c:v>#N/A</c:v>
                </c:pt>
                <c:pt idx="479">
                  <c:v>#N/A</c:v>
                </c:pt>
                <c:pt idx="480">
                  <c:v>#N/A</c:v>
                </c:pt>
                <c:pt idx="481">
                  <c:v>#N/A</c:v>
                </c:pt>
                <c:pt idx="482">
                  <c:v>#N/A</c:v>
                </c:pt>
                <c:pt idx="483">
                  <c:v>#N/A</c:v>
                </c:pt>
                <c:pt idx="484">
                  <c:v>#N/A</c:v>
                </c:pt>
                <c:pt idx="485">
                  <c:v>#N/A</c:v>
                </c:pt>
                <c:pt idx="486">
                  <c:v>#N/A</c:v>
                </c:pt>
                <c:pt idx="487">
                  <c:v>#N/A</c:v>
                </c:pt>
                <c:pt idx="488">
                  <c:v>#N/A</c:v>
                </c:pt>
                <c:pt idx="489">
                  <c:v>#N/A</c:v>
                </c:pt>
                <c:pt idx="490">
                  <c:v>0.42465753424657532</c:v>
                </c:pt>
                <c:pt idx="491">
                  <c:v>#N/A</c:v>
                </c:pt>
                <c:pt idx="492">
                  <c:v>#N/A</c:v>
                </c:pt>
                <c:pt idx="493">
                  <c:v>#N/A</c:v>
                </c:pt>
                <c:pt idx="494">
                  <c:v>#N/A</c:v>
                </c:pt>
                <c:pt idx="495">
                  <c:v>#N/A</c:v>
                </c:pt>
                <c:pt idx="496">
                  <c:v>#N/A</c:v>
                </c:pt>
                <c:pt idx="497">
                  <c:v>#N/A</c:v>
                </c:pt>
                <c:pt idx="498">
                  <c:v>#N/A</c:v>
                </c:pt>
                <c:pt idx="499">
                  <c:v>#N/A</c:v>
                </c:pt>
                <c:pt idx="500">
                  <c:v>#N/A</c:v>
                </c:pt>
                <c:pt idx="501">
                  <c:v>#N/A</c:v>
                </c:pt>
                <c:pt idx="502">
                  <c:v>#N/A</c:v>
                </c:pt>
                <c:pt idx="503">
                  <c:v>#N/A</c:v>
                </c:pt>
                <c:pt idx="504">
                  <c:v>#N/A</c:v>
                </c:pt>
                <c:pt idx="505">
                  <c:v>#N/A</c:v>
                </c:pt>
                <c:pt idx="506">
                  <c:v>#N/A</c:v>
                </c:pt>
                <c:pt idx="507">
                  <c:v>#N/A</c:v>
                </c:pt>
                <c:pt idx="508">
                  <c:v>#N/A</c:v>
                </c:pt>
                <c:pt idx="509">
                  <c:v>#N/A</c:v>
                </c:pt>
                <c:pt idx="510">
                  <c:v>0.42739726027397262</c:v>
                </c:pt>
                <c:pt idx="511">
                  <c:v>#N/A</c:v>
                </c:pt>
                <c:pt idx="512">
                  <c:v>#N/A</c:v>
                </c:pt>
                <c:pt idx="513">
                  <c:v>#N/A</c:v>
                </c:pt>
                <c:pt idx="514">
                  <c:v>#N/A</c:v>
                </c:pt>
                <c:pt idx="515">
                  <c:v>#N/A</c:v>
                </c:pt>
                <c:pt idx="516">
                  <c:v>#N/A</c:v>
                </c:pt>
                <c:pt idx="517">
                  <c:v>#N/A</c:v>
                </c:pt>
                <c:pt idx="518">
                  <c:v>#N/A</c:v>
                </c:pt>
                <c:pt idx="519">
                  <c:v>#N/A</c:v>
                </c:pt>
                <c:pt idx="520">
                  <c:v>#N/A</c:v>
                </c:pt>
                <c:pt idx="521">
                  <c:v>#N/A</c:v>
                </c:pt>
                <c:pt idx="522">
                  <c:v>#N/A</c:v>
                </c:pt>
                <c:pt idx="523">
                  <c:v>#N/A</c:v>
                </c:pt>
                <c:pt idx="524">
                  <c:v>#N/A</c:v>
                </c:pt>
                <c:pt idx="525">
                  <c:v>#N/A</c:v>
                </c:pt>
                <c:pt idx="526">
                  <c:v>#N/A</c:v>
                </c:pt>
                <c:pt idx="527">
                  <c:v>#N/A</c:v>
                </c:pt>
                <c:pt idx="528">
                  <c:v>#N/A</c:v>
                </c:pt>
                <c:pt idx="529">
                  <c:v>#N/A</c:v>
                </c:pt>
                <c:pt idx="530">
                  <c:v>#N/A</c:v>
                </c:pt>
                <c:pt idx="531">
                  <c:v>#N/A</c:v>
                </c:pt>
                <c:pt idx="532">
                  <c:v>#N/A</c:v>
                </c:pt>
                <c:pt idx="533">
                  <c:v>#N/A</c:v>
                </c:pt>
                <c:pt idx="534">
                  <c:v>0.45753424657534247</c:v>
                </c:pt>
                <c:pt idx="535">
                  <c:v>#N/A</c:v>
                </c:pt>
                <c:pt idx="536">
                  <c:v>0.45753424657534247</c:v>
                </c:pt>
                <c:pt idx="537">
                  <c:v>#N/A</c:v>
                </c:pt>
                <c:pt idx="538">
                  <c:v>#N/A</c:v>
                </c:pt>
                <c:pt idx="539">
                  <c:v>#N/A</c:v>
                </c:pt>
                <c:pt idx="540">
                  <c:v>#N/A</c:v>
                </c:pt>
                <c:pt idx="541">
                  <c:v>#N/A</c:v>
                </c:pt>
                <c:pt idx="542">
                  <c:v>#N/A</c:v>
                </c:pt>
                <c:pt idx="543">
                  <c:v>#N/A</c:v>
                </c:pt>
                <c:pt idx="544">
                  <c:v>#N/A</c:v>
                </c:pt>
                <c:pt idx="545">
                  <c:v>#N/A</c:v>
                </c:pt>
                <c:pt idx="546">
                  <c:v>#N/A</c:v>
                </c:pt>
                <c:pt idx="547">
                  <c:v>#N/A</c:v>
                </c:pt>
                <c:pt idx="548">
                  <c:v>#N/A</c:v>
                </c:pt>
                <c:pt idx="549">
                  <c:v>#N/A</c:v>
                </c:pt>
                <c:pt idx="550">
                  <c:v>#N/A</c:v>
                </c:pt>
                <c:pt idx="551">
                  <c:v>#N/A</c:v>
                </c:pt>
                <c:pt idx="552">
                  <c:v>#N/A</c:v>
                </c:pt>
                <c:pt idx="553">
                  <c:v>#N/A</c:v>
                </c:pt>
                <c:pt idx="554">
                  <c:v>0.45753424657534247</c:v>
                </c:pt>
                <c:pt idx="555">
                  <c:v>#N/A</c:v>
                </c:pt>
                <c:pt idx="556">
                  <c:v>#N/A</c:v>
                </c:pt>
                <c:pt idx="557">
                  <c:v>#N/A</c:v>
                </c:pt>
                <c:pt idx="558">
                  <c:v>#N/A</c:v>
                </c:pt>
                <c:pt idx="559">
                  <c:v>0.45753424657534247</c:v>
                </c:pt>
                <c:pt idx="560">
                  <c:v>#N/A</c:v>
                </c:pt>
                <c:pt idx="561">
                  <c:v>0.45753424657534247</c:v>
                </c:pt>
                <c:pt idx="562">
                  <c:v>0.45753424657534247</c:v>
                </c:pt>
                <c:pt idx="563">
                  <c:v>#N/A</c:v>
                </c:pt>
                <c:pt idx="564">
                  <c:v>#N/A</c:v>
                </c:pt>
                <c:pt idx="565">
                  <c:v>#N/A</c:v>
                </c:pt>
                <c:pt idx="566">
                  <c:v>#N/A</c:v>
                </c:pt>
                <c:pt idx="567">
                  <c:v>0.45753424657534247</c:v>
                </c:pt>
                <c:pt idx="568">
                  <c:v>#N/A</c:v>
                </c:pt>
                <c:pt idx="569">
                  <c:v>#N/A</c:v>
                </c:pt>
                <c:pt idx="570">
                  <c:v>#N/A</c:v>
                </c:pt>
                <c:pt idx="571">
                  <c:v>0.45753424657534247</c:v>
                </c:pt>
                <c:pt idx="572">
                  <c:v>#N/A</c:v>
                </c:pt>
                <c:pt idx="573">
                  <c:v>#N/A</c:v>
                </c:pt>
                <c:pt idx="574">
                  <c:v>0.45753424657534247</c:v>
                </c:pt>
                <c:pt idx="575">
                  <c:v>#N/A</c:v>
                </c:pt>
                <c:pt idx="576">
                  <c:v>0.45753424657534247</c:v>
                </c:pt>
                <c:pt idx="577">
                  <c:v>#N/A</c:v>
                </c:pt>
                <c:pt idx="578">
                  <c:v>0.45753424657534247</c:v>
                </c:pt>
                <c:pt idx="579">
                  <c:v>#N/A</c:v>
                </c:pt>
                <c:pt idx="580">
                  <c:v>#N/A</c:v>
                </c:pt>
                <c:pt idx="581">
                  <c:v>#N/A</c:v>
                </c:pt>
                <c:pt idx="582">
                  <c:v>#N/A</c:v>
                </c:pt>
                <c:pt idx="583">
                  <c:v>0.45753424657534247</c:v>
                </c:pt>
                <c:pt idx="584">
                  <c:v>#N/A</c:v>
                </c:pt>
                <c:pt idx="585">
                  <c:v>0.45753424657534247</c:v>
                </c:pt>
                <c:pt idx="586">
                  <c:v>#N/A</c:v>
                </c:pt>
                <c:pt idx="587">
                  <c:v>#N/A</c:v>
                </c:pt>
                <c:pt idx="588">
                  <c:v>#N/A</c:v>
                </c:pt>
                <c:pt idx="589">
                  <c:v>#N/A</c:v>
                </c:pt>
                <c:pt idx="590">
                  <c:v>#N/A</c:v>
                </c:pt>
                <c:pt idx="591">
                  <c:v>0.45753424657534247</c:v>
                </c:pt>
                <c:pt idx="592">
                  <c:v>#N/A</c:v>
                </c:pt>
                <c:pt idx="593">
                  <c:v>0.45753424657534247</c:v>
                </c:pt>
                <c:pt idx="594">
                  <c:v>#N/A</c:v>
                </c:pt>
                <c:pt idx="595">
                  <c:v>#N/A</c:v>
                </c:pt>
                <c:pt idx="596">
                  <c:v>#N/A</c:v>
                </c:pt>
                <c:pt idx="597">
                  <c:v>#N/A</c:v>
                </c:pt>
                <c:pt idx="598">
                  <c:v>#N/A</c:v>
                </c:pt>
                <c:pt idx="599">
                  <c:v>0.45753424657534247</c:v>
                </c:pt>
                <c:pt idx="600">
                  <c:v>#N/A</c:v>
                </c:pt>
                <c:pt idx="601">
                  <c:v>#N/A</c:v>
                </c:pt>
                <c:pt idx="602">
                  <c:v>0.45753424657534247</c:v>
                </c:pt>
                <c:pt idx="603">
                  <c:v>#N/A</c:v>
                </c:pt>
                <c:pt idx="604">
                  <c:v>#N/A</c:v>
                </c:pt>
                <c:pt idx="605">
                  <c:v>0.45753424657534247</c:v>
                </c:pt>
                <c:pt idx="606">
                  <c:v>#N/A</c:v>
                </c:pt>
                <c:pt idx="607">
                  <c:v>0.45753424657534247</c:v>
                </c:pt>
                <c:pt idx="608">
                  <c:v>#N/A</c:v>
                </c:pt>
                <c:pt idx="609">
                  <c:v>#N/A</c:v>
                </c:pt>
                <c:pt idx="610">
                  <c:v>#N/A</c:v>
                </c:pt>
                <c:pt idx="611">
                  <c:v>#N/A</c:v>
                </c:pt>
                <c:pt idx="612">
                  <c:v>#N/A</c:v>
                </c:pt>
                <c:pt idx="613">
                  <c:v>#N/A</c:v>
                </c:pt>
                <c:pt idx="614">
                  <c:v>#N/A</c:v>
                </c:pt>
                <c:pt idx="615">
                  <c:v>#N/A</c:v>
                </c:pt>
                <c:pt idx="616">
                  <c:v>0.45753424657534247</c:v>
                </c:pt>
                <c:pt idx="617">
                  <c:v>#N/A</c:v>
                </c:pt>
                <c:pt idx="618">
                  <c:v>#N/A</c:v>
                </c:pt>
                <c:pt idx="619">
                  <c:v>#N/A</c:v>
                </c:pt>
                <c:pt idx="620">
                  <c:v>#N/A</c:v>
                </c:pt>
                <c:pt idx="621">
                  <c:v>#N/A</c:v>
                </c:pt>
                <c:pt idx="622">
                  <c:v>#N/A</c:v>
                </c:pt>
                <c:pt idx="623">
                  <c:v>#N/A</c:v>
                </c:pt>
                <c:pt idx="624">
                  <c:v>0.45753424657534247</c:v>
                </c:pt>
                <c:pt idx="625">
                  <c:v>#N/A</c:v>
                </c:pt>
                <c:pt idx="626">
                  <c:v>#N/A</c:v>
                </c:pt>
                <c:pt idx="627">
                  <c:v>0.45753424657534247</c:v>
                </c:pt>
                <c:pt idx="628">
                  <c:v>#N/A</c:v>
                </c:pt>
                <c:pt idx="629">
                  <c:v>#N/A</c:v>
                </c:pt>
                <c:pt idx="630">
                  <c:v>#N/A</c:v>
                </c:pt>
                <c:pt idx="631">
                  <c:v>#N/A</c:v>
                </c:pt>
                <c:pt idx="632">
                  <c:v>#N/A</c:v>
                </c:pt>
                <c:pt idx="633">
                  <c:v>0.45753424657534247</c:v>
                </c:pt>
                <c:pt idx="634">
                  <c:v>#N/A</c:v>
                </c:pt>
                <c:pt idx="635">
                  <c:v>#N/A</c:v>
                </c:pt>
                <c:pt idx="636">
                  <c:v>#N/A</c:v>
                </c:pt>
                <c:pt idx="637">
                  <c:v>0.45753424657534247</c:v>
                </c:pt>
                <c:pt idx="638">
                  <c:v>#N/A</c:v>
                </c:pt>
                <c:pt idx="639">
                  <c:v>0.45753424657534247</c:v>
                </c:pt>
                <c:pt idx="640">
                  <c:v>#N/A</c:v>
                </c:pt>
                <c:pt idx="641">
                  <c:v>#N/A</c:v>
                </c:pt>
                <c:pt idx="642">
                  <c:v>#N/A</c:v>
                </c:pt>
                <c:pt idx="643">
                  <c:v>#N/A</c:v>
                </c:pt>
                <c:pt idx="644">
                  <c:v>#N/A</c:v>
                </c:pt>
                <c:pt idx="645">
                  <c:v>#N/A</c:v>
                </c:pt>
                <c:pt idx="646">
                  <c:v>#N/A</c:v>
                </c:pt>
                <c:pt idx="647">
                  <c:v>#N/A</c:v>
                </c:pt>
                <c:pt idx="648">
                  <c:v>#N/A</c:v>
                </c:pt>
                <c:pt idx="649">
                  <c:v>0.45753424657534247</c:v>
                </c:pt>
                <c:pt idx="650">
                  <c:v>#N/A</c:v>
                </c:pt>
                <c:pt idx="651">
                  <c:v>#N/A</c:v>
                </c:pt>
                <c:pt idx="652">
                  <c:v>0.45753424657534247</c:v>
                </c:pt>
                <c:pt idx="653">
                  <c:v>#N/A</c:v>
                </c:pt>
                <c:pt idx="654">
                  <c:v>#N/A</c:v>
                </c:pt>
                <c:pt idx="655">
                  <c:v>#N/A</c:v>
                </c:pt>
                <c:pt idx="656">
                  <c:v>#N/A</c:v>
                </c:pt>
                <c:pt idx="657">
                  <c:v>#N/A</c:v>
                </c:pt>
                <c:pt idx="658">
                  <c:v>#N/A</c:v>
                </c:pt>
                <c:pt idx="659">
                  <c:v>#N/A</c:v>
                </c:pt>
                <c:pt idx="660">
                  <c:v>#N/A</c:v>
                </c:pt>
                <c:pt idx="661">
                  <c:v>0.45753424657534247</c:v>
                </c:pt>
                <c:pt idx="662">
                  <c:v>#N/A</c:v>
                </c:pt>
                <c:pt idx="663">
                  <c:v>#N/A</c:v>
                </c:pt>
                <c:pt idx="664">
                  <c:v>#N/A</c:v>
                </c:pt>
                <c:pt idx="665">
                  <c:v>0.45753424657534247</c:v>
                </c:pt>
                <c:pt idx="666">
                  <c:v>#N/A</c:v>
                </c:pt>
                <c:pt idx="667">
                  <c:v>#N/A</c:v>
                </c:pt>
                <c:pt idx="668">
                  <c:v>#N/A</c:v>
                </c:pt>
                <c:pt idx="669">
                  <c:v>#N/A</c:v>
                </c:pt>
                <c:pt idx="670">
                  <c:v>#N/A</c:v>
                </c:pt>
                <c:pt idx="671">
                  <c:v>#N/A</c:v>
                </c:pt>
                <c:pt idx="672">
                  <c:v>#N/A</c:v>
                </c:pt>
                <c:pt idx="673">
                  <c:v>#N/A</c:v>
                </c:pt>
                <c:pt idx="674">
                  <c:v>#N/A</c:v>
                </c:pt>
                <c:pt idx="675">
                  <c:v>#N/A</c:v>
                </c:pt>
                <c:pt idx="676">
                  <c:v>#N/A</c:v>
                </c:pt>
                <c:pt idx="677">
                  <c:v>#N/A</c:v>
                </c:pt>
                <c:pt idx="678">
                  <c:v>#N/A</c:v>
                </c:pt>
                <c:pt idx="679">
                  <c:v>#N/A</c:v>
                </c:pt>
                <c:pt idx="680">
                  <c:v>#N/A</c:v>
                </c:pt>
                <c:pt idx="681">
                  <c:v>#N/A</c:v>
                </c:pt>
                <c:pt idx="682">
                  <c:v>#N/A</c:v>
                </c:pt>
                <c:pt idx="683">
                  <c:v>#N/A</c:v>
                </c:pt>
                <c:pt idx="684">
                  <c:v>#N/A</c:v>
                </c:pt>
                <c:pt idx="685">
                  <c:v>0.45753424657534247</c:v>
                </c:pt>
                <c:pt idx="686">
                  <c:v>0.45753424657534247</c:v>
                </c:pt>
                <c:pt idx="687">
                  <c:v>#N/A</c:v>
                </c:pt>
                <c:pt idx="688">
                  <c:v>#N/A</c:v>
                </c:pt>
                <c:pt idx="689">
                  <c:v>#N/A</c:v>
                </c:pt>
                <c:pt idx="690">
                  <c:v>#N/A</c:v>
                </c:pt>
                <c:pt idx="691">
                  <c:v>#N/A</c:v>
                </c:pt>
                <c:pt idx="692">
                  <c:v>#N/A</c:v>
                </c:pt>
                <c:pt idx="693">
                  <c:v>#N/A</c:v>
                </c:pt>
                <c:pt idx="694">
                  <c:v>#N/A</c:v>
                </c:pt>
                <c:pt idx="695">
                  <c:v>#N/A</c:v>
                </c:pt>
                <c:pt idx="696">
                  <c:v>#N/A</c:v>
                </c:pt>
                <c:pt idx="697">
                  <c:v>#N/A</c:v>
                </c:pt>
                <c:pt idx="698">
                  <c:v>#N/A</c:v>
                </c:pt>
                <c:pt idx="699">
                  <c:v>#N/A</c:v>
                </c:pt>
                <c:pt idx="700">
                  <c:v>#N/A</c:v>
                </c:pt>
                <c:pt idx="701">
                  <c:v>#N/A</c:v>
                </c:pt>
                <c:pt idx="702">
                  <c:v>#N/A</c:v>
                </c:pt>
                <c:pt idx="703">
                  <c:v>#N/A</c:v>
                </c:pt>
                <c:pt idx="704">
                  <c:v>0.45753424657534247</c:v>
                </c:pt>
                <c:pt idx="705">
                  <c:v>#N/A</c:v>
                </c:pt>
                <c:pt idx="706">
                  <c:v>#N/A</c:v>
                </c:pt>
                <c:pt idx="707">
                  <c:v>#N/A</c:v>
                </c:pt>
                <c:pt idx="708">
                  <c:v>#N/A</c:v>
                </c:pt>
                <c:pt idx="709">
                  <c:v>#N/A</c:v>
                </c:pt>
                <c:pt idx="710">
                  <c:v>#N/A</c:v>
                </c:pt>
                <c:pt idx="711">
                  <c:v>#N/A</c:v>
                </c:pt>
                <c:pt idx="712">
                  <c:v>#N/A</c:v>
                </c:pt>
                <c:pt idx="713">
                  <c:v>#N/A</c:v>
                </c:pt>
                <c:pt idx="714">
                  <c:v>0.45753424657534247</c:v>
                </c:pt>
                <c:pt idx="715">
                  <c:v>#N/A</c:v>
                </c:pt>
                <c:pt idx="716">
                  <c:v>#N/A</c:v>
                </c:pt>
                <c:pt idx="717">
                  <c:v>0.45753424657534247</c:v>
                </c:pt>
                <c:pt idx="718">
                  <c:v>#N/A</c:v>
                </c:pt>
                <c:pt idx="719">
                  <c:v>#N/A</c:v>
                </c:pt>
                <c:pt idx="720">
                  <c:v>#N/A</c:v>
                </c:pt>
                <c:pt idx="721">
                  <c:v>#N/A</c:v>
                </c:pt>
                <c:pt idx="722">
                  <c:v>#N/A</c:v>
                </c:pt>
                <c:pt idx="723">
                  <c:v>#N/A</c:v>
                </c:pt>
                <c:pt idx="724">
                  <c:v>#N/A</c:v>
                </c:pt>
                <c:pt idx="725">
                  <c:v>#N/A</c:v>
                </c:pt>
                <c:pt idx="726">
                  <c:v>#N/A</c:v>
                </c:pt>
                <c:pt idx="727">
                  <c:v>#N/A</c:v>
                </c:pt>
                <c:pt idx="728">
                  <c:v>#N/A</c:v>
                </c:pt>
                <c:pt idx="729">
                  <c:v>0.45753424657534247</c:v>
                </c:pt>
                <c:pt idx="730">
                  <c:v>0.45753424657534247</c:v>
                </c:pt>
                <c:pt idx="731">
                  <c:v>0.45753424657534247</c:v>
                </c:pt>
                <c:pt idx="732">
                  <c:v>#N/A</c:v>
                </c:pt>
                <c:pt idx="733">
                  <c:v>#N/A</c:v>
                </c:pt>
                <c:pt idx="734">
                  <c:v>0.45753424657534247</c:v>
                </c:pt>
                <c:pt idx="735">
                  <c:v>0.45753424657534247</c:v>
                </c:pt>
                <c:pt idx="736">
                  <c:v>#N/A</c:v>
                </c:pt>
                <c:pt idx="737">
                  <c:v>#N/A</c:v>
                </c:pt>
                <c:pt idx="738">
                  <c:v>#N/A</c:v>
                </c:pt>
                <c:pt idx="739">
                  <c:v>#N/A</c:v>
                </c:pt>
                <c:pt idx="740">
                  <c:v>0.46027397260273972</c:v>
                </c:pt>
                <c:pt idx="741">
                  <c:v>#N/A</c:v>
                </c:pt>
                <c:pt idx="742">
                  <c:v>#N/A</c:v>
                </c:pt>
                <c:pt idx="743">
                  <c:v>#N/A</c:v>
                </c:pt>
                <c:pt idx="744">
                  <c:v>0.46027397260273972</c:v>
                </c:pt>
                <c:pt idx="745">
                  <c:v>#N/A</c:v>
                </c:pt>
                <c:pt idx="746">
                  <c:v>#N/A</c:v>
                </c:pt>
                <c:pt idx="747">
                  <c:v>#N/A</c:v>
                </c:pt>
                <c:pt idx="748">
                  <c:v>#N/A</c:v>
                </c:pt>
                <c:pt idx="749">
                  <c:v>#N/A</c:v>
                </c:pt>
                <c:pt idx="750">
                  <c:v>#N/A</c:v>
                </c:pt>
                <c:pt idx="751">
                  <c:v>#N/A</c:v>
                </c:pt>
                <c:pt idx="752">
                  <c:v>#N/A</c:v>
                </c:pt>
                <c:pt idx="753">
                  <c:v>#N/A</c:v>
                </c:pt>
                <c:pt idx="754">
                  <c:v>#N/A</c:v>
                </c:pt>
                <c:pt idx="755">
                  <c:v>#N/A</c:v>
                </c:pt>
                <c:pt idx="756">
                  <c:v>0.46027397260273972</c:v>
                </c:pt>
                <c:pt idx="757">
                  <c:v>#N/A</c:v>
                </c:pt>
                <c:pt idx="758">
                  <c:v>0.46027397260273972</c:v>
                </c:pt>
                <c:pt idx="759">
                  <c:v>#N/A</c:v>
                </c:pt>
                <c:pt idx="760">
                  <c:v>0.46027397260273972</c:v>
                </c:pt>
                <c:pt idx="761">
                  <c:v>0.46027397260273972</c:v>
                </c:pt>
                <c:pt idx="762">
                  <c:v>#N/A</c:v>
                </c:pt>
                <c:pt idx="763">
                  <c:v>#N/A</c:v>
                </c:pt>
                <c:pt idx="764">
                  <c:v>#N/A</c:v>
                </c:pt>
                <c:pt idx="765">
                  <c:v>#N/A</c:v>
                </c:pt>
                <c:pt idx="766">
                  <c:v>#N/A</c:v>
                </c:pt>
                <c:pt idx="767">
                  <c:v>0.46027397260273972</c:v>
                </c:pt>
                <c:pt idx="768">
                  <c:v>#N/A</c:v>
                </c:pt>
                <c:pt idx="769">
                  <c:v>#N/A</c:v>
                </c:pt>
                <c:pt idx="770">
                  <c:v>#N/A</c:v>
                </c:pt>
                <c:pt idx="771">
                  <c:v>#N/A</c:v>
                </c:pt>
                <c:pt idx="772">
                  <c:v>#N/A</c:v>
                </c:pt>
                <c:pt idx="773">
                  <c:v>0.46027397260273972</c:v>
                </c:pt>
                <c:pt idx="774">
                  <c:v>#N/A</c:v>
                </c:pt>
                <c:pt idx="775">
                  <c:v>#N/A</c:v>
                </c:pt>
                <c:pt idx="776">
                  <c:v>#N/A</c:v>
                </c:pt>
                <c:pt idx="777">
                  <c:v>#N/A</c:v>
                </c:pt>
                <c:pt idx="778">
                  <c:v>#N/A</c:v>
                </c:pt>
                <c:pt idx="779">
                  <c:v>#N/A</c:v>
                </c:pt>
                <c:pt idx="780">
                  <c:v>#N/A</c:v>
                </c:pt>
                <c:pt idx="781">
                  <c:v>#N/A</c:v>
                </c:pt>
                <c:pt idx="782">
                  <c:v>#N/A</c:v>
                </c:pt>
                <c:pt idx="783">
                  <c:v>#N/A</c:v>
                </c:pt>
                <c:pt idx="784">
                  <c:v>#N/A</c:v>
                </c:pt>
                <c:pt idx="785">
                  <c:v>#N/A</c:v>
                </c:pt>
                <c:pt idx="786">
                  <c:v>#N/A</c:v>
                </c:pt>
                <c:pt idx="787">
                  <c:v>#N/A</c:v>
                </c:pt>
                <c:pt idx="788">
                  <c:v>#N/A</c:v>
                </c:pt>
                <c:pt idx="789">
                  <c:v>#N/A</c:v>
                </c:pt>
                <c:pt idx="790">
                  <c:v>#N/A</c:v>
                </c:pt>
                <c:pt idx="791">
                  <c:v>#N/A</c:v>
                </c:pt>
                <c:pt idx="792">
                  <c:v>#N/A</c:v>
                </c:pt>
                <c:pt idx="793">
                  <c:v>#N/A</c:v>
                </c:pt>
                <c:pt idx="794">
                  <c:v>#N/A</c:v>
                </c:pt>
                <c:pt idx="795">
                  <c:v>#N/A</c:v>
                </c:pt>
                <c:pt idx="796">
                  <c:v>#N/A</c:v>
                </c:pt>
                <c:pt idx="797">
                  <c:v>#N/A</c:v>
                </c:pt>
                <c:pt idx="798">
                  <c:v>#N/A</c:v>
                </c:pt>
                <c:pt idx="799">
                  <c:v>#N/A</c:v>
                </c:pt>
                <c:pt idx="800">
                  <c:v>#N/A</c:v>
                </c:pt>
                <c:pt idx="801">
                  <c:v>#N/A</c:v>
                </c:pt>
                <c:pt idx="802">
                  <c:v>#N/A</c:v>
                </c:pt>
                <c:pt idx="803">
                  <c:v>0.46027397260273972</c:v>
                </c:pt>
                <c:pt idx="804">
                  <c:v>#N/A</c:v>
                </c:pt>
                <c:pt idx="805">
                  <c:v>#N/A</c:v>
                </c:pt>
                <c:pt idx="806">
                  <c:v>#N/A</c:v>
                </c:pt>
                <c:pt idx="807">
                  <c:v>#N/A</c:v>
                </c:pt>
                <c:pt idx="808">
                  <c:v>#N/A</c:v>
                </c:pt>
                <c:pt idx="809">
                  <c:v>#N/A</c:v>
                </c:pt>
                <c:pt idx="810">
                  <c:v>#N/A</c:v>
                </c:pt>
                <c:pt idx="811">
                  <c:v>#N/A</c:v>
                </c:pt>
                <c:pt idx="812">
                  <c:v>#N/A</c:v>
                </c:pt>
                <c:pt idx="813">
                  <c:v>#N/A</c:v>
                </c:pt>
                <c:pt idx="814">
                  <c:v>#N/A</c:v>
                </c:pt>
                <c:pt idx="815">
                  <c:v>#N/A</c:v>
                </c:pt>
                <c:pt idx="816">
                  <c:v>0.46027397260273972</c:v>
                </c:pt>
                <c:pt idx="817">
                  <c:v>#N/A</c:v>
                </c:pt>
                <c:pt idx="818">
                  <c:v>0.46027397260273972</c:v>
                </c:pt>
                <c:pt idx="819">
                  <c:v>#N/A</c:v>
                </c:pt>
                <c:pt idx="820">
                  <c:v>#N/A</c:v>
                </c:pt>
                <c:pt idx="821">
                  <c:v>#N/A</c:v>
                </c:pt>
                <c:pt idx="822">
                  <c:v>#N/A</c:v>
                </c:pt>
                <c:pt idx="823">
                  <c:v>#N/A</c:v>
                </c:pt>
                <c:pt idx="824">
                  <c:v>#N/A</c:v>
                </c:pt>
                <c:pt idx="825">
                  <c:v>#N/A</c:v>
                </c:pt>
                <c:pt idx="826">
                  <c:v>#N/A</c:v>
                </c:pt>
                <c:pt idx="827">
                  <c:v>#N/A</c:v>
                </c:pt>
                <c:pt idx="828">
                  <c:v>#N/A</c:v>
                </c:pt>
                <c:pt idx="829">
                  <c:v>#N/A</c:v>
                </c:pt>
                <c:pt idx="830">
                  <c:v>#N/A</c:v>
                </c:pt>
                <c:pt idx="831">
                  <c:v>0.46027397260273972</c:v>
                </c:pt>
                <c:pt idx="832">
                  <c:v>#N/A</c:v>
                </c:pt>
                <c:pt idx="833">
                  <c:v>#N/A</c:v>
                </c:pt>
                <c:pt idx="834">
                  <c:v>#N/A</c:v>
                </c:pt>
                <c:pt idx="835">
                  <c:v>#N/A</c:v>
                </c:pt>
                <c:pt idx="836">
                  <c:v>#N/A</c:v>
                </c:pt>
                <c:pt idx="837">
                  <c:v>0.46027397260273972</c:v>
                </c:pt>
                <c:pt idx="838">
                  <c:v>#N/A</c:v>
                </c:pt>
                <c:pt idx="839">
                  <c:v>#N/A</c:v>
                </c:pt>
                <c:pt idx="840">
                  <c:v>#N/A</c:v>
                </c:pt>
                <c:pt idx="841">
                  <c:v>#N/A</c:v>
                </c:pt>
                <c:pt idx="842">
                  <c:v>#N/A</c:v>
                </c:pt>
                <c:pt idx="843">
                  <c:v>#N/A</c:v>
                </c:pt>
                <c:pt idx="844">
                  <c:v>#N/A</c:v>
                </c:pt>
                <c:pt idx="845">
                  <c:v>#N/A</c:v>
                </c:pt>
                <c:pt idx="846">
                  <c:v>#N/A</c:v>
                </c:pt>
                <c:pt idx="847">
                  <c:v>#N/A</c:v>
                </c:pt>
                <c:pt idx="848">
                  <c:v>0.46027397260273972</c:v>
                </c:pt>
                <c:pt idx="849">
                  <c:v>#N/A</c:v>
                </c:pt>
                <c:pt idx="850">
                  <c:v>#N/A</c:v>
                </c:pt>
                <c:pt idx="851">
                  <c:v>#N/A</c:v>
                </c:pt>
                <c:pt idx="852">
                  <c:v>#N/A</c:v>
                </c:pt>
                <c:pt idx="853">
                  <c:v>#N/A</c:v>
                </c:pt>
                <c:pt idx="854">
                  <c:v>#N/A</c:v>
                </c:pt>
                <c:pt idx="855">
                  <c:v>#N/A</c:v>
                </c:pt>
                <c:pt idx="856">
                  <c:v>#N/A</c:v>
                </c:pt>
                <c:pt idx="857">
                  <c:v>#N/A</c:v>
                </c:pt>
                <c:pt idx="858">
                  <c:v>#N/A</c:v>
                </c:pt>
                <c:pt idx="859">
                  <c:v>#N/A</c:v>
                </c:pt>
                <c:pt idx="860">
                  <c:v>#N/A</c:v>
                </c:pt>
                <c:pt idx="861">
                  <c:v>#N/A</c:v>
                </c:pt>
                <c:pt idx="862">
                  <c:v>#N/A</c:v>
                </c:pt>
                <c:pt idx="863">
                  <c:v>#N/A</c:v>
                </c:pt>
                <c:pt idx="864">
                  <c:v>#N/A</c:v>
                </c:pt>
                <c:pt idx="865">
                  <c:v>#N/A</c:v>
                </c:pt>
                <c:pt idx="866">
                  <c:v>#N/A</c:v>
                </c:pt>
                <c:pt idx="867">
                  <c:v>0.46027397260273972</c:v>
                </c:pt>
                <c:pt idx="868">
                  <c:v>#N/A</c:v>
                </c:pt>
                <c:pt idx="869">
                  <c:v>#N/A</c:v>
                </c:pt>
                <c:pt idx="870">
                  <c:v>#N/A</c:v>
                </c:pt>
                <c:pt idx="871">
                  <c:v>#N/A</c:v>
                </c:pt>
                <c:pt idx="872">
                  <c:v>0.46027397260273972</c:v>
                </c:pt>
                <c:pt idx="873">
                  <c:v>#N/A</c:v>
                </c:pt>
                <c:pt idx="874">
                  <c:v>0.46027397260273972</c:v>
                </c:pt>
                <c:pt idx="875">
                  <c:v>#N/A</c:v>
                </c:pt>
                <c:pt idx="876">
                  <c:v>#N/A</c:v>
                </c:pt>
                <c:pt idx="877">
                  <c:v>#N/A</c:v>
                </c:pt>
                <c:pt idx="878">
                  <c:v>#N/A</c:v>
                </c:pt>
                <c:pt idx="879">
                  <c:v>0.46027397260273972</c:v>
                </c:pt>
                <c:pt idx="880">
                  <c:v>#N/A</c:v>
                </c:pt>
                <c:pt idx="881">
                  <c:v>#N/A</c:v>
                </c:pt>
                <c:pt idx="882">
                  <c:v>#N/A</c:v>
                </c:pt>
                <c:pt idx="883">
                  <c:v>#N/A</c:v>
                </c:pt>
                <c:pt idx="884">
                  <c:v>#N/A</c:v>
                </c:pt>
                <c:pt idx="885">
                  <c:v>0.46027397260273972</c:v>
                </c:pt>
                <c:pt idx="886">
                  <c:v>#N/A</c:v>
                </c:pt>
                <c:pt idx="887">
                  <c:v>#N/A</c:v>
                </c:pt>
                <c:pt idx="888">
                  <c:v>#N/A</c:v>
                </c:pt>
                <c:pt idx="889">
                  <c:v>#N/A</c:v>
                </c:pt>
                <c:pt idx="890">
                  <c:v>#N/A</c:v>
                </c:pt>
                <c:pt idx="891">
                  <c:v>#N/A</c:v>
                </c:pt>
                <c:pt idx="892">
                  <c:v>#N/A</c:v>
                </c:pt>
                <c:pt idx="893">
                  <c:v>#N/A</c:v>
                </c:pt>
                <c:pt idx="894">
                  <c:v>#N/A</c:v>
                </c:pt>
                <c:pt idx="895">
                  <c:v>#N/A</c:v>
                </c:pt>
                <c:pt idx="896">
                  <c:v>#N/A</c:v>
                </c:pt>
                <c:pt idx="897">
                  <c:v>0.46301369863013697</c:v>
                </c:pt>
                <c:pt idx="898">
                  <c:v>#N/A</c:v>
                </c:pt>
                <c:pt idx="899">
                  <c:v>#N/A</c:v>
                </c:pt>
                <c:pt idx="900">
                  <c:v>0.46301369863013697</c:v>
                </c:pt>
                <c:pt idx="901">
                  <c:v>#N/A</c:v>
                </c:pt>
                <c:pt idx="902">
                  <c:v>0.46301369863013697</c:v>
                </c:pt>
                <c:pt idx="903">
                  <c:v>#N/A</c:v>
                </c:pt>
                <c:pt idx="904">
                  <c:v>#N/A</c:v>
                </c:pt>
                <c:pt idx="905">
                  <c:v>#N/A</c:v>
                </c:pt>
                <c:pt idx="906">
                  <c:v>#N/A</c:v>
                </c:pt>
                <c:pt idx="907">
                  <c:v>#N/A</c:v>
                </c:pt>
                <c:pt idx="908">
                  <c:v>#N/A</c:v>
                </c:pt>
                <c:pt idx="909">
                  <c:v>#N/A</c:v>
                </c:pt>
                <c:pt idx="910">
                  <c:v>#N/A</c:v>
                </c:pt>
                <c:pt idx="911">
                  <c:v>#N/A</c:v>
                </c:pt>
                <c:pt idx="912">
                  <c:v>#N/A</c:v>
                </c:pt>
                <c:pt idx="913">
                  <c:v>#N/A</c:v>
                </c:pt>
                <c:pt idx="914">
                  <c:v>#N/A</c:v>
                </c:pt>
                <c:pt idx="915">
                  <c:v>#N/A</c:v>
                </c:pt>
                <c:pt idx="916">
                  <c:v>#N/A</c:v>
                </c:pt>
                <c:pt idx="917">
                  <c:v>#N/A</c:v>
                </c:pt>
                <c:pt idx="918">
                  <c:v>#N/A</c:v>
                </c:pt>
                <c:pt idx="919">
                  <c:v>#N/A</c:v>
                </c:pt>
                <c:pt idx="920">
                  <c:v>#N/A</c:v>
                </c:pt>
                <c:pt idx="921">
                  <c:v>0.46301369863013697</c:v>
                </c:pt>
                <c:pt idx="922">
                  <c:v>#N/A</c:v>
                </c:pt>
                <c:pt idx="923">
                  <c:v>#N/A</c:v>
                </c:pt>
                <c:pt idx="924">
                  <c:v>0.46301369863013697</c:v>
                </c:pt>
                <c:pt idx="925">
                  <c:v>0.46301369863013697</c:v>
                </c:pt>
                <c:pt idx="926">
                  <c:v>0.46301369863013697</c:v>
                </c:pt>
                <c:pt idx="927">
                  <c:v>#N/A</c:v>
                </c:pt>
                <c:pt idx="928">
                  <c:v>#N/A</c:v>
                </c:pt>
                <c:pt idx="929">
                  <c:v>#N/A</c:v>
                </c:pt>
                <c:pt idx="930">
                  <c:v>#N/A</c:v>
                </c:pt>
                <c:pt idx="931">
                  <c:v>#N/A</c:v>
                </c:pt>
                <c:pt idx="932">
                  <c:v>#N/A</c:v>
                </c:pt>
                <c:pt idx="933">
                  <c:v>#N/A</c:v>
                </c:pt>
                <c:pt idx="934">
                  <c:v>#N/A</c:v>
                </c:pt>
                <c:pt idx="935">
                  <c:v>#N/A</c:v>
                </c:pt>
                <c:pt idx="936">
                  <c:v>#N/A</c:v>
                </c:pt>
                <c:pt idx="937">
                  <c:v>#N/A</c:v>
                </c:pt>
                <c:pt idx="938">
                  <c:v>0.46301369863013697</c:v>
                </c:pt>
                <c:pt idx="939">
                  <c:v>#N/A</c:v>
                </c:pt>
                <c:pt idx="940">
                  <c:v>#N/A</c:v>
                </c:pt>
                <c:pt idx="941">
                  <c:v>#N/A</c:v>
                </c:pt>
                <c:pt idx="942">
                  <c:v>#N/A</c:v>
                </c:pt>
                <c:pt idx="943">
                  <c:v>#N/A</c:v>
                </c:pt>
                <c:pt idx="944">
                  <c:v>#N/A</c:v>
                </c:pt>
                <c:pt idx="945">
                  <c:v>#N/A</c:v>
                </c:pt>
                <c:pt idx="946">
                  <c:v>0.46301369863013697</c:v>
                </c:pt>
                <c:pt idx="947">
                  <c:v>#N/A</c:v>
                </c:pt>
                <c:pt idx="948">
                  <c:v>#N/A</c:v>
                </c:pt>
                <c:pt idx="949">
                  <c:v>#N/A</c:v>
                </c:pt>
                <c:pt idx="950">
                  <c:v>#N/A</c:v>
                </c:pt>
                <c:pt idx="951">
                  <c:v>#N/A</c:v>
                </c:pt>
                <c:pt idx="952">
                  <c:v>#N/A</c:v>
                </c:pt>
                <c:pt idx="953">
                  <c:v>#N/A</c:v>
                </c:pt>
                <c:pt idx="954">
                  <c:v>#N/A</c:v>
                </c:pt>
                <c:pt idx="955">
                  <c:v>#N/A</c:v>
                </c:pt>
                <c:pt idx="956">
                  <c:v>#N/A</c:v>
                </c:pt>
                <c:pt idx="957">
                  <c:v>#N/A</c:v>
                </c:pt>
                <c:pt idx="958">
                  <c:v>#N/A</c:v>
                </c:pt>
                <c:pt idx="959">
                  <c:v>#N/A</c:v>
                </c:pt>
                <c:pt idx="960">
                  <c:v>0.46301369863013697</c:v>
                </c:pt>
                <c:pt idx="961">
                  <c:v>0.46301369863013697</c:v>
                </c:pt>
                <c:pt idx="962">
                  <c:v>#N/A</c:v>
                </c:pt>
                <c:pt idx="963">
                  <c:v>#N/A</c:v>
                </c:pt>
                <c:pt idx="964">
                  <c:v>#N/A</c:v>
                </c:pt>
                <c:pt idx="965">
                  <c:v>#N/A</c:v>
                </c:pt>
                <c:pt idx="966">
                  <c:v>#N/A</c:v>
                </c:pt>
                <c:pt idx="967">
                  <c:v>#N/A</c:v>
                </c:pt>
                <c:pt idx="968">
                  <c:v>#N/A</c:v>
                </c:pt>
                <c:pt idx="969">
                  <c:v>0.46301369863013697</c:v>
                </c:pt>
                <c:pt idx="970">
                  <c:v>#N/A</c:v>
                </c:pt>
                <c:pt idx="971">
                  <c:v>#N/A</c:v>
                </c:pt>
                <c:pt idx="972">
                  <c:v>0.46301369863013697</c:v>
                </c:pt>
                <c:pt idx="973">
                  <c:v>#N/A</c:v>
                </c:pt>
                <c:pt idx="974">
                  <c:v>#N/A</c:v>
                </c:pt>
                <c:pt idx="975">
                  <c:v>#N/A</c:v>
                </c:pt>
                <c:pt idx="976">
                  <c:v>#N/A</c:v>
                </c:pt>
                <c:pt idx="977">
                  <c:v>#N/A</c:v>
                </c:pt>
                <c:pt idx="978">
                  <c:v>#N/A</c:v>
                </c:pt>
                <c:pt idx="979">
                  <c:v>#N/A</c:v>
                </c:pt>
                <c:pt idx="980">
                  <c:v>#N/A</c:v>
                </c:pt>
                <c:pt idx="981">
                  <c:v>#N/A</c:v>
                </c:pt>
                <c:pt idx="982">
                  <c:v>#N/A</c:v>
                </c:pt>
                <c:pt idx="983">
                  <c:v>#N/A</c:v>
                </c:pt>
                <c:pt idx="984">
                  <c:v>#N/A</c:v>
                </c:pt>
                <c:pt idx="985">
                  <c:v>#N/A</c:v>
                </c:pt>
                <c:pt idx="986">
                  <c:v>#N/A</c:v>
                </c:pt>
                <c:pt idx="987">
                  <c:v>#N/A</c:v>
                </c:pt>
                <c:pt idx="988">
                  <c:v>#N/A</c:v>
                </c:pt>
                <c:pt idx="989">
                  <c:v>#N/A</c:v>
                </c:pt>
                <c:pt idx="990">
                  <c:v>#N/A</c:v>
                </c:pt>
                <c:pt idx="991">
                  <c:v>#N/A</c:v>
                </c:pt>
                <c:pt idx="992">
                  <c:v>#N/A</c:v>
                </c:pt>
                <c:pt idx="993">
                  <c:v>#N/A</c:v>
                </c:pt>
                <c:pt idx="994">
                  <c:v>#N/A</c:v>
                </c:pt>
                <c:pt idx="995">
                  <c:v>#N/A</c:v>
                </c:pt>
                <c:pt idx="996">
                  <c:v>#N/A</c:v>
                </c:pt>
                <c:pt idx="997">
                  <c:v>#N/A</c:v>
                </c:pt>
                <c:pt idx="998">
                  <c:v>#N/A</c:v>
                </c:pt>
                <c:pt idx="999">
                  <c:v>#N/A</c:v>
                </c:pt>
                <c:pt idx="1000">
                  <c:v>#N/A</c:v>
                </c:pt>
                <c:pt idx="1001">
                  <c:v>#N/A</c:v>
                </c:pt>
                <c:pt idx="1002">
                  <c:v>#N/A</c:v>
                </c:pt>
                <c:pt idx="1003">
                  <c:v>#N/A</c:v>
                </c:pt>
                <c:pt idx="1004">
                  <c:v>#N/A</c:v>
                </c:pt>
                <c:pt idx="1005">
                  <c:v>#N/A</c:v>
                </c:pt>
                <c:pt idx="1006">
                  <c:v>#N/A</c:v>
                </c:pt>
                <c:pt idx="1007">
                  <c:v>#N/A</c:v>
                </c:pt>
                <c:pt idx="1008">
                  <c:v>#N/A</c:v>
                </c:pt>
                <c:pt idx="1009">
                  <c:v>#N/A</c:v>
                </c:pt>
                <c:pt idx="1010">
                  <c:v>#N/A</c:v>
                </c:pt>
                <c:pt idx="1011">
                  <c:v>#N/A</c:v>
                </c:pt>
                <c:pt idx="1012">
                  <c:v>#N/A</c:v>
                </c:pt>
                <c:pt idx="1013">
                  <c:v>#N/A</c:v>
                </c:pt>
                <c:pt idx="1014">
                  <c:v>#N/A</c:v>
                </c:pt>
                <c:pt idx="1015">
                  <c:v>#N/A</c:v>
                </c:pt>
                <c:pt idx="1016">
                  <c:v>#N/A</c:v>
                </c:pt>
                <c:pt idx="1017">
                  <c:v>#N/A</c:v>
                </c:pt>
                <c:pt idx="1018">
                  <c:v>#N/A</c:v>
                </c:pt>
                <c:pt idx="1019">
                  <c:v>#N/A</c:v>
                </c:pt>
                <c:pt idx="1020">
                  <c:v>#N/A</c:v>
                </c:pt>
                <c:pt idx="1021">
                  <c:v>#N/A</c:v>
                </c:pt>
                <c:pt idx="1022">
                  <c:v>#N/A</c:v>
                </c:pt>
                <c:pt idx="1023">
                  <c:v>#N/A</c:v>
                </c:pt>
                <c:pt idx="1024">
                  <c:v>#N/A</c:v>
                </c:pt>
                <c:pt idx="1025">
                  <c:v>#N/A</c:v>
                </c:pt>
                <c:pt idx="1026">
                  <c:v>#N/A</c:v>
                </c:pt>
                <c:pt idx="1027">
                  <c:v>#N/A</c:v>
                </c:pt>
                <c:pt idx="1028">
                  <c:v>#N/A</c:v>
                </c:pt>
                <c:pt idx="1029">
                  <c:v>#N/A</c:v>
                </c:pt>
                <c:pt idx="1030">
                  <c:v>#N/A</c:v>
                </c:pt>
                <c:pt idx="1031">
                  <c:v>#N/A</c:v>
                </c:pt>
                <c:pt idx="1032">
                  <c:v>#N/A</c:v>
                </c:pt>
                <c:pt idx="1033">
                  <c:v>#N/A</c:v>
                </c:pt>
                <c:pt idx="1034">
                  <c:v>#N/A</c:v>
                </c:pt>
                <c:pt idx="1035">
                  <c:v>#N/A</c:v>
                </c:pt>
                <c:pt idx="1036">
                  <c:v>#N/A</c:v>
                </c:pt>
                <c:pt idx="1037">
                  <c:v>#N/A</c:v>
                </c:pt>
                <c:pt idx="1038">
                  <c:v>#N/A</c:v>
                </c:pt>
                <c:pt idx="1039">
                  <c:v>#N/A</c:v>
                </c:pt>
                <c:pt idx="1040">
                  <c:v>0.46849315068493153</c:v>
                </c:pt>
                <c:pt idx="1041">
                  <c:v>0.46849315068493153</c:v>
                </c:pt>
                <c:pt idx="1042">
                  <c:v>#N/A</c:v>
                </c:pt>
                <c:pt idx="1043">
                  <c:v>#N/A</c:v>
                </c:pt>
                <c:pt idx="1044">
                  <c:v>#N/A</c:v>
                </c:pt>
                <c:pt idx="1045">
                  <c:v>#N/A</c:v>
                </c:pt>
                <c:pt idx="1046">
                  <c:v>#N/A</c:v>
                </c:pt>
                <c:pt idx="1047">
                  <c:v>#N/A</c:v>
                </c:pt>
                <c:pt idx="1048">
                  <c:v>#N/A</c:v>
                </c:pt>
                <c:pt idx="1049">
                  <c:v>#N/A</c:v>
                </c:pt>
                <c:pt idx="1050">
                  <c:v>#N/A</c:v>
                </c:pt>
                <c:pt idx="1051">
                  <c:v>#N/A</c:v>
                </c:pt>
                <c:pt idx="1052">
                  <c:v>#N/A</c:v>
                </c:pt>
                <c:pt idx="1053">
                  <c:v>#N/A</c:v>
                </c:pt>
                <c:pt idx="1054">
                  <c:v>#N/A</c:v>
                </c:pt>
                <c:pt idx="1055">
                  <c:v>#N/A</c:v>
                </c:pt>
                <c:pt idx="1056">
                  <c:v>#N/A</c:v>
                </c:pt>
                <c:pt idx="1057">
                  <c:v>#N/A</c:v>
                </c:pt>
                <c:pt idx="1058">
                  <c:v>#N/A</c:v>
                </c:pt>
                <c:pt idx="1059">
                  <c:v>#N/A</c:v>
                </c:pt>
                <c:pt idx="1060">
                  <c:v>0.47397260273972602</c:v>
                </c:pt>
                <c:pt idx="1061">
                  <c:v>0.47397260273972602</c:v>
                </c:pt>
                <c:pt idx="1062">
                  <c:v>#N/A</c:v>
                </c:pt>
                <c:pt idx="1063">
                  <c:v>0.47397260273972602</c:v>
                </c:pt>
                <c:pt idx="1064">
                  <c:v>#N/A</c:v>
                </c:pt>
                <c:pt idx="1065">
                  <c:v>0.47397260273972602</c:v>
                </c:pt>
                <c:pt idx="1066">
                  <c:v>#N/A</c:v>
                </c:pt>
                <c:pt idx="1067">
                  <c:v>0.47397260273972602</c:v>
                </c:pt>
                <c:pt idx="1068">
                  <c:v>#N/A</c:v>
                </c:pt>
                <c:pt idx="1069">
                  <c:v>#N/A</c:v>
                </c:pt>
                <c:pt idx="1070">
                  <c:v>#N/A</c:v>
                </c:pt>
                <c:pt idx="1071">
                  <c:v>#N/A</c:v>
                </c:pt>
                <c:pt idx="1072">
                  <c:v>#N/A</c:v>
                </c:pt>
                <c:pt idx="1073">
                  <c:v>0.47397260273972602</c:v>
                </c:pt>
                <c:pt idx="1074">
                  <c:v>#N/A</c:v>
                </c:pt>
                <c:pt idx="1075">
                  <c:v>0.47397260273972602</c:v>
                </c:pt>
                <c:pt idx="1076">
                  <c:v>#N/A</c:v>
                </c:pt>
                <c:pt idx="1077">
                  <c:v>#N/A</c:v>
                </c:pt>
                <c:pt idx="1078">
                  <c:v>#N/A</c:v>
                </c:pt>
                <c:pt idx="1079">
                  <c:v>#N/A</c:v>
                </c:pt>
                <c:pt idx="1080">
                  <c:v>#N/A</c:v>
                </c:pt>
                <c:pt idx="1081">
                  <c:v>#N/A</c:v>
                </c:pt>
                <c:pt idx="1082">
                  <c:v>#N/A</c:v>
                </c:pt>
                <c:pt idx="1083">
                  <c:v>#N/A</c:v>
                </c:pt>
                <c:pt idx="1084">
                  <c:v>#N/A</c:v>
                </c:pt>
                <c:pt idx="1085">
                  <c:v>#N/A</c:v>
                </c:pt>
                <c:pt idx="1086">
                  <c:v>#N/A</c:v>
                </c:pt>
                <c:pt idx="1087">
                  <c:v>#N/A</c:v>
                </c:pt>
                <c:pt idx="1088">
                  <c:v>#N/A</c:v>
                </c:pt>
                <c:pt idx="1089">
                  <c:v>#N/A</c:v>
                </c:pt>
                <c:pt idx="1090">
                  <c:v>#N/A</c:v>
                </c:pt>
                <c:pt idx="1091">
                  <c:v>#N/A</c:v>
                </c:pt>
                <c:pt idx="1092">
                  <c:v>0.47671232876712327</c:v>
                </c:pt>
                <c:pt idx="1093">
                  <c:v>#N/A</c:v>
                </c:pt>
                <c:pt idx="1094">
                  <c:v>#N/A</c:v>
                </c:pt>
                <c:pt idx="1095">
                  <c:v>#N/A</c:v>
                </c:pt>
                <c:pt idx="1096">
                  <c:v>0.47945205479452052</c:v>
                </c:pt>
                <c:pt idx="1097">
                  <c:v>0.47945205479452052</c:v>
                </c:pt>
                <c:pt idx="1098">
                  <c:v>#N/A</c:v>
                </c:pt>
                <c:pt idx="1099">
                  <c:v>#N/A</c:v>
                </c:pt>
                <c:pt idx="1100">
                  <c:v>#N/A</c:v>
                </c:pt>
                <c:pt idx="1101">
                  <c:v>#N/A</c:v>
                </c:pt>
                <c:pt idx="1102">
                  <c:v>0.47945205479452052</c:v>
                </c:pt>
                <c:pt idx="1103">
                  <c:v>#N/A</c:v>
                </c:pt>
                <c:pt idx="1104">
                  <c:v>#N/A</c:v>
                </c:pt>
                <c:pt idx="1105">
                  <c:v>#N/A</c:v>
                </c:pt>
                <c:pt idx="1106">
                  <c:v>0.48219178082191783</c:v>
                </c:pt>
                <c:pt idx="1107">
                  <c:v>#N/A</c:v>
                </c:pt>
                <c:pt idx="1108">
                  <c:v>#N/A</c:v>
                </c:pt>
                <c:pt idx="1109">
                  <c:v>#N/A</c:v>
                </c:pt>
                <c:pt idx="1110">
                  <c:v>#N/A</c:v>
                </c:pt>
                <c:pt idx="1111">
                  <c:v>#N/A</c:v>
                </c:pt>
                <c:pt idx="1112">
                  <c:v>#N/A</c:v>
                </c:pt>
                <c:pt idx="1113">
                  <c:v>#N/A</c:v>
                </c:pt>
                <c:pt idx="1114">
                  <c:v>#N/A</c:v>
                </c:pt>
                <c:pt idx="1115">
                  <c:v>#N/A</c:v>
                </c:pt>
                <c:pt idx="1116">
                  <c:v>#N/A</c:v>
                </c:pt>
                <c:pt idx="1117">
                  <c:v>#N/A</c:v>
                </c:pt>
                <c:pt idx="1118">
                  <c:v>#N/A</c:v>
                </c:pt>
                <c:pt idx="1119">
                  <c:v>0.48219178082191783</c:v>
                </c:pt>
                <c:pt idx="1120">
                  <c:v>#N/A</c:v>
                </c:pt>
                <c:pt idx="1121">
                  <c:v>#N/A</c:v>
                </c:pt>
                <c:pt idx="1122">
                  <c:v>#N/A</c:v>
                </c:pt>
                <c:pt idx="1123">
                  <c:v>#N/A</c:v>
                </c:pt>
                <c:pt idx="1124">
                  <c:v>#N/A</c:v>
                </c:pt>
                <c:pt idx="1125">
                  <c:v>#N/A</c:v>
                </c:pt>
                <c:pt idx="1126">
                  <c:v>#N/A</c:v>
                </c:pt>
                <c:pt idx="1127">
                  <c:v>#N/A</c:v>
                </c:pt>
                <c:pt idx="1128">
                  <c:v>0.49315068493150682</c:v>
                </c:pt>
                <c:pt idx="1129">
                  <c:v>#N/A</c:v>
                </c:pt>
                <c:pt idx="1130">
                  <c:v>#N/A</c:v>
                </c:pt>
                <c:pt idx="1131">
                  <c:v>#N/A</c:v>
                </c:pt>
                <c:pt idx="1132">
                  <c:v>#N/A</c:v>
                </c:pt>
                <c:pt idx="1133">
                  <c:v>#N/A</c:v>
                </c:pt>
                <c:pt idx="1134">
                  <c:v>#N/A</c:v>
                </c:pt>
                <c:pt idx="1135">
                  <c:v>#N/A</c:v>
                </c:pt>
                <c:pt idx="1136">
                  <c:v>#N/A</c:v>
                </c:pt>
                <c:pt idx="1137">
                  <c:v>#N/A</c:v>
                </c:pt>
                <c:pt idx="1138">
                  <c:v>#N/A</c:v>
                </c:pt>
                <c:pt idx="1139">
                  <c:v>#N/A</c:v>
                </c:pt>
                <c:pt idx="1140">
                  <c:v>#N/A</c:v>
                </c:pt>
                <c:pt idx="1141">
                  <c:v>#N/A</c:v>
                </c:pt>
                <c:pt idx="1142">
                  <c:v>#N/A</c:v>
                </c:pt>
                <c:pt idx="1143">
                  <c:v>#N/A</c:v>
                </c:pt>
                <c:pt idx="1144">
                  <c:v>#N/A</c:v>
                </c:pt>
                <c:pt idx="1145">
                  <c:v>#N/A</c:v>
                </c:pt>
                <c:pt idx="1146">
                  <c:v>#N/A</c:v>
                </c:pt>
                <c:pt idx="1147">
                  <c:v>#N/A</c:v>
                </c:pt>
                <c:pt idx="1148">
                  <c:v>#N/A</c:v>
                </c:pt>
                <c:pt idx="1149">
                  <c:v>#N/A</c:v>
                </c:pt>
                <c:pt idx="1150">
                  <c:v>#N/A</c:v>
                </c:pt>
                <c:pt idx="1151">
                  <c:v>#N/A</c:v>
                </c:pt>
                <c:pt idx="1152">
                  <c:v>#N/A</c:v>
                </c:pt>
                <c:pt idx="1153">
                  <c:v>#N/A</c:v>
                </c:pt>
                <c:pt idx="1154">
                  <c:v>#N/A</c:v>
                </c:pt>
                <c:pt idx="1155">
                  <c:v>#N/A</c:v>
                </c:pt>
                <c:pt idx="1156">
                  <c:v>#N/A</c:v>
                </c:pt>
                <c:pt idx="1157">
                  <c:v>#N/A</c:v>
                </c:pt>
                <c:pt idx="1158">
                  <c:v>#N/A</c:v>
                </c:pt>
                <c:pt idx="1159">
                  <c:v>#N/A</c:v>
                </c:pt>
                <c:pt idx="1160">
                  <c:v>#N/A</c:v>
                </c:pt>
                <c:pt idx="1161">
                  <c:v>#N/A</c:v>
                </c:pt>
                <c:pt idx="1162">
                  <c:v>#N/A</c:v>
                </c:pt>
                <c:pt idx="1163">
                  <c:v>#N/A</c:v>
                </c:pt>
                <c:pt idx="1164">
                  <c:v>#N/A</c:v>
                </c:pt>
                <c:pt idx="1165">
                  <c:v>#N/A</c:v>
                </c:pt>
                <c:pt idx="1166">
                  <c:v>0.51232876712328768</c:v>
                </c:pt>
                <c:pt idx="1167">
                  <c:v>#N/A</c:v>
                </c:pt>
                <c:pt idx="1168">
                  <c:v>#N/A</c:v>
                </c:pt>
                <c:pt idx="1169">
                  <c:v>#N/A</c:v>
                </c:pt>
                <c:pt idx="1170">
                  <c:v>#N/A</c:v>
                </c:pt>
                <c:pt idx="1171">
                  <c:v>#N/A</c:v>
                </c:pt>
                <c:pt idx="1172">
                  <c:v>#N/A</c:v>
                </c:pt>
                <c:pt idx="1173">
                  <c:v>#N/A</c:v>
                </c:pt>
                <c:pt idx="1174">
                  <c:v>#N/A</c:v>
                </c:pt>
                <c:pt idx="1175">
                  <c:v>#N/A</c:v>
                </c:pt>
                <c:pt idx="1176">
                  <c:v>#N/A</c:v>
                </c:pt>
                <c:pt idx="1177">
                  <c:v>#N/A</c:v>
                </c:pt>
                <c:pt idx="1178">
                  <c:v>#N/A</c:v>
                </c:pt>
                <c:pt idx="1179">
                  <c:v>#N/A</c:v>
                </c:pt>
                <c:pt idx="1180">
                  <c:v>#N/A</c:v>
                </c:pt>
                <c:pt idx="1181">
                  <c:v>#N/A</c:v>
                </c:pt>
                <c:pt idx="1182">
                  <c:v>#N/A</c:v>
                </c:pt>
                <c:pt idx="1183">
                  <c:v>#N/A</c:v>
                </c:pt>
                <c:pt idx="1184">
                  <c:v>#N/A</c:v>
                </c:pt>
                <c:pt idx="1185">
                  <c:v>#N/A</c:v>
                </c:pt>
                <c:pt idx="1186">
                  <c:v>#N/A</c:v>
                </c:pt>
                <c:pt idx="1187">
                  <c:v>#N/A</c:v>
                </c:pt>
                <c:pt idx="1188">
                  <c:v>#N/A</c:v>
                </c:pt>
                <c:pt idx="1189">
                  <c:v>#N/A</c:v>
                </c:pt>
                <c:pt idx="1190">
                  <c:v>#N/A</c:v>
                </c:pt>
                <c:pt idx="1191">
                  <c:v>#N/A</c:v>
                </c:pt>
                <c:pt idx="1192">
                  <c:v>#N/A</c:v>
                </c:pt>
                <c:pt idx="1193">
                  <c:v>#N/A</c:v>
                </c:pt>
                <c:pt idx="1194">
                  <c:v>#N/A</c:v>
                </c:pt>
                <c:pt idx="1195">
                  <c:v>#N/A</c:v>
                </c:pt>
                <c:pt idx="1196">
                  <c:v>#N/A</c:v>
                </c:pt>
                <c:pt idx="1197">
                  <c:v>#N/A</c:v>
                </c:pt>
                <c:pt idx="1198">
                  <c:v>#N/A</c:v>
                </c:pt>
                <c:pt idx="1199">
                  <c:v>#N/A</c:v>
                </c:pt>
                <c:pt idx="1200">
                  <c:v>#N/A</c:v>
                </c:pt>
                <c:pt idx="1201">
                  <c:v>#N/A</c:v>
                </c:pt>
                <c:pt idx="1202">
                  <c:v>#N/A</c:v>
                </c:pt>
                <c:pt idx="1203">
                  <c:v>#N/A</c:v>
                </c:pt>
                <c:pt idx="1204">
                  <c:v>#N/A</c:v>
                </c:pt>
                <c:pt idx="1205">
                  <c:v>#N/A</c:v>
                </c:pt>
                <c:pt idx="1206">
                  <c:v>#N/A</c:v>
                </c:pt>
                <c:pt idx="1207">
                  <c:v>0.51780821917808217</c:v>
                </c:pt>
                <c:pt idx="1208">
                  <c:v>#N/A</c:v>
                </c:pt>
                <c:pt idx="1209">
                  <c:v>#N/A</c:v>
                </c:pt>
                <c:pt idx="1210">
                  <c:v>#N/A</c:v>
                </c:pt>
                <c:pt idx="1211">
                  <c:v>#N/A</c:v>
                </c:pt>
                <c:pt idx="1212">
                  <c:v>0.51780821917808217</c:v>
                </c:pt>
                <c:pt idx="1213">
                  <c:v>#N/A</c:v>
                </c:pt>
                <c:pt idx="1214">
                  <c:v>#N/A</c:v>
                </c:pt>
                <c:pt idx="1215">
                  <c:v>#N/A</c:v>
                </c:pt>
                <c:pt idx="1216">
                  <c:v>#N/A</c:v>
                </c:pt>
                <c:pt idx="1217">
                  <c:v>#N/A</c:v>
                </c:pt>
                <c:pt idx="1218">
                  <c:v>#N/A</c:v>
                </c:pt>
                <c:pt idx="1219">
                  <c:v>#N/A</c:v>
                </c:pt>
                <c:pt idx="1220">
                  <c:v>#N/A</c:v>
                </c:pt>
                <c:pt idx="1221">
                  <c:v>#N/A</c:v>
                </c:pt>
                <c:pt idx="1222">
                  <c:v>#N/A</c:v>
                </c:pt>
                <c:pt idx="1223">
                  <c:v>#N/A</c:v>
                </c:pt>
                <c:pt idx="1224">
                  <c:v>#N/A</c:v>
                </c:pt>
                <c:pt idx="1225">
                  <c:v>#N/A</c:v>
                </c:pt>
                <c:pt idx="1226">
                  <c:v>#N/A</c:v>
                </c:pt>
                <c:pt idx="1227">
                  <c:v>#N/A</c:v>
                </c:pt>
                <c:pt idx="1228">
                  <c:v>#N/A</c:v>
                </c:pt>
                <c:pt idx="1229">
                  <c:v>#N/A</c:v>
                </c:pt>
                <c:pt idx="1230">
                  <c:v>#N/A</c:v>
                </c:pt>
                <c:pt idx="1231">
                  <c:v>#N/A</c:v>
                </c:pt>
                <c:pt idx="1232">
                  <c:v>#N/A</c:v>
                </c:pt>
                <c:pt idx="1233">
                  <c:v>#N/A</c:v>
                </c:pt>
                <c:pt idx="1234">
                  <c:v>#N/A</c:v>
                </c:pt>
                <c:pt idx="1235">
                  <c:v>#N/A</c:v>
                </c:pt>
                <c:pt idx="1236">
                  <c:v>0.52328767123287667</c:v>
                </c:pt>
                <c:pt idx="1237">
                  <c:v>#N/A</c:v>
                </c:pt>
                <c:pt idx="1238">
                  <c:v>#N/A</c:v>
                </c:pt>
                <c:pt idx="1239">
                  <c:v>#N/A</c:v>
                </c:pt>
                <c:pt idx="1240">
                  <c:v>#N/A</c:v>
                </c:pt>
                <c:pt idx="1241">
                  <c:v>#N/A</c:v>
                </c:pt>
                <c:pt idx="1242">
                  <c:v>#N/A</c:v>
                </c:pt>
                <c:pt idx="1243">
                  <c:v>#N/A</c:v>
                </c:pt>
                <c:pt idx="1244">
                  <c:v>#N/A</c:v>
                </c:pt>
                <c:pt idx="1245">
                  <c:v>#N/A</c:v>
                </c:pt>
                <c:pt idx="1246">
                  <c:v>#N/A</c:v>
                </c:pt>
                <c:pt idx="1247">
                  <c:v>#N/A</c:v>
                </c:pt>
                <c:pt idx="1248">
                  <c:v>#N/A</c:v>
                </c:pt>
                <c:pt idx="1249">
                  <c:v>#N/A</c:v>
                </c:pt>
                <c:pt idx="1250">
                  <c:v>#N/A</c:v>
                </c:pt>
                <c:pt idx="1251">
                  <c:v>#N/A</c:v>
                </c:pt>
                <c:pt idx="1252">
                  <c:v>#N/A</c:v>
                </c:pt>
                <c:pt idx="1253">
                  <c:v>#N/A</c:v>
                </c:pt>
                <c:pt idx="1254">
                  <c:v>#N/A</c:v>
                </c:pt>
                <c:pt idx="1255">
                  <c:v>#N/A</c:v>
                </c:pt>
                <c:pt idx="1256">
                  <c:v>#N/A</c:v>
                </c:pt>
                <c:pt idx="1257">
                  <c:v>#N/A</c:v>
                </c:pt>
                <c:pt idx="1258">
                  <c:v>0.53150684931506853</c:v>
                </c:pt>
                <c:pt idx="1259">
                  <c:v>#N/A</c:v>
                </c:pt>
                <c:pt idx="1260">
                  <c:v>#N/A</c:v>
                </c:pt>
                <c:pt idx="1261">
                  <c:v>#N/A</c:v>
                </c:pt>
                <c:pt idx="1262">
                  <c:v>#N/A</c:v>
                </c:pt>
                <c:pt idx="1263">
                  <c:v>#N/A</c:v>
                </c:pt>
                <c:pt idx="1264">
                  <c:v>#N/A</c:v>
                </c:pt>
                <c:pt idx="1265">
                  <c:v>#N/A</c:v>
                </c:pt>
                <c:pt idx="1266">
                  <c:v>#N/A</c:v>
                </c:pt>
                <c:pt idx="1267">
                  <c:v>#N/A</c:v>
                </c:pt>
                <c:pt idx="1268">
                  <c:v>#N/A</c:v>
                </c:pt>
                <c:pt idx="1269">
                  <c:v>#N/A</c:v>
                </c:pt>
                <c:pt idx="1270">
                  <c:v>#N/A</c:v>
                </c:pt>
                <c:pt idx="1271">
                  <c:v>#N/A</c:v>
                </c:pt>
                <c:pt idx="1272">
                  <c:v>#N/A</c:v>
                </c:pt>
                <c:pt idx="1273">
                  <c:v>#N/A</c:v>
                </c:pt>
                <c:pt idx="1274">
                  <c:v>#N/A</c:v>
                </c:pt>
                <c:pt idx="1275">
                  <c:v>#N/A</c:v>
                </c:pt>
                <c:pt idx="1276">
                  <c:v>#N/A</c:v>
                </c:pt>
                <c:pt idx="1277">
                  <c:v>#N/A</c:v>
                </c:pt>
                <c:pt idx="1278">
                  <c:v>#N/A</c:v>
                </c:pt>
                <c:pt idx="1279">
                  <c:v>#N/A</c:v>
                </c:pt>
                <c:pt idx="1280">
                  <c:v>#N/A</c:v>
                </c:pt>
                <c:pt idx="1281">
                  <c:v>#N/A</c:v>
                </c:pt>
                <c:pt idx="1282">
                  <c:v>#N/A</c:v>
                </c:pt>
                <c:pt idx="1283">
                  <c:v>#N/A</c:v>
                </c:pt>
                <c:pt idx="1284">
                  <c:v>#N/A</c:v>
                </c:pt>
                <c:pt idx="1285">
                  <c:v>#N/A</c:v>
                </c:pt>
                <c:pt idx="1286">
                  <c:v>#N/A</c:v>
                </c:pt>
                <c:pt idx="1287">
                  <c:v>#N/A</c:v>
                </c:pt>
                <c:pt idx="1288">
                  <c:v>#N/A</c:v>
                </c:pt>
                <c:pt idx="1289">
                  <c:v>0.53972602739726028</c:v>
                </c:pt>
                <c:pt idx="1290">
                  <c:v>#N/A</c:v>
                </c:pt>
                <c:pt idx="1291">
                  <c:v>#N/A</c:v>
                </c:pt>
                <c:pt idx="1292">
                  <c:v>#N/A</c:v>
                </c:pt>
                <c:pt idx="1293">
                  <c:v>#N/A</c:v>
                </c:pt>
                <c:pt idx="1294">
                  <c:v>#N/A</c:v>
                </c:pt>
                <c:pt idx="1295">
                  <c:v>#N/A</c:v>
                </c:pt>
                <c:pt idx="1296">
                  <c:v>0.54246575342465753</c:v>
                </c:pt>
                <c:pt idx="1297">
                  <c:v>#N/A</c:v>
                </c:pt>
                <c:pt idx="1298">
                  <c:v>#N/A</c:v>
                </c:pt>
                <c:pt idx="1299">
                  <c:v>#N/A</c:v>
                </c:pt>
                <c:pt idx="1300">
                  <c:v>0.54246575342465753</c:v>
                </c:pt>
                <c:pt idx="1301">
                  <c:v>#N/A</c:v>
                </c:pt>
                <c:pt idx="1302">
                  <c:v>#N/A</c:v>
                </c:pt>
                <c:pt idx="1303">
                  <c:v>#N/A</c:v>
                </c:pt>
                <c:pt idx="1304">
                  <c:v>#N/A</c:v>
                </c:pt>
                <c:pt idx="1305">
                  <c:v>#N/A</c:v>
                </c:pt>
                <c:pt idx="1306">
                  <c:v>#N/A</c:v>
                </c:pt>
                <c:pt idx="1307">
                  <c:v>#N/A</c:v>
                </c:pt>
                <c:pt idx="1308">
                  <c:v>#N/A</c:v>
                </c:pt>
                <c:pt idx="1309">
                  <c:v>#N/A</c:v>
                </c:pt>
                <c:pt idx="1310">
                  <c:v>#N/A</c:v>
                </c:pt>
                <c:pt idx="1311">
                  <c:v>#N/A</c:v>
                </c:pt>
                <c:pt idx="1312">
                  <c:v>#N/A</c:v>
                </c:pt>
                <c:pt idx="1313">
                  <c:v>#N/A</c:v>
                </c:pt>
                <c:pt idx="1314">
                  <c:v>#N/A</c:v>
                </c:pt>
                <c:pt idx="1315">
                  <c:v>#N/A</c:v>
                </c:pt>
                <c:pt idx="1316">
                  <c:v>0.55342465753424652</c:v>
                </c:pt>
                <c:pt idx="1317">
                  <c:v>#N/A</c:v>
                </c:pt>
                <c:pt idx="1318">
                  <c:v>#N/A</c:v>
                </c:pt>
                <c:pt idx="1319">
                  <c:v>#N/A</c:v>
                </c:pt>
                <c:pt idx="1320">
                  <c:v>#N/A</c:v>
                </c:pt>
                <c:pt idx="1321">
                  <c:v>#N/A</c:v>
                </c:pt>
                <c:pt idx="1322">
                  <c:v>#N/A</c:v>
                </c:pt>
                <c:pt idx="1323">
                  <c:v>#N/A</c:v>
                </c:pt>
                <c:pt idx="1324">
                  <c:v>#N/A</c:v>
                </c:pt>
                <c:pt idx="1325">
                  <c:v>#N/A</c:v>
                </c:pt>
                <c:pt idx="1326">
                  <c:v>#N/A</c:v>
                </c:pt>
                <c:pt idx="1327">
                  <c:v>#N/A</c:v>
                </c:pt>
                <c:pt idx="1328">
                  <c:v>#N/A</c:v>
                </c:pt>
                <c:pt idx="1329">
                  <c:v>#N/A</c:v>
                </c:pt>
                <c:pt idx="1330">
                  <c:v>#N/A</c:v>
                </c:pt>
                <c:pt idx="1331">
                  <c:v>#N/A</c:v>
                </c:pt>
                <c:pt idx="1332">
                  <c:v>#N/A</c:v>
                </c:pt>
                <c:pt idx="1333">
                  <c:v>#N/A</c:v>
                </c:pt>
                <c:pt idx="1334">
                  <c:v>#N/A</c:v>
                </c:pt>
                <c:pt idx="1335">
                  <c:v>#N/A</c:v>
                </c:pt>
                <c:pt idx="1336">
                  <c:v>#N/A</c:v>
                </c:pt>
                <c:pt idx="1337">
                  <c:v>#N/A</c:v>
                </c:pt>
                <c:pt idx="1338">
                  <c:v>#N/A</c:v>
                </c:pt>
                <c:pt idx="1339">
                  <c:v>#N/A</c:v>
                </c:pt>
                <c:pt idx="1340">
                  <c:v>#N/A</c:v>
                </c:pt>
                <c:pt idx="1341">
                  <c:v>#N/A</c:v>
                </c:pt>
                <c:pt idx="1342">
                  <c:v>#N/A</c:v>
                </c:pt>
                <c:pt idx="1343">
                  <c:v>#N/A</c:v>
                </c:pt>
                <c:pt idx="1344">
                  <c:v>#N/A</c:v>
                </c:pt>
                <c:pt idx="1345">
                  <c:v>#N/A</c:v>
                </c:pt>
                <c:pt idx="1346">
                  <c:v>#N/A</c:v>
                </c:pt>
                <c:pt idx="1347">
                  <c:v>#N/A</c:v>
                </c:pt>
                <c:pt idx="1348">
                  <c:v>#N/A</c:v>
                </c:pt>
                <c:pt idx="1349">
                  <c:v>#N/A</c:v>
                </c:pt>
                <c:pt idx="1350">
                  <c:v>#N/A</c:v>
                </c:pt>
                <c:pt idx="1351">
                  <c:v>#N/A</c:v>
                </c:pt>
                <c:pt idx="1352">
                  <c:v>#N/A</c:v>
                </c:pt>
                <c:pt idx="1353">
                  <c:v>#N/A</c:v>
                </c:pt>
                <c:pt idx="1354">
                  <c:v>0.59726027397260273</c:v>
                </c:pt>
                <c:pt idx="1355">
                  <c:v>#N/A</c:v>
                </c:pt>
                <c:pt idx="1356">
                  <c:v>#N/A</c:v>
                </c:pt>
                <c:pt idx="1357">
                  <c:v>#N/A</c:v>
                </c:pt>
                <c:pt idx="1358">
                  <c:v>#N/A</c:v>
                </c:pt>
                <c:pt idx="1359">
                  <c:v>#N/A</c:v>
                </c:pt>
                <c:pt idx="1360">
                  <c:v>#N/A</c:v>
                </c:pt>
                <c:pt idx="1361">
                  <c:v>#N/A</c:v>
                </c:pt>
                <c:pt idx="1362">
                  <c:v>#N/A</c:v>
                </c:pt>
                <c:pt idx="1363">
                  <c:v>0.61095890410958908</c:v>
                </c:pt>
                <c:pt idx="1364">
                  <c:v>0.61095890410958908</c:v>
                </c:pt>
                <c:pt idx="1365">
                  <c:v>0.61095890410958908</c:v>
                </c:pt>
                <c:pt idx="1366">
                  <c:v>0.61095890410958908</c:v>
                </c:pt>
                <c:pt idx="1367">
                  <c:v>0.61095890410958908</c:v>
                </c:pt>
                <c:pt idx="1368">
                  <c:v>#N/A</c:v>
                </c:pt>
                <c:pt idx="1369">
                  <c:v>#N/A</c:v>
                </c:pt>
                <c:pt idx="1370">
                  <c:v>#N/A</c:v>
                </c:pt>
                <c:pt idx="1371">
                  <c:v>#N/A</c:v>
                </c:pt>
                <c:pt idx="1372">
                  <c:v>0.62739726027397258</c:v>
                </c:pt>
                <c:pt idx="1373">
                  <c:v>#N/A</c:v>
                </c:pt>
                <c:pt idx="1374">
                  <c:v>#N/A</c:v>
                </c:pt>
                <c:pt idx="1375">
                  <c:v>#N/A</c:v>
                </c:pt>
                <c:pt idx="1376">
                  <c:v>#N/A</c:v>
                </c:pt>
                <c:pt idx="1377">
                  <c:v>#N/A</c:v>
                </c:pt>
                <c:pt idx="1378">
                  <c:v>#N/A</c:v>
                </c:pt>
                <c:pt idx="1379">
                  <c:v>#N/A</c:v>
                </c:pt>
                <c:pt idx="1380">
                  <c:v>#N/A</c:v>
                </c:pt>
                <c:pt idx="1381">
                  <c:v>#N/A</c:v>
                </c:pt>
                <c:pt idx="1382">
                  <c:v>#N/A</c:v>
                </c:pt>
                <c:pt idx="1383">
                  <c:v>#N/A</c:v>
                </c:pt>
                <c:pt idx="1384">
                  <c:v>#N/A</c:v>
                </c:pt>
                <c:pt idx="1385">
                  <c:v>#N/A</c:v>
                </c:pt>
                <c:pt idx="1386">
                  <c:v>#N/A</c:v>
                </c:pt>
                <c:pt idx="1387">
                  <c:v>#N/A</c:v>
                </c:pt>
                <c:pt idx="1388">
                  <c:v>#N/A</c:v>
                </c:pt>
                <c:pt idx="1389">
                  <c:v>#N/A</c:v>
                </c:pt>
                <c:pt idx="1390">
                  <c:v>#N/A</c:v>
                </c:pt>
                <c:pt idx="1391">
                  <c:v>#N/A</c:v>
                </c:pt>
                <c:pt idx="1392">
                  <c:v>#N/A</c:v>
                </c:pt>
                <c:pt idx="1393">
                  <c:v>#N/A</c:v>
                </c:pt>
                <c:pt idx="1394">
                  <c:v>#N/A</c:v>
                </c:pt>
                <c:pt idx="1395">
                  <c:v>#N/A</c:v>
                </c:pt>
                <c:pt idx="1396">
                  <c:v>#N/A</c:v>
                </c:pt>
                <c:pt idx="1397">
                  <c:v>#N/A</c:v>
                </c:pt>
                <c:pt idx="1398">
                  <c:v>#N/A</c:v>
                </c:pt>
                <c:pt idx="1399">
                  <c:v>#N/A</c:v>
                </c:pt>
                <c:pt idx="1400">
                  <c:v>#N/A</c:v>
                </c:pt>
                <c:pt idx="1401">
                  <c:v>#N/A</c:v>
                </c:pt>
                <c:pt idx="1402">
                  <c:v>#N/A</c:v>
                </c:pt>
                <c:pt idx="1403">
                  <c:v>#N/A</c:v>
                </c:pt>
                <c:pt idx="1404">
                  <c:v>#N/A</c:v>
                </c:pt>
                <c:pt idx="1405">
                  <c:v>#N/A</c:v>
                </c:pt>
                <c:pt idx="1406">
                  <c:v>#N/A</c:v>
                </c:pt>
                <c:pt idx="1407">
                  <c:v>#N/A</c:v>
                </c:pt>
                <c:pt idx="1408">
                  <c:v>#N/A</c:v>
                </c:pt>
                <c:pt idx="1409">
                  <c:v>#N/A</c:v>
                </c:pt>
                <c:pt idx="1410">
                  <c:v>#N/A</c:v>
                </c:pt>
                <c:pt idx="1411">
                  <c:v>#N/A</c:v>
                </c:pt>
                <c:pt idx="1412">
                  <c:v>#N/A</c:v>
                </c:pt>
                <c:pt idx="1413">
                  <c:v>#N/A</c:v>
                </c:pt>
                <c:pt idx="1414">
                  <c:v>#N/A</c:v>
                </c:pt>
                <c:pt idx="1415">
                  <c:v>#N/A</c:v>
                </c:pt>
                <c:pt idx="1416">
                  <c:v>#N/A</c:v>
                </c:pt>
                <c:pt idx="1417">
                  <c:v>#N/A</c:v>
                </c:pt>
                <c:pt idx="1418">
                  <c:v>#N/A</c:v>
                </c:pt>
                <c:pt idx="1419">
                  <c:v>#N/A</c:v>
                </c:pt>
                <c:pt idx="1420">
                  <c:v>#N/A</c:v>
                </c:pt>
                <c:pt idx="1421">
                  <c:v>#N/A</c:v>
                </c:pt>
                <c:pt idx="1422">
                  <c:v>#N/A</c:v>
                </c:pt>
                <c:pt idx="1423">
                  <c:v>#N/A</c:v>
                </c:pt>
                <c:pt idx="1424">
                  <c:v>#N/A</c:v>
                </c:pt>
                <c:pt idx="1425">
                  <c:v>#N/A</c:v>
                </c:pt>
                <c:pt idx="1426">
                  <c:v>#N/A</c:v>
                </c:pt>
                <c:pt idx="1427">
                  <c:v>#N/A</c:v>
                </c:pt>
                <c:pt idx="1428">
                  <c:v>#N/A</c:v>
                </c:pt>
                <c:pt idx="1429">
                  <c:v>#N/A</c:v>
                </c:pt>
                <c:pt idx="1430">
                  <c:v>#N/A</c:v>
                </c:pt>
                <c:pt idx="1431">
                  <c:v>#N/A</c:v>
                </c:pt>
                <c:pt idx="1432">
                  <c:v>#N/A</c:v>
                </c:pt>
                <c:pt idx="1433">
                  <c:v>#N/A</c:v>
                </c:pt>
                <c:pt idx="1434">
                  <c:v>#N/A</c:v>
                </c:pt>
                <c:pt idx="1435">
                  <c:v>#N/A</c:v>
                </c:pt>
                <c:pt idx="1436">
                  <c:v>#N/A</c:v>
                </c:pt>
                <c:pt idx="1437">
                  <c:v>#N/A</c:v>
                </c:pt>
                <c:pt idx="1438">
                  <c:v>#N/A</c:v>
                </c:pt>
                <c:pt idx="1439">
                  <c:v>#N/A</c:v>
                </c:pt>
                <c:pt idx="1440">
                  <c:v>#N/A</c:v>
                </c:pt>
                <c:pt idx="1441">
                  <c:v>#N/A</c:v>
                </c:pt>
                <c:pt idx="1442">
                  <c:v>#N/A</c:v>
                </c:pt>
                <c:pt idx="1443">
                  <c:v>#N/A</c:v>
                </c:pt>
                <c:pt idx="1444">
                  <c:v>#N/A</c:v>
                </c:pt>
                <c:pt idx="1445">
                  <c:v>#N/A</c:v>
                </c:pt>
                <c:pt idx="1446">
                  <c:v>#N/A</c:v>
                </c:pt>
                <c:pt idx="1447">
                  <c:v>#N/A</c:v>
                </c:pt>
                <c:pt idx="1448">
                  <c:v>#N/A</c:v>
                </c:pt>
                <c:pt idx="1449">
                  <c:v>#N/A</c:v>
                </c:pt>
                <c:pt idx="1450">
                  <c:v>#N/A</c:v>
                </c:pt>
                <c:pt idx="1451">
                  <c:v>#N/A</c:v>
                </c:pt>
                <c:pt idx="1452">
                  <c:v>#N/A</c:v>
                </c:pt>
                <c:pt idx="1453">
                  <c:v>#N/A</c:v>
                </c:pt>
                <c:pt idx="1454">
                  <c:v>#N/A</c:v>
                </c:pt>
                <c:pt idx="1455">
                  <c:v>#N/A</c:v>
                </c:pt>
                <c:pt idx="1456">
                  <c:v>#N/A</c:v>
                </c:pt>
                <c:pt idx="1457">
                  <c:v>#N/A</c:v>
                </c:pt>
                <c:pt idx="1458">
                  <c:v>#N/A</c:v>
                </c:pt>
                <c:pt idx="1459">
                  <c:v>#N/A</c:v>
                </c:pt>
                <c:pt idx="1460">
                  <c:v>0.67123287671232879</c:v>
                </c:pt>
                <c:pt idx="1461">
                  <c:v>#N/A</c:v>
                </c:pt>
                <c:pt idx="1462">
                  <c:v>#N/A</c:v>
                </c:pt>
                <c:pt idx="1463">
                  <c:v>#N/A</c:v>
                </c:pt>
                <c:pt idx="1464">
                  <c:v>#N/A</c:v>
                </c:pt>
                <c:pt idx="1465">
                  <c:v>#N/A</c:v>
                </c:pt>
                <c:pt idx="1466">
                  <c:v>#N/A</c:v>
                </c:pt>
                <c:pt idx="1467">
                  <c:v>#N/A</c:v>
                </c:pt>
                <c:pt idx="1468">
                  <c:v>#N/A</c:v>
                </c:pt>
                <c:pt idx="1469">
                  <c:v>#N/A</c:v>
                </c:pt>
                <c:pt idx="1470">
                  <c:v>#N/A</c:v>
                </c:pt>
                <c:pt idx="1471">
                  <c:v>#N/A</c:v>
                </c:pt>
                <c:pt idx="1472">
                  <c:v>#N/A</c:v>
                </c:pt>
                <c:pt idx="1473">
                  <c:v>#N/A</c:v>
                </c:pt>
                <c:pt idx="1474">
                  <c:v>#N/A</c:v>
                </c:pt>
                <c:pt idx="1475">
                  <c:v>#N/A</c:v>
                </c:pt>
                <c:pt idx="1476">
                  <c:v>#N/A</c:v>
                </c:pt>
                <c:pt idx="1477">
                  <c:v>#N/A</c:v>
                </c:pt>
                <c:pt idx="1478">
                  <c:v>#N/A</c:v>
                </c:pt>
                <c:pt idx="1479">
                  <c:v>#N/A</c:v>
                </c:pt>
                <c:pt idx="1480">
                  <c:v>#N/A</c:v>
                </c:pt>
                <c:pt idx="1481">
                  <c:v>#N/A</c:v>
                </c:pt>
                <c:pt idx="1482">
                  <c:v>#N/A</c:v>
                </c:pt>
                <c:pt idx="1483">
                  <c:v>#N/A</c:v>
                </c:pt>
                <c:pt idx="1484">
                  <c:v>#N/A</c:v>
                </c:pt>
                <c:pt idx="1485">
                  <c:v>#N/A</c:v>
                </c:pt>
                <c:pt idx="1486">
                  <c:v>#N/A</c:v>
                </c:pt>
                <c:pt idx="1487">
                  <c:v>#N/A</c:v>
                </c:pt>
                <c:pt idx="1488">
                  <c:v>0.70410958904109588</c:v>
                </c:pt>
                <c:pt idx="1489">
                  <c:v>#N/A</c:v>
                </c:pt>
                <c:pt idx="1490">
                  <c:v>#N/A</c:v>
                </c:pt>
                <c:pt idx="1491">
                  <c:v>#N/A</c:v>
                </c:pt>
                <c:pt idx="1492">
                  <c:v>#N/A</c:v>
                </c:pt>
                <c:pt idx="1493">
                  <c:v>0.72602739726027399</c:v>
                </c:pt>
                <c:pt idx="1494">
                  <c:v>#N/A</c:v>
                </c:pt>
                <c:pt idx="1495">
                  <c:v>#N/A</c:v>
                </c:pt>
                <c:pt idx="1496">
                  <c:v>#N/A</c:v>
                </c:pt>
                <c:pt idx="1497">
                  <c:v>0.72602739726027399</c:v>
                </c:pt>
                <c:pt idx="1498">
                  <c:v>#N/A</c:v>
                </c:pt>
                <c:pt idx="1499">
                  <c:v>#N/A</c:v>
                </c:pt>
                <c:pt idx="1500">
                  <c:v>#N/A</c:v>
                </c:pt>
                <c:pt idx="1501">
                  <c:v>#N/A</c:v>
                </c:pt>
                <c:pt idx="1502">
                  <c:v>#N/A</c:v>
                </c:pt>
                <c:pt idx="1503">
                  <c:v>#N/A</c:v>
                </c:pt>
                <c:pt idx="1504">
                  <c:v>#N/A</c:v>
                </c:pt>
                <c:pt idx="1505">
                  <c:v>#N/A</c:v>
                </c:pt>
                <c:pt idx="1506">
                  <c:v>#N/A</c:v>
                </c:pt>
                <c:pt idx="1507">
                  <c:v>#N/A</c:v>
                </c:pt>
                <c:pt idx="1508">
                  <c:v>#N/A</c:v>
                </c:pt>
                <c:pt idx="1509">
                  <c:v>#N/A</c:v>
                </c:pt>
                <c:pt idx="1510">
                  <c:v>#N/A</c:v>
                </c:pt>
                <c:pt idx="1511">
                  <c:v>#N/A</c:v>
                </c:pt>
                <c:pt idx="1512">
                  <c:v>#N/A</c:v>
                </c:pt>
                <c:pt idx="1513">
                  <c:v>#N/A</c:v>
                </c:pt>
                <c:pt idx="1514">
                  <c:v>#N/A</c:v>
                </c:pt>
                <c:pt idx="1515">
                  <c:v>#N/A</c:v>
                </c:pt>
                <c:pt idx="1516">
                  <c:v>#N/A</c:v>
                </c:pt>
                <c:pt idx="1517">
                  <c:v>#N/A</c:v>
                </c:pt>
                <c:pt idx="1518">
                  <c:v>#N/A</c:v>
                </c:pt>
                <c:pt idx="1519">
                  <c:v>#N/A</c:v>
                </c:pt>
                <c:pt idx="1520">
                  <c:v>#N/A</c:v>
                </c:pt>
                <c:pt idx="1521">
                  <c:v>#N/A</c:v>
                </c:pt>
                <c:pt idx="1522">
                  <c:v>#N/A</c:v>
                </c:pt>
                <c:pt idx="1523">
                  <c:v>#N/A</c:v>
                </c:pt>
                <c:pt idx="1524">
                  <c:v>#N/A</c:v>
                </c:pt>
                <c:pt idx="1525">
                  <c:v>#N/A</c:v>
                </c:pt>
                <c:pt idx="1526">
                  <c:v>#N/A</c:v>
                </c:pt>
                <c:pt idx="1527">
                  <c:v>#N/A</c:v>
                </c:pt>
                <c:pt idx="1528">
                  <c:v>#N/A</c:v>
                </c:pt>
                <c:pt idx="1529">
                  <c:v>#N/A</c:v>
                </c:pt>
                <c:pt idx="1530">
                  <c:v>#N/A</c:v>
                </c:pt>
                <c:pt idx="1531">
                  <c:v>#N/A</c:v>
                </c:pt>
                <c:pt idx="1532">
                  <c:v>#N/A</c:v>
                </c:pt>
                <c:pt idx="1533">
                  <c:v>#N/A</c:v>
                </c:pt>
                <c:pt idx="1534">
                  <c:v>#N/A</c:v>
                </c:pt>
                <c:pt idx="1535">
                  <c:v>#N/A</c:v>
                </c:pt>
                <c:pt idx="1536">
                  <c:v>#N/A</c:v>
                </c:pt>
                <c:pt idx="1537">
                  <c:v>#N/A</c:v>
                </c:pt>
                <c:pt idx="1538">
                  <c:v>#N/A</c:v>
                </c:pt>
                <c:pt idx="1539">
                  <c:v>0.74794520547945209</c:v>
                </c:pt>
                <c:pt idx="1540">
                  <c:v>#N/A</c:v>
                </c:pt>
                <c:pt idx="1541">
                  <c:v>#N/A</c:v>
                </c:pt>
                <c:pt idx="1542">
                  <c:v>#N/A</c:v>
                </c:pt>
                <c:pt idx="1543">
                  <c:v>#N/A</c:v>
                </c:pt>
                <c:pt idx="1544">
                  <c:v>#N/A</c:v>
                </c:pt>
                <c:pt idx="1545">
                  <c:v>#N/A</c:v>
                </c:pt>
                <c:pt idx="1546">
                  <c:v>#N/A</c:v>
                </c:pt>
                <c:pt idx="1547">
                  <c:v>#N/A</c:v>
                </c:pt>
                <c:pt idx="1548">
                  <c:v>#N/A</c:v>
                </c:pt>
                <c:pt idx="1549">
                  <c:v>#N/A</c:v>
                </c:pt>
                <c:pt idx="1550">
                  <c:v>#N/A</c:v>
                </c:pt>
                <c:pt idx="1551">
                  <c:v>#N/A</c:v>
                </c:pt>
                <c:pt idx="1552">
                  <c:v>#N/A</c:v>
                </c:pt>
                <c:pt idx="1553">
                  <c:v>#N/A</c:v>
                </c:pt>
                <c:pt idx="1554">
                  <c:v>#N/A</c:v>
                </c:pt>
                <c:pt idx="1555">
                  <c:v>#N/A</c:v>
                </c:pt>
                <c:pt idx="1556">
                  <c:v>#N/A</c:v>
                </c:pt>
                <c:pt idx="1557">
                  <c:v>#N/A</c:v>
                </c:pt>
                <c:pt idx="1558">
                  <c:v>#N/A</c:v>
                </c:pt>
                <c:pt idx="1559">
                  <c:v>#N/A</c:v>
                </c:pt>
                <c:pt idx="1560">
                  <c:v>#N/A</c:v>
                </c:pt>
                <c:pt idx="1561">
                  <c:v>#N/A</c:v>
                </c:pt>
                <c:pt idx="1562">
                  <c:v>#N/A</c:v>
                </c:pt>
                <c:pt idx="1563">
                  <c:v>0.74794520547945209</c:v>
                </c:pt>
                <c:pt idx="1564">
                  <c:v>#N/A</c:v>
                </c:pt>
                <c:pt idx="1565">
                  <c:v>#N/A</c:v>
                </c:pt>
                <c:pt idx="1566">
                  <c:v>#N/A</c:v>
                </c:pt>
                <c:pt idx="1567">
                  <c:v>#N/A</c:v>
                </c:pt>
                <c:pt idx="1568">
                  <c:v>#N/A</c:v>
                </c:pt>
                <c:pt idx="1569">
                  <c:v>#N/A</c:v>
                </c:pt>
                <c:pt idx="1570">
                  <c:v>#N/A</c:v>
                </c:pt>
                <c:pt idx="1571">
                  <c:v>#N/A</c:v>
                </c:pt>
                <c:pt idx="1572">
                  <c:v>#N/A</c:v>
                </c:pt>
                <c:pt idx="1573">
                  <c:v>#N/A</c:v>
                </c:pt>
                <c:pt idx="1574">
                  <c:v>#N/A</c:v>
                </c:pt>
                <c:pt idx="1575">
                  <c:v>#N/A</c:v>
                </c:pt>
                <c:pt idx="1576">
                  <c:v>#N/A</c:v>
                </c:pt>
                <c:pt idx="1577">
                  <c:v>#N/A</c:v>
                </c:pt>
                <c:pt idx="1578">
                  <c:v>#N/A</c:v>
                </c:pt>
                <c:pt idx="1579">
                  <c:v>#N/A</c:v>
                </c:pt>
                <c:pt idx="1580">
                  <c:v>#N/A</c:v>
                </c:pt>
                <c:pt idx="1581">
                  <c:v>0.74794520547945209</c:v>
                </c:pt>
                <c:pt idx="1582">
                  <c:v>#N/A</c:v>
                </c:pt>
                <c:pt idx="1583">
                  <c:v>#N/A</c:v>
                </c:pt>
                <c:pt idx="1584">
                  <c:v>#N/A</c:v>
                </c:pt>
                <c:pt idx="1585">
                  <c:v>#N/A</c:v>
                </c:pt>
                <c:pt idx="1586">
                  <c:v>#N/A</c:v>
                </c:pt>
                <c:pt idx="1587">
                  <c:v>#N/A</c:v>
                </c:pt>
                <c:pt idx="1588">
                  <c:v>#N/A</c:v>
                </c:pt>
                <c:pt idx="1589">
                  <c:v>#N/A</c:v>
                </c:pt>
                <c:pt idx="1590">
                  <c:v>#N/A</c:v>
                </c:pt>
                <c:pt idx="1591">
                  <c:v>#N/A</c:v>
                </c:pt>
                <c:pt idx="1592">
                  <c:v>#N/A</c:v>
                </c:pt>
                <c:pt idx="1593">
                  <c:v>#N/A</c:v>
                </c:pt>
                <c:pt idx="1594">
                  <c:v>#N/A</c:v>
                </c:pt>
                <c:pt idx="1595">
                  <c:v>#N/A</c:v>
                </c:pt>
                <c:pt idx="1596">
                  <c:v>#N/A</c:v>
                </c:pt>
                <c:pt idx="1597">
                  <c:v>#N/A</c:v>
                </c:pt>
                <c:pt idx="1598">
                  <c:v>#N/A</c:v>
                </c:pt>
                <c:pt idx="1599">
                  <c:v>0.74794520547945209</c:v>
                </c:pt>
                <c:pt idx="1600">
                  <c:v>#N/A</c:v>
                </c:pt>
                <c:pt idx="1601">
                  <c:v>#N/A</c:v>
                </c:pt>
                <c:pt idx="1602">
                  <c:v>#N/A</c:v>
                </c:pt>
                <c:pt idx="1603">
                  <c:v>#N/A</c:v>
                </c:pt>
                <c:pt idx="1604">
                  <c:v>#N/A</c:v>
                </c:pt>
                <c:pt idx="1605">
                  <c:v>#N/A</c:v>
                </c:pt>
                <c:pt idx="1606">
                  <c:v>#N/A</c:v>
                </c:pt>
                <c:pt idx="1607">
                  <c:v>#N/A</c:v>
                </c:pt>
                <c:pt idx="1608">
                  <c:v>#N/A</c:v>
                </c:pt>
                <c:pt idx="1609">
                  <c:v>#N/A</c:v>
                </c:pt>
                <c:pt idx="1610">
                  <c:v>#N/A</c:v>
                </c:pt>
                <c:pt idx="1611">
                  <c:v>#N/A</c:v>
                </c:pt>
                <c:pt idx="1612">
                  <c:v>#N/A</c:v>
                </c:pt>
                <c:pt idx="1613">
                  <c:v>#N/A</c:v>
                </c:pt>
                <c:pt idx="1614">
                  <c:v>#N/A</c:v>
                </c:pt>
                <c:pt idx="1615">
                  <c:v>#N/A</c:v>
                </c:pt>
                <c:pt idx="1616">
                  <c:v>#N/A</c:v>
                </c:pt>
                <c:pt idx="1617">
                  <c:v>#N/A</c:v>
                </c:pt>
                <c:pt idx="1618">
                  <c:v>#N/A</c:v>
                </c:pt>
                <c:pt idx="1619">
                  <c:v>#N/A</c:v>
                </c:pt>
                <c:pt idx="1620">
                  <c:v>#N/A</c:v>
                </c:pt>
                <c:pt idx="1621">
                  <c:v>#N/A</c:v>
                </c:pt>
                <c:pt idx="1622">
                  <c:v>#N/A</c:v>
                </c:pt>
                <c:pt idx="1623">
                  <c:v>#N/A</c:v>
                </c:pt>
                <c:pt idx="1624">
                  <c:v>#N/A</c:v>
                </c:pt>
                <c:pt idx="1625">
                  <c:v>#N/A</c:v>
                </c:pt>
                <c:pt idx="1626">
                  <c:v>#N/A</c:v>
                </c:pt>
                <c:pt idx="1627">
                  <c:v>#N/A</c:v>
                </c:pt>
                <c:pt idx="1628">
                  <c:v>#N/A</c:v>
                </c:pt>
                <c:pt idx="1629">
                  <c:v>#N/A</c:v>
                </c:pt>
                <c:pt idx="1630">
                  <c:v>#N/A</c:v>
                </c:pt>
                <c:pt idx="1631">
                  <c:v>#N/A</c:v>
                </c:pt>
                <c:pt idx="1632">
                  <c:v>#N/A</c:v>
                </c:pt>
                <c:pt idx="1633">
                  <c:v>#N/A</c:v>
                </c:pt>
                <c:pt idx="1634">
                  <c:v>#N/A</c:v>
                </c:pt>
                <c:pt idx="1635">
                  <c:v>0.78630136986301369</c:v>
                </c:pt>
                <c:pt idx="1636">
                  <c:v>#N/A</c:v>
                </c:pt>
                <c:pt idx="1637">
                  <c:v>#N/A</c:v>
                </c:pt>
                <c:pt idx="1638">
                  <c:v>#N/A</c:v>
                </c:pt>
                <c:pt idx="1639">
                  <c:v>#N/A</c:v>
                </c:pt>
                <c:pt idx="1640">
                  <c:v>#N/A</c:v>
                </c:pt>
                <c:pt idx="1641">
                  <c:v>#N/A</c:v>
                </c:pt>
                <c:pt idx="1642">
                  <c:v>#N/A</c:v>
                </c:pt>
                <c:pt idx="1643">
                  <c:v>#N/A</c:v>
                </c:pt>
                <c:pt idx="1644">
                  <c:v>#N/A</c:v>
                </c:pt>
                <c:pt idx="1645">
                  <c:v>#N/A</c:v>
                </c:pt>
                <c:pt idx="1646">
                  <c:v>#N/A</c:v>
                </c:pt>
                <c:pt idx="1647">
                  <c:v>#N/A</c:v>
                </c:pt>
                <c:pt idx="1648">
                  <c:v>#N/A</c:v>
                </c:pt>
                <c:pt idx="1649">
                  <c:v>#N/A</c:v>
                </c:pt>
                <c:pt idx="1650">
                  <c:v>#N/A</c:v>
                </c:pt>
                <c:pt idx="1651">
                  <c:v>#N/A</c:v>
                </c:pt>
                <c:pt idx="1652">
                  <c:v>#N/A</c:v>
                </c:pt>
                <c:pt idx="1653">
                  <c:v>#N/A</c:v>
                </c:pt>
                <c:pt idx="1654">
                  <c:v>#N/A</c:v>
                </c:pt>
                <c:pt idx="1655">
                  <c:v>#N/A</c:v>
                </c:pt>
                <c:pt idx="1656">
                  <c:v>#N/A</c:v>
                </c:pt>
                <c:pt idx="1657">
                  <c:v>#N/A</c:v>
                </c:pt>
                <c:pt idx="1658">
                  <c:v>#N/A</c:v>
                </c:pt>
                <c:pt idx="1659">
                  <c:v>#N/A</c:v>
                </c:pt>
                <c:pt idx="1660">
                  <c:v>#N/A</c:v>
                </c:pt>
                <c:pt idx="1661">
                  <c:v>#N/A</c:v>
                </c:pt>
                <c:pt idx="1662">
                  <c:v>#N/A</c:v>
                </c:pt>
                <c:pt idx="1663">
                  <c:v>#N/A</c:v>
                </c:pt>
                <c:pt idx="1664">
                  <c:v>#N/A</c:v>
                </c:pt>
                <c:pt idx="1665">
                  <c:v>#N/A</c:v>
                </c:pt>
                <c:pt idx="1666">
                  <c:v>#N/A</c:v>
                </c:pt>
                <c:pt idx="1667">
                  <c:v>#N/A</c:v>
                </c:pt>
                <c:pt idx="1668">
                  <c:v>#N/A</c:v>
                </c:pt>
                <c:pt idx="1669">
                  <c:v>#N/A</c:v>
                </c:pt>
                <c:pt idx="1670">
                  <c:v>#N/A</c:v>
                </c:pt>
                <c:pt idx="1671">
                  <c:v>#N/A</c:v>
                </c:pt>
                <c:pt idx="1672">
                  <c:v>#N/A</c:v>
                </c:pt>
                <c:pt idx="1673">
                  <c:v>#N/A</c:v>
                </c:pt>
                <c:pt idx="1674">
                  <c:v>#N/A</c:v>
                </c:pt>
                <c:pt idx="1675">
                  <c:v>#N/A</c:v>
                </c:pt>
                <c:pt idx="1676">
                  <c:v>#N/A</c:v>
                </c:pt>
                <c:pt idx="1677">
                  <c:v>#N/A</c:v>
                </c:pt>
                <c:pt idx="1678">
                  <c:v>#N/A</c:v>
                </c:pt>
                <c:pt idx="1679">
                  <c:v>#N/A</c:v>
                </c:pt>
                <c:pt idx="1680">
                  <c:v>#N/A</c:v>
                </c:pt>
                <c:pt idx="1681">
                  <c:v>#N/A</c:v>
                </c:pt>
                <c:pt idx="1682">
                  <c:v>#N/A</c:v>
                </c:pt>
                <c:pt idx="1683">
                  <c:v>#N/A</c:v>
                </c:pt>
                <c:pt idx="1684">
                  <c:v>#N/A</c:v>
                </c:pt>
                <c:pt idx="1685">
                  <c:v>#N/A</c:v>
                </c:pt>
                <c:pt idx="1686">
                  <c:v>#N/A</c:v>
                </c:pt>
                <c:pt idx="1687">
                  <c:v>#N/A</c:v>
                </c:pt>
                <c:pt idx="1688">
                  <c:v>#N/A</c:v>
                </c:pt>
                <c:pt idx="1689">
                  <c:v>#N/A</c:v>
                </c:pt>
                <c:pt idx="1690">
                  <c:v>#N/A</c:v>
                </c:pt>
                <c:pt idx="1691">
                  <c:v>#N/A</c:v>
                </c:pt>
                <c:pt idx="1692">
                  <c:v>#N/A</c:v>
                </c:pt>
                <c:pt idx="1693">
                  <c:v>0.83013698630136989</c:v>
                </c:pt>
                <c:pt idx="1694">
                  <c:v>#N/A</c:v>
                </c:pt>
                <c:pt idx="1695">
                  <c:v>#N/A</c:v>
                </c:pt>
                <c:pt idx="1696">
                  <c:v>#N/A</c:v>
                </c:pt>
                <c:pt idx="1697">
                  <c:v>#N/A</c:v>
                </c:pt>
                <c:pt idx="1698">
                  <c:v>#N/A</c:v>
                </c:pt>
                <c:pt idx="1699">
                  <c:v>#N/A</c:v>
                </c:pt>
                <c:pt idx="1700">
                  <c:v>0.83013698630136989</c:v>
                </c:pt>
                <c:pt idx="1701">
                  <c:v>#N/A</c:v>
                </c:pt>
                <c:pt idx="1702">
                  <c:v>#N/A</c:v>
                </c:pt>
                <c:pt idx="1703">
                  <c:v>#N/A</c:v>
                </c:pt>
                <c:pt idx="1704">
                  <c:v>#N/A</c:v>
                </c:pt>
                <c:pt idx="1705">
                  <c:v>#N/A</c:v>
                </c:pt>
                <c:pt idx="1706">
                  <c:v>#N/A</c:v>
                </c:pt>
                <c:pt idx="1707">
                  <c:v>#N/A</c:v>
                </c:pt>
                <c:pt idx="1708">
                  <c:v>#N/A</c:v>
                </c:pt>
                <c:pt idx="1709">
                  <c:v>#N/A</c:v>
                </c:pt>
                <c:pt idx="1710">
                  <c:v>#N/A</c:v>
                </c:pt>
                <c:pt idx="1711">
                  <c:v>#N/A</c:v>
                </c:pt>
                <c:pt idx="1712">
                  <c:v>#N/A</c:v>
                </c:pt>
                <c:pt idx="1713">
                  <c:v>#N/A</c:v>
                </c:pt>
                <c:pt idx="1714">
                  <c:v>#N/A</c:v>
                </c:pt>
                <c:pt idx="1715">
                  <c:v>#N/A</c:v>
                </c:pt>
                <c:pt idx="1716">
                  <c:v>#N/A</c:v>
                </c:pt>
                <c:pt idx="1717">
                  <c:v>#N/A</c:v>
                </c:pt>
                <c:pt idx="1718">
                  <c:v>#N/A</c:v>
                </c:pt>
                <c:pt idx="1719">
                  <c:v>#N/A</c:v>
                </c:pt>
                <c:pt idx="1720">
                  <c:v>#N/A</c:v>
                </c:pt>
                <c:pt idx="1721">
                  <c:v>#N/A</c:v>
                </c:pt>
                <c:pt idx="1722">
                  <c:v>#N/A</c:v>
                </c:pt>
                <c:pt idx="1723">
                  <c:v>#N/A</c:v>
                </c:pt>
                <c:pt idx="1724">
                  <c:v>#N/A</c:v>
                </c:pt>
                <c:pt idx="1725">
                  <c:v>#N/A</c:v>
                </c:pt>
                <c:pt idx="1726">
                  <c:v>#N/A</c:v>
                </c:pt>
                <c:pt idx="1727">
                  <c:v>#N/A</c:v>
                </c:pt>
                <c:pt idx="1728">
                  <c:v>#N/A</c:v>
                </c:pt>
                <c:pt idx="1729">
                  <c:v>#N/A</c:v>
                </c:pt>
                <c:pt idx="1730">
                  <c:v>#N/A</c:v>
                </c:pt>
                <c:pt idx="1731">
                  <c:v>#N/A</c:v>
                </c:pt>
                <c:pt idx="1732">
                  <c:v>#N/A</c:v>
                </c:pt>
                <c:pt idx="1733">
                  <c:v>#N/A</c:v>
                </c:pt>
                <c:pt idx="1734">
                  <c:v>#N/A</c:v>
                </c:pt>
                <c:pt idx="1735">
                  <c:v>#N/A</c:v>
                </c:pt>
                <c:pt idx="1736">
                  <c:v>#N/A</c:v>
                </c:pt>
                <c:pt idx="1737">
                  <c:v>#N/A</c:v>
                </c:pt>
                <c:pt idx="1738">
                  <c:v>#N/A</c:v>
                </c:pt>
                <c:pt idx="1739">
                  <c:v>#N/A</c:v>
                </c:pt>
                <c:pt idx="1740">
                  <c:v>#N/A</c:v>
                </c:pt>
                <c:pt idx="1741">
                  <c:v>#N/A</c:v>
                </c:pt>
                <c:pt idx="1742">
                  <c:v>#N/A</c:v>
                </c:pt>
                <c:pt idx="1743">
                  <c:v>#N/A</c:v>
                </c:pt>
                <c:pt idx="1744">
                  <c:v>#N/A</c:v>
                </c:pt>
                <c:pt idx="1745">
                  <c:v>#N/A</c:v>
                </c:pt>
                <c:pt idx="1746">
                  <c:v>#N/A</c:v>
                </c:pt>
                <c:pt idx="1747">
                  <c:v>#N/A</c:v>
                </c:pt>
                <c:pt idx="1748">
                  <c:v>#N/A</c:v>
                </c:pt>
                <c:pt idx="1749">
                  <c:v>#N/A</c:v>
                </c:pt>
                <c:pt idx="1750">
                  <c:v>#N/A</c:v>
                </c:pt>
                <c:pt idx="1751">
                  <c:v>#N/A</c:v>
                </c:pt>
                <c:pt idx="1752">
                  <c:v>#N/A</c:v>
                </c:pt>
                <c:pt idx="1753">
                  <c:v>#N/A</c:v>
                </c:pt>
                <c:pt idx="1754">
                  <c:v>#N/A</c:v>
                </c:pt>
                <c:pt idx="1755">
                  <c:v>#N/A</c:v>
                </c:pt>
                <c:pt idx="1756">
                  <c:v>#N/A</c:v>
                </c:pt>
                <c:pt idx="1757">
                  <c:v>#N/A</c:v>
                </c:pt>
                <c:pt idx="1758">
                  <c:v>#N/A</c:v>
                </c:pt>
                <c:pt idx="1759">
                  <c:v>#N/A</c:v>
                </c:pt>
                <c:pt idx="1760">
                  <c:v>#N/A</c:v>
                </c:pt>
                <c:pt idx="1761">
                  <c:v>#N/A</c:v>
                </c:pt>
                <c:pt idx="1762">
                  <c:v>#N/A</c:v>
                </c:pt>
                <c:pt idx="1763">
                  <c:v>0.86575342465753424</c:v>
                </c:pt>
                <c:pt idx="1764">
                  <c:v>#N/A</c:v>
                </c:pt>
                <c:pt idx="1765">
                  <c:v>#N/A</c:v>
                </c:pt>
                <c:pt idx="1766">
                  <c:v>#N/A</c:v>
                </c:pt>
                <c:pt idx="1767">
                  <c:v>#N/A</c:v>
                </c:pt>
                <c:pt idx="1768">
                  <c:v>#N/A</c:v>
                </c:pt>
                <c:pt idx="1769">
                  <c:v>0.86575342465753424</c:v>
                </c:pt>
                <c:pt idx="1770">
                  <c:v>#N/A</c:v>
                </c:pt>
                <c:pt idx="1771">
                  <c:v>#N/A</c:v>
                </c:pt>
                <c:pt idx="1772">
                  <c:v>#N/A</c:v>
                </c:pt>
                <c:pt idx="1773">
                  <c:v>#N/A</c:v>
                </c:pt>
                <c:pt idx="1774">
                  <c:v>#N/A</c:v>
                </c:pt>
                <c:pt idx="1775">
                  <c:v>#N/A</c:v>
                </c:pt>
                <c:pt idx="1776">
                  <c:v>#N/A</c:v>
                </c:pt>
                <c:pt idx="1777">
                  <c:v>#N/A</c:v>
                </c:pt>
                <c:pt idx="1778">
                  <c:v>#N/A</c:v>
                </c:pt>
                <c:pt idx="1779">
                  <c:v>0.86575342465753424</c:v>
                </c:pt>
                <c:pt idx="1780">
                  <c:v>#N/A</c:v>
                </c:pt>
                <c:pt idx="1781">
                  <c:v>0.86575342465753424</c:v>
                </c:pt>
                <c:pt idx="1782">
                  <c:v>0.86575342465753424</c:v>
                </c:pt>
                <c:pt idx="1783">
                  <c:v>0.86575342465753424</c:v>
                </c:pt>
                <c:pt idx="1784">
                  <c:v>#N/A</c:v>
                </c:pt>
                <c:pt idx="1785">
                  <c:v>#N/A</c:v>
                </c:pt>
                <c:pt idx="1786">
                  <c:v>#N/A</c:v>
                </c:pt>
                <c:pt idx="1787">
                  <c:v>#N/A</c:v>
                </c:pt>
                <c:pt idx="1788">
                  <c:v>#N/A</c:v>
                </c:pt>
                <c:pt idx="1789">
                  <c:v>#N/A</c:v>
                </c:pt>
                <c:pt idx="1790">
                  <c:v>#N/A</c:v>
                </c:pt>
                <c:pt idx="1791">
                  <c:v>#N/A</c:v>
                </c:pt>
                <c:pt idx="1792">
                  <c:v>#N/A</c:v>
                </c:pt>
                <c:pt idx="1793">
                  <c:v>#N/A</c:v>
                </c:pt>
                <c:pt idx="1794">
                  <c:v>#N/A</c:v>
                </c:pt>
                <c:pt idx="1795">
                  <c:v>#N/A</c:v>
                </c:pt>
                <c:pt idx="1796">
                  <c:v>#N/A</c:v>
                </c:pt>
                <c:pt idx="1797">
                  <c:v>#N/A</c:v>
                </c:pt>
                <c:pt idx="1798">
                  <c:v>#N/A</c:v>
                </c:pt>
                <c:pt idx="1799">
                  <c:v>0.86575342465753424</c:v>
                </c:pt>
                <c:pt idx="1800">
                  <c:v>#N/A</c:v>
                </c:pt>
                <c:pt idx="1801">
                  <c:v>#N/A</c:v>
                </c:pt>
                <c:pt idx="1802">
                  <c:v>#N/A</c:v>
                </c:pt>
                <c:pt idx="1803">
                  <c:v>#N/A</c:v>
                </c:pt>
                <c:pt idx="1804">
                  <c:v>0.86849315068493149</c:v>
                </c:pt>
                <c:pt idx="1805">
                  <c:v>#N/A</c:v>
                </c:pt>
                <c:pt idx="1806">
                  <c:v>#N/A</c:v>
                </c:pt>
                <c:pt idx="1807">
                  <c:v>0.86849315068493149</c:v>
                </c:pt>
                <c:pt idx="1808">
                  <c:v>#N/A</c:v>
                </c:pt>
                <c:pt idx="1809">
                  <c:v>0.86849315068493149</c:v>
                </c:pt>
                <c:pt idx="1810">
                  <c:v>#N/A</c:v>
                </c:pt>
                <c:pt idx="1811">
                  <c:v>0.86849315068493149</c:v>
                </c:pt>
                <c:pt idx="1812">
                  <c:v>0.87671232876712324</c:v>
                </c:pt>
                <c:pt idx="1813">
                  <c:v>#N/A</c:v>
                </c:pt>
                <c:pt idx="1814">
                  <c:v>#N/A</c:v>
                </c:pt>
                <c:pt idx="1815">
                  <c:v>#N/A</c:v>
                </c:pt>
                <c:pt idx="1816">
                  <c:v>#N/A</c:v>
                </c:pt>
                <c:pt idx="1817">
                  <c:v>#N/A</c:v>
                </c:pt>
                <c:pt idx="1818">
                  <c:v>0.8794520547945206</c:v>
                </c:pt>
                <c:pt idx="1819">
                  <c:v>#N/A</c:v>
                </c:pt>
                <c:pt idx="1820">
                  <c:v>#N/A</c:v>
                </c:pt>
                <c:pt idx="1821">
                  <c:v>#N/A</c:v>
                </c:pt>
                <c:pt idx="1822">
                  <c:v>#N/A</c:v>
                </c:pt>
                <c:pt idx="1823">
                  <c:v>#N/A</c:v>
                </c:pt>
                <c:pt idx="1824">
                  <c:v>#N/A</c:v>
                </c:pt>
                <c:pt idx="1825">
                  <c:v>#N/A</c:v>
                </c:pt>
                <c:pt idx="1826">
                  <c:v>#N/A</c:v>
                </c:pt>
                <c:pt idx="1827">
                  <c:v>#N/A</c:v>
                </c:pt>
                <c:pt idx="1828">
                  <c:v>#N/A</c:v>
                </c:pt>
                <c:pt idx="1829">
                  <c:v>#N/A</c:v>
                </c:pt>
                <c:pt idx="1830">
                  <c:v>#N/A</c:v>
                </c:pt>
                <c:pt idx="1831">
                  <c:v>#N/A</c:v>
                </c:pt>
                <c:pt idx="1832">
                  <c:v>#N/A</c:v>
                </c:pt>
                <c:pt idx="1833">
                  <c:v>#N/A</c:v>
                </c:pt>
                <c:pt idx="1834">
                  <c:v>#N/A</c:v>
                </c:pt>
                <c:pt idx="1835">
                  <c:v>#N/A</c:v>
                </c:pt>
                <c:pt idx="1836">
                  <c:v>#N/A</c:v>
                </c:pt>
                <c:pt idx="1837">
                  <c:v>#N/A</c:v>
                </c:pt>
                <c:pt idx="1838">
                  <c:v>#N/A</c:v>
                </c:pt>
                <c:pt idx="1839">
                  <c:v>#N/A</c:v>
                </c:pt>
                <c:pt idx="1840">
                  <c:v>#N/A</c:v>
                </c:pt>
                <c:pt idx="1841">
                  <c:v>#N/A</c:v>
                </c:pt>
                <c:pt idx="1842">
                  <c:v>#N/A</c:v>
                </c:pt>
                <c:pt idx="1843">
                  <c:v>#N/A</c:v>
                </c:pt>
                <c:pt idx="1844">
                  <c:v>#N/A</c:v>
                </c:pt>
                <c:pt idx="1845">
                  <c:v>#N/A</c:v>
                </c:pt>
                <c:pt idx="1846">
                  <c:v>#N/A</c:v>
                </c:pt>
                <c:pt idx="1847">
                  <c:v>0.90410958904109584</c:v>
                </c:pt>
                <c:pt idx="1848">
                  <c:v>#N/A</c:v>
                </c:pt>
                <c:pt idx="1849">
                  <c:v>#N/A</c:v>
                </c:pt>
                <c:pt idx="1850">
                  <c:v>0.90410958904109584</c:v>
                </c:pt>
                <c:pt idx="1851">
                  <c:v>#N/A</c:v>
                </c:pt>
                <c:pt idx="1852">
                  <c:v>#N/A</c:v>
                </c:pt>
                <c:pt idx="1853">
                  <c:v>#N/A</c:v>
                </c:pt>
                <c:pt idx="1854">
                  <c:v>#N/A</c:v>
                </c:pt>
                <c:pt idx="1855">
                  <c:v>0.9068493150684932</c:v>
                </c:pt>
                <c:pt idx="1856">
                  <c:v>0.9068493150684932</c:v>
                </c:pt>
                <c:pt idx="1857">
                  <c:v>#N/A</c:v>
                </c:pt>
                <c:pt idx="1858">
                  <c:v>0.9068493150684932</c:v>
                </c:pt>
                <c:pt idx="1859">
                  <c:v>0.9068493150684932</c:v>
                </c:pt>
                <c:pt idx="1860">
                  <c:v>#N/A</c:v>
                </c:pt>
                <c:pt idx="1861">
                  <c:v>0.9068493150684932</c:v>
                </c:pt>
                <c:pt idx="1862">
                  <c:v>0.9068493150684932</c:v>
                </c:pt>
                <c:pt idx="1863">
                  <c:v>0.9068493150684932</c:v>
                </c:pt>
                <c:pt idx="1864">
                  <c:v>#N/A</c:v>
                </c:pt>
                <c:pt idx="1865">
                  <c:v>#N/A</c:v>
                </c:pt>
                <c:pt idx="1866">
                  <c:v>#N/A</c:v>
                </c:pt>
                <c:pt idx="1867">
                  <c:v>#N/A</c:v>
                </c:pt>
                <c:pt idx="1868">
                  <c:v>#N/A</c:v>
                </c:pt>
                <c:pt idx="1869">
                  <c:v>#N/A</c:v>
                </c:pt>
                <c:pt idx="1870">
                  <c:v>#N/A</c:v>
                </c:pt>
                <c:pt idx="1871">
                  <c:v>0.91506849315068495</c:v>
                </c:pt>
                <c:pt idx="1872">
                  <c:v>#N/A</c:v>
                </c:pt>
                <c:pt idx="1873">
                  <c:v>0.91506849315068495</c:v>
                </c:pt>
                <c:pt idx="1874">
                  <c:v>#N/A</c:v>
                </c:pt>
                <c:pt idx="1875">
                  <c:v>#N/A</c:v>
                </c:pt>
                <c:pt idx="1876">
                  <c:v>#N/A</c:v>
                </c:pt>
                <c:pt idx="1877">
                  <c:v>#N/A</c:v>
                </c:pt>
                <c:pt idx="1878">
                  <c:v>#N/A</c:v>
                </c:pt>
                <c:pt idx="1879">
                  <c:v>#N/A</c:v>
                </c:pt>
                <c:pt idx="1880">
                  <c:v>#N/A</c:v>
                </c:pt>
                <c:pt idx="1881">
                  <c:v>0.91506849315068495</c:v>
                </c:pt>
                <c:pt idx="1882">
                  <c:v>#N/A</c:v>
                </c:pt>
                <c:pt idx="1883">
                  <c:v>0.91506849315068495</c:v>
                </c:pt>
                <c:pt idx="1884">
                  <c:v>#N/A</c:v>
                </c:pt>
                <c:pt idx="1885">
                  <c:v>#N/A</c:v>
                </c:pt>
                <c:pt idx="1886">
                  <c:v>#N/A</c:v>
                </c:pt>
                <c:pt idx="1887">
                  <c:v>#N/A</c:v>
                </c:pt>
                <c:pt idx="1888">
                  <c:v>#N/A</c:v>
                </c:pt>
                <c:pt idx="1889">
                  <c:v>#N/A</c:v>
                </c:pt>
                <c:pt idx="1890">
                  <c:v>#N/A</c:v>
                </c:pt>
                <c:pt idx="1891">
                  <c:v>#N/A</c:v>
                </c:pt>
                <c:pt idx="1892">
                  <c:v>#N/A</c:v>
                </c:pt>
                <c:pt idx="1893">
                  <c:v>#N/A</c:v>
                </c:pt>
                <c:pt idx="1894">
                  <c:v>#N/A</c:v>
                </c:pt>
                <c:pt idx="1895">
                  <c:v>#N/A</c:v>
                </c:pt>
                <c:pt idx="1896">
                  <c:v>#N/A</c:v>
                </c:pt>
                <c:pt idx="1897">
                  <c:v>#N/A</c:v>
                </c:pt>
                <c:pt idx="1898">
                  <c:v>#N/A</c:v>
                </c:pt>
                <c:pt idx="1899">
                  <c:v>#N/A</c:v>
                </c:pt>
                <c:pt idx="1900">
                  <c:v>#N/A</c:v>
                </c:pt>
                <c:pt idx="1901">
                  <c:v>#N/A</c:v>
                </c:pt>
                <c:pt idx="1902">
                  <c:v>#N/A</c:v>
                </c:pt>
                <c:pt idx="1903">
                  <c:v>#N/A</c:v>
                </c:pt>
                <c:pt idx="1904">
                  <c:v>#N/A</c:v>
                </c:pt>
                <c:pt idx="1905">
                  <c:v>#N/A</c:v>
                </c:pt>
                <c:pt idx="1906">
                  <c:v>#N/A</c:v>
                </c:pt>
                <c:pt idx="1907">
                  <c:v>#N/A</c:v>
                </c:pt>
                <c:pt idx="1908">
                  <c:v>#N/A</c:v>
                </c:pt>
                <c:pt idx="1909">
                  <c:v>#N/A</c:v>
                </c:pt>
                <c:pt idx="1910">
                  <c:v>#N/A</c:v>
                </c:pt>
                <c:pt idx="1911">
                  <c:v>#N/A</c:v>
                </c:pt>
                <c:pt idx="1912">
                  <c:v>0.9397260273972603</c:v>
                </c:pt>
                <c:pt idx="1913">
                  <c:v>#N/A</c:v>
                </c:pt>
                <c:pt idx="1914">
                  <c:v>#N/A</c:v>
                </c:pt>
                <c:pt idx="1915">
                  <c:v>#N/A</c:v>
                </c:pt>
                <c:pt idx="1916">
                  <c:v>#N/A</c:v>
                </c:pt>
                <c:pt idx="1917">
                  <c:v>#N/A</c:v>
                </c:pt>
                <c:pt idx="1918">
                  <c:v>#N/A</c:v>
                </c:pt>
                <c:pt idx="1919">
                  <c:v>#N/A</c:v>
                </c:pt>
                <c:pt idx="1920">
                  <c:v>#N/A</c:v>
                </c:pt>
                <c:pt idx="1921">
                  <c:v>#N/A</c:v>
                </c:pt>
                <c:pt idx="1922">
                  <c:v>#N/A</c:v>
                </c:pt>
                <c:pt idx="1923">
                  <c:v>#N/A</c:v>
                </c:pt>
                <c:pt idx="1924">
                  <c:v>#N/A</c:v>
                </c:pt>
                <c:pt idx="1925">
                  <c:v>#N/A</c:v>
                </c:pt>
                <c:pt idx="1926">
                  <c:v>#N/A</c:v>
                </c:pt>
                <c:pt idx="1927">
                  <c:v>#N/A</c:v>
                </c:pt>
                <c:pt idx="1928">
                  <c:v>#N/A</c:v>
                </c:pt>
                <c:pt idx="1929">
                  <c:v>#N/A</c:v>
                </c:pt>
                <c:pt idx="1930">
                  <c:v>#N/A</c:v>
                </c:pt>
                <c:pt idx="1931">
                  <c:v>#N/A</c:v>
                </c:pt>
                <c:pt idx="1932">
                  <c:v>#N/A</c:v>
                </c:pt>
                <c:pt idx="1933">
                  <c:v>#N/A</c:v>
                </c:pt>
                <c:pt idx="1934">
                  <c:v>#N/A</c:v>
                </c:pt>
                <c:pt idx="1935">
                  <c:v>#N/A</c:v>
                </c:pt>
                <c:pt idx="1936">
                  <c:v>#N/A</c:v>
                </c:pt>
                <c:pt idx="1937">
                  <c:v>#N/A</c:v>
                </c:pt>
                <c:pt idx="1938">
                  <c:v>#N/A</c:v>
                </c:pt>
                <c:pt idx="1939">
                  <c:v>#N/A</c:v>
                </c:pt>
                <c:pt idx="1940">
                  <c:v>#N/A</c:v>
                </c:pt>
                <c:pt idx="1941">
                  <c:v>#N/A</c:v>
                </c:pt>
                <c:pt idx="1942">
                  <c:v>#N/A</c:v>
                </c:pt>
                <c:pt idx="1943">
                  <c:v>#N/A</c:v>
                </c:pt>
                <c:pt idx="1944">
                  <c:v>#N/A</c:v>
                </c:pt>
                <c:pt idx="1945">
                  <c:v>#N/A</c:v>
                </c:pt>
                <c:pt idx="1946">
                  <c:v>#N/A</c:v>
                </c:pt>
                <c:pt idx="1947">
                  <c:v>#N/A</c:v>
                </c:pt>
                <c:pt idx="1948">
                  <c:v>#N/A</c:v>
                </c:pt>
                <c:pt idx="1949">
                  <c:v>#N/A</c:v>
                </c:pt>
                <c:pt idx="1950">
                  <c:v>0.9616438356164384</c:v>
                </c:pt>
                <c:pt idx="1951">
                  <c:v>#N/A</c:v>
                </c:pt>
                <c:pt idx="1952">
                  <c:v>0.96438356164383565</c:v>
                </c:pt>
                <c:pt idx="1953">
                  <c:v>0.96986301369863015</c:v>
                </c:pt>
                <c:pt idx="1954">
                  <c:v>0.96986301369863015</c:v>
                </c:pt>
                <c:pt idx="1955">
                  <c:v>0.96986301369863015</c:v>
                </c:pt>
                <c:pt idx="1956">
                  <c:v>#N/A</c:v>
                </c:pt>
                <c:pt idx="1957">
                  <c:v>#N/A</c:v>
                </c:pt>
                <c:pt idx="1958">
                  <c:v>#N/A</c:v>
                </c:pt>
                <c:pt idx="1959">
                  <c:v>#N/A</c:v>
                </c:pt>
                <c:pt idx="1960">
                  <c:v>#N/A</c:v>
                </c:pt>
                <c:pt idx="1961">
                  <c:v>#N/A</c:v>
                </c:pt>
                <c:pt idx="1962">
                  <c:v>#N/A</c:v>
                </c:pt>
                <c:pt idx="1963">
                  <c:v>#N/A</c:v>
                </c:pt>
                <c:pt idx="1964">
                  <c:v>#N/A</c:v>
                </c:pt>
                <c:pt idx="1965">
                  <c:v>#N/A</c:v>
                </c:pt>
                <c:pt idx="1966">
                  <c:v>#N/A</c:v>
                </c:pt>
                <c:pt idx="1967">
                  <c:v>#N/A</c:v>
                </c:pt>
                <c:pt idx="1968">
                  <c:v>#N/A</c:v>
                </c:pt>
                <c:pt idx="1969">
                  <c:v>#N/A</c:v>
                </c:pt>
                <c:pt idx="1970">
                  <c:v>#N/A</c:v>
                </c:pt>
                <c:pt idx="1971">
                  <c:v>#N/A</c:v>
                </c:pt>
                <c:pt idx="1972">
                  <c:v>#N/A</c:v>
                </c:pt>
                <c:pt idx="1973">
                  <c:v>#N/A</c:v>
                </c:pt>
                <c:pt idx="1974">
                  <c:v>#N/A</c:v>
                </c:pt>
                <c:pt idx="1975">
                  <c:v>#N/A</c:v>
                </c:pt>
                <c:pt idx="1976">
                  <c:v>#N/A</c:v>
                </c:pt>
                <c:pt idx="1977">
                  <c:v>#N/A</c:v>
                </c:pt>
                <c:pt idx="1978">
                  <c:v>#N/A</c:v>
                </c:pt>
                <c:pt idx="1979">
                  <c:v>0.9726027397260274</c:v>
                </c:pt>
                <c:pt idx="1980">
                  <c:v>#N/A</c:v>
                </c:pt>
                <c:pt idx="1981">
                  <c:v>#N/A</c:v>
                </c:pt>
                <c:pt idx="1982">
                  <c:v>#N/A</c:v>
                </c:pt>
                <c:pt idx="1983">
                  <c:v>#N/A</c:v>
                </c:pt>
                <c:pt idx="1984">
                  <c:v>#N/A</c:v>
                </c:pt>
                <c:pt idx="1985">
                  <c:v>#N/A</c:v>
                </c:pt>
                <c:pt idx="1986">
                  <c:v>#N/A</c:v>
                </c:pt>
                <c:pt idx="1987">
                  <c:v>#N/A</c:v>
                </c:pt>
                <c:pt idx="1988">
                  <c:v>#N/A</c:v>
                </c:pt>
                <c:pt idx="1989">
                  <c:v>#N/A</c:v>
                </c:pt>
                <c:pt idx="1990">
                  <c:v>#N/A</c:v>
                </c:pt>
                <c:pt idx="1991">
                  <c:v>#N/A</c:v>
                </c:pt>
                <c:pt idx="1992">
                  <c:v>#N/A</c:v>
                </c:pt>
                <c:pt idx="1993">
                  <c:v>#N/A</c:v>
                </c:pt>
                <c:pt idx="1994">
                  <c:v>#N/A</c:v>
                </c:pt>
                <c:pt idx="1995">
                  <c:v>#N/A</c:v>
                </c:pt>
                <c:pt idx="1996">
                  <c:v>#N/A</c:v>
                </c:pt>
                <c:pt idx="1997">
                  <c:v>#N/A</c:v>
                </c:pt>
                <c:pt idx="1998">
                  <c:v>#N/A</c:v>
                </c:pt>
                <c:pt idx="1999">
                  <c:v>#N/A</c:v>
                </c:pt>
                <c:pt idx="2000">
                  <c:v>#N/A</c:v>
                </c:pt>
                <c:pt idx="2001">
                  <c:v>#N/A</c:v>
                </c:pt>
                <c:pt idx="2002">
                  <c:v>#N/A</c:v>
                </c:pt>
                <c:pt idx="2003">
                  <c:v>#N/A</c:v>
                </c:pt>
                <c:pt idx="2004">
                  <c:v>#N/A</c:v>
                </c:pt>
                <c:pt idx="2005">
                  <c:v>#N/A</c:v>
                </c:pt>
                <c:pt idx="2006">
                  <c:v>0.99178082191780825</c:v>
                </c:pt>
                <c:pt idx="2007">
                  <c:v>0.99178082191780825</c:v>
                </c:pt>
                <c:pt idx="2008">
                  <c:v>0.99178082191780825</c:v>
                </c:pt>
                <c:pt idx="2009">
                  <c:v>#N/A</c:v>
                </c:pt>
                <c:pt idx="2010">
                  <c:v>#N/A</c:v>
                </c:pt>
                <c:pt idx="2011">
                  <c:v>0.9945205479452055</c:v>
                </c:pt>
                <c:pt idx="2012">
                  <c:v>#N/A</c:v>
                </c:pt>
                <c:pt idx="2013">
                  <c:v>#N/A</c:v>
                </c:pt>
                <c:pt idx="2014">
                  <c:v>#N/A</c:v>
                </c:pt>
                <c:pt idx="2015">
                  <c:v>#N/A</c:v>
                </c:pt>
                <c:pt idx="2016">
                  <c:v>#N/A</c:v>
                </c:pt>
                <c:pt idx="2017">
                  <c:v>#N/A</c:v>
                </c:pt>
                <c:pt idx="2018">
                  <c:v>#N/A</c:v>
                </c:pt>
                <c:pt idx="2019">
                  <c:v>0.9945205479452055</c:v>
                </c:pt>
                <c:pt idx="2020">
                  <c:v>#N/A</c:v>
                </c:pt>
                <c:pt idx="2021">
                  <c:v>#N/A</c:v>
                </c:pt>
                <c:pt idx="2022">
                  <c:v>#N/A</c:v>
                </c:pt>
                <c:pt idx="2023">
                  <c:v>#N/A</c:v>
                </c:pt>
                <c:pt idx="2024">
                  <c:v>#N/A</c:v>
                </c:pt>
                <c:pt idx="2025">
                  <c:v>#N/A</c:v>
                </c:pt>
                <c:pt idx="2026">
                  <c:v>#N/A</c:v>
                </c:pt>
                <c:pt idx="2027">
                  <c:v>#N/A</c:v>
                </c:pt>
                <c:pt idx="2028">
                  <c:v>#N/A</c:v>
                </c:pt>
                <c:pt idx="2029">
                  <c:v>#N/A</c:v>
                </c:pt>
                <c:pt idx="2030">
                  <c:v>#N/A</c:v>
                </c:pt>
                <c:pt idx="2031">
                  <c:v>#N/A</c:v>
                </c:pt>
                <c:pt idx="2032">
                  <c:v>#N/A</c:v>
                </c:pt>
                <c:pt idx="2033">
                  <c:v>#N/A</c:v>
                </c:pt>
                <c:pt idx="2034">
                  <c:v>#N/A</c:v>
                </c:pt>
                <c:pt idx="2035">
                  <c:v>#N/A</c:v>
                </c:pt>
                <c:pt idx="2036">
                  <c:v>#N/A</c:v>
                </c:pt>
                <c:pt idx="2037">
                  <c:v>#N/A</c:v>
                </c:pt>
                <c:pt idx="2038">
                  <c:v>#N/A</c:v>
                </c:pt>
                <c:pt idx="2039">
                  <c:v>#N/A</c:v>
                </c:pt>
                <c:pt idx="2040">
                  <c:v>#N/A</c:v>
                </c:pt>
                <c:pt idx="2041">
                  <c:v>#N/A</c:v>
                </c:pt>
                <c:pt idx="2042">
                  <c:v>#N/A</c:v>
                </c:pt>
                <c:pt idx="2043">
                  <c:v>#N/A</c:v>
                </c:pt>
                <c:pt idx="2044">
                  <c:v>#N/A</c:v>
                </c:pt>
                <c:pt idx="2045">
                  <c:v>#N/A</c:v>
                </c:pt>
                <c:pt idx="2046">
                  <c:v>#N/A</c:v>
                </c:pt>
                <c:pt idx="2047">
                  <c:v>#N/A</c:v>
                </c:pt>
                <c:pt idx="2048">
                  <c:v>#N/A</c:v>
                </c:pt>
                <c:pt idx="2049">
                  <c:v>1.0027397260273974</c:v>
                </c:pt>
                <c:pt idx="2050">
                  <c:v>#N/A</c:v>
                </c:pt>
                <c:pt idx="2051">
                  <c:v>#N/A</c:v>
                </c:pt>
                <c:pt idx="2052">
                  <c:v>#N/A</c:v>
                </c:pt>
                <c:pt idx="2053">
                  <c:v>#N/A</c:v>
                </c:pt>
                <c:pt idx="2054">
                  <c:v>#N/A</c:v>
                </c:pt>
                <c:pt idx="2055">
                  <c:v>#N/A</c:v>
                </c:pt>
                <c:pt idx="2056">
                  <c:v>#N/A</c:v>
                </c:pt>
                <c:pt idx="2057">
                  <c:v>#N/A</c:v>
                </c:pt>
                <c:pt idx="2058">
                  <c:v>#N/A</c:v>
                </c:pt>
                <c:pt idx="2059">
                  <c:v>#N/A</c:v>
                </c:pt>
                <c:pt idx="2060">
                  <c:v>#N/A</c:v>
                </c:pt>
                <c:pt idx="2061">
                  <c:v>#N/A</c:v>
                </c:pt>
                <c:pt idx="2062">
                  <c:v>#N/A</c:v>
                </c:pt>
                <c:pt idx="2063">
                  <c:v>1.0027397260273974</c:v>
                </c:pt>
                <c:pt idx="2064">
                  <c:v>1.0027397260273974</c:v>
                </c:pt>
                <c:pt idx="2065">
                  <c:v>#N/A</c:v>
                </c:pt>
                <c:pt idx="2066">
                  <c:v>#N/A</c:v>
                </c:pt>
                <c:pt idx="2067">
                  <c:v>#N/A</c:v>
                </c:pt>
                <c:pt idx="2068">
                  <c:v>#N/A</c:v>
                </c:pt>
                <c:pt idx="2069">
                  <c:v>#N/A</c:v>
                </c:pt>
                <c:pt idx="2070">
                  <c:v>#N/A</c:v>
                </c:pt>
                <c:pt idx="2071">
                  <c:v>#N/A</c:v>
                </c:pt>
                <c:pt idx="2072">
                  <c:v>#N/A</c:v>
                </c:pt>
                <c:pt idx="2073">
                  <c:v>#N/A</c:v>
                </c:pt>
                <c:pt idx="2074">
                  <c:v>#N/A</c:v>
                </c:pt>
                <c:pt idx="2075">
                  <c:v>#N/A</c:v>
                </c:pt>
                <c:pt idx="2076">
                  <c:v>#N/A</c:v>
                </c:pt>
                <c:pt idx="2077">
                  <c:v>#N/A</c:v>
                </c:pt>
                <c:pt idx="2078">
                  <c:v>#N/A</c:v>
                </c:pt>
                <c:pt idx="2079">
                  <c:v>#N/A</c:v>
                </c:pt>
                <c:pt idx="2080">
                  <c:v>#N/A</c:v>
                </c:pt>
                <c:pt idx="2081">
                  <c:v>#N/A</c:v>
                </c:pt>
                <c:pt idx="2082">
                  <c:v>#N/A</c:v>
                </c:pt>
                <c:pt idx="2083">
                  <c:v>#N/A</c:v>
                </c:pt>
                <c:pt idx="2084">
                  <c:v>#N/A</c:v>
                </c:pt>
                <c:pt idx="2085">
                  <c:v>1.0027397260273974</c:v>
                </c:pt>
                <c:pt idx="2086">
                  <c:v>#N/A</c:v>
                </c:pt>
                <c:pt idx="2087">
                  <c:v>#N/A</c:v>
                </c:pt>
                <c:pt idx="2088">
                  <c:v>#N/A</c:v>
                </c:pt>
                <c:pt idx="2089">
                  <c:v>#N/A</c:v>
                </c:pt>
                <c:pt idx="2090">
                  <c:v>#N/A</c:v>
                </c:pt>
                <c:pt idx="2091">
                  <c:v>#N/A</c:v>
                </c:pt>
                <c:pt idx="2092">
                  <c:v>#N/A</c:v>
                </c:pt>
                <c:pt idx="2093">
                  <c:v>#N/A</c:v>
                </c:pt>
                <c:pt idx="2094">
                  <c:v>#N/A</c:v>
                </c:pt>
                <c:pt idx="2095">
                  <c:v>#N/A</c:v>
                </c:pt>
                <c:pt idx="2096">
                  <c:v>#N/A</c:v>
                </c:pt>
                <c:pt idx="2097">
                  <c:v>#N/A</c:v>
                </c:pt>
                <c:pt idx="2098">
                  <c:v>1.0027397260273974</c:v>
                </c:pt>
                <c:pt idx="2099">
                  <c:v>#N/A</c:v>
                </c:pt>
                <c:pt idx="2100">
                  <c:v>#N/A</c:v>
                </c:pt>
                <c:pt idx="2101">
                  <c:v>#N/A</c:v>
                </c:pt>
                <c:pt idx="2102">
                  <c:v>#N/A</c:v>
                </c:pt>
                <c:pt idx="2103">
                  <c:v>#N/A</c:v>
                </c:pt>
                <c:pt idx="2104">
                  <c:v>#N/A</c:v>
                </c:pt>
                <c:pt idx="2105">
                  <c:v>1.0027397260273974</c:v>
                </c:pt>
                <c:pt idx="2106">
                  <c:v>#N/A</c:v>
                </c:pt>
                <c:pt idx="2107">
                  <c:v>#N/A</c:v>
                </c:pt>
                <c:pt idx="2108">
                  <c:v>#N/A</c:v>
                </c:pt>
                <c:pt idx="2109">
                  <c:v>#N/A</c:v>
                </c:pt>
                <c:pt idx="2110">
                  <c:v>#N/A</c:v>
                </c:pt>
                <c:pt idx="2111">
                  <c:v>#N/A</c:v>
                </c:pt>
                <c:pt idx="2112">
                  <c:v>#N/A</c:v>
                </c:pt>
                <c:pt idx="2113">
                  <c:v>#N/A</c:v>
                </c:pt>
                <c:pt idx="2114">
                  <c:v>#N/A</c:v>
                </c:pt>
                <c:pt idx="2115">
                  <c:v>#N/A</c:v>
                </c:pt>
                <c:pt idx="2116">
                  <c:v>#N/A</c:v>
                </c:pt>
                <c:pt idx="2117">
                  <c:v>#N/A</c:v>
                </c:pt>
                <c:pt idx="2118">
                  <c:v>#N/A</c:v>
                </c:pt>
                <c:pt idx="2119">
                  <c:v>#N/A</c:v>
                </c:pt>
                <c:pt idx="2120">
                  <c:v>#N/A</c:v>
                </c:pt>
                <c:pt idx="2121">
                  <c:v>#N/A</c:v>
                </c:pt>
                <c:pt idx="2122">
                  <c:v>#N/A</c:v>
                </c:pt>
                <c:pt idx="2123">
                  <c:v>#N/A</c:v>
                </c:pt>
                <c:pt idx="2124">
                  <c:v>1.0027397260273974</c:v>
                </c:pt>
                <c:pt idx="2125">
                  <c:v>#N/A</c:v>
                </c:pt>
                <c:pt idx="2126">
                  <c:v>#N/A</c:v>
                </c:pt>
                <c:pt idx="2127">
                  <c:v>#N/A</c:v>
                </c:pt>
                <c:pt idx="2128">
                  <c:v>#N/A</c:v>
                </c:pt>
                <c:pt idx="2129">
                  <c:v>#N/A</c:v>
                </c:pt>
                <c:pt idx="2130">
                  <c:v>#N/A</c:v>
                </c:pt>
                <c:pt idx="2131">
                  <c:v>1.0027397260273974</c:v>
                </c:pt>
                <c:pt idx="2132">
                  <c:v>#N/A</c:v>
                </c:pt>
                <c:pt idx="2133">
                  <c:v>1.0027397260273974</c:v>
                </c:pt>
                <c:pt idx="2134">
                  <c:v>#N/A</c:v>
                </c:pt>
                <c:pt idx="2135">
                  <c:v>#N/A</c:v>
                </c:pt>
                <c:pt idx="2136">
                  <c:v>#N/A</c:v>
                </c:pt>
                <c:pt idx="2137">
                  <c:v>#N/A</c:v>
                </c:pt>
                <c:pt idx="2138">
                  <c:v>#N/A</c:v>
                </c:pt>
                <c:pt idx="2139">
                  <c:v>#N/A</c:v>
                </c:pt>
                <c:pt idx="2140">
                  <c:v>#N/A</c:v>
                </c:pt>
                <c:pt idx="2141">
                  <c:v>#N/A</c:v>
                </c:pt>
                <c:pt idx="2142">
                  <c:v>1.0027397260273974</c:v>
                </c:pt>
                <c:pt idx="2143">
                  <c:v>#N/A</c:v>
                </c:pt>
                <c:pt idx="2144">
                  <c:v>#N/A</c:v>
                </c:pt>
                <c:pt idx="2145">
                  <c:v>#N/A</c:v>
                </c:pt>
                <c:pt idx="2146">
                  <c:v>#N/A</c:v>
                </c:pt>
                <c:pt idx="2147">
                  <c:v>1.0027397260273974</c:v>
                </c:pt>
                <c:pt idx="2148">
                  <c:v>#N/A</c:v>
                </c:pt>
                <c:pt idx="2149">
                  <c:v>#N/A</c:v>
                </c:pt>
                <c:pt idx="2150">
                  <c:v>#N/A</c:v>
                </c:pt>
                <c:pt idx="2151">
                  <c:v>#N/A</c:v>
                </c:pt>
                <c:pt idx="2152">
                  <c:v>#N/A</c:v>
                </c:pt>
                <c:pt idx="2153">
                  <c:v>#N/A</c:v>
                </c:pt>
                <c:pt idx="2154">
                  <c:v>#N/A</c:v>
                </c:pt>
                <c:pt idx="2155">
                  <c:v>#N/A</c:v>
                </c:pt>
                <c:pt idx="2156">
                  <c:v>#N/A</c:v>
                </c:pt>
                <c:pt idx="2157">
                  <c:v>#N/A</c:v>
                </c:pt>
                <c:pt idx="2158">
                  <c:v>1.0027397260273974</c:v>
                </c:pt>
                <c:pt idx="2159">
                  <c:v>#N/A</c:v>
                </c:pt>
                <c:pt idx="2160">
                  <c:v>1.0027397260273974</c:v>
                </c:pt>
                <c:pt idx="2161">
                  <c:v>#N/A</c:v>
                </c:pt>
                <c:pt idx="2162">
                  <c:v>#N/A</c:v>
                </c:pt>
                <c:pt idx="2163">
                  <c:v>#N/A</c:v>
                </c:pt>
                <c:pt idx="2164">
                  <c:v>1.0027397260273974</c:v>
                </c:pt>
                <c:pt idx="2165">
                  <c:v>#N/A</c:v>
                </c:pt>
                <c:pt idx="2166">
                  <c:v>#N/A</c:v>
                </c:pt>
                <c:pt idx="2167">
                  <c:v>#N/A</c:v>
                </c:pt>
                <c:pt idx="2168">
                  <c:v>#N/A</c:v>
                </c:pt>
                <c:pt idx="2169">
                  <c:v>#N/A</c:v>
                </c:pt>
                <c:pt idx="2170">
                  <c:v>#N/A</c:v>
                </c:pt>
                <c:pt idx="2171">
                  <c:v>#N/A</c:v>
                </c:pt>
                <c:pt idx="2172">
                  <c:v>#N/A</c:v>
                </c:pt>
                <c:pt idx="2173">
                  <c:v>#N/A</c:v>
                </c:pt>
                <c:pt idx="2174">
                  <c:v>#N/A</c:v>
                </c:pt>
                <c:pt idx="2175">
                  <c:v>#N/A</c:v>
                </c:pt>
                <c:pt idx="2176">
                  <c:v>#N/A</c:v>
                </c:pt>
                <c:pt idx="2177">
                  <c:v>#N/A</c:v>
                </c:pt>
                <c:pt idx="2178">
                  <c:v>#N/A</c:v>
                </c:pt>
                <c:pt idx="2179">
                  <c:v>#N/A</c:v>
                </c:pt>
                <c:pt idx="2180">
                  <c:v>#N/A</c:v>
                </c:pt>
                <c:pt idx="2181">
                  <c:v>#N/A</c:v>
                </c:pt>
                <c:pt idx="2182">
                  <c:v>#N/A</c:v>
                </c:pt>
                <c:pt idx="2183">
                  <c:v>#N/A</c:v>
                </c:pt>
                <c:pt idx="2184">
                  <c:v>#N/A</c:v>
                </c:pt>
                <c:pt idx="2185">
                  <c:v>#N/A</c:v>
                </c:pt>
                <c:pt idx="2186">
                  <c:v>#N/A</c:v>
                </c:pt>
                <c:pt idx="2187">
                  <c:v>#N/A</c:v>
                </c:pt>
                <c:pt idx="2188">
                  <c:v>#N/A</c:v>
                </c:pt>
                <c:pt idx="2189">
                  <c:v>#N/A</c:v>
                </c:pt>
                <c:pt idx="2190">
                  <c:v>#N/A</c:v>
                </c:pt>
                <c:pt idx="2191">
                  <c:v>#N/A</c:v>
                </c:pt>
                <c:pt idx="2192">
                  <c:v>#N/A</c:v>
                </c:pt>
                <c:pt idx="2193">
                  <c:v>#N/A</c:v>
                </c:pt>
                <c:pt idx="2194">
                  <c:v>#N/A</c:v>
                </c:pt>
                <c:pt idx="2195">
                  <c:v>#N/A</c:v>
                </c:pt>
                <c:pt idx="2196">
                  <c:v>#N/A</c:v>
                </c:pt>
                <c:pt idx="2197">
                  <c:v>#N/A</c:v>
                </c:pt>
                <c:pt idx="2198">
                  <c:v>#N/A</c:v>
                </c:pt>
                <c:pt idx="2199">
                  <c:v>#N/A</c:v>
                </c:pt>
                <c:pt idx="2200">
                  <c:v>#N/A</c:v>
                </c:pt>
                <c:pt idx="2201">
                  <c:v>#N/A</c:v>
                </c:pt>
                <c:pt idx="2202">
                  <c:v>#N/A</c:v>
                </c:pt>
                <c:pt idx="2203">
                  <c:v>#N/A</c:v>
                </c:pt>
                <c:pt idx="2204">
                  <c:v>#N/A</c:v>
                </c:pt>
                <c:pt idx="2205">
                  <c:v>1.010958904109589</c:v>
                </c:pt>
                <c:pt idx="2206">
                  <c:v>#N/A</c:v>
                </c:pt>
                <c:pt idx="2207">
                  <c:v>#N/A</c:v>
                </c:pt>
                <c:pt idx="2208">
                  <c:v>#N/A</c:v>
                </c:pt>
                <c:pt idx="2209">
                  <c:v>#N/A</c:v>
                </c:pt>
                <c:pt idx="2210">
                  <c:v>#N/A</c:v>
                </c:pt>
                <c:pt idx="2211">
                  <c:v>#N/A</c:v>
                </c:pt>
                <c:pt idx="2212">
                  <c:v>#N/A</c:v>
                </c:pt>
                <c:pt idx="2213">
                  <c:v>#N/A</c:v>
                </c:pt>
                <c:pt idx="2214">
                  <c:v>#N/A</c:v>
                </c:pt>
                <c:pt idx="2215">
                  <c:v>#N/A</c:v>
                </c:pt>
                <c:pt idx="2216">
                  <c:v>#N/A</c:v>
                </c:pt>
                <c:pt idx="2217">
                  <c:v>#N/A</c:v>
                </c:pt>
                <c:pt idx="2218">
                  <c:v>#N/A</c:v>
                </c:pt>
                <c:pt idx="2219">
                  <c:v>#N/A</c:v>
                </c:pt>
                <c:pt idx="2220">
                  <c:v>#N/A</c:v>
                </c:pt>
                <c:pt idx="2221">
                  <c:v>#N/A</c:v>
                </c:pt>
                <c:pt idx="2222">
                  <c:v>#N/A</c:v>
                </c:pt>
                <c:pt idx="2223">
                  <c:v>#N/A</c:v>
                </c:pt>
                <c:pt idx="2224">
                  <c:v>#N/A</c:v>
                </c:pt>
                <c:pt idx="2225">
                  <c:v>#N/A</c:v>
                </c:pt>
                <c:pt idx="2226">
                  <c:v>#N/A</c:v>
                </c:pt>
                <c:pt idx="2227">
                  <c:v>#N/A</c:v>
                </c:pt>
                <c:pt idx="2228">
                  <c:v>#N/A</c:v>
                </c:pt>
                <c:pt idx="2229">
                  <c:v>#N/A</c:v>
                </c:pt>
                <c:pt idx="2230">
                  <c:v>#N/A</c:v>
                </c:pt>
                <c:pt idx="2231">
                  <c:v>#N/A</c:v>
                </c:pt>
                <c:pt idx="2232">
                  <c:v>#N/A</c:v>
                </c:pt>
                <c:pt idx="2233">
                  <c:v>#N/A</c:v>
                </c:pt>
                <c:pt idx="2234">
                  <c:v>#N/A</c:v>
                </c:pt>
                <c:pt idx="2235">
                  <c:v>#N/A</c:v>
                </c:pt>
                <c:pt idx="2236">
                  <c:v>#N/A</c:v>
                </c:pt>
                <c:pt idx="2237">
                  <c:v>#N/A</c:v>
                </c:pt>
                <c:pt idx="2238">
                  <c:v>#N/A</c:v>
                </c:pt>
                <c:pt idx="2239">
                  <c:v>#N/A</c:v>
                </c:pt>
                <c:pt idx="2240">
                  <c:v>#N/A</c:v>
                </c:pt>
                <c:pt idx="2241">
                  <c:v>#N/A</c:v>
                </c:pt>
                <c:pt idx="2242">
                  <c:v>#N/A</c:v>
                </c:pt>
                <c:pt idx="2243">
                  <c:v>#N/A</c:v>
                </c:pt>
                <c:pt idx="2244">
                  <c:v>#N/A</c:v>
                </c:pt>
                <c:pt idx="2245">
                  <c:v>#N/A</c:v>
                </c:pt>
                <c:pt idx="2246">
                  <c:v>#N/A</c:v>
                </c:pt>
                <c:pt idx="2247">
                  <c:v>#N/A</c:v>
                </c:pt>
                <c:pt idx="2248">
                  <c:v>#N/A</c:v>
                </c:pt>
                <c:pt idx="2249">
                  <c:v>#N/A</c:v>
                </c:pt>
                <c:pt idx="2250">
                  <c:v>#N/A</c:v>
                </c:pt>
                <c:pt idx="2251">
                  <c:v>1.021917808219178</c:v>
                </c:pt>
                <c:pt idx="2252">
                  <c:v>#N/A</c:v>
                </c:pt>
                <c:pt idx="2253">
                  <c:v>#N/A</c:v>
                </c:pt>
                <c:pt idx="2254">
                  <c:v>#N/A</c:v>
                </c:pt>
                <c:pt idx="2255">
                  <c:v>#N/A</c:v>
                </c:pt>
                <c:pt idx="2256">
                  <c:v>#N/A</c:v>
                </c:pt>
                <c:pt idx="2257">
                  <c:v>#N/A</c:v>
                </c:pt>
                <c:pt idx="2258">
                  <c:v>#N/A</c:v>
                </c:pt>
                <c:pt idx="2259">
                  <c:v>#N/A</c:v>
                </c:pt>
                <c:pt idx="2260">
                  <c:v>#N/A</c:v>
                </c:pt>
                <c:pt idx="2261">
                  <c:v>#N/A</c:v>
                </c:pt>
                <c:pt idx="2262">
                  <c:v>#N/A</c:v>
                </c:pt>
                <c:pt idx="2263">
                  <c:v>#N/A</c:v>
                </c:pt>
                <c:pt idx="2264">
                  <c:v>#N/A</c:v>
                </c:pt>
                <c:pt idx="2265">
                  <c:v>#N/A</c:v>
                </c:pt>
                <c:pt idx="2266">
                  <c:v>#N/A</c:v>
                </c:pt>
                <c:pt idx="2267">
                  <c:v>#N/A</c:v>
                </c:pt>
                <c:pt idx="2268">
                  <c:v>#N/A</c:v>
                </c:pt>
                <c:pt idx="2269">
                  <c:v>#N/A</c:v>
                </c:pt>
                <c:pt idx="2270">
                  <c:v>#N/A</c:v>
                </c:pt>
                <c:pt idx="2271">
                  <c:v>#N/A</c:v>
                </c:pt>
                <c:pt idx="2272">
                  <c:v>#N/A</c:v>
                </c:pt>
                <c:pt idx="2273">
                  <c:v>#N/A</c:v>
                </c:pt>
                <c:pt idx="2274">
                  <c:v>#N/A</c:v>
                </c:pt>
                <c:pt idx="2275">
                  <c:v>#N/A</c:v>
                </c:pt>
                <c:pt idx="2276">
                  <c:v>1.0301369863013699</c:v>
                </c:pt>
                <c:pt idx="2277">
                  <c:v>#N/A</c:v>
                </c:pt>
                <c:pt idx="2278">
                  <c:v>#N/A</c:v>
                </c:pt>
                <c:pt idx="2279">
                  <c:v>#N/A</c:v>
                </c:pt>
                <c:pt idx="2280">
                  <c:v>#N/A</c:v>
                </c:pt>
                <c:pt idx="2281">
                  <c:v>#N/A</c:v>
                </c:pt>
                <c:pt idx="2282">
                  <c:v>#N/A</c:v>
                </c:pt>
                <c:pt idx="2283">
                  <c:v>#N/A</c:v>
                </c:pt>
                <c:pt idx="2284">
                  <c:v>#N/A</c:v>
                </c:pt>
                <c:pt idx="2285">
                  <c:v>#N/A</c:v>
                </c:pt>
                <c:pt idx="2286">
                  <c:v>#N/A</c:v>
                </c:pt>
                <c:pt idx="2287">
                  <c:v>#N/A</c:v>
                </c:pt>
                <c:pt idx="2288">
                  <c:v>#N/A</c:v>
                </c:pt>
                <c:pt idx="2289">
                  <c:v>#N/A</c:v>
                </c:pt>
                <c:pt idx="2290">
                  <c:v>#N/A</c:v>
                </c:pt>
                <c:pt idx="2291">
                  <c:v>#N/A</c:v>
                </c:pt>
                <c:pt idx="2292">
                  <c:v>#N/A</c:v>
                </c:pt>
                <c:pt idx="2293">
                  <c:v>#N/A</c:v>
                </c:pt>
                <c:pt idx="2294">
                  <c:v>#N/A</c:v>
                </c:pt>
                <c:pt idx="2295">
                  <c:v>#N/A</c:v>
                </c:pt>
                <c:pt idx="2296">
                  <c:v>1.0410958904109588</c:v>
                </c:pt>
                <c:pt idx="2297">
                  <c:v>#N/A</c:v>
                </c:pt>
                <c:pt idx="2298">
                  <c:v>#N/A</c:v>
                </c:pt>
                <c:pt idx="2299">
                  <c:v>#N/A</c:v>
                </c:pt>
                <c:pt idx="2300">
                  <c:v>#N/A</c:v>
                </c:pt>
                <c:pt idx="2301">
                  <c:v>#N/A</c:v>
                </c:pt>
                <c:pt idx="2302">
                  <c:v>#N/A</c:v>
                </c:pt>
                <c:pt idx="2303">
                  <c:v>1.0575342465753426</c:v>
                </c:pt>
                <c:pt idx="2304">
                  <c:v>1.0575342465753426</c:v>
                </c:pt>
                <c:pt idx="2305">
                  <c:v>#N/A</c:v>
                </c:pt>
                <c:pt idx="2306">
                  <c:v>#N/A</c:v>
                </c:pt>
                <c:pt idx="2307">
                  <c:v>#N/A</c:v>
                </c:pt>
                <c:pt idx="2308">
                  <c:v>#N/A</c:v>
                </c:pt>
                <c:pt idx="2309">
                  <c:v>#N/A</c:v>
                </c:pt>
                <c:pt idx="2310">
                  <c:v>#N/A</c:v>
                </c:pt>
                <c:pt idx="2311">
                  <c:v>#N/A</c:v>
                </c:pt>
                <c:pt idx="2312">
                  <c:v>#N/A</c:v>
                </c:pt>
                <c:pt idx="2313">
                  <c:v>#N/A</c:v>
                </c:pt>
                <c:pt idx="2314">
                  <c:v>#N/A</c:v>
                </c:pt>
                <c:pt idx="2315">
                  <c:v>#N/A</c:v>
                </c:pt>
                <c:pt idx="2316">
                  <c:v>#N/A</c:v>
                </c:pt>
                <c:pt idx="2317">
                  <c:v>#N/A</c:v>
                </c:pt>
                <c:pt idx="2318">
                  <c:v>#N/A</c:v>
                </c:pt>
                <c:pt idx="2319">
                  <c:v>1.0712328767123287</c:v>
                </c:pt>
                <c:pt idx="2320">
                  <c:v>#N/A</c:v>
                </c:pt>
                <c:pt idx="2321">
                  <c:v>#N/A</c:v>
                </c:pt>
                <c:pt idx="2322">
                  <c:v>#N/A</c:v>
                </c:pt>
                <c:pt idx="2323">
                  <c:v>#N/A</c:v>
                </c:pt>
                <c:pt idx="2324">
                  <c:v>#N/A</c:v>
                </c:pt>
                <c:pt idx="2325">
                  <c:v>#N/A</c:v>
                </c:pt>
                <c:pt idx="2326">
                  <c:v>#N/A</c:v>
                </c:pt>
                <c:pt idx="2327">
                  <c:v>#N/A</c:v>
                </c:pt>
                <c:pt idx="2328">
                  <c:v>#N/A</c:v>
                </c:pt>
                <c:pt idx="2329">
                  <c:v>#N/A</c:v>
                </c:pt>
                <c:pt idx="2330">
                  <c:v>#N/A</c:v>
                </c:pt>
                <c:pt idx="2331">
                  <c:v>#N/A</c:v>
                </c:pt>
                <c:pt idx="2332">
                  <c:v>#N/A</c:v>
                </c:pt>
                <c:pt idx="2333">
                  <c:v>1.0712328767123287</c:v>
                </c:pt>
                <c:pt idx="2334">
                  <c:v>#N/A</c:v>
                </c:pt>
                <c:pt idx="2335">
                  <c:v>#N/A</c:v>
                </c:pt>
                <c:pt idx="2336">
                  <c:v>#N/A</c:v>
                </c:pt>
                <c:pt idx="2337">
                  <c:v>#N/A</c:v>
                </c:pt>
                <c:pt idx="2338">
                  <c:v>#N/A</c:v>
                </c:pt>
                <c:pt idx="2339">
                  <c:v>#N/A</c:v>
                </c:pt>
                <c:pt idx="2340">
                  <c:v>#N/A</c:v>
                </c:pt>
                <c:pt idx="2341">
                  <c:v>#N/A</c:v>
                </c:pt>
                <c:pt idx="2342">
                  <c:v>#N/A</c:v>
                </c:pt>
                <c:pt idx="2343">
                  <c:v>#N/A</c:v>
                </c:pt>
                <c:pt idx="2344">
                  <c:v>#N/A</c:v>
                </c:pt>
                <c:pt idx="2345">
                  <c:v>1.0767123287671232</c:v>
                </c:pt>
                <c:pt idx="2346">
                  <c:v>#N/A</c:v>
                </c:pt>
                <c:pt idx="2347">
                  <c:v>#N/A</c:v>
                </c:pt>
                <c:pt idx="2348">
                  <c:v>#N/A</c:v>
                </c:pt>
                <c:pt idx="2349">
                  <c:v>#N/A</c:v>
                </c:pt>
                <c:pt idx="2350">
                  <c:v>#N/A</c:v>
                </c:pt>
                <c:pt idx="2351">
                  <c:v>1.0767123287671232</c:v>
                </c:pt>
                <c:pt idx="2352">
                  <c:v>#N/A</c:v>
                </c:pt>
                <c:pt idx="2353">
                  <c:v>1.0767123287671232</c:v>
                </c:pt>
                <c:pt idx="2354">
                  <c:v>#N/A</c:v>
                </c:pt>
                <c:pt idx="2355">
                  <c:v>1.0876712328767124</c:v>
                </c:pt>
                <c:pt idx="2356">
                  <c:v>#N/A</c:v>
                </c:pt>
                <c:pt idx="2357">
                  <c:v>#N/A</c:v>
                </c:pt>
                <c:pt idx="2358">
                  <c:v>#N/A</c:v>
                </c:pt>
                <c:pt idx="2359">
                  <c:v>#N/A</c:v>
                </c:pt>
                <c:pt idx="2360">
                  <c:v>#N/A</c:v>
                </c:pt>
                <c:pt idx="2361">
                  <c:v>#N/A</c:v>
                </c:pt>
                <c:pt idx="2362">
                  <c:v>#N/A</c:v>
                </c:pt>
                <c:pt idx="2363">
                  <c:v>#N/A</c:v>
                </c:pt>
                <c:pt idx="2364">
                  <c:v>#N/A</c:v>
                </c:pt>
                <c:pt idx="2365">
                  <c:v>#N/A</c:v>
                </c:pt>
                <c:pt idx="2366">
                  <c:v>#N/A</c:v>
                </c:pt>
                <c:pt idx="2367">
                  <c:v>#N/A</c:v>
                </c:pt>
                <c:pt idx="2368">
                  <c:v>#N/A</c:v>
                </c:pt>
                <c:pt idx="2369">
                  <c:v>#N/A</c:v>
                </c:pt>
                <c:pt idx="2370">
                  <c:v>#N/A</c:v>
                </c:pt>
                <c:pt idx="2371">
                  <c:v>#N/A</c:v>
                </c:pt>
                <c:pt idx="2372">
                  <c:v>#N/A</c:v>
                </c:pt>
                <c:pt idx="2373">
                  <c:v>#N/A</c:v>
                </c:pt>
                <c:pt idx="2374">
                  <c:v>#N/A</c:v>
                </c:pt>
                <c:pt idx="2375">
                  <c:v>#N/A</c:v>
                </c:pt>
                <c:pt idx="2376">
                  <c:v>#N/A</c:v>
                </c:pt>
                <c:pt idx="2377">
                  <c:v>#N/A</c:v>
                </c:pt>
                <c:pt idx="2378">
                  <c:v>1.1095890410958904</c:v>
                </c:pt>
                <c:pt idx="2379">
                  <c:v>#N/A</c:v>
                </c:pt>
                <c:pt idx="2380">
                  <c:v>#N/A</c:v>
                </c:pt>
                <c:pt idx="2381">
                  <c:v>#N/A</c:v>
                </c:pt>
                <c:pt idx="2382">
                  <c:v>#N/A</c:v>
                </c:pt>
                <c:pt idx="2383">
                  <c:v>#N/A</c:v>
                </c:pt>
                <c:pt idx="2384">
                  <c:v>#N/A</c:v>
                </c:pt>
                <c:pt idx="2385">
                  <c:v>#N/A</c:v>
                </c:pt>
                <c:pt idx="2386">
                  <c:v>#N/A</c:v>
                </c:pt>
                <c:pt idx="2387">
                  <c:v>#N/A</c:v>
                </c:pt>
                <c:pt idx="2388">
                  <c:v>#N/A</c:v>
                </c:pt>
                <c:pt idx="2389">
                  <c:v>#N/A</c:v>
                </c:pt>
                <c:pt idx="2390">
                  <c:v>#N/A</c:v>
                </c:pt>
                <c:pt idx="2391">
                  <c:v>#N/A</c:v>
                </c:pt>
                <c:pt idx="2392">
                  <c:v>#N/A</c:v>
                </c:pt>
                <c:pt idx="2393">
                  <c:v>#N/A</c:v>
                </c:pt>
                <c:pt idx="2394">
                  <c:v>#N/A</c:v>
                </c:pt>
                <c:pt idx="2395">
                  <c:v>#N/A</c:v>
                </c:pt>
                <c:pt idx="2396">
                  <c:v>#N/A</c:v>
                </c:pt>
                <c:pt idx="2397">
                  <c:v>#N/A</c:v>
                </c:pt>
                <c:pt idx="2398">
                  <c:v>#N/A</c:v>
                </c:pt>
                <c:pt idx="2399">
                  <c:v>#N/A</c:v>
                </c:pt>
                <c:pt idx="2400">
                  <c:v>#N/A</c:v>
                </c:pt>
                <c:pt idx="2401">
                  <c:v>#N/A</c:v>
                </c:pt>
                <c:pt idx="2402">
                  <c:v>#N/A</c:v>
                </c:pt>
                <c:pt idx="2403">
                  <c:v>#N/A</c:v>
                </c:pt>
                <c:pt idx="2404">
                  <c:v>1.1369863013698631</c:v>
                </c:pt>
                <c:pt idx="2405">
                  <c:v>#N/A</c:v>
                </c:pt>
                <c:pt idx="2406">
                  <c:v>#N/A</c:v>
                </c:pt>
                <c:pt idx="2407">
                  <c:v>#N/A</c:v>
                </c:pt>
                <c:pt idx="2408">
                  <c:v>#N/A</c:v>
                </c:pt>
                <c:pt idx="2409">
                  <c:v>1.1369863013698631</c:v>
                </c:pt>
                <c:pt idx="2410">
                  <c:v>#N/A</c:v>
                </c:pt>
                <c:pt idx="2411">
                  <c:v>#N/A</c:v>
                </c:pt>
                <c:pt idx="2412">
                  <c:v>#N/A</c:v>
                </c:pt>
                <c:pt idx="2413">
                  <c:v>#N/A</c:v>
                </c:pt>
                <c:pt idx="2414">
                  <c:v>#N/A</c:v>
                </c:pt>
                <c:pt idx="2415">
                  <c:v>#N/A</c:v>
                </c:pt>
                <c:pt idx="2416">
                  <c:v>#N/A</c:v>
                </c:pt>
                <c:pt idx="2417">
                  <c:v>#N/A</c:v>
                </c:pt>
                <c:pt idx="2418">
                  <c:v>#N/A</c:v>
                </c:pt>
                <c:pt idx="2419">
                  <c:v>#N/A</c:v>
                </c:pt>
                <c:pt idx="2420">
                  <c:v>#N/A</c:v>
                </c:pt>
                <c:pt idx="2421">
                  <c:v>1.1534246575342466</c:v>
                </c:pt>
                <c:pt idx="2422">
                  <c:v>#N/A</c:v>
                </c:pt>
                <c:pt idx="2423">
                  <c:v>#N/A</c:v>
                </c:pt>
                <c:pt idx="2424">
                  <c:v>#N/A</c:v>
                </c:pt>
                <c:pt idx="2425">
                  <c:v>#N/A</c:v>
                </c:pt>
                <c:pt idx="2426">
                  <c:v>#N/A</c:v>
                </c:pt>
                <c:pt idx="2427">
                  <c:v>#N/A</c:v>
                </c:pt>
                <c:pt idx="2428">
                  <c:v>#N/A</c:v>
                </c:pt>
                <c:pt idx="2429">
                  <c:v>#N/A</c:v>
                </c:pt>
                <c:pt idx="2430">
                  <c:v>#N/A</c:v>
                </c:pt>
                <c:pt idx="2431">
                  <c:v>#N/A</c:v>
                </c:pt>
                <c:pt idx="2432">
                  <c:v>1.1698630136986301</c:v>
                </c:pt>
                <c:pt idx="2433">
                  <c:v>#N/A</c:v>
                </c:pt>
                <c:pt idx="2434">
                  <c:v>#N/A</c:v>
                </c:pt>
                <c:pt idx="2435">
                  <c:v>#N/A</c:v>
                </c:pt>
                <c:pt idx="2436">
                  <c:v>#N/A</c:v>
                </c:pt>
                <c:pt idx="2437">
                  <c:v>#N/A</c:v>
                </c:pt>
                <c:pt idx="2438">
                  <c:v>#N/A</c:v>
                </c:pt>
                <c:pt idx="2439">
                  <c:v>#N/A</c:v>
                </c:pt>
                <c:pt idx="2440">
                  <c:v>#N/A</c:v>
                </c:pt>
                <c:pt idx="2441">
                  <c:v>#N/A</c:v>
                </c:pt>
                <c:pt idx="2442">
                  <c:v>#N/A</c:v>
                </c:pt>
                <c:pt idx="2443">
                  <c:v>#N/A</c:v>
                </c:pt>
                <c:pt idx="2444">
                  <c:v>#N/A</c:v>
                </c:pt>
                <c:pt idx="2445">
                  <c:v>#N/A</c:v>
                </c:pt>
                <c:pt idx="2446">
                  <c:v>#N/A</c:v>
                </c:pt>
                <c:pt idx="2447">
                  <c:v>#N/A</c:v>
                </c:pt>
                <c:pt idx="2448">
                  <c:v>#N/A</c:v>
                </c:pt>
                <c:pt idx="2449">
                  <c:v>#N/A</c:v>
                </c:pt>
                <c:pt idx="2450">
                  <c:v>#N/A</c:v>
                </c:pt>
                <c:pt idx="2451">
                  <c:v>#N/A</c:v>
                </c:pt>
                <c:pt idx="2452">
                  <c:v>#N/A</c:v>
                </c:pt>
                <c:pt idx="2453">
                  <c:v>#N/A</c:v>
                </c:pt>
                <c:pt idx="2454">
                  <c:v>#N/A</c:v>
                </c:pt>
                <c:pt idx="2455">
                  <c:v>#N/A</c:v>
                </c:pt>
                <c:pt idx="2456">
                  <c:v>#N/A</c:v>
                </c:pt>
                <c:pt idx="2457">
                  <c:v>#N/A</c:v>
                </c:pt>
                <c:pt idx="2458">
                  <c:v>#N/A</c:v>
                </c:pt>
                <c:pt idx="2459">
                  <c:v>#N/A</c:v>
                </c:pt>
                <c:pt idx="2460">
                  <c:v>#N/A</c:v>
                </c:pt>
                <c:pt idx="2461">
                  <c:v>#N/A</c:v>
                </c:pt>
                <c:pt idx="2462">
                  <c:v>#N/A</c:v>
                </c:pt>
                <c:pt idx="2463">
                  <c:v>#N/A</c:v>
                </c:pt>
                <c:pt idx="2464">
                  <c:v>#N/A</c:v>
                </c:pt>
                <c:pt idx="2465">
                  <c:v>#N/A</c:v>
                </c:pt>
                <c:pt idx="2466">
                  <c:v>#N/A</c:v>
                </c:pt>
                <c:pt idx="2467">
                  <c:v>#N/A</c:v>
                </c:pt>
                <c:pt idx="2468">
                  <c:v>#N/A</c:v>
                </c:pt>
                <c:pt idx="2469">
                  <c:v>#N/A</c:v>
                </c:pt>
                <c:pt idx="2470">
                  <c:v>#N/A</c:v>
                </c:pt>
                <c:pt idx="2471">
                  <c:v>#N/A</c:v>
                </c:pt>
                <c:pt idx="2472">
                  <c:v>#N/A</c:v>
                </c:pt>
                <c:pt idx="2473">
                  <c:v>#N/A</c:v>
                </c:pt>
                <c:pt idx="2474">
                  <c:v>#N/A</c:v>
                </c:pt>
                <c:pt idx="2475">
                  <c:v>#N/A</c:v>
                </c:pt>
                <c:pt idx="2476">
                  <c:v>#N/A</c:v>
                </c:pt>
                <c:pt idx="2477">
                  <c:v>#N/A</c:v>
                </c:pt>
                <c:pt idx="2478">
                  <c:v>#N/A</c:v>
                </c:pt>
                <c:pt idx="2479">
                  <c:v>#N/A</c:v>
                </c:pt>
                <c:pt idx="2480">
                  <c:v>#N/A</c:v>
                </c:pt>
                <c:pt idx="2481">
                  <c:v>#N/A</c:v>
                </c:pt>
                <c:pt idx="2482">
                  <c:v>#N/A</c:v>
                </c:pt>
                <c:pt idx="2483">
                  <c:v>#N/A</c:v>
                </c:pt>
                <c:pt idx="2484">
                  <c:v>#N/A</c:v>
                </c:pt>
                <c:pt idx="2485">
                  <c:v>#N/A</c:v>
                </c:pt>
                <c:pt idx="2486">
                  <c:v>#N/A</c:v>
                </c:pt>
                <c:pt idx="2487">
                  <c:v>#N/A</c:v>
                </c:pt>
                <c:pt idx="2488">
                  <c:v>#N/A</c:v>
                </c:pt>
                <c:pt idx="2489">
                  <c:v>1.210958904109589</c:v>
                </c:pt>
                <c:pt idx="2490">
                  <c:v>#N/A</c:v>
                </c:pt>
                <c:pt idx="2491">
                  <c:v>#N/A</c:v>
                </c:pt>
                <c:pt idx="2492">
                  <c:v>#N/A</c:v>
                </c:pt>
                <c:pt idx="2493">
                  <c:v>#N/A</c:v>
                </c:pt>
                <c:pt idx="2494">
                  <c:v>#N/A</c:v>
                </c:pt>
                <c:pt idx="2495">
                  <c:v>#N/A</c:v>
                </c:pt>
                <c:pt idx="2496">
                  <c:v>#N/A</c:v>
                </c:pt>
                <c:pt idx="2497">
                  <c:v>#N/A</c:v>
                </c:pt>
                <c:pt idx="2498">
                  <c:v>#N/A</c:v>
                </c:pt>
                <c:pt idx="2499">
                  <c:v>#N/A</c:v>
                </c:pt>
                <c:pt idx="2500">
                  <c:v>#N/A</c:v>
                </c:pt>
                <c:pt idx="2501">
                  <c:v>#N/A</c:v>
                </c:pt>
                <c:pt idx="2502">
                  <c:v>#N/A</c:v>
                </c:pt>
                <c:pt idx="2503">
                  <c:v>#N/A</c:v>
                </c:pt>
                <c:pt idx="2504">
                  <c:v>#N/A</c:v>
                </c:pt>
                <c:pt idx="2505">
                  <c:v>#N/A</c:v>
                </c:pt>
                <c:pt idx="2506">
                  <c:v>#N/A</c:v>
                </c:pt>
                <c:pt idx="2507">
                  <c:v>#N/A</c:v>
                </c:pt>
                <c:pt idx="2508">
                  <c:v>#N/A</c:v>
                </c:pt>
                <c:pt idx="2509">
                  <c:v>#N/A</c:v>
                </c:pt>
                <c:pt idx="2510">
                  <c:v>#N/A</c:v>
                </c:pt>
                <c:pt idx="2511">
                  <c:v>#N/A</c:v>
                </c:pt>
                <c:pt idx="2512">
                  <c:v>1.2219178082191782</c:v>
                </c:pt>
                <c:pt idx="2513">
                  <c:v>#N/A</c:v>
                </c:pt>
                <c:pt idx="2514">
                  <c:v>#N/A</c:v>
                </c:pt>
                <c:pt idx="2515">
                  <c:v>#N/A</c:v>
                </c:pt>
                <c:pt idx="2516">
                  <c:v>#N/A</c:v>
                </c:pt>
                <c:pt idx="2517">
                  <c:v>#N/A</c:v>
                </c:pt>
                <c:pt idx="2518">
                  <c:v>#N/A</c:v>
                </c:pt>
                <c:pt idx="2519">
                  <c:v>#N/A</c:v>
                </c:pt>
                <c:pt idx="2520">
                  <c:v>#N/A</c:v>
                </c:pt>
                <c:pt idx="2521">
                  <c:v>#N/A</c:v>
                </c:pt>
                <c:pt idx="2522">
                  <c:v>#N/A</c:v>
                </c:pt>
                <c:pt idx="2523">
                  <c:v>#N/A</c:v>
                </c:pt>
                <c:pt idx="2524">
                  <c:v>#N/A</c:v>
                </c:pt>
                <c:pt idx="2525">
                  <c:v>#N/A</c:v>
                </c:pt>
                <c:pt idx="2526">
                  <c:v>#N/A</c:v>
                </c:pt>
                <c:pt idx="2527">
                  <c:v>#N/A</c:v>
                </c:pt>
                <c:pt idx="2528">
                  <c:v>#N/A</c:v>
                </c:pt>
                <c:pt idx="2529">
                  <c:v>#N/A</c:v>
                </c:pt>
                <c:pt idx="2530">
                  <c:v>#N/A</c:v>
                </c:pt>
                <c:pt idx="2531">
                  <c:v>#N/A</c:v>
                </c:pt>
                <c:pt idx="2532">
                  <c:v>#N/A</c:v>
                </c:pt>
                <c:pt idx="2533">
                  <c:v>#N/A</c:v>
                </c:pt>
                <c:pt idx="2534">
                  <c:v>#N/A</c:v>
                </c:pt>
                <c:pt idx="2535">
                  <c:v>1.2328767123287672</c:v>
                </c:pt>
                <c:pt idx="2536">
                  <c:v>#N/A</c:v>
                </c:pt>
                <c:pt idx="2537">
                  <c:v>#N/A</c:v>
                </c:pt>
                <c:pt idx="2538">
                  <c:v>#N/A</c:v>
                </c:pt>
                <c:pt idx="2539">
                  <c:v>#N/A</c:v>
                </c:pt>
                <c:pt idx="2540">
                  <c:v>#N/A</c:v>
                </c:pt>
                <c:pt idx="2541">
                  <c:v>#N/A</c:v>
                </c:pt>
                <c:pt idx="2542">
                  <c:v>#N/A</c:v>
                </c:pt>
                <c:pt idx="2543">
                  <c:v>#N/A</c:v>
                </c:pt>
                <c:pt idx="2544">
                  <c:v>#N/A</c:v>
                </c:pt>
                <c:pt idx="2545">
                  <c:v>#N/A</c:v>
                </c:pt>
                <c:pt idx="2546">
                  <c:v>#N/A</c:v>
                </c:pt>
                <c:pt idx="2547">
                  <c:v>#N/A</c:v>
                </c:pt>
                <c:pt idx="2548">
                  <c:v>#N/A</c:v>
                </c:pt>
                <c:pt idx="2549">
                  <c:v>#N/A</c:v>
                </c:pt>
                <c:pt idx="2550">
                  <c:v>#N/A</c:v>
                </c:pt>
                <c:pt idx="2551">
                  <c:v>#N/A</c:v>
                </c:pt>
                <c:pt idx="2552">
                  <c:v>#N/A</c:v>
                </c:pt>
                <c:pt idx="2553">
                  <c:v>#N/A</c:v>
                </c:pt>
                <c:pt idx="2554">
                  <c:v>#N/A</c:v>
                </c:pt>
                <c:pt idx="2555">
                  <c:v>#N/A</c:v>
                </c:pt>
                <c:pt idx="2556">
                  <c:v>1.2602739726027397</c:v>
                </c:pt>
                <c:pt idx="2557">
                  <c:v>#N/A</c:v>
                </c:pt>
                <c:pt idx="2558">
                  <c:v>#N/A</c:v>
                </c:pt>
                <c:pt idx="2559">
                  <c:v>#N/A</c:v>
                </c:pt>
                <c:pt idx="2560">
                  <c:v>1.2602739726027397</c:v>
                </c:pt>
                <c:pt idx="2561">
                  <c:v>#N/A</c:v>
                </c:pt>
                <c:pt idx="2562">
                  <c:v>#N/A</c:v>
                </c:pt>
                <c:pt idx="2563">
                  <c:v>#N/A</c:v>
                </c:pt>
                <c:pt idx="2564">
                  <c:v>#N/A</c:v>
                </c:pt>
                <c:pt idx="2565">
                  <c:v>#N/A</c:v>
                </c:pt>
                <c:pt idx="2566">
                  <c:v>#N/A</c:v>
                </c:pt>
                <c:pt idx="2567">
                  <c:v>#N/A</c:v>
                </c:pt>
                <c:pt idx="2568">
                  <c:v>#N/A</c:v>
                </c:pt>
                <c:pt idx="2569">
                  <c:v>#N/A</c:v>
                </c:pt>
                <c:pt idx="2570">
                  <c:v>#N/A</c:v>
                </c:pt>
                <c:pt idx="2571">
                  <c:v>#N/A</c:v>
                </c:pt>
                <c:pt idx="2572">
                  <c:v>#N/A</c:v>
                </c:pt>
                <c:pt idx="2573">
                  <c:v>#N/A</c:v>
                </c:pt>
                <c:pt idx="2574">
                  <c:v>#N/A</c:v>
                </c:pt>
                <c:pt idx="2575">
                  <c:v>#N/A</c:v>
                </c:pt>
                <c:pt idx="2576">
                  <c:v>#N/A</c:v>
                </c:pt>
                <c:pt idx="2577">
                  <c:v>#N/A</c:v>
                </c:pt>
                <c:pt idx="2578">
                  <c:v>#N/A</c:v>
                </c:pt>
                <c:pt idx="2579">
                  <c:v>#N/A</c:v>
                </c:pt>
                <c:pt idx="2580">
                  <c:v>#N/A</c:v>
                </c:pt>
                <c:pt idx="2581">
                  <c:v>#N/A</c:v>
                </c:pt>
                <c:pt idx="2582">
                  <c:v>#N/A</c:v>
                </c:pt>
                <c:pt idx="2583">
                  <c:v>#N/A</c:v>
                </c:pt>
                <c:pt idx="2584">
                  <c:v>#N/A</c:v>
                </c:pt>
                <c:pt idx="2585">
                  <c:v>1.2602739726027397</c:v>
                </c:pt>
                <c:pt idx="2586">
                  <c:v>#N/A</c:v>
                </c:pt>
                <c:pt idx="2587">
                  <c:v>#N/A</c:v>
                </c:pt>
                <c:pt idx="2588">
                  <c:v>#N/A</c:v>
                </c:pt>
                <c:pt idx="2589">
                  <c:v>#N/A</c:v>
                </c:pt>
                <c:pt idx="2590">
                  <c:v>#N/A</c:v>
                </c:pt>
                <c:pt idx="2591">
                  <c:v>#N/A</c:v>
                </c:pt>
                <c:pt idx="2592">
                  <c:v>#N/A</c:v>
                </c:pt>
                <c:pt idx="2593">
                  <c:v>#N/A</c:v>
                </c:pt>
                <c:pt idx="2594">
                  <c:v>#N/A</c:v>
                </c:pt>
                <c:pt idx="2595">
                  <c:v>#N/A</c:v>
                </c:pt>
                <c:pt idx="2596">
                  <c:v>#N/A</c:v>
                </c:pt>
                <c:pt idx="2597">
                  <c:v>#N/A</c:v>
                </c:pt>
                <c:pt idx="2598">
                  <c:v>#N/A</c:v>
                </c:pt>
                <c:pt idx="2599">
                  <c:v>#N/A</c:v>
                </c:pt>
                <c:pt idx="2600">
                  <c:v>#N/A</c:v>
                </c:pt>
                <c:pt idx="2601">
                  <c:v>#N/A</c:v>
                </c:pt>
                <c:pt idx="2602">
                  <c:v>#N/A</c:v>
                </c:pt>
                <c:pt idx="2603">
                  <c:v>#N/A</c:v>
                </c:pt>
                <c:pt idx="2604">
                  <c:v>#N/A</c:v>
                </c:pt>
                <c:pt idx="2605">
                  <c:v>1.2602739726027397</c:v>
                </c:pt>
                <c:pt idx="2606">
                  <c:v>#N/A</c:v>
                </c:pt>
                <c:pt idx="2607">
                  <c:v>#N/A</c:v>
                </c:pt>
                <c:pt idx="2608">
                  <c:v>#N/A</c:v>
                </c:pt>
                <c:pt idx="2609">
                  <c:v>#N/A</c:v>
                </c:pt>
                <c:pt idx="2610">
                  <c:v>#N/A</c:v>
                </c:pt>
                <c:pt idx="2611">
                  <c:v>#N/A</c:v>
                </c:pt>
                <c:pt idx="2612">
                  <c:v>#N/A</c:v>
                </c:pt>
                <c:pt idx="2613">
                  <c:v>#N/A</c:v>
                </c:pt>
                <c:pt idx="2614">
                  <c:v>1.2602739726027397</c:v>
                </c:pt>
                <c:pt idx="2615">
                  <c:v>#N/A</c:v>
                </c:pt>
                <c:pt idx="2616">
                  <c:v>#N/A</c:v>
                </c:pt>
                <c:pt idx="2617">
                  <c:v>#N/A</c:v>
                </c:pt>
                <c:pt idx="2618">
                  <c:v>1.2602739726027397</c:v>
                </c:pt>
                <c:pt idx="2619">
                  <c:v>#N/A</c:v>
                </c:pt>
                <c:pt idx="2620">
                  <c:v>#N/A</c:v>
                </c:pt>
                <c:pt idx="2621">
                  <c:v>#N/A</c:v>
                </c:pt>
                <c:pt idx="2622">
                  <c:v>#N/A</c:v>
                </c:pt>
                <c:pt idx="2623">
                  <c:v>#N/A</c:v>
                </c:pt>
                <c:pt idx="2624">
                  <c:v>#N/A</c:v>
                </c:pt>
                <c:pt idx="2625">
                  <c:v>#N/A</c:v>
                </c:pt>
                <c:pt idx="2626">
                  <c:v>#N/A</c:v>
                </c:pt>
                <c:pt idx="2627">
                  <c:v>#N/A</c:v>
                </c:pt>
                <c:pt idx="2628">
                  <c:v>#N/A</c:v>
                </c:pt>
                <c:pt idx="2629">
                  <c:v>#N/A</c:v>
                </c:pt>
                <c:pt idx="2630">
                  <c:v>#N/A</c:v>
                </c:pt>
                <c:pt idx="2631">
                  <c:v>#N/A</c:v>
                </c:pt>
                <c:pt idx="2632">
                  <c:v>#N/A</c:v>
                </c:pt>
                <c:pt idx="2633">
                  <c:v>#N/A</c:v>
                </c:pt>
                <c:pt idx="2634">
                  <c:v>#N/A</c:v>
                </c:pt>
                <c:pt idx="2635">
                  <c:v>#N/A</c:v>
                </c:pt>
                <c:pt idx="2636">
                  <c:v>#N/A</c:v>
                </c:pt>
                <c:pt idx="2637">
                  <c:v>#N/A</c:v>
                </c:pt>
                <c:pt idx="2638">
                  <c:v>#N/A</c:v>
                </c:pt>
                <c:pt idx="2639">
                  <c:v>1.2657534246575342</c:v>
                </c:pt>
                <c:pt idx="2640">
                  <c:v>#N/A</c:v>
                </c:pt>
                <c:pt idx="2641">
                  <c:v>1.2657534246575342</c:v>
                </c:pt>
                <c:pt idx="2642">
                  <c:v>#N/A</c:v>
                </c:pt>
                <c:pt idx="2643">
                  <c:v>#N/A</c:v>
                </c:pt>
                <c:pt idx="2644">
                  <c:v>#N/A</c:v>
                </c:pt>
                <c:pt idx="2645">
                  <c:v>#N/A</c:v>
                </c:pt>
                <c:pt idx="2646">
                  <c:v>#N/A</c:v>
                </c:pt>
                <c:pt idx="2647">
                  <c:v>#N/A</c:v>
                </c:pt>
                <c:pt idx="2648">
                  <c:v>#N/A</c:v>
                </c:pt>
                <c:pt idx="2649">
                  <c:v>#N/A</c:v>
                </c:pt>
                <c:pt idx="2650">
                  <c:v>#N/A</c:v>
                </c:pt>
                <c:pt idx="2651">
                  <c:v>#N/A</c:v>
                </c:pt>
                <c:pt idx="2652">
                  <c:v>#N/A</c:v>
                </c:pt>
                <c:pt idx="2653">
                  <c:v>#N/A</c:v>
                </c:pt>
                <c:pt idx="2654">
                  <c:v>#N/A</c:v>
                </c:pt>
                <c:pt idx="2655">
                  <c:v>#N/A</c:v>
                </c:pt>
                <c:pt idx="2656">
                  <c:v>#N/A</c:v>
                </c:pt>
                <c:pt idx="2657">
                  <c:v>#N/A</c:v>
                </c:pt>
                <c:pt idx="2658">
                  <c:v>#N/A</c:v>
                </c:pt>
                <c:pt idx="2659">
                  <c:v>#N/A</c:v>
                </c:pt>
                <c:pt idx="2660">
                  <c:v>#N/A</c:v>
                </c:pt>
                <c:pt idx="2661">
                  <c:v>#N/A</c:v>
                </c:pt>
                <c:pt idx="2662">
                  <c:v>#N/A</c:v>
                </c:pt>
                <c:pt idx="2663">
                  <c:v>#N/A</c:v>
                </c:pt>
                <c:pt idx="2664">
                  <c:v>#N/A</c:v>
                </c:pt>
                <c:pt idx="2665">
                  <c:v>#N/A</c:v>
                </c:pt>
                <c:pt idx="2666">
                  <c:v>#N/A</c:v>
                </c:pt>
                <c:pt idx="2667">
                  <c:v>#N/A</c:v>
                </c:pt>
                <c:pt idx="2668">
                  <c:v>#N/A</c:v>
                </c:pt>
                <c:pt idx="2669">
                  <c:v>#N/A</c:v>
                </c:pt>
                <c:pt idx="2670">
                  <c:v>#N/A</c:v>
                </c:pt>
                <c:pt idx="2671">
                  <c:v>#N/A</c:v>
                </c:pt>
                <c:pt idx="2672">
                  <c:v>#N/A</c:v>
                </c:pt>
                <c:pt idx="2673">
                  <c:v>#N/A</c:v>
                </c:pt>
                <c:pt idx="2674">
                  <c:v>#N/A</c:v>
                </c:pt>
                <c:pt idx="2675">
                  <c:v>#N/A</c:v>
                </c:pt>
                <c:pt idx="2676">
                  <c:v>1.2657534246575342</c:v>
                </c:pt>
                <c:pt idx="2677">
                  <c:v>#N/A</c:v>
                </c:pt>
                <c:pt idx="2678">
                  <c:v>#N/A</c:v>
                </c:pt>
                <c:pt idx="2679">
                  <c:v>#N/A</c:v>
                </c:pt>
                <c:pt idx="2680">
                  <c:v>#N/A</c:v>
                </c:pt>
                <c:pt idx="2681">
                  <c:v>#N/A</c:v>
                </c:pt>
                <c:pt idx="2682">
                  <c:v>#N/A</c:v>
                </c:pt>
                <c:pt idx="2683">
                  <c:v>#N/A</c:v>
                </c:pt>
                <c:pt idx="2684">
                  <c:v>#N/A</c:v>
                </c:pt>
                <c:pt idx="2685">
                  <c:v>#N/A</c:v>
                </c:pt>
                <c:pt idx="2686">
                  <c:v>#N/A</c:v>
                </c:pt>
                <c:pt idx="2687">
                  <c:v>#N/A</c:v>
                </c:pt>
                <c:pt idx="2688">
                  <c:v>#N/A</c:v>
                </c:pt>
                <c:pt idx="2689">
                  <c:v>#N/A</c:v>
                </c:pt>
                <c:pt idx="2690">
                  <c:v>#N/A</c:v>
                </c:pt>
                <c:pt idx="2691">
                  <c:v>#N/A</c:v>
                </c:pt>
                <c:pt idx="2692">
                  <c:v>#N/A</c:v>
                </c:pt>
                <c:pt idx="2693">
                  <c:v>#N/A</c:v>
                </c:pt>
                <c:pt idx="2694">
                  <c:v>#N/A</c:v>
                </c:pt>
                <c:pt idx="2695">
                  <c:v>#N/A</c:v>
                </c:pt>
                <c:pt idx="2696">
                  <c:v>#N/A</c:v>
                </c:pt>
                <c:pt idx="2697">
                  <c:v>#N/A</c:v>
                </c:pt>
                <c:pt idx="2698">
                  <c:v>#N/A</c:v>
                </c:pt>
                <c:pt idx="2699">
                  <c:v>#N/A</c:v>
                </c:pt>
                <c:pt idx="2700">
                  <c:v>#N/A</c:v>
                </c:pt>
                <c:pt idx="2701">
                  <c:v>#N/A</c:v>
                </c:pt>
                <c:pt idx="2702">
                  <c:v>#N/A</c:v>
                </c:pt>
                <c:pt idx="2703">
                  <c:v>#N/A</c:v>
                </c:pt>
                <c:pt idx="2704">
                  <c:v>#N/A</c:v>
                </c:pt>
                <c:pt idx="2705">
                  <c:v>#N/A</c:v>
                </c:pt>
                <c:pt idx="2706">
                  <c:v>#N/A</c:v>
                </c:pt>
                <c:pt idx="2707">
                  <c:v>#N/A</c:v>
                </c:pt>
                <c:pt idx="2708">
                  <c:v>#N/A</c:v>
                </c:pt>
                <c:pt idx="2709">
                  <c:v>#N/A</c:v>
                </c:pt>
                <c:pt idx="2710">
                  <c:v>#N/A</c:v>
                </c:pt>
                <c:pt idx="2711">
                  <c:v>#N/A</c:v>
                </c:pt>
                <c:pt idx="2712">
                  <c:v>#N/A</c:v>
                </c:pt>
                <c:pt idx="2713">
                  <c:v>#N/A</c:v>
                </c:pt>
                <c:pt idx="2714">
                  <c:v>#N/A</c:v>
                </c:pt>
                <c:pt idx="2715">
                  <c:v>#N/A</c:v>
                </c:pt>
                <c:pt idx="2716">
                  <c:v>#N/A</c:v>
                </c:pt>
                <c:pt idx="2717">
                  <c:v>#N/A</c:v>
                </c:pt>
                <c:pt idx="2718">
                  <c:v>#N/A</c:v>
                </c:pt>
                <c:pt idx="2719">
                  <c:v>#N/A</c:v>
                </c:pt>
                <c:pt idx="2720">
                  <c:v>#N/A</c:v>
                </c:pt>
                <c:pt idx="2721">
                  <c:v>#N/A</c:v>
                </c:pt>
                <c:pt idx="2722">
                  <c:v>#N/A</c:v>
                </c:pt>
                <c:pt idx="2723">
                  <c:v>#N/A</c:v>
                </c:pt>
                <c:pt idx="2724">
                  <c:v>#N/A</c:v>
                </c:pt>
                <c:pt idx="2725">
                  <c:v>#N/A</c:v>
                </c:pt>
                <c:pt idx="2726">
                  <c:v>#N/A</c:v>
                </c:pt>
                <c:pt idx="2727">
                  <c:v>#N/A</c:v>
                </c:pt>
                <c:pt idx="2728">
                  <c:v>#N/A</c:v>
                </c:pt>
                <c:pt idx="2729">
                  <c:v>#N/A</c:v>
                </c:pt>
                <c:pt idx="2730">
                  <c:v>#N/A</c:v>
                </c:pt>
                <c:pt idx="2731">
                  <c:v>#N/A</c:v>
                </c:pt>
                <c:pt idx="2732">
                  <c:v>#N/A</c:v>
                </c:pt>
                <c:pt idx="2733">
                  <c:v>#N/A</c:v>
                </c:pt>
                <c:pt idx="2734">
                  <c:v>#N/A</c:v>
                </c:pt>
                <c:pt idx="2735">
                  <c:v>#N/A</c:v>
                </c:pt>
                <c:pt idx="2736">
                  <c:v>#N/A</c:v>
                </c:pt>
                <c:pt idx="2737">
                  <c:v>#N/A</c:v>
                </c:pt>
                <c:pt idx="2738">
                  <c:v>#N/A</c:v>
                </c:pt>
                <c:pt idx="2739">
                  <c:v>#N/A</c:v>
                </c:pt>
                <c:pt idx="2740">
                  <c:v>#N/A</c:v>
                </c:pt>
                <c:pt idx="2741">
                  <c:v>#N/A</c:v>
                </c:pt>
                <c:pt idx="2742">
                  <c:v>#N/A</c:v>
                </c:pt>
                <c:pt idx="2743">
                  <c:v>#N/A</c:v>
                </c:pt>
                <c:pt idx="2744">
                  <c:v>#N/A</c:v>
                </c:pt>
                <c:pt idx="2745">
                  <c:v>#N/A</c:v>
                </c:pt>
                <c:pt idx="2746">
                  <c:v>#N/A</c:v>
                </c:pt>
                <c:pt idx="2747">
                  <c:v>#N/A</c:v>
                </c:pt>
                <c:pt idx="2748">
                  <c:v>#N/A</c:v>
                </c:pt>
                <c:pt idx="2749">
                  <c:v>#N/A</c:v>
                </c:pt>
                <c:pt idx="2750">
                  <c:v>#N/A</c:v>
                </c:pt>
                <c:pt idx="2751">
                  <c:v>#N/A</c:v>
                </c:pt>
                <c:pt idx="2752">
                  <c:v>#N/A</c:v>
                </c:pt>
                <c:pt idx="2753">
                  <c:v>#N/A</c:v>
                </c:pt>
                <c:pt idx="2754">
                  <c:v>#N/A</c:v>
                </c:pt>
                <c:pt idx="2755">
                  <c:v>#N/A</c:v>
                </c:pt>
                <c:pt idx="2756">
                  <c:v>#N/A</c:v>
                </c:pt>
                <c:pt idx="2757">
                  <c:v>1.3232876712328767</c:v>
                </c:pt>
                <c:pt idx="2758">
                  <c:v>#N/A</c:v>
                </c:pt>
                <c:pt idx="2759">
                  <c:v>#N/A</c:v>
                </c:pt>
                <c:pt idx="2760">
                  <c:v>#N/A</c:v>
                </c:pt>
                <c:pt idx="2761">
                  <c:v>#N/A</c:v>
                </c:pt>
                <c:pt idx="2762">
                  <c:v>#N/A</c:v>
                </c:pt>
                <c:pt idx="2763">
                  <c:v>#N/A</c:v>
                </c:pt>
                <c:pt idx="2764">
                  <c:v>#N/A</c:v>
                </c:pt>
                <c:pt idx="2765">
                  <c:v>#N/A</c:v>
                </c:pt>
                <c:pt idx="2766">
                  <c:v>#N/A</c:v>
                </c:pt>
                <c:pt idx="2767">
                  <c:v>#N/A</c:v>
                </c:pt>
                <c:pt idx="2768">
                  <c:v>#N/A</c:v>
                </c:pt>
                <c:pt idx="2769">
                  <c:v>#N/A</c:v>
                </c:pt>
                <c:pt idx="2770">
                  <c:v>#N/A</c:v>
                </c:pt>
                <c:pt idx="2771">
                  <c:v>#N/A</c:v>
                </c:pt>
                <c:pt idx="2772">
                  <c:v>#N/A</c:v>
                </c:pt>
                <c:pt idx="2773">
                  <c:v>#N/A</c:v>
                </c:pt>
                <c:pt idx="2774">
                  <c:v>#N/A</c:v>
                </c:pt>
                <c:pt idx="2775">
                  <c:v>#N/A</c:v>
                </c:pt>
                <c:pt idx="2776">
                  <c:v>#N/A</c:v>
                </c:pt>
                <c:pt idx="2777">
                  <c:v>#N/A</c:v>
                </c:pt>
                <c:pt idx="2778">
                  <c:v>#N/A</c:v>
                </c:pt>
                <c:pt idx="2779">
                  <c:v>#N/A</c:v>
                </c:pt>
                <c:pt idx="2780">
                  <c:v>#N/A</c:v>
                </c:pt>
                <c:pt idx="2781">
                  <c:v>#N/A</c:v>
                </c:pt>
                <c:pt idx="2782">
                  <c:v>#N/A</c:v>
                </c:pt>
                <c:pt idx="2783">
                  <c:v>#N/A</c:v>
                </c:pt>
                <c:pt idx="2784">
                  <c:v>#N/A</c:v>
                </c:pt>
                <c:pt idx="2785">
                  <c:v>#N/A</c:v>
                </c:pt>
                <c:pt idx="2786">
                  <c:v>#N/A</c:v>
                </c:pt>
                <c:pt idx="2787">
                  <c:v>#N/A</c:v>
                </c:pt>
                <c:pt idx="2788">
                  <c:v>#N/A</c:v>
                </c:pt>
                <c:pt idx="2789">
                  <c:v>#N/A</c:v>
                </c:pt>
                <c:pt idx="2790">
                  <c:v>#N/A</c:v>
                </c:pt>
                <c:pt idx="2791">
                  <c:v>#N/A</c:v>
                </c:pt>
                <c:pt idx="2792">
                  <c:v>#N/A</c:v>
                </c:pt>
                <c:pt idx="2793">
                  <c:v>#N/A</c:v>
                </c:pt>
                <c:pt idx="2794">
                  <c:v>#N/A</c:v>
                </c:pt>
                <c:pt idx="2795">
                  <c:v>#N/A</c:v>
                </c:pt>
                <c:pt idx="2796">
                  <c:v>#N/A</c:v>
                </c:pt>
                <c:pt idx="2797">
                  <c:v>1.3369863013698631</c:v>
                </c:pt>
                <c:pt idx="2798">
                  <c:v>#N/A</c:v>
                </c:pt>
                <c:pt idx="2799">
                  <c:v>#N/A</c:v>
                </c:pt>
                <c:pt idx="2800">
                  <c:v>1.3369863013698631</c:v>
                </c:pt>
                <c:pt idx="2801">
                  <c:v>#N/A</c:v>
                </c:pt>
                <c:pt idx="2802">
                  <c:v>#N/A</c:v>
                </c:pt>
                <c:pt idx="2803">
                  <c:v>#N/A</c:v>
                </c:pt>
                <c:pt idx="2804">
                  <c:v>#N/A</c:v>
                </c:pt>
                <c:pt idx="2805">
                  <c:v>#N/A</c:v>
                </c:pt>
                <c:pt idx="2806">
                  <c:v>#N/A</c:v>
                </c:pt>
                <c:pt idx="2807">
                  <c:v>#N/A</c:v>
                </c:pt>
                <c:pt idx="2808">
                  <c:v>#N/A</c:v>
                </c:pt>
                <c:pt idx="2809">
                  <c:v>#N/A</c:v>
                </c:pt>
                <c:pt idx="2810">
                  <c:v>#N/A</c:v>
                </c:pt>
                <c:pt idx="2811">
                  <c:v>#N/A</c:v>
                </c:pt>
                <c:pt idx="2812">
                  <c:v>#N/A</c:v>
                </c:pt>
                <c:pt idx="2813">
                  <c:v>#N/A</c:v>
                </c:pt>
                <c:pt idx="2814">
                  <c:v>#N/A</c:v>
                </c:pt>
                <c:pt idx="2815">
                  <c:v>#N/A</c:v>
                </c:pt>
                <c:pt idx="2816">
                  <c:v>#N/A</c:v>
                </c:pt>
                <c:pt idx="2817">
                  <c:v>#N/A</c:v>
                </c:pt>
                <c:pt idx="2818">
                  <c:v>#N/A</c:v>
                </c:pt>
                <c:pt idx="2819">
                  <c:v>#N/A</c:v>
                </c:pt>
                <c:pt idx="2820">
                  <c:v>#N/A</c:v>
                </c:pt>
                <c:pt idx="2821">
                  <c:v>#N/A</c:v>
                </c:pt>
                <c:pt idx="2822">
                  <c:v>#N/A</c:v>
                </c:pt>
                <c:pt idx="2823">
                  <c:v>#N/A</c:v>
                </c:pt>
                <c:pt idx="2824">
                  <c:v>#N/A</c:v>
                </c:pt>
                <c:pt idx="2825">
                  <c:v>#N/A</c:v>
                </c:pt>
                <c:pt idx="2826">
                  <c:v>#N/A</c:v>
                </c:pt>
                <c:pt idx="2827">
                  <c:v>#N/A</c:v>
                </c:pt>
                <c:pt idx="2828">
                  <c:v>#N/A</c:v>
                </c:pt>
                <c:pt idx="2829">
                  <c:v>#N/A</c:v>
                </c:pt>
                <c:pt idx="2830">
                  <c:v>#N/A</c:v>
                </c:pt>
                <c:pt idx="2831">
                  <c:v>#N/A</c:v>
                </c:pt>
                <c:pt idx="2832">
                  <c:v>#N/A</c:v>
                </c:pt>
                <c:pt idx="2833">
                  <c:v>#N/A</c:v>
                </c:pt>
                <c:pt idx="2834">
                  <c:v>#N/A</c:v>
                </c:pt>
                <c:pt idx="2835">
                  <c:v>#N/A</c:v>
                </c:pt>
                <c:pt idx="2836">
                  <c:v>#N/A</c:v>
                </c:pt>
                <c:pt idx="2837">
                  <c:v>#N/A</c:v>
                </c:pt>
                <c:pt idx="2838">
                  <c:v>#N/A</c:v>
                </c:pt>
                <c:pt idx="2839">
                  <c:v>#N/A</c:v>
                </c:pt>
                <c:pt idx="2840">
                  <c:v>#N/A</c:v>
                </c:pt>
                <c:pt idx="2841">
                  <c:v>#N/A</c:v>
                </c:pt>
                <c:pt idx="2842">
                  <c:v>#N/A</c:v>
                </c:pt>
                <c:pt idx="2843">
                  <c:v>#N/A</c:v>
                </c:pt>
                <c:pt idx="2844">
                  <c:v>#N/A</c:v>
                </c:pt>
                <c:pt idx="2845">
                  <c:v>#N/A</c:v>
                </c:pt>
                <c:pt idx="2846">
                  <c:v>#N/A</c:v>
                </c:pt>
                <c:pt idx="2847">
                  <c:v>#N/A</c:v>
                </c:pt>
                <c:pt idx="2848">
                  <c:v>#N/A</c:v>
                </c:pt>
                <c:pt idx="2849">
                  <c:v>#N/A</c:v>
                </c:pt>
                <c:pt idx="2850">
                  <c:v>#N/A</c:v>
                </c:pt>
                <c:pt idx="2851">
                  <c:v>#N/A</c:v>
                </c:pt>
                <c:pt idx="2852">
                  <c:v>#N/A</c:v>
                </c:pt>
                <c:pt idx="2853">
                  <c:v>#N/A</c:v>
                </c:pt>
                <c:pt idx="2854">
                  <c:v>#N/A</c:v>
                </c:pt>
                <c:pt idx="2855">
                  <c:v>#N/A</c:v>
                </c:pt>
                <c:pt idx="2856">
                  <c:v>#N/A</c:v>
                </c:pt>
                <c:pt idx="2857">
                  <c:v>#N/A</c:v>
                </c:pt>
                <c:pt idx="2858">
                  <c:v>#N/A</c:v>
                </c:pt>
                <c:pt idx="2859">
                  <c:v>#N/A</c:v>
                </c:pt>
                <c:pt idx="2860">
                  <c:v>#N/A</c:v>
                </c:pt>
                <c:pt idx="2861">
                  <c:v>1.3424657534246576</c:v>
                </c:pt>
                <c:pt idx="2862">
                  <c:v>#N/A</c:v>
                </c:pt>
                <c:pt idx="2863">
                  <c:v>#N/A</c:v>
                </c:pt>
                <c:pt idx="2864">
                  <c:v>#N/A</c:v>
                </c:pt>
                <c:pt idx="2865">
                  <c:v>#N/A</c:v>
                </c:pt>
                <c:pt idx="2866">
                  <c:v>#N/A</c:v>
                </c:pt>
                <c:pt idx="2867">
                  <c:v>#N/A</c:v>
                </c:pt>
                <c:pt idx="2868">
                  <c:v>#N/A</c:v>
                </c:pt>
                <c:pt idx="2869">
                  <c:v>#N/A</c:v>
                </c:pt>
                <c:pt idx="2870">
                  <c:v>#N/A</c:v>
                </c:pt>
                <c:pt idx="2871">
                  <c:v>1.3452054794520547</c:v>
                </c:pt>
                <c:pt idx="2872">
                  <c:v>#N/A</c:v>
                </c:pt>
                <c:pt idx="2873">
                  <c:v>#N/A</c:v>
                </c:pt>
                <c:pt idx="2874">
                  <c:v>#N/A</c:v>
                </c:pt>
                <c:pt idx="2875">
                  <c:v>#N/A</c:v>
                </c:pt>
                <c:pt idx="2876">
                  <c:v>#N/A</c:v>
                </c:pt>
                <c:pt idx="2877">
                  <c:v>#N/A</c:v>
                </c:pt>
                <c:pt idx="2878">
                  <c:v>#N/A</c:v>
                </c:pt>
                <c:pt idx="2879">
                  <c:v>#N/A</c:v>
                </c:pt>
                <c:pt idx="2880">
                  <c:v>#N/A</c:v>
                </c:pt>
                <c:pt idx="2881">
                  <c:v>#N/A</c:v>
                </c:pt>
                <c:pt idx="2882">
                  <c:v>#N/A</c:v>
                </c:pt>
                <c:pt idx="2883">
                  <c:v>#N/A</c:v>
                </c:pt>
                <c:pt idx="2884">
                  <c:v>1.3561643835616439</c:v>
                </c:pt>
                <c:pt idx="2885">
                  <c:v>#N/A</c:v>
                </c:pt>
                <c:pt idx="2886">
                  <c:v>#N/A</c:v>
                </c:pt>
                <c:pt idx="2887">
                  <c:v>#N/A</c:v>
                </c:pt>
                <c:pt idx="2888">
                  <c:v>#N/A</c:v>
                </c:pt>
                <c:pt idx="2889">
                  <c:v>1.3589041095890411</c:v>
                </c:pt>
                <c:pt idx="2890">
                  <c:v>#N/A</c:v>
                </c:pt>
                <c:pt idx="2891">
                  <c:v>#N/A</c:v>
                </c:pt>
                <c:pt idx="2892">
                  <c:v>#N/A</c:v>
                </c:pt>
                <c:pt idx="2893">
                  <c:v>#N/A</c:v>
                </c:pt>
                <c:pt idx="2894">
                  <c:v>#N/A</c:v>
                </c:pt>
                <c:pt idx="2895">
                  <c:v>#N/A</c:v>
                </c:pt>
                <c:pt idx="2896">
                  <c:v>#N/A</c:v>
                </c:pt>
                <c:pt idx="2897">
                  <c:v>#N/A</c:v>
                </c:pt>
                <c:pt idx="2898">
                  <c:v>1.3671232876712329</c:v>
                </c:pt>
                <c:pt idx="2899">
                  <c:v>#N/A</c:v>
                </c:pt>
                <c:pt idx="2900">
                  <c:v>#N/A</c:v>
                </c:pt>
                <c:pt idx="2901">
                  <c:v>#N/A</c:v>
                </c:pt>
                <c:pt idx="2902">
                  <c:v>#N/A</c:v>
                </c:pt>
                <c:pt idx="2903">
                  <c:v>1.3671232876712329</c:v>
                </c:pt>
                <c:pt idx="2904">
                  <c:v>1.3671232876712329</c:v>
                </c:pt>
                <c:pt idx="2905">
                  <c:v>#N/A</c:v>
                </c:pt>
                <c:pt idx="2906">
                  <c:v>#N/A</c:v>
                </c:pt>
                <c:pt idx="2907">
                  <c:v>1.3671232876712329</c:v>
                </c:pt>
                <c:pt idx="2908">
                  <c:v>#N/A</c:v>
                </c:pt>
                <c:pt idx="2909">
                  <c:v>#N/A</c:v>
                </c:pt>
                <c:pt idx="2910">
                  <c:v>#N/A</c:v>
                </c:pt>
                <c:pt idx="2911">
                  <c:v>1.3753424657534246</c:v>
                </c:pt>
                <c:pt idx="2912">
                  <c:v>#N/A</c:v>
                </c:pt>
                <c:pt idx="2913">
                  <c:v>#N/A</c:v>
                </c:pt>
                <c:pt idx="2914">
                  <c:v>#N/A</c:v>
                </c:pt>
                <c:pt idx="2915">
                  <c:v>#N/A</c:v>
                </c:pt>
                <c:pt idx="2916">
                  <c:v>#N/A</c:v>
                </c:pt>
                <c:pt idx="2917">
                  <c:v>1.3835616438356164</c:v>
                </c:pt>
                <c:pt idx="2918">
                  <c:v>#N/A</c:v>
                </c:pt>
                <c:pt idx="2919">
                  <c:v>#N/A</c:v>
                </c:pt>
                <c:pt idx="2920">
                  <c:v>#N/A</c:v>
                </c:pt>
                <c:pt idx="2921">
                  <c:v>#N/A</c:v>
                </c:pt>
                <c:pt idx="2922">
                  <c:v>#N/A</c:v>
                </c:pt>
                <c:pt idx="2923">
                  <c:v>#N/A</c:v>
                </c:pt>
                <c:pt idx="2924">
                  <c:v>#N/A</c:v>
                </c:pt>
                <c:pt idx="2925">
                  <c:v>#N/A</c:v>
                </c:pt>
                <c:pt idx="2926">
                  <c:v>#N/A</c:v>
                </c:pt>
                <c:pt idx="2927">
                  <c:v>#N/A</c:v>
                </c:pt>
                <c:pt idx="2928">
                  <c:v>#N/A</c:v>
                </c:pt>
                <c:pt idx="2929">
                  <c:v>#N/A</c:v>
                </c:pt>
                <c:pt idx="2930">
                  <c:v>#N/A</c:v>
                </c:pt>
                <c:pt idx="2931">
                  <c:v>#N/A</c:v>
                </c:pt>
                <c:pt idx="2932">
                  <c:v>#N/A</c:v>
                </c:pt>
                <c:pt idx="2933">
                  <c:v>#N/A</c:v>
                </c:pt>
                <c:pt idx="2934">
                  <c:v>#N/A</c:v>
                </c:pt>
                <c:pt idx="2935">
                  <c:v>#N/A</c:v>
                </c:pt>
                <c:pt idx="2936">
                  <c:v>#N/A</c:v>
                </c:pt>
                <c:pt idx="2937">
                  <c:v>#N/A</c:v>
                </c:pt>
                <c:pt idx="2938">
                  <c:v>#N/A</c:v>
                </c:pt>
                <c:pt idx="2939">
                  <c:v>#N/A</c:v>
                </c:pt>
                <c:pt idx="2940">
                  <c:v>#N/A</c:v>
                </c:pt>
                <c:pt idx="2941">
                  <c:v>#N/A</c:v>
                </c:pt>
                <c:pt idx="2942">
                  <c:v>#N/A</c:v>
                </c:pt>
                <c:pt idx="2943">
                  <c:v>#N/A</c:v>
                </c:pt>
                <c:pt idx="2944">
                  <c:v>#N/A</c:v>
                </c:pt>
                <c:pt idx="2945">
                  <c:v>#N/A</c:v>
                </c:pt>
                <c:pt idx="2946">
                  <c:v>#N/A</c:v>
                </c:pt>
                <c:pt idx="2947">
                  <c:v>#N/A</c:v>
                </c:pt>
                <c:pt idx="2948">
                  <c:v>#N/A</c:v>
                </c:pt>
                <c:pt idx="2949">
                  <c:v>#N/A</c:v>
                </c:pt>
                <c:pt idx="2950">
                  <c:v>#N/A</c:v>
                </c:pt>
                <c:pt idx="2951">
                  <c:v>#N/A</c:v>
                </c:pt>
                <c:pt idx="2952">
                  <c:v>#N/A</c:v>
                </c:pt>
                <c:pt idx="2953">
                  <c:v>#N/A</c:v>
                </c:pt>
                <c:pt idx="2954">
                  <c:v>#N/A</c:v>
                </c:pt>
                <c:pt idx="2955">
                  <c:v>#N/A</c:v>
                </c:pt>
                <c:pt idx="2956">
                  <c:v>#N/A</c:v>
                </c:pt>
                <c:pt idx="2957">
                  <c:v>#N/A</c:v>
                </c:pt>
                <c:pt idx="2958">
                  <c:v>#N/A</c:v>
                </c:pt>
                <c:pt idx="2959">
                  <c:v>#N/A</c:v>
                </c:pt>
                <c:pt idx="2960">
                  <c:v>#N/A</c:v>
                </c:pt>
                <c:pt idx="2961">
                  <c:v>#N/A</c:v>
                </c:pt>
                <c:pt idx="2962">
                  <c:v>#N/A</c:v>
                </c:pt>
                <c:pt idx="2963">
                  <c:v>#N/A</c:v>
                </c:pt>
                <c:pt idx="2964">
                  <c:v>#N/A</c:v>
                </c:pt>
                <c:pt idx="2965">
                  <c:v>#N/A</c:v>
                </c:pt>
                <c:pt idx="2966">
                  <c:v>#N/A</c:v>
                </c:pt>
                <c:pt idx="2967">
                  <c:v>#N/A</c:v>
                </c:pt>
                <c:pt idx="2968">
                  <c:v>#N/A</c:v>
                </c:pt>
                <c:pt idx="2969">
                  <c:v>#N/A</c:v>
                </c:pt>
                <c:pt idx="2970">
                  <c:v>#N/A</c:v>
                </c:pt>
                <c:pt idx="2971">
                  <c:v>#N/A</c:v>
                </c:pt>
                <c:pt idx="2972">
                  <c:v>#N/A</c:v>
                </c:pt>
                <c:pt idx="2973">
                  <c:v>#N/A</c:v>
                </c:pt>
                <c:pt idx="2974">
                  <c:v>#N/A</c:v>
                </c:pt>
                <c:pt idx="2975">
                  <c:v>#N/A</c:v>
                </c:pt>
                <c:pt idx="2976">
                  <c:v>#N/A</c:v>
                </c:pt>
                <c:pt idx="2977">
                  <c:v>#N/A</c:v>
                </c:pt>
                <c:pt idx="2978">
                  <c:v>#N/A</c:v>
                </c:pt>
                <c:pt idx="2979">
                  <c:v>#N/A</c:v>
                </c:pt>
                <c:pt idx="2980">
                  <c:v>#N/A</c:v>
                </c:pt>
                <c:pt idx="2981">
                  <c:v>#N/A</c:v>
                </c:pt>
                <c:pt idx="2982">
                  <c:v>#N/A</c:v>
                </c:pt>
                <c:pt idx="2983">
                  <c:v>#N/A</c:v>
                </c:pt>
                <c:pt idx="2984">
                  <c:v>#N/A</c:v>
                </c:pt>
                <c:pt idx="2985">
                  <c:v>#N/A</c:v>
                </c:pt>
                <c:pt idx="2986">
                  <c:v>#N/A</c:v>
                </c:pt>
                <c:pt idx="2987">
                  <c:v>#N/A</c:v>
                </c:pt>
                <c:pt idx="2988">
                  <c:v>#N/A</c:v>
                </c:pt>
                <c:pt idx="2989">
                  <c:v>#N/A</c:v>
                </c:pt>
                <c:pt idx="2990">
                  <c:v>#N/A</c:v>
                </c:pt>
                <c:pt idx="2991">
                  <c:v>#N/A</c:v>
                </c:pt>
                <c:pt idx="2992">
                  <c:v>#N/A</c:v>
                </c:pt>
                <c:pt idx="2993">
                  <c:v>#N/A</c:v>
                </c:pt>
                <c:pt idx="2994">
                  <c:v>#N/A</c:v>
                </c:pt>
                <c:pt idx="2995">
                  <c:v>#N/A</c:v>
                </c:pt>
                <c:pt idx="2996">
                  <c:v>#N/A</c:v>
                </c:pt>
                <c:pt idx="2997">
                  <c:v>#N/A</c:v>
                </c:pt>
                <c:pt idx="2998">
                  <c:v>#N/A</c:v>
                </c:pt>
                <c:pt idx="2999">
                  <c:v>#N/A</c:v>
                </c:pt>
                <c:pt idx="3000">
                  <c:v>#N/A</c:v>
                </c:pt>
                <c:pt idx="3001">
                  <c:v>#N/A</c:v>
                </c:pt>
                <c:pt idx="3002">
                  <c:v>#N/A</c:v>
                </c:pt>
                <c:pt idx="3003">
                  <c:v>#N/A</c:v>
                </c:pt>
                <c:pt idx="3004">
                  <c:v>#N/A</c:v>
                </c:pt>
                <c:pt idx="3005">
                  <c:v>#N/A</c:v>
                </c:pt>
                <c:pt idx="3006">
                  <c:v>#N/A</c:v>
                </c:pt>
                <c:pt idx="3007">
                  <c:v>#N/A</c:v>
                </c:pt>
                <c:pt idx="3008">
                  <c:v>#N/A</c:v>
                </c:pt>
                <c:pt idx="3009">
                  <c:v>#N/A</c:v>
                </c:pt>
                <c:pt idx="3010">
                  <c:v>#N/A</c:v>
                </c:pt>
                <c:pt idx="3011">
                  <c:v>#N/A</c:v>
                </c:pt>
                <c:pt idx="3012">
                  <c:v>#N/A</c:v>
                </c:pt>
                <c:pt idx="3013">
                  <c:v>#N/A</c:v>
                </c:pt>
                <c:pt idx="3014">
                  <c:v>#N/A</c:v>
                </c:pt>
                <c:pt idx="3015">
                  <c:v>#N/A</c:v>
                </c:pt>
                <c:pt idx="3016">
                  <c:v>#N/A</c:v>
                </c:pt>
                <c:pt idx="3017">
                  <c:v>#N/A</c:v>
                </c:pt>
                <c:pt idx="3018">
                  <c:v>#N/A</c:v>
                </c:pt>
                <c:pt idx="3019">
                  <c:v>#N/A</c:v>
                </c:pt>
                <c:pt idx="3020">
                  <c:v>#N/A</c:v>
                </c:pt>
                <c:pt idx="3021">
                  <c:v>#N/A</c:v>
                </c:pt>
                <c:pt idx="3022">
                  <c:v>#N/A</c:v>
                </c:pt>
                <c:pt idx="3023">
                  <c:v>#N/A</c:v>
                </c:pt>
                <c:pt idx="3024">
                  <c:v>#N/A</c:v>
                </c:pt>
                <c:pt idx="3025">
                  <c:v>#N/A</c:v>
                </c:pt>
                <c:pt idx="3026">
                  <c:v>#N/A</c:v>
                </c:pt>
                <c:pt idx="3027">
                  <c:v>#N/A</c:v>
                </c:pt>
                <c:pt idx="3028">
                  <c:v>#N/A</c:v>
                </c:pt>
                <c:pt idx="3029">
                  <c:v>#N/A</c:v>
                </c:pt>
                <c:pt idx="3030">
                  <c:v>#N/A</c:v>
                </c:pt>
                <c:pt idx="3031">
                  <c:v>#N/A</c:v>
                </c:pt>
                <c:pt idx="3032">
                  <c:v>#N/A</c:v>
                </c:pt>
                <c:pt idx="3033">
                  <c:v>#N/A</c:v>
                </c:pt>
                <c:pt idx="3034">
                  <c:v>#N/A</c:v>
                </c:pt>
                <c:pt idx="3035">
                  <c:v>#N/A</c:v>
                </c:pt>
                <c:pt idx="3036">
                  <c:v>#N/A</c:v>
                </c:pt>
                <c:pt idx="3037">
                  <c:v>#N/A</c:v>
                </c:pt>
                <c:pt idx="3038">
                  <c:v>#N/A</c:v>
                </c:pt>
                <c:pt idx="3039">
                  <c:v>#N/A</c:v>
                </c:pt>
                <c:pt idx="3040">
                  <c:v>#N/A</c:v>
                </c:pt>
                <c:pt idx="3041">
                  <c:v>#N/A</c:v>
                </c:pt>
                <c:pt idx="3042">
                  <c:v>#N/A</c:v>
                </c:pt>
                <c:pt idx="3043">
                  <c:v>#N/A</c:v>
                </c:pt>
                <c:pt idx="3044">
                  <c:v>#N/A</c:v>
                </c:pt>
                <c:pt idx="3045">
                  <c:v>#N/A</c:v>
                </c:pt>
                <c:pt idx="3046">
                  <c:v>#N/A</c:v>
                </c:pt>
                <c:pt idx="3047">
                  <c:v>#N/A</c:v>
                </c:pt>
                <c:pt idx="3048">
                  <c:v>#N/A</c:v>
                </c:pt>
                <c:pt idx="3049">
                  <c:v>#N/A</c:v>
                </c:pt>
                <c:pt idx="3050">
                  <c:v>#N/A</c:v>
                </c:pt>
                <c:pt idx="3051">
                  <c:v>#N/A</c:v>
                </c:pt>
                <c:pt idx="3052">
                  <c:v>#N/A</c:v>
                </c:pt>
                <c:pt idx="3053">
                  <c:v>#N/A</c:v>
                </c:pt>
                <c:pt idx="3054">
                  <c:v>#N/A</c:v>
                </c:pt>
                <c:pt idx="3055">
                  <c:v>#N/A</c:v>
                </c:pt>
                <c:pt idx="3056">
                  <c:v>#N/A</c:v>
                </c:pt>
                <c:pt idx="3057">
                  <c:v>#N/A</c:v>
                </c:pt>
                <c:pt idx="3058">
                  <c:v>#N/A</c:v>
                </c:pt>
                <c:pt idx="3059">
                  <c:v>#N/A</c:v>
                </c:pt>
                <c:pt idx="3060">
                  <c:v>#N/A</c:v>
                </c:pt>
                <c:pt idx="3061">
                  <c:v>#N/A</c:v>
                </c:pt>
                <c:pt idx="3062">
                  <c:v>#N/A</c:v>
                </c:pt>
                <c:pt idx="3063">
                  <c:v>#N/A</c:v>
                </c:pt>
                <c:pt idx="3064">
                  <c:v>#N/A</c:v>
                </c:pt>
                <c:pt idx="3065">
                  <c:v>#N/A</c:v>
                </c:pt>
                <c:pt idx="3066">
                  <c:v>#N/A</c:v>
                </c:pt>
                <c:pt idx="3067">
                  <c:v>#N/A</c:v>
                </c:pt>
                <c:pt idx="3068">
                  <c:v>#N/A</c:v>
                </c:pt>
                <c:pt idx="3069">
                  <c:v>#N/A</c:v>
                </c:pt>
                <c:pt idx="3070">
                  <c:v>#N/A</c:v>
                </c:pt>
                <c:pt idx="3071">
                  <c:v>#N/A</c:v>
                </c:pt>
                <c:pt idx="3072">
                  <c:v>#N/A</c:v>
                </c:pt>
                <c:pt idx="3073">
                  <c:v>#N/A</c:v>
                </c:pt>
                <c:pt idx="3074">
                  <c:v>#N/A</c:v>
                </c:pt>
                <c:pt idx="3075">
                  <c:v>#N/A</c:v>
                </c:pt>
                <c:pt idx="3076">
                  <c:v>#N/A</c:v>
                </c:pt>
                <c:pt idx="3077">
                  <c:v>#N/A</c:v>
                </c:pt>
                <c:pt idx="3078">
                  <c:v>#N/A</c:v>
                </c:pt>
                <c:pt idx="3079">
                  <c:v>#N/A</c:v>
                </c:pt>
                <c:pt idx="3080">
                  <c:v>#N/A</c:v>
                </c:pt>
                <c:pt idx="3081">
                  <c:v>#N/A</c:v>
                </c:pt>
                <c:pt idx="3082">
                  <c:v>#N/A</c:v>
                </c:pt>
                <c:pt idx="3083">
                  <c:v>#N/A</c:v>
                </c:pt>
                <c:pt idx="3084">
                  <c:v>#N/A</c:v>
                </c:pt>
                <c:pt idx="3085">
                  <c:v>1.4191780821917808</c:v>
                </c:pt>
                <c:pt idx="3086">
                  <c:v>#N/A</c:v>
                </c:pt>
                <c:pt idx="3087">
                  <c:v>#N/A</c:v>
                </c:pt>
                <c:pt idx="3088">
                  <c:v>#N/A</c:v>
                </c:pt>
                <c:pt idx="3089">
                  <c:v>#N/A</c:v>
                </c:pt>
                <c:pt idx="3090">
                  <c:v>#N/A</c:v>
                </c:pt>
                <c:pt idx="3091">
                  <c:v>#N/A</c:v>
                </c:pt>
                <c:pt idx="3092">
                  <c:v>#N/A</c:v>
                </c:pt>
                <c:pt idx="3093">
                  <c:v>#N/A</c:v>
                </c:pt>
                <c:pt idx="3094">
                  <c:v>#N/A</c:v>
                </c:pt>
                <c:pt idx="3095">
                  <c:v>#N/A</c:v>
                </c:pt>
                <c:pt idx="3096">
                  <c:v>#N/A</c:v>
                </c:pt>
                <c:pt idx="3097">
                  <c:v>#N/A</c:v>
                </c:pt>
                <c:pt idx="3098">
                  <c:v>#N/A</c:v>
                </c:pt>
                <c:pt idx="3099">
                  <c:v>#N/A</c:v>
                </c:pt>
                <c:pt idx="3100">
                  <c:v>#N/A</c:v>
                </c:pt>
                <c:pt idx="3101">
                  <c:v>#N/A</c:v>
                </c:pt>
                <c:pt idx="3102">
                  <c:v>#N/A</c:v>
                </c:pt>
                <c:pt idx="3103">
                  <c:v>#N/A</c:v>
                </c:pt>
                <c:pt idx="3104">
                  <c:v>1.4219178082191781</c:v>
                </c:pt>
                <c:pt idx="3105">
                  <c:v>#N/A</c:v>
                </c:pt>
                <c:pt idx="3106">
                  <c:v>#N/A</c:v>
                </c:pt>
                <c:pt idx="3107">
                  <c:v>#N/A</c:v>
                </c:pt>
                <c:pt idx="3108">
                  <c:v>#N/A</c:v>
                </c:pt>
                <c:pt idx="3109">
                  <c:v>#N/A</c:v>
                </c:pt>
                <c:pt idx="3110">
                  <c:v>#N/A</c:v>
                </c:pt>
                <c:pt idx="3111">
                  <c:v>1.4246575342465753</c:v>
                </c:pt>
                <c:pt idx="3112">
                  <c:v>#N/A</c:v>
                </c:pt>
                <c:pt idx="3113">
                  <c:v>#N/A</c:v>
                </c:pt>
                <c:pt idx="3114">
                  <c:v>#N/A</c:v>
                </c:pt>
                <c:pt idx="3115">
                  <c:v>#N/A</c:v>
                </c:pt>
                <c:pt idx="3116">
                  <c:v>#N/A</c:v>
                </c:pt>
                <c:pt idx="3117">
                  <c:v>#N/A</c:v>
                </c:pt>
                <c:pt idx="3118">
                  <c:v>#N/A</c:v>
                </c:pt>
                <c:pt idx="3119">
                  <c:v>#N/A</c:v>
                </c:pt>
                <c:pt idx="3120">
                  <c:v>#N/A</c:v>
                </c:pt>
                <c:pt idx="3121">
                  <c:v>#N/A</c:v>
                </c:pt>
                <c:pt idx="3122">
                  <c:v>#N/A</c:v>
                </c:pt>
                <c:pt idx="3123">
                  <c:v>#N/A</c:v>
                </c:pt>
                <c:pt idx="3124">
                  <c:v>1.4328767123287671</c:v>
                </c:pt>
                <c:pt idx="3125">
                  <c:v>#N/A</c:v>
                </c:pt>
                <c:pt idx="3126">
                  <c:v>#N/A</c:v>
                </c:pt>
                <c:pt idx="3127">
                  <c:v>#N/A</c:v>
                </c:pt>
                <c:pt idx="3128">
                  <c:v>1.4356164383561645</c:v>
                </c:pt>
                <c:pt idx="3129">
                  <c:v>#N/A</c:v>
                </c:pt>
                <c:pt idx="3130">
                  <c:v>#N/A</c:v>
                </c:pt>
                <c:pt idx="3131">
                  <c:v>#N/A</c:v>
                </c:pt>
                <c:pt idx="3132">
                  <c:v>#N/A</c:v>
                </c:pt>
                <c:pt idx="3133">
                  <c:v>#N/A</c:v>
                </c:pt>
                <c:pt idx="3134">
                  <c:v>1.4356164383561645</c:v>
                </c:pt>
                <c:pt idx="3135">
                  <c:v>#N/A</c:v>
                </c:pt>
                <c:pt idx="3136">
                  <c:v>#N/A</c:v>
                </c:pt>
                <c:pt idx="3137">
                  <c:v>#N/A</c:v>
                </c:pt>
                <c:pt idx="3138">
                  <c:v>#N/A</c:v>
                </c:pt>
                <c:pt idx="3139">
                  <c:v>1.441095890410959</c:v>
                </c:pt>
                <c:pt idx="3140">
                  <c:v>1.441095890410959</c:v>
                </c:pt>
                <c:pt idx="3141">
                  <c:v>#N/A</c:v>
                </c:pt>
                <c:pt idx="3142">
                  <c:v>#N/A</c:v>
                </c:pt>
                <c:pt idx="3143">
                  <c:v>#N/A</c:v>
                </c:pt>
                <c:pt idx="3144">
                  <c:v>#N/A</c:v>
                </c:pt>
                <c:pt idx="3145">
                  <c:v>#N/A</c:v>
                </c:pt>
                <c:pt idx="3146">
                  <c:v>#N/A</c:v>
                </c:pt>
                <c:pt idx="3147">
                  <c:v>#N/A</c:v>
                </c:pt>
                <c:pt idx="3148">
                  <c:v>#N/A</c:v>
                </c:pt>
                <c:pt idx="3149">
                  <c:v>1.452054794520548</c:v>
                </c:pt>
                <c:pt idx="3150">
                  <c:v>#N/A</c:v>
                </c:pt>
                <c:pt idx="3151">
                  <c:v>#N/A</c:v>
                </c:pt>
                <c:pt idx="3152">
                  <c:v>#N/A</c:v>
                </c:pt>
                <c:pt idx="3153">
                  <c:v>#N/A</c:v>
                </c:pt>
                <c:pt idx="3154">
                  <c:v>#N/A</c:v>
                </c:pt>
                <c:pt idx="3155">
                  <c:v>#N/A</c:v>
                </c:pt>
                <c:pt idx="3156">
                  <c:v>#N/A</c:v>
                </c:pt>
                <c:pt idx="3157">
                  <c:v>#N/A</c:v>
                </c:pt>
                <c:pt idx="3158">
                  <c:v>#N/A</c:v>
                </c:pt>
                <c:pt idx="3159">
                  <c:v>1.4575342465753425</c:v>
                </c:pt>
                <c:pt idx="3160">
                  <c:v>#N/A</c:v>
                </c:pt>
                <c:pt idx="3161">
                  <c:v>#N/A</c:v>
                </c:pt>
                <c:pt idx="3162">
                  <c:v>#N/A</c:v>
                </c:pt>
                <c:pt idx="3163">
                  <c:v>#N/A</c:v>
                </c:pt>
                <c:pt idx="3164">
                  <c:v>#N/A</c:v>
                </c:pt>
                <c:pt idx="3165">
                  <c:v>#N/A</c:v>
                </c:pt>
                <c:pt idx="3166">
                  <c:v>#N/A</c:v>
                </c:pt>
                <c:pt idx="3167">
                  <c:v>#N/A</c:v>
                </c:pt>
                <c:pt idx="3168">
                  <c:v>1.4575342465753425</c:v>
                </c:pt>
                <c:pt idx="3169">
                  <c:v>#N/A</c:v>
                </c:pt>
                <c:pt idx="3170">
                  <c:v>#N/A</c:v>
                </c:pt>
                <c:pt idx="3171">
                  <c:v>#N/A</c:v>
                </c:pt>
                <c:pt idx="3172">
                  <c:v>#N/A</c:v>
                </c:pt>
                <c:pt idx="3173">
                  <c:v>#N/A</c:v>
                </c:pt>
                <c:pt idx="3174">
                  <c:v>#N/A</c:v>
                </c:pt>
                <c:pt idx="3175">
                  <c:v>#N/A</c:v>
                </c:pt>
                <c:pt idx="3176">
                  <c:v>#N/A</c:v>
                </c:pt>
                <c:pt idx="3177">
                  <c:v>#N/A</c:v>
                </c:pt>
                <c:pt idx="3178">
                  <c:v>#N/A</c:v>
                </c:pt>
                <c:pt idx="3179">
                  <c:v>#N/A</c:v>
                </c:pt>
                <c:pt idx="3180">
                  <c:v>#N/A</c:v>
                </c:pt>
                <c:pt idx="3181">
                  <c:v>#N/A</c:v>
                </c:pt>
                <c:pt idx="3182">
                  <c:v>1.4602739726027398</c:v>
                </c:pt>
                <c:pt idx="3183">
                  <c:v>#N/A</c:v>
                </c:pt>
                <c:pt idx="3184">
                  <c:v>1.4602739726027398</c:v>
                </c:pt>
                <c:pt idx="3185">
                  <c:v>#N/A</c:v>
                </c:pt>
                <c:pt idx="3186">
                  <c:v>#N/A</c:v>
                </c:pt>
                <c:pt idx="3187">
                  <c:v>#N/A</c:v>
                </c:pt>
                <c:pt idx="3188">
                  <c:v>#N/A</c:v>
                </c:pt>
                <c:pt idx="3189">
                  <c:v>#N/A</c:v>
                </c:pt>
                <c:pt idx="3190">
                  <c:v>#N/A</c:v>
                </c:pt>
                <c:pt idx="3191">
                  <c:v>#N/A</c:v>
                </c:pt>
                <c:pt idx="3192">
                  <c:v>#N/A</c:v>
                </c:pt>
                <c:pt idx="3193">
                  <c:v>#N/A</c:v>
                </c:pt>
                <c:pt idx="3194">
                  <c:v>#N/A</c:v>
                </c:pt>
                <c:pt idx="3195">
                  <c:v>#N/A</c:v>
                </c:pt>
                <c:pt idx="3196">
                  <c:v>1.4684931506849315</c:v>
                </c:pt>
                <c:pt idx="3197">
                  <c:v>#N/A</c:v>
                </c:pt>
                <c:pt idx="3198">
                  <c:v>#N/A</c:v>
                </c:pt>
                <c:pt idx="3199">
                  <c:v>1.4684931506849315</c:v>
                </c:pt>
                <c:pt idx="3200">
                  <c:v>#N/A</c:v>
                </c:pt>
                <c:pt idx="3201">
                  <c:v>#N/A</c:v>
                </c:pt>
                <c:pt idx="3202">
                  <c:v>#N/A</c:v>
                </c:pt>
                <c:pt idx="3203">
                  <c:v>#N/A</c:v>
                </c:pt>
                <c:pt idx="3204">
                  <c:v>#N/A</c:v>
                </c:pt>
                <c:pt idx="3205">
                  <c:v>#N/A</c:v>
                </c:pt>
                <c:pt idx="3206">
                  <c:v>#N/A</c:v>
                </c:pt>
                <c:pt idx="3207">
                  <c:v>#N/A</c:v>
                </c:pt>
                <c:pt idx="3208">
                  <c:v>#N/A</c:v>
                </c:pt>
                <c:pt idx="3209">
                  <c:v>#N/A</c:v>
                </c:pt>
                <c:pt idx="3210">
                  <c:v>#N/A</c:v>
                </c:pt>
                <c:pt idx="3211">
                  <c:v>#N/A</c:v>
                </c:pt>
                <c:pt idx="3212">
                  <c:v>#N/A</c:v>
                </c:pt>
                <c:pt idx="3213">
                  <c:v>#N/A</c:v>
                </c:pt>
                <c:pt idx="3214">
                  <c:v>#N/A</c:v>
                </c:pt>
                <c:pt idx="3215">
                  <c:v>#N/A</c:v>
                </c:pt>
                <c:pt idx="3216">
                  <c:v>#N/A</c:v>
                </c:pt>
                <c:pt idx="3217">
                  <c:v>#N/A</c:v>
                </c:pt>
                <c:pt idx="3218">
                  <c:v>#N/A</c:v>
                </c:pt>
                <c:pt idx="3219">
                  <c:v>#N/A</c:v>
                </c:pt>
                <c:pt idx="3220">
                  <c:v>#N/A</c:v>
                </c:pt>
                <c:pt idx="3221">
                  <c:v>#N/A</c:v>
                </c:pt>
                <c:pt idx="3222">
                  <c:v>#N/A</c:v>
                </c:pt>
                <c:pt idx="3223">
                  <c:v>#N/A</c:v>
                </c:pt>
                <c:pt idx="3224">
                  <c:v>#N/A</c:v>
                </c:pt>
                <c:pt idx="3225">
                  <c:v>#N/A</c:v>
                </c:pt>
                <c:pt idx="3226">
                  <c:v>#N/A</c:v>
                </c:pt>
                <c:pt idx="3227">
                  <c:v>#N/A</c:v>
                </c:pt>
                <c:pt idx="3228">
                  <c:v>#N/A</c:v>
                </c:pt>
                <c:pt idx="3229">
                  <c:v>#N/A</c:v>
                </c:pt>
                <c:pt idx="3230">
                  <c:v>#N/A</c:v>
                </c:pt>
                <c:pt idx="3231">
                  <c:v>#N/A</c:v>
                </c:pt>
                <c:pt idx="3232">
                  <c:v>#N/A</c:v>
                </c:pt>
                <c:pt idx="3233">
                  <c:v>#N/A</c:v>
                </c:pt>
                <c:pt idx="3234">
                  <c:v>#N/A</c:v>
                </c:pt>
                <c:pt idx="3235">
                  <c:v>#N/A</c:v>
                </c:pt>
                <c:pt idx="3236">
                  <c:v>#N/A</c:v>
                </c:pt>
                <c:pt idx="3237">
                  <c:v>#N/A</c:v>
                </c:pt>
                <c:pt idx="3238">
                  <c:v>#N/A</c:v>
                </c:pt>
                <c:pt idx="3239">
                  <c:v>#N/A</c:v>
                </c:pt>
                <c:pt idx="3240">
                  <c:v>#N/A</c:v>
                </c:pt>
                <c:pt idx="3241">
                  <c:v>#N/A</c:v>
                </c:pt>
                <c:pt idx="3242">
                  <c:v>#N/A</c:v>
                </c:pt>
                <c:pt idx="3243">
                  <c:v>#N/A</c:v>
                </c:pt>
                <c:pt idx="3244">
                  <c:v>#N/A</c:v>
                </c:pt>
                <c:pt idx="3245">
                  <c:v>#N/A</c:v>
                </c:pt>
                <c:pt idx="3246">
                  <c:v>#N/A</c:v>
                </c:pt>
                <c:pt idx="3247">
                  <c:v>#N/A</c:v>
                </c:pt>
                <c:pt idx="3248">
                  <c:v>#N/A</c:v>
                </c:pt>
                <c:pt idx="3249">
                  <c:v>#N/A</c:v>
                </c:pt>
                <c:pt idx="3250">
                  <c:v>#N/A</c:v>
                </c:pt>
                <c:pt idx="3251">
                  <c:v>#N/A</c:v>
                </c:pt>
                <c:pt idx="3252">
                  <c:v>#N/A</c:v>
                </c:pt>
                <c:pt idx="3253">
                  <c:v>#N/A</c:v>
                </c:pt>
                <c:pt idx="3254">
                  <c:v>#N/A</c:v>
                </c:pt>
                <c:pt idx="3255">
                  <c:v>#N/A</c:v>
                </c:pt>
                <c:pt idx="3256">
                  <c:v>#N/A</c:v>
                </c:pt>
                <c:pt idx="3257">
                  <c:v>#N/A</c:v>
                </c:pt>
                <c:pt idx="3258">
                  <c:v>#N/A</c:v>
                </c:pt>
                <c:pt idx="3259">
                  <c:v>#N/A</c:v>
                </c:pt>
                <c:pt idx="3260">
                  <c:v>#N/A</c:v>
                </c:pt>
                <c:pt idx="3261">
                  <c:v>#N/A</c:v>
                </c:pt>
                <c:pt idx="3262">
                  <c:v>#N/A</c:v>
                </c:pt>
                <c:pt idx="3263">
                  <c:v>1.4684931506849315</c:v>
                </c:pt>
                <c:pt idx="3264">
                  <c:v>#N/A</c:v>
                </c:pt>
                <c:pt idx="3265">
                  <c:v>#N/A</c:v>
                </c:pt>
                <c:pt idx="3266">
                  <c:v>#N/A</c:v>
                </c:pt>
                <c:pt idx="3267">
                  <c:v>#N/A</c:v>
                </c:pt>
                <c:pt idx="3268">
                  <c:v>#N/A</c:v>
                </c:pt>
                <c:pt idx="3269">
                  <c:v>#N/A</c:v>
                </c:pt>
                <c:pt idx="3270">
                  <c:v>1.4684931506849315</c:v>
                </c:pt>
                <c:pt idx="3271">
                  <c:v>#N/A</c:v>
                </c:pt>
                <c:pt idx="3272">
                  <c:v>#N/A</c:v>
                </c:pt>
                <c:pt idx="3273">
                  <c:v>#N/A</c:v>
                </c:pt>
                <c:pt idx="3274">
                  <c:v>#N/A</c:v>
                </c:pt>
                <c:pt idx="3275">
                  <c:v>#N/A</c:v>
                </c:pt>
                <c:pt idx="3276">
                  <c:v>#N/A</c:v>
                </c:pt>
                <c:pt idx="3277">
                  <c:v>#N/A</c:v>
                </c:pt>
                <c:pt idx="3278">
                  <c:v>#N/A</c:v>
                </c:pt>
                <c:pt idx="3279">
                  <c:v>#N/A</c:v>
                </c:pt>
                <c:pt idx="3280">
                  <c:v>#N/A</c:v>
                </c:pt>
                <c:pt idx="3281">
                  <c:v>#N/A</c:v>
                </c:pt>
                <c:pt idx="3282">
                  <c:v>#N/A</c:v>
                </c:pt>
                <c:pt idx="3283">
                  <c:v>#N/A</c:v>
                </c:pt>
                <c:pt idx="3284">
                  <c:v>#N/A</c:v>
                </c:pt>
                <c:pt idx="3285">
                  <c:v>#N/A</c:v>
                </c:pt>
                <c:pt idx="3286">
                  <c:v>#N/A</c:v>
                </c:pt>
                <c:pt idx="3287">
                  <c:v>#N/A</c:v>
                </c:pt>
                <c:pt idx="3288">
                  <c:v>#N/A</c:v>
                </c:pt>
                <c:pt idx="3289">
                  <c:v>#N/A</c:v>
                </c:pt>
                <c:pt idx="3290">
                  <c:v>#N/A</c:v>
                </c:pt>
                <c:pt idx="3291">
                  <c:v>#N/A</c:v>
                </c:pt>
                <c:pt idx="3292">
                  <c:v>#N/A</c:v>
                </c:pt>
                <c:pt idx="3293">
                  <c:v>#N/A</c:v>
                </c:pt>
                <c:pt idx="3294">
                  <c:v>#N/A</c:v>
                </c:pt>
                <c:pt idx="3295">
                  <c:v>#N/A</c:v>
                </c:pt>
                <c:pt idx="3296">
                  <c:v>#N/A</c:v>
                </c:pt>
                <c:pt idx="3297">
                  <c:v>#N/A</c:v>
                </c:pt>
                <c:pt idx="3298">
                  <c:v>#N/A</c:v>
                </c:pt>
                <c:pt idx="3299">
                  <c:v>#N/A</c:v>
                </c:pt>
                <c:pt idx="3300">
                  <c:v>#N/A</c:v>
                </c:pt>
                <c:pt idx="3301">
                  <c:v>#N/A</c:v>
                </c:pt>
                <c:pt idx="3302">
                  <c:v>#N/A</c:v>
                </c:pt>
                <c:pt idx="3303">
                  <c:v>#N/A</c:v>
                </c:pt>
                <c:pt idx="3304">
                  <c:v>#N/A</c:v>
                </c:pt>
                <c:pt idx="3305">
                  <c:v>#N/A</c:v>
                </c:pt>
                <c:pt idx="3306">
                  <c:v>#N/A</c:v>
                </c:pt>
                <c:pt idx="3307">
                  <c:v>#N/A</c:v>
                </c:pt>
                <c:pt idx="3308">
                  <c:v>#N/A</c:v>
                </c:pt>
                <c:pt idx="3309">
                  <c:v>#N/A</c:v>
                </c:pt>
                <c:pt idx="3310">
                  <c:v>#N/A</c:v>
                </c:pt>
                <c:pt idx="3311">
                  <c:v>#N/A</c:v>
                </c:pt>
                <c:pt idx="3312">
                  <c:v>#N/A</c:v>
                </c:pt>
                <c:pt idx="3313">
                  <c:v>#N/A</c:v>
                </c:pt>
                <c:pt idx="3314">
                  <c:v>#N/A</c:v>
                </c:pt>
                <c:pt idx="3315">
                  <c:v>1.4684931506849315</c:v>
                </c:pt>
                <c:pt idx="3316">
                  <c:v>#N/A</c:v>
                </c:pt>
                <c:pt idx="3317">
                  <c:v>#N/A</c:v>
                </c:pt>
                <c:pt idx="3318">
                  <c:v>#N/A</c:v>
                </c:pt>
                <c:pt idx="3319">
                  <c:v>#N/A</c:v>
                </c:pt>
                <c:pt idx="3320">
                  <c:v>#N/A</c:v>
                </c:pt>
                <c:pt idx="3321">
                  <c:v>#N/A</c:v>
                </c:pt>
                <c:pt idx="3322">
                  <c:v>#N/A</c:v>
                </c:pt>
                <c:pt idx="3323">
                  <c:v>#N/A</c:v>
                </c:pt>
                <c:pt idx="3324">
                  <c:v>#N/A</c:v>
                </c:pt>
                <c:pt idx="3325">
                  <c:v>#N/A</c:v>
                </c:pt>
                <c:pt idx="3326">
                  <c:v>#N/A</c:v>
                </c:pt>
                <c:pt idx="3327">
                  <c:v>#N/A</c:v>
                </c:pt>
                <c:pt idx="3328">
                  <c:v>#N/A</c:v>
                </c:pt>
                <c:pt idx="3329">
                  <c:v>#N/A</c:v>
                </c:pt>
                <c:pt idx="3330">
                  <c:v>#N/A</c:v>
                </c:pt>
                <c:pt idx="3331">
                  <c:v>#N/A</c:v>
                </c:pt>
                <c:pt idx="3332">
                  <c:v>#N/A</c:v>
                </c:pt>
                <c:pt idx="3333">
                  <c:v>#N/A</c:v>
                </c:pt>
                <c:pt idx="3334">
                  <c:v>#N/A</c:v>
                </c:pt>
                <c:pt idx="3335">
                  <c:v>#N/A</c:v>
                </c:pt>
                <c:pt idx="3336">
                  <c:v>#N/A</c:v>
                </c:pt>
                <c:pt idx="3337">
                  <c:v>#N/A</c:v>
                </c:pt>
                <c:pt idx="3338">
                  <c:v>#N/A</c:v>
                </c:pt>
                <c:pt idx="3339">
                  <c:v>#N/A</c:v>
                </c:pt>
                <c:pt idx="3340">
                  <c:v>#N/A</c:v>
                </c:pt>
                <c:pt idx="3341">
                  <c:v>#N/A</c:v>
                </c:pt>
                <c:pt idx="3342">
                  <c:v>#N/A</c:v>
                </c:pt>
                <c:pt idx="3343">
                  <c:v>#N/A</c:v>
                </c:pt>
                <c:pt idx="3344">
                  <c:v>#N/A</c:v>
                </c:pt>
                <c:pt idx="3345">
                  <c:v>#N/A</c:v>
                </c:pt>
                <c:pt idx="3346">
                  <c:v>#N/A</c:v>
                </c:pt>
                <c:pt idx="3347">
                  <c:v>#N/A</c:v>
                </c:pt>
                <c:pt idx="3348">
                  <c:v>#N/A</c:v>
                </c:pt>
                <c:pt idx="3349">
                  <c:v>#N/A</c:v>
                </c:pt>
                <c:pt idx="3350">
                  <c:v>#N/A</c:v>
                </c:pt>
                <c:pt idx="3351">
                  <c:v>#N/A</c:v>
                </c:pt>
                <c:pt idx="3352">
                  <c:v>#N/A</c:v>
                </c:pt>
                <c:pt idx="3353">
                  <c:v>#N/A</c:v>
                </c:pt>
                <c:pt idx="3354">
                  <c:v>#N/A</c:v>
                </c:pt>
                <c:pt idx="3355">
                  <c:v>#N/A</c:v>
                </c:pt>
                <c:pt idx="3356">
                  <c:v>#N/A</c:v>
                </c:pt>
                <c:pt idx="3357">
                  <c:v>#N/A</c:v>
                </c:pt>
                <c:pt idx="3358">
                  <c:v>#N/A</c:v>
                </c:pt>
                <c:pt idx="3359">
                  <c:v>#N/A</c:v>
                </c:pt>
                <c:pt idx="3360">
                  <c:v>#N/A</c:v>
                </c:pt>
                <c:pt idx="3361">
                  <c:v>#N/A</c:v>
                </c:pt>
                <c:pt idx="3362">
                  <c:v>#N/A</c:v>
                </c:pt>
                <c:pt idx="3363">
                  <c:v>#N/A</c:v>
                </c:pt>
                <c:pt idx="3364">
                  <c:v>#N/A</c:v>
                </c:pt>
                <c:pt idx="3365">
                  <c:v>#N/A</c:v>
                </c:pt>
                <c:pt idx="3366">
                  <c:v>#N/A</c:v>
                </c:pt>
                <c:pt idx="3367">
                  <c:v>#N/A</c:v>
                </c:pt>
                <c:pt idx="3368">
                  <c:v>#N/A</c:v>
                </c:pt>
                <c:pt idx="3369">
                  <c:v>#N/A</c:v>
                </c:pt>
                <c:pt idx="3370">
                  <c:v>#N/A</c:v>
                </c:pt>
                <c:pt idx="3371">
                  <c:v>#N/A</c:v>
                </c:pt>
                <c:pt idx="3372">
                  <c:v>#N/A</c:v>
                </c:pt>
                <c:pt idx="3373">
                  <c:v>#N/A</c:v>
                </c:pt>
                <c:pt idx="3374">
                  <c:v>#N/A</c:v>
                </c:pt>
                <c:pt idx="3375">
                  <c:v>#N/A</c:v>
                </c:pt>
                <c:pt idx="3376">
                  <c:v>#N/A</c:v>
                </c:pt>
                <c:pt idx="3377">
                  <c:v>#N/A</c:v>
                </c:pt>
                <c:pt idx="3378">
                  <c:v>#N/A</c:v>
                </c:pt>
                <c:pt idx="3379">
                  <c:v>#N/A</c:v>
                </c:pt>
                <c:pt idx="3380">
                  <c:v>#N/A</c:v>
                </c:pt>
                <c:pt idx="3381">
                  <c:v>#N/A</c:v>
                </c:pt>
                <c:pt idx="3382">
                  <c:v>#N/A</c:v>
                </c:pt>
                <c:pt idx="3383">
                  <c:v>#N/A</c:v>
                </c:pt>
                <c:pt idx="3384">
                  <c:v>#N/A</c:v>
                </c:pt>
                <c:pt idx="3385">
                  <c:v>#N/A</c:v>
                </c:pt>
                <c:pt idx="3386">
                  <c:v>#N/A</c:v>
                </c:pt>
                <c:pt idx="3387">
                  <c:v>#N/A</c:v>
                </c:pt>
                <c:pt idx="3388">
                  <c:v>#N/A</c:v>
                </c:pt>
                <c:pt idx="3389">
                  <c:v>#N/A</c:v>
                </c:pt>
                <c:pt idx="3390">
                  <c:v>#N/A</c:v>
                </c:pt>
                <c:pt idx="3391">
                  <c:v>#N/A</c:v>
                </c:pt>
                <c:pt idx="3392">
                  <c:v>#N/A</c:v>
                </c:pt>
                <c:pt idx="3393">
                  <c:v>#N/A</c:v>
                </c:pt>
                <c:pt idx="3394">
                  <c:v>#N/A</c:v>
                </c:pt>
                <c:pt idx="3395">
                  <c:v>#N/A</c:v>
                </c:pt>
                <c:pt idx="3396">
                  <c:v>#N/A</c:v>
                </c:pt>
                <c:pt idx="3397">
                  <c:v>#N/A</c:v>
                </c:pt>
                <c:pt idx="3398">
                  <c:v>#N/A</c:v>
                </c:pt>
                <c:pt idx="3399">
                  <c:v>#N/A</c:v>
                </c:pt>
                <c:pt idx="3400">
                  <c:v>#N/A</c:v>
                </c:pt>
                <c:pt idx="3401">
                  <c:v>#N/A</c:v>
                </c:pt>
                <c:pt idx="3402">
                  <c:v>#N/A</c:v>
                </c:pt>
                <c:pt idx="3403">
                  <c:v>#N/A</c:v>
                </c:pt>
                <c:pt idx="3404">
                  <c:v>#N/A</c:v>
                </c:pt>
                <c:pt idx="3405">
                  <c:v>#N/A</c:v>
                </c:pt>
                <c:pt idx="3406">
                  <c:v>#N/A</c:v>
                </c:pt>
                <c:pt idx="3407">
                  <c:v>#N/A</c:v>
                </c:pt>
                <c:pt idx="3408">
                  <c:v>#N/A</c:v>
                </c:pt>
                <c:pt idx="3409">
                  <c:v>#N/A</c:v>
                </c:pt>
                <c:pt idx="3410">
                  <c:v>#N/A</c:v>
                </c:pt>
                <c:pt idx="3411">
                  <c:v>#N/A</c:v>
                </c:pt>
                <c:pt idx="3412">
                  <c:v>#N/A</c:v>
                </c:pt>
                <c:pt idx="3413">
                  <c:v>#N/A</c:v>
                </c:pt>
                <c:pt idx="3414">
                  <c:v>#N/A</c:v>
                </c:pt>
                <c:pt idx="3415">
                  <c:v>#N/A</c:v>
                </c:pt>
                <c:pt idx="3416">
                  <c:v>#N/A</c:v>
                </c:pt>
                <c:pt idx="3417">
                  <c:v>#N/A</c:v>
                </c:pt>
                <c:pt idx="3418">
                  <c:v>#N/A</c:v>
                </c:pt>
                <c:pt idx="3419">
                  <c:v>#N/A</c:v>
                </c:pt>
                <c:pt idx="3420">
                  <c:v>#N/A</c:v>
                </c:pt>
                <c:pt idx="3421">
                  <c:v>#N/A</c:v>
                </c:pt>
                <c:pt idx="3422">
                  <c:v>#N/A</c:v>
                </c:pt>
                <c:pt idx="3423">
                  <c:v>#N/A</c:v>
                </c:pt>
                <c:pt idx="3424">
                  <c:v>#N/A</c:v>
                </c:pt>
                <c:pt idx="3425">
                  <c:v>#N/A</c:v>
                </c:pt>
                <c:pt idx="3426">
                  <c:v>#N/A</c:v>
                </c:pt>
                <c:pt idx="3427">
                  <c:v>#N/A</c:v>
                </c:pt>
                <c:pt idx="3428">
                  <c:v>#N/A</c:v>
                </c:pt>
                <c:pt idx="3429">
                  <c:v>#N/A</c:v>
                </c:pt>
                <c:pt idx="3430">
                  <c:v>#N/A</c:v>
                </c:pt>
                <c:pt idx="3431">
                  <c:v>#N/A</c:v>
                </c:pt>
                <c:pt idx="3432">
                  <c:v>#N/A</c:v>
                </c:pt>
                <c:pt idx="3433">
                  <c:v>#N/A</c:v>
                </c:pt>
                <c:pt idx="3434">
                  <c:v>#N/A</c:v>
                </c:pt>
                <c:pt idx="3435">
                  <c:v>#N/A</c:v>
                </c:pt>
                <c:pt idx="3436">
                  <c:v>#N/A</c:v>
                </c:pt>
                <c:pt idx="3437">
                  <c:v>#N/A</c:v>
                </c:pt>
                <c:pt idx="3438">
                  <c:v>#N/A</c:v>
                </c:pt>
                <c:pt idx="3439">
                  <c:v>1.4684931506849315</c:v>
                </c:pt>
                <c:pt idx="3440">
                  <c:v>#N/A</c:v>
                </c:pt>
                <c:pt idx="3441">
                  <c:v>#N/A</c:v>
                </c:pt>
                <c:pt idx="3442">
                  <c:v>#N/A</c:v>
                </c:pt>
                <c:pt idx="3443">
                  <c:v>#N/A</c:v>
                </c:pt>
                <c:pt idx="3444">
                  <c:v>#N/A</c:v>
                </c:pt>
                <c:pt idx="3445">
                  <c:v>#N/A</c:v>
                </c:pt>
                <c:pt idx="3446">
                  <c:v>#N/A</c:v>
                </c:pt>
                <c:pt idx="3447">
                  <c:v>#N/A</c:v>
                </c:pt>
                <c:pt idx="3448">
                  <c:v>#N/A</c:v>
                </c:pt>
                <c:pt idx="3449">
                  <c:v>1.4684931506849315</c:v>
                </c:pt>
                <c:pt idx="3450">
                  <c:v>#N/A</c:v>
                </c:pt>
                <c:pt idx="3451">
                  <c:v>#N/A</c:v>
                </c:pt>
                <c:pt idx="3452">
                  <c:v>#N/A</c:v>
                </c:pt>
                <c:pt idx="3453">
                  <c:v>#N/A</c:v>
                </c:pt>
                <c:pt idx="3454">
                  <c:v>#N/A</c:v>
                </c:pt>
                <c:pt idx="3455">
                  <c:v>#N/A</c:v>
                </c:pt>
                <c:pt idx="3456">
                  <c:v>#N/A</c:v>
                </c:pt>
                <c:pt idx="3457">
                  <c:v>#N/A</c:v>
                </c:pt>
                <c:pt idx="3458">
                  <c:v>#N/A</c:v>
                </c:pt>
                <c:pt idx="3459">
                  <c:v>#N/A</c:v>
                </c:pt>
                <c:pt idx="3460">
                  <c:v>#N/A</c:v>
                </c:pt>
                <c:pt idx="3461">
                  <c:v>1.4684931506849315</c:v>
                </c:pt>
                <c:pt idx="3462">
                  <c:v>#N/A</c:v>
                </c:pt>
                <c:pt idx="3463">
                  <c:v>#N/A</c:v>
                </c:pt>
                <c:pt idx="3464">
                  <c:v>#N/A</c:v>
                </c:pt>
                <c:pt idx="3465">
                  <c:v>#N/A</c:v>
                </c:pt>
                <c:pt idx="3466">
                  <c:v>#N/A</c:v>
                </c:pt>
                <c:pt idx="3467">
                  <c:v>#N/A</c:v>
                </c:pt>
                <c:pt idx="3468">
                  <c:v>#N/A</c:v>
                </c:pt>
                <c:pt idx="3469">
                  <c:v>#N/A</c:v>
                </c:pt>
                <c:pt idx="3470">
                  <c:v>#N/A</c:v>
                </c:pt>
                <c:pt idx="3471">
                  <c:v>#N/A</c:v>
                </c:pt>
                <c:pt idx="3472">
                  <c:v>#N/A</c:v>
                </c:pt>
                <c:pt idx="3473">
                  <c:v>#N/A</c:v>
                </c:pt>
                <c:pt idx="3474">
                  <c:v>#N/A</c:v>
                </c:pt>
                <c:pt idx="3475">
                  <c:v>#N/A</c:v>
                </c:pt>
                <c:pt idx="3476">
                  <c:v>#N/A</c:v>
                </c:pt>
                <c:pt idx="3477">
                  <c:v>#N/A</c:v>
                </c:pt>
                <c:pt idx="3478">
                  <c:v>#N/A</c:v>
                </c:pt>
                <c:pt idx="3479">
                  <c:v>#N/A</c:v>
                </c:pt>
                <c:pt idx="3480">
                  <c:v>#N/A</c:v>
                </c:pt>
                <c:pt idx="3481">
                  <c:v>#N/A</c:v>
                </c:pt>
                <c:pt idx="3482">
                  <c:v>#N/A</c:v>
                </c:pt>
                <c:pt idx="3483">
                  <c:v>#N/A</c:v>
                </c:pt>
                <c:pt idx="3484">
                  <c:v>#N/A</c:v>
                </c:pt>
                <c:pt idx="3485">
                  <c:v>#N/A</c:v>
                </c:pt>
                <c:pt idx="3486">
                  <c:v>#N/A</c:v>
                </c:pt>
                <c:pt idx="3487">
                  <c:v>#N/A</c:v>
                </c:pt>
                <c:pt idx="3488">
                  <c:v>#N/A</c:v>
                </c:pt>
                <c:pt idx="3489">
                  <c:v>#N/A</c:v>
                </c:pt>
                <c:pt idx="3490">
                  <c:v>#N/A</c:v>
                </c:pt>
                <c:pt idx="3491">
                  <c:v>#N/A</c:v>
                </c:pt>
                <c:pt idx="3492">
                  <c:v>#N/A</c:v>
                </c:pt>
                <c:pt idx="3493">
                  <c:v>#N/A</c:v>
                </c:pt>
                <c:pt idx="3494">
                  <c:v>#N/A</c:v>
                </c:pt>
                <c:pt idx="3495">
                  <c:v>#N/A</c:v>
                </c:pt>
                <c:pt idx="3496">
                  <c:v>#N/A</c:v>
                </c:pt>
                <c:pt idx="3497">
                  <c:v>#N/A</c:v>
                </c:pt>
                <c:pt idx="3498">
                  <c:v>1.4684931506849315</c:v>
                </c:pt>
                <c:pt idx="3499">
                  <c:v>#N/A</c:v>
                </c:pt>
                <c:pt idx="3500">
                  <c:v>#N/A</c:v>
                </c:pt>
                <c:pt idx="3501">
                  <c:v>#N/A</c:v>
                </c:pt>
                <c:pt idx="3502">
                  <c:v>#N/A</c:v>
                </c:pt>
                <c:pt idx="3503">
                  <c:v>#N/A</c:v>
                </c:pt>
                <c:pt idx="3504">
                  <c:v>#N/A</c:v>
                </c:pt>
                <c:pt idx="3505">
                  <c:v>#N/A</c:v>
                </c:pt>
                <c:pt idx="3506">
                  <c:v>#N/A</c:v>
                </c:pt>
                <c:pt idx="3507">
                  <c:v>#N/A</c:v>
                </c:pt>
                <c:pt idx="3508">
                  <c:v>#N/A</c:v>
                </c:pt>
                <c:pt idx="3509">
                  <c:v>#N/A</c:v>
                </c:pt>
                <c:pt idx="3510">
                  <c:v>#N/A</c:v>
                </c:pt>
                <c:pt idx="3511">
                  <c:v>#N/A</c:v>
                </c:pt>
                <c:pt idx="3512">
                  <c:v>#N/A</c:v>
                </c:pt>
                <c:pt idx="3513">
                  <c:v>#N/A</c:v>
                </c:pt>
                <c:pt idx="3514">
                  <c:v>#N/A</c:v>
                </c:pt>
                <c:pt idx="3515">
                  <c:v>#N/A</c:v>
                </c:pt>
                <c:pt idx="3516">
                  <c:v>#N/A</c:v>
                </c:pt>
                <c:pt idx="3517">
                  <c:v>#N/A</c:v>
                </c:pt>
                <c:pt idx="3518">
                  <c:v>1.4684931506849315</c:v>
                </c:pt>
                <c:pt idx="3519">
                  <c:v>#N/A</c:v>
                </c:pt>
                <c:pt idx="3520">
                  <c:v>#N/A</c:v>
                </c:pt>
                <c:pt idx="3521">
                  <c:v>#N/A</c:v>
                </c:pt>
                <c:pt idx="3522">
                  <c:v>#N/A</c:v>
                </c:pt>
                <c:pt idx="3523">
                  <c:v>#N/A</c:v>
                </c:pt>
                <c:pt idx="3524">
                  <c:v>#N/A</c:v>
                </c:pt>
                <c:pt idx="3525">
                  <c:v>#N/A</c:v>
                </c:pt>
                <c:pt idx="3526">
                  <c:v>#N/A</c:v>
                </c:pt>
                <c:pt idx="3527">
                  <c:v>#N/A</c:v>
                </c:pt>
                <c:pt idx="3528">
                  <c:v>#N/A</c:v>
                </c:pt>
                <c:pt idx="3529">
                  <c:v>#N/A</c:v>
                </c:pt>
                <c:pt idx="3530">
                  <c:v>#N/A</c:v>
                </c:pt>
                <c:pt idx="3531">
                  <c:v>#N/A</c:v>
                </c:pt>
                <c:pt idx="3532">
                  <c:v>#N/A</c:v>
                </c:pt>
                <c:pt idx="3533">
                  <c:v>#N/A</c:v>
                </c:pt>
                <c:pt idx="3534">
                  <c:v>1.4684931506849315</c:v>
                </c:pt>
                <c:pt idx="3535">
                  <c:v>#N/A</c:v>
                </c:pt>
                <c:pt idx="3536">
                  <c:v>#N/A</c:v>
                </c:pt>
                <c:pt idx="3537">
                  <c:v>#N/A</c:v>
                </c:pt>
                <c:pt idx="3538">
                  <c:v>#N/A</c:v>
                </c:pt>
                <c:pt idx="3539">
                  <c:v>#N/A</c:v>
                </c:pt>
                <c:pt idx="3540">
                  <c:v>#N/A</c:v>
                </c:pt>
                <c:pt idx="3541">
                  <c:v>#N/A</c:v>
                </c:pt>
                <c:pt idx="3542">
                  <c:v>#N/A</c:v>
                </c:pt>
                <c:pt idx="3543">
                  <c:v>#N/A</c:v>
                </c:pt>
                <c:pt idx="3544">
                  <c:v>#N/A</c:v>
                </c:pt>
                <c:pt idx="3545">
                  <c:v>#N/A</c:v>
                </c:pt>
                <c:pt idx="3546">
                  <c:v>#N/A</c:v>
                </c:pt>
                <c:pt idx="3547">
                  <c:v>#N/A</c:v>
                </c:pt>
                <c:pt idx="3548">
                  <c:v>#N/A</c:v>
                </c:pt>
                <c:pt idx="3549">
                  <c:v>#N/A</c:v>
                </c:pt>
                <c:pt idx="3550">
                  <c:v>#N/A</c:v>
                </c:pt>
                <c:pt idx="3551">
                  <c:v>#N/A</c:v>
                </c:pt>
                <c:pt idx="3552">
                  <c:v>#N/A</c:v>
                </c:pt>
                <c:pt idx="3553">
                  <c:v>#N/A</c:v>
                </c:pt>
                <c:pt idx="3554">
                  <c:v>#N/A</c:v>
                </c:pt>
                <c:pt idx="3555">
                  <c:v>#N/A</c:v>
                </c:pt>
                <c:pt idx="3556">
                  <c:v>#N/A</c:v>
                </c:pt>
                <c:pt idx="3557">
                  <c:v>#N/A</c:v>
                </c:pt>
                <c:pt idx="3558">
                  <c:v>#N/A</c:v>
                </c:pt>
                <c:pt idx="3559">
                  <c:v>#N/A</c:v>
                </c:pt>
                <c:pt idx="3560">
                  <c:v>#N/A</c:v>
                </c:pt>
                <c:pt idx="3561">
                  <c:v>#N/A</c:v>
                </c:pt>
                <c:pt idx="3562">
                  <c:v>#N/A</c:v>
                </c:pt>
                <c:pt idx="3563">
                  <c:v>#N/A</c:v>
                </c:pt>
                <c:pt idx="3564">
                  <c:v>#N/A</c:v>
                </c:pt>
                <c:pt idx="3565">
                  <c:v>#N/A</c:v>
                </c:pt>
                <c:pt idx="3566">
                  <c:v>#N/A</c:v>
                </c:pt>
                <c:pt idx="3567">
                  <c:v>#N/A</c:v>
                </c:pt>
                <c:pt idx="3568">
                  <c:v>#N/A</c:v>
                </c:pt>
                <c:pt idx="3569">
                  <c:v>#N/A</c:v>
                </c:pt>
                <c:pt idx="3570">
                  <c:v>#N/A</c:v>
                </c:pt>
                <c:pt idx="3571">
                  <c:v>#N/A</c:v>
                </c:pt>
                <c:pt idx="3572">
                  <c:v>#N/A</c:v>
                </c:pt>
                <c:pt idx="3573">
                  <c:v>#N/A</c:v>
                </c:pt>
                <c:pt idx="3574">
                  <c:v>#N/A</c:v>
                </c:pt>
                <c:pt idx="3575">
                  <c:v>#N/A</c:v>
                </c:pt>
                <c:pt idx="3576">
                  <c:v>#N/A</c:v>
                </c:pt>
                <c:pt idx="3577">
                  <c:v>#N/A</c:v>
                </c:pt>
                <c:pt idx="3578">
                  <c:v>#N/A</c:v>
                </c:pt>
                <c:pt idx="3579">
                  <c:v>#N/A</c:v>
                </c:pt>
                <c:pt idx="3580">
                  <c:v>#N/A</c:v>
                </c:pt>
                <c:pt idx="3581">
                  <c:v>#N/A</c:v>
                </c:pt>
                <c:pt idx="3582">
                  <c:v>#N/A</c:v>
                </c:pt>
                <c:pt idx="3583">
                  <c:v>#N/A</c:v>
                </c:pt>
                <c:pt idx="3584">
                  <c:v>#N/A</c:v>
                </c:pt>
                <c:pt idx="3585">
                  <c:v>#N/A</c:v>
                </c:pt>
                <c:pt idx="3586">
                  <c:v>#N/A</c:v>
                </c:pt>
                <c:pt idx="3587">
                  <c:v>#N/A</c:v>
                </c:pt>
                <c:pt idx="3588">
                  <c:v>#N/A</c:v>
                </c:pt>
                <c:pt idx="3589">
                  <c:v>#N/A</c:v>
                </c:pt>
                <c:pt idx="3590">
                  <c:v>#N/A</c:v>
                </c:pt>
                <c:pt idx="3591">
                  <c:v>#N/A</c:v>
                </c:pt>
                <c:pt idx="3592">
                  <c:v>#N/A</c:v>
                </c:pt>
                <c:pt idx="3593">
                  <c:v>#N/A</c:v>
                </c:pt>
                <c:pt idx="3594">
                  <c:v>#N/A</c:v>
                </c:pt>
                <c:pt idx="3595">
                  <c:v>#N/A</c:v>
                </c:pt>
                <c:pt idx="3596">
                  <c:v>#N/A</c:v>
                </c:pt>
                <c:pt idx="3597">
                  <c:v>#N/A</c:v>
                </c:pt>
                <c:pt idx="3598">
                  <c:v>#N/A</c:v>
                </c:pt>
                <c:pt idx="3599">
                  <c:v>#N/A</c:v>
                </c:pt>
                <c:pt idx="3600">
                  <c:v>#N/A</c:v>
                </c:pt>
                <c:pt idx="3601">
                  <c:v>#N/A</c:v>
                </c:pt>
                <c:pt idx="3602">
                  <c:v>#N/A</c:v>
                </c:pt>
                <c:pt idx="3603">
                  <c:v>#N/A</c:v>
                </c:pt>
                <c:pt idx="3604">
                  <c:v>#N/A</c:v>
                </c:pt>
                <c:pt idx="3605">
                  <c:v>#N/A</c:v>
                </c:pt>
                <c:pt idx="3606">
                  <c:v>#N/A</c:v>
                </c:pt>
                <c:pt idx="3607">
                  <c:v>#N/A</c:v>
                </c:pt>
                <c:pt idx="3608">
                  <c:v>#N/A</c:v>
                </c:pt>
                <c:pt idx="3609">
                  <c:v>#N/A</c:v>
                </c:pt>
                <c:pt idx="3610">
                  <c:v>#N/A</c:v>
                </c:pt>
                <c:pt idx="3611">
                  <c:v>#N/A</c:v>
                </c:pt>
                <c:pt idx="3612">
                  <c:v>#N/A</c:v>
                </c:pt>
                <c:pt idx="3613">
                  <c:v>#N/A</c:v>
                </c:pt>
                <c:pt idx="3614">
                  <c:v>#N/A</c:v>
                </c:pt>
                <c:pt idx="3615">
                  <c:v>#N/A</c:v>
                </c:pt>
                <c:pt idx="3616">
                  <c:v>#N/A</c:v>
                </c:pt>
                <c:pt idx="3617">
                  <c:v>#N/A</c:v>
                </c:pt>
                <c:pt idx="3618">
                  <c:v>#N/A</c:v>
                </c:pt>
                <c:pt idx="3619">
                  <c:v>#N/A</c:v>
                </c:pt>
                <c:pt idx="3620">
                  <c:v>#N/A</c:v>
                </c:pt>
                <c:pt idx="3621">
                  <c:v>#N/A</c:v>
                </c:pt>
                <c:pt idx="3622">
                  <c:v>#N/A</c:v>
                </c:pt>
                <c:pt idx="3623">
                  <c:v>#N/A</c:v>
                </c:pt>
                <c:pt idx="3624">
                  <c:v>#N/A</c:v>
                </c:pt>
                <c:pt idx="3625">
                  <c:v>#N/A</c:v>
                </c:pt>
                <c:pt idx="3626">
                  <c:v>#N/A</c:v>
                </c:pt>
                <c:pt idx="3627">
                  <c:v>#N/A</c:v>
                </c:pt>
                <c:pt idx="3628">
                  <c:v>#N/A</c:v>
                </c:pt>
                <c:pt idx="3629">
                  <c:v>#N/A</c:v>
                </c:pt>
                <c:pt idx="3630">
                  <c:v>#N/A</c:v>
                </c:pt>
                <c:pt idx="3631">
                  <c:v>#N/A</c:v>
                </c:pt>
                <c:pt idx="3632">
                  <c:v>#N/A</c:v>
                </c:pt>
                <c:pt idx="3633">
                  <c:v>#N/A</c:v>
                </c:pt>
                <c:pt idx="3634">
                  <c:v>#N/A</c:v>
                </c:pt>
                <c:pt idx="3635">
                  <c:v>#N/A</c:v>
                </c:pt>
                <c:pt idx="3636">
                  <c:v>#N/A</c:v>
                </c:pt>
                <c:pt idx="3637">
                  <c:v>#N/A</c:v>
                </c:pt>
                <c:pt idx="3638">
                  <c:v>#N/A</c:v>
                </c:pt>
                <c:pt idx="3639">
                  <c:v>#N/A</c:v>
                </c:pt>
                <c:pt idx="3640">
                  <c:v>#N/A</c:v>
                </c:pt>
                <c:pt idx="3641">
                  <c:v>#N/A</c:v>
                </c:pt>
                <c:pt idx="3642">
                  <c:v>#N/A</c:v>
                </c:pt>
                <c:pt idx="3643">
                  <c:v>#N/A</c:v>
                </c:pt>
                <c:pt idx="3644">
                  <c:v>#N/A</c:v>
                </c:pt>
                <c:pt idx="3645">
                  <c:v>#N/A</c:v>
                </c:pt>
                <c:pt idx="3646">
                  <c:v>#N/A</c:v>
                </c:pt>
                <c:pt idx="3647">
                  <c:v>#N/A</c:v>
                </c:pt>
                <c:pt idx="3648">
                  <c:v>#N/A</c:v>
                </c:pt>
                <c:pt idx="3649">
                  <c:v>#N/A</c:v>
                </c:pt>
                <c:pt idx="3650">
                  <c:v>#N/A</c:v>
                </c:pt>
                <c:pt idx="3651">
                  <c:v>#N/A</c:v>
                </c:pt>
                <c:pt idx="3652">
                  <c:v>#N/A</c:v>
                </c:pt>
                <c:pt idx="3653">
                  <c:v>#N/A</c:v>
                </c:pt>
                <c:pt idx="3654">
                  <c:v>#N/A</c:v>
                </c:pt>
                <c:pt idx="3655">
                  <c:v>#N/A</c:v>
                </c:pt>
                <c:pt idx="3656">
                  <c:v>#N/A</c:v>
                </c:pt>
                <c:pt idx="3657">
                  <c:v>#N/A</c:v>
                </c:pt>
                <c:pt idx="3658">
                  <c:v>#N/A</c:v>
                </c:pt>
                <c:pt idx="3659">
                  <c:v>#N/A</c:v>
                </c:pt>
                <c:pt idx="3660">
                  <c:v>#N/A</c:v>
                </c:pt>
                <c:pt idx="3661">
                  <c:v>#N/A</c:v>
                </c:pt>
                <c:pt idx="3662">
                  <c:v>#N/A</c:v>
                </c:pt>
                <c:pt idx="3663">
                  <c:v>#N/A</c:v>
                </c:pt>
                <c:pt idx="3664">
                  <c:v>#N/A</c:v>
                </c:pt>
                <c:pt idx="3665">
                  <c:v>#N/A</c:v>
                </c:pt>
                <c:pt idx="3666">
                  <c:v>#N/A</c:v>
                </c:pt>
                <c:pt idx="3667">
                  <c:v>#N/A</c:v>
                </c:pt>
                <c:pt idx="3668">
                  <c:v>#N/A</c:v>
                </c:pt>
                <c:pt idx="3669">
                  <c:v>#N/A</c:v>
                </c:pt>
                <c:pt idx="3670">
                  <c:v>#N/A</c:v>
                </c:pt>
                <c:pt idx="3671">
                  <c:v>#N/A</c:v>
                </c:pt>
                <c:pt idx="3672">
                  <c:v>#N/A</c:v>
                </c:pt>
                <c:pt idx="3673">
                  <c:v>#N/A</c:v>
                </c:pt>
                <c:pt idx="3674">
                  <c:v>#N/A</c:v>
                </c:pt>
                <c:pt idx="3675">
                  <c:v>#N/A</c:v>
                </c:pt>
                <c:pt idx="3676">
                  <c:v>#N/A</c:v>
                </c:pt>
                <c:pt idx="3677">
                  <c:v>#N/A</c:v>
                </c:pt>
                <c:pt idx="3678">
                  <c:v>#N/A</c:v>
                </c:pt>
                <c:pt idx="3679">
                  <c:v>#N/A</c:v>
                </c:pt>
                <c:pt idx="3680">
                  <c:v>#N/A</c:v>
                </c:pt>
                <c:pt idx="3681">
                  <c:v>#N/A</c:v>
                </c:pt>
                <c:pt idx="3682">
                  <c:v>#N/A</c:v>
                </c:pt>
                <c:pt idx="3683">
                  <c:v>#N/A</c:v>
                </c:pt>
                <c:pt idx="3684">
                  <c:v>#N/A</c:v>
                </c:pt>
                <c:pt idx="3685">
                  <c:v>#N/A</c:v>
                </c:pt>
                <c:pt idx="3686">
                  <c:v>#N/A</c:v>
                </c:pt>
                <c:pt idx="3687">
                  <c:v>#N/A</c:v>
                </c:pt>
                <c:pt idx="3688">
                  <c:v>1.4684931506849315</c:v>
                </c:pt>
                <c:pt idx="3689">
                  <c:v>#N/A</c:v>
                </c:pt>
                <c:pt idx="3690">
                  <c:v>#N/A</c:v>
                </c:pt>
                <c:pt idx="3691">
                  <c:v>#N/A</c:v>
                </c:pt>
                <c:pt idx="3692">
                  <c:v>1.4684931506849315</c:v>
                </c:pt>
                <c:pt idx="3693">
                  <c:v>#N/A</c:v>
                </c:pt>
                <c:pt idx="3694">
                  <c:v>#N/A</c:v>
                </c:pt>
                <c:pt idx="3695">
                  <c:v>#N/A</c:v>
                </c:pt>
                <c:pt idx="3696">
                  <c:v>#N/A</c:v>
                </c:pt>
                <c:pt idx="3697">
                  <c:v>#N/A</c:v>
                </c:pt>
                <c:pt idx="3698">
                  <c:v>#N/A</c:v>
                </c:pt>
                <c:pt idx="3699">
                  <c:v>#N/A</c:v>
                </c:pt>
                <c:pt idx="3700">
                  <c:v>#N/A</c:v>
                </c:pt>
                <c:pt idx="3701">
                  <c:v>#N/A</c:v>
                </c:pt>
                <c:pt idx="3702">
                  <c:v>#N/A</c:v>
                </c:pt>
                <c:pt idx="3703">
                  <c:v>#N/A</c:v>
                </c:pt>
                <c:pt idx="3704">
                  <c:v>1.4684931506849315</c:v>
                </c:pt>
                <c:pt idx="3705">
                  <c:v>#N/A</c:v>
                </c:pt>
                <c:pt idx="3706">
                  <c:v>#N/A</c:v>
                </c:pt>
                <c:pt idx="3707">
                  <c:v>#N/A</c:v>
                </c:pt>
                <c:pt idx="3708">
                  <c:v>#N/A</c:v>
                </c:pt>
                <c:pt idx="3709">
                  <c:v>#N/A</c:v>
                </c:pt>
                <c:pt idx="3710">
                  <c:v>#N/A</c:v>
                </c:pt>
                <c:pt idx="3711">
                  <c:v>#N/A</c:v>
                </c:pt>
                <c:pt idx="3712">
                  <c:v>#N/A</c:v>
                </c:pt>
                <c:pt idx="3713">
                  <c:v>#N/A</c:v>
                </c:pt>
                <c:pt idx="3714">
                  <c:v>#N/A</c:v>
                </c:pt>
                <c:pt idx="3715">
                  <c:v>#N/A</c:v>
                </c:pt>
                <c:pt idx="3716">
                  <c:v>#N/A</c:v>
                </c:pt>
                <c:pt idx="3717">
                  <c:v>#N/A</c:v>
                </c:pt>
                <c:pt idx="3718">
                  <c:v>#N/A</c:v>
                </c:pt>
                <c:pt idx="3719">
                  <c:v>#N/A</c:v>
                </c:pt>
                <c:pt idx="3720">
                  <c:v>#N/A</c:v>
                </c:pt>
                <c:pt idx="3721">
                  <c:v>#N/A</c:v>
                </c:pt>
                <c:pt idx="3722">
                  <c:v>#N/A</c:v>
                </c:pt>
                <c:pt idx="3723">
                  <c:v>#N/A</c:v>
                </c:pt>
                <c:pt idx="3724">
                  <c:v>#N/A</c:v>
                </c:pt>
                <c:pt idx="3725">
                  <c:v>#N/A</c:v>
                </c:pt>
                <c:pt idx="3726">
                  <c:v>#N/A</c:v>
                </c:pt>
                <c:pt idx="3727">
                  <c:v>#N/A</c:v>
                </c:pt>
                <c:pt idx="3728">
                  <c:v>#N/A</c:v>
                </c:pt>
                <c:pt idx="3729">
                  <c:v>#N/A</c:v>
                </c:pt>
                <c:pt idx="3730">
                  <c:v>#N/A</c:v>
                </c:pt>
                <c:pt idx="3731">
                  <c:v>#N/A</c:v>
                </c:pt>
                <c:pt idx="3732">
                  <c:v>#N/A</c:v>
                </c:pt>
                <c:pt idx="3733">
                  <c:v>#N/A</c:v>
                </c:pt>
                <c:pt idx="3734">
                  <c:v>#N/A</c:v>
                </c:pt>
                <c:pt idx="3735">
                  <c:v>#N/A</c:v>
                </c:pt>
                <c:pt idx="3736">
                  <c:v>#N/A</c:v>
                </c:pt>
                <c:pt idx="3737">
                  <c:v>#N/A</c:v>
                </c:pt>
                <c:pt idx="3738">
                  <c:v>#N/A</c:v>
                </c:pt>
                <c:pt idx="3739">
                  <c:v>#N/A</c:v>
                </c:pt>
                <c:pt idx="3740">
                  <c:v>#N/A</c:v>
                </c:pt>
                <c:pt idx="3741">
                  <c:v>#N/A</c:v>
                </c:pt>
                <c:pt idx="3742">
                  <c:v>#N/A</c:v>
                </c:pt>
                <c:pt idx="3743">
                  <c:v>#N/A</c:v>
                </c:pt>
                <c:pt idx="3744">
                  <c:v>#N/A</c:v>
                </c:pt>
                <c:pt idx="3745">
                  <c:v>#N/A</c:v>
                </c:pt>
                <c:pt idx="3746">
                  <c:v>#N/A</c:v>
                </c:pt>
                <c:pt idx="3747">
                  <c:v>#N/A</c:v>
                </c:pt>
                <c:pt idx="3748">
                  <c:v>#N/A</c:v>
                </c:pt>
                <c:pt idx="3749">
                  <c:v>#N/A</c:v>
                </c:pt>
                <c:pt idx="3750">
                  <c:v>#N/A</c:v>
                </c:pt>
                <c:pt idx="3751">
                  <c:v>#N/A</c:v>
                </c:pt>
                <c:pt idx="3752">
                  <c:v>#N/A</c:v>
                </c:pt>
                <c:pt idx="3753">
                  <c:v>#N/A</c:v>
                </c:pt>
                <c:pt idx="3754">
                  <c:v>#N/A</c:v>
                </c:pt>
                <c:pt idx="3755">
                  <c:v>#N/A</c:v>
                </c:pt>
                <c:pt idx="3756">
                  <c:v>#N/A</c:v>
                </c:pt>
                <c:pt idx="3757">
                  <c:v>#N/A</c:v>
                </c:pt>
                <c:pt idx="3758">
                  <c:v>1.4684931506849315</c:v>
                </c:pt>
                <c:pt idx="3759">
                  <c:v>#N/A</c:v>
                </c:pt>
                <c:pt idx="3760">
                  <c:v>#N/A</c:v>
                </c:pt>
                <c:pt idx="3761">
                  <c:v>#N/A</c:v>
                </c:pt>
                <c:pt idx="3762">
                  <c:v>#N/A</c:v>
                </c:pt>
                <c:pt idx="3763">
                  <c:v>#N/A</c:v>
                </c:pt>
                <c:pt idx="3764">
                  <c:v>#N/A</c:v>
                </c:pt>
                <c:pt idx="3765">
                  <c:v>#N/A</c:v>
                </c:pt>
                <c:pt idx="3766">
                  <c:v>#N/A</c:v>
                </c:pt>
                <c:pt idx="3767">
                  <c:v>#N/A</c:v>
                </c:pt>
                <c:pt idx="3768">
                  <c:v>#N/A</c:v>
                </c:pt>
                <c:pt idx="3769">
                  <c:v>#N/A</c:v>
                </c:pt>
                <c:pt idx="3770">
                  <c:v>#N/A</c:v>
                </c:pt>
                <c:pt idx="3771">
                  <c:v>#N/A</c:v>
                </c:pt>
                <c:pt idx="3772">
                  <c:v>#N/A</c:v>
                </c:pt>
                <c:pt idx="3773">
                  <c:v>#N/A</c:v>
                </c:pt>
                <c:pt idx="3774">
                  <c:v>#N/A</c:v>
                </c:pt>
                <c:pt idx="3775">
                  <c:v>#N/A</c:v>
                </c:pt>
                <c:pt idx="3776">
                  <c:v>#N/A</c:v>
                </c:pt>
                <c:pt idx="3777">
                  <c:v>#N/A</c:v>
                </c:pt>
                <c:pt idx="3778">
                  <c:v>#N/A</c:v>
                </c:pt>
                <c:pt idx="3779">
                  <c:v>#N/A</c:v>
                </c:pt>
                <c:pt idx="3780">
                  <c:v>#N/A</c:v>
                </c:pt>
                <c:pt idx="3781">
                  <c:v>#N/A</c:v>
                </c:pt>
                <c:pt idx="3782">
                  <c:v>#N/A</c:v>
                </c:pt>
                <c:pt idx="3783">
                  <c:v>#N/A</c:v>
                </c:pt>
                <c:pt idx="3784">
                  <c:v>#N/A</c:v>
                </c:pt>
                <c:pt idx="3785">
                  <c:v>#N/A</c:v>
                </c:pt>
                <c:pt idx="3786">
                  <c:v>#N/A</c:v>
                </c:pt>
                <c:pt idx="3787">
                  <c:v>#N/A</c:v>
                </c:pt>
                <c:pt idx="3788">
                  <c:v>#N/A</c:v>
                </c:pt>
                <c:pt idx="3789">
                  <c:v>#N/A</c:v>
                </c:pt>
                <c:pt idx="3790">
                  <c:v>#N/A</c:v>
                </c:pt>
                <c:pt idx="3791">
                  <c:v>#N/A</c:v>
                </c:pt>
                <c:pt idx="3792">
                  <c:v>#N/A</c:v>
                </c:pt>
                <c:pt idx="3793">
                  <c:v>#N/A</c:v>
                </c:pt>
                <c:pt idx="3794">
                  <c:v>#N/A</c:v>
                </c:pt>
                <c:pt idx="3795">
                  <c:v>#N/A</c:v>
                </c:pt>
                <c:pt idx="3796">
                  <c:v>#N/A</c:v>
                </c:pt>
                <c:pt idx="3797">
                  <c:v>#N/A</c:v>
                </c:pt>
                <c:pt idx="3798">
                  <c:v>#N/A</c:v>
                </c:pt>
                <c:pt idx="3799">
                  <c:v>#N/A</c:v>
                </c:pt>
                <c:pt idx="3800">
                  <c:v>#N/A</c:v>
                </c:pt>
                <c:pt idx="3801">
                  <c:v>#N/A</c:v>
                </c:pt>
                <c:pt idx="3802">
                  <c:v>#N/A</c:v>
                </c:pt>
                <c:pt idx="3803">
                  <c:v>#N/A</c:v>
                </c:pt>
                <c:pt idx="3804">
                  <c:v>#N/A</c:v>
                </c:pt>
                <c:pt idx="3805">
                  <c:v>#N/A</c:v>
                </c:pt>
                <c:pt idx="3806">
                  <c:v>#N/A</c:v>
                </c:pt>
                <c:pt idx="3807">
                  <c:v>#N/A</c:v>
                </c:pt>
                <c:pt idx="3808">
                  <c:v>#N/A</c:v>
                </c:pt>
                <c:pt idx="3809">
                  <c:v>#N/A</c:v>
                </c:pt>
                <c:pt idx="3810">
                  <c:v>#N/A</c:v>
                </c:pt>
                <c:pt idx="3811">
                  <c:v>#N/A</c:v>
                </c:pt>
                <c:pt idx="3812">
                  <c:v>#N/A</c:v>
                </c:pt>
                <c:pt idx="3813">
                  <c:v>#N/A</c:v>
                </c:pt>
                <c:pt idx="3814">
                  <c:v>#N/A</c:v>
                </c:pt>
                <c:pt idx="3815">
                  <c:v>#N/A</c:v>
                </c:pt>
                <c:pt idx="3816">
                  <c:v>1.4684931506849315</c:v>
                </c:pt>
                <c:pt idx="3817">
                  <c:v>#N/A</c:v>
                </c:pt>
                <c:pt idx="3818">
                  <c:v>#N/A</c:v>
                </c:pt>
                <c:pt idx="3819">
                  <c:v>#N/A</c:v>
                </c:pt>
                <c:pt idx="3820">
                  <c:v>#N/A</c:v>
                </c:pt>
                <c:pt idx="3821">
                  <c:v>#N/A</c:v>
                </c:pt>
                <c:pt idx="3822">
                  <c:v>#N/A</c:v>
                </c:pt>
                <c:pt idx="3823">
                  <c:v>#N/A</c:v>
                </c:pt>
                <c:pt idx="3824">
                  <c:v>#N/A</c:v>
                </c:pt>
                <c:pt idx="3825">
                  <c:v>#N/A</c:v>
                </c:pt>
                <c:pt idx="3826">
                  <c:v>#N/A</c:v>
                </c:pt>
                <c:pt idx="3827">
                  <c:v>#N/A</c:v>
                </c:pt>
                <c:pt idx="3828">
                  <c:v>#N/A</c:v>
                </c:pt>
                <c:pt idx="3829">
                  <c:v>#N/A</c:v>
                </c:pt>
                <c:pt idx="3830">
                  <c:v>#N/A</c:v>
                </c:pt>
                <c:pt idx="3831">
                  <c:v>#N/A</c:v>
                </c:pt>
                <c:pt idx="3832">
                  <c:v>#N/A</c:v>
                </c:pt>
                <c:pt idx="3833">
                  <c:v>#N/A</c:v>
                </c:pt>
                <c:pt idx="3834">
                  <c:v>#N/A</c:v>
                </c:pt>
                <c:pt idx="3835">
                  <c:v>#N/A</c:v>
                </c:pt>
                <c:pt idx="3836">
                  <c:v>#N/A</c:v>
                </c:pt>
                <c:pt idx="3837">
                  <c:v>#N/A</c:v>
                </c:pt>
                <c:pt idx="3838">
                  <c:v>#N/A</c:v>
                </c:pt>
                <c:pt idx="3839">
                  <c:v>#N/A</c:v>
                </c:pt>
                <c:pt idx="3840">
                  <c:v>#N/A</c:v>
                </c:pt>
                <c:pt idx="3841">
                  <c:v>#N/A</c:v>
                </c:pt>
                <c:pt idx="3842">
                  <c:v>1.4684931506849315</c:v>
                </c:pt>
                <c:pt idx="3843">
                  <c:v>#N/A</c:v>
                </c:pt>
                <c:pt idx="3844">
                  <c:v>1.4684931506849315</c:v>
                </c:pt>
                <c:pt idx="3845">
                  <c:v>#N/A</c:v>
                </c:pt>
                <c:pt idx="3846">
                  <c:v>#N/A</c:v>
                </c:pt>
                <c:pt idx="3847">
                  <c:v>#N/A</c:v>
                </c:pt>
                <c:pt idx="3848">
                  <c:v>#N/A</c:v>
                </c:pt>
                <c:pt idx="3849">
                  <c:v>#N/A</c:v>
                </c:pt>
                <c:pt idx="3850">
                  <c:v>#N/A</c:v>
                </c:pt>
                <c:pt idx="3851">
                  <c:v>#N/A</c:v>
                </c:pt>
                <c:pt idx="3852">
                  <c:v>#N/A</c:v>
                </c:pt>
                <c:pt idx="3853">
                  <c:v>#N/A</c:v>
                </c:pt>
                <c:pt idx="3854">
                  <c:v>#N/A</c:v>
                </c:pt>
                <c:pt idx="3855">
                  <c:v>#N/A</c:v>
                </c:pt>
                <c:pt idx="3856">
                  <c:v>#N/A</c:v>
                </c:pt>
                <c:pt idx="3857">
                  <c:v>#N/A</c:v>
                </c:pt>
                <c:pt idx="3858">
                  <c:v>#N/A</c:v>
                </c:pt>
                <c:pt idx="3859">
                  <c:v>#N/A</c:v>
                </c:pt>
                <c:pt idx="3860">
                  <c:v>#N/A</c:v>
                </c:pt>
                <c:pt idx="3861">
                  <c:v>#N/A</c:v>
                </c:pt>
                <c:pt idx="3862">
                  <c:v>#N/A</c:v>
                </c:pt>
                <c:pt idx="3863">
                  <c:v>#N/A</c:v>
                </c:pt>
                <c:pt idx="3864">
                  <c:v>#N/A</c:v>
                </c:pt>
                <c:pt idx="3865">
                  <c:v>#N/A</c:v>
                </c:pt>
                <c:pt idx="3866">
                  <c:v>#N/A</c:v>
                </c:pt>
                <c:pt idx="3867">
                  <c:v>#N/A</c:v>
                </c:pt>
                <c:pt idx="3868">
                  <c:v>#N/A</c:v>
                </c:pt>
                <c:pt idx="3869">
                  <c:v>#N/A</c:v>
                </c:pt>
                <c:pt idx="3870">
                  <c:v>#N/A</c:v>
                </c:pt>
                <c:pt idx="3871">
                  <c:v>#N/A</c:v>
                </c:pt>
                <c:pt idx="3872">
                  <c:v>#N/A</c:v>
                </c:pt>
                <c:pt idx="3873">
                  <c:v>#N/A</c:v>
                </c:pt>
                <c:pt idx="3874">
                  <c:v>#N/A</c:v>
                </c:pt>
                <c:pt idx="3875">
                  <c:v>#N/A</c:v>
                </c:pt>
                <c:pt idx="3876">
                  <c:v>#N/A</c:v>
                </c:pt>
                <c:pt idx="3877">
                  <c:v>#N/A</c:v>
                </c:pt>
                <c:pt idx="3878">
                  <c:v>#N/A</c:v>
                </c:pt>
                <c:pt idx="3879">
                  <c:v>#N/A</c:v>
                </c:pt>
                <c:pt idx="3880">
                  <c:v>#N/A</c:v>
                </c:pt>
                <c:pt idx="3881">
                  <c:v>#N/A</c:v>
                </c:pt>
                <c:pt idx="3882">
                  <c:v>#N/A</c:v>
                </c:pt>
                <c:pt idx="3883">
                  <c:v>#N/A</c:v>
                </c:pt>
                <c:pt idx="3884">
                  <c:v>#N/A</c:v>
                </c:pt>
                <c:pt idx="3885">
                  <c:v>#N/A</c:v>
                </c:pt>
                <c:pt idx="3886">
                  <c:v>#N/A</c:v>
                </c:pt>
                <c:pt idx="3887">
                  <c:v>#N/A</c:v>
                </c:pt>
                <c:pt idx="3888">
                  <c:v>#N/A</c:v>
                </c:pt>
                <c:pt idx="3889">
                  <c:v>#N/A</c:v>
                </c:pt>
                <c:pt idx="3890">
                  <c:v>#N/A</c:v>
                </c:pt>
                <c:pt idx="3891">
                  <c:v>#N/A</c:v>
                </c:pt>
                <c:pt idx="3892">
                  <c:v>#N/A</c:v>
                </c:pt>
                <c:pt idx="3893">
                  <c:v>#N/A</c:v>
                </c:pt>
                <c:pt idx="3894">
                  <c:v>#N/A</c:v>
                </c:pt>
                <c:pt idx="3895">
                  <c:v>#N/A</c:v>
                </c:pt>
                <c:pt idx="3896">
                  <c:v>#N/A</c:v>
                </c:pt>
                <c:pt idx="3897">
                  <c:v>#N/A</c:v>
                </c:pt>
                <c:pt idx="3898">
                  <c:v>#N/A</c:v>
                </c:pt>
                <c:pt idx="3899">
                  <c:v>#N/A</c:v>
                </c:pt>
                <c:pt idx="3900">
                  <c:v>#N/A</c:v>
                </c:pt>
                <c:pt idx="3901">
                  <c:v>#N/A</c:v>
                </c:pt>
                <c:pt idx="3902">
                  <c:v>#N/A</c:v>
                </c:pt>
                <c:pt idx="3903">
                  <c:v>#N/A</c:v>
                </c:pt>
                <c:pt idx="3904">
                  <c:v>#N/A</c:v>
                </c:pt>
                <c:pt idx="3905">
                  <c:v>#N/A</c:v>
                </c:pt>
                <c:pt idx="3906">
                  <c:v>#N/A</c:v>
                </c:pt>
                <c:pt idx="3907">
                  <c:v>#N/A</c:v>
                </c:pt>
                <c:pt idx="3908">
                  <c:v>#N/A</c:v>
                </c:pt>
                <c:pt idx="3909">
                  <c:v>#N/A</c:v>
                </c:pt>
                <c:pt idx="3910">
                  <c:v>#N/A</c:v>
                </c:pt>
                <c:pt idx="3911">
                  <c:v>#N/A</c:v>
                </c:pt>
                <c:pt idx="3912">
                  <c:v>#N/A</c:v>
                </c:pt>
                <c:pt idx="3913">
                  <c:v>#N/A</c:v>
                </c:pt>
                <c:pt idx="3914">
                  <c:v>#N/A</c:v>
                </c:pt>
                <c:pt idx="3915">
                  <c:v>#N/A</c:v>
                </c:pt>
                <c:pt idx="3916">
                  <c:v>#N/A</c:v>
                </c:pt>
                <c:pt idx="3917">
                  <c:v>1.4712328767123288</c:v>
                </c:pt>
                <c:pt idx="3918">
                  <c:v>1.4712328767123288</c:v>
                </c:pt>
                <c:pt idx="3919">
                  <c:v>#N/A</c:v>
                </c:pt>
                <c:pt idx="3920">
                  <c:v>#N/A</c:v>
                </c:pt>
                <c:pt idx="3921">
                  <c:v>#N/A</c:v>
                </c:pt>
                <c:pt idx="3922">
                  <c:v>#N/A</c:v>
                </c:pt>
                <c:pt idx="3923">
                  <c:v>#N/A</c:v>
                </c:pt>
                <c:pt idx="3924">
                  <c:v>#N/A</c:v>
                </c:pt>
                <c:pt idx="3925">
                  <c:v>#N/A</c:v>
                </c:pt>
                <c:pt idx="3926">
                  <c:v>#N/A</c:v>
                </c:pt>
                <c:pt idx="3927">
                  <c:v>#N/A</c:v>
                </c:pt>
                <c:pt idx="3928">
                  <c:v>#N/A</c:v>
                </c:pt>
                <c:pt idx="3929">
                  <c:v>#N/A</c:v>
                </c:pt>
                <c:pt idx="3930">
                  <c:v>#N/A</c:v>
                </c:pt>
                <c:pt idx="3931">
                  <c:v>1.473972602739726</c:v>
                </c:pt>
                <c:pt idx="3932">
                  <c:v>#N/A</c:v>
                </c:pt>
                <c:pt idx="3933">
                  <c:v>#N/A</c:v>
                </c:pt>
                <c:pt idx="3934">
                  <c:v>#N/A</c:v>
                </c:pt>
                <c:pt idx="3935">
                  <c:v>1.4794520547945205</c:v>
                </c:pt>
                <c:pt idx="3936">
                  <c:v>#N/A</c:v>
                </c:pt>
                <c:pt idx="3937">
                  <c:v>#N/A</c:v>
                </c:pt>
                <c:pt idx="3938">
                  <c:v>#N/A</c:v>
                </c:pt>
                <c:pt idx="3939">
                  <c:v>#N/A</c:v>
                </c:pt>
                <c:pt idx="3940">
                  <c:v>#N/A</c:v>
                </c:pt>
                <c:pt idx="3941">
                  <c:v>#N/A</c:v>
                </c:pt>
                <c:pt idx="3942">
                  <c:v>#N/A</c:v>
                </c:pt>
                <c:pt idx="3943">
                  <c:v>#N/A</c:v>
                </c:pt>
                <c:pt idx="3944">
                  <c:v>#N/A</c:v>
                </c:pt>
                <c:pt idx="3945">
                  <c:v>#N/A</c:v>
                </c:pt>
                <c:pt idx="3946">
                  <c:v>#N/A</c:v>
                </c:pt>
                <c:pt idx="3947">
                  <c:v>#N/A</c:v>
                </c:pt>
                <c:pt idx="3948">
                  <c:v>#N/A</c:v>
                </c:pt>
                <c:pt idx="3949">
                  <c:v>#N/A</c:v>
                </c:pt>
                <c:pt idx="3950">
                  <c:v>#N/A</c:v>
                </c:pt>
                <c:pt idx="3951">
                  <c:v>#N/A</c:v>
                </c:pt>
                <c:pt idx="3952">
                  <c:v>#N/A</c:v>
                </c:pt>
                <c:pt idx="3953">
                  <c:v>#N/A</c:v>
                </c:pt>
                <c:pt idx="3954">
                  <c:v>#N/A</c:v>
                </c:pt>
                <c:pt idx="3955">
                  <c:v>#N/A</c:v>
                </c:pt>
                <c:pt idx="3956">
                  <c:v>#N/A</c:v>
                </c:pt>
                <c:pt idx="3957">
                  <c:v>#N/A</c:v>
                </c:pt>
                <c:pt idx="3958">
                  <c:v>1.5095890410958903</c:v>
                </c:pt>
                <c:pt idx="3959">
                  <c:v>#N/A</c:v>
                </c:pt>
                <c:pt idx="3960">
                  <c:v>1.5095890410958903</c:v>
                </c:pt>
                <c:pt idx="3961">
                  <c:v>#N/A</c:v>
                </c:pt>
                <c:pt idx="3962">
                  <c:v>#N/A</c:v>
                </c:pt>
                <c:pt idx="3963">
                  <c:v>#N/A</c:v>
                </c:pt>
                <c:pt idx="3964">
                  <c:v>#N/A</c:v>
                </c:pt>
                <c:pt idx="3965">
                  <c:v>#N/A</c:v>
                </c:pt>
                <c:pt idx="3966">
                  <c:v>#N/A</c:v>
                </c:pt>
                <c:pt idx="3967">
                  <c:v>#N/A</c:v>
                </c:pt>
                <c:pt idx="3968">
                  <c:v>#N/A</c:v>
                </c:pt>
                <c:pt idx="3969">
                  <c:v>#N/A</c:v>
                </c:pt>
                <c:pt idx="3970">
                  <c:v>#N/A</c:v>
                </c:pt>
                <c:pt idx="3971">
                  <c:v>#N/A</c:v>
                </c:pt>
                <c:pt idx="3972">
                  <c:v>#N/A</c:v>
                </c:pt>
                <c:pt idx="3973">
                  <c:v>#N/A</c:v>
                </c:pt>
                <c:pt idx="3974">
                  <c:v>1.515068493150685</c:v>
                </c:pt>
                <c:pt idx="3975">
                  <c:v>1.515068493150685</c:v>
                </c:pt>
                <c:pt idx="3976">
                  <c:v>#N/A</c:v>
                </c:pt>
                <c:pt idx="3977">
                  <c:v>#N/A</c:v>
                </c:pt>
                <c:pt idx="3978">
                  <c:v>#N/A</c:v>
                </c:pt>
                <c:pt idx="3979">
                  <c:v>#N/A</c:v>
                </c:pt>
                <c:pt idx="3980">
                  <c:v>#N/A</c:v>
                </c:pt>
                <c:pt idx="3981">
                  <c:v>#N/A</c:v>
                </c:pt>
                <c:pt idx="3982">
                  <c:v>#N/A</c:v>
                </c:pt>
                <c:pt idx="3983">
                  <c:v>#N/A</c:v>
                </c:pt>
                <c:pt idx="3984">
                  <c:v>#N/A</c:v>
                </c:pt>
                <c:pt idx="3985">
                  <c:v>#N/A</c:v>
                </c:pt>
                <c:pt idx="3986">
                  <c:v>#N/A</c:v>
                </c:pt>
                <c:pt idx="3987">
                  <c:v>#N/A</c:v>
                </c:pt>
                <c:pt idx="3988">
                  <c:v>#N/A</c:v>
                </c:pt>
                <c:pt idx="3989">
                  <c:v>#N/A</c:v>
                </c:pt>
                <c:pt idx="3990">
                  <c:v>#N/A</c:v>
                </c:pt>
                <c:pt idx="3991">
                  <c:v>#N/A</c:v>
                </c:pt>
                <c:pt idx="3992">
                  <c:v>#N/A</c:v>
                </c:pt>
                <c:pt idx="3993">
                  <c:v>#N/A</c:v>
                </c:pt>
                <c:pt idx="3994">
                  <c:v>#N/A</c:v>
                </c:pt>
                <c:pt idx="3995">
                  <c:v>#N/A</c:v>
                </c:pt>
                <c:pt idx="3996">
                  <c:v>#N/A</c:v>
                </c:pt>
                <c:pt idx="3997">
                  <c:v>#N/A</c:v>
                </c:pt>
                <c:pt idx="3998">
                  <c:v>#N/A</c:v>
                </c:pt>
                <c:pt idx="3999">
                  <c:v>#N/A</c:v>
                </c:pt>
                <c:pt idx="4000">
                  <c:v>#N/A</c:v>
                </c:pt>
                <c:pt idx="4001">
                  <c:v>#N/A</c:v>
                </c:pt>
                <c:pt idx="4002">
                  <c:v>#N/A</c:v>
                </c:pt>
                <c:pt idx="4003">
                  <c:v>#N/A</c:v>
                </c:pt>
                <c:pt idx="4004">
                  <c:v>#N/A</c:v>
                </c:pt>
                <c:pt idx="4005">
                  <c:v>#N/A</c:v>
                </c:pt>
                <c:pt idx="4006">
                  <c:v>#N/A</c:v>
                </c:pt>
                <c:pt idx="4007">
                  <c:v>#N/A</c:v>
                </c:pt>
                <c:pt idx="4008">
                  <c:v>#N/A</c:v>
                </c:pt>
                <c:pt idx="4009">
                  <c:v>#N/A</c:v>
                </c:pt>
                <c:pt idx="4010">
                  <c:v>#N/A</c:v>
                </c:pt>
                <c:pt idx="4011">
                  <c:v>#N/A</c:v>
                </c:pt>
                <c:pt idx="4012">
                  <c:v>#N/A</c:v>
                </c:pt>
                <c:pt idx="4013">
                  <c:v>1.5205479452054795</c:v>
                </c:pt>
                <c:pt idx="4014">
                  <c:v>#N/A</c:v>
                </c:pt>
                <c:pt idx="4015">
                  <c:v>#N/A</c:v>
                </c:pt>
                <c:pt idx="4016">
                  <c:v>#N/A</c:v>
                </c:pt>
                <c:pt idx="4017">
                  <c:v>#N/A</c:v>
                </c:pt>
                <c:pt idx="4018">
                  <c:v>#N/A</c:v>
                </c:pt>
                <c:pt idx="4019">
                  <c:v>#N/A</c:v>
                </c:pt>
                <c:pt idx="4020">
                  <c:v>#N/A</c:v>
                </c:pt>
                <c:pt idx="4021">
                  <c:v>#N/A</c:v>
                </c:pt>
                <c:pt idx="4022">
                  <c:v>#N/A</c:v>
                </c:pt>
                <c:pt idx="4023">
                  <c:v>#N/A</c:v>
                </c:pt>
                <c:pt idx="4024">
                  <c:v>#N/A</c:v>
                </c:pt>
                <c:pt idx="4025">
                  <c:v>#N/A</c:v>
                </c:pt>
                <c:pt idx="4026">
                  <c:v>#N/A</c:v>
                </c:pt>
                <c:pt idx="4027">
                  <c:v>#N/A</c:v>
                </c:pt>
                <c:pt idx="4028">
                  <c:v>#N/A</c:v>
                </c:pt>
                <c:pt idx="4029">
                  <c:v>#N/A</c:v>
                </c:pt>
                <c:pt idx="4030">
                  <c:v>#N/A</c:v>
                </c:pt>
                <c:pt idx="4031">
                  <c:v>1.5232876712328767</c:v>
                </c:pt>
                <c:pt idx="4032">
                  <c:v>#N/A</c:v>
                </c:pt>
                <c:pt idx="4033">
                  <c:v>#N/A</c:v>
                </c:pt>
                <c:pt idx="4034">
                  <c:v>#N/A</c:v>
                </c:pt>
                <c:pt idx="4035">
                  <c:v>#N/A</c:v>
                </c:pt>
                <c:pt idx="4036">
                  <c:v>#N/A</c:v>
                </c:pt>
                <c:pt idx="4037">
                  <c:v>#N/A</c:v>
                </c:pt>
                <c:pt idx="4038">
                  <c:v>#N/A</c:v>
                </c:pt>
                <c:pt idx="4039">
                  <c:v>#N/A</c:v>
                </c:pt>
                <c:pt idx="4040">
                  <c:v>#N/A</c:v>
                </c:pt>
                <c:pt idx="4041">
                  <c:v>#N/A</c:v>
                </c:pt>
                <c:pt idx="4042">
                  <c:v>#N/A</c:v>
                </c:pt>
                <c:pt idx="4043">
                  <c:v>#N/A</c:v>
                </c:pt>
                <c:pt idx="4044">
                  <c:v>#N/A</c:v>
                </c:pt>
                <c:pt idx="4045">
                  <c:v>#N/A</c:v>
                </c:pt>
                <c:pt idx="4046">
                  <c:v>#N/A</c:v>
                </c:pt>
                <c:pt idx="4047">
                  <c:v>#N/A</c:v>
                </c:pt>
                <c:pt idx="4048">
                  <c:v>#N/A</c:v>
                </c:pt>
                <c:pt idx="4049">
                  <c:v>#N/A</c:v>
                </c:pt>
                <c:pt idx="4050">
                  <c:v>#N/A</c:v>
                </c:pt>
                <c:pt idx="4051">
                  <c:v>#N/A</c:v>
                </c:pt>
                <c:pt idx="4052">
                  <c:v>#N/A</c:v>
                </c:pt>
                <c:pt idx="4053">
                  <c:v>#N/A</c:v>
                </c:pt>
                <c:pt idx="4054">
                  <c:v>#N/A</c:v>
                </c:pt>
                <c:pt idx="4055">
                  <c:v>#N/A</c:v>
                </c:pt>
                <c:pt idx="4056">
                  <c:v>#N/A</c:v>
                </c:pt>
                <c:pt idx="4057">
                  <c:v>#N/A</c:v>
                </c:pt>
                <c:pt idx="4058">
                  <c:v>1.5342465753424657</c:v>
                </c:pt>
                <c:pt idx="4059">
                  <c:v>#N/A</c:v>
                </c:pt>
                <c:pt idx="4060">
                  <c:v>#N/A</c:v>
                </c:pt>
                <c:pt idx="4061">
                  <c:v>#N/A</c:v>
                </c:pt>
                <c:pt idx="4062">
                  <c:v>#N/A</c:v>
                </c:pt>
                <c:pt idx="4063">
                  <c:v>#N/A</c:v>
                </c:pt>
                <c:pt idx="4064">
                  <c:v>1.536986301369863</c:v>
                </c:pt>
                <c:pt idx="4065">
                  <c:v>#N/A</c:v>
                </c:pt>
                <c:pt idx="4066">
                  <c:v>#N/A</c:v>
                </c:pt>
                <c:pt idx="4067">
                  <c:v>1.5506849315068494</c:v>
                </c:pt>
                <c:pt idx="4068">
                  <c:v>#N/A</c:v>
                </c:pt>
                <c:pt idx="4069">
                  <c:v>1.5561643835616439</c:v>
                </c:pt>
                <c:pt idx="4070">
                  <c:v>#N/A</c:v>
                </c:pt>
                <c:pt idx="4071">
                  <c:v>#N/A</c:v>
                </c:pt>
                <c:pt idx="4072">
                  <c:v>1.5561643835616439</c:v>
                </c:pt>
                <c:pt idx="4073">
                  <c:v>1.5561643835616439</c:v>
                </c:pt>
                <c:pt idx="4074">
                  <c:v>#N/A</c:v>
                </c:pt>
                <c:pt idx="4075">
                  <c:v>#N/A</c:v>
                </c:pt>
                <c:pt idx="4076">
                  <c:v>#N/A</c:v>
                </c:pt>
                <c:pt idx="4077">
                  <c:v>#N/A</c:v>
                </c:pt>
                <c:pt idx="4078">
                  <c:v>#N/A</c:v>
                </c:pt>
                <c:pt idx="4079">
                  <c:v>#N/A</c:v>
                </c:pt>
                <c:pt idx="4080">
                  <c:v>#N/A</c:v>
                </c:pt>
                <c:pt idx="4081">
                  <c:v>#N/A</c:v>
                </c:pt>
                <c:pt idx="4082">
                  <c:v>#N/A</c:v>
                </c:pt>
                <c:pt idx="4083">
                  <c:v>#N/A</c:v>
                </c:pt>
                <c:pt idx="4084">
                  <c:v>#N/A</c:v>
                </c:pt>
                <c:pt idx="4085">
                  <c:v>#N/A</c:v>
                </c:pt>
                <c:pt idx="4086">
                  <c:v>#N/A</c:v>
                </c:pt>
                <c:pt idx="4087">
                  <c:v>1.558904109589041</c:v>
                </c:pt>
                <c:pt idx="4088">
                  <c:v>#N/A</c:v>
                </c:pt>
                <c:pt idx="4089">
                  <c:v>#N/A</c:v>
                </c:pt>
                <c:pt idx="4090">
                  <c:v>#N/A</c:v>
                </c:pt>
                <c:pt idx="4091">
                  <c:v>#N/A</c:v>
                </c:pt>
                <c:pt idx="4092">
                  <c:v>#N/A</c:v>
                </c:pt>
                <c:pt idx="4093">
                  <c:v>#N/A</c:v>
                </c:pt>
                <c:pt idx="4094">
                  <c:v>#N/A</c:v>
                </c:pt>
                <c:pt idx="4095">
                  <c:v>#N/A</c:v>
                </c:pt>
                <c:pt idx="4096">
                  <c:v>1.558904109589041</c:v>
                </c:pt>
                <c:pt idx="4097">
                  <c:v>#N/A</c:v>
                </c:pt>
                <c:pt idx="4098">
                  <c:v>#N/A</c:v>
                </c:pt>
                <c:pt idx="4099">
                  <c:v>#N/A</c:v>
                </c:pt>
                <c:pt idx="4100">
                  <c:v>1.5671232876712329</c:v>
                </c:pt>
                <c:pt idx="4101">
                  <c:v>#N/A</c:v>
                </c:pt>
                <c:pt idx="4102">
                  <c:v>#N/A</c:v>
                </c:pt>
                <c:pt idx="4103">
                  <c:v>#N/A</c:v>
                </c:pt>
                <c:pt idx="4104">
                  <c:v>#N/A</c:v>
                </c:pt>
                <c:pt idx="4105">
                  <c:v>#N/A</c:v>
                </c:pt>
                <c:pt idx="4106">
                  <c:v>#N/A</c:v>
                </c:pt>
                <c:pt idx="4107">
                  <c:v>#N/A</c:v>
                </c:pt>
                <c:pt idx="4108">
                  <c:v>#N/A</c:v>
                </c:pt>
                <c:pt idx="4109">
                  <c:v>#N/A</c:v>
                </c:pt>
                <c:pt idx="4110">
                  <c:v>#N/A</c:v>
                </c:pt>
                <c:pt idx="4111">
                  <c:v>#N/A</c:v>
                </c:pt>
                <c:pt idx="4112">
                  <c:v>#N/A</c:v>
                </c:pt>
                <c:pt idx="4113">
                  <c:v>#N/A</c:v>
                </c:pt>
                <c:pt idx="4114">
                  <c:v>#N/A</c:v>
                </c:pt>
                <c:pt idx="4115">
                  <c:v>#N/A</c:v>
                </c:pt>
                <c:pt idx="4116">
                  <c:v>#N/A</c:v>
                </c:pt>
                <c:pt idx="4117">
                  <c:v>#N/A</c:v>
                </c:pt>
                <c:pt idx="4118">
                  <c:v>#N/A</c:v>
                </c:pt>
                <c:pt idx="4119">
                  <c:v>#N/A</c:v>
                </c:pt>
                <c:pt idx="4120">
                  <c:v>#N/A</c:v>
                </c:pt>
                <c:pt idx="4121">
                  <c:v>#N/A</c:v>
                </c:pt>
                <c:pt idx="4122">
                  <c:v>#N/A</c:v>
                </c:pt>
                <c:pt idx="4123">
                  <c:v>1.5698630136986302</c:v>
                </c:pt>
                <c:pt idx="4124">
                  <c:v>#N/A</c:v>
                </c:pt>
                <c:pt idx="4125">
                  <c:v>#N/A</c:v>
                </c:pt>
                <c:pt idx="4126">
                  <c:v>#N/A</c:v>
                </c:pt>
                <c:pt idx="4127">
                  <c:v>#N/A</c:v>
                </c:pt>
                <c:pt idx="4128">
                  <c:v>#N/A</c:v>
                </c:pt>
                <c:pt idx="4129">
                  <c:v>#N/A</c:v>
                </c:pt>
                <c:pt idx="4130">
                  <c:v>#N/A</c:v>
                </c:pt>
                <c:pt idx="4131">
                  <c:v>#N/A</c:v>
                </c:pt>
                <c:pt idx="4132">
                  <c:v>#N/A</c:v>
                </c:pt>
                <c:pt idx="4133">
                  <c:v>#N/A</c:v>
                </c:pt>
                <c:pt idx="4134">
                  <c:v>#N/A</c:v>
                </c:pt>
                <c:pt idx="4135">
                  <c:v>#N/A</c:v>
                </c:pt>
                <c:pt idx="4136">
                  <c:v>#N/A</c:v>
                </c:pt>
                <c:pt idx="4137">
                  <c:v>#N/A</c:v>
                </c:pt>
                <c:pt idx="4138">
                  <c:v>#N/A</c:v>
                </c:pt>
                <c:pt idx="4139">
                  <c:v>#N/A</c:v>
                </c:pt>
                <c:pt idx="4140">
                  <c:v>#N/A</c:v>
                </c:pt>
                <c:pt idx="4141">
                  <c:v>#N/A</c:v>
                </c:pt>
                <c:pt idx="4142">
                  <c:v>#N/A</c:v>
                </c:pt>
                <c:pt idx="4143">
                  <c:v>#N/A</c:v>
                </c:pt>
                <c:pt idx="4144">
                  <c:v>#N/A</c:v>
                </c:pt>
                <c:pt idx="4145">
                  <c:v>#N/A</c:v>
                </c:pt>
                <c:pt idx="4146">
                  <c:v>#N/A</c:v>
                </c:pt>
                <c:pt idx="4147">
                  <c:v>1.5780821917808219</c:v>
                </c:pt>
                <c:pt idx="4148">
                  <c:v>#N/A</c:v>
                </c:pt>
                <c:pt idx="4149">
                  <c:v>#N/A</c:v>
                </c:pt>
                <c:pt idx="4150">
                  <c:v>#N/A</c:v>
                </c:pt>
                <c:pt idx="4151">
                  <c:v>#N/A</c:v>
                </c:pt>
                <c:pt idx="4152">
                  <c:v>1.5835616438356164</c:v>
                </c:pt>
                <c:pt idx="4153">
                  <c:v>1.5835616438356164</c:v>
                </c:pt>
                <c:pt idx="4154">
                  <c:v>#N/A</c:v>
                </c:pt>
                <c:pt idx="4155">
                  <c:v>1.5835616438356164</c:v>
                </c:pt>
                <c:pt idx="4156">
                  <c:v>#N/A</c:v>
                </c:pt>
                <c:pt idx="4157">
                  <c:v>#N/A</c:v>
                </c:pt>
                <c:pt idx="4158">
                  <c:v>1.5863013698630137</c:v>
                </c:pt>
                <c:pt idx="4159">
                  <c:v>1.5863013698630137</c:v>
                </c:pt>
                <c:pt idx="4160">
                  <c:v>#N/A</c:v>
                </c:pt>
                <c:pt idx="4161">
                  <c:v>1.5863013698630137</c:v>
                </c:pt>
                <c:pt idx="4162">
                  <c:v>1.5863013698630137</c:v>
                </c:pt>
                <c:pt idx="4163">
                  <c:v>1.5863013698630137</c:v>
                </c:pt>
                <c:pt idx="4164">
                  <c:v>1.5863013698630137</c:v>
                </c:pt>
                <c:pt idx="4165">
                  <c:v>#N/A</c:v>
                </c:pt>
                <c:pt idx="4166">
                  <c:v>#N/A</c:v>
                </c:pt>
                <c:pt idx="4167">
                  <c:v>1.5863013698630137</c:v>
                </c:pt>
                <c:pt idx="4168">
                  <c:v>#N/A</c:v>
                </c:pt>
                <c:pt idx="4169">
                  <c:v>1.5863013698630137</c:v>
                </c:pt>
                <c:pt idx="4170">
                  <c:v>#N/A</c:v>
                </c:pt>
                <c:pt idx="4171">
                  <c:v>#N/A</c:v>
                </c:pt>
                <c:pt idx="4172">
                  <c:v>#N/A</c:v>
                </c:pt>
                <c:pt idx="4173">
                  <c:v>#N/A</c:v>
                </c:pt>
                <c:pt idx="4174">
                  <c:v>#N/A</c:v>
                </c:pt>
                <c:pt idx="4175">
                  <c:v>#N/A</c:v>
                </c:pt>
                <c:pt idx="4176">
                  <c:v>#N/A</c:v>
                </c:pt>
                <c:pt idx="4177">
                  <c:v>#N/A</c:v>
                </c:pt>
                <c:pt idx="4178">
                  <c:v>#N/A</c:v>
                </c:pt>
                <c:pt idx="4179">
                  <c:v>#N/A</c:v>
                </c:pt>
                <c:pt idx="4180">
                  <c:v>#N/A</c:v>
                </c:pt>
                <c:pt idx="4181">
                  <c:v>#N/A</c:v>
                </c:pt>
                <c:pt idx="4182">
                  <c:v>#N/A</c:v>
                </c:pt>
                <c:pt idx="4183">
                  <c:v>#N/A</c:v>
                </c:pt>
                <c:pt idx="4184">
                  <c:v>#N/A</c:v>
                </c:pt>
                <c:pt idx="4185">
                  <c:v>#N/A</c:v>
                </c:pt>
                <c:pt idx="4186">
                  <c:v>#N/A</c:v>
                </c:pt>
                <c:pt idx="4187">
                  <c:v>#N/A</c:v>
                </c:pt>
                <c:pt idx="4188">
                  <c:v>#N/A</c:v>
                </c:pt>
                <c:pt idx="4189">
                  <c:v>#N/A</c:v>
                </c:pt>
                <c:pt idx="4190">
                  <c:v>#N/A</c:v>
                </c:pt>
                <c:pt idx="4191">
                  <c:v>#N/A</c:v>
                </c:pt>
                <c:pt idx="4192">
                  <c:v>#N/A</c:v>
                </c:pt>
                <c:pt idx="4193">
                  <c:v>#N/A</c:v>
                </c:pt>
                <c:pt idx="4194">
                  <c:v>#N/A</c:v>
                </c:pt>
                <c:pt idx="4195">
                  <c:v>#N/A</c:v>
                </c:pt>
                <c:pt idx="4196">
                  <c:v>#N/A</c:v>
                </c:pt>
                <c:pt idx="4197">
                  <c:v>#N/A</c:v>
                </c:pt>
                <c:pt idx="4198">
                  <c:v>#N/A</c:v>
                </c:pt>
                <c:pt idx="4199">
                  <c:v>#N/A</c:v>
                </c:pt>
                <c:pt idx="4200">
                  <c:v>#N/A</c:v>
                </c:pt>
                <c:pt idx="4201">
                  <c:v>#N/A</c:v>
                </c:pt>
                <c:pt idx="4202">
                  <c:v>#N/A</c:v>
                </c:pt>
                <c:pt idx="4203">
                  <c:v>#N/A</c:v>
                </c:pt>
                <c:pt idx="4204">
                  <c:v>#N/A</c:v>
                </c:pt>
                <c:pt idx="4205">
                  <c:v>#N/A</c:v>
                </c:pt>
                <c:pt idx="4206">
                  <c:v>#N/A</c:v>
                </c:pt>
                <c:pt idx="4207">
                  <c:v>#N/A</c:v>
                </c:pt>
                <c:pt idx="4208">
                  <c:v>#N/A</c:v>
                </c:pt>
                <c:pt idx="4209">
                  <c:v>#N/A</c:v>
                </c:pt>
                <c:pt idx="4210">
                  <c:v>#N/A</c:v>
                </c:pt>
                <c:pt idx="4211">
                  <c:v>#N/A</c:v>
                </c:pt>
                <c:pt idx="4212">
                  <c:v>#N/A</c:v>
                </c:pt>
                <c:pt idx="4213">
                  <c:v>#N/A</c:v>
                </c:pt>
                <c:pt idx="4214">
                  <c:v>#N/A</c:v>
                </c:pt>
                <c:pt idx="4215">
                  <c:v>#N/A</c:v>
                </c:pt>
                <c:pt idx="4216">
                  <c:v>#N/A</c:v>
                </c:pt>
                <c:pt idx="4217">
                  <c:v>#N/A</c:v>
                </c:pt>
                <c:pt idx="4218">
                  <c:v>#N/A</c:v>
                </c:pt>
                <c:pt idx="4219">
                  <c:v>#N/A</c:v>
                </c:pt>
                <c:pt idx="4220">
                  <c:v>#N/A</c:v>
                </c:pt>
                <c:pt idx="4221">
                  <c:v>1.5945205479452054</c:v>
                </c:pt>
                <c:pt idx="4222">
                  <c:v>#N/A</c:v>
                </c:pt>
                <c:pt idx="4223">
                  <c:v>#N/A</c:v>
                </c:pt>
                <c:pt idx="4224">
                  <c:v>#N/A</c:v>
                </c:pt>
                <c:pt idx="4225">
                  <c:v>#N/A</c:v>
                </c:pt>
                <c:pt idx="4226">
                  <c:v>#N/A</c:v>
                </c:pt>
                <c:pt idx="4227">
                  <c:v>#N/A</c:v>
                </c:pt>
                <c:pt idx="4228">
                  <c:v>#N/A</c:v>
                </c:pt>
                <c:pt idx="4229">
                  <c:v>#N/A</c:v>
                </c:pt>
                <c:pt idx="4230">
                  <c:v>#N/A</c:v>
                </c:pt>
                <c:pt idx="4231">
                  <c:v>#N/A</c:v>
                </c:pt>
                <c:pt idx="4232">
                  <c:v>#N/A</c:v>
                </c:pt>
                <c:pt idx="4233">
                  <c:v>#N/A</c:v>
                </c:pt>
                <c:pt idx="4234">
                  <c:v>#N/A</c:v>
                </c:pt>
                <c:pt idx="4235">
                  <c:v>#N/A</c:v>
                </c:pt>
                <c:pt idx="4236">
                  <c:v>1.6</c:v>
                </c:pt>
                <c:pt idx="4237">
                  <c:v>#N/A</c:v>
                </c:pt>
                <c:pt idx="4238">
                  <c:v>#N/A</c:v>
                </c:pt>
                <c:pt idx="4239">
                  <c:v>1.6054794520547946</c:v>
                </c:pt>
                <c:pt idx="4240">
                  <c:v>#N/A</c:v>
                </c:pt>
                <c:pt idx="4241">
                  <c:v>#N/A</c:v>
                </c:pt>
                <c:pt idx="4242">
                  <c:v>#N/A</c:v>
                </c:pt>
                <c:pt idx="4243">
                  <c:v>#N/A</c:v>
                </c:pt>
                <c:pt idx="4244">
                  <c:v>1.6054794520547946</c:v>
                </c:pt>
                <c:pt idx="4245">
                  <c:v>#N/A</c:v>
                </c:pt>
                <c:pt idx="4246">
                  <c:v>#N/A</c:v>
                </c:pt>
                <c:pt idx="4247">
                  <c:v>#N/A</c:v>
                </c:pt>
                <c:pt idx="4248">
                  <c:v>#N/A</c:v>
                </c:pt>
                <c:pt idx="4249">
                  <c:v>1.6054794520547946</c:v>
                </c:pt>
                <c:pt idx="4250">
                  <c:v>#N/A</c:v>
                </c:pt>
                <c:pt idx="4251">
                  <c:v>#N/A</c:v>
                </c:pt>
                <c:pt idx="4252">
                  <c:v>#N/A</c:v>
                </c:pt>
                <c:pt idx="4253">
                  <c:v>#N/A</c:v>
                </c:pt>
                <c:pt idx="4254">
                  <c:v>#N/A</c:v>
                </c:pt>
                <c:pt idx="4255">
                  <c:v>#N/A</c:v>
                </c:pt>
                <c:pt idx="4256">
                  <c:v>#N/A</c:v>
                </c:pt>
                <c:pt idx="4257">
                  <c:v>#N/A</c:v>
                </c:pt>
                <c:pt idx="4258">
                  <c:v>#N/A</c:v>
                </c:pt>
                <c:pt idx="4259">
                  <c:v>#N/A</c:v>
                </c:pt>
                <c:pt idx="4260">
                  <c:v>#N/A</c:v>
                </c:pt>
                <c:pt idx="4261">
                  <c:v>#N/A</c:v>
                </c:pt>
                <c:pt idx="4262">
                  <c:v>#N/A</c:v>
                </c:pt>
                <c:pt idx="4263">
                  <c:v>#N/A</c:v>
                </c:pt>
                <c:pt idx="4264">
                  <c:v>#N/A</c:v>
                </c:pt>
                <c:pt idx="4265">
                  <c:v>#N/A</c:v>
                </c:pt>
                <c:pt idx="4266">
                  <c:v>#N/A</c:v>
                </c:pt>
                <c:pt idx="4267">
                  <c:v>#N/A</c:v>
                </c:pt>
                <c:pt idx="4268">
                  <c:v>#N/A</c:v>
                </c:pt>
                <c:pt idx="4269">
                  <c:v>#N/A</c:v>
                </c:pt>
                <c:pt idx="4270">
                  <c:v>#N/A</c:v>
                </c:pt>
                <c:pt idx="4271">
                  <c:v>#N/A</c:v>
                </c:pt>
                <c:pt idx="4272">
                  <c:v>#N/A</c:v>
                </c:pt>
                <c:pt idx="4273">
                  <c:v>#N/A</c:v>
                </c:pt>
                <c:pt idx="4274">
                  <c:v>#N/A</c:v>
                </c:pt>
                <c:pt idx="4275">
                  <c:v>#N/A</c:v>
                </c:pt>
                <c:pt idx="4276">
                  <c:v>#N/A</c:v>
                </c:pt>
                <c:pt idx="4277">
                  <c:v>#N/A</c:v>
                </c:pt>
                <c:pt idx="4278">
                  <c:v>#N/A</c:v>
                </c:pt>
                <c:pt idx="4279">
                  <c:v>#N/A</c:v>
                </c:pt>
                <c:pt idx="4280">
                  <c:v>#N/A</c:v>
                </c:pt>
                <c:pt idx="4281">
                  <c:v>1.6164383561643836</c:v>
                </c:pt>
                <c:pt idx="4282">
                  <c:v>#N/A</c:v>
                </c:pt>
                <c:pt idx="4283">
                  <c:v>#N/A</c:v>
                </c:pt>
                <c:pt idx="4284">
                  <c:v>#N/A</c:v>
                </c:pt>
                <c:pt idx="4285">
                  <c:v>#N/A</c:v>
                </c:pt>
                <c:pt idx="4286">
                  <c:v>#N/A</c:v>
                </c:pt>
                <c:pt idx="4287">
                  <c:v>#N/A</c:v>
                </c:pt>
                <c:pt idx="4288">
                  <c:v>#N/A</c:v>
                </c:pt>
                <c:pt idx="4289">
                  <c:v>1.6164383561643836</c:v>
                </c:pt>
                <c:pt idx="4290">
                  <c:v>#N/A</c:v>
                </c:pt>
                <c:pt idx="4291">
                  <c:v>#N/A</c:v>
                </c:pt>
                <c:pt idx="4292">
                  <c:v>#N/A</c:v>
                </c:pt>
                <c:pt idx="4293">
                  <c:v>#N/A</c:v>
                </c:pt>
                <c:pt idx="4294">
                  <c:v>1.6246575342465754</c:v>
                </c:pt>
                <c:pt idx="4295">
                  <c:v>#N/A</c:v>
                </c:pt>
                <c:pt idx="4296">
                  <c:v>#N/A</c:v>
                </c:pt>
                <c:pt idx="4297">
                  <c:v>1.6273972602739726</c:v>
                </c:pt>
                <c:pt idx="4298">
                  <c:v>#N/A</c:v>
                </c:pt>
                <c:pt idx="4299">
                  <c:v>#N/A</c:v>
                </c:pt>
                <c:pt idx="4300">
                  <c:v>#N/A</c:v>
                </c:pt>
                <c:pt idx="4301">
                  <c:v>#N/A</c:v>
                </c:pt>
                <c:pt idx="4302">
                  <c:v>#N/A</c:v>
                </c:pt>
                <c:pt idx="4303">
                  <c:v>1.6328767123287671</c:v>
                </c:pt>
                <c:pt idx="4304">
                  <c:v>#N/A</c:v>
                </c:pt>
                <c:pt idx="4305">
                  <c:v>#N/A</c:v>
                </c:pt>
                <c:pt idx="4306">
                  <c:v>1.6356164383561644</c:v>
                </c:pt>
                <c:pt idx="4307">
                  <c:v>#N/A</c:v>
                </c:pt>
                <c:pt idx="4308">
                  <c:v>#N/A</c:v>
                </c:pt>
                <c:pt idx="4309">
                  <c:v>#N/A</c:v>
                </c:pt>
                <c:pt idx="4310">
                  <c:v>#N/A</c:v>
                </c:pt>
                <c:pt idx="4311">
                  <c:v>#N/A</c:v>
                </c:pt>
                <c:pt idx="4312">
                  <c:v>#N/A</c:v>
                </c:pt>
                <c:pt idx="4313">
                  <c:v>#N/A</c:v>
                </c:pt>
                <c:pt idx="4314">
                  <c:v>1.6465753424657534</c:v>
                </c:pt>
                <c:pt idx="4315">
                  <c:v>#N/A</c:v>
                </c:pt>
                <c:pt idx="4316">
                  <c:v>#N/A</c:v>
                </c:pt>
                <c:pt idx="4317">
                  <c:v>#N/A</c:v>
                </c:pt>
                <c:pt idx="4318">
                  <c:v>#N/A</c:v>
                </c:pt>
                <c:pt idx="4319">
                  <c:v>#N/A</c:v>
                </c:pt>
                <c:pt idx="4320">
                  <c:v>#N/A</c:v>
                </c:pt>
                <c:pt idx="4321">
                  <c:v>#N/A</c:v>
                </c:pt>
                <c:pt idx="4322">
                  <c:v>#N/A</c:v>
                </c:pt>
                <c:pt idx="4323">
                  <c:v>#N/A</c:v>
                </c:pt>
                <c:pt idx="4324">
                  <c:v>#N/A</c:v>
                </c:pt>
                <c:pt idx="4325">
                  <c:v>#N/A</c:v>
                </c:pt>
                <c:pt idx="4326">
                  <c:v>#N/A</c:v>
                </c:pt>
                <c:pt idx="4327">
                  <c:v>#N/A</c:v>
                </c:pt>
                <c:pt idx="4328">
                  <c:v>#N/A</c:v>
                </c:pt>
                <c:pt idx="4329">
                  <c:v>#N/A</c:v>
                </c:pt>
                <c:pt idx="4330">
                  <c:v>#N/A</c:v>
                </c:pt>
                <c:pt idx="4331">
                  <c:v>#N/A</c:v>
                </c:pt>
                <c:pt idx="4332">
                  <c:v>#N/A</c:v>
                </c:pt>
                <c:pt idx="4333">
                  <c:v>#N/A</c:v>
                </c:pt>
                <c:pt idx="4334">
                  <c:v>#N/A</c:v>
                </c:pt>
                <c:pt idx="4335">
                  <c:v>#N/A</c:v>
                </c:pt>
                <c:pt idx="4336">
                  <c:v>#N/A</c:v>
                </c:pt>
                <c:pt idx="4337">
                  <c:v>#N/A</c:v>
                </c:pt>
                <c:pt idx="4338">
                  <c:v>#N/A</c:v>
                </c:pt>
                <c:pt idx="4339">
                  <c:v>#N/A</c:v>
                </c:pt>
                <c:pt idx="4340">
                  <c:v>1.6657534246575343</c:v>
                </c:pt>
                <c:pt idx="4341">
                  <c:v>#N/A</c:v>
                </c:pt>
                <c:pt idx="4342">
                  <c:v>#N/A</c:v>
                </c:pt>
                <c:pt idx="4343">
                  <c:v>#N/A</c:v>
                </c:pt>
                <c:pt idx="4344">
                  <c:v>#N/A</c:v>
                </c:pt>
                <c:pt idx="4345">
                  <c:v>#N/A</c:v>
                </c:pt>
                <c:pt idx="4346">
                  <c:v>#N/A</c:v>
                </c:pt>
                <c:pt idx="4347">
                  <c:v>#N/A</c:v>
                </c:pt>
                <c:pt idx="4348">
                  <c:v>#N/A</c:v>
                </c:pt>
                <c:pt idx="4349">
                  <c:v>#N/A</c:v>
                </c:pt>
                <c:pt idx="4350">
                  <c:v>#N/A</c:v>
                </c:pt>
                <c:pt idx="4351">
                  <c:v>#N/A</c:v>
                </c:pt>
                <c:pt idx="4352">
                  <c:v>#N/A</c:v>
                </c:pt>
                <c:pt idx="4353">
                  <c:v>#N/A</c:v>
                </c:pt>
                <c:pt idx="4354">
                  <c:v>#N/A</c:v>
                </c:pt>
                <c:pt idx="4355">
                  <c:v>#N/A</c:v>
                </c:pt>
                <c:pt idx="4356">
                  <c:v>#N/A</c:v>
                </c:pt>
                <c:pt idx="4357">
                  <c:v>1.6739726027397259</c:v>
                </c:pt>
                <c:pt idx="4358">
                  <c:v>#N/A</c:v>
                </c:pt>
                <c:pt idx="4359">
                  <c:v>#N/A</c:v>
                </c:pt>
                <c:pt idx="4360">
                  <c:v>#N/A</c:v>
                </c:pt>
                <c:pt idx="4361">
                  <c:v>#N/A</c:v>
                </c:pt>
                <c:pt idx="4362">
                  <c:v>#N/A</c:v>
                </c:pt>
                <c:pt idx="4363">
                  <c:v>1.6739726027397259</c:v>
                </c:pt>
                <c:pt idx="4364">
                  <c:v>#N/A</c:v>
                </c:pt>
                <c:pt idx="4365">
                  <c:v>#N/A</c:v>
                </c:pt>
                <c:pt idx="4366">
                  <c:v>#N/A</c:v>
                </c:pt>
                <c:pt idx="4367">
                  <c:v>#N/A</c:v>
                </c:pt>
                <c:pt idx="4368">
                  <c:v>#N/A</c:v>
                </c:pt>
                <c:pt idx="4369">
                  <c:v>#N/A</c:v>
                </c:pt>
                <c:pt idx="4370">
                  <c:v>#N/A</c:v>
                </c:pt>
                <c:pt idx="4371">
                  <c:v>#N/A</c:v>
                </c:pt>
                <c:pt idx="4372">
                  <c:v>#N/A</c:v>
                </c:pt>
                <c:pt idx="4373">
                  <c:v>#N/A</c:v>
                </c:pt>
                <c:pt idx="4374">
                  <c:v>#N/A</c:v>
                </c:pt>
                <c:pt idx="4375">
                  <c:v>#N/A</c:v>
                </c:pt>
                <c:pt idx="4376">
                  <c:v>#N/A</c:v>
                </c:pt>
                <c:pt idx="4377">
                  <c:v>#N/A</c:v>
                </c:pt>
                <c:pt idx="4378">
                  <c:v>#N/A</c:v>
                </c:pt>
                <c:pt idx="4379">
                  <c:v>#N/A</c:v>
                </c:pt>
                <c:pt idx="4380">
                  <c:v>#N/A</c:v>
                </c:pt>
                <c:pt idx="4381">
                  <c:v>#N/A</c:v>
                </c:pt>
                <c:pt idx="4382">
                  <c:v>#N/A</c:v>
                </c:pt>
                <c:pt idx="4383">
                  <c:v>#N/A</c:v>
                </c:pt>
                <c:pt idx="4384">
                  <c:v>#N/A</c:v>
                </c:pt>
                <c:pt idx="4385">
                  <c:v>#N/A</c:v>
                </c:pt>
                <c:pt idx="4386">
                  <c:v>#N/A</c:v>
                </c:pt>
                <c:pt idx="4387">
                  <c:v>#N/A</c:v>
                </c:pt>
                <c:pt idx="4388">
                  <c:v>#N/A</c:v>
                </c:pt>
                <c:pt idx="4389">
                  <c:v>#N/A</c:v>
                </c:pt>
                <c:pt idx="4390">
                  <c:v>#N/A</c:v>
                </c:pt>
                <c:pt idx="4391">
                  <c:v>#N/A</c:v>
                </c:pt>
                <c:pt idx="4392">
                  <c:v>#N/A</c:v>
                </c:pt>
                <c:pt idx="4393">
                  <c:v>#N/A</c:v>
                </c:pt>
                <c:pt idx="4394">
                  <c:v>#N/A</c:v>
                </c:pt>
                <c:pt idx="4395">
                  <c:v>#N/A</c:v>
                </c:pt>
                <c:pt idx="4396">
                  <c:v>#N/A</c:v>
                </c:pt>
                <c:pt idx="4397">
                  <c:v>#N/A</c:v>
                </c:pt>
                <c:pt idx="4398">
                  <c:v>#N/A</c:v>
                </c:pt>
                <c:pt idx="4399">
                  <c:v>#N/A</c:v>
                </c:pt>
                <c:pt idx="4400">
                  <c:v>1.7013698630136986</c:v>
                </c:pt>
                <c:pt idx="4401">
                  <c:v>#N/A</c:v>
                </c:pt>
                <c:pt idx="4402">
                  <c:v>#N/A</c:v>
                </c:pt>
                <c:pt idx="4403">
                  <c:v>#N/A</c:v>
                </c:pt>
                <c:pt idx="4404">
                  <c:v>#N/A</c:v>
                </c:pt>
                <c:pt idx="4405">
                  <c:v>#N/A</c:v>
                </c:pt>
                <c:pt idx="4406">
                  <c:v>#N/A</c:v>
                </c:pt>
                <c:pt idx="4407">
                  <c:v>#N/A</c:v>
                </c:pt>
                <c:pt idx="4408">
                  <c:v>#N/A</c:v>
                </c:pt>
                <c:pt idx="4409">
                  <c:v>1.7095890410958905</c:v>
                </c:pt>
                <c:pt idx="4410">
                  <c:v>#N/A</c:v>
                </c:pt>
                <c:pt idx="4411">
                  <c:v>#N/A</c:v>
                </c:pt>
                <c:pt idx="4412">
                  <c:v>#N/A</c:v>
                </c:pt>
                <c:pt idx="4413">
                  <c:v>#N/A</c:v>
                </c:pt>
                <c:pt idx="4414">
                  <c:v>#N/A</c:v>
                </c:pt>
                <c:pt idx="4415">
                  <c:v>#N/A</c:v>
                </c:pt>
                <c:pt idx="4416">
                  <c:v>#N/A</c:v>
                </c:pt>
                <c:pt idx="4417">
                  <c:v>#N/A</c:v>
                </c:pt>
                <c:pt idx="4418">
                  <c:v>#N/A</c:v>
                </c:pt>
                <c:pt idx="4419">
                  <c:v>#N/A</c:v>
                </c:pt>
                <c:pt idx="4420">
                  <c:v>#N/A</c:v>
                </c:pt>
                <c:pt idx="4421">
                  <c:v>#N/A</c:v>
                </c:pt>
                <c:pt idx="4422">
                  <c:v>#N/A</c:v>
                </c:pt>
                <c:pt idx="4423">
                  <c:v>#N/A</c:v>
                </c:pt>
                <c:pt idx="4424">
                  <c:v>#N/A</c:v>
                </c:pt>
                <c:pt idx="4425">
                  <c:v>#N/A</c:v>
                </c:pt>
                <c:pt idx="4426">
                  <c:v>#N/A</c:v>
                </c:pt>
                <c:pt idx="4427">
                  <c:v>#N/A</c:v>
                </c:pt>
                <c:pt idx="4428">
                  <c:v>#N/A</c:v>
                </c:pt>
                <c:pt idx="4429">
                  <c:v>#N/A</c:v>
                </c:pt>
                <c:pt idx="4430">
                  <c:v>#N/A</c:v>
                </c:pt>
                <c:pt idx="4431">
                  <c:v>#N/A</c:v>
                </c:pt>
                <c:pt idx="4432">
                  <c:v>#N/A</c:v>
                </c:pt>
                <c:pt idx="4433">
                  <c:v>#N/A</c:v>
                </c:pt>
                <c:pt idx="4434">
                  <c:v>#N/A</c:v>
                </c:pt>
                <c:pt idx="4435">
                  <c:v>#N/A</c:v>
                </c:pt>
                <c:pt idx="4436">
                  <c:v>#N/A</c:v>
                </c:pt>
                <c:pt idx="4437">
                  <c:v>#N/A</c:v>
                </c:pt>
                <c:pt idx="4438">
                  <c:v>#N/A</c:v>
                </c:pt>
                <c:pt idx="4439">
                  <c:v>#N/A</c:v>
                </c:pt>
                <c:pt idx="4440">
                  <c:v>#N/A</c:v>
                </c:pt>
                <c:pt idx="4441">
                  <c:v>#N/A</c:v>
                </c:pt>
                <c:pt idx="4442">
                  <c:v>#N/A</c:v>
                </c:pt>
                <c:pt idx="4443">
                  <c:v>#N/A</c:v>
                </c:pt>
                <c:pt idx="4444">
                  <c:v>#N/A</c:v>
                </c:pt>
                <c:pt idx="4445">
                  <c:v>#N/A</c:v>
                </c:pt>
                <c:pt idx="4446">
                  <c:v>#N/A</c:v>
                </c:pt>
                <c:pt idx="4447">
                  <c:v>#N/A</c:v>
                </c:pt>
                <c:pt idx="4448">
                  <c:v>#N/A</c:v>
                </c:pt>
                <c:pt idx="4449">
                  <c:v>#N/A</c:v>
                </c:pt>
                <c:pt idx="4450">
                  <c:v>#N/A</c:v>
                </c:pt>
                <c:pt idx="4451">
                  <c:v>#N/A</c:v>
                </c:pt>
                <c:pt idx="4452">
                  <c:v>#N/A</c:v>
                </c:pt>
                <c:pt idx="4453">
                  <c:v>#N/A</c:v>
                </c:pt>
                <c:pt idx="4454">
                  <c:v>#N/A</c:v>
                </c:pt>
                <c:pt idx="4455">
                  <c:v>#N/A</c:v>
                </c:pt>
                <c:pt idx="4456">
                  <c:v>#N/A</c:v>
                </c:pt>
                <c:pt idx="4457">
                  <c:v>#N/A</c:v>
                </c:pt>
                <c:pt idx="4458">
                  <c:v>#N/A</c:v>
                </c:pt>
                <c:pt idx="4459">
                  <c:v>#N/A</c:v>
                </c:pt>
                <c:pt idx="4460">
                  <c:v>#N/A</c:v>
                </c:pt>
                <c:pt idx="4461">
                  <c:v>#N/A</c:v>
                </c:pt>
                <c:pt idx="4462">
                  <c:v>#N/A</c:v>
                </c:pt>
                <c:pt idx="4463">
                  <c:v>#N/A</c:v>
                </c:pt>
                <c:pt idx="4464">
                  <c:v>#N/A</c:v>
                </c:pt>
                <c:pt idx="4465">
                  <c:v>#N/A</c:v>
                </c:pt>
                <c:pt idx="4466">
                  <c:v>#N/A</c:v>
                </c:pt>
                <c:pt idx="4467">
                  <c:v>#N/A</c:v>
                </c:pt>
                <c:pt idx="4468">
                  <c:v>#N/A</c:v>
                </c:pt>
                <c:pt idx="4469">
                  <c:v>#N/A</c:v>
                </c:pt>
                <c:pt idx="4470">
                  <c:v>#N/A</c:v>
                </c:pt>
                <c:pt idx="4471">
                  <c:v>#N/A</c:v>
                </c:pt>
                <c:pt idx="4472">
                  <c:v>#N/A</c:v>
                </c:pt>
                <c:pt idx="4473">
                  <c:v>#N/A</c:v>
                </c:pt>
                <c:pt idx="4474">
                  <c:v>#N/A</c:v>
                </c:pt>
                <c:pt idx="4475">
                  <c:v>#N/A</c:v>
                </c:pt>
                <c:pt idx="4476">
                  <c:v>#N/A</c:v>
                </c:pt>
                <c:pt idx="4477">
                  <c:v>#N/A</c:v>
                </c:pt>
                <c:pt idx="4478">
                  <c:v>#N/A</c:v>
                </c:pt>
                <c:pt idx="4479">
                  <c:v>#N/A</c:v>
                </c:pt>
                <c:pt idx="4480">
                  <c:v>#N/A</c:v>
                </c:pt>
                <c:pt idx="4481">
                  <c:v>#N/A</c:v>
                </c:pt>
                <c:pt idx="4482">
                  <c:v>#N/A</c:v>
                </c:pt>
                <c:pt idx="4483">
                  <c:v>#N/A</c:v>
                </c:pt>
                <c:pt idx="4484">
                  <c:v>#N/A</c:v>
                </c:pt>
                <c:pt idx="4485">
                  <c:v>#N/A</c:v>
                </c:pt>
                <c:pt idx="4486">
                  <c:v>#N/A</c:v>
                </c:pt>
                <c:pt idx="4487">
                  <c:v>#N/A</c:v>
                </c:pt>
                <c:pt idx="4488">
                  <c:v>#N/A</c:v>
                </c:pt>
                <c:pt idx="4489">
                  <c:v>#N/A</c:v>
                </c:pt>
                <c:pt idx="4490">
                  <c:v>#N/A</c:v>
                </c:pt>
                <c:pt idx="4491">
                  <c:v>#N/A</c:v>
                </c:pt>
                <c:pt idx="4492">
                  <c:v>#N/A</c:v>
                </c:pt>
                <c:pt idx="4493">
                  <c:v>#N/A</c:v>
                </c:pt>
                <c:pt idx="4494">
                  <c:v>#N/A</c:v>
                </c:pt>
                <c:pt idx="4495">
                  <c:v>#N/A</c:v>
                </c:pt>
                <c:pt idx="4496">
                  <c:v>#N/A</c:v>
                </c:pt>
                <c:pt idx="4497">
                  <c:v>#N/A</c:v>
                </c:pt>
                <c:pt idx="4498">
                  <c:v>#N/A</c:v>
                </c:pt>
                <c:pt idx="4499">
                  <c:v>#N/A</c:v>
                </c:pt>
                <c:pt idx="4500">
                  <c:v>#N/A</c:v>
                </c:pt>
                <c:pt idx="4501">
                  <c:v>#N/A</c:v>
                </c:pt>
                <c:pt idx="4502">
                  <c:v>#N/A</c:v>
                </c:pt>
                <c:pt idx="4503">
                  <c:v>#N/A</c:v>
                </c:pt>
                <c:pt idx="4504">
                  <c:v>#N/A</c:v>
                </c:pt>
                <c:pt idx="4505">
                  <c:v>#N/A</c:v>
                </c:pt>
                <c:pt idx="4506">
                  <c:v>#N/A</c:v>
                </c:pt>
                <c:pt idx="4507">
                  <c:v>#N/A</c:v>
                </c:pt>
                <c:pt idx="4508">
                  <c:v>#N/A</c:v>
                </c:pt>
                <c:pt idx="4509">
                  <c:v>#N/A</c:v>
                </c:pt>
                <c:pt idx="4510">
                  <c:v>#N/A</c:v>
                </c:pt>
                <c:pt idx="4511">
                  <c:v>#N/A</c:v>
                </c:pt>
                <c:pt idx="4512">
                  <c:v>#N/A</c:v>
                </c:pt>
                <c:pt idx="4513">
                  <c:v>#N/A</c:v>
                </c:pt>
                <c:pt idx="4514">
                  <c:v>#N/A</c:v>
                </c:pt>
                <c:pt idx="4515">
                  <c:v>#N/A</c:v>
                </c:pt>
                <c:pt idx="4516">
                  <c:v>#N/A</c:v>
                </c:pt>
                <c:pt idx="4517">
                  <c:v>#N/A</c:v>
                </c:pt>
                <c:pt idx="4518">
                  <c:v>#N/A</c:v>
                </c:pt>
                <c:pt idx="4519">
                  <c:v>#N/A</c:v>
                </c:pt>
                <c:pt idx="4520">
                  <c:v>#N/A</c:v>
                </c:pt>
                <c:pt idx="4521">
                  <c:v>#N/A</c:v>
                </c:pt>
                <c:pt idx="4522">
                  <c:v>#N/A</c:v>
                </c:pt>
                <c:pt idx="4523">
                  <c:v>#N/A</c:v>
                </c:pt>
                <c:pt idx="4524">
                  <c:v>#N/A</c:v>
                </c:pt>
                <c:pt idx="4525">
                  <c:v>#N/A</c:v>
                </c:pt>
                <c:pt idx="4526">
                  <c:v>#N/A</c:v>
                </c:pt>
                <c:pt idx="4527">
                  <c:v>#N/A</c:v>
                </c:pt>
                <c:pt idx="4528">
                  <c:v>#N/A</c:v>
                </c:pt>
                <c:pt idx="4529">
                  <c:v>#N/A</c:v>
                </c:pt>
                <c:pt idx="4530">
                  <c:v>#N/A</c:v>
                </c:pt>
                <c:pt idx="4531">
                  <c:v>#N/A</c:v>
                </c:pt>
                <c:pt idx="4532">
                  <c:v>#N/A</c:v>
                </c:pt>
                <c:pt idx="4533">
                  <c:v>#N/A</c:v>
                </c:pt>
                <c:pt idx="4534">
                  <c:v>#N/A</c:v>
                </c:pt>
                <c:pt idx="4535">
                  <c:v>#N/A</c:v>
                </c:pt>
                <c:pt idx="4536">
                  <c:v>#N/A</c:v>
                </c:pt>
                <c:pt idx="4537">
                  <c:v>#N/A</c:v>
                </c:pt>
                <c:pt idx="4538">
                  <c:v>#N/A</c:v>
                </c:pt>
                <c:pt idx="4539">
                  <c:v>#N/A</c:v>
                </c:pt>
                <c:pt idx="4540">
                  <c:v>#N/A</c:v>
                </c:pt>
                <c:pt idx="4541">
                  <c:v>#N/A</c:v>
                </c:pt>
                <c:pt idx="4542">
                  <c:v>#N/A</c:v>
                </c:pt>
                <c:pt idx="4543">
                  <c:v>#N/A</c:v>
                </c:pt>
                <c:pt idx="4544">
                  <c:v>#N/A</c:v>
                </c:pt>
                <c:pt idx="4545">
                  <c:v>#N/A</c:v>
                </c:pt>
                <c:pt idx="4546">
                  <c:v>#N/A</c:v>
                </c:pt>
                <c:pt idx="4547">
                  <c:v>#N/A</c:v>
                </c:pt>
                <c:pt idx="4548">
                  <c:v>#N/A</c:v>
                </c:pt>
                <c:pt idx="4549">
                  <c:v>#N/A</c:v>
                </c:pt>
                <c:pt idx="4550">
                  <c:v>#N/A</c:v>
                </c:pt>
                <c:pt idx="4551">
                  <c:v>#N/A</c:v>
                </c:pt>
                <c:pt idx="4552">
                  <c:v>1.747945205479452</c:v>
                </c:pt>
                <c:pt idx="4553">
                  <c:v>#N/A</c:v>
                </c:pt>
                <c:pt idx="4554">
                  <c:v>#N/A</c:v>
                </c:pt>
                <c:pt idx="4555">
                  <c:v>1.747945205479452</c:v>
                </c:pt>
                <c:pt idx="4556">
                  <c:v>#N/A</c:v>
                </c:pt>
                <c:pt idx="4557">
                  <c:v>#N/A</c:v>
                </c:pt>
                <c:pt idx="4558">
                  <c:v>#N/A</c:v>
                </c:pt>
                <c:pt idx="4559">
                  <c:v>#N/A</c:v>
                </c:pt>
                <c:pt idx="4560">
                  <c:v>#N/A</c:v>
                </c:pt>
                <c:pt idx="4561">
                  <c:v>#N/A</c:v>
                </c:pt>
                <c:pt idx="4562">
                  <c:v>#N/A</c:v>
                </c:pt>
                <c:pt idx="4563">
                  <c:v>#N/A</c:v>
                </c:pt>
                <c:pt idx="4564">
                  <c:v>#N/A</c:v>
                </c:pt>
                <c:pt idx="4565">
                  <c:v>#N/A</c:v>
                </c:pt>
                <c:pt idx="4566">
                  <c:v>#N/A</c:v>
                </c:pt>
                <c:pt idx="4567">
                  <c:v>#N/A</c:v>
                </c:pt>
                <c:pt idx="4568">
                  <c:v>#N/A</c:v>
                </c:pt>
                <c:pt idx="4569">
                  <c:v>#N/A</c:v>
                </c:pt>
                <c:pt idx="4570">
                  <c:v>#N/A</c:v>
                </c:pt>
                <c:pt idx="4571">
                  <c:v>#N/A</c:v>
                </c:pt>
                <c:pt idx="4572">
                  <c:v>#N/A</c:v>
                </c:pt>
                <c:pt idx="4573">
                  <c:v>#N/A</c:v>
                </c:pt>
                <c:pt idx="4574">
                  <c:v>#N/A</c:v>
                </c:pt>
                <c:pt idx="4575">
                  <c:v>#N/A</c:v>
                </c:pt>
                <c:pt idx="4576">
                  <c:v>#N/A</c:v>
                </c:pt>
                <c:pt idx="4577">
                  <c:v>#N/A</c:v>
                </c:pt>
                <c:pt idx="4578">
                  <c:v>#N/A</c:v>
                </c:pt>
                <c:pt idx="4579">
                  <c:v>#N/A</c:v>
                </c:pt>
                <c:pt idx="4580">
                  <c:v>#N/A</c:v>
                </c:pt>
                <c:pt idx="4581">
                  <c:v>#N/A</c:v>
                </c:pt>
                <c:pt idx="4582">
                  <c:v>#N/A</c:v>
                </c:pt>
                <c:pt idx="4583">
                  <c:v>#N/A</c:v>
                </c:pt>
                <c:pt idx="4584">
                  <c:v>#N/A</c:v>
                </c:pt>
                <c:pt idx="4585">
                  <c:v>1.7835616438356163</c:v>
                </c:pt>
                <c:pt idx="4586">
                  <c:v>#N/A</c:v>
                </c:pt>
                <c:pt idx="4587">
                  <c:v>#N/A</c:v>
                </c:pt>
                <c:pt idx="4588">
                  <c:v>1.789041095890411</c:v>
                </c:pt>
                <c:pt idx="4589">
                  <c:v>#N/A</c:v>
                </c:pt>
                <c:pt idx="4590">
                  <c:v>#N/A</c:v>
                </c:pt>
                <c:pt idx="4591">
                  <c:v>#N/A</c:v>
                </c:pt>
                <c:pt idx="4592">
                  <c:v>#N/A</c:v>
                </c:pt>
                <c:pt idx="4593">
                  <c:v>#N/A</c:v>
                </c:pt>
                <c:pt idx="4594">
                  <c:v>#N/A</c:v>
                </c:pt>
                <c:pt idx="4595">
                  <c:v>#N/A</c:v>
                </c:pt>
                <c:pt idx="4596">
                  <c:v>#N/A</c:v>
                </c:pt>
                <c:pt idx="4597">
                  <c:v>#N/A</c:v>
                </c:pt>
                <c:pt idx="4598">
                  <c:v>#N/A</c:v>
                </c:pt>
                <c:pt idx="4599">
                  <c:v>#N/A</c:v>
                </c:pt>
                <c:pt idx="4600">
                  <c:v>#N/A</c:v>
                </c:pt>
                <c:pt idx="4601">
                  <c:v>#N/A</c:v>
                </c:pt>
                <c:pt idx="4602">
                  <c:v>#N/A</c:v>
                </c:pt>
                <c:pt idx="4603">
                  <c:v>#N/A</c:v>
                </c:pt>
                <c:pt idx="4604">
                  <c:v>#N/A</c:v>
                </c:pt>
                <c:pt idx="4605">
                  <c:v>#N/A</c:v>
                </c:pt>
                <c:pt idx="4606">
                  <c:v>#N/A</c:v>
                </c:pt>
                <c:pt idx="4607">
                  <c:v>#N/A</c:v>
                </c:pt>
                <c:pt idx="4608">
                  <c:v>#N/A</c:v>
                </c:pt>
                <c:pt idx="4609">
                  <c:v>#N/A</c:v>
                </c:pt>
                <c:pt idx="4610">
                  <c:v>#N/A</c:v>
                </c:pt>
                <c:pt idx="4611">
                  <c:v>#N/A</c:v>
                </c:pt>
                <c:pt idx="4612">
                  <c:v>#N/A</c:v>
                </c:pt>
                <c:pt idx="4613">
                  <c:v>#N/A</c:v>
                </c:pt>
                <c:pt idx="4614">
                  <c:v>#N/A</c:v>
                </c:pt>
                <c:pt idx="4615">
                  <c:v>#N/A</c:v>
                </c:pt>
                <c:pt idx="4616">
                  <c:v>1.8164383561643835</c:v>
                </c:pt>
                <c:pt idx="4617">
                  <c:v>#N/A</c:v>
                </c:pt>
                <c:pt idx="4618">
                  <c:v>#N/A</c:v>
                </c:pt>
                <c:pt idx="4619">
                  <c:v>#N/A</c:v>
                </c:pt>
                <c:pt idx="4620">
                  <c:v>#N/A</c:v>
                </c:pt>
                <c:pt idx="4621">
                  <c:v>#N/A</c:v>
                </c:pt>
                <c:pt idx="4622">
                  <c:v>#N/A</c:v>
                </c:pt>
                <c:pt idx="4623">
                  <c:v>#N/A</c:v>
                </c:pt>
                <c:pt idx="4624">
                  <c:v>#N/A</c:v>
                </c:pt>
                <c:pt idx="4625">
                  <c:v>#N/A</c:v>
                </c:pt>
                <c:pt idx="4626">
                  <c:v>#N/A</c:v>
                </c:pt>
                <c:pt idx="4627">
                  <c:v>#N/A</c:v>
                </c:pt>
                <c:pt idx="4628">
                  <c:v>#N/A</c:v>
                </c:pt>
                <c:pt idx="4629">
                  <c:v>#N/A</c:v>
                </c:pt>
                <c:pt idx="4630">
                  <c:v>#N/A</c:v>
                </c:pt>
                <c:pt idx="4631">
                  <c:v>1.821917808219178</c:v>
                </c:pt>
                <c:pt idx="4632">
                  <c:v>#N/A</c:v>
                </c:pt>
                <c:pt idx="4633">
                  <c:v>#N/A</c:v>
                </c:pt>
                <c:pt idx="4634">
                  <c:v>#N/A</c:v>
                </c:pt>
                <c:pt idx="4635">
                  <c:v>#N/A</c:v>
                </c:pt>
                <c:pt idx="4636">
                  <c:v>#N/A</c:v>
                </c:pt>
                <c:pt idx="4637">
                  <c:v>#N/A</c:v>
                </c:pt>
                <c:pt idx="4638">
                  <c:v>#N/A</c:v>
                </c:pt>
                <c:pt idx="4639">
                  <c:v>#N/A</c:v>
                </c:pt>
                <c:pt idx="4640">
                  <c:v>#N/A</c:v>
                </c:pt>
                <c:pt idx="4641">
                  <c:v>#N/A</c:v>
                </c:pt>
                <c:pt idx="4642">
                  <c:v>#N/A</c:v>
                </c:pt>
                <c:pt idx="4643">
                  <c:v>#N/A</c:v>
                </c:pt>
                <c:pt idx="4644">
                  <c:v>#N/A</c:v>
                </c:pt>
                <c:pt idx="4645">
                  <c:v>1.8356164383561644</c:v>
                </c:pt>
                <c:pt idx="4646">
                  <c:v>#N/A</c:v>
                </c:pt>
                <c:pt idx="4647">
                  <c:v>#N/A</c:v>
                </c:pt>
                <c:pt idx="4648">
                  <c:v>#N/A</c:v>
                </c:pt>
                <c:pt idx="4649">
                  <c:v>#N/A</c:v>
                </c:pt>
                <c:pt idx="4650">
                  <c:v>#N/A</c:v>
                </c:pt>
                <c:pt idx="4651">
                  <c:v>#N/A</c:v>
                </c:pt>
                <c:pt idx="4652">
                  <c:v>#N/A</c:v>
                </c:pt>
                <c:pt idx="4653">
                  <c:v>#N/A</c:v>
                </c:pt>
                <c:pt idx="4654">
                  <c:v>#N/A</c:v>
                </c:pt>
                <c:pt idx="4655">
                  <c:v>#N/A</c:v>
                </c:pt>
                <c:pt idx="4656">
                  <c:v>#N/A</c:v>
                </c:pt>
                <c:pt idx="4657">
                  <c:v>#N/A</c:v>
                </c:pt>
                <c:pt idx="4658">
                  <c:v>#N/A</c:v>
                </c:pt>
                <c:pt idx="4659">
                  <c:v>#N/A</c:v>
                </c:pt>
                <c:pt idx="4660">
                  <c:v>#N/A</c:v>
                </c:pt>
                <c:pt idx="4661">
                  <c:v>#N/A</c:v>
                </c:pt>
                <c:pt idx="4662">
                  <c:v>#N/A</c:v>
                </c:pt>
                <c:pt idx="4663">
                  <c:v>#N/A</c:v>
                </c:pt>
                <c:pt idx="4664">
                  <c:v>#N/A</c:v>
                </c:pt>
                <c:pt idx="4665">
                  <c:v>#N/A</c:v>
                </c:pt>
                <c:pt idx="4666">
                  <c:v>#N/A</c:v>
                </c:pt>
                <c:pt idx="4667">
                  <c:v>#N/A</c:v>
                </c:pt>
                <c:pt idx="4668">
                  <c:v>#N/A</c:v>
                </c:pt>
                <c:pt idx="4669">
                  <c:v>#N/A</c:v>
                </c:pt>
                <c:pt idx="4670">
                  <c:v>#N/A</c:v>
                </c:pt>
                <c:pt idx="4671">
                  <c:v>#N/A</c:v>
                </c:pt>
                <c:pt idx="4672">
                  <c:v>#N/A</c:v>
                </c:pt>
                <c:pt idx="4673">
                  <c:v>#N/A</c:v>
                </c:pt>
                <c:pt idx="4674">
                  <c:v>#N/A</c:v>
                </c:pt>
                <c:pt idx="4675">
                  <c:v>#N/A</c:v>
                </c:pt>
                <c:pt idx="4676">
                  <c:v>#N/A</c:v>
                </c:pt>
                <c:pt idx="4677">
                  <c:v>#N/A</c:v>
                </c:pt>
                <c:pt idx="4678">
                  <c:v>#N/A</c:v>
                </c:pt>
                <c:pt idx="4679">
                  <c:v>#N/A</c:v>
                </c:pt>
                <c:pt idx="4680">
                  <c:v>#N/A</c:v>
                </c:pt>
                <c:pt idx="4681">
                  <c:v>#N/A</c:v>
                </c:pt>
                <c:pt idx="4682">
                  <c:v>#N/A</c:v>
                </c:pt>
                <c:pt idx="4683">
                  <c:v>#N/A</c:v>
                </c:pt>
                <c:pt idx="4684">
                  <c:v>#N/A</c:v>
                </c:pt>
                <c:pt idx="4685">
                  <c:v>#N/A</c:v>
                </c:pt>
                <c:pt idx="4686">
                  <c:v>#N/A</c:v>
                </c:pt>
                <c:pt idx="4687">
                  <c:v>#N/A</c:v>
                </c:pt>
                <c:pt idx="4688">
                  <c:v>#N/A</c:v>
                </c:pt>
                <c:pt idx="4689">
                  <c:v>#N/A</c:v>
                </c:pt>
                <c:pt idx="4690">
                  <c:v>#N/A</c:v>
                </c:pt>
                <c:pt idx="4691">
                  <c:v>#N/A</c:v>
                </c:pt>
                <c:pt idx="4692">
                  <c:v>#N/A</c:v>
                </c:pt>
                <c:pt idx="4693">
                  <c:v>#N/A</c:v>
                </c:pt>
                <c:pt idx="4694">
                  <c:v>#N/A</c:v>
                </c:pt>
                <c:pt idx="4695">
                  <c:v>#N/A</c:v>
                </c:pt>
                <c:pt idx="4696">
                  <c:v>#N/A</c:v>
                </c:pt>
                <c:pt idx="4697">
                  <c:v>#N/A</c:v>
                </c:pt>
                <c:pt idx="4698">
                  <c:v>#N/A</c:v>
                </c:pt>
                <c:pt idx="4699">
                  <c:v>#N/A</c:v>
                </c:pt>
                <c:pt idx="4700">
                  <c:v>#N/A</c:v>
                </c:pt>
                <c:pt idx="4701">
                  <c:v>1.8821917808219177</c:v>
                </c:pt>
                <c:pt idx="4702">
                  <c:v>#N/A</c:v>
                </c:pt>
                <c:pt idx="4703">
                  <c:v>#N/A</c:v>
                </c:pt>
                <c:pt idx="4704">
                  <c:v>#N/A</c:v>
                </c:pt>
                <c:pt idx="4705">
                  <c:v>#N/A</c:v>
                </c:pt>
                <c:pt idx="4706">
                  <c:v>#N/A</c:v>
                </c:pt>
                <c:pt idx="4707">
                  <c:v>#N/A</c:v>
                </c:pt>
                <c:pt idx="4708">
                  <c:v>#N/A</c:v>
                </c:pt>
                <c:pt idx="4709">
                  <c:v>#N/A</c:v>
                </c:pt>
                <c:pt idx="4710">
                  <c:v>#N/A</c:v>
                </c:pt>
                <c:pt idx="4711">
                  <c:v>#N/A</c:v>
                </c:pt>
                <c:pt idx="4712">
                  <c:v>#N/A</c:v>
                </c:pt>
                <c:pt idx="4713">
                  <c:v>#N/A</c:v>
                </c:pt>
                <c:pt idx="4714">
                  <c:v>#N/A</c:v>
                </c:pt>
                <c:pt idx="4715">
                  <c:v>#N/A</c:v>
                </c:pt>
                <c:pt idx="4716">
                  <c:v>#N/A</c:v>
                </c:pt>
                <c:pt idx="4717">
                  <c:v>#N/A</c:v>
                </c:pt>
                <c:pt idx="4718">
                  <c:v>1.8821917808219177</c:v>
                </c:pt>
                <c:pt idx="4719">
                  <c:v>#N/A</c:v>
                </c:pt>
                <c:pt idx="4720">
                  <c:v>#N/A</c:v>
                </c:pt>
                <c:pt idx="4721">
                  <c:v>#N/A</c:v>
                </c:pt>
                <c:pt idx="4722">
                  <c:v>#N/A</c:v>
                </c:pt>
                <c:pt idx="4723">
                  <c:v>#N/A</c:v>
                </c:pt>
                <c:pt idx="4724">
                  <c:v>#N/A</c:v>
                </c:pt>
                <c:pt idx="4725">
                  <c:v>#N/A</c:v>
                </c:pt>
                <c:pt idx="4726">
                  <c:v>#N/A</c:v>
                </c:pt>
                <c:pt idx="4727">
                  <c:v>#N/A</c:v>
                </c:pt>
                <c:pt idx="4728">
                  <c:v>#N/A</c:v>
                </c:pt>
                <c:pt idx="4729">
                  <c:v>#N/A</c:v>
                </c:pt>
                <c:pt idx="4730">
                  <c:v>#N/A</c:v>
                </c:pt>
                <c:pt idx="4731">
                  <c:v>#N/A</c:v>
                </c:pt>
                <c:pt idx="4732">
                  <c:v>#N/A</c:v>
                </c:pt>
                <c:pt idx="4733">
                  <c:v>#N/A</c:v>
                </c:pt>
                <c:pt idx="4734">
                  <c:v>#N/A</c:v>
                </c:pt>
                <c:pt idx="4735">
                  <c:v>#N/A</c:v>
                </c:pt>
                <c:pt idx="4736">
                  <c:v>#N/A</c:v>
                </c:pt>
                <c:pt idx="4737">
                  <c:v>#N/A</c:v>
                </c:pt>
                <c:pt idx="4738">
                  <c:v>#N/A</c:v>
                </c:pt>
                <c:pt idx="4739">
                  <c:v>#N/A</c:v>
                </c:pt>
                <c:pt idx="4740">
                  <c:v>#N/A</c:v>
                </c:pt>
                <c:pt idx="4741">
                  <c:v>#N/A</c:v>
                </c:pt>
                <c:pt idx="4742">
                  <c:v>#N/A</c:v>
                </c:pt>
                <c:pt idx="4743">
                  <c:v>#N/A</c:v>
                </c:pt>
                <c:pt idx="4744">
                  <c:v>#N/A</c:v>
                </c:pt>
                <c:pt idx="4745">
                  <c:v>#N/A</c:v>
                </c:pt>
                <c:pt idx="4746">
                  <c:v>1.9095890410958904</c:v>
                </c:pt>
                <c:pt idx="4747">
                  <c:v>#N/A</c:v>
                </c:pt>
                <c:pt idx="4748">
                  <c:v>#N/A</c:v>
                </c:pt>
                <c:pt idx="4749">
                  <c:v>#N/A</c:v>
                </c:pt>
                <c:pt idx="4750">
                  <c:v>#N/A</c:v>
                </c:pt>
                <c:pt idx="4751">
                  <c:v>#N/A</c:v>
                </c:pt>
                <c:pt idx="4752">
                  <c:v>#N/A</c:v>
                </c:pt>
                <c:pt idx="4753">
                  <c:v>#N/A</c:v>
                </c:pt>
                <c:pt idx="4754">
                  <c:v>1.9178082191780821</c:v>
                </c:pt>
                <c:pt idx="4755">
                  <c:v>1.9178082191780821</c:v>
                </c:pt>
                <c:pt idx="4756">
                  <c:v>#N/A</c:v>
                </c:pt>
                <c:pt idx="4757">
                  <c:v>#N/A</c:v>
                </c:pt>
                <c:pt idx="4758">
                  <c:v>#N/A</c:v>
                </c:pt>
                <c:pt idx="4759">
                  <c:v>#N/A</c:v>
                </c:pt>
                <c:pt idx="4760">
                  <c:v>#N/A</c:v>
                </c:pt>
                <c:pt idx="4761">
                  <c:v>#N/A</c:v>
                </c:pt>
                <c:pt idx="4762">
                  <c:v>#N/A</c:v>
                </c:pt>
                <c:pt idx="4763">
                  <c:v>#N/A</c:v>
                </c:pt>
                <c:pt idx="4764">
                  <c:v>#N/A</c:v>
                </c:pt>
                <c:pt idx="4765">
                  <c:v>#N/A</c:v>
                </c:pt>
                <c:pt idx="4766">
                  <c:v>#N/A</c:v>
                </c:pt>
                <c:pt idx="4767">
                  <c:v>#N/A</c:v>
                </c:pt>
                <c:pt idx="4768">
                  <c:v>#N/A</c:v>
                </c:pt>
                <c:pt idx="4769">
                  <c:v>#N/A</c:v>
                </c:pt>
                <c:pt idx="4770">
                  <c:v>#N/A</c:v>
                </c:pt>
                <c:pt idx="4771">
                  <c:v>#N/A</c:v>
                </c:pt>
                <c:pt idx="4772">
                  <c:v>#N/A</c:v>
                </c:pt>
                <c:pt idx="4773">
                  <c:v>#N/A</c:v>
                </c:pt>
                <c:pt idx="4774">
                  <c:v>#N/A</c:v>
                </c:pt>
                <c:pt idx="4775">
                  <c:v>#N/A</c:v>
                </c:pt>
                <c:pt idx="4776">
                  <c:v>#N/A</c:v>
                </c:pt>
                <c:pt idx="4777">
                  <c:v>#N/A</c:v>
                </c:pt>
                <c:pt idx="4778">
                  <c:v>#N/A</c:v>
                </c:pt>
                <c:pt idx="4779">
                  <c:v>#N/A</c:v>
                </c:pt>
                <c:pt idx="4780">
                  <c:v>#N/A</c:v>
                </c:pt>
                <c:pt idx="4781">
                  <c:v>#N/A</c:v>
                </c:pt>
                <c:pt idx="4782">
                  <c:v>#N/A</c:v>
                </c:pt>
                <c:pt idx="4783">
                  <c:v>#N/A</c:v>
                </c:pt>
                <c:pt idx="4784">
                  <c:v>#N/A</c:v>
                </c:pt>
                <c:pt idx="4785">
                  <c:v>#N/A</c:v>
                </c:pt>
                <c:pt idx="4786">
                  <c:v>#N/A</c:v>
                </c:pt>
                <c:pt idx="4787">
                  <c:v>#N/A</c:v>
                </c:pt>
                <c:pt idx="4788">
                  <c:v>#N/A</c:v>
                </c:pt>
                <c:pt idx="4789">
                  <c:v>#N/A</c:v>
                </c:pt>
                <c:pt idx="4790">
                  <c:v>#N/A</c:v>
                </c:pt>
                <c:pt idx="4791">
                  <c:v>#N/A</c:v>
                </c:pt>
                <c:pt idx="4792">
                  <c:v>#N/A</c:v>
                </c:pt>
                <c:pt idx="4793">
                  <c:v>#N/A</c:v>
                </c:pt>
                <c:pt idx="4794">
                  <c:v>#N/A</c:v>
                </c:pt>
                <c:pt idx="4795">
                  <c:v>#N/A</c:v>
                </c:pt>
                <c:pt idx="4796">
                  <c:v>#N/A</c:v>
                </c:pt>
                <c:pt idx="4797">
                  <c:v>#N/A</c:v>
                </c:pt>
                <c:pt idx="4798">
                  <c:v>#N/A</c:v>
                </c:pt>
                <c:pt idx="4799">
                  <c:v>#N/A</c:v>
                </c:pt>
                <c:pt idx="4800">
                  <c:v>#N/A</c:v>
                </c:pt>
                <c:pt idx="4801">
                  <c:v>#N/A</c:v>
                </c:pt>
                <c:pt idx="4802">
                  <c:v>1.9917808219178081</c:v>
                </c:pt>
                <c:pt idx="4803">
                  <c:v>#N/A</c:v>
                </c:pt>
                <c:pt idx="4804">
                  <c:v>1.9917808219178081</c:v>
                </c:pt>
                <c:pt idx="4805">
                  <c:v>#N/A</c:v>
                </c:pt>
                <c:pt idx="4806">
                  <c:v>#N/A</c:v>
                </c:pt>
                <c:pt idx="4807">
                  <c:v>#N/A</c:v>
                </c:pt>
                <c:pt idx="4808">
                  <c:v>#N/A</c:v>
                </c:pt>
                <c:pt idx="4809">
                  <c:v>#N/A</c:v>
                </c:pt>
                <c:pt idx="4810">
                  <c:v>#N/A</c:v>
                </c:pt>
                <c:pt idx="4811">
                  <c:v>#N/A</c:v>
                </c:pt>
                <c:pt idx="4812">
                  <c:v>#N/A</c:v>
                </c:pt>
                <c:pt idx="4813">
                  <c:v>#N/A</c:v>
                </c:pt>
                <c:pt idx="4814">
                  <c:v>#N/A</c:v>
                </c:pt>
                <c:pt idx="4815">
                  <c:v>#N/A</c:v>
                </c:pt>
                <c:pt idx="4816">
                  <c:v>#N/A</c:v>
                </c:pt>
                <c:pt idx="4817">
                  <c:v>#N/A</c:v>
                </c:pt>
                <c:pt idx="4818">
                  <c:v>#N/A</c:v>
                </c:pt>
                <c:pt idx="4819">
                  <c:v>#N/A</c:v>
                </c:pt>
                <c:pt idx="4820">
                  <c:v>2</c:v>
                </c:pt>
                <c:pt idx="4821">
                  <c:v>2</c:v>
                </c:pt>
                <c:pt idx="4822">
                  <c:v>#N/A</c:v>
                </c:pt>
                <c:pt idx="4823">
                  <c:v>#N/A</c:v>
                </c:pt>
                <c:pt idx="4824">
                  <c:v>#N/A</c:v>
                </c:pt>
                <c:pt idx="4825">
                  <c:v>#N/A</c:v>
                </c:pt>
                <c:pt idx="4826">
                  <c:v>#N/A</c:v>
                </c:pt>
                <c:pt idx="4827">
                  <c:v>#N/A</c:v>
                </c:pt>
                <c:pt idx="4828">
                  <c:v>#N/A</c:v>
                </c:pt>
                <c:pt idx="4829">
                  <c:v>#N/A</c:v>
                </c:pt>
                <c:pt idx="4830">
                  <c:v>#N/A</c:v>
                </c:pt>
                <c:pt idx="4831">
                  <c:v>#N/A</c:v>
                </c:pt>
                <c:pt idx="4832">
                  <c:v>#N/A</c:v>
                </c:pt>
                <c:pt idx="4833">
                  <c:v>#N/A</c:v>
                </c:pt>
                <c:pt idx="4834">
                  <c:v>#N/A</c:v>
                </c:pt>
                <c:pt idx="4835">
                  <c:v>#N/A</c:v>
                </c:pt>
                <c:pt idx="4836">
                  <c:v>#N/A</c:v>
                </c:pt>
                <c:pt idx="4837">
                  <c:v>#N/A</c:v>
                </c:pt>
                <c:pt idx="4838">
                  <c:v>#N/A</c:v>
                </c:pt>
                <c:pt idx="4839">
                  <c:v>#N/A</c:v>
                </c:pt>
                <c:pt idx="4840">
                  <c:v>#N/A</c:v>
                </c:pt>
                <c:pt idx="4841">
                  <c:v>#N/A</c:v>
                </c:pt>
                <c:pt idx="4842">
                  <c:v>#N/A</c:v>
                </c:pt>
                <c:pt idx="4843">
                  <c:v>#N/A</c:v>
                </c:pt>
                <c:pt idx="4844">
                  <c:v>#N/A</c:v>
                </c:pt>
                <c:pt idx="4845">
                  <c:v>#N/A</c:v>
                </c:pt>
                <c:pt idx="4846">
                  <c:v>2.0164383561643837</c:v>
                </c:pt>
                <c:pt idx="4847">
                  <c:v>#N/A</c:v>
                </c:pt>
                <c:pt idx="4848">
                  <c:v>#N/A</c:v>
                </c:pt>
                <c:pt idx="4849">
                  <c:v>#N/A</c:v>
                </c:pt>
                <c:pt idx="4850">
                  <c:v>#N/A</c:v>
                </c:pt>
                <c:pt idx="4851">
                  <c:v>#N/A</c:v>
                </c:pt>
                <c:pt idx="4852">
                  <c:v>#N/A</c:v>
                </c:pt>
                <c:pt idx="4853">
                  <c:v>#N/A</c:v>
                </c:pt>
                <c:pt idx="4854">
                  <c:v>#N/A</c:v>
                </c:pt>
                <c:pt idx="4855">
                  <c:v>#N/A</c:v>
                </c:pt>
                <c:pt idx="4856">
                  <c:v>#N/A</c:v>
                </c:pt>
                <c:pt idx="4857">
                  <c:v>#N/A</c:v>
                </c:pt>
                <c:pt idx="4858">
                  <c:v>#N/A</c:v>
                </c:pt>
                <c:pt idx="4859">
                  <c:v>#N/A</c:v>
                </c:pt>
                <c:pt idx="4860">
                  <c:v>#N/A</c:v>
                </c:pt>
                <c:pt idx="4861">
                  <c:v>#N/A</c:v>
                </c:pt>
                <c:pt idx="4862">
                  <c:v>#N/A</c:v>
                </c:pt>
                <c:pt idx="4863">
                  <c:v>#N/A</c:v>
                </c:pt>
                <c:pt idx="4864">
                  <c:v>#N/A</c:v>
                </c:pt>
                <c:pt idx="4865">
                  <c:v>#N/A</c:v>
                </c:pt>
                <c:pt idx="4866">
                  <c:v>#N/A</c:v>
                </c:pt>
                <c:pt idx="4867">
                  <c:v>#N/A</c:v>
                </c:pt>
                <c:pt idx="4868">
                  <c:v>2.0191780821917806</c:v>
                </c:pt>
                <c:pt idx="4869">
                  <c:v>#N/A</c:v>
                </c:pt>
                <c:pt idx="4870">
                  <c:v>#N/A</c:v>
                </c:pt>
                <c:pt idx="4871">
                  <c:v>#N/A</c:v>
                </c:pt>
                <c:pt idx="4872">
                  <c:v>#N/A</c:v>
                </c:pt>
                <c:pt idx="4873">
                  <c:v>#N/A</c:v>
                </c:pt>
                <c:pt idx="4874">
                  <c:v>#N/A</c:v>
                </c:pt>
                <c:pt idx="4875">
                  <c:v>#N/A</c:v>
                </c:pt>
                <c:pt idx="4876">
                  <c:v>#N/A</c:v>
                </c:pt>
                <c:pt idx="4877">
                  <c:v>#N/A</c:v>
                </c:pt>
                <c:pt idx="4878">
                  <c:v>#N/A</c:v>
                </c:pt>
                <c:pt idx="4879">
                  <c:v>#N/A</c:v>
                </c:pt>
                <c:pt idx="4880">
                  <c:v>#N/A</c:v>
                </c:pt>
                <c:pt idx="4881">
                  <c:v>#N/A</c:v>
                </c:pt>
                <c:pt idx="4882">
                  <c:v>#N/A</c:v>
                </c:pt>
                <c:pt idx="4883">
                  <c:v>#N/A</c:v>
                </c:pt>
                <c:pt idx="4884">
                  <c:v>#N/A</c:v>
                </c:pt>
                <c:pt idx="4885">
                  <c:v>#N/A</c:v>
                </c:pt>
                <c:pt idx="4886">
                  <c:v>#N/A</c:v>
                </c:pt>
                <c:pt idx="4887">
                  <c:v>#N/A</c:v>
                </c:pt>
                <c:pt idx="4888">
                  <c:v>#N/A</c:v>
                </c:pt>
                <c:pt idx="4889">
                  <c:v>#N/A</c:v>
                </c:pt>
                <c:pt idx="4890">
                  <c:v>#N/A</c:v>
                </c:pt>
                <c:pt idx="4891">
                  <c:v>#N/A</c:v>
                </c:pt>
                <c:pt idx="4892">
                  <c:v>#N/A</c:v>
                </c:pt>
                <c:pt idx="4893">
                  <c:v>#N/A</c:v>
                </c:pt>
                <c:pt idx="4894">
                  <c:v>#N/A</c:v>
                </c:pt>
                <c:pt idx="4895">
                  <c:v>#N/A</c:v>
                </c:pt>
                <c:pt idx="4896">
                  <c:v>#N/A</c:v>
                </c:pt>
                <c:pt idx="4897">
                  <c:v>#N/A</c:v>
                </c:pt>
                <c:pt idx="4898">
                  <c:v>#N/A</c:v>
                </c:pt>
                <c:pt idx="4899">
                  <c:v>#N/A</c:v>
                </c:pt>
                <c:pt idx="4900">
                  <c:v>#N/A</c:v>
                </c:pt>
                <c:pt idx="4901">
                  <c:v>#N/A</c:v>
                </c:pt>
                <c:pt idx="4902">
                  <c:v>#N/A</c:v>
                </c:pt>
                <c:pt idx="4903">
                  <c:v>#N/A</c:v>
                </c:pt>
                <c:pt idx="4904">
                  <c:v>#N/A</c:v>
                </c:pt>
                <c:pt idx="4905">
                  <c:v>#N/A</c:v>
                </c:pt>
                <c:pt idx="4906">
                  <c:v>2.0465753424657533</c:v>
                </c:pt>
                <c:pt idx="4907">
                  <c:v>2.0465753424657533</c:v>
                </c:pt>
                <c:pt idx="4908">
                  <c:v>#N/A</c:v>
                </c:pt>
                <c:pt idx="4909">
                  <c:v>#N/A</c:v>
                </c:pt>
                <c:pt idx="4910">
                  <c:v>2.0465753424657533</c:v>
                </c:pt>
                <c:pt idx="4911">
                  <c:v>#N/A</c:v>
                </c:pt>
                <c:pt idx="4912">
                  <c:v>2.0465753424657533</c:v>
                </c:pt>
                <c:pt idx="4913">
                  <c:v>2.0465753424657533</c:v>
                </c:pt>
                <c:pt idx="4914">
                  <c:v>#N/A</c:v>
                </c:pt>
                <c:pt idx="4915">
                  <c:v>#N/A</c:v>
                </c:pt>
                <c:pt idx="4916">
                  <c:v>2.0465753424657533</c:v>
                </c:pt>
                <c:pt idx="4917">
                  <c:v>2.0465753424657533</c:v>
                </c:pt>
                <c:pt idx="4918">
                  <c:v>#N/A</c:v>
                </c:pt>
                <c:pt idx="4919">
                  <c:v>2.0465753424657533</c:v>
                </c:pt>
                <c:pt idx="4920">
                  <c:v>2.0465753424657533</c:v>
                </c:pt>
                <c:pt idx="4921">
                  <c:v>2.0465753424657533</c:v>
                </c:pt>
                <c:pt idx="4922">
                  <c:v>#N/A</c:v>
                </c:pt>
                <c:pt idx="4923">
                  <c:v>2.0465753424657533</c:v>
                </c:pt>
                <c:pt idx="4924">
                  <c:v>#N/A</c:v>
                </c:pt>
                <c:pt idx="4925">
                  <c:v>2.0465753424657533</c:v>
                </c:pt>
                <c:pt idx="4926">
                  <c:v>#N/A</c:v>
                </c:pt>
                <c:pt idx="4927">
                  <c:v>#N/A</c:v>
                </c:pt>
                <c:pt idx="4928">
                  <c:v>#N/A</c:v>
                </c:pt>
                <c:pt idx="4929">
                  <c:v>2.0465753424657533</c:v>
                </c:pt>
                <c:pt idx="4930">
                  <c:v>#N/A</c:v>
                </c:pt>
                <c:pt idx="4931">
                  <c:v>#N/A</c:v>
                </c:pt>
                <c:pt idx="4932">
                  <c:v>#N/A</c:v>
                </c:pt>
                <c:pt idx="4933">
                  <c:v>#N/A</c:v>
                </c:pt>
                <c:pt idx="4934">
                  <c:v>#N/A</c:v>
                </c:pt>
                <c:pt idx="4935">
                  <c:v>#N/A</c:v>
                </c:pt>
                <c:pt idx="4936">
                  <c:v>#N/A</c:v>
                </c:pt>
                <c:pt idx="4937">
                  <c:v>#N/A</c:v>
                </c:pt>
                <c:pt idx="4938">
                  <c:v>#N/A</c:v>
                </c:pt>
                <c:pt idx="4939">
                  <c:v>#N/A</c:v>
                </c:pt>
                <c:pt idx="4940">
                  <c:v>#N/A</c:v>
                </c:pt>
                <c:pt idx="4941">
                  <c:v>#N/A</c:v>
                </c:pt>
                <c:pt idx="4942">
                  <c:v>#N/A</c:v>
                </c:pt>
                <c:pt idx="4943">
                  <c:v>#N/A</c:v>
                </c:pt>
                <c:pt idx="4944">
                  <c:v>#N/A</c:v>
                </c:pt>
                <c:pt idx="4945">
                  <c:v>#N/A</c:v>
                </c:pt>
                <c:pt idx="4946">
                  <c:v>#N/A</c:v>
                </c:pt>
                <c:pt idx="4947">
                  <c:v>#N/A</c:v>
                </c:pt>
                <c:pt idx="4948">
                  <c:v>#N/A</c:v>
                </c:pt>
                <c:pt idx="4949">
                  <c:v>#N/A</c:v>
                </c:pt>
                <c:pt idx="4950">
                  <c:v>#N/A</c:v>
                </c:pt>
                <c:pt idx="4951">
                  <c:v>#N/A</c:v>
                </c:pt>
                <c:pt idx="4952">
                  <c:v>#N/A</c:v>
                </c:pt>
                <c:pt idx="4953">
                  <c:v>#N/A</c:v>
                </c:pt>
                <c:pt idx="4954">
                  <c:v>#N/A</c:v>
                </c:pt>
                <c:pt idx="4955">
                  <c:v>#N/A</c:v>
                </c:pt>
                <c:pt idx="4956">
                  <c:v>#N/A</c:v>
                </c:pt>
                <c:pt idx="4957">
                  <c:v>#N/A</c:v>
                </c:pt>
                <c:pt idx="4958">
                  <c:v>#N/A</c:v>
                </c:pt>
                <c:pt idx="4959">
                  <c:v>#N/A</c:v>
                </c:pt>
                <c:pt idx="4960">
                  <c:v>#N/A</c:v>
                </c:pt>
                <c:pt idx="4961">
                  <c:v>#N/A</c:v>
                </c:pt>
                <c:pt idx="4962">
                  <c:v>#N/A</c:v>
                </c:pt>
                <c:pt idx="4963">
                  <c:v>#N/A</c:v>
                </c:pt>
                <c:pt idx="4964">
                  <c:v>#N/A</c:v>
                </c:pt>
                <c:pt idx="4965">
                  <c:v>#N/A</c:v>
                </c:pt>
                <c:pt idx="4966">
                  <c:v>#N/A</c:v>
                </c:pt>
                <c:pt idx="4967">
                  <c:v>#N/A</c:v>
                </c:pt>
                <c:pt idx="4968">
                  <c:v>#N/A</c:v>
                </c:pt>
                <c:pt idx="4969">
                  <c:v>2.0493150684931507</c:v>
                </c:pt>
                <c:pt idx="4970">
                  <c:v>#N/A</c:v>
                </c:pt>
                <c:pt idx="4971">
                  <c:v>#N/A</c:v>
                </c:pt>
                <c:pt idx="4972">
                  <c:v>#N/A</c:v>
                </c:pt>
                <c:pt idx="4973">
                  <c:v>#N/A</c:v>
                </c:pt>
                <c:pt idx="4974">
                  <c:v>#N/A</c:v>
                </c:pt>
                <c:pt idx="4975">
                  <c:v>#N/A</c:v>
                </c:pt>
                <c:pt idx="4976">
                  <c:v>#N/A</c:v>
                </c:pt>
                <c:pt idx="4977">
                  <c:v>#N/A</c:v>
                </c:pt>
                <c:pt idx="4978">
                  <c:v>#N/A</c:v>
                </c:pt>
                <c:pt idx="4979">
                  <c:v>#N/A</c:v>
                </c:pt>
                <c:pt idx="4980">
                  <c:v>#N/A</c:v>
                </c:pt>
                <c:pt idx="4981">
                  <c:v>#N/A</c:v>
                </c:pt>
                <c:pt idx="4982">
                  <c:v>#N/A</c:v>
                </c:pt>
                <c:pt idx="4983">
                  <c:v>#N/A</c:v>
                </c:pt>
                <c:pt idx="4984">
                  <c:v>#N/A</c:v>
                </c:pt>
                <c:pt idx="4985">
                  <c:v>#N/A</c:v>
                </c:pt>
                <c:pt idx="4986">
                  <c:v>#N/A</c:v>
                </c:pt>
                <c:pt idx="4987">
                  <c:v>#N/A</c:v>
                </c:pt>
                <c:pt idx="4988">
                  <c:v>#N/A</c:v>
                </c:pt>
                <c:pt idx="4989">
                  <c:v>#N/A</c:v>
                </c:pt>
                <c:pt idx="4990">
                  <c:v>#N/A</c:v>
                </c:pt>
                <c:pt idx="4991">
                  <c:v>#N/A</c:v>
                </c:pt>
                <c:pt idx="4992">
                  <c:v>#N/A</c:v>
                </c:pt>
                <c:pt idx="4993">
                  <c:v>#N/A</c:v>
                </c:pt>
                <c:pt idx="4994">
                  <c:v>2.0493150684931507</c:v>
                </c:pt>
                <c:pt idx="4995">
                  <c:v>#N/A</c:v>
                </c:pt>
                <c:pt idx="4996">
                  <c:v>#N/A</c:v>
                </c:pt>
                <c:pt idx="4997">
                  <c:v>#N/A</c:v>
                </c:pt>
                <c:pt idx="4998">
                  <c:v>#N/A</c:v>
                </c:pt>
                <c:pt idx="4999">
                  <c:v>#N/A</c:v>
                </c:pt>
                <c:pt idx="5000">
                  <c:v>#N/A</c:v>
                </c:pt>
                <c:pt idx="5001">
                  <c:v>#N/A</c:v>
                </c:pt>
                <c:pt idx="5002">
                  <c:v>#N/A</c:v>
                </c:pt>
                <c:pt idx="5003">
                  <c:v>#N/A</c:v>
                </c:pt>
                <c:pt idx="5004">
                  <c:v>#N/A</c:v>
                </c:pt>
                <c:pt idx="5005">
                  <c:v>#N/A</c:v>
                </c:pt>
                <c:pt idx="5006">
                  <c:v>#N/A</c:v>
                </c:pt>
                <c:pt idx="5007">
                  <c:v>2.0493150684931507</c:v>
                </c:pt>
                <c:pt idx="5008">
                  <c:v>#N/A</c:v>
                </c:pt>
                <c:pt idx="5009">
                  <c:v>#N/A</c:v>
                </c:pt>
                <c:pt idx="5010">
                  <c:v>#N/A</c:v>
                </c:pt>
                <c:pt idx="5011">
                  <c:v>#N/A</c:v>
                </c:pt>
                <c:pt idx="5012">
                  <c:v>#N/A</c:v>
                </c:pt>
                <c:pt idx="5013">
                  <c:v>#N/A</c:v>
                </c:pt>
                <c:pt idx="5014">
                  <c:v>#N/A</c:v>
                </c:pt>
                <c:pt idx="5015">
                  <c:v>#N/A</c:v>
                </c:pt>
                <c:pt idx="5016">
                  <c:v>#N/A</c:v>
                </c:pt>
                <c:pt idx="5017">
                  <c:v>#N/A</c:v>
                </c:pt>
                <c:pt idx="5018">
                  <c:v>#N/A</c:v>
                </c:pt>
                <c:pt idx="5019">
                  <c:v>#N/A</c:v>
                </c:pt>
                <c:pt idx="5020">
                  <c:v>#N/A</c:v>
                </c:pt>
                <c:pt idx="5021">
                  <c:v>#N/A</c:v>
                </c:pt>
                <c:pt idx="5022">
                  <c:v>#N/A</c:v>
                </c:pt>
                <c:pt idx="5023">
                  <c:v>#N/A</c:v>
                </c:pt>
                <c:pt idx="5024">
                  <c:v>#N/A</c:v>
                </c:pt>
                <c:pt idx="5025">
                  <c:v>#N/A</c:v>
                </c:pt>
                <c:pt idx="5026">
                  <c:v>#N/A</c:v>
                </c:pt>
                <c:pt idx="5027">
                  <c:v>#N/A</c:v>
                </c:pt>
                <c:pt idx="5028">
                  <c:v>#N/A</c:v>
                </c:pt>
                <c:pt idx="5029">
                  <c:v>#N/A</c:v>
                </c:pt>
                <c:pt idx="5030">
                  <c:v>#N/A</c:v>
                </c:pt>
                <c:pt idx="5031">
                  <c:v>#N/A</c:v>
                </c:pt>
                <c:pt idx="5032">
                  <c:v>#N/A</c:v>
                </c:pt>
                <c:pt idx="5033">
                  <c:v>#N/A</c:v>
                </c:pt>
                <c:pt idx="5034">
                  <c:v>#N/A</c:v>
                </c:pt>
                <c:pt idx="5035">
                  <c:v>#N/A</c:v>
                </c:pt>
                <c:pt idx="5036">
                  <c:v>#N/A</c:v>
                </c:pt>
                <c:pt idx="5037">
                  <c:v>#N/A</c:v>
                </c:pt>
                <c:pt idx="5038">
                  <c:v>#N/A</c:v>
                </c:pt>
                <c:pt idx="5039">
                  <c:v>#N/A</c:v>
                </c:pt>
                <c:pt idx="5040">
                  <c:v>#N/A</c:v>
                </c:pt>
                <c:pt idx="5041">
                  <c:v>#N/A</c:v>
                </c:pt>
                <c:pt idx="5042">
                  <c:v>#N/A</c:v>
                </c:pt>
                <c:pt idx="5043">
                  <c:v>#N/A</c:v>
                </c:pt>
                <c:pt idx="5044">
                  <c:v>#N/A</c:v>
                </c:pt>
                <c:pt idx="5045">
                  <c:v>#N/A</c:v>
                </c:pt>
                <c:pt idx="5046">
                  <c:v>#N/A</c:v>
                </c:pt>
                <c:pt idx="5047">
                  <c:v>#N/A</c:v>
                </c:pt>
                <c:pt idx="5048">
                  <c:v>#N/A</c:v>
                </c:pt>
                <c:pt idx="5049">
                  <c:v>#N/A</c:v>
                </c:pt>
                <c:pt idx="5050">
                  <c:v>#N/A</c:v>
                </c:pt>
                <c:pt idx="5051">
                  <c:v>#N/A</c:v>
                </c:pt>
                <c:pt idx="5052">
                  <c:v>#N/A</c:v>
                </c:pt>
                <c:pt idx="5053">
                  <c:v>#N/A</c:v>
                </c:pt>
                <c:pt idx="5054">
                  <c:v>#N/A</c:v>
                </c:pt>
                <c:pt idx="5055">
                  <c:v>#N/A</c:v>
                </c:pt>
                <c:pt idx="5056">
                  <c:v>#N/A</c:v>
                </c:pt>
                <c:pt idx="5057">
                  <c:v>#N/A</c:v>
                </c:pt>
                <c:pt idx="5058">
                  <c:v>#N/A</c:v>
                </c:pt>
                <c:pt idx="5059">
                  <c:v>2.0493150684931507</c:v>
                </c:pt>
                <c:pt idx="5060">
                  <c:v>#N/A</c:v>
                </c:pt>
                <c:pt idx="5061">
                  <c:v>#N/A</c:v>
                </c:pt>
                <c:pt idx="5062">
                  <c:v>#N/A</c:v>
                </c:pt>
                <c:pt idx="5063">
                  <c:v>#N/A</c:v>
                </c:pt>
                <c:pt idx="5064">
                  <c:v>#N/A</c:v>
                </c:pt>
                <c:pt idx="5065">
                  <c:v>#N/A</c:v>
                </c:pt>
                <c:pt idx="5066">
                  <c:v>#N/A</c:v>
                </c:pt>
                <c:pt idx="5067">
                  <c:v>#N/A</c:v>
                </c:pt>
                <c:pt idx="5068">
                  <c:v>#N/A</c:v>
                </c:pt>
                <c:pt idx="5069">
                  <c:v>#N/A</c:v>
                </c:pt>
                <c:pt idx="5070">
                  <c:v>#N/A</c:v>
                </c:pt>
                <c:pt idx="5071">
                  <c:v>#N/A</c:v>
                </c:pt>
                <c:pt idx="5072">
                  <c:v>#N/A</c:v>
                </c:pt>
                <c:pt idx="5073">
                  <c:v>#N/A</c:v>
                </c:pt>
                <c:pt idx="5074">
                  <c:v>#N/A</c:v>
                </c:pt>
                <c:pt idx="5075">
                  <c:v>#N/A</c:v>
                </c:pt>
                <c:pt idx="5076">
                  <c:v>#N/A</c:v>
                </c:pt>
                <c:pt idx="5077">
                  <c:v>2.0493150684931507</c:v>
                </c:pt>
                <c:pt idx="5078">
                  <c:v>#N/A</c:v>
                </c:pt>
                <c:pt idx="5079">
                  <c:v>#N/A</c:v>
                </c:pt>
                <c:pt idx="5080">
                  <c:v>#N/A</c:v>
                </c:pt>
                <c:pt idx="5081">
                  <c:v>#N/A</c:v>
                </c:pt>
                <c:pt idx="5082">
                  <c:v>#N/A</c:v>
                </c:pt>
                <c:pt idx="5083">
                  <c:v>#N/A</c:v>
                </c:pt>
                <c:pt idx="5084">
                  <c:v>#N/A</c:v>
                </c:pt>
                <c:pt idx="5085">
                  <c:v>#N/A</c:v>
                </c:pt>
                <c:pt idx="5086">
                  <c:v>#N/A</c:v>
                </c:pt>
                <c:pt idx="5087">
                  <c:v>#N/A</c:v>
                </c:pt>
                <c:pt idx="5088">
                  <c:v>#N/A</c:v>
                </c:pt>
                <c:pt idx="5089">
                  <c:v>#N/A</c:v>
                </c:pt>
                <c:pt idx="5090">
                  <c:v>#N/A</c:v>
                </c:pt>
                <c:pt idx="5091">
                  <c:v>#N/A</c:v>
                </c:pt>
                <c:pt idx="5092">
                  <c:v>#N/A</c:v>
                </c:pt>
                <c:pt idx="5093">
                  <c:v>#N/A</c:v>
                </c:pt>
                <c:pt idx="5094">
                  <c:v>#N/A</c:v>
                </c:pt>
                <c:pt idx="5095">
                  <c:v>#N/A</c:v>
                </c:pt>
                <c:pt idx="5096">
                  <c:v>#N/A</c:v>
                </c:pt>
                <c:pt idx="5097">
                  <c:v>2.0493150684931507</c:v>
                </c:pt>
                <c:pt idx="5098">
                  <c:v>#N/A</c:v>
                </c:pt>
                <c:pt idx="5099">
                  <c:v>#N/A</c:v>
                </c:pt>
                <c:pt idx="5100">
                  <c:v>#N/A</c:v>
                </c:pt>
                <c:pt idx="5101">
                  <c:v>#N/A</c:v>
                </c:pt>
                <c:pt idx="5102">
                  <c:v>#N/A</c:v>
                </c:pt>
                <c:pt idx="5103">
                  <c:v>#N/A</c:v>
                </c:pt>
                <c:pt idx="5104">
                  <c:v>#N/A</c:v>
                </c:pt>
                <c:pt idx="5105">
                  <c:v>#N/A</c:v>
                </c:pt>
                <c:pt idx="5106">
                  <c:v>#N/A</c:v>
                </c:pt>
                <c:pt idx="5107">
                  <c:v>#N/A</c:v>
                </c:pt>
                <c:pt idx="5108">
                  <c:v>#N/A</c:v>
                </c:pt>
                <c:pt idx="5109">
                  <c:v>#N/A</c:v>
                </c:pt>
                <c:pt idx="5110">
                  <c:v>#N/A</c:v>
                </c:pt>
                <c:pt idx="5111">
                  <c:v>#N/A</c:v>
                </c:pt>
                <c:pt idx="5112">
                  <c:v>#N/A</c:v>
                </c:pt>
                <c:pt idx="5113">
                  <c:v>#N/A</c:v>
                </c:pt>
                <c:pt idx="5114">
                  <c:v>#N/A</c:v>
                </c:pt>
                <c:pt idx="5115">
                  <c:v>#N/A</c:v>
                </c:pt>
                <c:pt idx="5116">
                  <c:v>#N/A</c:v>
                </c:pt>
                <c:pt idx="5117">
                  <c:v>#N/A</c:v>
                </c:pt>
                <c:pt idx="5118">
                  <c:v>#N/A</c:v>
                </c:pt>
                <c:pt idx="5119">
                  <c:v>#N/A</c:v>
                </c:pt>
                <c:pt idx="5120">
                  <c:v>#N/A</c:v>
                </c:pt>
                <c:pt idx="5121">
                  <c:v>#N/A</c:v>
                </c:pt>
                <c:pt idx="5122">
                  <c:v>#N/A</c:v>
                </c:pt>
                <c:pt idx="5123">
                  <c:v>#N/A</c:v>
                </c:pt>
                <c:pt idx="5124">
                  <c:v>#N/A</c:v>
                </c:pt>
                <c:pt idx="5125">
                  <c:v>#N/A</c:v>
                </c:pt>
                <c:pt idx="5126">
                  <c:v>#N/A</c:v>
                </c:pt>
                <c:pt idx="5127">
                  <c:v>#N/A</c:v>
                </c:pt>
                <c:pt idx="5128">
                  <c:v>#N/A</c:v>
                </c:pt>
                <c:pt idx="5129">
                  <c:v>#N/A</c:v>
                </c:pt>
                <c:pt idx="5130">
                  <c:v>#N/A</c:v>
                </c:pt>
                <c:pt idx="5131">
                  <c:v>#N/A</c:v>
                </c:pt>
                <c:pt idx="5132">
                  <c:v>#N/A</c:v>
                </c:pt>
                <c:pt idx="5133">
                  <c:v>#N/A</c:v>
                </c:pt>
                <c:pt idx="5134">
                  <c:v>#N/A</c:v>
                </c:pt>
                <c:pt idx="5135">
                  <c:v>2.0493150684931507</c:v>
                </c:pt>
                <c:pt idx="5136">
                  <c:v>#N/A</c:v>
                </c:pt>
                <c:pt idx="5137">
                  <c:v>#N/A</c:v>
                </c:pt>
                <c:pt idx="5138">
                  <c:v>#N/A</c:v>
                </c:pt>
                <c:pt idx="5139">
                  <c:v>#N/A</c:v>
                </c:pt>
                <c:pt idx="5140">
                  <c:v>#N/A</c:v>
                </c:pt>
                <c:pt idx="5141">
                  <c:v>#N/A</c:v>
                </c:pt>
                <c:pt idx="5142">
                  <c:v>#N/A</c:v>
                </c:pt>
                <c:pt idx="5143">
                  <c:v>#N/A</c:v>
                </c:pt>
                <c:pt idx="5144">
                  <c:v>#N/A</c:v>
                </c:pt>
                <c:pt idx="5145">
                  <c:v>#N/A</c:v>
                </c:pt>
                <c:pt idx="5146">
                  <c:v>#N/A</c:v>
                </c:pt>
                <c:pt idx="5147">
                  <c:v>#N/A</c:v>
                </c:pt>
                <c:pt idx="5148">
                  <c:v>#N/A</c:v>
                </c:pt>
                <c:pt idx="5149">
                  <c:v>#N/A</c:v>
                </c:pt>
                <c:pt idx="5150">
                  <c:v>#N/A</c:v>
                </c:pt>
                <c:pt idx="5151">
                  <c:v>#N/A</c:v>
                </c:pt>
                <c:pt idx="5152">
                  <c:v>#N/A</c:v>
                </c:pt>
                <c:pt idx="5153">
                  <c:v>#N/A</c:v>
                </c:pt>
                <c:pt idx="5154">
                  <c:v>#N/A</c:v>
                </c:pt>
                <c:pt idx="5155">
                  <c:v>2.0493150684931507</c:v>
                </c:pt>
                <c:pt idx="5156">
                  <c:v>#N/A</c:v>
                </c:pt>
                <c:pt idx="5157">
                  <c:v>2.0493150684931507</c:v>
                </c:pt>
                <c:pt idx="5158">
                  <c:v>#N/A</c:v>
                </c:pt>
                <c:pt idx="5159">
                  <c:v>#N/A</c:v>
                </c:pt>
                <c:pt idx="5160">
                  <c:v>#N/A</c:v>
                </c:pt>
                <c:pt idx="5161">
                  <c:v>2.0493150684931507</c:v>
                </c:pt>
                <c:pt idx="5162">
                  <c:v>#N/A</c:v>
                </c:pt>
                <c:pt idx="5163">
                  <c:v>#N/A</c:v>
                </c:pt>
                <c:pt idx="5164">
                  <c:v>#N/A</c:v>
                </c:pt>
                <c:pt idx="5165">
                  <c:v>#N/A</c:v>
                </c:pt>
                <c:pt idx="5166">
                  <c:v>#N/A</c:v>
                </c:pt>
                <c:pt idx="5167">
                  <c:v>#N/A</c:v>
                </c:pt>
                <c:pt idx="5168">
                  <c:v>#N/A</c:v>
                </c:pt>
                <c:pt idx="5169">
                  <c:v>#N/A</c:v>
                </c:pt>
                <c:pt idx="5170">
                  <c:v>#N/A</c:v>
                </c:pt>
                <c:pt idx="5171">
                  <c:v>#N/A</c:v>
                </c:pt>
                <c:pt idx="5172">
                  <c:v>#N/A</c:v>
                </c:pt>
                <c:pt idx="5173">
                  <c:v>#N/A</c:v>
                </c:pt>
                <c:pt idx="5174">
                  <c:v>#N/A</c:v>
                </c:pt>
                <c:pt idx="5175">
                  <c:v>#N/A</c:v>
                </c:pt>
                <c:pt idx="5176">
                  <c:v>#N/A</c:v>
                </c:pt>
                <c:pt idx="5177">
                  <c:v>#N/A</c:v>
                </c:pt>
                <c:pt idx="5178">
                  <c:v>2.0493150684931507</c:v>
                </c:pt>
                <c:pt idx="5179">
                  <c:v>#N/A</c:v>
                </c:pt>
                <c:pt idx="5180">
                  <c:v>#N/A</c:v>
                </c:pt>
                <c:pt idx="5181">
                  <c:v>#N/A</c:v>
                </c:pt>
                <c:pt idx="5182">
                  <c:v>#N/A</c:v>
                </c:pt>
                <c:pt idx="5183">
                  <c:v>#N/A</c:v>
                </c:pt>
                <c:pt idx="5184">
                  <c:v>#N/A</c:v>
                </c:pt>
                <c:pt idx="5185">
                  <c:v>2.0493150684931507</c:v>
                </c:pt>
                <c:pt idx="5186">
                  <c:v>#N/A</c:v>
                </c:pt>
                <c:pt idx="5187">
                  <c:v>#N/A</c:v>
                </c:pt>
                <c:pt idx="5188">
                  <c:v>#N/A</c:v>
                </c:pt>
                <c:pt idx="5189">
                  <c:v>#N/A</c:v>
                </c:pt>
                <c:pt idx="5190">
                  <c:v>#N/A</c:v>
                </c:pt>
                <c:pt idx="5191">
                  <c:v>#N/A</c:v>
                </c:pt>
                <c:pt idx="5192">
                  <c:v>#N/A</c:v>
                </c:pt>
                <c:pt idx="5193">
                  <c:v>#N/A</c:v>
                </c:pt>
                <c:pt idx="5194">
                  <c:v>#N/A</c:v>
                </c:pt>
                <c:pt idx="5195">
                  <c:v>#N/A</c:v>
                </c:pt>
                <c:pt idx="5196">
                  <c:v>#N/A</c:v>
                </c:pt>
                <c:pt idx="5197">
                  <c:v>#N/A</c:v>
                </c:pt>
                <c:pt idx="5198">
                  <c:v>#N/A</c:v>
                </c:pt>
                <c:pt idx="5199">
                  <c:v>#N/A</c:v>
                </c:pt>
                <c:pt idx="5200">
                  <c:v>#N/A</c:v>
                </c:pt>
                <c:pt idx="5201">
                  <c:v>#N/A</c:v>
                </c:pt>
                <c:pt idx="5202">
                  <c:v>#N/A</c:v>
                </c:pt>
                <c:pt idx="5203">
                  <c:v>#N/A</c:v>
                </c:pt>
                <c:pt idx="5204">
                  <c:v>#N/A</c:v>
                </c:pt>
                <c:pt idx="5205">
                  <c:v>2.0493150684931507</c:v>
                </c:pt>
                <c:pt idx="5206">
                  <c:v>2.0493150684931507</c:v>
                </c:pt>
                <c:pt idx="5207">
                  <c:v>#N/A</c:v>
                </c:pt>
                <c:pt idx="5208">
                  <c:v>#N/A</c:v>
                </c:pt>
                <c:pt idx="5209">
                  <c:v>#N/A</c:v>
                </c:pt>
                <c:pt idx="5210">
                  <c:v>#N/A</c:v>
                </c:pt>
                <c:pt idx="5211">
                  <c:v>2.0493150684931507</c:v>
                </c:pt>
                <c:pt idx="5212">
                  <c:v>#N/A</c:v>
                </c:pt>
                <c:pt idx="5213">
                  <c:v>#N/A</c:v>
                </c:pt>
                <c:pt idx="5214">
                  <c:v>#N/A</c:v>
                </c:pt>
                <c:pt idx="5215">
                  <c:v>#N/A</c:v>
                </c:pt>
                <c:pt idx="5216">
                  <c:v>#N/A</c:v>
                </c:pt>
                <c:pt idx="5217">
                  <c:v>#N/A</c:v>
                </c:pt>
                <c:pt idx="5218">
                  <c:v>#N/A</c:v>
                </c:pt>
                <c:pt idx="5219">
                  <c:v>#N/A</c:v>
                </c:pt>
                <c:pt idx="5220">
                  <c:v>#N/A</c:v>
                </c:pt>
                <c:pt idx="5221">
                  <c:v>#N/A</c:v>
                </c:pt>
                <c:pt idx="5222">
                  <c:v>#N/A</c:v>
                </c:pt>
                <c:pt idx="5223">
                  <c:v>#N/A</c:v>
                </c:pt>
                <c:pt idx="5224">
                  <c:v>#N/A</c:v>
                </c:pt>
                <c:pt idx="5225">
                  <c:v>#N/A</c:v>
                </c:pt>
                <c:pt idx="5226">
                  <c:v>#N/A</c:v>
                </c:pt>
                <c:pt idx="5227">
                  <c:v>#N/A</c:v>
                </c:pt>
                <c:pt idx="5228">
                  <c:v>#N/A</c:v>
                </c:pt>
                <c:pt idx="5229">
                  <c:v>2.0493150684931507</c:v>
                </c:pt>
                <c:pt idx="5230">
                  <c:v>#N/A</c:v>
                </c:pt>
                <c:pt idx="5231">
                  <c:v>#N/A</c:v>
                </c:pt>
                <c:pt idx="5232">
                  <c:v>#N/A</c:v>
                </c:pt>
                <c:pt idx="5233">
                  <c:v>#N/A</c:v>
                </c:pt>
                <c:pt idx="5234">
                  <c:v>#N/A</c:v>
                </c:pt>
                <c:pt idx="5235">
                  <c:v>2.0493150684931507</c:v>
                </c:pt>
                <c:pt idx="5236">
                  <c:v>#N/A</c:v>
                </c:pt>
                <c:pt idx="5237">
                  <c:v>#N/A</c:v>
                </c:pt>
                <c:pt idx="5238">
                  <c:v>#N/A</c:v>
                </c:pt>
                <c:pt idx="5239">
                  <c:v>#N/A</c:v>
                </c:pt>
                <c:pt idx="5240">
                  <c:v>#N/A</c:v>
                </c:pt>
                <c:pt idx="5241">
                  <c:v>#N/A</c:v>
                </c:pt>
                <c:pt idx="5242">
                  <c:v>#N/A</c:v>
                </c:pt>
                <c:pt idx="5243">
                  <c:v>#N/A</c:v>
                </c:pt>
                <c:pt idx="5244">
                  <c:v>#N/A</c:v>
                </c:pt>
                <c:pt idx="5245">
                  <c:v>#N/A</c:v>
                </c:pt>
                <c:pt idx="5246">
                  <c:v>#N/A</c:v>
                </c:pt>
                <c:pt idx="5247">
                  <c:v>#N/A</c:v>
                </c:pt>
                <c:pt idx="5248">
                  <c:v>#N/A</c:v>
                </c:pt>
                <c:pt idx="5249">
                  <c:v>#N/A</c:v>
                </c:pt>
                <c:pt idx="5250">
                  <c:v>#N/A</c:v>
                </c:pt>
                <c:pt idx="5251">
                  <c:v>2.0493150684931507</c:v>
                </c:pt>
                <c:pt idx="5252">
                  <c:v>2.0493150684931507</c:v>
                </c:pt>
                <c:pt idx="5253">
                  <c:v>#N/A</c:v>
                </c:pt>
                <c:pt idx="5254">
                  <c:v>#N/A</c:v>
                </c:pt>
                <c:pt idx="5255">
                  <c:v>2.0493150684931507</c:v>
                </c:pt>
                <c:pt idx="5256">
                  <c:v>#N/A</c:v>
                </c:pt>
                <c:pt idx="5257">
                  <c:v>#N/A</c:v>
                </c:pt>
                <c:pt idx="5258">
                  <c:v>#N/A</c:v>
                </c:pt>
                <c:pt idx="5259">
                  <c:v>#N/A</c:v>
                </c:pt>
                <c:pt idx="5260">
                  <c:v>#N/A</c:v>
                </c:pt>
                <c:pt idx="5261">
                  <c:v>#N/A</c:v>
                </c:pt>
                <c:pt idx="5262">
                  <c:v>#N/A</c:v>
                </c:pt>
                <c:pt idx="5263">
                  <c:v>#N/A</c:v>
                </c:pt>
                <c:pt idx="5264">
                  <c:v>#N/A</c:v>
                </c:pt>
                <c:pt idx="5265">
                  <c:v>#N/A</c:v>
                </c:pt>
                <c:pt idx="5266">
                  <c:v>#N/A</c:v>
                </c:pt>
                <c:pt idx="5267">
                  <c:v>#N/A</c:v>
                </c:pt>
                <c:pt idx="5268">
                  <c:v>#N/A</c:v>
                </c:pt>
                <c:pt idx="5269">
                  <c:v>#N/A</c:v>
                </c:pt>
                <c:pt idx="5270">
                  <c:v>#N/A</c:v>
                </c:pt>
                <c:pt idx="5271">
                  <c:v>#N/A</c:v>
                </c:pt>
                <c:pt idx="5272">
                  <c:v>#N/A</c:v>
                </c:pt>
                <c:pt idx="5273">
                  <c:v>#N/A</c:v>
                </c:pt>
                <c:pt idx="5274">
                  <c:v>#N/A</c:v>
                </c:pt>
                <c:pt idx="5275">
                  <c:v>2.0493150684931507</c:v>
                </c:pt>
                <c:pt idx="5276">
                  <c:v>#N/A</c:v>
                </c:pt>
                <c:pt idx="5277">
                  <c:v>#N/A</c:v>
                </c:pt>
                <c:pt idx="5278">
                  <c:v>#N/A</c:v>
                </c:pt>
                <c:pt idx="5279">
                  <c:v>#N/A</c:v>
                </c:pt>
                <c:pt idx="5280">
                  <c:v>#N/A</c:v>
                </c:pt>
                <c:pt idx="5281">
                  <c:v>#N/A</c:v>
                </c:pt>
                <c:pt idx="5282">
                  <c:v>#N/A</c:v>
                </c:pt>
                <c:pt idx="5283">
                  <c:v>#N/A</c:v>
                </c:pt>
                <c:pt idx="5284">
                  <c:v>#N/A</c:v>
                </c:pt>
                <c:pt idx="5285">
                  <c:v>#N/A</c:v>
                </c:pt>
                <c:pt idx="5286">
                  <c:v>#N/A</c:v>
                </c:pt>
                <c:pt idx="5287">
                  <c:v>#N/A</c:v>
                </c:pt>
                <c:pt idx="5288">
                  <c:v>#N/A</c:v>
                </c:pt>
                <c:pt idx="5289">
                  <c:v>#N/A</c:v>
                </c:pt>
                <c:pt idx="5290">
                  <c:v>2.0493150684931507</c:v>
                </c:pt>
                <c:pt idx="5291">
                  <c:v>#N/A</c:v>
                </c:pt>
                <c:pt idx="5292">
                  <c:v>#N/A</c:v>
                </c:pt>
                <c:pt idx="5293">
                  <c:v>#N/A</c:v>
                </c:pt>
                <c:pt idx="5294">
                  <c:v>#N/A</c:v>
                </c:pt>
                <c:pt idx="5295">
                  <c:v>#N/A</c:v>
                </c:pt>
                <c:pt idx="5296">
                  <c:v>#N/A</c:v>
                </c:pt>
                <c:pt idx="5297">
                  <c:v>#N/A</c:v>
                </c:pt>
                <c:pt idx="5298">
                  <c:v>2.0493150684931507</c:v>
                </c:pt>
                <c:pt idx="5299">
                  <c:v>#N/A</c:v>
                </c:pt>
                <c:pt idx="5300">
                  <c:v>#N/A</c:v>
                </c:pt>
                <c:pt idx="5301">
                  <c:v>2.0493150684931507</c:v>
                </c:pt>
                <c:pt idx="5302">
                  <c:v>#N/A</c:v>
                </c:pt>
                <c:pt idx="5303">
                  <c:v>#N/A</c:v>
                </c:pt>
                <c:pt idx="5304">
                  <c:v>#N/A</c:v>
                </c:pt>
                <c:pt idx="5305">
                  <c:v>#N/A</c:v>
                </c:pt>
                <c:pt idx="5306">
                  <c:v>#N/A</c:v>
                </c:pt>
                <c:pt idx="5307">
                  <c:v>#N/A</c:v>
                </c:pt>
                <c:pt idx="5308">
                  <c:v>#N/A</c:v>
                </c:pt>
                <c:pt idx="5309">
                  <c:v>#N/A</c:v>
                </c:pt>
                <c:pt idx="5310">
                  <c:v>#N/A</c:v>
                </c:pt>
                <c:pt idx="5311">
                  <c:v>#N/A</c:v>
                </c:pt>
                <c:pt idx="5312">
                  <c:v>#N/A</c:v>
                </c:pt>
                <c:pt idx="5313">
                  <c:v>#N/A</c:v>
                </c:pt>
                <c:pt idx="5314">
                  <c:v>#N/A</c:v>
                </c:pt>
                <c:pt idx="5315">
                  <c:v>#N/A</c:v>
                </c:pt>
                <c:pt idx="5316">
                  <c:v>#N/A</c:v>
                </c:pt>
                <c:pt idx="5317">
                  <c:v>#N/A</c:v>
                </c:pt>
                <c:pt idx="5318">
                  <c:v>2.0493150684931507</c:v>
                </c:pt>
                <c:pt idx="5319">
                  <c:v>#N/A</c:v>
                </c:pt>
                <c:pt idx="5320">
                  <c:v>2.0493150684931507</c:v>
                </c:pt>
                <c:pt idx="5321">
                  <c:v>2.0493150684931507</c:v>
                </c:pt>
                <c:pt idx="5322">
                  <c:v>2.0493150684931507</c:v>
                </c:pt>
                <c:pt idx="5323">
                  <c:v>#N/A</c:v>
                </c:pt>
                <c:pt idx="5324">
                  <c:v>#N/A</c:v>
                </c:pt>
                <c:pt idx="5325">
                  <c:v>#N/A</c:v>
                </c:pt>
                <c:pt idx="5326">
                  <c:v>#N/A</c:v>
                </c:pt>
                <c:pt idx="5327">
                  <c:v>#N/A</c:v>
                </c:pt>
                <c:pt idx="5328">
                  <c:v>#N/A</c:v>
                </c:pt>
                <c:pt idx="5329">
                  <c:v>#N/A</c:v>
                </c:pt>
                <c:pt idx="5330">
                  <c:v>#N/A</c:v>
                </c:pt>
                <c:pt idx="5331">
                  <c:v>#N/A</c:v>
                </c:pt>
                <c:pt idx="5332">
                  <c:v>#N/A</c:v>
                </c:pt>
                <c:pt idx="5333">
                  <c:v>#N/A</c:v>
                </c:pt>
                <c:pt idx="5334">
                  <c:v>2.0493150684931507</c:v>
                </c:pt>
                <c:pt idx="5335">
                  <c:v>#N/A</c:v>
                </c:pt>
                <c:pt idx="5336">
                  <c:v>#N/A</c:v>
                </c:pt>
                <c:pt idx="5337">
                  <c:v>#N/A</c:v>
                </c:pt>
                <c:pt idx="5338">
                  <c:v>2.0493150684931507</c:v>
                </c:pt>
                <c:pt idx="5339">
                  <c:v>#N/A</c:v>
                </c:pt>
                <c:pt idx="5340">
                  <c:v>#N/A</c:v>
                </c:pt>
                <c:pt idx="5341">
                  <c:v>#N/A</c:v>
                </c:pt>
                <c:pt idx="5342">
                  <c:v>#N/A</c:v>
                </c:pt>
                <c:pt idx="5343">
                  <c:v>#N/A</c:v>
                </c:pt>
                <c:pt idx="5344">
                  <c:v>#N/A</c:v>
                </c:pt>
                <c:pt idx="5345">
                  <c:v>#N/A</c:v>
                </c:pt>
                <c:pt idx="5346">
                  <c:v>#N/A</c:v>
                </c:pt>
                <c:pt idx="5347">
                  <c:v>2.0493150684931507</c:v>
                </c:pt>
                <c:pt idx="5348">
                  <c:v>#N/A</c:v>
                </c:pt>
                <c:pt idx="5349">
                  <c:v>#N/A</c:v>
                </c:pt>
                <c:pt idx="5350">
                  <c:v>#N/A</c:v>
                </c:pt>
                <c:pt idx="5351">
                  <c:v>#N/A</c:v>
                </c:pt>
                <c:pt idx="5352">
                  <c:v>#N/A</c:v>
                </c:pt>
                <c:pt idx="5353">
                  <c:v>#N/A</c:v>
                </c:pt>
                <c:pt idx="5354">
                  <c:v>#N/A</c:v>
                </c:pt>
                <c:pt idx="5355">
                  <c:v>#N/A</c:v>
                </c:pt>
                <c:pt idx="5356">
                  <c:v>#N/A</c:v>
                </c:pt>
                <c:pt idx="5357">
                  <c:v>#N/A</c:v>
                </c:pt>
                <c:pt idx="5358">
                  <c:v>#N/A</c:v>
                </c:pt>
                <c:pt idx="5359">
                  <c:v>#N/A</c:v>
                </c:pt>
                <c:pt idx="5360">
                  <c:v>#N/A</c:v>
                </c:pt>
                <c:pt idx="5361">
                  <c:v>#N/A</c:v>
                </c:pt>
                <c:pt idx="5362">
                  <c:v>#N/A</c:v>
                </c:pt>
                <c:pt idx="5363">
                  <c:v>#N/A</c:v>
                </c:pt>
                <c:pt idx="5364">
                  <c:v>#N/A</c:v>
                </c:pt>
                <c:pt idx="5365">
                  <c:v>#N/A</c:v>
                </c:pt>
                <c:pt idx="5366">
                  <c:v>#N/A</c:v>
                </c:pt>
                <c:pt idx="5367">
                  <c:v>#N/A</c:v>
                </c:pt>
                <c:pt idx="5368">
                  <c:v>#N/A</c:v>
                </c:pt>
                <c:pt idx="5369">
                  <c:v>#N/A</c:v>
                </c:pt>
                <c:pt idx="5370">
                  <c:v>#N/A</c:v>
                </c:pt>
                <c:pt idx="5371">
                  <c:v>#N/A</c:v>
                </c:pt>
                <c:pt idx="5372">
                  <c:v>#N/A</c:v>
                </c:pt>
                <c:pt idx="5373">
                  <c:v>#N/A</c:v>
                </c:pt>
                <c:pt idx="5374">
                  <c:v>#N/A</c:v>
                </c:pt>
                <c:pt idx="5375">
                  <c:v>2.0493150684931507</c:v>
                </c:pt>
                <c:pt idx="5376">
                  <c:v>#N/A</c:v>
                </c:pt>
                <c:pt idx="5377">
                  <c:v>#N/A</c:v>
                </c:pt>
                <c:pt idx="5378">
                  <c:v>2.0493150684931507</c:v>
                </c:pt>
                <c:pt idx="5379">
                  <c:v>#N/A</c:v>
                </c:pt>
                <c:pt idx="5380">
                  <c:v>#N/A</c:v>
                </c:pt>
                <c:pt idx="5381">
                  <c:v>#N/A</c:v>
                </c:pt>
                <c:pt idx="5382">
                  <c:v>#N/A</c:v>
                </c:pt>
                <c:pt idx="5383">
                  <c:v>#N/A</c:v>
                </c:pt>
                <c:pt idx="5384">
                  <c:v>#N/A</c:v>
                </c:pt>
                <c:pt idx="5385">
                  <c:v>#N/A</c:v>
                </c:pt>
                <c:pt idx="5386">
                  <c:v>#N/A</c:v>
                </c:pt>
                <c:pt idx="5387">
                  <c:v>#N/A</c:v>
                </c:pt>
                <c:pt idx="5388">
                  <c:v>#N/A</c:v>
                </c:pt>
                <c:pt idx="5389">
                  <c:v>#N/A</c:v>
                </c:pt>
                <c:pt idx="5390">
                  <c:v>#N/A</c:v>
                </c:pt>
                <c:pt idx="5391">
                  <c:v>#N/A</c:v>
                </c:pt>
                <c:pt idx="5392">
                  <c:v>#N/A</c:v>
                </c:pt>
                <c:pt idx="5393">
                  <c:v>#N/A</c:v>
                </c:pt>
                <c:pt idx="5394">
                  <c:v>#N/A</c:v>
                </c:pt>
                <c:pt idx="5395">
                  <c:v>#N/A</c:v>
                </c:pt>
                <c:pt idx="5396">
                  <c:v>#N/A</c:v>
                </c:pt>
                <c:pt idx="5397">
                  <c:v>#N/A</c:v>
                </c:pt>
                <c:pt idx="5398">
                  <c:v>2.0520547945205481</c:v>
                </c:pt>
                <c:pt idx="5399">
                  <c:v>#N/A</c:v>
                </c:pt>
                <c:pt idx="5400">
                  <c:v>#N/A</c:v>
                </c:pt>
                <c:pt idx="5401">
                  <c:v>#N/A</c:v>
                </c:pt>
                <c:pt idx="5402">
                  <c:v>#N/A</c:v>
                </c:pt>
                <c:pt idx="5403">
                  <c:v>#N/A</c:v>
                </c:pt>
                <c:pt idx="5404">
                  <c:v>#N/A</c:v>
                </c:pt>
                <c:pt idx="5405">
                  <c:v>#N/A</c:v>
                </c:pt>
                <c:pt idx="5406">
                  <c:v>#N/A</c:v>
                </c:pt>
                <c:pt idx="5407">
                  <c:v>#N/A</c:v>
                </c:pt>
                <c:pt idx="5408">
                  <c:v>#N/A</c:v>
                </c:pt>
                <c:pt idx="5409">
                  <c:v>#N/A</c:v>
                </c:pt>
                <c:pt idx="5410">
                  <c:v>#N/A</c:v>
                </c:pt>
                <c:pt idx="5411">
                  <c:v>#N/A</c:v>
                </c:pt>
                <c:pt idx="5412">
                  <c:v>#N/A</c:v>
                </c:pt>
                <c:pt idx="5413">
                  <c:v>#N/A</c:v>
                </c:pt>
                <c:pt idx="5414">
                  <c:v>#N/A</c:v>
                </c:pt>
                <c:pt idx="5415">
                  <c:v>#N/A</c:v>
                </c:pt>
                <c:pt idx="5416">
                  <c:v>#N/A</c:v>
                </c:pt>
                <c:pt idx="5417">
                  <c:v>#N/A</c:v>
                </c:pt>
                <c:pt idx="5418">
                  <c:v>#N/A</c:v>
                </c:pt>
                <c:pt idx="5419">
                  <c:v>#N/A</c:v>
                </c:pt>
                <c:pt idx="5420">
                  <c:v>#N/A</c:v>
                </c:pt>
                <c:pt idx="5421">
                  <c:v>#N/A</c:v>
                </c:pt>
                <c:pt idx="5422">
                  <c:v>#N/A</c:v>
                </c:pt>
                <c:pt idx="5423">
                  <c:v>#N/A</c:v>
                </c:pt>
                <c:pt idx="5424">
                  <c:v>#N/A</c:v>
                </c:pt>
                <c:pt idx="5425">
                  <c:v>#N/A</c:v>
                </c:pt>
                <c:pt idx="5426">
                  <c:v>#N/A</c:v>
                </c:pt>
                <c:pt idx="5427">
                  <c:v>#N/A</c:v>
                </c:pt>
                <c:pt idx="5428">
                  <c:v>#N/A</c:v>
                </c:pt>
                <c:pt idx="5429">
                  <c:v>#N/A</c:v>
                </c:pt>
                <c:pt idx="5430">
                  <c:v>#N/A</c:v>
                </c:pt>
                <c:pt idx="5431">
                  <c:v>#N/A</c:v>
                </c:pt>
                <c:pt idx="5432">
                  <c:v>2.0520547945205481</c:v>
                </c:pt>
                <c:pt idx="5433">
                  <c:v>#N/A</c:v>
                </c:pt>
                <c:pt idx="5434">
                  <c:v>#N/A</c:v>
                </c:pt>
                <c:pt idx="5435">
                  <c:v>#N/A</c:v>
                </c:pt>
                <c:pt idx="5436">
                  <c:v>#N/A</c:v>
                </c:pt>
                <c:pt idx="5437">
                  <c:v>#N/A</c:v>
                </c:pt>
                <c:pt idx="5438">
                  <c:v>#N/A</c:v>
                </c:pt>
                <c:pt idx="5439">
                  <c:v>#N/A</c:v>
                </c:pt>
                <c:pt idx="5440">
                  <c:v>#N/A</c:v>
                </c:pt>
                <c:pt idx="5441">
                  <c:v>#N/A</c:v>
                </c:pt>
                <c:pt idx="5442">
                  <c:v>#N/A</c:v>
                </c:pt>
                <c:pt idx="5443">
                  <c:v>#N/A</c:v>
                </c:pt>
                <c:pt idx="5444">
                  <c:v>#N/A</c:v>
                </c:pt>
                <c:pt idx="5445">
                  <c:v>#N/A</c:v>
                </c:pt>
                <c:pt idx="5446">
                  <c:v>#N/A</c:v>
                </c:pt>
                <c:pt idx="5447">
                  <c:v>#N/A</c:v>
                </c:pt>
                <c:pt idx="5448">
                  <c:v>#N/A</c:v>
                </c:pt>
                <c:pt idx="5449">
                  <c:v>#N/A</c:v>
                </c:pt>
                <c:pt idx="5450">
                  <c:v>#N/A</c:v>
                </c:pt>
                <c:pt idx="5451">
                  <c:v>#N/A</c:v>
                </c:pt>
                <c:pt idx="5452">
                  <c:v>#N/A</c:v>
                </c:pt>
                <c:pt idx="5453">
                  <c:v>#N/A</c:v>
                </c:pt>
                <c:pt idx="5454">
                  <c:v>#N/A</c:v>
                </c:pt>
                <c:pt idx="5455">
                  <c:v>#N/A</c:v>
                </c:pt>
                <c:pt idx="5456">
                  <c:v>#N/A</c:v>
                </c:pt>
                <c:pt idx="5457">
                  <c:v>#N/A</c:v>
                </c:pt>
                <c:pt idx="5458">
                  <c:v>#N/A</c:v>
                </c:pt>
                <c:pt idx="5459">
                  <c:v>#N/A</c:v>
                </c:pt>
                <c:pt idx="5460">
                  <c:v>#N/A</c:v>
                </c:pt>
                <c:pt idx="5461">
                  <c:v>#N/A</c:v>
                </c:pt>
                <c:pt idx="5462">
                  <c:v>#N/A</c:v>
                </c:pt>
                <c:pt idx="5463">
                  <c:v>#N/A</c:v>
                </c:pt>
                <c:pt idx="5464">
                  <c:v>#N/A</c:v>
                </c:pt>
                <c:pt idx="5465">
                  <c:v>#N/A</c:v>
                </c:pt>
                <c:pt idx="5466">
                  <c:v>#N/A</c:v>
                </c:pt>
                <c:pt idx="5467">
                  <c:v>#N/A</c:v>
                </c:pt>
                <c:pt idx="5468">
                  <c:v>#N/A</c:v>
                </c:pt>
                <c:pt idx="5469">
                  <c:v>#N/A</c:v>
                </c:pt>
                <c:pt idx="5470">
                  <c:v>#N/A</c:v>
                </c:pt>
                <c:pt idx="5471">
                  <c:v>#N/A</c:v>
                </c:pt>
                <c:pt idx="5472">
                  <c:v>#N/A</c:v>
                </c:pt>
                <c:pt idx="5473">
                  <c:v>#N/A</c:v>
                </c:pt>
                <c:pt idx="5474">
                  <c:v>#N/A</c:v>
                </c:pt>
                <c:pt idx="5475">
                  <c:v>#N/A</c:v>
                </c:pt>
                <c:pt idx="5476">
                  <c:v>#N/A</c:v>
                </c:pt>
                <c:pt idx="5477">
                  <c:v>#N/A</c:v>
                </c:pt>
                <c:pt idx="5478">
                  <c:v>#N/A</c:v>
                </c:pt>
                <c:pt idx="5479">
                  <c:v>#N/A</c:v>
                </c:pt>
                <c:pt idx="5480">
                  <c:v>#N/A</c:v>
                </c:pt>
                <c:pt idx="5481">
                  <c:v>#N/A</c:v>
                </c:pt>
                <c:pt idx="5482">
                  <c:v>#N/A</c:v>
                </c:pt>
                <c:pt idx="5483">
                  <c:v>#N/A</c:v>
                </c:pt>
                <c:pt idx="5484">
                  <c:v>#N/A</c:v>
                </c:pt>
                <c:pt idx="5485">
                  <c:v>#N/A</c:v>
                </c:pt>
                <c:pt idx="5486">
                  <c:v>#N/A</c:v>
                </c:pt>
                <c:pt idx="5487">
                  <c:v>#N/A</c:v>
                </c:pt>
                <c:pt idx="5488">
                  <c:v>#N/A</c:v>
                </c:pt>
                <c:pt idx="5489">
                  <c:v>#N/A</c:v>
                </c:pt>
                <c:pt idx="5490">
                  <c:v>#N/A</c:v>
                </c:pt>
                <c:pt idx="5491">
                  <c:v>#N/A</c:v>
                </c:pt>
                <c:pt idx="5492">
                  <c:v>#N/A</c:v>
                </c:pt>
                <c:pt idx="5493">
                  <c:v>#N/A</c:v>
                </c:pt>
                <c:pt idx="5494">
                  <c:v>#N/A</c:v>
                </c:pt>
                <c:pt idx="5495">
                  <c:v>#N/A</c:v>
                </c:pt>
                <c:pt idx="5496">
                  <c:v>#N/A</c:v>
                </c:pt>
                <c:pt idx="5497">
                  <c:v>#N/A</c:v>
                </c:pt>
                <c:pt idx="5498">
                  <c:v>#N/A</c:v>
                </c:pt>
                <c:pt idx="5499">
                  <c:v>#N/A</c:v>
                </c:pt>
                <c:pt idx="5500">
                  <c:v>#N/A</c:v>
                </c:pt>
                <c:pt idx="5501">
                  <c:v>#N/A</c:v>
                </c:pt>
                <c:pt idx="5502">
                  <c:v>#N/A</c:v>
                </c:pt>
                <c:pt idx="5503">
                  <c:v>#N/A</c:v>
                </c:pt>
                <c:pt idx="5504">
                  <c:v>#N/A</c:v>
                </c:pt>
                <c:pt idx="5505">
                  <c:v>#N/A</c:v>
                </c:pt>
                <c:pt idx="5506">
                  <c:v>#N/A</c:v>
                </c:pt>
                <c:pt idx="5507">
                  <c:v>#N/A</c:v>
                </c:pt>
                <c:pt idx="5508">
                  <c:v>#N/A</c:v>
                </c:pt>
                <c:pt idx="5509">
                  <c:v>#N/A</c:v>
                </c:pt>
                <c:pt idx="5510">
                  <c:v>#N/A</c:v>
                </c:pt>
                <c:pt idx="5511">
                  <c:v>#N/A</c:v>
                </c:pt>
                <c:pt idx="5512">
                  <c:v>#N/A</c:v>
                </c:pt>
                <c:pt idx="5513">
                  <c:v>#N/A</c:v>
                </c:pt>
                <c:pt idx="5514">
                  <c:v>#N/A</c:v>
                </c:pt>
                <c:pt idx="5515">
                  <c:v>#N/A</c:v>
                </c:pt>
                <c:pt idx="5516">
                  <c:v>#N/A</c:v>
                </c:pt>
                <c:pt idx="5517">
                  <c:v>#N/A</c:v>
                </c:pt>
                <c:pt idx="5518">
                  <c:v>#N/A</c:v>
                </c:pt>
                <c:pt idx="5519">
                  <c:v>#N/A</c:v>
                </c:pt>
                <c:pt idx="5520">
                  <c:v>#N/A</c:v>
                </c:pt>
                <c:pt idx="5521">
                  <c:v>#N/A</c:v>
                </c:pt>
                <c:pt idx="5522">
                  <c:v>#N/A</c:v>
                </c:pt>
                <c:pt idx="5523">
                  <c:v>#N/A</c:v>
                </c:pt>
                <c:pt idx="5524">
                  <c:v>#N/A</c:v>
                </c:pt>
                <c:pt idx="5525">
                  <c:v>#N/A</c:v>
                </c:pt>
                <c:pt idx="5526">
                  <c:v>#N/A</c:v>
                </c:pt>
                <c:pt idx="5527">
                  <c:v>#N/A</c:v>
                </c:pt>
                <c:pt idx="5528">
                  <c:v>#N/A</c:v>
                </c:pt>
                <c:pt idx="5529">
                  <c:v>#N/A</c:v>
                </c:pt>
                <c:pt idx="5530">
                  <c:v>#N/A</c:v>
                </c:pt>
                <c:pt idx="5531">
                  <c:v>#N/A</c:v>
                </c:pt>
                <c:pt idx="5532">
                  <c:v>#N/A</c:v>
                </c:pt>
                <c:pt idx="5533">
                  <c:v>#N/A</c:v>
                </c:pt>
                <c:pt idx="5534">
                  <c:v>#N/A</c:v>
                </c:pt>
                <c:pt idx="5535">
                  <c:v>#N/A</c:v>
                </c:pt>
                <c:pt idx="5536">
                  <c:v>#N/A</c:v>
                </c:pt>
                <c:pt idx="5537">
                  <c:v>#N/A</c:v>
                </c:pt>
                <c:pt idx="5538">
                  <c:v>#N/A</c:v>
                </c:pt>
                <c:pt idx="5539">
                  <c:v>#N/A</c:v>
                </c:pt>
                <c:pt idx="5540">
                  <c:v>#N/A</c:v>
                </c:pt>
                <c:pt idx="5541">
                  <c:v>#N/A</c:v>
                </c:pt>
                <c:pt idx="5542">
                  <c:v>#N/A</c:v>
                </c:pt>
                <c:pt idx="5543">
                  <c:v>#N/A</c:v>
                </c:pt>
                <c:pt idx="5544">
                  <c:v>#N/A</c:v>
                </c:pt>
                <c:pt idx="5545">
                  <c:v>#N/A</c:v>
                </c:pt>
                <c:pt idx="5546">
                  <c:v>#N/A</c:v>
                </c:pt>
                <c:pt idx="5547">
                  <c:v>#N/A</c:v>
                </c:pt>
                <c:pt idx="5548">
                  <c:v>#N/A</c:v>
                </c:pt>
                <c:pt idx="5549">
                  <c:v>2.0520547945205481</c:v>
                </c:pt>
                <c:pt idx="5550">
                  <c:v>#N/A</c:v>
                </c:pt>
                <c:pt idx="5551">
                  <c:v>#N/A</c:v>
                </c:pt>
                <c:pt idx="5552">
                  <c:v>#N/A</c:v>
                </c:pt>
                <c:pt idx="5553">
                  <c:v>#N/A</c:v>
                </c:pt>
                <c:pt idx="5554">
                  <c:v>#N/A</c:v>
                </c:pt>
                <c:pt idx="5555">
                  <c:v>#N/A</c:v>
                </c:pt>
                <c:pt idx="5556">
                  <c:v>2.0520547945205481</c:v>
                </c:pt>
                <c:pt idx="5557">
                  <c:v>#N/A</c:v>
                </c:pt>
                <c:pt idx="5558">
                  <c:v>#N/A</c:v>
                </c:pt>
                <c:pt idx="5559">
                  <c:v>#N/A</c:v>
                </c:pt>
                <c:pt idx="5560">
                  <c:v>#N/A</c:v>
                </c:pt>
                <c:pt idx="5561">
                  <c:v>2.0520547945205481</c:v>
                </c:pt>
                <c:pt idx="5562">
                  <c:v>#N/A</c:v>
                </c:pt>
                <c:pt idx="5563">
                  <c:v>#N/A</c:v>
                </c:pt>
                <c:pt idx="5564">
                  <c:v>2.0520547945205481</c:v>
                </c:pt>
                <c:pt idx="5565">
                  <c:v>#N/A</c:v>
                </c:pt>
                <c:pt idx="5566">
                  <c:v>#N/A</c:v>
                </c:pt>
                <c:pt idx="5567">
                  <c:v>#N/A</c:v>
                </c:pt>
                <c:pt idx="5568">
                  <c:v>#N/A</c:v>
                </c:pt>
                <c:pt idx="5569">
                  <c:v>#N/A</c:v>
                </c:pt>
                <c:pt idx="5570">
                  <c:v>#N/A</c:v>
                </c:pt>
                <c:pt idx="5571">
                  <c:v>#N/A</c:v>
                </c:pt>
                <c:pt idx="5572">
                  <c:v>#N/A</c:v>
                </c:pt>
                <c:pt idx="5573">
                  <c:v>#N/A</c:v>
                </c:pt>
                <c:pt idx="5574">
                  <c:v>#N/A</c:v>
                </c:pt>
                <c:pt idx="5575">
                  <c:v>#N/A</c:v>
                </c:pt>
                <c:pt idx="5576">
                  <c:v>#N/A</c:v>
                </c:pt>
                <c:pt idx="5577">
                  <c:v>#N/A</c:v>
                </c:pt>
                <c:pt idx="5578">
                  <c:v>#N/A</c:v>
                </c:pt>
                <c:pt idx="5579">
                  <c:v>#N/A</c:v>
                </c:pt>
                <c:pt idx="5580">
                  <c:v>#N/A</c:v>
                </c:pt>
                <c:pt idx="5581">
                  <c:v>#N/A</c:v>
                </c:pt>
                <c:pt idx="5582">
                  <c:v>#N/A</c:v>
                </c:pt>
                <c:pt idx="5583">
                  <c:v>#N/A</c:v>
                </c:pt>
                <c:pt idx="5584">
                  <c:v>#N/A</c:v>
                </c:pt>
                <c:pt idx="5585">
                  <c:v>#N/A</c:v>
                </c:pt>
                <c:pt idx="5586">
                  <c:v>#N/A</c:v>
                </c:pt>
                <c:pt idx="5587">
                  <c:v>#N/A</c:v>
                </c:pt>
                <c:pt idx="5588">
                  <c:v>#N/A</c:v>
                </c:pt>
                <c:pt idx="5589">
                  <c:v>#N/A</c:v>
                </c:pt>
                <c:pt idx="5590">
                  <c:v>#N/A</c:v>
                </c:pt>
                <c:pt idx="5591">
                  <c:v>#N/A</c:v>
                </c:pt>
                <c:pt idx="5592">
                  <c:v>#N/A</c:v>
                </c:pt>
                <c:pt idx="5593">
                  <c:v>#N/A</c:v>
                </c:pt>
                <c:pt idx="5594">
                  <c:v>#N/A</c:v>
                </c:pt>
                <c:pt idx="5595">
                  <c:v>#N/A</c:v>
                </c:pt>
                <c:pt idx="5596">
                  <c:v>#N/A</c:v>
                </c:pt>
                <c:pt idx="5597">
                  <c:v>#N/A</c:v>
                </c:pt>
                <c:pt idx="5598">
                  <c:v>#N/A</c:v>
                </c:pt>
                <c:pt idx="5599">
                  <c:v>2.0520547945205481</c:v>
                </c:pt>
                <c:pt idx="5600">
                  <c:v>#N/A</c:v>
                </c:pt>
                <c:pt idx="5601">
                  <c:v>#N/A</c:v>
                </c:pt>
                <c:pt idx="5602">
                  <c:v>#N/A</c:v>
                </c:pt>
                <c:pt idx="5603">
                  <c:v>#N/A</c:v>
                </c:pt>
                <c:pt idx="5604">
                  <c:v>#N/A</c:v>
                </c:pt>
                <c:pt idx="5605">
                  <c:v>#N/A</c:v>
                </c:pt>
                <c:pt idx="5606">
                  <c:v>#N/A</c:v>
                </c:pt>
                <c:pt idx="5607">
                  <c:v>#N/A</c:v>
                </c:pt>
                <c:pt idx="5608">
                  <c:v>#N/A</c:v>
                </c:pt>
                <c:pt idx="5609">
                  <c:v>#N/A</c:v>
                </c:pt>
                <c:pt idx="5610">
                  <c:v>#N/A</c:v>
                </c:pt>
                <c:pt idx="5611">
                  <c:v>#N/A</c:v>
                </c:pt>
                <c:pt idx="5612">
                  <c:v>2.0520547945205481</c:v>
                </c:pt>
                <c:pt idx="5613">
                  <c:v>#N/A</c:v>
                </c:pt>
                <c:pt idx="5614">
                  <c:v>#N/A</c:v>
                </c:pt>
                <c:pt idx="5615">
                  <c:v>#N/A</c:v>
                </c:pt>
                <c:pt idx="5616">
                  <c:v>#N/A</c:v>
                </c:pt>
                <c:pt idx="5617">
                  <c:v>2.0520547945205481</c:v>
                </c:pt>
                <c:pt idx="5618">
                  <c:v>2.0520547945205481</c:v>
                </c:pt>
                <c:pt idx="5619">
                  <c:v>#N/A</c:v>
                </c:pt>
                <c:pt idx="5620">
                  <c:v>#N/A</c:v>
                </c:pt>
                <c:pt idx="5621">
                  <c:v>#N/A</c:v>
                </c:pt>
                <c:pt idx="5622">
                  <c:v>#N/A</c:v>
                </c:pt>
                <c:pt idx="5623">
                  <c:v>2.0520547945205481</c:v>
                </c:pt>
                <c:pt idx="5624">
                  <c:v>#N/A</c:v>
                </c:pt>
                <c:pt idx="5625">
                  <c:v>#N/A</c:v>
                </c:pt>
                <c:pt idx="5626">
                  <c:v>#N/A</c:v>
                </c:pt>
                <c:pt idx="5627">
                  <c:v>#N/A</c:v>
                </c:pt>
                <c:pt idx="5628">
                  <c:v>#N/A</c:v>
                </c:pt>
                <c:pt idx="5629">
                  <c:v>#N/A</c:v>
                </c:pt>
                <c:pt idx="5630">
                  <c:v>#N/A</c:v>
                </c:pt>
                <c:pt idx="5631">
                  <c:v>#N/A</c:v>
                </c:pt>
                <c:pt idx="5632">
                  <c:v>#N/A</c:v>
                </c:pt>
                <c:pt idx="5633">
                  <c:v>#N/A</c:v>
                </c:pt>
                <c:pt idx="5634">
                  <c:v>2.0520547945205481</c:v>
                </c:pt>
                <c:pt idx="5635">
                  <c:v>#N/A</c:v>
                </c:pt>
                <c:pt idx="5636">
                  <c:v>#N/A</c:v>
                </c:pt>
                <c:pt idx="5637">
                  <c:v>#N/A</c:v>
                </c:pt>
                <c:pt idx="5638">
                  <c:v>#N/A</c:v>
                </c:pt>
                <c:pt idx="5639">
                  <c:v>#N/A</c:v>
                </c:pt>
                <c:pt idx="5640">
                  <c:v>#N/A</c:v>
                </c:pt>
                <c:pt idx="5641">
                  <c:v>#N/A</c:v>
                </c:pt>
                <c:pt idx="5642">
                  <c:v>#N/A</c:v>
                </c:pt>
                <c:pt idx="5643">
                  <c:v>#N/A</c:v>
                </c:pt>
                <c:pt idx="5644">
                  <c:v>#N/A</c:v>
                </c:pt>
                <c:pt idx="5645">
                  <c:v>#N/A</c:v>
                </c:pt>
                <c:pt idx="5646">
                  <c:v>#N/A</c:v>
                </c:pt>
                <c:pt idx="5647">
                  <c:v>2.0520547945205481</c:v>
                </c:pt>
                <c:pt idx="5648">
                  <c:v>#N/A</c:v>
                </c:pt>
                <c:pt idx="5649">
                  <c:v>#N/A</c:v>
                </c:pt>
                <c:pt idx="5650">
                  <c:v>#N/A</c:v>
                </c:pt>
                <c:pt idx="5651">
                  <c:v>#N/A</c:v>
                </c:pt>
                <c:pt idx="5652">
                  <c:v>2.0520547945205481</c:v>
                </c:pt>
                <c:pt idx="5653">
                  <c:v>#N/A</c:v>
                </c:pt>
                <c:pt idx="5654">
                  <c:v>2.0520547945205481</c:v>
                </c:pt>
                <c:pt idx="5655">
                  <c:v>#N/A</c:v>
                </c:pt>
                <c:pt idx="5656">
                  <c:v>#N/A</c:v>
                </c:pt>
                <c:pt idx="5657">
                  <c:v>#N/A</c:v>
                </c:pt>
                <c:pt idx="5658">
                  <c:v>#N/A</c:v>
                </c:pt>
                <c:pt idx="5659">
                  <c:v>2.0520547945205481</c:v>
                </c:pt>
                <c:pt idx="5660">
                  <c:v>2.0520547945205481</c:v>
                </c:pt>
                <c:pt idx="5661">
                  <c:v>#N/A</c:v>
                </c:pt>
                <c:pt idx="5662">
                  <c:v>#N/A</c:v>
                </c:pt>
                <c:pt idx="5663">
                  <c:v>#N/A</c:v>
                </c:pt>
                <c:pt idx="5664">
                  <c:v>#N/A</c:v>
                </c:pt>
                <c:pt idx="5665">
                  <c:v>#N/A</c:v>
                </c:pt>
                <c:pt idx="5666">
                  <c:v>2.0520547945205481</c:v>
                </c:pt>
                <c:pt idx="5667">
                  <c:v>#N/A</c:v>
                </c:pt>
                <c:pt idx="5668">
                  <c:v>#N/A</c:v>
                </c:pt>
                <c:pt idx="5669">
                  <c:v>#N/A</c:v>
                </c:pt>
                <c:pt idx="5670">
                  <c:v>#N/A</c:v>
                </c:pt>
                <c:pt idx="5671">
                  <c:v>#N/A</c:v>
                </c:pt>
                <c:pt idx="5672">
                  <c:v>#N/A</c:v>
                </c:pt>
                <c:pt idx="5673">
                  <c:v>2.0520547945205481</c:v>
                </c:pt>
                <c:pt idx="5674">
                  <c:v>#N/A</c:v>
                </c:pt>
                <c:pt idx="5675">
                  <c:v>#N/A</c:v>
                </c:pt>
                <c:pt idx="5676">
                  <c:v>#N/A</c:v>
                </c:pt>
                <c:pt idx="5677">
                  <c:v>#N/A</c:v>
                </c:pt>
                <c:pt idx="5678">
                  <c:v>2.0520547945205481</c:v>
                </c:pt>
                <c:pt idx="5679">
                  <c:v>#N/A</c:v>
                </c:pt>
                <c:pt idx="5680">
                  <c:v>#N/A</c:v>
                </c:pt>
                <c:pt idx="5681">
                  <c:v>#N/A</c:v>
                </c:pt>
                <c:pt idx="5682">
                  <c:v>#N/A</c:v>
                </c:pt>
                <c:pt idx="5683">
                  <c:v>#N/A</c:v>
                </c:pt>
                <c:pt idx="5684">
                  <c:v>#N/A</c:v>
                </c:pt>
                <c:pt idx="5685">
                  <c:v>#N/A</c:v>
                </c:pt>
                <c:pt idx="5686">
                  <c:v>#N/A</c:v>
                </c:pt>
                <c:pt idx="5687">
                  <c:v>#N/A</c:v>
                </c:pt>
                <c:pt idx="5688">
                  <c:v>#N/A</c:v>
                </c:pt>
                <c:pt idx="5689">
                  <c:v>#N/A</c:v>
                </c:pt>
                <c:pt idx="5690">
                  <c:v>#N/A</c:v>
                </c:pt>
                <c:pt idx="5691">
                  <c:v>#N/A</c:v>
                </c:pt>
                <c:pt idx="5692">
                  <c:v>#N/A</c:v>
                </c:pt>
                <c:pt idx="5693">
                  <c:v>#N/A</c:v>
                </c:pt>
                <c:pt idx="5694">
                  <c:v>#N/A</c:v>
                </c:pt>
                <c:pt idx="5695">
                  <c:v>#N/A</c:v>
                </c:pt>
                <c:pt idx="5696">
                  <c:v>#N/A</c:v>
                </c:pt>
                <c:pt idx="5697">
                  <c:v>#N/A</c:v>
                </c:pt>
                <c:pt idx="5698">
                  <c:v>#N/A</c:v>
                </c:pt>
                <c:pt idx="5699">
                  <c:v>#N/A</c:v>
                </c:pt>
                <c:pt idx="5700">
                  <c:v>#N/A</c:v>
                </c:pt>
                <c:pt idx="5701">
                  <c:v>#N/A</c:v>
                </c:pt>
                <c:pt idx="5702">
                  <c:v>#N/A</c:v>
                </c:pt>
                <c:pt idx="5703">
                  <c:v>#N/A</c:v>
                </c:pt>
                <c:pt idx="5704">
                  <c:v>#N/A</c:v>
                </c:pt>
                <c:pt idx="5705">
                  <c:v>#N/A</c:v>
                </c:pt>
                <c:pt idx="5706">
                  <c:v>#N/A</c:v>
                </c:pt>
                <c:pt idx="5707">
                  <c:v>#N/A</c:v>
                </c:pt>
                <c:pt idx="5708">
                  <c:v>#N/A</c:v>
                </c:pt>
                <c:pt idx="5709">
                  <c:v>#N/A</c:v>
                </c:pt>
                <c:pt idx="5710">
                  <c:v>#N/A</c:v>
                </c:pt>
                <c:pt idx="5711">
                  <c:v>#N/A</c:v>
                </c:pt>
                <c:pt idx="5712">
                  <c:v>#N/A</c:v>
                </c:pt>
                <c:pt idx="5713">
                  <c:v>#N/A</c:v>
                </c:pt>
                <c:pt idx="5714">
                  <c:v>#N/A</c:v>
                </c:pt>
                <c:pt idx="5715">
                  <c:v>#N/A</c:v>
                </c:pt>
                <c:pt idx="5716">
                  <c:v>#N/A</c:v>
                </c:pt>
                <c:pt idx="5717">
                  <c:v>#N/A</c:v>
                </c:pt>
                <c:pt idx="5718">
                  <c:v>#N/A</c:v>
                </c:pt>
                <c:pt idx="5719">
                  <c:v>#N/A</c:v>
                </c:pt>
                <c:pt idx="5720">
                  <c:v>#N/A</c:v>
                </c:pt>
                <c:pt idx="5721">
                  <c:v>#N/A</c:v>
                </c:pt>
                <c:pt idx="5722">
                  <c:v>#N/A</c:v>
                </c:pt>
                <c:pt idx="5723">
                  <c:v>#N/A</c:v>
                </c:pt>
                <c:pt idx="5724">
                  <c:v>#N/A</c:v>
                </c:pt>
                <c:pt idx="5725">
                  <c:v>#N/A</c:v>
                </c:pt>
                <c:pt idx="5726">
                  <c:v>#N/A</c:v>
                </c:pt>
                <c:pt idx="5727">
                  <c:v>#N/A</c:v>
                </c:pt>
                <c:pt idx="5728">
                  <c:v>#N/A</c:v>
                </c:pt>
                <c:pt idx="5729">
                  <c:v>#N/A</c:v>
                </c:pt>
                <c:pt idx="5730">
                  <c:v>#N/A</c:v>
                </c:pt>
                <c:pt idx="5731">
                  <c:v>#N/A</c:v>
                </c:pt>
                <c:pt idx="5732">
                  <c:v>2.0547945205479454</c:v>
                </c:pt>
                <c:pt idx="5733">
                  <c:v>2.0547945205479454</c:v>
                </c:pt>
                <c:pt idx="5734">
                  <c:v>#N/A</c:v>
                </c:pt>
                <c:pt idx="5735">
                  <c:v>#N/A</c:v>
                </c:pt>
                <c:pt idx="5736">
                  <c:v>#N/A</c:v>
                </c:pt>
                <c:pt idx="5737">
                  <c:v>#N/A</c:v>
                </c:pt>
                <c:pt idx="5738">
                  <c:v>#N/A</c:v>
                </c:pt>
                <c:pt idx="5739">
                  <c:v>#N/A</c:v>
                </c:pt>
                <c:pt idx="5740">
                  <c:v>#N/A</c:v>
                </c:pt>
                <c:pt idx="5741">
                  <c:v>#N/A</c:v>
                </c:pt>
                <c:pt idx="5742">
                  <c:v>#N/A</c:v>
                </c:pt>
                <c:pt idx="5743">
                  <c:v>#N/A</c:v>
                </c:pt>
                <c:pt idx="5744">
                  <c:v>#N/A</c:v>
                </c:pt>
                <c:pt idx="5745">
                  <c:v>#N/A</c:v>
                </c:pt>
                <c:pt idx="5746">
                  <c:v>2.0547945205479454</c:v>
                </c:pt>
                <c:pt idx="5747">
                  <c:v>#N/A</c:v>
                </c:pt>
                <c:pt idx="5748">
                  <c:v>#N/A</c:v>
                </c:pt>
                <c:pt idx="5749">
                  <c:v>2.0547945205479454</c:v>
                </c:pt>
                <c:pt idx="5750">
                  <c:v>#N/A</c:v>
                </c:pt>
                <c:pt idx="5751">
                  <c:v>#N/A</c:v>
                </c:pt>
                <c:pt idx="5752">
                  <c:v>#N/A</c:v>
                </c:pt>
                <c:pt idx="5753">
                  <c:v>2.0547945205479454</c:v>
                </c:pt>
                <c:pt idx="5754">
                  <c:v>#N/A</c:v>
                </c:pt>
                <c:pt idx="5755">
                  <c:v>#N/A</c:v>
                </c:pt>
                <c:pt idx="5756">
                  <c:v>#N/A</c:v>
                </c:pt>
                <c:pt idx="5757">
                  <c:v>#N/A</c:v>
                </c:pt>
                <c:pt idx="5758">
                  <c:v>2.0547945205479454</c:v>
                </c:pt>
                <c:pt idx="5759">
                  <c:v>#N/A</c:v>
                </c:pt>
                <c:pt idx="5760">
                  <c:v>#N/A</c:v>
                </c:pt>
                <c:pt idx="5761">
                  <c:v>#N/A</c:v>
                </c:pt>
                <c:pt idx="5762">
                  <c:v>#N/A</c:v>
                </c:pt>
                <c:pt idx="5763">
                  <c:v>#N/A</c:v>
                </c:pt>
                <c:pt idx="5764">
                  <c:v>#N/A</c:v>
                </c:pt>
                <c:pt idx="5765">
                  <c:v>#N/A</c:v>
                </c:pt>
                <c:pt idx="5766">
                  <c:v>#N/A</c:v>
                </c:pt>
                <c:pt idx="5767">
                  <c:v>#N/A</c:v>
                </c:pt>
                <c:pt idx="5768">
                  <c:v>#N/A</c:v>
                </c:pt>
                <c:pt idx="5769">
                  <c:v>#N/A</c:v>
                </c:pt>
                <c:pt idx="5770">
                  <c:v>#N/A</c:v>
                </c:pt>
                <c:pt idx="5771">
                  <c:v>#N/A</c:v>
                </c:pt>
                <c:pt idx="5772">
                  <c:v>#N/A</c:v>
                </c:pt>
                <c:pt idx="5773">
                  <c:v>#N/A</c:v>
                </c:pt>
                <c:pt idx="5774">
                  <c:v>#N/A</c:v>
                </c:pt>
                <c:pt idx="5775">
                  <c:v>#N/A</c:v>
                </c:pt>
                <c:pt idx="5776">
                  <c:v>#N/A</c:v>
                </c:pt>
                <c:pt idx="5777">
                  <c:v>#N/A</c:v>
                </c:pt>
                <c:pt idx="5778">
                  <c:v>#N/A</c:v>
                </c:pt>
                <c:pt idx="5779">
                  <c:v>#N/A</c:v>
                </c:pt>
                <c:pt idx="5780">
                  <c:v>#N/A</c:v>
                </c:pt>
                <c:pt idx="5781">
                  <c:v>#N/A</c:v>
                </c:pt>
                <c:pt idx="5782">
                  <c:v>#N/A</c:v>
                </c:pt>
                <c:pt idx="5783">
                  <c:v>#N/A</c:v>
                </c:pt>
                <c:pt idx="5784">
                  <c:v>#N/A</c:v>
                </c:pt>
                <c:pt idx="5785">
                  <c:v>#N/A</c:v>
                </c:pt>
                <c:pt idx="5786">
                  <c:v>#N/A</c:v>
                </c:pt>
                <c:pt idx="5787">
                  <c:v>2.0575342465753423</c:v>
                </c:pt>
                <c:pt idx="5788">
                  <c:v>2.0575342465753423</c:v>
                </c:pt>
                <c:pt idx="5789">
                  <c:v>2.0575342465753423</c:v>
                </c:pt>
                <c:pt idx="5790">
                  <c:v>#N/A</c:v>
                </c:pt>
                <c:pt idx="5791">
                  <c:v>#N/A</c:v>
                </c:pt>
                <c:pt idx="5792">
                  <c:v>#N/A</c:v>
                </c:pt>
                <c:pt idx="5793">
                  <c:v>#N/A</c:v>
                </c:pt>
                <c:pt idx="5794">
                  <c:v>2.0575342465753423</c:v>
                </c:pt>
                <c:pt idx="5795">
                  <c:v>#N/A</c:v>
                </c:pt>
                <c:pt idx="5796">
                  <c:v>#N/A</c:v>
                </c:pt>
                <c:pt idx="5797">
                  <c:v>#N/A</c:v>
                </c:pt>
                <c:pt idx="5798">
                  <c:v>#N/A</c:v>
                </c:pt>
                <c:pt idx="5799">
                  <c:v>#N/A</c:v>
                </c:pt>
                <c:pt idx="5800">
                  <c:v>2.0575342465753423</c:v>
                </c:pt>
                <c:pt idx="5801">
                  <c:v>#N/A</c:v>
                </c:pt>
                <c:pt idx="5802">
                  <c:v>2.0575342465753423</c:v>
                </c:pt>
                <c:pt idx="5803">
                  <c:v>#N/A</c:v>
                </c:pt>
                <c:pt idx="5804">
                  <c:v>2.0575342465753423</c:v>
                </c:pt>
                <c:pt idx="5805">
                  <c:v>#N/A</c:v>
                </c:pt>
                <c:pt idx="5806">
                  <c:v>#N/A</c:v>
                </c:pt>
                <c:pt idx="5807">
                  <c:v>#N/A</c:v>
                </c:pt>
                <c:pt idx="5808">
                  <c:v>#N/A</c:v>
                </c:pt>
                <c:pt idx="5809">
                  <c:v>#N/A</c:v>
                </c:pt>
                <c:pt idx="5810">
                  <c:v>#N/A</c:v>
                </c:pt>
                <c:pt idx="5811">
                  <c:v>#N/A</c:v>
                </c:pt>
                <c:pt idx="5812">
                  <c:v>#N/A</c:v>
                </c:pt>
                <c:pt idx="5813">
                  <c:v>#N/A</c:v>
                </c:pt>
                <c:pt idx="5814">
                  <c:v>#N/A</c:v>
                </c:pt>
                <c:pt idx="5815">
                  <c:v>#N/A</c:v>
                </c:pt>
                <c:pt idx="5816">
                  <c:v>#N/A</c:v>
                </c:pt>
                <c:pt idx="5817">
                  <c:v>#N/A</c:v>
                </c:pt>
                <c:pt idx="5818">
                  <c:v>#N/A</c:v>
                </c:pt>
                <c:pt idx="5819">
                  <c:v>#N/A</c:v>
                </c:pt>
                <c:pt idx="5820">
                  <c:v>#N/A</c:v>
                </c:pt>
                <c:pt idx="5821">
                  <c:v>#N/A</c:v>
                </c:pt>
                <c:pt idx="5822">
                  <c:v>#N/A</c:v>
                </c:pt>
                <c:pt idx="5823">
                  <c:v>#N/A</c:v>
                </c:pt>
                <c:pt idx="5824">
                  <c:v>#N/A</c:v>
                </c:pt>
                <c:pt idx="5825">
                  <c:v>#N/A</c:v>
                </c:pt>
                <c:pt idx="5826">
                  <c:v>#N/A</c:v>
                </c:pt>
                <c:pt idx="5827">
                  <c:v>#N/A</c:v>
                </c:pt>
                <c:pt idx="5828">
                  <c:v>#N/A</c:v>
                </c:pt>
                <c:pt idx="5829">
                  <c:v>#N/A</c:v>
                </c:pt>
                <c:pt idx="5830">
                  <c:v>#N/A</c:v>
                </c:pt>
                <c:pt idx="5831">
                  <c:v>#N/A</c:v>
                </c:pt>
                <c:pt idx="5832">
                  <c:v>#N/A</c:v>
                </c:pt>
                <c:pt idx="5833">
                  <c:v>2.0630136986301371</c:v>
                </c:pt>
                <c:pt idx="5834">
                  <c:v>#N/A</c:v>
                </c:pt>
                <c:pt idx="5835">
                  <c:v>#N/A</c:v>
                </c:pt>
                <c:pt idx="5836">
                  <c:v>#N/A</c:v>
                </c:pt>
                <c:pt idx="5837">
                  <c:v>#N/A</c:v>
                </c:pt>
                <c:pt idx="5838">
                  <c:v>#N/A</c:v>
                </c:pt>
                <c:pt idx="5839">
                  <c:v>#N/A</c:v>
                </c:pt>
                <c:pt idx="5840">
                  <c:v>#N/A</c:v>
                </c:pt>
                <c:pt idx="5841">
                  <c:v>#N/A</c:v>
                </c:pt>
                <c:pt idx="5842">
                  <c:v>#N/A</c:v>
                </c:pt>
                <c:pt idx="5843">
                  <c:v>#N/A</c:v>
                </c:pt>
                <c:pt idx="5844">
                  <c:v>#N/A</c:v>
                </c:pt>
                <c:pt idx="5845">
                  <c:v>#N/A</c:v>
                </c:pt>
                <c:pt idx="5846">
                  <c:v>#N/A</c:v>
                </c:pt>
                <c:pt idx="5847">
                  <c:v>#N/A</c:v>
                </c:pt>
                <c:pt idx="5848">
                  <c:v>#N/A</c:v>
                </c:pt>
                <c:pt idx="5849">
                  <c:v>#N/A</c:v>
                </c:pt>
                <c:pt idx="5850">
                  <c:v>#N/A</c:v>
                </c:pt>
                <c:pt idx="5851">
                  <c:v>#N/A</c:v>
                </c:pt>
                <c:pt idx="5852">
                  <c:v>#N/A</c:v>
                </c:pt>
                <c:pt idx="5853">
                  <c:v>#N/A</c:v>
                </c:pt>
                <c:pt idx="5854">
                  <c:v>#N/A</c:v>
                </c:pt>
                <c:pt idx="5855">
                  <c:v>#N/A</c:v>
                </c:pt>
                <c:pt idx="5856">
                  <c:v>#N/A</c:v>
                </c:pt>
                <c:pt idx="5857">
                  <c:v>#N/A</c:v>
                </c:pt>
                <c:pt idx="5858">
                  <c:v>#N/A</c:v>
                </c:pt>
                <c:pt idx="5859">
                  <c:v>#N/A</c:v>
                </c:pt>
                <c:pt idx="5860">
                  <c:v>#N/A</c:v>
                </c:pt>
                <c:pt idx="5861">
                  <c:v>#N/A</c:v>
                </c:pt>
                <c:pt idx="5862">
                  <c:v>#N/A</c:v>
                </c:pt>
                <c:pt idx="5863">
                  <c:v>#N/A</c:v>
                </c:pt>
                <c:pt idx="5864">
                  <c:v>#N/A</c:v>
                </c:pt>
                <c:pt idx="5865">
                  <c:v>#N/A</c:v>
                </c:pt>
                <c:pt idx="5866">
                  <c:v>2.0657534246575344</c:v>
                </c:pt>
                <c:pt idx="5867">
                  <c:v>#N/A</c:v>
                </c:pt>
                <c:pt idx="5868">
                  <c:v>#N/A</c:v>
                </c:pt>
                <c:pt idx="5869">
                  <c:v>#N/A</c:v>
                </c:pt>
                <c:pt idx="5870">
                  <c:v>2.0657534246575344</c:v>
                </c:pt>
                <c:pt idx="5871">
                  <c:v>#N/A</c:v>
                </c:pt>
                <c:pt idx="5872">
                  <c:v>#N/A</c:v>
                </c:pt>
                <c:pt idx="5873">
                  <c:v>#N/A</c:v>
                </c:pt>
                <c:pt idx="5874">
                  <c:v>#N/A</c:v>
                </c:pt>
                <c:pt idx="5875">
                  <c:v>#N/A</c:v>
                </c:pt>
                <c:pt idx="5876">
                  <c:v>#N/A</c:v>
                </c:pt>
                <c:pt idx="5877">
                  <c:v>#N/A</c:v>
                </c:pt>
                <c:pt idx="5878">
                  <c:v>#N/A</c:v>
                </c:pt>
                <c:pt idx="5879">
                  <c:v>#N/A</c:v>
                </c:pt>
                <c:pt idx="5880">
                  <c:v>#N/A</c:v>
                </c:pt>
                <c:pt idx="5881">
                  <c:v>#N/A</c:v>
                </c:pt>
                <c:pt idx="5882">
                  <c:v>#N/A</c:v>
                </c:pt>
                <c:pt idx="5883">
                  <c:v>#N/A</c:v>
                </c:pt>
                <c:pt idx="5884">
                  <c:v>#N/A</c:v>
                </c:pt>
                <c:pt idx="5885">
                  <c:v>#N/A</c:v>
                </c:pt>
                <c:pt idx="5886">
                  <c:v>2.0657534246575344</c:v>
                </c:pt>
                <c:pt idx="5887">
                  <c:v>#N/A</c:v>
                </c:pt>
                <c:pt idx="5888">
                  <c:v>#N/A</c:v>
                </c:pt>
                <c:pt idx="5889">
                  <c:v>#N/A</c:v>
                </c:pt>
                <c:pt idx="5890">
                  <c:v>#N/A</c:v>
                </c:pt>
                <c:pt idx="5891">
                  <c:v>#N/A</c:v>
                </c:pt>
                <c:pt idx="5892">
                  <c:v>#N/A</c:v>
                </c:pt>
                <c:pt idx="5893">
                  <c:v>#N/A</c:v>
                </c:pt>
                <c:pt idx="5894">
                  <c:v>#N/A</c:v>
                </c:pt>
                <c:pt idx="5895">
                  <c:v>#N/A</c:v>
                </c:pt>
                <c:pt idx="5896">
                  <c:v>#N/A</c:v>
                </c:pt>
                <c:pt idx="5897">
                  <c:v>#N/A</c:v>
                </c:pt>
                <c:pt idx="5898">
                  <c:v>#N/A</c:v>
                </c:pt>
                <c:pt idx="5899">
                  <c:v>#N/A</c:v>
                </c:pt>
                <c:pt idx="5900">
                  <c:v>#N/A</c:v>
                </c:pt>
                <c:pt idx="5901">
                  <c:v>#N/A</c:v>
                </c:pt>
                <c:pt idx="5902">
                  <c:v>#N/A</c:v>
                </c:pt>
                <c:pt idx="5903">
                  <c:v>#N/A</c:v>
                </c:pt>
                <c:pt idx="5904">
                  <c:v>#N/A</c:v>
                </c:pt>
                <c:pt idx="5905">
                  <c:v>#N/A</c:v>
                </c:pt>
                <c:pt idx="5906">
                  <c:v>#N/A</c:v>
                </c:pt>
                <c:pt idx="5907">
                  <c:v>#N/A</c:v>
                </c:pt>
                <c:pt idx="5908">
                  <c:v>#N/A</c:v>
                </c:pt>
                <c:pt idx="5909">
                  <c:v>#N/A</c:v>
                </c:pt>
                <c:pt idx="5910">
                  <c:v>#N/A</c:v>
                </c:pt>
                <c:pt idx="5911">
                  <c:v>#N/A</c:v>
                </c:pt>
                <c:pt idx="5912">
                  <c:v>#N/A</c:v>
                </c:pt>
                <c:pt idx="5913">
                  <c:v>#N/A</c:v>
                </c:pt>
                <c:pt idx="5914">
                  <c:v>#N/A</c:v>
                </c:pt>
                <c:pt idx="5915">
                  <c:v>#N/A</c:v>
                </c:pt>
                <c:pt idx="5916">
                  <c:v>#N/A</c:v>
                </c:pt>
                <c:pt idx="5917">
                  <c:v>#N/A</c:v>
                </c:pt>
                <c:pt idx="5918">
                  <c:v>#N/A</c:v>
                </c:pt>
                <c:pt idx="5919">
                  <c:v>#N/A</c:v>
                </c:pt>
                <c:pt idx="5920">
                  <c:v>#N/A</c:v>
                </c:pt>
                <c:pt idx="5921">
                  <c:v>#N/A</c:v>
                </c:pt>
                <c:pt idx="5922">
                  <c:v>#N/A</c:v>
                </c:pt>
                <c:pt idx="5923">
                  <c:v>#N/A</c:v>
                </c:pt>
                <c:pt idx="5924">
                  <c:v>#N/A</c:v>
                </c:pt>
                <c:pt idx="5925">
                  <c:v>#N/A</c:v>
                </c:pt>
                <c:pt idx="5926">
                  <c:v>#N/A</c:v>
                </c:pt>
                <c:pt idx="5927">
                  <c:v>#N/A</c:v>
                </c:pt>
                <c:pt idx="5928">
                  <c:v>#N/A</c:v>
                </c:pt>
                <c:pt idx="5929">
                  <c:v>#N/A</c:v>
                </c:pt>
                <c:pt idx="5930">
                  <c:v>#N/A</c:v>
                </c:pt>
                <c:pt idx="5931">
                  <c:v>#N/A</c:v>
                </c:pt>
                <c:pt idx="5932">
                  <c:v>#N/A</c:v>
                </c:pt>
                <c:pt idx="5933">
                  <c:v>#N/A</c:v>
                </c:pt>
                <c:pt idx="5934">
                  <c:v>#N/A</c:v>
                </c:pt>
                <c:pt idx="5935">
                  <c:v>#N/A</c:v>
                </c:pt>
                <c:pt idx="5936">
                  <c:v>#N/A</c:v>
                </c:pt>
                <c:pt idx="5937">
                  <c:v>#N/A</c:v>
                </c:pt>
                <c:pt idx="5938">
                  <c:v>#N/A</c:v>
                </c:pt>
                <c:pt idx="5939">
                  <c:v>#N/A</c:v>
                </c:pt>
                <c:pt idx="5940">
                  <c:v>#N/A</c:v>
                </c:pt>
                <c:pt idx="5941">
                  <c:v>#N/A</c:v>
                </c:pt>
                <c:pt idx="5942">
                  <c:v>#N/A</c:v>
                </c:pt>
                <c:pt idx="5943">
                  <c:v>#N/A</c:v>
                </c:pt>
                <c:pt idx="5944">
                  <c:v>#N/A</c:v>
                </c:pt>
                <c:pt idx="5945">
                  <c:v>#N/A</c:v>
                </c:pt>
                <c:pt idx="5946">
                  <c:v>#N/A</c:v>
                </c:pt>
                <c:pt idx="5947">
                  <c:v>#N/A</c:v>
                </c:pt>
                <c:pt idx="5948">
                  <c:v>#N/A</c:v>
                </c:pt>
                <c:pt idx="5949">
                  <c:v>#N/A</c:v>
                </c:pt>
                <c:pt idx="5950">
                  <c:v>#N/A</c:v>
                </c:pt>
                <c:pt idx="5951">
                  <c:v>#N/A</c:v>
                </c:pt>
                <c:pt idx="5952">
                  <c:v>#N/A</c:v>
                </c:pt>
                <c:pt idx="5953">
                  <c:v>#N/A</c:v>
                </c:pt>
                <c:pt idx="5954">
                  <c:v>#N/A</c:v>
                </c:pt>
                <c:pt idx="5955">
                  <c:v>#N/A</c:v>
                </c:pt>
                <c:pt idx="5956">
                  <c:v>#N/A</c:v>
                </c:pt>
                <c:pt idx="5957">
                  <c:v>#N/A</c:v>
                </c:pt>
                <c:pt idx="5958">
                  <c:v>#N/A</c:v>
                </c:pt>
                <c:pt idx="5959">
                  <c:v>#N/A</c:v>
                </c:pt>
                <c:pt idx="5960">
                  <c:v>#N/A</c:v>
                </c:pt>
                <c:pt idx="5961">
                  <c:v>#N/A</c:v>
                </c:pt>
                <c:pt idx="5962">
                  <c:v>#N/A</c:v>
                </c:pt>
                <c:pt idx="5963">
                  <c:v>#N/A</c:v>
                </c:pt>
                <c:pt idx="5964">
                  <c:v>#N/A</c:v>
                </c:pt>
                <c:pt idx="5965">
                  <c:v>#N/A</c:v>
                </c:pt>
                <c:pt idx="5966">
                  <c:v>#N/A</c:v>
                </c:pt>
                <c:pt idx="5967">
                  <c:v>#N/A</c:v>
                </c:pt>
                <c:pt idx="5968">
                  <c:v>#N/A</c:v>
                </c:pt>
                <c:pt idx="5969">
                  <c:v>#N/A</c:v>
                </c:pt>
                <c:pt idx="5970">
                  <c:v>#N/A</c:v>
                </c:pt>
                <c:pt idx="5971">
                  <c:v>#N/A</c:v>
                </c:pt>
                <c:pt idx="5972">
                  <c:v>#N/A</c:v>
                </c:pt>
                <c:pt idx="5973">
                  <c:v>#N/A</c:v>
                </c:pt>
                <c:pt idx="5974">
                  <c:v>#N/A</c:v>
                </c:pt>
                <c:pt idx="5975">
                  <c:v>#N/A</c:v>
                </c:pt>
                <c:pt idx="5976">
                  <c:v>#N/A</c:v>
                </c:pt>
                <c:pt idx="5977">
                  <c:v>#N/A</c:v>
                </c:pt>
                <c:pt idx="5978">
                  <c:v>#N/A</c:v>
                </c:pt>
                <c:pt idx="5979">
                  <c:v>#N/A</c:v>
                </c:pt>
                <c:pt idx="5980">
                  <c:v>#N/A</c:v>
                </c:pt>
                <c:pt idx="5981">
                  <c:v>#N/A</c:v>
                </c:pt>
                <c:pt idx="5982">
                  <c:v>#N/A</c:v>
                </c:pt>
                <c:pt idx="5983">
                  <c:v>#N/A</c:v>
                </c:pt>
                <c:pt idx="5984">
                  <c:v>#N/A</c:v>
                </c:pt>
                <c:pt idx="5985">
                  <c:v>#N/A</c:v>
                </c:pt>
                <c:pt idx="5986">
                  <c:v>#N/A</c:v>
                </c:pt>
                <c:pt idx="5987">
                  <c:v>#N/A</c:v>
                </c:pt>
                <c:pt idx="5988">
                  <c:v>#N/A</c:v>
                </c:pt>
                <c:pt idx="5989">
                  <c:v>#N/A</c:v>
                </c:pt>
                <c:pt idx="5990">
                  <c:v>#N/A</c:v>
                </c:pt>
                <c:pt idx="5991">
                  <c:v>#N/A</c:v>
                </c:pt>
                <c:pt idx="5992">
                  <c:v>#N/A</c:v>
                </c:pt>
                <c:pt idx="5993">
                  <c:v>#N/A</c:v>
                </c:pt>
                <c:pt idx="5994">
                  <c:v>#N/A</c:v>
                </c:pt>
                <c:pt idx="5995">
                  <c:v>#N/A</c:v>
                </c:pt>
                <c:pt idx="5996">
                  <c:v>#N/A</c:v>
                </c:pt>
                <c:pt idx="5997">
                  <c:v>#N/A</c:v>
                </c:pt>
                <c:pt idx="5998">
                  <c:v>#N/A</c:v>
                </c:pt>
                <c:pt idx="5999">
                  <c:v>#N/A</c:v>
                </c:pt>
                <c:pt idx="6000">
                  <c:v>2.0739726027397261</c:v>
                </c:pt>
                <c:pt idx="6001">
                  <c:v>#N/A</c:v>
                </c:pt>
                <c:pt idx="6002">
                  <c:v>#N/A</c:v>
                </c:pt>
                <c:pt idx="6003">
                  <c:v>#N/A</c:v>
                </c:pt>
                <c:pt idx="6004">
                  <c:v>#N/A</c:v>
                </c:pt>
                <c:pt idx="6005">
                  <c:v>#N/A</c:v>
                </c:pt>
                <c:pt idx="6006">
                  <c:v>#N/A</c:v>
                </c:pt>
                <c:pt idx="6007">
                  <c:v>#N/A</c:v>
                </c:pt>
                <c:pt idx="6008">
                  <c:v>#N/A</c:v>
                </c:pt>
                <c:pt idx="6009">
                  <c:v>#N/A</c:v>
                </c:pt>
                <c:pt idx="6010">
                  <c:v>#N/A</c:v>
                </c:pt>
                <c:pt idx="6011">
                  <c:v>#N/A</c:v>
                </c:pt>
                <c:pt idx="6012">
                  <c:v>#N/A</c:v>
                </c:pt>
                <c:pt idx="6013">
                  <c:v>#N/A</c:v>
                </c:pt>
                <c:pt idx="6014">
                  <c:v>#N/A</c:v>
                </c:pt>
                <c:pt idx="6015">
                  <c:v>#N/A</c:v>
                </c:pt>
                <c:pt idx="6016">
                  <c:v>#N/A</c:v>
                </c:pt>
                <c:pt idx="6017">
                  <c:v>#N/A</c:v>
                </c:pt>
                <c:pt idx="6018">
                  <c:v>#N/A</c:v>
                </c:pt>
                <c:pt idx="6019">
                  <c:v>#N/A</c:v>
                </c:pt>
                <c:pt idx="6020">
                  <c:v>#N/A</c:v>
                </c:pt>
                <c:pt idx="6021">
                  <c:v>#N/A</c:v>
                </c:pt>
                <c:pt idx="6022">
                  <c:v>#N/A</c:v>
                </c:pt>
                <c:pt idx="6023">
                  <c:v>#N/A</c:v>
                </c:pt>
                <c:pt idx="6024">
                  <c:v>#N/A</c:v>
                </c:pt>
                <c:pt idx="6025">
                  <c:v>#N/A</c:v>
                </c:pt>
                <c:pt idx="6026">
                  <c:v>#N/A</c:v>
                </c:pt>
                <c:pt idx="6027">
                  <c:v>#N/A</c:v>
                </c:pt>
                <c:pt idx="6028">
                  <c:v>#N/A</c:v>
                </c:pt>
                <c:pt idx="6029">
                  <c:v>#N/A</c:v>
                </c:pt>
                <c:pt idx="6030">
                  <c:v>#N/A</c:v>
                </c:pt>
                <c:pt idx="6031">
                  <c:v>#N/A</c:v>
                </c:pt>
                <c:pt idx="6032">
                  <c:v>#N/A</c:v>
                </c:pt>
                <c:pt idx="6033">
                  <c:v>#N/A</c:v>
                </c:pt>
                <c:pt idx="6034">
                  <c:v>#N/A</c:v>
                </c:pt>
                <c:pt idx="6035">
                  <c:v>#N/A</c:v>
                </c:pt>
                <c:pt idx="6036">
                  <c:v>#N/A</c:v>
                </c:pt>
                <c:pt idx="6037">
                  <c:v>#N/A</c:v>
                </c:pt>
                <c:pt idx="6038">
                  <c:v>#N/A</c:v>
                </c:pt>
                <c:pt idx="6039">
                  <c:v>#N/A</c:v>
                </c:pt>
                <c:pt idx="6040">
                  <c:v>#N/A</c:v>
                </c:pt>
                <c:pt idx="6041">
                  <c:v>2.0876712328767124</c:v>
                </c:pt>
                <c:pt idx="6042">
                  <c:v>#N/A</c:v>
                </c:pt>
                <c:pt idx="6043">
                  <c:v>2.0876712328767124</c:v>
                </c:pt>
                <c:pt idx="6044">
                  <c:v>2.0876712328767124</c:v>
                </c:pt>
                <c:pt idx="6045">
                  <c:v>#N/A</c:v>
                </c:pt>
                <c:pt idx="6046">
                  <c:v>#N/A</c:v>
                </c:pt>
                <c:pt idx="6047">
                  <c:v>#N/A</c:v>
                </c:pt>
                <c:pt idx="6048">
                  <c:v>#N/A</c:v>
                </c:pt>
                <c:pt idx="6049">
                  <c:v>#N/A</c:v>
                </c:pt>
                <c:pt idx="6050">
                  <c:v>#N/A</c:v>
                </c:pt>
                <c:pt idx="6051">
                  <c:v>#N/A</c:v>
                </c:pt>
                <c:pt idx="6052">
                  <c:v>#N/A</c:v>
                </c:pt>
                <c:pt idx="6053">
                  <c:v>#N/A</c:v>
                </c:pt>
                <c:pt idx="6054">
                  <c:v>#N/A</c:v>
                </c:pt>
                <c:pt idx="6055">
                  <c:v>#N/A</c:v>
                </c:pt>
                <c:pt idx="6056">
                  <c:v>#N/A</c:v>
                </c:pt>
                <c:pt idx="6057">
                  <c:v>#N/A</c:v>
                </c:pt>
                <c:pt idx="6058">
                  <c:v>#N/A</c:v>
                </c:pt>
                <c:pt idx="6059">
                  <c:v>#N/A</c:v>
                </c:pt>
                <c:pt idx="6060">
                  <c:v>#N/A</c:v>
                </c:pt>
                <c:pt idx="6061">
                  <c:v>#N/A</c:v>
                </c:pt>
                <c:pt idx="6062">
                  <c:v>#N/A</c:v>
                </c:pt>
                <c:pt idx="6063">
                  <c:v>#N/A</c:v>
                </c:pt>
                <c:pt idx="6064">
                  <c:v>#N/A</c:v>
                </c:pt>
                <c:pt idx="6065">
                  <c:v>#N/A</c:v>
                </c:pt>
                <c:pt idx="6066">
                  <c:v>#N/A</c:v>
                </c:pt>
                <c:pt idx="6067">
                  <c:v>#N/A</c:v>
                </c:pt>
                <c:pt idx="6068">
                  <c:v>#N/A</c:v>
                </c:pt>
                <c:pt idx="6069">
                  <c:v>#N/A</c:v>
                </c:pt>
                <c:pt idx="6070">
                  <c:v>#N/A</c:v>
                </c:pt>
                <c:pt idx="6071">
                  <c:v>#N/A</c:v>
                </c:pt>
                <c:pt idx="6072">
                  <c:v>#N/A</c:v>
                </c:pt>
                <c:pt idx="6073">
                  <c:v>#N/A</c:v>
                </c:pt>
                <c:pt idx="6074">
                  <c:v>#N/A</c:v>
                </c:pt>
                <c:pt idx="6075">
                  <c:v>2.1123287671232878</c:v>
                </c:pt>
                <c:pt idx="6076">
                  <c:v>#N/A</c:v>
                </c:pt>
                <c:pt idx="6077">
                  <c:v>#N/A</c:v>
                </c:pt>
                <c:pt idx="6078">
                  <c:v>#N/A</c:v>
                </c:pt>
                <c:pt idx="6079">
                  <c:v>#N/A</c:v>
                </c:pt>
                <c:pt idx="6080">
                  <c:v>#N/A</c:v>
                </c:pt>
                <c:pt idx="6081">
                  <c:v>#N/A</c:v>
                </c:pt>
                <c:pt idx="6082">
                  <c:v>#N/A</c:v>
                </c:pt>
                <c:pt idx="6083">
                  <c:v>#N/A</c:v>
                </c:pt>
                <c:pt idx="6084">
                  <c:v>#N/A</c:v>
                </c:pt>
                <c:pt idx="6085">
                  <c:v>#N/A</c:v>
                </c:pt>
                <c:pt idx="6086">
                  <c:v>#N/A</c:v>
                </c:pt>
                <c:pt idx="6087">
                  <c:v>#N/A</c:v>
                </c:pt>
                <c:pt idx="6088">
                  <c:v>#N/A</c:v>
                </c:pt>
                <c:pt idx="6089">
                  <c:v>#N/A</c:v>
                </c:pt>
                <c:pt idx="6090">
                  <c:v>#N/A</c:v>
                </c:pt>
                <c:pt idx="6091">
                  <c:v>#N/A</c:v>
                </c:pt>
                <c:pt idx="6092">
                  <c:v>#N/A</c:v>
                </c:pt>
                <c:pt idx="6093">
                  <c:v>#N/A</c:v>
                </c:pt>
                <c:pt idx="6094">
                  <c:v>#N/A</c:v>
                </c:pt>
                <c:pt idx="6095">
                  <c:v>#N/A</c:v>
                </c:pt>
                <c:pt idx="6096">
                  <c:v>#N/A</c:v>
                </c:pt>
                <c:pt idx="6097">
                  <c:v>#N/A</c:v>
                </c:pt>
                <c:pt idx="6098">
                  <c:v>#N/A</c:v>
                </c:pt>
                <c:pt idx="6099">
                  <c:v>#N/A</c:v>
                </c:pt>
                <c:pt idx="6100">
                  <c:v>#N/A</c:v>
                </c:pt>
                <c:pt idx="6101">
                  <c:v>#N/A</c:v>
                </c:pt>
                <c:pt idx="6102">
                  <c:v>#N/A</c:v>
                </c:pt>
                <c:pt idx="6103">
                  <c:v>#N/A</c:v>
                </c:pt>
                <c:pt idx="6104">
                  <c:v>#N/A</c:v>
                </c:pt>
                <c:pt idx="6105">
                  <c:v>#N/A</c:v>
                </c:pt>
                <c:pt idx="6106">
                  <c:v>#N/A</c:v>
                </c:pt>
                <c:pt idx="6107">
                  <c:v>#N/A</c:v>
                </c:pt>
                <c:pt idx="6108">
                  <c:v>#N/A</c:v>
                </c:pt>
                <c:pt idx="6109">
                  <c:v>#N/A</c:v>
                </c:pt>
                <c:pt idx="6110">
                  <c:v>#N/A</c:v>
                </c:pt>
                <c:pt idx="6111">
                  <c:v>#N/A</c:v>
                </c:pt>
                <c:pt idx="6112">
                  <c:v>#N/A</c:v>
                </c:pt>
                <c:pt idx="6113">
                  <c:v>#N/A</c:v>
                </c:pt>
                <c:pt idx="6114">
                  <c:v>#N/A</c:v>
                </c:pt>
                <c:pt idx="6115">
                  <c:v>2.1315068493150684</c:v>
                </c:pt>
                <c:pt idx="6116">
                  <c:v>#N/A</c:v>
                </c:pt>
                <c:pt idx="6117">
                  <c:v>2.1315068493150684</c:v>
                </c:pt>
                <c:pt idx="6118">
                  <c:v>#N/A</c:v>
                </c:pt>
                <c:pt idx="6119">
                  <c:v>#N/A</c:v>
                </c:pt>
                <c:pt idx="6120">
                  <c:v>#N/A</c:v>
                </c:pt>
                <c:pt idx="6121">
                  <c:v>#N/A</c:v>
                </c:pt>
                <c:pt idx="6122">
                  <c:v>#N/A</c:v>
                </c:pt>
                <c:pt idx="6123">
                  <c:v>#N/A</c:v>
                </c:pt>
                <c:pt idx="6124">
                  <c:v>#N/A</c:v>
                </c:pt>
                <c:pt idx="6125">
                  <c:v>#N/A</c:v>
                </c:pt>
                <c:pt idx="6126">
                  <c:v>#N/A</c:v>
                </c:pt>
                <c:pt idx="6127">
                  <c:v>2.1452054794520548</c:v>
                </c:pt>
                <c:pt idx="6128">
                  <c:v>#N/A</c:v>
                </c:pt>
                <c:pt idx="6129">
                  <c:v>#N/A</c:v>
                </c:pt>
                <c:pt idx="6130">
                  <c:v>#N/A</c:v>
                </c:pt>
                <c:pt idx="6131">
                  <c:v>#N/A</c:v>
                </c:pt>
                <c:pt idx="6132">
                  <c:v>#N/A</c:v>
                </c:pt>
                <c:pt idx="6133">
                  <c:v>#N/A</c:v>
                </c:pt>
                <c:pt idx="6134">
                  <c:v>#N/A</c:v>
                </c:pt>
                <c:pt idx="6135">
                  <c:v>#N/A</c:v>
                </c:pt>
                <c:pt idx="6136">
                  <c:v>#N/A</c:v>
                </c:pt>
                <c:pt idx="6137">
                  <c:v>#N/A</c:v>
                </c:pt>
                <c:pt idx="6138">
                  <c:v>#N/A</c:v>
                </c:pt>
                <c:pt idx="6139">
                  <c:v>#N/A</c:v>
                </c:pt>
                <c:pt idx="6140">
                  <c:v>#N/A</c:v>
                </c:pt>
                <c:pt idx="6141">
                  <c:v>#N/A</c:v>
                </c:pt>
                <c:pt idx="6142">
                  <c:v>#N/A</c:v>
                </c:pt>
                <c:pt idx="6143">
                  <c:v>#N/A</c:v>
                </c:pt>
                <c:pt idx="6144">
                  <c:v>#N/A</c:v>
                </c:pt>
                <c:pt idx="6145">
                  <c:v>#N/A</c:v>
                </c:pt>
                <c:pt idx="6146">
                  <c:v>#N/A</c:v>
                </c:pt>
                <c:pt idx="6147">
                  <c:v>#N/A</c:v>
                </c:pt>
                <c:pt idx="6148">
                  <c:v>#N/A</c:v>
                </c:pt>
                <c:pt idx="6149">
                  <c:v>#N/A</c:v>
                </c:pt>
                <c:pt idx="6150">
                  <c:v>2.1698630136986301</c:v>
                </c:pt>
                <c:pt idx="6151">
                  <c:v>#N/A</c:v>
                </c:pt>
                <c:pt idx="6152">
                  <c:v>#N/A</c:v>
                </c:pt>
                <c:pt idx="6153">
                  <c:v>#N/A</c:v>
                </c:pt>
                <c:pt idx="6154">
                  <c:v>#N/A</c:v>
                </c:pt>
                <c:pt idx="6155">
                  <c:v>#N/A</c:v>
                </c:pt>
                <c:pt idx="6156">
                  <c:v>#N/A</c:v>
                </c:pt>
                <c:pt idx="6157">
                  <c:v>#N/A</c:v>
                </c:pt>
                <c:pt idx="6158">
                  <c:v>#N/A</c:v>
                </c:pt>
                <c:pt idx="6159">
                  <c:v>#N/A</c:v>
                </c:pt>
                <c:pt idx="6160">
                  <c:v>#N/A</c:v>
                </c:pt>
                <c:pt idx="6161">
                  <c:v>#N/A</c:v>
                </c:pt>
                <c:pt idx="6162">
                  <c:v>#N/A</c:v>
                </c:pt>
                <c:pt idx="6163">
                  <c:v>#N/A</c:v>
                </c:pt>
                <c:pt idx="6164">
                  <c:v>#N/A</c:v>
                </c:pt>
                <c:pt idx="6165">
                  <c:v>#N/A</c:v>
                </c:pt>
                <c:pt idx="6166">
                  <c:v>#N/A</c:v>
                </c:pt>
                <c:pt idx="6167">
                  <c:v>#N/A</c:v>
                </c:pt>
                <c:pt idx="6168">
                  <c:v>#N/A</c:v>
                </c:pt>
                <c:pt idx="6169">
                  <c:v>#N/A</c:v>
                </c:pt>
                <c:pt idx="6170">
                  <c:v>#N/A</c:v>
                </c:pt>
                <c:pt idx="6171">
                  <c:v>#N/A</c:v>
                </c:pt>
                <c:pt idx="6172">
                  <c:v>#N/A</c:v>
                </c:pt>
                <c:pt idx="6173">
                  <c:v>#N/A</c:v>
                </c:pt>
                <c:pt idx="6174">
                  <c:v>#N/A</c:v>
                </c:pt>
                <c:pt idx="6175">
                  <c:v>#N/A</c:v>
                </c:pt>
                <c:pt idx="6176">
                  <c:v>#N/A</c:v>
                </c:pt>
                <c:pt idx="6177">
                  <c:v>#N/A</c:v>
                </c:pt>
                <c:pt idx="6178">
                  <c:v>#N/A</c:v>
                </c:pt>
                <c:pt idx="6179">
                  <c:v>#N/A</c:v>
                </c:pt>
                <c:pt idx="6180">
                  <c:v>#N/A</c:v>
                </c:pt>
                <c:pt idx="6181">
                  <c:v>#N/A</c:v>
                </c:pt>
                <c:pt idx="6182">
                  <c:v>#N/A</c:v>
                </c:pt>
                <c:pt idx="6183">
                  <c:v>#N/A</c:v>
                </c:pt>
                <c:pt idx="6184">
                  <c:v>2.1917808219178081</c:v>
                </c:pt>
                <c:pt idx="6185">
                  <c:v>#N/A</c:v>
                </c:pt>
                <c:pt idx="6186">
                  <c:v>#N/A</c:v>
                </c:pt>
                <c:pt idx="6187">
                  <c:v>#N/A</c:v>
                </c:pt>
                <c:pt idx="6188">
                  <c:v>#N/A</c:v>
                </c:pt>
                <c:pt idx="6189">
                  <c:v>2.1917808219178081</c:v>
                </c:pt>
                <c:pt idx="6190">
                  <c:v>#N/A</c:v>
                </c:pt>
                <c:pt idx="6191">
                  <c:v>#N/A</c:v>
                </c:pt>
                <c:pt idx="6192">
                  <c:v>#N/A</c:v>
                </c:pt>
                <c:pt idx="6193">
                  <c:v>#N/A</c:v>
                </c:pt>
                <c:pt idx="6194">
                  <c:v>#N/A</c:v>
                </c:pt>
                <c:pt idx="6195">
                  <c:v>#N/A</c:v>
                </c:pt>
                <c:pt idx="6196">
                  <c:v>#N/A</c:v>
                </c:pt>
                <c:pt idx="6197">
                  <c:v>#N/A</c:v>
                </c:pt>
                <c:pt idx="6198">
                  <c:v>#N/A</c:v>
                </c:pt>
                <c:pt idx="6199">
                  <c:v>#N/A</c:v>
                </c:pt>
                <c:pt idx="6200">
                  <c:v>#N/A</c:v>
                </c:pt>
                <c:pt idx="6201">
                  <c:v>#N/A</c:v>
                </c:pt>
                <c:pt idx="6202">
                  <c:v>#N/A</c:v>
                </c:pt>
                <c:pt idx="6203">
                  <c:v>#N/A</c:v>
                </c:pt>
                <c:pt idx="6204">
                  <c:v>#N/A</c:v>
                </c:pt>
                <c:pt idx="6205">
                  <c:v>#N/A</c:v>
                </c:pt>
                <c:pt idx="6206">
                  <c:v>#N/A</c:v>
                </c:pt>
                <c:pt idx="6207">
                  <c:v>#N/A</c:v>
                </c:pt>
                <c:pt idx="6208">
                  <c:v>#N/A</c:v>
                </c:pt>
                <c:pt idx="6209">
                  <c:v>#N/A</c:v>
                </c:pt>
                <c:pt idx="6210">
                  <c:v>#N/A</c:v>
                </c:pt>
                <c:pt idx="6211">
                  <c:v>#N/A</c:v>
                </c:pt>
                <c:pt idx="6212">
                  <c:v>#N/A</c:v>
                </c:pt>
                <c:pt idx="6213">
                  <c:v>#N/A</c:v>
                </c:pt>
                <c:pt idx="6214">
                  <c:v>#N/A</c:v>
                </c:pt>
                <c:pt idx="6215">
                  <c:v>#N/A</c:v>
                </c:pt>
                <c:pt idx="6216">
                  <c:v>#N/A</c:v>
                </c:pt>
                <c:pt idx="6217">
                  <c:v>#N/A</c:v>
                </c:pt>
                <c:pt idx="6218">
                  <c:v>#N/A</c:v>
                </c:pt>
                <c:pt idx="6219">
                  <c:v>#N/A</c:v>
                </c:pt>
                <c:pt idx="6220">
                  <c:v>#N/A</c:v>
                </c:pt>
                <c:pt idx="6221">
                  <c:v>#N/A</c:v>
                </c:pt>
                <c:pt idx="6222">
                  <c:v>#N/A</c:v>
                </c:pt>
                <c:pt idx="6223">
                  <c:v>#N/A</c:v>
                </c:pt>
                <c:pt idx="6224">
                  <c:v>#N/A</c:v>
                </c:pt>
                <c:pt idx="6225">
                  <c:v>#N/A</c:v>
                </c:pt>
                <c:pt idx="6226">
                  <c:v>#N/A</c:v>
                </c:pt>
                <c:pt idx="6227">
                  <c:v>#N/A</c:v>
                </c:pt>
                <c:pt idx="6228">
                  <c:v>#N/A</c:v>
                </c:pt>
                <c:pt idx="6229">
                  <c:v>#N/A</c:v>
                </c:pt>
                <c:pt idx="6230">
                  <c:v>#N/A</c:v>
                </c:pt>
                <c:pt idx="6231">
                  <c:v>#N/A</c:v>
                </c:pt>
                <c:pt idx="6232">
                  <c:v>#N/A</c:v>
                </c:pt>
                <c:pt idx="6233">
                  <c:v>#N/A</c:v>
                </c:pt>
                <c:pt idx="6234">
                  <c:v>#N/A</c:v>
                </c:pt>
                <c:pt idx="6235">
                  <c:v>#N/A</c:v>
                </c:pt>
                <c:pt idx="6236">
                  <c:v>#N/A</c:v>
                </c:pt>
                <c:pt idx="6237">
                  <c:v>#N/A</c:v>
                </c:pt>
                <c:pt idx="6238">
                  <c:v>#N/A</c:v>
                </c:pt>
                <c:pt idx="6239">
                  <c:v>#N/A</c:v>
                </c:pt>
                <c:pt idx="6240">
                  <c:v>#N/A</c:v>
                </c:pt>
                <c:pt idx="6241">
                  <c:v>#N/A</c:v>
                </c:pt>
                <c:pt idx="6242">
                  <c:v>#N/A</c:v>
                </c:pt>
                <c:pt idx="6243">
                  <c:v>#N/A</c:v>
                </c:pt>
                <c:pt idx="6244">
                  <c:v>#N/A</c:v>
                </c:pt>
                <c:pt idx="6245">
                  <c:v>#N/A</c:v>
                </c:pt>
                <c:pt idx="6246">
                  <c:v>#N/A</c:v>
                </c:pt>
                <c:pt idx="6247">
                  <c:v>#N/A</c:v>
                </c:pt>
                <c:pt idx="6248">
                  <c:v>#N/A</c:v>
                </c:pt>
                <c:pt idx="6249">
                  <c:v>#N/A</c:v>
                </c:pt>
                <c:pt idx="6250">
                  <c:v>#N/A</c:v>
                </c:pt>
                <c:pt idx="6251">
                  <c:v>#N/A</c:v>
                </c:pt>
                <c:pt idx="6252">
                  <c:v>#N/A</c:v>
                </c:pt>
                <c:pt idx="6253">
                  <c:v>#N/A</c:v>
                </c:pt>
                <c:pt idx="6254">
                  <c:v>#N/A</c:v>
                </c:pt>
                <c:pt idx="6255">
                  <c:v>#N/A</c:v>
                </c:pt>
                <c:pt idx="6256">
                  <c:v>#N/A</c:v>
                </c:pt>
                <c:pt idx="6257">
                  <c:v>#N/A</c:v>
                </c:pt>
                <c:pt idx="6258">
                  <c:v>#N/A</c:v>
                </c:pt>
                <c:pt idx="6259">
                  <c:v>#N/A</c:v>
                </c:pt>
                <c:pt idx="6260">
                  <c:v>#N/A</c:v>
                </c:pt>
                <c:pt idx="6261">
                  <c:v>#N/A</c:v>
                </c:pt>
                <c:pt idx="6262">
                  <c:v>#N/A</c:v>
                </c:pt>
                <c:pt idx="6263">
                  <c:v>#N/A</c:v>
                </c:pt>
                <c:pt idx="6264">
                  <c:v>#N/A</c:v>
                </c:pt>
                <c:pt idx="6265">
                  <c:v>#N/A</c:v>
                </c:pt>
                <c:pt idx="6266">
                  <c:v>#N/A</c:v>
                </c:pt>
                <c:pt idx="6267">
                  <c:v>#N/A</c:v>
                </c:pt>
                <c:pt idx="6268">
                  <c:v>#N/A</c:v>
                </c:pt>
                <c:pt idx="6269">
                  <c:v>#N/A</c:v>
                </c:pt>
                <c:pt idx="6270">
                  <c:v>#N/A</c:v>
                </c:pt>
                <c:pt idx="6271">
                  <c:v>#N/A</c:v>
                </c:pt>
                <c:pt idx="6272">
                  <c:v>#N/A</c:v>
                </c:pt>
                <c:pt idx="6273">
                  <c:v>#N/A</c:v>
                </c:pt>
                <c:pt idx="6274">
                  <c:v>#N/A</c:v>
                </c:pt>
                <c:pt idx="6275">
                  <c:v>#N/A</c:v>
                </c:pt>
                <c:pt idx="6276">
                  <c:v>#N/A</c:v>
                </c:pt>
                <c:pt idx="6277">
                  <c:v>#N/A</c:v>
                </c:pt>
                <c:pt idx="6278">
                  <c:v>#N/A</c:v>
                </c:pt>
                <c:pt idx="6279">
                  <c:v>#N/A</c:v>
                </c:pt>
                <c:pt idx="6280">
                  <c:v>#N/A</c:v>
                </c:pt>
                <c:pt idx="6281">
                  <c:v>#N/A</c:v>
                </c:pt>
                <c:pt idx="6282">
                  <c:v>#N/A</c:v>
                </c:pt>
                <c:pt idx="6283">
                  <c:v>#N/A</c:v>
                </c:pt>
                <c:pt idx="6284">
                  <c:v>#N/A</c:v>
                </c:pt>
                <c:pt idx="6285">
                  <c:v>#N/A</c:v>
                </c:pt>
                <c:pt idx="6286">
                  <c:v>#N/A</c:v>
                </c:pt>
                <c:pt idx="6287">
                  <c:v>#N/A</c:v>
                </c:pt>
                <c:pt idx="6288">
                  <c:v>#N/A</c:v>
                </c:pt>
                <c:pt idx="6289">
                  <c:v>#N/A</c:v>
                </c:pt>
                <c:pt idx="6290">
                  <c:v>#N/A</c:v>
                </c:pt>
                <c:pt idx="6291">
                  <c:v>#N/A</c:v>
                </c:pt>
                <c:pt idx="6292">
                  <c:v>2.2630136986301368</c:v>
                </c:pt>
                <c:pt idx="6293">
                  <c:v>#N/A</c:v>
                </c:pt>
                <c:pt idx="6294">
                  <c:v>#N/A</c:v>
                </c:pt>
                <c:pt idx="6295">
                  <c:v>#N/A</c:v>
                </c:pt>
                <c:pt idx="6296">
                  <c:v>#N/A</c:v>
                </c:pt>
                <c:pt idx="6297">
                  <c:v>#N/A</c:v>
                </c:pt>
                <c:pt idx="6298">
                  <c:v>#N/A</c:v>
                </c:pt>
                <c:pt idx="6299">
                  <c:v>#N/A</c:v>
                </c:pt>
                <c:pt idx="6300">
                  <c:v>#N/A</c:v>
                </c:pt>
                <c:pt idx="6301">
                  <c:v>#N/A</c:v>
                </c:pt>
                <c:pt idx="6302">
                  <c:v>#N/A</c:v>
                </c:pt>
                <c:pt idx="6303">
                  <c:v>#N/A</c:v>
                </c:pt>
                <c:pt idx="6304">
                  <c:v>#N/A</c:v>
                </c:pt>
                <c:pt idx="6305">
                  <c:v>#N/A</c:v>
                </c:pt>
                <c:pt idx="6306">
                  <c:v>#N/A</c:v>
                </c:pt>
                <c:pt idx="6307">
                  <c:v>#N/A</c:v>
                </c:pt>
                <c:pt idx="6308">
                  <c:v>#N/A</c:v>
                </c:pt>
                <c:pt idx="6309">
                  <c:v>#N/A</c:v>
                </c:pt>
                <c:pt idx="6310">
                  <c:v>#N/A</c:v>
                </c:pt>
                <c:pt idx="6311">
                  <c:v>#N/A</c:v>
                </c:pt>
                <c:pt idx="6312">
                  <c:v>#N/A</c:v>
                </c:pt>
                <c:pt idx="6313">
                  <c:v>#N/A</c:v>
                </c:pt>
                <c:pt idx="6314">
                  <c:v>#N/A</c:v>
                </c:pt>
                <c:pt idx="6315">
                  <c:v>#N/A</c:v>
                </c:pt>
                <c:pt idx="6316">
                  <c:v>#N/A</c:v>
                </c:pt>
                <c:pt idx="6317">
                  <c:v>#N/A</c:v>
                </c:pt>
                <c:pt idx="6318">
                  <c:v>#N/A</c:v>
                </c:pt>
                <c:pt idx="6319">
                  <c:v>#N/A</c:v>
                </c:pt>
                <c:pt idx="6320">
                  <c:v>#N/A</c:v>
                </c:pt>
                <c:pt idx="6321">
                  <c:v>#N/A</c:v>
                </c:pt>
                <c:pt idx="6322">
                  <c:v>#N/A</c:v>
                </c:pt>
                <c:pt idx="6323">
                  <c:v>#N/A</c:v>
                </c:pt>
                <c:pt idx="6324">
                  <c:v>#N/A</c:v>
                </c:pt>
                <c:pt idx="6325">
                  <c:v>#N/A</c:v>
                </c:pt>
                <c:pt idx="6326">
                  <c:v>#N/A</c:v>
                </c:pt>
                <c:pt idx="6327">
                  <c:v>#N/A</c:v>
                </c:pt>
                <c:pt idx="6328">
                  <c:v>2.2794520547945205</c:v>
                </c:pt>
                <c:pt idx="6329">
                  <c:v>2.2794520547945205</c:v>
                </c:pt>
                <c:pt idx="6330">
                  <c:v>#N/A</c:v>
                </c:pt>
                <c:pt idx="6331">
                  <c:v>#N/A</c:v>
                </c:pt>
                <c:pt idx="6332">
                  <c:v>#N/A</c:v>
                </c:pt>
                <c:pt idx="6333">
                  <c:v>#N/A</c:v>
                </c:pt>
                <c:pt idx="6334">
                  <c:v>#N/A</c:v>
                </c:pt>
                <c:pt idx="6335">
                  <c:v>#N/A</c:v>
                </c:pt>
                <c:pt idx="6336">
                  <c:v>#N/A</c:v>
                </c:pt>
                <c:pt idx="6337">
                  <c:v>#N/A</c:v>
                </c:pt>
                <c:pt idx="6338">
                  <c:v>#N/A</c:v>
                </c:pt>
                <c:pt idx="6339">
                  <c:v>#N/A</c:v>
                </c:pt>
                <c:pt idx="6340">
                  <c:v>#N/A</c:v>
                </c:pt>
                <c:pt idx="6341">
                  <c:v>#N/A</c:v>
                </c:pt>
                <c:pt idx="6342">
                  <c:v>#N/A</c:v>
                </c:pt>
                <c:pt idx="6343">
                  <c:v>#N/A</c:v>
                </c:pt>
                <c:pt idx="6344">
                  <c:v>#N/A</c:v>
                </c:pt>
                <c:pt idx="6345">
                  <c:v>#N/A</c:v>
                </c:pt>
                <c:pt idx="6346">
                  <c:v>#N/A</c:v>
                </c:pt>
                <c:pt idx="6347">
                  <c:v>#N/A</c:v>
                </c:pt>
                <c:pt idx="6348">
                  <c:v>#N/A</c:v>
                </c:pt>
                <c:pt idx="6349">
                  <c:v>#N/A</c:v>
                </c:pt>
                <c:pt idx="6350">
                  <c:v>#N/A</c:v>
                </c:pt>
                <c:pt idx="6351">
                  <c:v>#N/A</c:v>
                </c:pt>
                <c:pt idx="6352">
                  <c:v>#N/A</c:v>
                </c:pt>
                <c:pt idx="6353">
                  <c:v>#N/A</c:v>
                </c:pt>
                <c:pt idx="6354">
                  <c:v>#N/A</c:v>
                </c:pt>
                <c:pt idx="6355">
                  <c:v>#N/A</c:v>
                </c:pt>
                <c:pt idx="6356">
                  <c:v>#N/A</c:v>
                </c:pt>
                <c:pt idx="6357">
                  <c:v>#N/A</c:v>
                </c:pt>
                <c:pt idx="6358">
                  <c:v>#N/A</c:v>
                </c:pt>
                <c:pt idx="6359">
                  <c:v>#N/A</c:v>
                </c:pt>
                <c:pt idx="6360">
                  <c:v>#N/A</c:v>
                </c:pt>
                <c:pt idx="6361">
                  <c:v>#N/A</c:v>
                </c:pt>
                <c:pt idx="6362">
                  <c:v>#N/A</c:v>
                </c:pt>
                <c:pt idx="6363">
                  <c:v>#N/A</c:v>
                </c:pt>
                <c:pt idx="6364">
                  <c:v>#N/A</c:v>
                </c:pt>
                <c:pt idx="6365">
                  <c:v>#N/A</c:v>
                </c:pt>
                <c:pt idx="6366">
                  <c:v>#N/A</c:v>
                </c:pt>
                <c:pt idx="6367">
                  <c:v>#N/A</c:v>
                </c:pt>
                <c:pt idx="6368">
                  <c:v>#N/A</c:v>
                </c:pt>
                <c:pt idx="6369">
                  <c:v>#N/A</c:v>
                </c:pt>
                <c:pt idx="6370">
                  <c:v>#N/A</c:v>
                </c:pt>
                <c:pt idx="6371">
                  <c:v>#N/A</c:v>
                </c:pt>
                <c:pt idx="6372">
                  <c:v>#N/A</c:v>
                </c:pt>
                <c:pt idx="6373">
                  <c:v>#N/A</c:v>
                </c:pt>
                <c:pt idx="6374">
                  <c:v>#N/A</c:v>
                </c:pt>
                <c:pt idx="6375">
                  <c:v>#N/A</c:v>
                </c:pt>
                <c:pt idx="6376">
                  <c:v>2.3041095890410959</c:v>
                </c:pt>
                <c:pt idx="6377">
                  <c:v>#N/A</c:v>
                </c:pt>
                <c:pt idx="6378">
                  <c:v>#N/A</c:v>
                </c:pt>
                <c:pt idx="6379">
                  <c:v>#N/A</c:v>
                </c:pt>
                <c:pt idx="6380">
                  <c:v>#N/A</c:v>
                </c:pt>
                <c:pt idx="6381">
                  <c:v>#N/A</c:v>
                </c:pt>
                <c:pt idx="6382">
                  <c:v>#N/A</c:v>
                </c:pt>
                <c:pt idx="6383">
                  <c:v>#N/A</c:v>
                </c:pt>
                <c:pt idx="6384">
                  <c:v>#N/A</c:v>
                </c:pt>
                <c:pt idx="6385">
                  <c:v>#N/A</c:v>
                </c:pt>
                <c:pt idx="6386">
                  <c:v>#N/A</c:v>
                </c:pt>
                <c:pt idx="6387">
                  <c:v>#N/A</c:v>
                </c:pt>
                <c:pt idx="6388">
                  <c:v>#N/A</c:v>
                </c:pt>
                <c:pt idx="6389">
                  <c:v>#N/A</c:v>
                </c:pt>
                <c:pt idx="6390">
                  <c:v>#N/A</c:v>
                </c:pt>
                <c:pt idx="6391">
                  <c:v>#N/A</c:v>
                </c:pt>
                <c:pt idx="6392">
                  <c:v>#N/A</c:v>
                </c:pt>
                <c:pt idx="6393">
                  <c:v>#N/A</c:v>
                </c:pt>
                <c:pt idx="6394">
                  <c:v>#N/A</c:v>
                </c:pt>
                <c:pt idx="6395">
                  <c:v>#N/A</c:v>
                </c:pt>
                <c:pt idx="6396">
                  <c:v>#N/A</c:v>
                </c:pt>
                <c:pt idx="6397">
                  <c:v>#N/A</c:v>
                </c:pt>
                <c:pt idx="6398">
                  <c:v>#N/A</c:v>
                </c:pt>
                <c:pt idx="6399">
                  <c:v>#N/A</c:v>
                </c:pt>
                <c:pt idx="6400">
                  <c:v>#N/A</c:v>
                </c:pt>
                <c:pt idx="6401">
                  <c:v>#N/A</c:v>
                </c:pt>
                <c:pt idx="6402">
                  <c:v>#N/A</c:v>
                </c:pt>
                <c:pt idx="6403">
                  <c:v>#N/A</c:v>
                </c:pt>
                <c:pt idx="6404">
                  <c:v>#N/A</c:v>
                </c:pt>
                <c:pt idx="6405">
                  <c:v>#N/A</c:v>
                </c:pt>
                <c:pt idx="6406">
                  <c:v>#N/A</c:v>
                </c:pt>
                <c:pt idx="6407">
                  <c:v>#N/A</c:v>
                </c:pt>
                <c:pt idx="6408">
                  <c:v>#N/A</c:v>
                </c:pt>
                <c:pt idx="6409">
                  <c:v>#N/A</c:v>
                </c:pt>
                <c:pt idx="6410">
                  <c:v>#N/A</c:v>
                </c:pt>
                <c:pt idx="6411">
                  <c:v>#N/A</c:v>
                </c:pt>
                <c:pt idx="6412">
                  <c:v>#N/A</c:v>
                </c:pt>
                <c:pt idx="6413">
                  <c:v>#N/A</c:v>
                </c:pt>
                <c:pt idx="6414">
                  <c:v>#N/A</c:v>
                </c:pt>
                <c:pt idx="6415">
                  <c:v>#N/A</c:v>
                </c:pt>
                <c:pt idx="6416">
                  <c:v>#N/A</c:v>
                </c:pt>
                <c:pt idx="6417">
                  <c:v>#N/A</c:v>
                </c:pt>
                <c:pt idx="6418">
                  <c:v>#N/A</c:v>
                </c:pt>
                <c:pt idx="6419">
                  <c:v>#N/A</c:v>
                </c:pt>
                <c:pt idx="6420">
                  <c:v>#N/A</c:v>
                </c:pt>
                <c:pt idx="6421">
                  <c:v>#N/A</c:v>
                </c:pt>
                <c:pt idx="6422">
                  <c:v>#N/A</c:v>
                </c:pt>
                <c:pt idx="6423">
                  <c:v>#N/A</c:v>
                </c:pt>
                <c:pt idx="6424">
                  <c:v>#N/A</c:v>
                </c:pt>
                <c:pt idx="6425">
                  <c:v>#N/A</c:v>
                </c:pt>
                <c:pt idx="6426">
                  <c:v>#N/A</c:v>
                </c:pt>
                <c:pt idx="6427">
                  <c:v>#N/A</c:v>
                </c:pt>
                <c:pt idx="6428">
                  <c:v>#N/A</c:v>
                </c:pt>
                <c:pt idx="6429">
                  <c:v>#N/A</c:v>
                </c:pt>
                <c:pt idx="6430">
                  <c:v>#N/A</c:v>
                </c:pt>
                <c:pt idx="6431">
                  <c:v>#N/A</c:v>
                </c:pt>
                <c:pt idx="6432">
                  <c:v>#N/A</c:v>
                </c:pt>
                <c:pt idx="6433">
                  <c:v>#N/A</c:v>
                </c:pt>
                <c:pt idx="6434">
                  <c:v>#N/A</c:v>
                </c:pt>
                <c:pt idx="6435">
                  <c:v>#N/A</c:v>
                </c:pt>
                <c:pt idx="6436">
                  <c:v>#N/A</c:v>
                </c:pt>
                <c:pt idx="6437">
                  <c:v>#N/A</c:v>
                </c:pt>
                <c:pt idx="6438">
                  <c:v>#N/A</c:v>
                </c:pt>
                <c:pt idx="6439">
                  <c:v>#N/A</c:v>
                </c:pt>
                <c:pt idx="6440">
                  <c:v>#N/A</c:v>
                </c:pt>
                <c:pt idx="6441">
                  <c:v>#N/A</c:v>
                </c:pt>
                <c:pt idx="6442">
                  <c:v>#N/A</c:v>
                </c:pt>
                <c:pt idx="6443">
                  <c:v>#N/A</c:v>
                </c:pt>
                <c:pt idx="6444">
                  <c:v>#N/A</c:v>
                </c:pt>
                <c:pt idx="6445">
                  <c:v>#N/A</c:v>
                </c:pt>
                <c:pt idx="6446">
                  <c:v>#N/A</c:v>
                </c:pt>
                <c:pt idx="6447">
                  <c:v>#N/A</c:v>
                </c:pt>
                <c:pt idx="6448">
                  <c:v>#N/A</c:v>
                </c:pt>
                <c:pt idx="6449">
                  <c:v>#N/A</c:v>
                </c:pt>
                <c:pt idx="6450">
                  <c:v>#N/A</c:v>
                </c:pt>
                <c:pt idx="6451">
                  <c:v>#N/A</c:v>
                </c:pt>
                <c:pt idx="6452">
                  <c:v>#N/A</c:v>
                </c:pt>
                <c:pt idx="6453">
                  <c:v>#N/A</c:v>
                </c:pt>
                <c:pt idx="6454">
                  <c:v>#N/A</c:v>
                </c:pt>
                <c:pt idx="6455">
                  <c:v>#N/A</c:v>
                </c:pt>
                <c:pt idx="6456">
                  <c:v>#N/A</c:v>
                </c:pt>
                <c:pt idx="6457">
                  <c:v>#N/A</c:v>
                </c:pt>
                <c:pt idx="6458">
                  <c:v>#N/A</c:v>
                </c:pt>
                <c:pt idx="6459">
                  <c:v>#N/A</c:v>
                </c:pt>
                <c:pt idx="6460">
                  <c:v>#N/A</c:v>
                </c:pt>
                <c:pt idx="6461">
                  <c:v>#N/A</c:v>
                </c:pt>
                <c:pt idx="6462">
                  <c:v>#N/A</c:v>
                </c:pt>
                <c:pt idx="6463">
                  <c:v>#N/A</c:v>
                </c:pt>
                <c:pt idx="6464">
                  <c:v>#N/A</c:v>
                </c:pt>
                <c:pt idx="6465">
                  <c:v>#N/A</c:v>
                </c:pt>
                <c:pt idx="6466">
                  <c:v>#N/A</c:v>
                </c:pt>
                <c:pt idx="6467">
                  <c:v>#N/A</c:v>
                </c:pt>
                <c:pt idx="6468">
                  <c:v>#N/A</c:v>
                </c:pt>
                <c:pt idx="6469">
                  <c:v>#N/A</c:v>
                </c:pt>
                <c:pt idx="6470">
                  <c:v>#N/A</c:v>
                </c:pt>
                <c:pt idx="6471">
                  <c:v>#N/A</c:v>
                </c:pt>
                <c:pt idx="6472">
                  <c:v>#N/A</c:v>
                </c:pt>
                <c:pt idx="6473">
                  <c:v>#N/A</c:v>
                </c:pt>
                <c:pt idx="6474">
                  <c:v>#N/A</c:v>
                </c:pt>
                <c:pt idx="6475">
                  <c:v>2.3424657534246576</c:v>
                </c:pt>
                <c:pt idx="6476">
                  <c:v>2.3424657534246576</c:v>
                </c:pt>
                <c:pt idx="6477">
                  <c:v>#N/A</c:v>
                </c:pt>
                <c:pt idx="6478">
                  <c:v>#N/A</c:v>
                </c:pt>
                <c:pt idx="6479">
                  <c:v>#N/A</c:v>
                </c:pt>
                <c:pt idx="6480">
                  <c:v>2.3424657534246576</c:v>
                </c:pt>
                <c:pt idx="6481">
                  <c:v>2.3534246575342466</c:v>
                </c:pt>
                <c:pt idx="6482">
                  <c:v>#N/A</c:v>
                </c:pt>
                <c:pt idx="6483">
                  <c:v>#N/A</c:v>
                </c:pt>
                <c:pt idx="6484">
                  <c:v>#N/A</c:v>
                </c:pt>
                <c:pt idx="6485">
                  <c:v>#N/A</c:v>
                </c:pt>
                <c:pt idx="6486">
                  <c:v>#N/A</c:v>
                </c:pt>
                <c:pt idx="6487">
                  <c:v>#N/A</c:v>
                </c:pt>
                <c:pt idx="6488">
                  <c:v>#N/A</c:v>
                </c:pt>
                <c:pt idx="6489">
                  <c:v>#N/A</c:v>
                </c:pt>
                <c:pt idx="6490">
                  <c:v>#N/A</c:v>
                </c:pt>
                <c:pt idx="6491">
                  <c:v>#N/A</c:v>
                </c:pt>
                <c:pt idx="6492">
                  <c:v>#N/A</c:v>
                </c:pt>
                <c:pt idx="6493">
                  <c:v>#N/A</c:v>
                </c:pt>
                <c:pt idx="6494">
                  <c:v>2.3589041095890413</c:v>
                </c:pt>
                <c:pt idx="6495">
                  <c:v>#N/A</c:v>
                </c:pt>
                <c:pt idx="6496">
                  <c:v>#N/A</c:v>
                </c:pt>
                <c:pt idx="6497">
                  <c:v>#N/A</c:v>
                </c:pt>
                <c:pt idx="6498">
                  <c:v>#N/A</c:v>
                </c:pt>
                <c:pt idx="6499">
                  <c:v>#N/A</c:v>
                </c:pt>
                <c:pt idx="6500">
                  <c:v>#N/A</c:v>
                </c:pt>
                <c:pt idx="6501">
                  <c:v>#N/A</c:v>
                </c:pt>
                <c:pt idx="6502">
                  <c:v>#N/A</c:v>
                </c:pt>
                <c:pt idx="6503">
                  <c:v>#N/A</c:v>
                </c:pt>
                <c:pt idx="6504">
                  <c:v>#N/A</c:v>
                </c:pt>
                <c:pt idx="6505">
                  <c:v>#N/A</c:v>
                </c:pt>
                <c:pt idx="6506">
                  <c:v>#N/A</c:v>
                </c:pt>
                <c:pt idx="6507">
                  <c:v>#N/A</c:v>
                </c:pt>
                <c:pt idx="6508">
                  <c:v>#N/A</c:v>
                </c:pt>
                <c:pt idx="6509">
                  <c:v>#N/A</c:v>
                </c:pt>
                <c:pt idx="6510">
                  <c:v>#N/A</c:v>
                </c:pt>
                <c:pt idx="6511">
                  <c:v>#N/A</c:v>
                </c:pt>
                <c:pt idx="6512">
                  <c:v>#N/A</c:v>
                </c:pt>
                <c:pt idx="6513">
                  <c:v>#N/A</c:v>
                </c:pt>
                <c:pt idx="6514">
                  <c:v>#N/A</c:v>
                </c:pt>
                <c:pt idx="6515">
                  <c:v>#N/A</c:v>
                </c:pt>
                <c:pt idx="6516">
                  <c:v>#N/A</c:v>
                </c:pt>
                <c:pt idx="6517">
                  <c:v>#N/A</c:v>
                </c:pt>
                <c:pt idx="6518">
                  <c:v>#N/A</c:v>
                </c:pt>
                <c:pt idx="6519">
                  <c:v>#N/A</c:v>
                </c:pt>
                <c:pt idx="6520">
                  <c:v>#N/A</c:v>
                </c:pt>
                <c:pt idx="6521">
                  <c:v>#N/A</c:v>
                </c:pt>
                <c:pt idx="6522">
                  <c:v>#N/A</c:v>
                </c:pt>
                <c:pt idx="6523">
                  <c:v>#N/A</c:v>
                </c:pt>
                <c:pt idx="6524">
                  <c:v>#N/A</c:v>
                </c:pt>
                <c:pt idx="6525">
                  <c:v>#N/A</c:v>
                </c:pt>
                <c:pt idx="6526">
                  <c:v>#N/A</c:v>
                </c:pt>
                <c:pt idx="6527">
                  <c:v>#N/A</c:v>
                </c:pt>
                <c:pt idx="6528">
                  <c:v>#N/A</c:v>
                </c:pt>
                <c:pt idx="6529">
                  <c:v>#N/A</c:v>
                </c:pt>
                <c:pt idx="6530">
                  <c:v>#N/A</c:v>
                </c:pt>
                <c:pt idx="6531">
                  <c:v>#N/A</c:v>
                </c:pt>
                <c:pt idx="6532">
                  <c:v>#N/A</c:v>
                </c:pt>
                <c:pt idx="6533">
                  <c:v>#N/A</c:v>
                </c:pt>
                <c:pt idx="6534">
                  <c:v>#N/A</c:v>
                </c:pt>
                <c:pt idx="6535">
                  <c:v>#N/A</c:v>
                </c:pt>
                <c:pt idx="6536">
                  <c:v>#N/A</c:v>
                </c:pt>
                <c:pt idx="6537">
                  <c:v>#N/A</c:v>
                </c:pt>
                <c:pt idx="6538">
                  <c:v>#N/A</c:v>
                </c:pt>
                <c:pt idx="6539">
                  <c:v>#N/A</c:v>
                </c:pt>
                <c:pt idx="6540">
                  <c:v>#N/A</c:v>
                </c:pt>
                <c:pt idx="6541">
                  <c:v>#N/A</c:v>
                </c:pt>
                <c:pt idx="6542">
                  <c:v>#N/A</c:v>
                </c:pt>
                <c:pt idx="6543">
                  <c:v>#N/A</c:v>
                </c:pt>
                <c:pt idx="6544">
                  <c:v>#N/A</c:v>
                </c:pt>
                <c:pt idx="6545">
                  <c:v>#N/A</c:v>
                </c:pt>
                <c:pt idx="6546">
                  <c:v>#N/A</c:v>
                </c:pt>
                <c:pt idx="6547">
                  <c:v>#N/A</c:v>
                </c:pt>
                <c:pt idx="6548">
                  <c:v>#N/A</c:v>
                </c:pt>
                <c:pt idx="6549">
                  <c:v>#N/A</c:v>
                </c:pt>
                <c:pt idx="6550">
                  <c:v>#N/A</c:v>
                </c:pt>
                <c:pt idx="6551">
                  <c:v>#N/A</c:v>
                </c:pt>
                <c:pt idx="6552">
                  <c:v>#N/A</c:v>
                </c:pt>
                <c:pt idx="6553">
                  <c:v>#N/A</c:v>
                </c:pt>
                <c:pt idx="6554">
                  <c:v>#N/A</c:v>
                </c:pt>
                <c:pt idx="6555">
                  <c:v>#N/A</c:v>
                </c:pt>
                <c:pt idx="6556">
                  <c:v>#N/A</c:v>
                </c:pt>
                <c:pt idx="6557">
                  <c:v>#N/A</c:v>
                </c:pt>
                <c:pt idx="6558">
                  <c:v>#N/A</c:v>
                </c:pt>
                <c:pt idx="6559">
                  <c:v>#N/A</c:v>
                </c:pt>
                <c:pt idx="6560">
                  <c:v>#N/A</c:v>
                </c:pt>
                <c:pt idx="6561">
                  <c:v>#N/A</c:v>
                </c:pt>
                <c:pt idx="6562">
                  <c:v>#N/A</c:v>
                </c:pt>
                <c:pt idx="6563">
                  <c:v>#N/A</c:v>
                </c:pt>
                <c:pt idx="6564">
                  <c:v>#N/A</c:v>
                </c:pt>
                <c:pt idx="6565">
                  <c:v>#N/A</c:v>
                </c:pt>
                <c:pt idx="6566">
                  <c:v>#N/A</c:v>
                </c:pt>
                <c:pt idx="6567">
                  <c:v>#N/A</c:v>
                </c:pt>
                <c:pt idx="6568">
                  <c:v>#N/A</c:v>
                </c:pt>
                <c:pt idx="6569">
                  <c:v>#N/A</c:v>
                </c:pt>
                <c:pt idx="6570">
                  <c:v>#N/A</c:v>
                </c:pt>
                <c:pt idx="6571">
                  <c:v>#N/A</c:v>
                </c:pt>
                <c:pt idx="6572">
                  <c:v>#N/A</c:v>
                </c:pt>
                <c:pt idx="6573">
                  <c:v>#N/A</c:v>
                </c:pt>
                <c:pt idx="6574">
                  <c:v>#N/A</c:v>
                </c:pt>
                <c:pt idx="6575">
                  <c:v>#N/A</c:v>
                </c:pt>
                <c:pt idx="6576">
                  <c:v>#N/A</c:v>
                </c:pt>
                <c:pt idx="6577">
                  <c:v>#N/A</c:v>
                </c:pt>
                <c:pt idx="6578">
                  <c:v>#N/A</c:v>
                </c:pt>
                <c:pt idx="6579">
                  <c:v>2.3917808219178083</c:v>
                </c:pt>
                <c:pt idx="6580">
                  <c:v>#N/A</c:v>
                </c:pt>
                <c:pt idx="6581">
                  <c:v>#N/A</c:v>
                </c:pt>
                <c:pt idx="6582">
                  <c:v>#N/A</c:v>
                </c:pt>
                <c:pt idx="6583">
                  <c:v>#N/A</c:v>
                </c:pt>
                <c:pt idx="6584">
                  <c:v>#N/A</c:v>
                </c:pt>
                <c:pt idx="6585">
                  <c:v>#N/A</c:v>
                </c:pt>
                <c:pt idx="6586">
                  <c:v>#N/A</c:v>
                </c:pt>
                <c:pt idx="6587">
                  <c:v>2.3945205479452056</c:v>
                </c:pt>
                <c:pt idx="6588">
                  <c:v>2.3945205479452056</c:v>
                </c:pt>
                <c:pt idx="6589">
                  <c:v>#N/A</c:v>
                </c:pt>
                <c:pt idx="6590">
                  <c:v>#N/A</c:v>
                </c:pt>
                <c:pt idx="6591">
                  <c:v>#N/A</c:v>
                </c:pt>
                <c:pt idx="6592">
                  <c:v>#N/A</c:v>
                </c:pt>
                <c:pt idx="6593">
                  <c:v>#N/A</c:v>
                </c:pt>
                <c:pt idx="6594">
                  <c:v>#N/A</c:v>
                </c:pt>
                <c:pt idx="6595">
                  <c:v>#N/A</c:v>
                </c:pt>
                <c:pt idx="6596">
                  <c:v>#N/A</c:v>
                </c:pt>
                <c:pt idx="6597">
                  <c:v>#N/A</c:v>
                </c:pt>
                <c:pt idx="6598">
                  <c:v>#N/A</c:v>
                </c:pt>
                <c:pt idx="6599">
                  <c:v>#N/A</c:v>
                </c:pt>
                <c:pt idx="6600">
                  <c:v>2.4</c:v>
                </c:pt>
                <c:pt idx="6601">
                  <c:v>#N/A</c:v>
                </c:pt>
                <c:pt idx="6602">
                  <c:v>#N/A</c:v>
                </c:pt>
                <c:pt idx="6603">
                  <c:v>#N/A</c:v>
                </c:pt>
                <c:pt idx="6604">
                  <c:v>#N/A</c:v>
                </c:pt>
                <c:pt idx="6605">
                  <c:v>#N/A</c:v>
                </c:pt>
                <c:pt idx="6606">
                  <c:v>#N/A</c:v>
                </c:pt>
                <c:pt idx="6607">
                  <c:v>#N/A</c:v>
                </c:pt>
                <c:pt idx="6608">
                  <c:v>#N/A</c:v>
                </c:pt>
                <c:pt idx="6609">
                  <c:v>#N/A</c:v>
                </c:pt>
                <c:pt idx="6610">
                  <c:v>#N/A</c:v>
                </c:pt>
                <c:pt idx="6611">
                  <c:v>#N/A</c:v>
                </c:pt>
                <c:pt idx="6612">
                  <c:v>#N/A</c:v>
                </c:pt>
                <c:pt idx="6613">
                  <c:v>#N/A</c:v>
                </c:pt>
                <c:pt idx="6614">
                  <c:v>#N/A</c:v>
                </c:pt>
                <c:pt idx="6615">
                  <c:v>#N/A</c:v>
                </c:pt>
                <c:pt idx="6616">
                  <c:v>#N/A</c:v>
                </c:pt>
                <c:pt idx="6617">
                  <c:v>#N/A</c:v>
                </c:pt>
                <c:pt idx="6618">
                  <c:v>#N/A</c:v>
                </c:pt>
                <c:pt idx="6619">
                  <c:v>#N/A</c:v>
                </c:pt>
                <c:pt idx="6620">
                  <c:v>#N/A</c:v>
                </c:pt>
                <c:pt idx="6621">
                  <c:v>#N/A</c:v>
                </c:pt>
                <c:pt idx="6622">
                  <c:v>#N/A</c:v>
                </c:pt>
                <c:pt idx="6623">
                  <c:v>#N/A</c:v>
                </c:pt>
                <c:pt idx="6624">
                  <c:v>#N/A</c:v>
                </c:pt>
                <c:pt idx="6625">
                  <c:v>#N/A</c:v>
                </c:pt>
                <c:pt idx="6626">
                  <c:v>2.4136986301369863</c:v>
                </c:pt>
                <c:pt idx="6627">
                  <c:v>#N/A</c:v>
                </c:pt>
                <c:pt idx="6628">
                  <c:v>#N/A</c:v>
                </c:pt>
                <c:pt idx="6629">
                  <c:v>#N/A</c:v>
                </c:pt>
                <c:pt idx="6630">
                  <c:v>#N/A</c:v>
                </c:pt>
                <c:pt idx="6631">
                  <c:v>#N/A</c:v>
                </c:pt>
                <c:pt idx="6632">
                  <c:v>#N/A</c:v>
                </c:pt>
                <c:pt idx="6633">
                  <c:v>2.419178082191781</c:v>
                </c:pt>
                <c:pt idx="6634">
                  <c:v>#N/A</c:v>
                </c:pt>
                <c:pt idx="6635">
                  <c:v>#N/A</c:v>
                </c:pt>
                <c:pt idx="6636">
                  <c:v>#N/A</c:v>
                </c:pt>
                <c:pt idx="6637">
                  <c:v>#N/A</c:v>
                </c:pt>
                <c:pt idx="6638">
                  <c:v>#N/A</c:v>
                </c:pt>
                <c:pt idx="6639">
                  <c:v>#N/A</c:v>
                </c:pt>
                <c:pt idx="6640">
                  <c:v>#N/A</c:v>
                </c:pt>
                <c:pt idx="6641">
                  <c:v>#N/A</c:v>
                </c:pt>
                <c:pt idx="6642">
                  <c:v>#N/A</c:v>
                </c:pt>
                <c:pt idx="6643">
                  <c:v>#N/A</c:v>
                </c:pt>
                <c:pt idx="6644">
                  <c:v>2.4219178082191779</c:v>
                </c:pt>
                <c:pt idx="6645">
                  <c:v>#N/A</c:v>
                </c:pt>
                <c:pt idx="6646">
                  <c:v>#N/A</c:v>
                </c:pt>
                <c:pt idx="6647">
                  <c:v>#N/A</c:v>
                </c:pt>
                <c:pt idx="6648">
                  <c:v>#N/A</c:v>
                </c:pt>
                <c:pt idx="6649">
                  <c:v>#N/A</c:v>
                </c:pt>
                <c:pt idx="6650">
                  <c:v>#N/A</c:v>
                </c:pt>
                <c:pt idx="6651">
                  <c:v>#N/A</c:v>
                </c:pt>
                <c:pt idx="6652">
                  <c:v>#N/A</c:v>
                </c:pt>
                <c:pt idx="6653">
                  <c:v>#N/A</c:v>
                </c:pt>
                <c:pt idx="6654">
                  <c:v>#N/A</c:v>
                </c:pt>
                <c:pt idx="6655">
                  <c:v>#N/A</c:v>
                </c:pt>
                <c:pt idx="6656">
                  <c:v>#N/A</c:v>
                </c:pt>
                <c:pt idx="6657">
                  <c:v>#N/A</c:v>
                </c:pt>
                <c:pt idx="6658">
                  <c:v>#N/A</c:v>
                </c:pt>
                <c:pt idx="6659">
                  <c:v>#N/A</c:v>
                </c:pt>
                <c:pt idx="6660">
                  <c:v>#N/A</c:v>
                </c:pt>
                <c:pt idx="6661">
                  <c:v>2.4356164383561643</c:v>
                </c:pt>
                <c:pt idx="6662">
                  <c:v>#N/A</c:v>
                </c:pt>
                <c:pt idx="6663">
                  <c:v>#N/A</c:v>
                </c:pt>
                <c:pt idx="6664">
                  <c:v>#N/A</c:v>
                </c:pt>
                <c:pt idx="6665">
                  <c:v>#N/A</c:v>
                </c:pt>
                <c:pt idx="6666">
                  <c:v>#N/A</c:v>
                </c:pt>
                <c:pt idx="6667">
                  <c:v>#N/A</c:v>
                </c:pt>
                <c:pt idx="6668">
                  <c:v>#N/A</c:v>
                </c:pt>
                <c:pt idx="6669">
                  <c:v>#N/A</c:v>
                </c:pt>
                <c:pt idx="6670">
                  <c:v>#N/A</c:v>
                </c:pt>
                <c:pt idx="6671">
                  <c:v>#N/A</c:v>
                </c:pt>
                <c:pt idx="6672">
                  <c:v>#N/A</c:v>
                </c:pt>
                <c:pt idx="6673">
                  <c:v>#N/A</c:v>
                </c:pt>
                <c:pt idx="6674">
                  <c:v>#N/A</c:v>
                </c:pt>
                <c:pt idx="6675">
                  <c:v>#N/A</c:v>
                </c:pt>
                <c:pt idx="6676">
                  <c:v>#N/A</c:v>
                </c:pt>
                <c:pt idx="6677">
                  <c:v>#N/A</c:v>
                </c:pt>
                <c:pt idx="6678">
                  <c:v>#N/A</c:v>
                </c:pt>
                <c:pt idx="6679">
                  <c:v>#N/A</c:v>
                </c:pt>
                <c:pt idx="6680">
                  <c:v>#N/A</c:v>
                </c:pt>
                <c:pt idx="6681">
                  <c:v>#N/A</c:v>
                </c:pt>
                <c:pt idx="6682">
                  <c:v>#N/A</c:v>
                </c:pt>
                <c:pt idx="6683">
                  <c:v>#N/A</c:v>
                </c:pt>
                <c:pt idx="6684">
                  <c:v>#N/A</c:v>
                </c:pt>
                <c:pt idx="6685">
                  <c:v>#N/A</c:v>
                </c:pt>
                <c:pt idx="6686">
                  <c:v>#N/A</c:v>
                </c:pt>
                <c:pt idx="6687">
                  <c:v>#N/A</c:v>
                </c:pt>
                <c:pt idx="6688">
                  <c:v>#N/A</c:v>
                </c:pt>
                <c:pt idx="6689">
                  <c:v>#N/A</c:v>
                </c:pt>
                <c:pt idx="6690">
                  <c:v>#N/A</c:v>
                </c:pt>
                <c:pt idx="6691">
                  <c:v>#N/A</c:v>
                </c:pt>
                <c:pt idx="6692">
                  <c:v>#N/A</c:v>
                </c:pt>
                <c:pt idx="6693">
                  <c:v>#N/A</c:v>
                </c:pt>
                <c:pt idx="6694">
                  <c:v>#N/A</c:v>
                </c:pt>
                <c:pt idx="6695">
                  <c:v>#N/A</c:v>
                </c:pt>
                <c:pt idx="6696">
                  <c:v>#N/A</c:v>
                </c:pt>
                <c:pt idx="6697">
                  <c:v>#N/A</c:v>
                </c:pt>
                <c:pt idx="6698">
                  <c:v>#N/A</c:v>
                </c:pt>
                <c:pt idx="6699">
                  <c:v>#N/A</c:v>
                </c:pt>
                <c:pt idx="6700">
                  <c:v>#N/A</c:v>
                </c:pt>
                <c:pt idx="6701">
                  <c:v>#N/A</c:v>
                </c:pt>
                <c:pt idx="6702">
                  <c:v>#N/A</c:v>
                </c:pt>
                <c:pt idx="6703">
                  <c:v>#N/A</c:v>
                </c:pt>
                <c:pt idx="6704">
                  <c:v>#N/A</c:v>
                </c:pt>
                <c:pt idx="6705">
                  <c:v>#N/A</c:v>
                </c:pt>
                <c:pt idx="6706">
                  <c:v>#N/A</c:v>
                </c:pt>
                <c:pt idx="6707">
                  <c:v>#N/A</c:v>
                </c:pt>
                <c:pt idx="6708">
                  <c:v>#N/A</c:v>
                </c:pt>
                <c:pt idx="6709">
                  <c:v>#N/A</c:v>
                </c:pt>
                <c:pt idx="6710">
                  <c:v>#N/A</c:v>
                </c:pt>
                <c:pt idx="6711">
                  <c:v>#N/A</c:v>
                </c:pt>
                <c:pt idx="6712">
                  <c:v>#N/A</c:v>
                </c:pt>
                <c:pt idx="6713">
                  <c:v>#N/A</c:v>
                </c:pt>
                <c:pt idx="6714">
                  <c:v>#N/A</c:v>
                </c:pt>
                <c:pt idx="6715">
                  <c:v>#N/A</c:v>
                </c:pt>
                <c:pt idx="6716">
                  <c:v>#N/A</c:v>
                </c:pt>
                <c:pt idx="6717">
                  <c:v>#N/A</c:v>
                </c:pt>
                <c:pt idx="6718">
                  <c:v>#N/A</c:v>
                </c:pt>
                <c:pt idx="6719">
                  <c:v>2.4794520547945207</c:v>
                </c:pt>
                <c:pt idx="6720">
                  <c:v>#N/A</c:v>
                </c:pt>
                <c:pt idx="6721">
                  <c:v>#N/A</c:v>
                </c:pt>
                <c:pt idx="6722">
                  <c:v>#N/A</c:v>
                </c:pt>
                <c:pt idx="6723">
                  <c:v>#N/A</c:v>
                </c:pt>
                <c:pt idx="6724">
                  <c:v>#N/A</c:v>
                </c:pt>
                <c:pt idx="6725">
                  <c:v>#N/A</c:v>
                </c:pt>
                <c:pt idx="6726">
                  <c:v>#N/A</c:v>
                </c:pt>
                <c:pt idx="6727">
                  <c:v>#N/A</c:v>
                </c:pt>
                <c:pt idx="6728">
                  <c:v>#N/A</c:v>
                </c:pt>
                <c:pt idx="6729">
                  <c:v>#N/A</c:v>
                </c:pt>
                <c:pt idx="6730">
                  <c:v>#N/A</c:v>
                </c:pt>
                <c:pt idx="6731">
                  <c:v>#N/A</c:v>
                </c:pt>
                <c:pt idx="6732">
                  <c:v>#N/A</c:v>
                </c:pt>
                <c:pt idx="6733">
                  <c:v>2.493150684931507</c:v>
                </c:pt>
                <c:pt idx="6734">
                  <c:v>#N/A</c:v>
                </c:pt>
                <c:pt idx="6735">
                  <c:v>#N/A</c:v>
                </c:pt>
                <c:pt idx="6736">
                  <c:v>2.493150684931507</c:v>
                </c:pt>
                <c:pt idx="6737">
                  <c:v>#N/A</c:v>
                </c:pt>
                <c:pt idx="6738">
                  <c:v>#N/A</c:v>
                </c:pt>
                <c:pt idx="6739">
                  <c:v>#N/A</c:v>
                </c:pt>
                <c:pt idx="6740">
                  <c:v>#N/A</c:v>
                </c:pt>
                <c:pt idx="6741">
                  <c:v>#N/A</c:v>
                </c:pt>
                <c:pt idx="6742">
                  <c:v>2.493150684931507</c:v>
                </c:pt>
                <c:pt idx="6743">
                  <c:v>2.493150684931507</c:v>
                </c:pt>
                <c:pt idx="6744">
                  <c:v>2.493150684931507</c:v>
                </c:pt>
                <c:pt idx="6745">
                  <c:v>#N/A</c:v>
                </c:pt>
                <c:pt idx="6746">
                  <c:v>#N/A</c:v>
                </c:pt>
                <c:pt idx="6747">
                  <c:v>#N/A</c:v>
                </c:pt>
                <c:pt idx="6748">
                  <c:v>#N/A</c:v>
                </c:pt>
                <c:pt idx="6749">
                  <c:v>#N/A</c:v>
                </c:pt>
                <c:pt idx="6750">
                  <c:v>#N/A</c:v>
                </c:pt>
                <c:pt idx="6751">
                  <c:v>#N/A</c:v>
                </c:pt>
                <c:pt idx="6752">
                  <c:v>#N/A</c:v>
                </c:pt>
                <c:pt idx="6753">
                  <c:v>2.495890410958904</c:v>
                </c:pt>
                <c:pt idx="6754">
                  <c:v>#N/A</c:v>
                </c:pt>
                <c:pt idx="6755">
                  <c:v>#N/A</c:v>
                </c:pt>
                <c:pt idx="6756">
                  <c:v>2.4986301369863013</c:v>
                </c:pt>
                <c:pt idx="6757">
                  <c:v>#N/A</c:v>
                </c:pt>
                <c:pt idx="6758">
                  <c:v>2.504109589041096</c:v>
                </c:pt>
                <c:pt idx="6759">
                  <c:v>#N/A</c:v>
                </c:pt>
                <c:pt idx="6760">
                  <c:v>#N/A</c:v>
                </c:pt>
                <c:pt idx="6761">
                  <c:v>#N/A</c:v>
                </c:pt>
                <c:pt idx="6762">
                  <c:v>#N/A</c:v>
                </c:pt>
                <c:pt idx="6763">
                  <c:v>#N/A</c:v>
                </c:pt>
                <c:pt idx="6764">
                  <c:v>2.506849315068493</c:v>
                </c:pt>
                <c:pt idx="6765">
                  <c:v>#N/A</c:v>
                </c:pt>
                <c:pt idx="6766">
                  <c:v>#N/A</c:v>
                </c:pt>
                <c:pt idx="6767">
                  <c:v>#N/A</c:v>
                </c:pt>
                <c:pt idx="6768">
                  <c:v>2.506849315068493</c:v>
                </c:pt>
                <c:pt idx="6769">
                  <c:v>#N/A</c:v>
                </c:pt>
                <c:pt idx="6770">
                  <c:v>#N/A</c:v>
                </c:pt>
                <c:pt idx="6771">
                  <c:v>#N/A</c:v>
                </c:pt>
                <c:pt idx="6772">
                  <c:v>#N/A</c:v>
                </c:pt>
                <c:pt idx="6773">
                  <c:v>#N/A</c:v>
                </c:pt>
                <c:pt idx="6774">
                  <c:v>#N/A</c:v>
                </c:pt>
                <c:pt idx="6775">
                  <c:v>#N/A</c:v>
                </c:pt>
                <c:pt idx="6776">
                  <c:v>#N/A</c:v>
                </c:pt>
                <c:pt idx="6777">
                  <c:v>#N/A</c:v>
                </c:pt>
                <c:pt idx="6778">
                  <c:v>#N/A</c:v>
                </c:pt>
                <c:pt idx="6779">
                  <c:v>2.506849315068493</c:v>
                </c:pt>
                <c:pt idx="6780">
                  <c:v>#N/A</c:v>
                </c:pt>
                <c:pt idx="6781">
                  <c:v>#N/A</c:v>
                </c:pt>
                <c:pt idx="6782">
                  <c:v>#N/A</c:v>
                </c:pt>
                <c:pt idx="6783">
                  <c:v>#N/A</c:v>
                </c:pt>
                <c:pt idx="6784">
                  <c:v>#N/A</c:v>
                </c:pt>
                <c:pt idx="6785">
                  <c:v>#N/A</c:v>
                </c:pt>
                <c:pt idx="6786">
                  <c:v>#N/A</c:v>
                </c:pt>
                <c:pt idx="6787">
                  <c:v>#N/A</c:v>
                </c:pt>
                <c:pt idx="6788">
                  <c:v>#N/A</c:v>
                </c:pt>
                <c:pt idx="6789">
                  <c:v>#N/A</c:v>
                </c:pt>
                <c:pt idx="6790">
                  <c:v>#N/A</c:v>
                </c:pt>
                <c:pt idx="6791">
                  <c:v>#N/A</c:v>
                </c:pt>
                <c:pt idx="6792">
                  <c:v>#N/A</c:v>
                </c:pt>
                <c:pt idx="6793">
                  <c:v>2.506849315068493</c:v>
                </c:pt>
                <c:pt idx="6794">
                  <c:v>#N/A</c:v>
                </c:pt>
                <c:pt idx="6795">
                  <c:v>#N/A</c:v>
                </c:pt>
                <c:pt idx="6796">
                  <c:v>#N/A</c:v>
                </c:pt>
                <c:pt idx="6797">
                  <c:v>#N/A</c:v>
                </c:pt>
                <c:pt idx="6798">
                  <c:v>#N/A</c:v>
                </c:pt>
                <c:pt idx="6799">
                  <c:v>#N/A</c:v>
                </c:pt>
                <c:pt idx="6800">
                  <c:v>#N/A</c:v>
                </c:pt>
                <c:pt idx="6801">
                  <c:v>#N/A</c:v>
                </c:pt>
                <c:pt idx="6802">
                  <c:v>#N/A</c:v>
                </c:pt>
                <c:pt idx="6803">
                  <c:v>#N/A</c:v>
                </c:pt>
                <c:pt idx="6804">
                  <c:v>#N/A</c:v>
                </c:pt>
                <c:pt idx="6805">
                  <c:v>#N/A</c:v>
                </c:pt>
                <c:pt idx="6806">
                  <c:v>#N/A</c:v>
                </c:pt>
                <c:pt idx="6807">
                  <c:v>#N/A</c:v>
                </c:pt>
                <c:pt idx="6808">
                  <c:v>#N/A</c:v>
                </c:pt>
                <c:pt idx="6809">
                  <c:v>2.5095890410958903</c:v>
                </c:pt>
                <c:pt idx="6810">
                  <c:v>#N/A</c:v>
                </c:pt>
                <c:pt idx="6811">
                  <c:v>#N/A</c:v>
                </c:pt>
                <c:pt idx="6812">
                  <c:v>#N/A</c:v>
                </c:pt>
                <c:pt idx="6813">
                  <c:v>#N/A</c:v>
                </c:pt>
                <c:pt idx="6814">
                  <c:v>#N/A</c:v>
                </c:pt>
                <c:pt idx="6815">
                  <c:v>#N/A</c:v>
                </c:pt>
                <c:pt idx="6816">
                  <c:v>#N/A</c:v>
                </c:pt>
                <c:pt idx="6817">
                  <c:v>#N/A</c:v>
                </c:pt>
                <c:pt idx="6818">
                  <c:v>#N/A</c:v>
                </c:pt>
                <c:pt idx="6819">
                  <c:v>#N/A</c:v>
                </c:pt>
                <c:pt idx="6820">
                  <c:v>#N/A</c:v>
                </c:pt>
                <c:pt idx="6821">
                  <c:v>#N/A</c:v>
                </c:pt>
                <c:pt idx="6822">
                  <c:v>#N/A</c:v>
                </c:pt>
                <c:pt idx="6823">
                  <c:v>#N/A</c:v>
                </c:pt>
                <c:pt idx="6824">
                  <c:v>#N/A</c:v>
                </c:pt>
                <c:pt idx="6825">
                  <c:v>2.5123287671232877</c:v>
                </c:pt>
                <c:pt idx="6826">
                  <c:v>#N/A</c:v>
                </c:pt>
                <c:pt idx="6827">
                  <c:v>#N/A</c:v>
                </c:pt>
                <c:pt idx="6828">
                  <c:v>2.515068493150685</c:v>
                </c:pt>
                <c:pt idx="6829">
                  <c:v>#N/A</c:v>
                </c:pt>
                <c:pt idx="6830">
                  <c:v>#N/A</c:v>
                </c:pt>
                <c:pt idx="6831">
                  <c:v>#N/A</c:v>
                </c:pt>
                <c:pt idx="6832">
                  <c:v>#N/A</c:v>
                </c:pt>
                <c:pt idx="6833">
                  <c:v>#N/A</c:v>
                </c:pt>
                <c:pt idx="6834">
                  <c:v>#N/A</c:v>
                </c:pt>
                <c:pt idx="6835">
                  <c:v>#N/A</c:v>
                </c:pt>
                <c:pt idx="6836">
                  <c:v>#N/A</c:v>
                </c:pt>
                <c:pt idx="6837">
                  <c:v>#N/A</c:v>
                </c:pt>
                <c:pt idx="6838">
                  <c:v>#N/A</c:v>
                </c:pt>
                <c:pt idx="6839">
                  <c:v>#N/A</c:v>
                </c:pt>
                <c:pt idx="6840">
                  <c:v>#N/A</c:v>
                </c:pt>
                <c:pt idx="6841">
                  <c:v>#N/A</c:v>
                </c:pt>
                <c:pt idx="6842">
                  <c:v>#N/A</c:v>
                </c:pt>
                <c:pt idx="6843">
                  <c:v>#N/A</c:v>
                </c:pt>
                <c:pt idx="6844">
                  <c:v>#N/A</c:v>
                </c:pt>
                <c:pt idx="6845">
                  <c:v>2.5178082191780824</c:v>
                </c:pt>
                <c:pt idx="6846">
                  <c:v>#N/A</c:v>
                </c:pt>
                <c:pt idx="6847">
                  <c:v>#N/A</c:v>
                </c:pt>
                <c:pt idx="6848">
                  <c:v>#N/A</c:v>
                </c:pt>
                <c:pt idx="6849">
                  <c:v>#N/A</c:v>
                </c:pt>
                <c:pt idx="6850">
                  <c:v>#N/A</c:v>
                </c:pt>
                <c:pt idx="6851">
                  <c:v>#N/A</c:v>
                </c:pt>
                <c:pt idx="6852">
                  <c:v>#N/A</c:v>
                </c:pt>
                <c:pt idx="6853">
                  <c:v>#N/A</c:v>
                </c:pt>
                <c:pt idx="6854">
                  <c:v>#N/A</c:v>
                </c:pt>
                <c:pt idx="6855">
                  <c:v>#N/A</c:v>
                </c:pt>
                <c:pt idx="6856">
                  <c:v>#N/A</c:v>
                </c:pt>
                <c:pt idx="6857">
                  <c:v>2.5178082191780824</c:v>
                </c:pt>
                <c:pt idx="6858">
                  <c:v>#N/A</c:v>
                </c:pt>
                <c:pt idx="6859">
                  <c:v>#N/A</c:v>
                </c:pt>
                <c:pt idx="6860">
                  <c:v>#N/A</c:v>
                </c:pt>
                <c:pt idx="6861">
                  <c:v>#N/A</c:v>
                </c:pt>
                <c:pt idx="6862">
                  <c:v>#N/A</c:v>
                </c:pt>
                <c:pt idx="6863">
                  <c:v>#N/A</c:v>
                </c:pt>
                <c:pt idx="6864">
                  <c:v>#N/A</c:v>
                </c:pt>
                <c:pt idx="6865">
                  <c:v>#N/A</c:v>
                </c:pt>
                <c:pt idx="6866">
                  <c:v>#N/A</c:v>
                </c:pt>
                <c:pt idx="6867">
                  <c:v>#N/A</c:v>
                </c:pt>
                <c:pt idx="6868">
                  <c:v>#N/A</c:v>
                </c:pt>
                <c:pt idx="6869">
                  <c:v>#N/A</c:v>
                </c:pt>
                <c:pt idx="6870">
                  <c:v>#N/A</c:v>
                </c:pt>
                <c:pt idx="6871">
                  <c:v>#N/A</c:v>
                </c:pt>
                <c:pt idx="6872">
                  <c:v>#N/A</c:v>
                </c:pt>
                <c:pt idx="6873">
                  <c:v>#N/A</c:v>
                </c:pt>
                <c:pt idx="6874">
                  <c:v>2.526027397260274</c:v>
                </c:pt>
                <c:pt idx="6875">
                  <c:v>2.526027397260274</c:v>
                </c:pt>
                <c:pt idx="6876">
                  <c:v>2.526027397260274</c:v>
                </c:pt>
                <c:pt idx="6877">
                  <c:v>#N/A</c:v>
                </c:pt>
                <c:pt idx="6878">
                  <c:v>#N/A</c:v>
                </c:pt>
                <c:pt idx="6879">
                  <c:v>#N/A</c:v>
                </c:pt>
                <c:pt idx="6880">
                  <c:v>#N/A</c:v>
                </c:pt>
                <c:pt idx="6881">
                  <c:v>#N/A</c:v>
                </c:pt>
                <c:pt idx="6882">
                  <c:v>#N/A</c:v>
                </c:pt>
                <c:pt idx="6883">
                  <c:v>2.526027397260274</c:v>
                </c:pt>
                <c:pt idx="6884">
                  <c:v>#N/A</c:v>
                </c:pt>
                <c:pt idx="6885">
                  <c:v>2.5287671232876714</c:v>
                </c:pt>
                <c:pt idx="6886">
                  <c:v>#N/A</c:v>
                </c:pt>
                <c:pt idx="6887">
                  <c:v>#N/A</c:v>
                </c:pt>
                <c:pt idx="6888">
                  <c:v>#N/A</c:v>
                </c:pt>
                <c:pt idx="6889">
                  <c:v>#N/A</c:v>
                </c:pt>
                <c:pt idx="6890">
                  <c:v>#N/A</c:v>
                </c:pt>
                <c:pt idx="6891">
                  <c:v>#N/A</c:v>
                </c:pt>
                <c:pt idx="6892">
                  <c:v>#N/A</c:v>
                </c:pt>
                <c:pt idx="6893">
                  <c:v>#N/A</c:v>
                </c:pt>
                <c:pt idx="6894">
                  <c:v>#N/A</c:v>
                </c:pt>
                <c:pt idx="6895">
                  <c:v>#N/A</c:v>
                </c:pt>
                <c:pt idx="6896">
                  <c:v>#N/A</c:v>
                </c:pt>
                <c:pt idx="6897">
                  <c:v>#N/A</c:v>
                </c:pt>
                <c:pt idx="6898">
                  <c:v>#N/A</c:v>
                </c:pt>
                <c:pt idx="6899">
                  <c:v>#N/A</c:v>
                </c:pt>
                <c:pt idx="6900">
                  <c:v>#N/A</c:v>
                </c:pt>
                <c:pt idx="6901">
                  <c:v>#N/A</c:v>
                </c:pt>
                <c:pt idx="6902">
                  <c:v>#N/A</c:v>
                </c:pt>
                <c:pt idx="6903">
                  <c:v>#N/A</c:v>
                </c:pt>
                <c:pt idx="6904">
                  <c:v>#N/A</c:v>
                </c:pt>
                <c:pt idx="6905">
                  <c:v>2.5315068493150683</c:v>
                </c:pt>
                <c:pt idx="6906">
                  <c:v>#N/A</c:v>
                </c:pt>
                <c:pt idx="6907">
                  <c:v>#N/A</c:v>
                </c:pt>
                <c:pt idx="6908">
                  <c:v>#N/A</c:v>
                </c:pt>
                <c:pt idx="6909">
                  <c:v>#N/A</c:v>
                </c:pt>
                <c:pt idx="6910">
                  <c:v>#N/A</c:v>
                </c:pt>
                <c:pt idx="6911">
                  <c:v>#N/A</c:v>
                </c:pt>
                <c:pt idx="6912">
                  <c:v>#N/A</c:v>
                </c:pt>
                <c:pt idx="6913">
                  <c:v>#N/A</c:v>
                </c:pt>
                <c:pt idx="6914">
                  <c:v>#N/A</c:v>
                </c:pt>
                <c:pt idx="6915">
                  <c:v>#N/A</c:v>
                </c:pt>
                <c:pt idx="6916">
                  <c:v>#N/A</c:v>
                </c:pt>
                <c:pt idx="6917">
                  <c:v>#N/A</c:v>
                </c:pt>
                <c:pt idx="6918">
                  <c:v>#N/A</c:v>
                </c:pt>
                <c:pt idx="6919">
                  <c:v>#N/A</c:v>
                </c:pt>
                <c:pt idx="6920">
                  <c:v>2.5315068493150683</c:v>
                </c:pt>
                <c:pt idx="6921">
                  <c:v>#N/A</c:v>
                </c:pt>
                <c:pt idx="6922">
                  <c:v>#N/A</c:v>
                </c:pt>
                <c:pt idx="6923">
                  <c:v>#N/A</c:v>
                </c:pt>
                <c:pt idx="6924">
                  <c:v>#N/A</c:v>
                </c:pt>
                <c:pt idx="6925">
                  <c:v>#N/A</c:v>
                </c:pt>
                <c:pt idx="6926">
                  <c:v>#N/A</c:v>
                </c:pt>
                <c:pt idx="6927">
                  <c:v>2.5342465753424657</c:v>
                </c:pt>
                <c:pt idx="6928">
                  <c:v>#N/A</c:v>
                </c:pt>
                <c:pt idx="6929">
                  <c:v>#N/A</c:v>
                </c:pt>
                <c:pt idx="6930">
                  <c:v>2.5342465753424657</c:v>
                </c:pt>
                <c:pt idx="6931">
                  <c:v>2.5342465753424657</c:v>
                </c:pt>
                <c:pt idx="6932">
                  <c:v>#N/A</c:v>
                </c:pt>
                <c:pt idx="6933">
                  <c:v>#N/A</c:v>
                </c:pt>
                <c:pt idx="6934">
                  <c:v>#N/A</c:v>
                </c:pt>
                <c:pt idx="6935">
                  <c:v>#N/A</c:v>
                </c:pt>
                <c:pt idx="6936">
                  <c:v>#N/A</c:v>
                </c:pt>
                <c:pt idx="6937">
                  <c:v>#N/A</c:v>
                </c:pt>
                <c:pt idx="6938">
                  <c:v>#N/A</c:v>
                </c:pt>
                <c:pt idx="6939">
                  <c:v>#N/A</c:v>
                </c:pt>
                <c:pt idx="6940">
                  <c:v>#N/A</c:v>
                </c:pt>
                <c:pt idx="6941">
                  <c:v>#N/A</c:v>
                </c:pt>
                <c:pt idx="6942">
                  <c:v>#N/A</c:v>
                </c:pt>
                <c:pt idx="6943">
                  <c:v>#N/A</c:v>
                </c:pt>
                <c:pt idx="6944">
                  <c:v>#N/A</c:v>
                </c:pt>
                <c:pt idx="6945">
                  <c:v>#N/A</c:v>
                </c:pt>
                <c:pt idx="6946">
                  <c:v>#N/A</c:v>
                </c:pt>
                <c:pt idx="6947">
                  <c:v>#N/A</c:v>
                </c:pt>
                <c:pt idx="6948">
                  <c:v>#N/A</c:v>
                </c:pt>
                <c:pt idx="6949">
                  <c:v>#N/A</c:v>
                </c:pt>
                <c:pt idx="6950">
                  <c:v>#N/A</c:v>
                </c:pt>
                <c:pt idx="6951">
                  <c:v>#N/A</c:v>
                </c:pt>
                <c:pt idx="6952">
                  <c:v>#N/A</c:v>
                </c:pt>
                <c:pt idx="6953">
                  <c:v>#N/A</c:v>
                </c:pt>
                <c:pt idx="6954">
                  <c:v>#N/A</c:v>
                </c:pt>
                <c:pt idx="6955">
                  <c:v>#N/A</c:v>
                </c:pt>
                <c:pt idx="6956">
                  <c:v>#N/A</c:v>
                </c:pt>
                <c:pt idx="6957">
                  <c:v>#N/A</c:v>
                </c:pt>
                <c:pt idx="6958">
                  <c:v>#N/A</c:v>
                </c:pt>
                <c:pt idx="6959">
                  <c:v>#N/A</c:v>
                </c:pt>
                <c:pt idx="6960">
                  <c:v>#N/A</c:v>
                </c:pt>
                <c:pt idx="6961">
                  <c:v>#N/A</c:v>
                </c:pt>
                <c:pt idx="6962">
                  <c:v>#N/A</c:v>
                </c:pt>
                <c:pt idx="6963">
                  <c:v>#N/A</c:v>
                </c:pt>
                <c:pt idx="6964">
                  <c:v>#N/A</c:v>
                </c:pt>
                <c:pt idx="6965">
                  <c:v>#N/A</c:v>
                </c:pt>
                <c:pt idx="6966">
                  <c:v>#N/A</c:v>
                </c:pt>
                <c:pt idx="6967">
                  <c:v>#N/A</c:v>
                </c:pt>
                <c:pt idx="6968">
                  <c:v>#N/A</c:v>
                </c:pt>
                <c:pt idx="6969">
                  <c:v>#N/A</c:v>
                </c:pt>
                <c:pt idx="6970">
                  <c:v>#N/A</c:v>
                </c:pt>
                <c:pt idx="6971">
                  <c:v>#N/A</c:v>
                </c:pt>
                <c:pt idx="6972">
                  <c:v>#N/A</c:v>
                </c:pt>
                <c:pt idx="6973">
                  <c:v>#N/A</c:v>
                </c:pt>
                <c:pt idx="6974">
                  <c:v>#N/A</c:v>
                </c:pt>
                <c:pt idx="6975">
                  <c:v>#N/A</c:v>
                </c:pt>
                <c:pt idx="6976">
                  <c:v>#N/A</c:v>
                </c:pt>
                <c:pt idx="6977">
                  <c:v>#N/A</c:v>
                </c:pt>
                <c:pt idx="6978">
                  <c:v>#N/A</c:v>
                </c:pt>
                <c:pt idx="6979">
                  <c:v>#N/A</c:v>
                </c:pt>
                <c:pt idx="6980">
                  <c:v>#N/A</c:v>
                </c:pt>
                <c:pt idx="6981">
                  <c:v>#N/A</c:v>
                </c:pt>
                <c:pt idx="6982">
                  <c:v>#N/A</c:v>
                </c:pt>
                <c:pt idx="6983">
                  <c:v>#N/A</c:v>
                </c:pt>
                <c:pt idx="6984">
                  <c:v>#N/A</c:v>
                </c:pt>
                <c:pt idx="6985">
                  <c:v>#N/A</c:v>
                </c:pt>
                <c:pt idx="6986">
                  <c:v>#N/A</c:v>
                </c:pt>
                <c:pt idx="6987">
                  <c:v>2.5671232876712327</c:v>
                </c:pt>
                <c:pt idx="6988">
                  <c:v>#N/A</c:v>
                </c:pt>
                <c:pt idx="6989">
                  <c:v>#N/A</c:v>
                </c:pt>
                <c:pt idx="6990">
                  <c:v>#N/A</c:v>
                </c:pt>
                <c:pt idx="6991">
                  <c:v>#N/A</c:v>
                </c:pt>
                <c:pt idx="6992">
                  <c:v>#N/A</c:v>
                </c:pt>
                <c:pt idx="6993">
                  <c:v>#N/A</c:v>
                </c:pt>
                <c:pt idx="6994">
                  <c:v>#N/A</c:v>
                </c:pt>
                <c:pt idx="6995">
                  <c:v>#N/A</c:v>
                </c:pt>
                <c:pt idx="6996">
                  <c:v>#N/A</c:v>
                </c:pt>
                <c:pt idx="6997">
                  <c:v>#N/A</c:v>
                </c:pt>
                <c:pt idx="6998">
                  <c:v>#N/A</c:v>
                </c:pt>
                <c:pt idx="6999">
                  <c:v>#N/A</c:v>
                </c:pt>
                <c:pt idx="7000">
                  <c:v>#N/A</c:v>
                </c:pt>
                <c:pt idx="7001">
                  <c:v>#N/A</c:v>
                </c:pt>
                <c:pt idx="7002">
                  <c:v>#N/A</c:v>
                </c:pt>
                <c:pt idx="7003">
                  <c:v>#N/A</c:v>
                </c:pt>
                <c:pt idx="7004">
                  <c:v>#N/A</c:v>
                </c:pt>
                <c:pt idx="7005">
                  <c:v>#N/A</c:v>
                </c:pt>
                <c:pt idx="7006">
                  <c:v>#N/A</c:v>
                </c:pt>
                <c:pt idx="7007">
                  <c:v>#N/A</c:v>
                </c:pt>
                <c:pt idx="7008">
                  <c:v>#N/A</c:v>
                </c:pt>
                <c:pt idx="7009">
                  <c:v>#N/A</c:v>
                </c:pt>
                <c:pt idx="7010">
                  <c:v>#N/A</c:v>
                </c:pt>
                <c:pt idx="7011">
                  <c:v>#N/A</c:v>
                </c:pt>
                <c:pt idx="7012">
                  <c:v>#N/A</c:v>
                </c:pt>
                <c:pt idx="7013">
                  <c:v>#N/A</c:v>
                </c:pt>
                <c:pt idx="7014">
                  <c:v>#N/A</c:v>
                </c:pt>
                <c:pt idx="7015">
                  <c:v>#N/A</c:v>
                </c:pt>
                <c:pt idx="7016">
                  <c:v>#N/A</c:v>
                </c:pt>
                <c:pt idx="7017">
                  <c:v>#N/A</c:v>
                </c:pt>
                <c:pt idx="7018">
                  <c:v>#N/A</c:v>
                </c:pt>
                <c:pt idx="7019">
                  <c:v>#N/A</c:v>
                </c:pt>
                <c:pt idx="7020">
                  <c:v>#N/A</c:v>
                </c:pt>
                <c:pt idx="7021">
                  <c:v>#N/A</c:v>
                </c:pt>
                <c:pt idx="7022">
                  <c:v>#N/A</c:v>
                </c:pt>
                <c:pt idx="7023">
                  <c:v>#N/A</c:v>
                </c:pt>
                <c:pt idx="7024">
                  <c:v>#N/A</c:v>
                </c:pt>
                <c:pt idx="7025">
                  <c:v>#N/A</c:v>
                </c:pt>
                <c:pt idx="7026">
                  <c:v>#N/A</c:v>
                </c:pt>
                <c:pt idx="7027">
                  <c:v>#N/A</c:v>
                </c:pt>
                <c:pt idx="7028">
                  <c:v>#N/A</c:v>
                </c:pt>
                <c:pt idx="7029">
                  <c:v>#N/A</c:v>
                </c:pt>
                <c:pt idx="7030">
                  <c:v>#N/A</c:v>
                </c:pt>
                <c:pt idx="7031">
                  <c:v>#N/A</c:v>
                </c:pt>
                <c:pt idx="7032">
                  <c:v>#N/A</c:v>
                </c:pt>
                <c:pt idx="7033">
                  <c:v>#N/A</c:v>
                </c:pt>
                <c:pt idx="7034">
                  <c:v>#N/A</c:v>
                </c:pt>
                <c:pt idx="7035">
                  <c:v>#N/A</c:v>
                </c:pt>
                <c:pt idx="7036">
                  <c:v>2.5671232876712327</c:v>
                </c:pt>
                <c:pt idx="7037">
                  <c:v>#N/A</c:v>
                </c:pt>
                <c:pt idx="7038">
                  <c:v>2.5671232876712327</c:v>
                </c:pt>
                <c:pt idx="7039">
                  <c:v>#N/A</c:v>
                </c:pt>
                <c:pt idx="7040">
                  <c:v>#N/A</c:v>
                </c:pt>
                <c:pt idx="7041">
                  <c:v>#N/A</c:v>
                </c:pt>
                <c:pt idx="7042">
                  <c:v>#N/A</c:v>
                </c:pt>
                <c:pt idx="7043">
                  <c:v>#N/A</c:v>
                </c:pt>
                <c:pt idx="7044">
                  <c:v>#N/A</c:v>
                </c:pt>
                <c:pt idx="7045">
                  <c:v>#N/A</c:v>
                </c:pt>
                <c:pt idx="7046">
                  <c:v>#N/A</c:v>
                </c:pt>
                <c:pt idx="7047">
                  <c:v>#N/A</c:v>
                </c:pt>
                <c:pt idx="7048">
                  <c:v>#N/A</c:v>
                </c:pt>
                <c:pt idx="7049">
                  <c:v>#N/A</c:v>
                </c:pt>
                <c:pt idx="7050">
                  <c:v>#N/A</c:v>
                </c:pt>
                <c:pt idx="7051">
                  <c:v>#N/A</c:v>
                </c:pt>
                <c:pt idx="7052">
                  <c:v>#N/A</c:v>
                </c:pt>
                <c:pt idx="7053">
                  <c:v>#N/A</c:v>
                </c:pt>
                <c:pt idx="7054">
                  <c:v>2.5671232876712327</c:v>
                </c:pt>
                <c:pt idx="7055">
                  <c:v>#N/A</c:v>
                </c:pt>
                <c:pt idx="7056">
                  <c:v>#N/A</c:v>
                </c:pt>
                <c:pt idx="7057">
                  <c:v>#N/A</c:v>
                </c:pt>
                <c:pt idx="7058">
                  <c:v>#N/A</c:v>
                </c:pt>
                <c:pt idx="7059">
                  <c:v>#N/A</c:v>
                </c:pt>
                <c:pt idx="7060">
                  <c:v>#N/A</c:v>
                </c:pt>
                <c:pt idx="7061">
                  <c:v>#N/A</c:v>
                </c:pt>
                <c:pt idx="7062">
                  <c:v>#N/A</c:v>
                </c:pt>
                <c:pt idx="7063">
                  <c:v>#N/A</c:v>
                </c:pt>
                <c:pt idx="7064">
                  <c:v>#N/A</c:v>
                </c:pt>
                <c:pt idx="7065">
                  <c:v>#N/A</c:v>
                </c:pt>
                <c:pt idx="7066">
                  <c:v>#N/A</c:v>
                </c:pt>
                <c:pt idx="7067">
                  <c:v>#N/A</c:v>
                </c:pt>
                <c:pt idx="7068">
                  <c:v>#N/A</c:v>
                </c:pt>
                <c:pt idx="7069">
                  <c:v>#N/A</c:v>
                </c:pt>
                <c:pt idx="7070">
                  <c:v>#N/A</c:v>
                </c:pt>
                <c:pt idx="7071">
                  <c:v>#N/A</c:v>
                </c:pt>
                <c:pt idx="7072">
                  <c:v>#N/A</c:v>
                </c:pt>
                <c:pt idx="7073">
                  <c:v>#N/A</c:v>
                </c:pt>
                <c:pt idx="7074">
                  <c:v>#N/A</c:v>
                </c:pt>
                <c:pt idx="7075">
                  <c:v>#N/A</c:v>
                </c:pt>
                <c:pt idx="7076">
                  <c:v>#N/A</c:v>
                </c:pt>
                <c:pt idx="7077">
                  <c:v>#N/A</c:v>
                </c:pt>
                <c:pt idx="7078">
                  <c:v>#N/A</c:v>
                </c:pt>
                <c:pt idx="7079">
                  <c:v>#N/A</c:v>
                </c:pt>
                <c:pt idx="7080">
                  <c:v>#N/A</c:v>
                </c:pt>
                <c:pt idx="7081">
                  <c:v>#N/A</c:v>
                </c:pt>
                <c:pt idx="7082">
                  <c:v>#N/A</c:v>
                </c:pt>
                <c:pt idx="7083">
                  <c:v>#N/A</c:v>
                </c:pt>
                <c:pt idx="7084">
                  <c:v>#N/A</c:v>
                </c:pt>
                <c:pt idx="7085">
                  <c:v>#N/A</c:v>
                </c:pt>
                <c:pt idx="7086">
                  <c:v>#N/A</c:v>
                </c:pt>
                <c:pt idx="7087">
                  <c:v>#N/A</c:v>
                </c:pt>
                <c:pt idx="7088">
                  <c:v>2.56986301369863</c:v>
                </c:pt>
                <c:pt idx="7089">
                  <c:v>#N/A</c:v>
                </c:pt>
                <c:pt idx="7090">
                  <c:v>#N/A</c:v>
                </c:pt>
                <c:pt idx="7091">
                  <c:v>#N/A</c:v>
                </c:pt>
                <c:pt idx="7092">
                  <c:v>#N/A</c:v>
                </c:pt>
                <c:pt idx="7093">
                  <c:v>#N/A</c:v>
                </c:pt>
                <c:pt idx="7094">
                  <c:v>#N/A</c:v>
                </c:pt>
                <c:pt idx="7095">
                  <c:v>#N/A</c:v>
                </c:pt>
                <c:pt idx="7096">
                  <c:v>#N/A</c:v>
                </c:pt>
                <c:pt idx="7097">
                  <c:v>#N/A</c:v>
                </c:pt>
                <c:pt idx="7098">
                  <c:v>#N/A</c:v>
                </c:pt>
                <c:pt idx="7099">
                  <c:v>#N/A</c:v>
                </c:pt>
                <c:pt idx="7100">
                  <c:v>#N/A</c:v>
                </c:pt>
                <c:pt idx="7101">
                  <c:v>#N/A</c:v>
                </c:pt>
                <c:pt idx="7102">
                  <c:v>#N/A</c:v>
                </c:pt>
                <c:pt idx="7103">
                  <c:v>#N/A</c:v>
                </c:pt>
                <c:pt idx="7104">
                  <c:v>#N/A</c:v>
                </c:pt>
                <c:pt idx="7105">
                  <c:v>#N/A</c:v>
                </c:pt>
                <c:pt idx="7106">
                  <c:v>2.56986301369863</c:v>
                </c:pt>
                <c:pt idx="7107">
                  <c:v>#N/A</c:v>
                </c:pt>
                <c:pt idx="7108">
                  <c:v>#N/A</c:v>
                </c:pt>
                <c:pt idx="7109">
                  <c:v>#N/A</c:v>
                </c:pt>
                <c:pt idx="7110">
                  <c:v>#N/A</c:v>
                </c:pt>
                <c:pt idx="7111">
                  <c:v>#N/A</c:v>
                </c:pt>
                <c:pt idx="7112">
                  <c:v>#N/A</c:v>
                </c:pt>
                <c:pt idx="7113">
                  <c:v>#N/A</c:v>
                </c:pt>
                <c:pt idx="7114">
                  <c:v>#N/A</c:v>
                </c:pt>
                <c:pt idx="7115">
                  <c:v>#N/A</c:v>
                </c:pt>
                <c:pt idx="7116">
                  <c:v>#N/A</c:v>
                </c:pt>
                <c:pt idx="7117">
                  <c:v>#N/A</c:v>
                </c:pt>
                <c:pt idx="7118">
                  <c:v>#N/A</c:v>
                </c:pt>
                <c:pt idx="7119">
                  <c:v>#N/A</c:v>
                </c:pt>
                <c:pt idx="7120">
                  <c:v>#N/A</c:v>
                </c:pt>
                <c:pt idx="7121">
                  <c:v>#N/A</c:v>
                </c:pt>
                <c:pt idx="7122">
                  <c:v>#N/A</c:v>
                </c:pt>
                <c:pt idx="7123">
                  <c:v>#N/A</c:v>
                </c:pt>
                <c:pt idx="7124">
                  <c:v>#N/A</c:v>
                </c:pt>
                <c:pt idx="7125">
                  <c:v>#N/A</c:v>
                </c:pt>
                <c:pt idx="7126">
                  <c:v>#N/A</c:v>
                </c:pt>
                <c:pt idx="7127">
                  <c:v>#N/A</c:v>
                </c:pt>
                <c:pt idx="7128">
                  <c:v>#N/A</c:v>
                </c:pt>
                <c:pt idx="7129">
                  <c:v>#N/A</c:v>
                </c:pt>
                <c:pt idx="7130">
                  <c:v>#N/A</c:v>
                </c:pt>
                <c:pt idx="7131">
                  <c:v>#N/A</c:v>
                </c:pt>
                <c:pt idx="7132">
                  <c:v>#N/A</c:v>
                </c:pt>
                <c:pt idx="7133">
                  <c:v>#N/A</c:v>
                </c:pt>
                <c:pt idx="7134">
                  <c:v>#N/A</c:v>
                </c:pt>
                <c:pt idx="7135">
                  <c:v>#N/A</c:v>
                </c:pt>
                <c:pt idx="7136">
                  <c:v>#N/A</c:v>
                </c:pt>
                <c:pt idx="7137">
                  <c:v>#N/A</c:v>
                </c:pt>
                <c:pt idx="7138">
                  <c:v>#N/A</c:v>
                </c:pt>
                <c:pt idx="7139">
                  <c:v>#N/A</c:v>
                </c:pt>
                <c:pt idx="7140">
                  <c:v>#N/A</c:v>
                </c:pt>
                <c:pt idx="7141">
                  <c:v>#N/A</c:v>
                </c:pt>
                <c:pt idx="7142">
                  <c:v>#N/A</c:v>
                </c:pt>
                <c:pt idx="7143">
                  <c:v>#N/A</c:v>
                </c:pt>
                <c:pt idx="7144">
                  <c:v>#N/A</c:v>
                </c:pt>
                <c:pt idx="7145">
                  <c:v>#N/A</c:v>
                </c:pt>
                <c:pt idx="7146">
                  <c:v>#N/A</c:v>
                </c:pt>
                <c:pt idx="7147">
                  <c:v>#N/A</c:v>
                </c:pt>
                <c:pt idx="7148">
                  <c:v>#N/A</c:v>
                </c:pt>
                <c:pt idx="7149">
                  <c:v>#N/A</c:v>
                </c:pt>
                <c:pt idx="7150">
                  <c:v>#N/A</c:v>
                </c:pt>
                <c:pt idx="7151">
                  <c:v>#N/A</c:v>
                </c:pt>
                <c:pt idx="7152">
                  <c:v>#N/A</c:v>
                </c:pt>
                <c:pt idx="7153">
                  <c:v>#N/A</c:v>
                </c:pt>
                <c:pt idx="7154">
                  <c:v>#N/A</c:v>
                </c:pt>
                <c:pt idx="7155">
                  <c:v>#N/A</c:v>
                </c:pt>
                <c:pt idx="7156">
                  <c:v>#N/A</c:v>
                </c:pt>
                <c:pt idx="7157">
                  <c:v>#N/A</c:v>
                </c:pt>
                <c:pt idx="7158">
                  <c:v>#N/A</c:v>
                </c:pt>
                <c:pt idx="7159">
                  <c:v>#N/A</c:v>
                </c:pt>
                <c:pt idx="7160">
                  <c:v>#N/A</c:v>
                </c:pt>
                <c:pt idx="7161">
                  <c:v>#N/A</c:v>
                </c:pt>
                <c:pt idx="7162">
                  <c:v>#N/A</c:v>
                </c:pt>
                <c:pt idx="7163">
                  <c:v>#N/A</c:v>
                </c:pt>
                <c:pt idx="7164">
                  <c:v>#N/A</c:v>
                </c:pt>
                <c:pt idx="7165">
                  <c:v>#N/A</c:v>
                </c:pt>
                <c:pt idx="7166">
                  <c:v>#N/A</c:v>
                </c:pt>
                <c:pt idx="7167">
                  <c:v>#N/A</c:v>
                </c:pt>
                <c:pt idx="7168">
                  <c:v>#N/A</c:v>
                </c:pt>
                <c:pt idx="7169">
                  <c:v>#N/A</c:v>
                </c:pt>
                <c:pt idx="7170">
                  <c:v>#N/A</c:v>
                </c:pt>
                <c:pt idx="7171">
                  <c:v>#N/A</c:v>
                </c:pt>
                <c:pt idx="7172">
                  <c:v>#N/A</c:v>
                </c:pt>
                <c:pt idx="7173">
                  <c:v>#N/A</c:v>
                </c:pt>
                <c:pt idx="7174">
                  <c:v>#N/A</c:v>
                </c:pt>
                <c:pt idx="7175">
                  <c:v>#N/A</c:v>
                </c:pt>
                <c:pt idx="7176">
                  <c:v>#N/A</c:v>
                </c:pt>
                <c:pt idx="7177">
                  <c:v>#N/A</c:v>
                </c:pt>
                <c:pt idx="7178">
                  <c:v>#N/A</c:v>
                </c:pt>
                <c:pt idx="7179">
                  <c:v>#N/A</c:v>
                </c:pt>
                <c:pt idx="7180">
                  <c:v>#N/A</c:v>
                </c:pt>
                <c:pt idx="7181">
                  <c:v>#N/A</c:v>
                </c:pt>
                <c:pt idx="7182">
                  <c:v>#N/A</c:v>
                </c:pt>
                <c:pt idx="7183">
                  <c:v>#N/A</c:v>
                </c:pt>
                <c:pt idx="7184">
                  <c:v>#N/A</c:v>
                </c:pt>
                <c:pt idx="7185">
                  <c:v>#N/A</c:v>
                </c:pt>
                <c:pt idx="7186">
                  <c:v>#N/A</c:v>
                </c:pt>
                <c:pt idx="7187">
                  <c:v>#N/A</c:v>
                </c:pt>
                <c:pt idx="7188">
                  <c:v>#N/A</c:v>
                </c:pt>
                <c:pt idx="7189">
                  <c:v>#N/A</c:v>
                </c:pt>
                <c:pt idx="7190">
                  <c:v>#N/A</c:v>
                </c:pt>
                <c:pt idx="7191">
                  <c:v>#N/A</c:v>
                </c:pt>
                <c:pt idx="7192">
                  <c:v>#N/A</c:v>
                </c:pt>
                <c:pt idx="7193">
                  <c:v>#N/A</c:v>
                </c:pt>
                <c:pt idx="7194">
                  <c:v>#N/A</c:v>
                </c:pt>
                <c:pt idx="7195">
                  <c:v>#N/A</c:v>
                </c:pt>
                <c:pt idx="7196">
                  <c:v>#N/A</c:v>
                </c:pt>
                <c:pt idx="7197">
                  <c:v>#N/A</c:v>
                </c:pt>
                <c:pt idx="7198">
                  <c:v>#N/A</c:v>
                </c:pt>
                <c:pt idx="7199">
                  <c:v>#N/A</c:v>
                </c:pt>
                <c:pt idx="7200">
                  <c:v>#N/A</c:v>
                </c:pt>
                <c:pt idx="7201">
                  <c:v>#N/A</c:v>
                </c:pt>
                <c:pt idx="7202">
                  <c:v>#N/A</c:v>
                </c:pt>
                <c:pt idx="7203">
                  <c:v>#N/A</c:v>
                </c:pt>
                <c:pt idx="7204">
                  <c:v>#N/A</c:v>
                </c:pt>
                <c:pt idx="7205">
                  <c:v>#N/A</c:v>
                </c:pt>
                <c:pt idx="7206">
                  <c:v>#N/A</c:v>
                </c:pt>
                <c:pt idx="7207">
                  <c:v>#N/A</c:v>
                </c:pt>
                <c:pt idx="7208">
                  <c:v>#N/A</c:v>
                </c:pt>
                <c:pt idx="7209">
                  <c:v>#N/A</c:v>
                </c:pt>
                <c:pt idx="7210">
                  <c:v>#N/A</c:v>
                </c:pt>
                <c:pt idx="7211">
                  <c:v>#N/A</c:v>
                </c:pt>
                <c:pt idx="7212">
                  <c:v>#N/A</c:v>
                </c:pt>
                <c:pt idx="7213">
                  <c:v>#N/A</c:v>
                </c:pt>
                <c:pt idx="7214">
                  <c:v>#N/A</c:v>
                </c:pt>
                <c:pt idx="7215">
                  <c:v>#N/A</c:v>
                </c:pt>
                <c:pt idx="7216">
                  <c:v>#N/A</c:v>
                </c:pt>
                <c:pt idx="7217">
                  <c:v>#N/A</c:v>
                </c:pt>
                <c:pt idx="7218">
                  <c:v>#N/A</c:v>
                </c:pt>
                <c:pt idx="7219">
                  <c:v>#N/A</c:v>
                </c:pt>
                <c:pt idx="7220">
                  <c:v>#N/A</c:v>
                </c:pt>
                <c:pt idx="7221">
                  <c:v>#N/A</c:v>
                </c:pt>
                <c:pt idx="7222">
                  <c:v>#N/A</c:v>
                </c:pt>
                <c:pt idx="7223">
                  <c:v>#N/A</c:v>
                </c:pt>
                <c:pt idx="7224">
                  <c:v>#N/A</c:v>
                </c:pt>
                <c:pt idx="7225">
                  <c:v>#N/A</c:v>
                </c:pt>
                <c:pt idx="7226">
                  <c:v>#N/A</c:v>
                </c:pt>
                <c:pt idx="7227">
                  <c:v>#N/A</c:v>
                </c:pt>
                <c:pt idx="7228">
                  <c:v>#N/A</c:v>
                </c:pt>
                <c:pt idx="7229">
                  <c:v>#N/A</c:v>
                </c:pt>
                <c:pt idx="7230">
                  <c:v>#N/A</c:v>
                </c:pt>
                <c:pt idx="7231">
                  <c:v>#N/A</c:v>
                </c:pt>
                <c:pt idx="7232">
                  <c:v>#N/A</c:v>
                </c:pt>
                <c:pt idx="7233">
                  <c:v>#N/A</c:v>
                </c:pt>
                <c:pt idx="7234">
                  <c:v>#N/A</c:v>
                </c:pt>
                <c:pt idx="7235">
                  <c:v>#N/A</c:v>
                </c:pt>
                <c:pt idx="7236">
                  <c:v>#N/A</c:v>
                </c:pt>
                <c:pt idx="7237">
                  <c:v>#N/A</c:v>
                </c:pt>
                <c:pt idx="7238">
                  <c:v>#N/A</c:v>
                </c:pt>
                <c:pt idx="7239">
                  <c:v>#N/A</c:v>
                </c:pt>
                <c:pt idx="7240">
                  <c:v>#N/A</c:v>
                </c:pt>
                <c:pt idx="7241">
                  <c:v>#N/A</c:v>
                </c:pt>
                <c:pt idx="7242">
                  <c:v>#N/A</c:v>
                </c:pt>
                <c:pt idx="7243">
                  <c:v>#N/A</c:v>
                </c:pt>
                <c:pt idx="7244">
                  <c:v>#N/A</c:v>
                </c:pt>
                <c:pt idx="7245">
                  <c:v>#N/A</c:v>
                </c:pt>
                <c:pt idx="7246">
                  <c:v>#N/A</c:v>
                </c:pt>
                <c:pt idx="7247">
                  <c:v>#N/A</c:v>
                </c:pt>
                <c:pt idx="7248">
                  <c:v>#N/A</c:v>
                </c:pt>
                <c:pt idx="7249">
                  <c:v>#N/A</c:v>
                </c:pt>
                <c:pt idx="7250">
                  <c:v>#N/A</c:v>
                </c:pt>
                <c:pt idx="7251">
                  <c:v>#N/A</c:v>
                </c:pt>
                <c:pt idx="7252">
                  <c:v>#N/A</c:v>
                </c:pt>
                <c:pt idx="7253">
                  <c:v>#N/A</c:v>
                </c:pt>
                <c:pt idx="7254">
                  <c:v>#N/A</c:v>
                </c:pt>
                <c:pt idx="7255">
                  <c:v>#N/A</c:v>
                </c:pt>
                <c:pt idx="7256">
                  <c:v>#N/A</c:v>
                </c:pt>
                <c:pt idx="7257">
                  <c:v>#N/A</c:v>
                </c:pt>
                <c:pt idx="7258">
                  <c:v>#N/A</c:v>
                </c:pt>
                <c:pt idx="7259">
                  <c:v>#N/A</c:v>
                </c:pt>
                <c:pt idx="7260">
                  <c:v>#N/A</c:v>
                </c:pt>
                <c:pt idx="7261">
                  <c:v>#N/A</c:v>
                </c:pt>
                <c:pt idx="7262">
                  <c:v>#N/A</c:v>
                </c:pt>
                <c:pt idx="7263">
                  <c:v>#N/A</c:v>
                </c:pt>
                <c:pt idx="7264">
                  <c:v>#N/A</c:v>
                </c:pt>
                <c:pt idx="7265">
                  <c:v>#N/A</c:v>
                </c:pt>
                <c:pt idx="7266">
                  <c:v>#N/A</c:v>
                </c:pt>
                <c:pt idx="7267">
                  <c:v>#N/A</c:v>
                </c:pt>
                <c:pt idx="7268">
                  <c:v>#N/A</c:v>
                </c:pt>
                <c:pt idx="7269">
                  <c:v>#N/A</c:v>
                </c:pt>
                <c:pt idx="7270">
                  <c:v>#N/A</c:v>
                </c:pt>
                <c:pt idx="7271">
                  <c:v>#N/A</c:v>
                </c:pt>
                <c:pt idx="7272">
                  <c:v>#N/A</c:v>
                </c:pt>
                <c:pt idx="7273">
                  <c:v>#N/A</c:v>
                </c:pt>
                <c:pt idx="7274">
                  <c:v>#N/A</c:v>
                </c:pt>
                <c:pt idx="7275">
                  <c:v>#N/A</c:v>
                </c:pt>
                <c:pt idx="7276">
                  <c:v>#N/A</c:v>
                </c:pt>
                <c:pt idx="7277">
                  <c:v>#N/A</c:v>
                </c:pt>
                <c:pt idx="7278">
                  <c:v>#N/A</c:v>
                </c:pt>
                <c:pt idx="7279">
                  <c:v>#N/A</c:v>
                </c:pt>
                <c:pt idx="7280">
                  <c:v>#N/A</c:v>
                </c:pt>
                <c:pt idx="7281">
                  <c:v>2.6520547945205482</c:v>
                </c:pt>
                <c:pt idx="7282">
                  <c:v>#N/A</c:v>
                </c:pt>
                <c:pt idx="7283">
                  <c:v>#N/A</c:v>
                </c:pt>
                <c:pt idx="7284">
                  <c:v>#N/A</c:v>
                </c:pt>
                <c:pt idx="7285">
                  <c:v>#N/A</c:v>
                </c:pt>
                <c:pt idx="7286">
                  <c:v>#N/A</c:v>
                </c:pt>
                <c:pt idx="7287">
                  <c:v>#N/A</c:v>
                </c:pt>
                <c:pt idx="7288">
                  <c:v>#N/A</c:v>
                </c:pt>
                <c:pt idx="7289">
                  <c:v>#N/A</c:v>
                </c:pt>
                <c:pt idx="7290">
                  <c:v>#N/A</c:v>
                </c:pt>
                <c:pt idx="7291">
                  <c:v>#N/A</c:v>
                </c:pt>
                <c:pt idx="7292">
                  <c:v>2.6602739726027398</c:v>
                </c:pt>
                <c:pt idx="7293">
                  <c:v>#N/A</c:v>
                </c:pt>
                <c:pt idx="7294">
                  <c:v>#N/A</c:v>
                </c:pt>
                <c:pt idx="7295">
                  <c:v>#N/A</c:v>
                </c:pt>
                <c:pt idx="7296">
                  <c:v>#N/A</c:v>
                </c:pt>
                <c:pt idx="7297">
                  <c:v>#N/A</c:v>
                </c:pt>
                <c:pt idx="7298">
                  <c:v>2.6602739726027398</c:v>
                </c:pt>
                <c:pt idx="7299">
                  <c:v>#N/A</c:v>
                </c:pt>
                <c:pt idx="7300">
                  <c:v>#N/A</c:v>
                </c:pt>
                <c:pt idx="7301">
                  <c:v>2.6630136986301371</c:v>
                </c:pt>
                <c:pt idx="7302">
                  <c:v>#N/A</c:v>
                </c:pt>
                <c:pt idx="7303">
                  <c:v>#N/A</c:v>
                </c:pt>
                <c:pt idx="7304">
                  <c:v>#N/A</c:v>
                </c:pt>
                <c:pt idx="7305">
                  <c:v>#N/A</c:v>
                </c:pt>
                <c:pt idx="7306">
                  <c:v>#N/A</c:v>
                </c:pt>
                <c:pt idx="7307">
                  <c:v>#N/A</c:v>
                </c:pt>
                <c:pt idx="7308">
                  <c:v>#N/A</c:v>
                </c:pt>
                <c:pt idx="7309">
                  <c:v>#N/A</c:v>
                </c:pt>
                <c:pt idx="7310">
                  <c:v>#N/A</c:v>
                </c:pt>
                <c:pt idx="7311">
                  <c:v>#N/A</c:v>
                </c:pt>
                <c:pt idx="7312">
                  <c:v>#N/A</c:v>
                </c:pt>
                <c:pt idx="7313">
                  <c:v>#N/A</c:v>
                </c:pt>
                <c:pt idx="7314">
                  <c:v>#N/A</c:v>
                </c:pt>
                <c:pt idx="7315">
                  <c:v>#N/A</c:v>
                </c:pt>
                <c:pt idx="7316">
                  <c:v>#N/A</c:v>
                </c:pt>
                <c:pt idx="7317">
                  <c:v>#N/A</c:v>
                </c:pt>
                <c:pt idx="7318">
                  <c:v>#N/A</c:v>
                </c:pt>
                <c:pt idx="7319">
                  <c:v>#N/A</c:v>
                </c:pt>
                <c:pt idx="7320">
                  <c:v>#N/A</c:v>
                </c:pt>
                <c:pt idx="7321">
                  <c:v>#N/A</c:v>
                </c:pt>
                <c:pt idx="7322">
                  <c:v>#N/A</c:v>
                </c:pt>
                <c:pt idx="7323">
                  <c:v>#N/A</c:v>
                </c:pt>
                <c:pt idx="7324">
                  <c:v>#N/A</c:v>
                </c:pt>
                <c:pt idx="7325">
                  <c:v>#N/A</c:v>
                </c:pt>
                <c:pt idx="7326">
                  <c:v>#N/A</c:v>
                </c:pt>
                <c:pt idx="7327">
                  <c:v>#N/A</c:v>
                </c:pt>
                <c:pt idx="7328">
                  <c:v>#N/A</c:v>
                </c:pt>
                <c:pt idx="7329">
                  <c:v>#N/A</c:v>
                </c:pt>
                <c:pt idx="7330">
                  <c:v>#N/A</c:v>
                </c:pt>
                <c:pt idx="7331">
                  <c:v>#N/A</c:v>
                </c:pt>
                <c:pt idx="7332">
                  <c:v>#N/A</c:v>
                </c:pt>
                <c:pt idx="7333">
                  <c:v>#N/A</c:v>
                </c:pt>
                <c:pt idx="7334">
                  <c:v>#N/A</c:v>
                </c:pt>
                <c:pt idx="7335">
                  <c:v>#N/A</c:v>
                </c:pt>
                <c:pt idx="7336">
                  <c:v>#N/A</c:v>
                </c:pt>
                <c:pt idx="7337">
                  <c:v>#N/A</c:v>
                </c:pt>
                <c:pt idx="7338">
                  <c:v>#N/A</c:v>
                </c:pt>
                <c:pt idx="7339">
                  <c:v>#N/A</c:v>
                </c:pt>
                <c:pt idx="7340">
                  <c:v>2.6876712328767125</c:v>
                </c:pt>
                <c:pt idx="7341">
                  <c:v>#N/A</c:v>
                </c:pt>
                <c:pt idx="7342">
                  <c:v>#N/A</c:v>
                </c:pt>
                <c:pt idx="7343">
                  <c:v>#N/A</c:v>
                </c:pt>
                <c:pt idx="7344">
                  <c:v>#N/A</c:v>
                </c:pt>
                <c:pt idx="7345">
                  <c:v>#N/A</c:v>
                </c:pt>
                <c:pt idx="7346">
                  <c:v>#N/A</c:v>
                </c:pt>
                <c:pt idx="7347">
                  <c:v>#N/A</c:v>
                </c:pt>
                <c:pt idx="7348">
                  <c:v>#N/A</c:v>
                </c:pt>
                <c:pt idx="7349">
                  <c:v>#N/A</c:v>
                </c:pt>
                <c:pt idx="7350">
                  <c:v>#N/A</c:v>
                </c:pt>
                <c:pt idx="7351">
                  <c:v>#N/A</c:v>
                </c:pt>
                <c:pt idx="7352">
                  <c:v>#N/A</c:v>
                </c:pt>
                <c:pt idx="7353">
                  <c:v>#N/A</c:v>
                </c:pt>
                <c:pt idx="7354">
                  <c:v>#N/A</c:v>
                </c:pt>
                <c:pt idx="7355">
                  <c:v>#N/A</c:v>
                </c:pt>
                <c:pt idx="7356">
                  <c:v>#N/A</c:v>
                </c:pt>
                <c:pt idx="7357">
                  <c:v>#N/A</c:v>
                </c:pt>
                <c:pt idx="7358">
                  <c:v>#N/A</c:v>
                </c:pt>
                <c:pt idx="7359">
                  <c:v>#N/A</c:v>
                </c:pt>
                <c:pt idx="7360">
                  <c:v>#N/A</c:v>
                </c:pt>
                <c:pt idx="7361">
                  <c:v>#N/A</c:v>
                </c:pt>
                <c:pt idx="7362">
                  <c:v>#N/A</c:v>
                </c:pt>
                <c:pt idx="7363">
                  <c:v>#N/A</c:v>
                </c:pt>
                <c:pt idx="7364">
                  <c:v>#N/A</c:v>
                </c:pt>
                <c:pt idx="7365">
                  <c:v>#N/A</c:v>
                </c:pt>
                <c:pt idx="7366">
                  <c:v>#N/A</c:v>
                </c:pt>
                <c:pt idx="7367">
                  <c:v>#N/A</c:v>
                </c:pt>
                <c:pt idx="7368">
                  <c:v>#N/A</c:v>
                </c:pt>
                <c:pt idx="7369">
                  <c:v>#N/A</c:v>
                </c:pt>
                <c:pt idx="7370">
                  <c:v>#N/A</c:v>
                </c:pt>
                <c:pt idx="7371">
                  <c:v>#N/A</c:v>
                </c:pt>
                <c:pt idx="7372">
                  <c:v>#N/A</c:v>
                </c:pt>
                <c:pt idx="7373">
                  <c:v>#N/A</c:v>
                </c:pt>
                <c:pt idx="7374">
                  <c:v>#N/A</c:v>
                </c:pt>
                <c:pt idx="7375">
                  <c:v>#N/A</c:v>
                </c:pt>
                <c:pt idx="7376">
                  <c:v>2.7178082191780821</c:v>
                </c:pt>
                <c:pt idx="7377">
                  <c:v>2.7205479452054795</c:v>
                </c:pt>
                <c:pt idx="7378">
                  <c:v>#N/A</c:v>
                </c:pt>
                <c:pt idx="7379">
                  <c:v>#N/A</c:v>
                </c:pt>
                <c:pt idx="7380">
                  <c:v>#N/A</c:v>
                </c:pt>
                <c:pt idx="7381">
                  <c:v>#N/A</c:v>
                </c:pt>
                <c:pt idx="7382">
                  <c:v>#N/A</c:v>
                </c:pt>
                <c:pt idx="7383">
                  <c:v>#N/A</c:v>
                </c:pt>
                <c:pt idx="7384">
                  <c:v>#N/A</c:v>
                </c:pt>
                <c:pt idx="7385">
                  <c:v>#N/A</c:v>
                </c:pt>
                <c:pt idx="7386">
                  <c:v>#N/A</c:v>
                </c:pt>
                <c:pt idx="7387">
                  <c:v>#N/A</c:v>
                </c:pt>
                <c:pt idx="7388">
                  <c:v>2.7287671232876711</c:v>
                </c:pt>
                <c:pt idx="7389">
                  <c:v>2.7287671232876711</c:v>
                </c:pt>
                <c:pt idx="7390">
                  <c:v>2.7369863013698632</c:v>
                </c:pt>
                <c:pt idx="7391">
                  <c:v>#N/A</c:v>
                </c:pt>
                <c:pt idx="7392">
                  <c:v>#N/A</c:v>
                </c:pt>
                <c:pt idx="7393">
                  <c:v>#N/A</c:v>
                </c:pt>
                <c:pt idx="7394">
                  <c:v>#N/A</c:v>
                </c:pt>
                <c:pt idx="7395">
                  <c:v>#N/A</c:v>
                </c:pt>
                <c:pt idx="7396">
                  <c:v>#N/A</c:v>
                </c:pt>
                <c:pt idx="7397">
                  <c:v>#N/A</c:v>
                </c:pt>
                <c:pt idx="7398">
                  <c:v>#N/A</c:v>
                </c:pt>
                <c:pt idx="7399">
                  <c:v>#N/A</c:v>
                </c:pt>
                <c:pt idx="7400">
                  <c:v>#N/A</c:v>
                </c:pt>
                <c:pt idx="7401">
                  <c:v>#N/A</c:v>
                </c:pt>
                <c:pt idx="7402">
                  <c:v>#N/A</c:v>
                </c:pt>
                <c:pt idx="7403">
                  <c:v>#N/A</c:v>
                </c:pt>
                <c:pt idx="7404">
                  <c:v>#N/A</c:v>
                </c:pt>
                <c:pt idx="7405">
                  <c:v>#N/A</c:v>
                </c:pt>
                <c:pt idx="7406">
                  <c:v>#N/A</c:v>
                </c:pt>
                <c:pt idx="7407">
                  <c:v>#N/A</c:v>
                </c:pt>
                <c:pt idx="7408">
                  <c:v>#N/A</c:v>
                </c:pt>
                <c:pt idx="7409">
                  <c:v>#N/A</c:v>
                </c:pt>
                <c:pt idx="7410">
                  <c:v>#N/A</c:v>
                </c:pt>
                <c:pt idx="7411">
                  <c:v>#N/A</c:v>
                </c:pt>
                <c:pt idx="7412">
                  <c:v>#N/A</c:v>
                </c:pt>
                <c:pt idx="7413">
                  <c:v>2.7671232876712328</c:v>
                </c:pt>
                <c:pt idx="7414">
                  <c:v>#N/A</c:v>
                </c:pt>
                <c:pt idx="7415">
                  <c:v>#N/A</c:v>
                </c:pt>
                <c:pt idx="7416">
                  <c:v>#N/A</c:v>
                </c:pt>
                <c:pt idx="7417">
                  <c:v>#N/A</c:v>
                </c:pt>
                <c:pt idx="7418">
                  <c:v>#N/A</c:v>
                </c:pt>
                <c:pt idx="7419">
                  <c:v>#N/A</c:v>
                </c:pt>
                <c:pt idx="7420">
                  <c:v>#N/A</c:v>
                </c:pt>
                <c:pt idx="7421">
                  <c:v>#N/A</c:v>
                </c:pt>
                <c:pt idx="7422">
                  <c:v>#N/A</c:v>
                </c:pt>
                <c:pt idx="7423">
                  <c:v>#N/A</c:v>
                </c:pt>
                <c:pt idx="7424">
                  <c:v>#N/A</c:v>
                </c:pt>
                <c:pt idx="7425">
                  <c:v>#N/A</c:v>
                </c:pt>
                <c:pt idx="7426">
                  <c:v>#N/A</c:v>
                </c:pt>
                <c:pt idx="7427">
                  <c:v>2.7808219178082192</c:v>
                </c:pt>
                <c:pt idx="7428">
                  <c:v>#N/A</c:v>
                </c:pt>
                <c:pt idx="7429">
                  <c:v>#N/A</c:v>
                </c:pt>
                <c:pt idx="7430">
                  <c:v>#N/A</c:v>
                </c:pt>
                <c:pt idx="7431">
                  <c:v>#N/A</c:v>
                </c:pt>
                <c:pt idx="7432">
                  <c:v>#N/A</c:v>
                </c:pt>
                <c:pt idx="7433">
                  <c:v>#N/A</c:v>
                </c:pt>
                <c:pt idx="7434">
                  <c:v>#N/A</c:v>
                </c:pt>
                <c:pt idx="7435">
                  <c:v>#N/A</c:v>
                </c:pt>
                <c:pt idx="7436">
                  <c:v>#N/A</c:v>
                </c:pt>
                <c:pt idx="7437">
                  <c:v>#N/A</c:v>
                </c:pt>
                <c:pt idx="7438">
                  <c:v>#N/A</c:v>
                </c:pt>
                <c:pt idx="7439">
                  <c:v>#N/A</c:v>
                </c:pt>
                <c:pt idx="7440">
                  <c:v>#N/A</c:v>
                </c:pt>
                <c:pt idx="7441">
                  <c:v>#N/A</c:v>
                </c:pt>
                <c:pt idx="7442">
                  <c:v>#N/A</c:v>
                </c:pt>
                <c:pt idx="7443">
                  <c:v>#N/A</c:v>
                </c:pt>
                <c:pt idx="7444">
                  <c:v>#N/A</c:v>
                </c:pt>
                <c:pt idx="7445">
                  <c:v>#N/A</c:v>
                </c:pt>
                <c:pt idx="7446">
                  <c:v>#N/A</c:v>
                </c:pt>
                <c:pt idx="7447">
                  <c:v>#N/A</c:v>
                </c:pt>
                <c:pt idx="7448">
                  <c:v>#N/A</c:v>
                </c:pt>
                <c:pt idx="7449">
                  <c:v>#N/A</c:v>
                </c:pt>
                <c:pt idx="7450">
                  <c:v>#N/A</c:v>
                </c:pt>
                <c:pt idx="7451">
                  <c:v>#N/A</c:v>
                </c:pt>
                <c:pt idx="7452">
                  <c:v>#N/A</c:v>
                </c:pt>
                <c:pt idx="7453">
                  <c:v>#N/A</c:v>
                </c:pt>
                <c:pt idx="7454">
                  <c:v>#N/A</c:v>
                </c:pt>
                <c:pt idx="7455">
                  <c:v>#N/A</c:v>
                </c:pt>
                <c:pt idx="7456">
                  <c:v>#N/A</c:v>
                </c:pt>
                <c:pt idx="7457">
                  <c:v>#N/A</c:v>
                </c:pt>
                <c:pt idx="7458">
                  <c:v>#N/A</c:v>
                </c:pt>
                <c:pt idx="7459">
                  <c:v>#N/A</c:v>
                </c:pt>
                <c:pt idx="7460">
                  <c:v>#N/A</c:v>
                </c:pt>
                <c:pt idx="7461">
                  <c:v>#N/A</c:v>
                </c:pt>
                <c:pt idx="7462">
                  <c:v>#N/A</c:v>
                </c:pt>
                <c:pt idx="7463">
                  <c:v>#N/A</c:v>
                </c:pt>
                <c:pt idx="7464">
                  <c:v>#N/A</c:v>
                </c:pt>
                <c:pt idx="7465">
                  <c:v>#N/A</c:v>
                </c:pt>
                <c:pt idx="7466">
                  <c:v>#N/A</c:v>
                </c:pt>
                <c:pt idx="7467">
                  <c:v>#N/A</c:v>
                </c:pt>
                <c:pt idx="7468">
                  <c:v>#N/A</c:v>
                </c:pt>
                <c:pt idx="7469">
                  <c:v>#N/A</c:v>
                </c:pt>
                <c:pt idx="7470">
                  <c:v>#N/A</c:v>
                </c:pt>
                <c:pt idx="7471">
                  <c:v>#N/A</c:v>
                </c:pt>
                <c:pt idx="7472">
                  <c:v>#N/A</c:v>
                </c:pt>
                <c:pt idx="7473">
                  <c:v>#N/A</c:v>
                </c:pt>
                <c:pt idx="7474">
                  <c:v>#N/A</c:v>
                </c:pt>
                <c:pt idx="7475">
                  <c:v>#N/A</c:v>
                </c:pt>
                <c:pt idx="7476">
                  <c:v>#N/A</c:v>
                </c:pt>
                <c:pt idx="7477">
                  <c:v>#N/A</c:v>
                </c:pt>
                <c:pt idx="7478">
                  <c:v>#N/A</c:v>
                </c:pt>
                <c:pt idx="7479">
                  <c:v>#N/A</c:v>
                </c:pt>
                <c:pt idx="7480">
                  <c:v>#N/A</c:v>
                </c:pt>
                <c:pt idx="7481">
                  <c:v>2.8027397260273972</c:v>
                </c:pt>
                <c:pt idx="7482">
                  <c:v>#N/A</c:v>
                </c:pt>
                <c:pt idx="7483">
                  <c:v>#N/A</c:v>
                </c:pt>
                <c:pt idx="7484">
                  <c:v>#N/A</c:v>
                </c:pt>
                <c:pt idx="7485">
                  <c:v>#N/A</c:v>
                </c:pt>
                <c:pt idx="7486">
                  <c:v>#N/A</c:v>
                </c:pt>
                <c:pt idx="7487">
                  <c:v>#N/A</c:v>
                </c:pt>
                <c:pt idx="7488">
                  <c:v>#N/A</c:v>
                </c:pt>
                <c:pt idx="7489">
                  <c:v>#N/A</c:v>
                </c:pt>
                <c:pt idx="7490">
                  <c:v>#N/A</c:v>
                </c:pt>
                <c:pt idx="7491">
                  <c:v>#N/A</c:v>
                </c:pt>
                <c:pt idx="7492">
                  <c:v>#N/A</c:v>
                </c:pt>
                <c:pt idx="7493">
                  <c:v>#N/A</c:v>
                </c:pt>
                <c:pt idx="7494">
                  <c:v>#N/A</c:v>
                </c:pt>
                <c:pt idx="7495">
                  <c:v>#N/A</c:v>
                </c:pt>
                <c:pt idx="7496">
                  <c:v>#N/A</c:v>
                </c:pt>
                <c:pt idx="7497">
                  <c:v>#N/A</c:v>
                </c:pt>
                <c:pt idx="7498">
                  <c:v>#N/A</c:v>
                </c:pt>
                <c:pt idx="7499">
                  <c:v>#N/A</c:v>
                </c:pt>
                <c:pt idx="7500">
                  <c:v>2.8328767123287673</c:v>
                </c:pt>
                <c:pt idx="7501">
                  <c:v>#N/A</c:v>
                </c:pt>
                <c:pt idx="7502">
                  <c:v>#N/A</c:v>
                </c:pt>
                <c:pt idx="7503">
                  <c:v>#N/A</c:v>
                </c:pt>
                <c:pt idx="7504">
                  <c:v>#N/A</c:v>
                </c:pt>
                <c:pt idx="7505">
                  <c:v>#N/A</c:v>
                </c:pt>
                <c:pt idx="7506">
                  <c:v>#N/A</c:v>
                </c:pt>
                <c:pt idx="7507">
                  <c:v>#N/A</c:v>
                </c:pt>
                <c:pt idx="7508">
                  <c:v>#N/A</c:v>
                </c:pt>
                <c:pt idx="7509">
                  <c:v>#N/A</c:v>
                </c:pt>
                <c:pt idx="7510">
                  <c:v>#N/A</c:v>
                </c:pt>
                <c:pt idx="7511">
                  <c:v>#N/A</c:v>
                </c:pt>
                <c:pt idx="7512">
                  <c:v>#N/A</c:v>
                </c:pt>
                <c:pt idx="7513">
                  <c:v>#N/A</c:v>
                </c:pt>
                <c:pt idx="7514">
                  <c:v>#N/A</c:v>
                </c:pt>
                <c:pt idx="7515">
                  <c:v>2.8328767123287673</c:v>
                </c:pt>
                <c:pt idx="7516">
                  <c:v>#N/A</c:v>
                </c:pt>
                <c:pt idx="7517">
                  <c:v>#N/A</c:v>
                </c:pt>
                <c:pt idx="7518">
                  <c:v>#N/A</c:v>
                </c:pt>
                <c:pt idx="7519">
                  <c:v>#N/A</c:v>
                </c:pt>
                <c:pt idx="7520">
                  <c:v>#N/A</c:v>
                </c:pt>
                <c:pt idx="7521">
                  <c:v>#N/A</c:v>
                </c:pt>
                <c:pt idx="7522">
                  <c:v>#N/A</c:v>
                </c:pt>
                <c:pt idx="7523">
                  <c:v>#N/A</c:v>
                </c:pt>
                <c:pt idx="7524">
                  <c:v>#N/A</c:v>
                </c:pt>
                <c:pt idx="7525">
                  <c:v>#N/A</c:v>
                </c:pt>
                <c:pt idx="7526">
                  <c:v>#N/A</c:v>
                </c:pt>
                <c:pt idx="7527">
                  <c:v>#N/A</c:v>
                </c:pt>
                <c:pt idx="7528">
                  <c:v>#N/A</c:v>
                </c:pt>
                <c:pt idx="7529">
                  <c:v>#N/A</c:v>
                </c:pt>
                <c:pt idx="7530">
                  <c:v>#N/A</c:v>
                </c:pt>
                <c:pt idx="7531">
                  <c:v>#N/A</c:v>
                </c:pt>
                <c:pt idx="7532">
                  <c:v>#N/A</c:v>
                </c:pt>
                <c:pt idx="7533">
                  <c:v>#N/A</c:v>
                </c:pt>
                <c:pt idx="7534">
                  <c:v>#N/A</c:v>
                </c:pt>
                <c:pt idx="7535">
                  <c:v>2.8410958904109589</c:v>
                </c:pt>
                <c:pt idx="7536">
                  <c:v>#N/A</c:v>
                </c:pt>
                <c:pt idx="7537">
                  <c:v>#N/A</c:v>
                </c:pt>
                <c:pt idx="7538">
                  <c:v>2.8410958904109589</c:v>
                </c:pt>
                <c:pt idx="7539">
                  <c:v>#N/A</c:v>
                </c:pt>
                <c:pt idx="7540">
                  <c:v>#N/A</c:v>
                </c:pt>
                <c:pt idx="7541">
                  <c:v>#N/A</c:v>
                </c:pt>
                <c:pt idx="7542">
                  <c:v>#N/A</c:v>
                </c:pt>
                <c:pt idx="7543">
                  <c:v>#N/A</c:v>
                </c:pt>
                <c:pt idx="7544">
                  <c:v>#N/A</c:v>
                </c:pt>
                <c:pt idx="7545">
                  <c:v>#N/A</c:v>
                </c:pt>
                <c:pt idx="7546">
                  <c:v>#N/A</c:v>
                </c:pt>
                <c:pt idx="7547">
                  <c:v>#N/A</c:v>
                </c:pt>
                <c:pt idx="7548">
                  <c:v>#N/A</c:v>
                </c:pt>
                <c:pt idx="7549">
                  <c:v>#N/A</c:v>
                </c:pt>
                <c:pt idx="7550">
                  <c:v>#N/A</c:v>
                </c:pt>
                <c:pt idx="7551">
                  <c:v>#N/A</c:v>
                </c:pt>
                <c:pt idx="7552">
                  <c:v>#N/A</c:v>
                </c:pt>
                <c:pt idx="7553">
                  <c:v>#N/A</c:v>
                </c:pt>
                <c:pt idx="7554">
                  <c:v>#N/A</c:v>
                </c:pt>
                <c:pt idx="7555">
                  <c:v>#N/A</c:v>
                </c:pt>
                <c:pt idx="7556">
                  <c:v>#N/A</c:v>
                </c:pt>
                <c:pt idx="7557">
                  <c:v>#N/A</c:v>
                </c:pt>
                <c:pt idx="7558">
                  <c:v>#N/A</c:v>
                </c:pt>
                <c:pt idx="7559">
                  <c:v>#N/A</c:v>
                </c:pt>
                <c:pt idx="7560">
                  <c:v>#N/A</c:v>
                </c:pt>
                <c:pt idx="7561">
                  <c:v>#N/A</c:v>
                </c:pt>
                <c:pt idx="7562">
                  <c:v>#N/A</c:v>
                </c:pt>
                <c:pt idx="7563">
                  <c:v>#N/A</c:v>
                </c:pt>
                <c:pt idx="7564">
                  <c:v>#N/A</c:v>
                </c:pt>
                <c:pt idx="7565">
                  <c:v>#N/A</c:v>
                </c:pt>
                <c:pt idx="7566">
                  <c:v>#N/A</c:v>
                </c:pt>
                <c:pt idx="7567">
                  <c:v>#N/A</c:v>
                </c:pt>
                <c:pt idx="7568">
                  <c:v>#N/A</c:v>
                </c:pt>
                <c:pt idx="7569">
                  <c:v>#N/A</c:v>
                </c:pt>
                <c:pt idx="7570">
                  <c:v>2.8630136986301369</c:v>
                </c:pt>
                <c:pt idx="7571">
                  <c:v>2.871232876712329</c:v>
                </c:pt>
                <c:pt idx="7572">
                  <c:v>2.871232876712329</c:v>
                </c:pt>
                <c:pt idx="7573">
                  <c:v>2.871232876712329</c:v>
                </c:pt>
                <c:pt idx="7574">
                  <c:v>#N/A</c:v>
                </c:pt>
                <c:pt idx="7575">
                  <c:v>#N/A</c:v>
                </c:pt>
                <c:pt idx="7576">
                  <c:v>2.871232876712329</c:v>
                </c:pt>
                <c:pt idx="7577">
                  <c:v>2.871232876712329</c:v>
                </c:pt>
                <c:pt idx="7578">
                  <c:v>#N/A</c:v>
                </c:pt>
                <c:pt idx="7579">
                  <c:v>#N/A</c:v>
                </c:pt>
                <c:pt idx="7580">
                  <c:v>#N/A</c:v>
                </c:pt>
                <c:pt idx="7581">
                  <c:v>#N/A</c:v>
                </c:pt>
                <c:pt idx="7582">
                  <c:v>#N/A</c:v>
                </c:pt>
                <c:pt idx="7583">
                  <c:v>#N/A</c:v>
                </c:pt>
                <c:pt idx="7584">
                  <c:v>#N/A</c:v>
                </c:pt>
                <c:pt idx="7585">
                  <c:v>#N/A</c:v>
                </c:pt>
                <c:pt idx="7586">
                  <c:v>#N/A</c:v>
                </c:pt>
                <c:pt idx="7587">
                  <c:v>#N/A</c:v>
                </c:pt>
                <c:pt idx="7588">
                  <c:v>#N/A</c:v>
                </c:pt>
                <c:pt idx="7589">
                  <c:v>#N/A</c:v>
                </c:pt>
                <c:pt idx="7590">
                  <c:v>#N/A</c:v>
                </c:pt>
                <c:pt idx="7591">
                  <c:v>#N/A</c:v>
                </c:pt>
                <c:pt idx="7592">
                  <c:v>#N/A</c:v>
                </c:pt>
                <c:pt idx="7593">
                  <c:v>#N/A</c:v>
                </c:pt>
                <c:pt idx="7594">
                  <c:v>#N/A</c:v>
                </c:pt>
                <c:pt idx="7595">
                  <c:v>#N/A</c:v>
                </c:pt>
                <c:pt idx="7596">
                  <c:v>#N/A</c:v>
                </c:pt>
                <c:pt idx="7597">
                  <c:v>#N/A</c:v>
                </c:pt>
                <c:pt idx="7598">
                  <c:v>#N/A</c:v>
                </c:pt>
                <c:pt idx="7599">
                  <c:v>#N/A</c:v>
                </c:pt>
                <c:pt idx="7600">
                  <c:v>#N/A</c:v>
                </c:pt>
                <c:pt idx="7601">
                  <c:v>#N/A</c:v>
                </c:pt>
                <c:pt idx="7602">
                  <c:v>#N/A</c:v>
                </c:pt>
                <c:pt idx="7603">
                  <c:v>#N/A</c:v>
                </c:pt>
                <c:pt idx="7604">
                  <c:v>#N/A</c:v>
                </c:pt>
                <c:pt idx="7605">
                  <c:v>#N/A</c:v>
                </c:pt>
                <c:pt idx="7606">
                  <c:v>2.882191780821918</c:v>
                </c:pt>
                <c:pt idx="7607">
                  <c:v>#N/A</c:v>
                </c:pt>
                <c:pt idx="7608">
                  <c:v>#N/A</c:v>
                </c:pt>
                <c:pt idx="7609">
                  <c:v>#N/A</c:v>
                </c:pt>
                <c:pt idx="7610">
                  <c:v>#N/A</c:v>
                </c:pt>
                <c:pt idx="7611">
                  <c:v>#N/A</c:v>
                </c:pt>
                <c:pt idx="7612">
                  <c:v>#N/A</c:v>
                </c:pt>
                <c:pt idx="7613">
                  <c:v>#N/A</c:v>
                </c:pt>
                <c:pt idx="7614">
                  <c:v>#N/A</c:v>
                </c:pt>
                <c:pt idx="7615">
                  <c:v>#N/A</c:v>
                </c:pt>
                <c:pt idx="7616">
                  <c:v>#N/A</c:v>
                </c:pt>
                <c:pt idx="7617">
                  <c:v>#N/A</c:v>
                </c:pt>
                <c:pt idx="7618">
                  <c:v>2.882191780821918</c:v>
                </c:pt>
                <c:pt idx="7619">
                  <c:v>#N/A</c:v>
                </c:pt>
                <c:pt idx="7620">
                  <c:v>#N/A</c:v>
                </c:pt>
                <c:pt idx="7621">
                  <c:v>#N/A</c:v>
                </c:pt>
                <c:pt idx="7622">
                  <c:v>#N/A</c:v>
                </c:pt>
                <c:pt idx="7623">
                  <c:v>#N/A</c:v>
                </c:pt>
                <c:pt idx="7624">
                  <c:v>#N/A</c:v>
                </c:pt>
                <c:pt idx="7625">
                  <c:v>#N/A</c:v>
                </c:pt>
                <c:pt idx="7626">
                  <c:v>#N/A</c:v>
                </c:pt>
                <c:pt idx="7627">
                  <c:v>#N/A</c:v>
                </c:pt>
                <c:pt idx="7628">
                  <c:v>#N/A</c:v>
                </c:pt>
                <c:pt idx="7629">
                  <c:v>#N/A</c:v>
                </c:pt>
                <c:pt idx="7630">
                  <c:v>#N/A</c:v>
                </c:pt>
                <c:pt idx="7631">
                  <c:v>#N/A</c:v>
                </c:pt>
                <c:pt idx="7632">
                  <c:v>#N/A</c:v>
                </c:pt>
                <c:pt idx="7633">
                  <c:v>#N/A</c:v>
                </c:pt>
                <c:pt idx="7634">
                  <c:v>#N/A</c:v>
                </c:pt>
                <c:pt idx="7635">
                  <c:v>#N/A</c:v>
                </c:pt>
                <c:pt idx="7636">
                  <c:v>#N/A</c:v>
                </c:pt>
                <c:pt idx="7637">
                  <c:v>#N/A</c:v>
                </c:pt>
                <c:pt idx="7638">
                  <c:v>2.8986301369863012</c:v>
                </c:pt>
                <c:pt idx="7639">
                  <c:v>#N/A</c:v>
                </c:pt>
                <c:pt idx="7640">
                  <c:v>#N/A</c:v>
                </c:pt>
                <c:pt idx="7641">
                  <c:v>#N/A</c:v>
                </c:pt>
                <c:pt idx="7642">
                  <c:v>#N/A</c:v>
                </c:pt>
                <c:pt idx="7643">
                  <c:v>#N/A</c:v>
                </c:pt>
                <c:pt idx="7644">
                  <c:v>#N/A</c:v>
                </c:pt>
                <c:pt idx="7645">
                  <c:v>#N/A</c:v>
                </c:pt>
                <c:pt idx="7646">
                  <c:v>#N/A</c:v>
                </c:pt>
                <c:pt idx="7647">
                  <c:v>#N/A</c:v>
                </c:pt>
                <c:pt idx="7648">
                  <c:v>#N/A</c:v>
                </c:pt>
                <c:pt idx="7649">
                  <c:v>#N/A</c:v>
                </c:pt>
                <c:pt idx="7650">
                  <c:v>#N/A</c:v>
                </c:pt>
                <c:pt idx="7651">
                  <c:v>#N/A</c:v>
                </c:pt>
                <c:pt idx="7652">
                  <c:v>#N/A</c:v>
                </c:pt>
                <c:pt idx="7653">
                  <c:v>#N/A</c:v>
                </c:pt>
                <c:pt idx="7654">
                  <c:v>#N/A</c:v>
                </c:pt>
                <c:pt idx="7655">
                  <c:v>#N/A</c:v>
                </c:pt>
                <c:pt idx="7656">
                  <c:v>#N/A</c:v>
                </c:pt>
                <c:pt idx="7657">
                  <c:v>#N/A</c:v>
                </c:pt>
                <c:pt idx="7658">
                  <c:v>#N/A</c:v>
                </c:pt>
                <c:pt idx="7659">
                  <c:v>#N/A</c:v>
                </c:pt>
                <c:pt idx="7660">
                  <c:v>#N/A</c:v>
                </c:pt>
                <c:pt idx="7661">
                  <c:v>#N/A</c:v>
                </c:pt>
                <c:pt idx="7662">
                  <c:v>#N/A</c:v>
                </c:pt>
                <c:pt idx="7663">
                  <c:v>#N/A</c:v>
                </c:pt>
                <c:pt idx="7664">
                  <c:v>#N/A</c:v>
                </c:pt>
                <c:pt idx="7665">
                  <c:v>2.9205479452054797</c:v>
                </c:pt>
                <c:pt idx="7666">
                  <c:v>#N/A</c:v>
                </c:pt>
                <c:pt idx="7667">
                  <c:v>#N/A</c:v>
                </c:pt>
                <c:pt idx="7668">
                  <c:v>#N/A</c:v>
                </c:pt>
                <c:pt idx="7669">
                  <c:v>#N/A</c:v>
                </c:pt>
                <c:pt idx="7670">
                  <c:v>#N/A</c:v>
                </c:pt>
                <c:pt idx="7671">
                  <c:v>#N/A</c:v>
                </c:pt>
                <c:pt idx="7672">
                  <c:v>#N/A</c:v>
                </c:pt>
                <c:pt idx="7673">
                  <c:v>#N/A</c:v>
                </c:pt>
                <c:pt idx="7674">
                  <c:v>#N/A</c:v>
                </c:pt>
                <c:pt idx="7675">
                  <c:v>#N/A</c:v>
                </c:pt>
                <c:pt idx="7676">
                  <c:v>#N/A</c:v>
                </c:pt>
                <c:pt idx="7677">
                  <c:v>#N/A</c:v>
                </c:pt>
                <c:pt idx="7678">
                  <c:v>#N/A</c:v>
                </c:pt>
                <c:pt idx="7679">
                  <c:v>#N/A</c:v>
                </c:pt>
                <c:pt idx="7680">
                  <c:v>#N/A</c:v>
                </c:pt>
                <c:pt idx="7681">
                  <c:v>#N/A</c:v>
                </c:pt>
                <c:pt idx="7682">
                  <c:v>#N/A</c:v>
                </c:pt>
                <c:pt idx="7683">
                  <c:v>#N/A</c:v>
                </c:pt>
                <c:pt idx="7684">
                  <c:v>#N/A</c:v>
                </c:pt>
                <c:pt idx="7685">
                  <c:v>#N/A</c:v>
                </c:pt>
                <c:pt idx="7686">
                  <c:v>#N/A</c:v>
                </c:pt>
                <c:pt idx="7687">
                  <c:v>#N/A</c:v>
                </c:pt>
                <c:pt idx="7688">
                  <c:v>#N/A</c:v>
                </c:pt>
                <c:pt idx="7689">
                  <c:v>#N/A</c:v>
                </c:pt>
                <c:pt idx="7690">
                  <c:v>#N/A</c:v>
                </c:pt>
                <c:pt idx="7691">
                  <c:v>#N/A</c:v>
                </c:pt>
                <c:pt idx="7692">
                  <c:v>#N/A</c:v>
                </c:pt>
                <c:pt idx="7693">
                  <c:v>#N/A</c:v>
                </c:pt>
                <c:pt idx="7694">
                  <c:v>#N/A</c:v>
                </c:pt>
                <c:pt idx="7695">
                  <c:v>#N/A</c:v>
                </c:pt>
                <c:pt idx="7696">
                  <c:v>#N/A</c:v>
                </c:pt>
                <c:pt idx="7697">
                  <c:v>#N/A</c:v>
                </c:pt>
                <c:pt idx="7698">
                  <c:v>#N/A</c:v>
                </c:pt>
                <c:pt idx="7699">
                  <c:v>#N/A</c:v>
                </c:pt>
                <c:pt idx="7700">
                  <c:v>#N/A</c:v>
                </c:pt>
                <c:pt idx="7701">
                  <c:v>#N/A</c:v>
                </c:pt>
                <c:pt idx="7702">
                  <c:v>#N/A</c:v>
                </c:pt>
                <c:pt idx="7703">
                  <c:v>#N/A</c:v>
                </c:pt>
                <c:pt idx="7704">
                  <c:v>#N/A</c:v>
                </c:pt>
                <c:pt idx="7705">
                  <c:v>#N/A</c:v>
                </c:pt>
                <c:pt idx="7706">
                  <c:v>#N/A</c:v>
                </c:pt>
                <c:pt idx="7707">
                  <c:v>#N/A</c:v>
                </c:pt>
                <c:pt idx="7708">
                  <c:v>#N/A</c:v>
                </c:pt>
                <c:pt idx="7709">
                  <c:v>#N/A</c:v>
                </c:pt>
                <c:pt idx="7710">
                  <c:v>#N/A</c:v>
                </c:pt>
                <c:pt idx="7711">
                  <c:v>#N/A</c:v>
                </c:pt>
                <c:pt idx="7712">
                  <c:v>#N/A</c:v>
                </c:pt>
                <c:pt idx="7713">
                  <c:v>#N/A</c:v>
                </c:pt>
                <c:pt idx="7714">
                  <c:v>#N/A</c:v>
                </c:pt>
                <c:pt idx="7715">
                  <c:v>2.9397260273972603</c:v>
                </c:pt>
                <c:pt idx="7716">
                  <c:v>#N/A</c:v>
                </c:pt>
                <c:pt idx="7717">
                  <c:v>#N/A</c:v>
                </c:pt>
                <c:pt idx="7718">
                  <c:v>#N/A</c:v>
                </c:pt>
                <c:pt idx="7719">
                  <c:v>#N/A</c:v>
                </c:pt>
                <c:pt idx="7720">
                  <c:v>#N/A</c:v>
                </c:pt>
                <c:pt idx="7721">
                  <c:v>#N/A</c:v>
                </c:pt>
                <c:pt idx="7722">
                  <c:v>2.9479452054794519</c:v>
                </c:pt>
                <c:pt idx="7723">
                  <c:v>#N/A</c:v>
                </c:pt>
                <c:pt idx="7724">
                  <c:v>#N/A</c:v>
                </c:pt>
                <c:pt idx="7725">
                  <c:v>#N/A</c:v>
                </c:pt>
                <c:pt idx="7726">
                  <c:v>2.9506849315068493</c:v>
                </c:pt>
                <c:pt idx="7727">
                  <c:v>#N/A</c:v>
                </c:pt>
                <c:pt idx="7728">
                  <c:v>#N/A</c:v>
                </c:pt>
                <c:pt idx="7729">
                  <c:v>#N/A</c:v>
                </c:pt>
                <c:pt idx="7730">
                  <c:v>#N/A</c:v>
                </c:pt>
                <c:pt idx="7731">
                  <c:v>#N/A</c:v>
                </c:pt>
                <c:pt idx="7732">
                  <c:v>2.956164383561644</c:v>
                </c:pt>
                <c:pt idx="7733">
                  <c:v>#N/A</c:v>
                </c:pt>
                <c:pt idx="7734">
                  <c:v>#N/A</c:v>
                </c:pt>
                <c:pt idx="7735">
                  <c:v>#N/A</c:v>
                </c:pt>
                <c:pt idx="7736">
                  <c:v>#N/A</c:v>
                </c:pt>
                <c:pt idx="7737">
                  <c:v>#N/A</c:v>
                </c:pt>
                <c:pt idx="7738">
                  <c:v>#N/A</c:v>
                </c:pt>
                <c:pt idx="7739">
                  <c:v>#N/A</c:v>
                </c:pt>
                <c:pt idx="7740">
                  <c:v>#N/A</c:v>
                </c:pt>
                <c:pt idx="7741">
                  <c:v>#N/A</c:v>
                </c:pt>
                <c:pt idx="7742">
                  <c:v>#N/A</c:v>
                </c:pt>
                <c:pt idx="7743">
                  <c:v>#N/A</c:v>
                </c:pt>
                <c:pt idx="7744">
                  <c:v>#N/A</c:v>
                </c:pt>
                <c:pt idx="7745">
                  <c:v>#N/A</c:v>
                </c:pt>
                <c:pt idx="7746">
                  <c:v>#N/A</c:v>
                </c:pt>
                <c:pt idx="7747">
                  <c:v>#N/A</c:v>
                </c:pt>
                <c:pt idx="7748">
                  <c:v>#N/A</c:v>
                </c:pt>
                <c:pt idx="7749">
                  <c:v>#N/A</c:v>
                </c:pt>
                <c:pt idx="7750">
                  <c:v>#N/A</c:v>
                </c:pt>
                <c:pt idx="7751">
                  <c:v>#N/A</c:v>
                </c:pt>
                <c:pt idx="7752">
                  <c:v>#N/A</c:v>
                </c:pt>
                <c:pt idx="7753">
                  <c:v>#N/A</c:v>
                </c:pt>
                <c:pt idx="7754">
                  <c:v>#N/A</c:v>
                </c:pt>
                <c:pt idx="7755">
                  <c:v>#N/A</c:v>
                </c:pt>
                <c:pt idx="7756">
                  <c:v>#N/A</c:v>
                </c:pt>
                <c:pt idx="7757">
                  <c:v>#N/A</c:v>
                </c:pt>
                <c:pt idx="7758">
                  <c:v>#N/A</c:v>
                </c:pt>
                <c:pt idx="7759">
                  <c:v>#N/A</c:v>
                </c:pt>
                <c:pt idx="7760">
                  <c:v>#N/A</c:v>
                </c:pt>
                <c:pt idx="7761">
                  <c:v>2.989041095890411</c:v>
                </c:pt>
                <c:pt idx="7762">
                  <c:v>#N/A</c:v>
                </c:pt>
                <c:pt idx="7763">
                  <c:v>#N/A</c:v>
                </c:pt>
                <c:pt idx="7764">
                  <c:v>#N/A</c:v>
                </c:pt>
                <c:pt idx="7765">
                  <c:v>#N/A</c:v>
                </c:pt>
                <c:pt idx="7766">
                  <c:v>#N/A</c:v>
                </c:pt>
                <c:pt idx="7767">
                  <c:v>#N/A</c:v>
                </c:pt>
                <c:pt idx="7768">
                  <c:v>#N/A</c:v>
                </c:pt>
                <c:pt idx="7769">
                  <c:v>#N/A</c:v>
                </c:pt>
                <c:pt idx="7770">
                  <c:v>#N/A</c:v>
                </c:pt>
                <c:pt idx="7771">
                  <c:v>#N/A</c:v>
                </c:pt>
                <c:pt idx="7772">
                  <c:v>#N/A</c:v>
                </c:pt>
                <c:pt idx="7773">
                  <c:v>#N/A</c:v>
                </c:pt>
                <c:pt idx="7774">
                  <c:v>#N/A</c:v>
                </c:pt>
                <c:pt idx="7775">
                  <c:v>#N/A</c:v>
                </c:pt>
                <c:pt idx="7776">
                  <c:v>#N/A</c:v>
                </c:pt>
                <c:pt idx="7777">
                  <c:v>#N/A</c:v>
                </c:pt>
                <c:pt idx="7778">
                  <c:v>#N/A</c:v>
                </c:pt>
                <c:pt idx="7779">
                  <c:v>#N/A</c:v>
                </c:pt>
                <c:pt idx="7780">
                  <c:v>#N/A</c:v>
                </c:pt>
                <c:pt idx="7781">
                  <c:v>#N/A</c:v>
                </c:pt>
                <c:pt idx="7782">
                  <c:v>#N/A</c:v>
                </c:pt>
                <c:pt idx="7783">
                  <c:v>#N/A</c:v>
                </c:pt>
                <c:pt idx="7784">
                  <c:v>#N/A</c:v>
                </c:pt>
                <c:pt idx="7785">
                  <c:v>#N/A</c:v>
                </c:pt>
                <c:pt idx="7786">
                  <c:v>#N/A</c:v>
                </c:pt>
                <c:pt idx="7787">
                  <c:v>#N/A</c:v>
                </c:pt>
                <c:pt idx="7788">
                  <c:v>#N/A</c:v>
                </c:pt>
                <c:pt idx="7789">
                  <c:v>#N/A</c:v>
                </c:pt>
                <c:pt idx="7790">
                  <c:v>#N/A</c:v>
                </c:pt>
                <c:pt idx="7791">
                  <c:v>#N/A</c:v>
                </c:pt>
                <c:pt idx="7792">
                  <c:v>#N/A</c:v>
                </c:pt>
                <c:pt idx="7793">
                  <c:v>#N/A</c:v>
                </c:pt>
                <c:pt idx="7794">
                  <c:v>#N/A</c:v>
                </c:pt>
                <c:pt idx="7795">
                  <c:v>#N/A</c:v>
                </c:pt>
                <c:pt idx="7796">
                  <c:v>#N/A</c:v>
                </c:pt>
                <c:pt idx="7797">
                  <c:v>#N/A</c:v>
                </c:pt>
                <c:pt idx="7798">
                  <c:v>#N/A</c:v>
                </c:pt>
                <c:pt idx="7799">
                  <c:v>#N/A</c:v>
                </c:pt>
                <c:pt idx="7800">
                  <c:v>#N/A</c:v>
                </c:pt>
                <c:pt idx="7801">
                  <c:v>#N/A</c:v>
                </c:pt>
                <c:pt idx="7802">
                  <c:v>#N/A</c:v>
                </c:pt>
                <c:pt idx="7803">
                  <c:v>#N/A</c:v>
                </c:pt>
                <c:pt idx="7804">
                  <c:v>#N/A</c:v>
                </c:pt>
                <c:pt idx="7805">
                  <c:v>#N/A</c:v>
                </c:pt>
                <c:pt idx="7806">
                  <c:v>#N/A</c:v>
                </c:pt>
                <c:pt idx="7807">
                  <c:v>#N/A</c:v>
                </c:pt>
                <c:pt idx="7808">
                  <c:v>#N/A</c:v>
                </c:pt>
                <c:pt idx="7809">
                  <c:v>#N/A</c:v>
                </c:pt>
                <c:pt idx="7810">
                  <c:v>#N/A</c:v>
                </c:pt>
                <c:pt idx="7811">
                  <c:v>#N/A</c:v>
                </c:pt>
                <c:pt idx="7812">
                  <c:v>#N/A</c:v>
                </c:pt>
                <c:pt idx="7813">
                  <c:v>#N/A</c:v>
                </c:pt>
                <c:pt idx="7814">
                  <c:v>#N/A</c:v>
                </c:pt>
                <c:pt idx="7815">
                  <c:v>#N/A</c:v>
                </c:pt>
                <c:pt idx="7816">
                  <c:v>3.0136986301369864</c:v>
                </c:pt>
                <c:pt idx="7817">
                  <c:v>#N/A</c:v>
                </c:pt>
                <c:pt idx="7818">
                  <c:v>#N/A</c:v>
                </c:pt>
                <c:pt idx="7819">
                  <c:v>3.0136986301369864</c:v>
                </c:pt>
                <c:pt idx="7820">
                  <c:v>#N/A</c:v>
                </c:pt>
                <c:pt idx="7821">
                  <c:v>#N/A</c:v>
                </c:pt>
                <c:pt idx="7822">
                  <c:v>#N/A</c:v>
                </c:pt>
                <c:pt idx="7823">
                  <c:v>#N/A</c:v>
                </c:pt>
                <c:pt idx="7824">
                  <c:v>#N/A</c:v>
                </c:pt>
                <c:pt idx="7825">
                  <c:v>#N/A</c:v>
                </c:pt>
                <c:pt idx="7826">
                  <c:v>#N/A</c:v>
                </c:pt>
                <c:pt idx="7827">
                  <c:v>#N/A</c:v>
                </c:pt>
                <c:pt idx="7828">
                  <c:v>#N/A</c:v>
                </c:pt>
                <c:pt idx="7829">
                  <c:v>#N/A</c:v>
                </c:pt>
                <c:pt idx="7830">
                  <c:v>#N/A</c:v>
                </c:pt>
                <c:pt idx="7831">
                  <c:v>#N/A</c:v>
                </c:pt>
                <c:pt idx="7832">
                  <c:v>#N/A</c:v>
                </c:pt>
                <c:pt idx="7833">
                  <c:v>#N/A</c:v>
                </c:pt>
                <c:pt idx="7834">
                  <c:v>#N/A</c:v>
                </c:pt>
                <c:pt idx="7835">
                  <c:v>#N/A</c:v>
                </c:pt>
                <c:pt idx="7836">
                  <c:v>#N/A</c:v>
                </c:pt>
                <c:pt idx="7837">
                  <c:v>#N/A</c:v>
                </c:pt>
                <c:pt idx="7838">
                  <c:v>#N/A</c:v>
                </c:pt>
                <c:pt idx="7839">
                  <c:v>#N/A</c:v>
                </c:pt>
                <c:pt idx="7840">
                  <c:v>#N/A</c:v>
                </c:pt>
                <c:pt idx="7841">
                  <c:v>#N/A</c:v>
                </c:pt>
                <c:pt idx="7842">
                  <c:v>#N/A</c:v>
                </c:pt>
                <c:pt idx="7843">
                  <c:v>#N/A</c:v>
                </c:pt>
                <c:pt idx="7844">
                  <c:v>#N/A</c:v>
                </c:pt>
                <c:pt idx="7845">
                  <c:v>#N/A</c:v>
                </c:pt>
                <c:pt idx="7846">
                  <c:v>#N/A</c:v>
                </c:pt>
                <c:pt idx="7847">
                  <c:v>#N/A</c:v>
                </c:pt>
                <c:pt idx="7848">
                  <c:v>#N/A</c:v>
                </c:pt>
                <c:pt idx="7849">
                  <c:v>#N/A</c:v>
                </c:pt>
                <c:pt idx="7850">
                  <c:v>#N/A</c:v>
                </c:pt>
                <c:pt idx="7851">
                  <c:v>#N/A</c:v>
                </c:pt>
                <c:pt idx="7852">
                  <c:v>#N/A</c:v>
                </c:pt>
                <c:pt idx="7853">
                  <c:v>#N/A</c:v>
                </c:pt>
                <c:pt idx="7854">
                  <c:v>#N/A</c:v>
                </c:pt>
                <c:pt idx="7855">
                  <c:v>#N/A</c:v>
                </c:pt>
                <c:pt idx="7856">
                  <c:v>#N/A</c:v>
                </c:pt>
                <c:pt idx="7857">
                  <c:v>#N/A</c:v>
                </c:pt>
                <c:pt idx="7858">
                  <c:v>#N/A</c:v>
                </c:pt>
                <c:pt idx="7859">
                  <c:v>#N/A</c:v>
                </c:pt>
                <c:pt idx="7860">
                  <c:v>#N/A</c:v>
                </c:pt>
                <c:pt idx="7861">
                  <c:v>#N/A</c:v>
                </c:pt>
                <c:pt idx="7862">
                  <c:v>#N/A</c:v>
                </c:pt>
                <c:pt idx="7863">
                  <c:v>#N/A</c:v>
                </c:pt>
                <c:pt idx="7864">
                  <c:v>#N/A</c:v>
                </c:pt>
                <c:pt idx="7865">
                  <c:v>#N/A</c:v>
                </c:pt>
                <c:pt idx="7866">
                  <c:v>#N/A</c:v>
                </c:pt>
                <c:pt idx="7867">
                  <c:v>#N/A</c:v>
                </c:pt>
                <c:pt idx="7868">
                  <c:v>#N/A</c:v>
                </c:pt>
                <c:pt idx="7869">
                  <c:v>#N/A</c:v>
                </c:pt>
                <c:pt idx="7870">
                  <c:v>#N/A</c:v>
                </c:pt>
                <c:pt idx="7871">
                  <c:v>#N/A</c:v>
                </c:pt>
                <c:pt idx="7872">
                  <c:v>#N/A</c:v>
                </c:pt>
                <c:pt idx="7873">
                  <c:v>#N/A</c:v>
                </c:pt>
                <c:pt idx="7874">
                  <c:v>#N/A</c:v>
                </c:pt>
                <c:pt idx="7875">
                  <c:v>#N/A</c:v>
                </c:pt>
                <c:pt idx="7876">
                  <c:v>#N/A</c:v>
                </c:pt>
                <c:pt idx="7877">
                  <c:v>3.0465753424657533</c:v>
                </c:pt>
                <c:pt idx="7878">
                  <c:v>#N/A</c:v>
                </c:pt>
                <c:pt idx="7879">
                  <c:v>#N/A</c:v>
                </c:pt>
                <c:pt idx="7880">
                  <c:v>#N/A</c:v>
                </c:pt>
                <c:pt idx="7881">
                  <c:v>#N/A</c:v>
                </c:pt>
                <c:pt idx="7882">
                  <c:v>#N/A</c:v>
                </c:pt>
                <c:pt idx="7883">
                  <c:v>#N/A</c:v>
                </c:pt>
                <c:pt idx="7884">
                  <c:v>#N/A</c:v>
                </c:pt>
                <c:pt idx="7885">
                  <c:v>#N/A</c:v>
                </c:pt>
                <c:pt idx="7886">
                  <c:v>#N/A</c:v>
                </c:pt>
                <c:pt idx="7887">
                  <c:v>#N/A</c:v>
                </c:pt>
                <c:pt idx="7888">
                  <c:v>#N/A</c:v>
                </c:pt>
                <c:pt idx="7889">
                  <c:v>#N/A</c:v>
                </c:pt>
                <c:pt idx="7890">
                  <c:v>#N/A</c:v>
                </c:pt>
                <c:pt idx="7891">
                  <c:v>#N/A</c:v>
                </c:pt>
                <c:pt idx="7892">
                  <c:v>#N/A</c:v>
                </c:pt>
                <c:pt idx="7893">
                  <c:v>3.0547945205479454</c:v>
                </c:pt>
                <c:pt idx="7894">
                  <c:v>#N/A</c:v>
                </c:pt>
                <c:pt idx="7895">
                  <c:v>#N/A</c:v>
                </c:pt>
                <c:pt idx="7896">
                  <c:v>#N/A</c:v>
                </c:pt>
                <c:pt idx="7897">
                  <c:v>#N/A</c:v>
                </c:pt>
                <c:pt idx="7898">
                  <c:v>#N/A</c:v>
                </c:pt>
                <c:pt idx="7899">
                  <c:v>#N/A</c:v>
                </c:pt>
                <c:pt idx="7900">
                  <c:v>#N/A</c:v>
                </c:pt>
                <c:pt idx="7901">
                  <c:v>#N/A</c:v>
                </c:pt>
                <c:pt idx="7902">
                  <c:v>#N/A</c:v>
                </c:pt>
                <c:pt idx="7903">
                  <c:v>#N/A</c:v>
                </c:pt>
                <c:pt idx="7904">
                  <c:v>#N/A</c:v>
                </c:pt>
                <c:pt idx="7905">
                  <c:v>#N/A</c:v>
                </c:pt>
                <c:pt idx="7906">
                  <c:v>#N/A</c:v>
                </c:pt>
                <c:pt idx="7907">
                  <c:v>#N/A</c:v>
                </c:pt>
                <c:pt idx="7908">
                  <c:v>#N/A</c:v>
                </c:pt>
                <c:pt idx="7909">
                  <c:v>#N/A</c:v>
                </c:pt>
                <c:pt idx="7910">
                  <c:v>#N/A</c:v>
                </c:pt>
                <c:pt idx="7911">
                  <c:v>#N/A</c:v>
                </c:pt>
                <c:pt idx="7912">
                  <c:v>#N/A</c:v>
                </c:pt>
                <c:pt idx="7913">
                  <c:v>#N/A</c:v>
                </c:pt>
                <c:pt idx="7914">
                  <c:v>#N/A</c:v>
                </c:pt>
                <c:pt idx="7915">
                  <c:v>#N/A</c:v>
                </c:pt>
                <c:pt idx="7916">
                  <c:v>#N/A</c:v>
                </c:pt>
                <c:pt idx="7917">
                  <c:v>#N/A</c:v>
                </c:pt>
                <c:pt idx="7918">
                  <c:v>#N/A</c:v>
                </c:pt>
                <c:pt idx="7919">
                  <c:v>#N/A</c:v>
                </c:pt>
                <c:pt idx="7920">
                  <c:v>#N/A</c:v>
                </c:pt>
                <c:pt idx="7921">
                  <c:v>#N/A</c:v>
                </c:pt>
                <c:pt idx="7922">
                  <c:v>#N/A</c:v>
                </c:pt>
                <c:pt idx="7923">
                  <c:v>#N/A</c:v>
                </c:pt>
                <c:pt idx="7924">
                  <c:v>#N/A</c:v>
                </c:pt>
                <c:pt idx="7925">
                  <c:v>#N/A</c:v>
                </c:pt>
                <c:pt idx="7926">
                  <c:v>#N/A</c:v>
                </c:pt>
                <c:pt idx="7927">
                  <c:v>#N/A</c:v>
                </c:pt>
                <c:pt idx="7928">
                  <c:v>#N/A</c:v>
                </c:pt>
                <c:pt idx="7929">
                  <c:v>#N/A</c:v>
                </c:pt>
                <c:pt idx="7930">
                  <c:v>#N/A</c:v>
                </c:pt>
                <c:pt idx="7931">
                  <c:v>#N/A</c:v>
                </c:pt>
                <c:pt idx="7932">
                  <c:v>#N/A</c:v>
                </c:pt>
                <c:pt idx="7933">
                  <c:v>#N/A</c:v>
                </c:pt>
                <c:pt idx="7934">
                  <c:v>#N/A</c:v>
                </c:pt>
                <c:pt idx="7935">
                  <c:v>#N/A</c:v>
                </c:pt>
                <c:pt idx="7936">
                  <c:v>#N/A</c:v>
                </c:pt>
                <c:pt idx="7937">
                  <c:v>#N/A</c:v>
                </c:pt>
                <c:pt idx="7938">
                  <c:v>#N/A</c:v>
                </c:pt>
                <c:pt idx="7939">
                  <c:v>#N/A</c:v>
                </c:pt>
                <c:pt idx="7940">
                  <c:v>#N/A</c:v>
                </c:pt>
                <c:pt idx="7941">
                  <c:v>3.0630136986301371</c:v>
                </c:pt>
                <c:pt idx="7942">
                  <c:v>#N/A</c:v>
                </c:pt>
                <c:pt idx="7943">
                  <c:v>#N/A</c:v>
                </c:pt>
                <c:pt idx="7944">
                  <c:v>#N/A</c:v>
                </c:pt>
                <c:pt idx="7945">
                  <c:v>#N/A</c:v>
                </c:pt>
                <c:pt idx="7946">
                  <c:v>#N/A</c:v>
                </c:pt>
                <c:pt idx="7947">
                  <c:v>#N/A</c:v>
                </c:pt>
                <c:pt idx="7948">
                  <c:v>#N/A</c:v>
                </c:pt>
                <c:pt idx="7949">
                  <c:v>#N/A</c:v>
                </c:pt>
                <c:pt idx="7950">
                  <c:v>#N/A</c:v>
                </c:pt>
                <c:pt idx="7951">
                  <c:v>#N/A</c:v>
                </c:pt>
                <c:pt idx="7952">
                  <c:v>#N/A</c:v>
                </c:pt>
                <c:pt idx="7953">
                  <c:v>#N/A</c:v>
                </c:pt>
                <c:pt idx="7954">
                  <c:v>#N/A</c:v>
                </c:pt>
                <c:pt idx="7955">
                  <c:v>#N/A</c:v>
                </c:pt>
                <c:pt idx="7956">
                  <c:v>#N/A</c:v>
                </c:pt>
                <c:pt idx="7957">
                  <c:v>#N/A</c:v>
                </c:pt>
                <c:pt idx="7958">
                  <c:v>#N/A</c:v>
                </c:pt>
                <c:pt idx="7959">
                  <c:v>#N/A</c:v>
                </c:pt>
                <c:pt idx="7960">
                  <c:v>#N/A</c:v>
                </c:pt>
                <c:pt idx="7961">
                  <c:v>#N/A</c:v>
                </c:pt>
                <c:pt idx="7962">
                  <c:v>#N/A</c:v>
                </c:pt>
                <c:pt idx="7963">
                  <c:v>#N/A</c:v>
                </c:pt>
                <c:pt idx="7964">
                  <c:v>#N/A</c:v>
                </c:pt>
                <c:pt idx="7965">
                  <c:v>#N/A</c:v>
                </c:pt>
                <c:pt idx="7966">
                  <c:v>#N/A</c:v>
                </c:pt>
                <c:pt idx="7967">
                  <c:v>#N/A</c:v>
                </c:pt>
                <c:pt idx="7968">
                  <c:v>#N/A</c:v>
                </c:pt>
                <c:pt idx="7969">
                  <c:v>#N/A</c:v>
                </c:pt>
                <c:pt idx="7970">
                  <c:v>#N/A</c:v>
                </c:pt>
                <c:pt idx="7971">
                  <c:v>#N/A</c:v>
                </c:pt>
                <c:pt idx="7972">
                  <c:v>#N/A</c:v>
                </c:pt>
                <c:pt idx="7973">
                  <c:v>#N/A</c:v>
                </c:pt>
                <c:pt idx="7974">
                  <c:v>#N/A</c:v>
                </c:pt>
                <c:pt idx="7975">
                  <c:v>#N/A</c:v>
                </c:pt>
                <c:pt idx="7976">
                  <c:v>#N/A</c:v>
                </c:pt>
                <c:pt idx="7977">
                  <c:v>#N/A</c:v>
                </c:pt>
                <c:pt idx="7978">
                  <c:v>#N/A</c:v>
                </c:pt>
                <c:pt idx="7979">
                  <c:v>#N/A</c:v>
                </c:pt>
                <c:pt idx="7980">
                  <c:v>#N/A</c:v>
                </c:pt>
                <c:pt idx="7981">
                  <c:v>#N/A</c:v>
                </c:pt>
                <c:pt idx="7982">
                  <c:v>#N/A</c:v>
                </c:pt>
                <c:pt idx="7983">
                  <c:v>#N/A</c:v>
                </c:pt>
                <c:pt idx="7984">
                  <c:v>#N/A</c:v>
                </c:pt>
                <c:pt idx="7985">
                  <c:v>#N/A</c:v>
                </c:pt>
                <c:pt idx="7986">
                  <c:v>#N/A</c:v>
                </c:pt>
                <c:pt idx="7987">
                  <c:v>#N/A</c:v>
                </c:pt>
                <c:pt idx="7988">
                  <c:v>#N/A</c:v>
                </c:pt>
                <c:pt idx="7989">
                  <c:v>3.0630136986301371</c:v>
                </c:pt>
                <c:pt idx="7990">
                  <c:v>#N/A</c:v>
                </c:pt>
                <c:pt idx="7991">
                  <c:v>#N/A</c:v>
                </c:pt>
                <c:pt idx="7992">
                  <c:v>#N/A</c:v>
                </c:pt>
                <c:pt idx="7993">
                  <c:v>#N/A</c:v>
                </c:pt>
                <c:pt idx="7994">
                  <c:v>#N/A</c:v>
                </c:pt>
                <c:pt idx="7995">
                  <c:v>#N/A</c:v>
                </c:pt>
                <c:pt idx="7996">
                  <c:v>#N/A</c:v>
                </c:pt>
                <c:pt idx="7997">
                  <c:v>#N/A</c:v>
                </c:pt>
                <c:pt idx="7998">
                  <c:v>#N/A</c:v>
                </c:pt>
                <c:pt idx="7999">
                  <c:v>#N/A</c:v>
                </c:pt>
                <c:pt idx="8000">
                  <c:v>#N/A</c:v>
                </c:pt>
                <c:pt idx="8001">
                  <c:v>#N/A</c:v>
                </c:pt>
                <c:pt idx="8002">
                  <c:v>#N/A</c:v>
                </c:pt>
                <c:pt idx="8003">
                  <c:v>#N/A</c:v>
                </c:pt>
                <c:pt idx="8004">
                  <c:v>#N/A</c:v>
                </c:pt>
                <c:pt idx="8005">
                  <c:v>#N/A</c:v>
                </c:pt>
                <c:pt idx="8006">
                  <c:v>#N/A</c:v>
                </c:pt>
                <c:pt idx="8007">
                  <c:v>#N/A</c:v>
                </c:pt>
                <c:pt idx="8008">
                  <c:v>#N/A</c:v>
                </c:pt>
                <c:pt idx="8009">
                  <c:v>#N/A</c:v>
                </c:pt>
                <c:pt idx="8010">
                  <c:v>#N/A</c:v>
                </c:pt>
                <c:pt idx="8011">
                  <c:v>#N/A</c:v>
                </c:pt>
                <c:pt idx="8012">
                  <c:v>3.0630136986301371</c:v>
                </c:pt>
                <c:pt idx="8013">
                  <c:v>#N/A</c:v>
                </c:pt>
                <c:pt idx="8014">
                  <c:v>#N/A</c:v>
                </c:pt>
                <c:pt idx="8015">
                  <c:v>#N/A</c:v>
                </c:pt>
                <c:pt idx="8016">
                  <c:v>#N/A</c:v>
                </c:pt>
                <c:pt idx="8017">
                  <c:v>#N/A</c:v>
                </c:pt>
                <c:pt idx="8018">
                  <c:v>#N/A</c:v>
                </c:pt>
                <c:pt idx="8019">
                  <c:v>#N/A</c:v>
                </c:pt>
                <c:pt idx="8020">
                  <c:v>#N/A</c:v>
                </c:pt>
                <c:pt idx="8021">
                  <c:v>#N/A</c:v>
                </c:pt>
                <c:pt idx="8022">
                  <c:v>#N/A</c:v>
                </c:pt>
                <c:pt idx="8023">
                  <c:v>3.0630136986301371</c:v>
                </c:pt>
                <c:pt idx="8024">
                  <c:v>#N/A</c:v>
                </c:pt>
                <c:pt idx="8025">
                  <c:v>#N/A</c:v>
                </c:pt>
                <c:pt idx="8026">
                  <c:v>#N/A</c:v>
                </c:pt>
                <c:pt idx="8027">
                  <c:v>#N/A</c:v>
                </c:pt>
                <c:pt idx="8028">
                  <c:v>#N/A</c:v>
                </c:pt>
                <c:pt idx="8029">
                  <c:v>#N/A</c:v>
                </c:pt>
                <c:pt idx="8030">
                  <c:v>#N/A</c:v>
                </c:pt>
                <c:pt idx="8031">
                  <c:v>#N/A</c:v>
                </c:pt>
                <c:pt idx="8032">
                  <c:v>#N/A</c:v>
                </c:pt>
                <c:pt idx="8033">
                  <c:v>#N/A</c:v>
                </c:pt>
                <c:pt idx="8034">
                  <c:v>#N/A</c:v>
                </c:pt>
                <c:pt idx="8035">
                  <c:v>#N/A</c:v>
                </c:pt>
                <c:pt idx="8036">
                  <c:v>#N/A</c:v>
                </c:pt>
                <c:pt idx="8037">
                  <c:v>#N/A</c:v>
                </c:pt>
                <c:pt idx="8038">
                  <c:v>#N/A</c:v>
                </c:pt>
                <c:pt idx="8039">
                  <c:v>#N/A</c:v>
                </c:pt>
                <c:pt idx="8040">
                  <c:v>#N/A</c:v>
                </c:pt>
                <c:pt idx="8041">
                  <c:v>#N/A</c:v>
                </c:pt>
                <c:pt idx="8042">
                  <c:v>#N/A</c:v>
                </c:pt>
                <c:pt idx="8043">
                  <c:v>#N/A</c:v>
                </c:pt>
                <c:pt idx="8044">
                  <c:v>#N/A</c:v>
                </c:pt>
                <c:pt idx="8045">
                  <c:v>#N/A</c:v>
                </c:pt>
                <c:pt idx="8046">
                  <c:v>#N/A</c:v>
                </c:pt>
                <c:pt idx="8047">
                  <c:v>#N/A</c:v>
                </c:pt>
                <c:pt idx="8048">
                  <c:v>#N/A</c:v>
                </c:pt>
                <c:pt idx="8049">
                  <c:v>#N/A</c:v>
                </c:pt>
                <c:pt idx="8050">
                  <c:v>#N/A</c:v>
                </c:pt>
                <c:pt idx="8051">
                  <c:v>#N/A</c:v>
                </c:pt>
                <c:pt idx="8052">
                  <c:v>#N/A</c:v>
                </c:pt>
                <c:pt idx="8053">
                  <c:v>#N/A</c:v>
                </c:pt>
                <c:pt idx="8054">
                  <c:v>#N/A</c:v>
                </c:pt>
                <c:pt idx="8055">
                  <c:v>#N/A</c:v>
                </c:pt>
                <c:pt idx="8056">
                  <c:v>#N/A</c:v>
                </c:pt>
                <c:pt idx="8057">
                  <c:v>#N/A</c:v>
                </c:pt>
                <c:pt idx="8058">
                  <c:v>3.0630136986301371</c:v>
                </c:pt>
                <c:pt idx="8059">
                  <c:v>#N/A</c:v>
                </c:pt>
                <c:pt idx="8060">
                  <c:v>#N/A</c:v>
                </c:pt>
                <c:pt idx="8061">
                  <c:v>#N/A</c:v>
                </c:pt>
                <c:pt idx="8062">
                  <c:v>#N/A</c:v>
                </c:pt>
                <c:pt idx="8063">
                  <c:v>#N/A</c:v>
                </c:pt>
                <c:pt idx="8064">
                  <c:v>#N/A</c:v>
                </c:pt>
                <c:pt idx="8065">
                  <c:v>#N/A</c:v>
                </c:pt>
                <c:pt idx="8066">
                  <c:v>#N/A</c:v>
                </c:pt>
                <c:pt idx="8067">
                  <c:v>#N/A</c:v>
                </c:pt>
                <c:pt idx="8068">
                  <c:v>#N/A</c:v>
                </c:pt>
                <c:pt idx="8069">
                  <c:v>#N/A</c:v>
                </c:pt>
                <c:pt idx="8070">
                  <c:v>#N/A</c:v>
                </c:pt>
                <c:pt idx="8071">
                  <c:v>#N/A</c:v>
                </c:pt>
                <c:pt idx="8072">
                  <c:v>#N/A</c:v>
                </c:pt>
                <c:pt idx="8073">
                  <c:v>#N/A</c:v>
                </c:pt>
                <c:pt idx="8074">
                  <c:v>#N/A</c:v>
                </c:pt>
                <c:pt idx="8075">
                  <c:v>#N/A</c:v>
                </c:pt>
                <c:pt idx="8076">
                  <c:v>#N/A</c:v>
                </c:pt>
                <c:pt idx="8077">
                  <c:v>#N/A</c:v>
                </c:pt>
                <c:pt idx="8078">
                  <c:v>#N/A</c:v>
                </c:pt>
                <c:pt idx="8079">
                  <c:v>#N/A</c:v>
                </c:pt>
                <c:pt idx="8080">
                  <c:v>#N/A</c:v>
                </c:pt>
                <c:pt idx="8081">
                  <c:v>3.0630136986301371</c:v>
                </c:pt>
                <c:pt idx="8082">
                  <c:v>3.0630136986301371</c:v>
                </c:pt>
                <c:pt idx="8083">
                  <c:v>#N/A</c:v>
                </c:pt>
                <c:pt idx="8084">
                  <c:v>#N/A</c:v>
                </c:pt>
                <c:pt idx="8085">
                  <c:v>#N/A</c:v>
                </c:pt>
                <c:pt idx="8086">
                  <c:v>#N/A</c:v>
                </c:pt>
                <c:pt idx="8087">
                  <c:v>#N/A</c:v>
                </c:pt>
                <c:pt idx="8088">
                  <c:v>#N/A</c:v>
                </c:pt>
                <c:pt idx="8089">
                  <c:v>#N/A</c:v>
                </c:pt>
                <c:pt idx="8090">
                  <c:v>#N/A</c:v>
                </c:pt>
                <c:pt idx="8091">
                  <c:v>#N/A</c:v>
                </c:pt>
                <c:pt idx="8092">
                  <c:v>#N/A</c:v>
                </c:pt>
                <c:pt idx="8093">
                  <c:v>#N/A</c:v>
                </c:pt>
                <c:pt idx="8094">
                  <c:v>#N/A</c:v>
                </c:pt>
                <c:pt idx="8095">
                  <c:v>#N/A</c:v>
                </c:pt>
                <c:pt idx="8096">
                  <c:v>#N/A</c:v>
                </c:pt>
                <c:pt idx="8097">
                  <c:v>#N/A</c:v>
                </c:pt>
                <c:pt idx="8098">
                  <c:v>#N/A</c:v>
                </c:pt>
                <c:pt idx="8099">
                  <c:v>#N/A</c:v>
                </c:pt>
                <c:pt idx="8100">
                  <c:v>#N/A</c:v>
                </c:pt>
                <c:pt idx="8101">
                  <c:v>#N/A</c:v>
                </c:pt>
                <c:pt idx="8102">
                  <c:v>#N/A</c:v>
                </c:pt>
                <c:pt idx="8103">
                  <c:v>#N/A</c:v>
                </c:pt>
                <c:pt idx="8104">
                  <c:v>#N/A</c:v>
                </c:pt>
                <c:pt idx="8105">
                  <c:v>#N/A</c:v>
                </c:pt>
                <c:pt idx="8106">
                  <c:v>#N/A</c:v>
                </c:pt>
                <c:pt idx="8107">
                  <c:v>3.0630136986301371</c:v>
                </c:pt>
                <c:pt idx="8108">
                  <c:v>#N/A</c:v>
                </c:pt>
                <c:pt idx="8109">
                  <c:v>#N/A</c:v>
                </c:pt>
                <c:pt idx="8110">
                  <c:v>#N/A</c:v>
                </c:pt>
                <c:pt idx="8111">
                  <c:v>#N/A</c:v>
                </c:pt>
                <c:pt idx="8112">
                  <c:v>#N/A</c:v>
                </c:pt>
                <c:pt idx="8113">
                  <c:v>#N/A</c:v>
                </c:pt>
                <c:pt idx="8114">
                  <c:v>#N/A</c:v>
                </c:pt>
                <c:pt idx="8115">
                  <c:v>#N/A</c:v>
                </c:pt>
                <c:pt idx="8116">
                  <c:v>#N/A</c:v>
                </c:pt>
                <c:pt idx="8117">
                  <c:v>#N/A</c:v>
                </c:pt>
                <c:pt idx="8118">
                  <c:v>#N/A</c:v>
                </c:pt>
                <c:pt idx="8119">
                  <c:v>#N/A</c:v>
                </c:pt>
                <c:pt idx="8120">
                  <c:v>#N/A</c:v>
                </c:pt>
                <c:pt idx="8121">
                  <c:v>#N/A</c:v>
                </c:pt>
                <c:pt idx="8122">
                  <c:v>#N/A</c:v>
                </c:pt>
                <c:pt idx="8123">
                  <c:v>#N/A</c:v>
                </c:pt>
                <c:pt idx="8124">
                  <c:v>#N/A</c:v>
                </c:pt>
                <c:pt idx="8125">
                  <c:v>#N/A</c:v>
                </c:pt>
                <c:pt idx="8126">
                  <c:v>#N/A</c:v>
                </c:pt>
                <c:pt idx="8127">
                  <c:v>#N/A</c:v>
                </c:pt>
                <c:pt idx="8128">
                  <c:v>#N/A</c:v>
                </c:pt>
                <c:pt idx="8129">
                  <c:v>#N/A</c:v>
                </c:pt>
                <c:pt idx="8130">
                  <c:v>#N/A</c:v>
                </c:pt>
                <c:pt idx="8131">
                  <c:v>#N/A</c:v>
                </c:pt>
                <c:pt idx="8132">
                  <c:v>#N/A</c:v>
                </c:pt>
                <c:pt idx="8133">
                  <c:v>#N/A</c:v>
                </c:pt>
                <c:pt idx="8134">
                  <c:v>#N/A</c:v>
                </c:pt>
                <c:pt idx="8135">
                  <c:v>#N/A</c:v>
                </c:pt>
                <c:pt idx="8136">
                  <c:v>3.0630136986301371</c:v>
                </c:pt>
                <c:pt idx="8137">
                  <c:v>#N/A</c:v>
                </c:pt>
                <c:pt idx="8138">
                  <c:v>#N/A</c:v>
                </c:pt>
                <c:pt idx="8139">
                  <c:v>#N/A</c:v>
                </c:pt>
                <c:pt idx="8140">
                  <c:v>#N/A</c:v>
                </c:pt>
                <c:pt idx="8141">
                  <c:v>#N/A</c:v>
                </c:pt>
                <c:pt idx="8142">
                  <c:v>#N/A</c:v>
                </c:pt>
                <c:pt idx="8143">
                  <c:v>#N/A</c:v>
                </c:pt>
                <c:pt idx="8144">
                  <c:v>#N/A</c:v>
                </c:pt>
                <c:pt idx="8145">
                  <c:v>#N/A</c:v>
                </c:pt>
                <c:pt idx="8146">
                  <c:v>#N/A</c:v>
                </c:pt>
                <c:pt idx="8147">
                  <c:v>#N/A</c:v>
                </c:pt>
                <c:pt idx="8148">
                  <c:v>#N/A</c:v>
                </c:pt>
                <c:pt idx="8149">
                  <c:v>#N/A</c:v>
                </c:pt>
                <c:pt idx="8150">
                  <c:v>#N/A</c:v>
                </c:pt>
                <c:pt idx="8151">
                  <c:v>#N/A</c:v>
                </c:pt>
                <c:pt idx="8152">
                  <c:v>#N/A</c:v>
                </c:pt>
                <c:pt idx="8153">
                  <c:v>#N/A</c:v>
                </c:pt>
                <c:pt idx="8154">
                  <c:v>#N/A</c:v>
                </c:pt>
                <c:pt idx="8155">
                  <c:v>#N/A</c:v>
                </c:pt>
                <c:pt idx="8156">
                  <c:v>#N/A</c:v>
                </c:pt>
                <c:pt idx="8157">
                  <c:v>#N/A</c:v>
                </c:pt>
                <c:pt idx="8158">
                  <c:v>#N/A</c:v>
                </c:pt>
                <c:pt idx="8159">
                  <c:v>#N/A</c:v>
                </c:pt>
                <c:pt idx="8160">
                  <c:v>#N/A</c:v>
                </c:pt>
                <c:pt idx="8161">
                  <c:v>#N/A</c:v>
                </c:pt>
                <c:pt idx="8162">
                  <c:v>#N/A</c:v>
                </c:pt>
                <c:pt idx="8163">
                  <c:v>#N/A</c:v>
                </c:pt>
                <c:pt idx="8164">
                  <c:v>#N/A</c:v>
                </c:pt>
                <c:pt idx="8165">
                  <c:v>#N/A</c:v>
                </c:pt>
                <c:pt idx="8166">
                  <c:v>#N/A</c:v>
                </c:pt>
                <c:pt idx="8167">
                  <c:v>#N/A</c:v>
                </c:pt>
                <c:pt idx="8168">
                  <c:v>#N/A</c:v>
                </c:pt>
                <c:pt idx="8169">
                  <c:v>#N/A</c:v>
                </c:pt>
                <c:pt idx="8170">
                  <c:v>#N/A</c:v>
                </c:pt>
                <c:pt idx="8171">
                  <c:v>#N/A</c:v>
                </c:pt>
                <c:pt idx="8172">
                  <c:v>#N/A</c:v>
                </c:pt>
                <c:pt idx="8173">
                  <c:v>#N/A</c:v>
                </c:pt>
                <c:pt idx="8174">
                  <c:v>#N/A</c:v>
                </c:pt>
                <c:pt idx="8175">
                  <c:v>#N/A</c:v>
                </c:pt>
                <c:pt idx="8176">
                  <c:v>#N/A</c:v>
                </c:pt>
                <c:pt idx="8177">
                  <c:v>#N/A</c:v>
                </c:pt>
                <c:pt idx="8178">
                  <c:v>#N/A</c:v>
                </c:pt>
                <c:pt idx="8179">
                  <c:v>#N/A</c:v>
                </c:pt>
                <c:pt idx="8180">
                  <c:v>#N/A</c:v>
                </c:pt>
                <c:pt idx="8181">
                  <c:v>#N/A</c:v>
                </c:pt>
                <c:pt idx="8182">
                  <c:v>#N/A</c:v>
                </c:pt>
                <c:pt idx="8183">
                  <c:v>#N/A</c:v>
                </c:pt>
                <c:pt idx="8184">
                  <c:v>#N/A</c:v>
                </c:pt>
                <c:pt idx="8185">
                  <c:v>#N/A</c:v>
                </c:pt>
                <c:pt idx="8186">
                  <c:v>#N/A</c:v>
                </c:pt>
                <c:pt idx="8187">
                  <c:v>#N/A</c:v>
                </c:pt>
                <c:pt idx="8188">
                  <c:v>3.0657534246575344</c:v>
                </c:pt>
                <c:pt idx="8189">
                  <c:v>#N/A</c:v>
                </c:pt>
                <c:pt idx="8190">
                  <c:v>#N/A</c:v>
                </c:pt>
                <c:pt idx="8191">
                  <c:v>#N/A</c:v>
                </c:pt>
                <c:pt idx="8192">
                  <c:v>#N/A</c:v>
                </c:pt>
                <c:pt idx="8193">
                  <c:v>#N/A</c:v>
                </c:pt>
                <c:pt idx="8194">
                  <c:v>#N/A</c:v>
                </c:pt>
                <c:pt idx="8195">
                  <c:v>#N/A</c:v>
                </c:pt>
                <c:pt idx="8196">
                  <c:v>#N/A</c:v>
                </c:pt>
                <c:pt idx="8197">
                  <c:v>#N/A</c:v>
                </c:pt>
                <c:pt idx="8198">
                  <c:v>#N/A</c:v>
                </c:pt>
                <c:pt idx="8199">
                  <c:v>#N/A</c:v>
                </c:pt>
                <c:pt idx="8200">
                  <c:v>#N/A</c:v>
                </c:pt>
                <c:pt idx="8201">
                  <c:v>#N/A</c:v>
                </c:pt>
                <c:pt idx="8202">
                  <c:v>#N/A</c:v>
                </c:pt>
                <c:pt idx="8203">
                  <c:v>#N/A</c:v>
                </c:pt>
                <c:pt idx="8204">
                  <c:v>#N/A</c:v>
                </c:pt>
                <c:pt idx="8205">
                  <c:v>#N/A</c:v>
                </c:pt>
                <c:pt idx="8206">
                  <c:v>#N/A</c:v>
                </c:pt>
                <c:pt idx="8207">
                  <c:v>#N/A</c:v>
                </c:pt>
                <c:pt idx="8208">
                  <c:v>#N/A</c:v>
                </c:pt>
                <c:pt idx="8209">
                  <c:v>#N/A</c:v>
                </c:pt>
                <c:pt idx="8210">
                  <c:v>#N/A</c:v>
                </c:pt>
                <c:pt idx="8211">
                  <c:v>#N/A</c:v>
                </c:pt>
                <c:pt idx="8212">
                  <c:v>#N/A</c:v>
                </c:pt>
                <c:pt idx="8213">
                  <c:v>#N/A</c:v>
                </c:pt>
                <c:pt idx="8214">
                  <c:v>#N/A</c:v>
                </c:pt>
                <c:pt idx="8215">
                  <c:v>#N/A</c:v>
                </c:pt>
                <c:pt idx="8216">
                  <c:v>#N/A</c:v>
                </c:pt>
                <c:pt idx="8217">
                  <c:v>#N/A</c:v>
                </c:pt>
                <c:pt idx="8218">
                  <c:v>#N/A</c:v>
                </c:pt>
                <c:pt idx="8219">
                  <c:v>#N/A</c:v>
                </c:pt>
                <c:pt idx="8220">
                  <c:v>#N/A</c:v>
                </c:pt>
                <c:pt idx="8221">
                  <c:v>#N/A</c:v>
                </c:pt>
                <c:pt idx="8222">
                  <c:v>#N/A</c:v>
                </c:pt>
                <c:pt idx="8223">
                  <c:v>#N/A</c:v>
                </c:pt>
                <c:pt idx="8224">
                  <c:v>#N/A</c:v>
                </c:pt>
                <c:pt idx="8225">
                  <c:v>#N/A</c:v>
                </c:pt>
                <c:pt idx="8226">
                  <c:v>#N/A</c:v>
                </c:pt>
                <c:pt idx="8227">
                  <c:v>#N/A</c:v>
                </c:pt>
                <c:pt idx="8228">
                  <c:v>#N/A</c:v>
                </c:pt>
                <c:pt idx="8229">
                  <c:v>#N/A</c:v>
                </c:pt>
                <c:pt idx="8230">
                  <c:v>#N/A</c:v>
                </c:pt>
                <c:pt idx="8231">
                  <c:v>#N/A</c:v>
                </c:pt>
                <c:pt idx="8232">
                  <c:v>#N/A</c:v>
                </c:pt>
                <c:pt idx="8233">
                  <c:v>#N/A</c:v>
                </c:pt>
                <c:pt idx="8234">
                  <c:v>#N/A</c:v>
                </c:pt>
                <c:pt idx="8235">
                  <c:v>#N/A</c:v>
                </c:pt>
                <c:pt idx="8236">
                  <c:v>#N/A</c:v>
                </c:pt>
                <c:pt idx="8237">
                  <c:v>#N/A</c:v>
                </c:pt>
                <c:pt idx="8238">
                  <c:v>#N/A</c:v>
                </c:pt>
                <c:pt idx="8239">
                  <c:v>#N/A</c:v>
                </c:pt>
                <c:pt idx="8240">
                  <c:v>#N/A</c:v>
                </c:pt>
                <c:pt idx="8241">
                  <c:v>#N/A</c:v>
                </c:pt>
                <c:pt idx="8242">
                  <c:v>#N/A</c:v>
                </c:pt>
                <c:pt idx="8243">
                  <c:v>#N/A</c:v>
                </c:pt>
                <c:pt idx="8244">
                  <c:v>#N/A</c:v>
                </c:pt>
                <c:pt idx="8245">
                  <c:v>#N/A</c:v>
                </c:pt>
                <c:pt idx="8246">
                  <c:v>#N/A</c:v>
                </c:pt>
                <c:pt idx="8247">
                  <c:v>#N/A</c:v>
                </c:pt>
                <c:pt idx="8248">
                  <c:v>#N/A</c:v>
                </c:pt>
                <c:pt idx="8249">
                  <c:v>#N/A</c:v>
                </c:pt>
                <c:pt idx="8250">
                  <c:v>#N/A</c:v>
                </c:pt>
                <c:pt idx="8251">
                  <c:v>#N/A</c:v>
                </c:pt>
                <c:pt idx="8252">
                  <c:v>#N/A</c:v>
                </c:pt>
                <c:pt idx="8253">
                  <c:v>#N/A</c:v>
                </c:pt>
                <c:pt idx="8254">
                  <c:v>#N/A</c:v>
                </c:pt>
                <c:pt idx="8255">
                  <c:v>#N/A</c:v>
                </c:pt>
                <c:pt idx="8256">
                  <c:v>#N/A</c:v>
                </c:pt>
                <c:pt idx="8257">
                  <c:v>#N/A</c:v>
                </c:pt>
                <c:pt idx="8258">
                  <c:v>#N/A</c:v>
                </c:pt>
                <c:pt idx="8259">
                  <c:v>#N/A</c:v>
                </c:pt>
                <c:pt idx="8260">
                  <c:v>#N/A</c:v>
                </c:pt>
                <c:pt idx="8261">
                  <c:v>#N/A</c:v>
                </c:pt>
                <c:pt idx="8262">
                  <c:v>#N/A</c:v>
                </c:pt>
                <c:pt idx="8263">
                  <c:v>#N/A</c:v>
                </c:pt>
                <c:pt idx="8264">
                  <c:v>#N/A</c:v>
                </c:pt>
                <c:pt idx="8265">
                  <c:v>#N/A</c:v>
                </c:pt>
                <c:pt idx="8266">
                  <c:v>#N/A</c:v>
                </c:pt>
                <c:pt idx="8267">
                  <c:v>#N/A</c:v>
                </c:pt>
                <c:pt idx="8268">
                  <c:v>#N/A</c:v>
                </c:pt>
                <c:pt idx="8269">
                  <c:v>#N/A</c:v>
                </c:pt>
                <c:pt idx="8270">
                  <c:v>#N/A</c:v>
                </c:pt>
                <c:pt idx="8271">
                  <c:v>#N/A</c:v>
                </c:pt>
                <c:pt idx="8272">
                  <c:v>#N/A</c:v>
                </c:pt>
                <c:pt idx="8273">
                  <c:v>#N/A</c:v>
                </c:pt>
                <c:pt idx="8274">
                  <c:v>#N/A</c:v>
                </c:pt>
                <c:pt idx="8275">
                  <c:v>#N/A</c:v>
                </c:pt>
                <c:pt idx="8276">
                  <c:v>#N/A</c:v>
                </c:pt>
                <c:pt idx="8277">
                  <c:v>#N/A</c:v>
                </c:pt>
                <c:pt idx="8278">
                  <c:v>#N/A</c:v>
                </c:pt>
                <c:pt idx="8279">
                  <c:v>#N/A</c:v>
                </c:pt>
                <c:pt idx="8280">
                  <c:v>#N/A</c:v>
                </c:pt>
                <c:pt idx="8281">
                  <c:v>#N/A</c:v>
                </c:pt>
                <c:pt idx="8282">
                  <c:v>#N/A</c:v>
                </c:pt>
                <c:pt idx="8283">
                  <c:v>#N/A</c:v>
                </c:pt>
                <c:pt idx="8284">
                  <c:v>#N/A</c:v>
                </c:pt>
                <c:pt idx="8285">
                  <c:v>#N/A</c:v>
                </c:pt>
                <c:pt idx="8286">
                  <c:v>#N/A</c:v>
                </c:pt>
                <c:pt idx="8287">
                  <c:v>#N/A</c:v>
                </c:pt>
                <c:pt idx="8288">
                  <c:v>#N/A</c:v>
                </c:pt>
                <c:pt idx="8289">
                  <c:v>#N/A</c:v>
                </c:pt>
                <c:pt idx="8290">
                  <c:v>#N/A</c:v>
                </c:pt>
                <c:pt idx="8291">
                  <c:v>#N/A</c:v>
                </c:pt>
                <c:pt idx="8292">
                  <c:v>#N/A</c:v>
                </c:pt>
                <c:pt idx="8293">
                  <c:v>#N/A</c:v>
                </c:pt>
                <c:pt idx="8294">
                  <c:v>#N/A</c:v>
                </c:pt>
                <c:pt idx="8295">
                  <c:v>#N/A</c:v>
                </c:pt>
                <c:pt idx="8296">
                  <c:v>#N/A</c:v>
                </c:pt>
                <c:pt idx="8297">
                  <c:v>#N/A</c:v>
                </c:pt>
                <c:pt idx="8298">
                  <c:v>#N/A</c:v>
                </c:pt>
                <c:pt idx="8299">
                  <c:v>#N/A</c:v>
                </c:pt>
                <c:pt idx="8300">
                  <c:v>#N/A</c:v>
                </c:pt>
                <c:pt idx="8301">
                  <c:v>#N/A</c:v>
                </c:pt>
                <c:pt idx="8302">
                  <c:v>#N/A</c:v>
                </c:pt>
                <c:pt idx="8303">
                  <c:v>#N/A</c:v>
                </c:pt>
                <c:pt idx="8304">
                  <c:v>#N/A</c:v>
                </c:pt>
                <c:pt idx="8305">
                  <c:v>#N/A</c:v>
                </c:pt>
                <c:pt idx="8306">
                  <c:v>#N/A</c:v>
                </c:pt>
                <c:pt idx="8307">
                  <c:v>#N/A</c:v>
                </c:pt>
                <c:pt idx="8308">
                  <c:v>#N/A</c:v>
                </c:pt>
                <c:pt idx="8309">
                  <c:v>#N/A</c:v>
                </c:pt>
                <c:pt idx="8310">
                  <c:v>#N/A</c:v>
                </c:pt>
                <c:pt idx="8311">
                  <c:v>#N/A</c:v>
                </c:pt>
                <c:pt idx="8312">
                  <c:v>#N/A</c:v>
                </c:pt>
                <c:pt idx="8313">
                  <c:v>#N/A</c:v>
                </c:pt>
                <c:pt idx="8314">
                  <c:v>#N/A</c:v>
                </c:pt>
                <c:pt idx="8315">
                  <c:v>#N/A</c:v>
                </c:pt>
                <c:pt idx="8316">
                  <c:v>#N/A</c:v>
                </c:pt>
                <c:pt idx="8317">
                  <c:v>#N/A</c:v>
                </c:pt>
                <c:pt idx="8318">
                  <c:v>#N/A</c:v>
                </c:pt>
                <c:pt idx="8319">
                  <c:v>#N/A</c:v>
                </c:pt>
                <c:pt idx="8320">
                  <c:v>#N/A</c:v>
                </c:pt>
                <c:pt idx="8321">
                  <c:v>#N/A</c:v>
                </c:pt>
                <c:pt idx="8322">
                  <c:v>#N/A</c:v>
                </c:pt>
                <c:pt idx="8323">
                  <c:v>#N/A</c:v>
                </c:pt>
                <c:pt idx="8324">
                  <c:v>#N/A</c:v>
                </c:pt>
                <c:pt idx="8325">
                  <c:v>#N/A</c:v>
                </c:pt>
                <c:pt idx="8326">
                  <c:v>#N/A</c:v>
                </c:pt>
                <c:pt idx="8327">
                  <c:v>#N/A</c:v>
                </c:pt>
                <c:pt idx="8328">
                  <c:v>#N/A</c:v>
                </c:pt>
                <c:pt idx="8329">
                  <c:v>#N/A</c:v>
                </c:pt>
                <c:pt idx="8330">
                  <c:v>#N/A</c:v>
                </c:pt>
                <c:pt idx="8331">
                  <c:v>#N/A</c:v>
                </c:pt>
                <c:pt idx="8332">
                  <c:v>#N/A</c:v>
                </c:pt>
                <c:pt idx="8333">
                  <c:v>#N/A</c:v>
                </c:pt>
                <c:pt idx="8334">
                  <c:v>#N/A</c:v>
                </c:pt>
                <c:pt idx="8335">
                  <c:v>#N/A</c:v>
                </c:pt>
                <c:pt idx="8336">
                  <c:v>#N/A</c:v>
                </c:pt>
                <c:pt idx="8337">
                  <c:v>#N/A</c:v>
                </c:pt>
                <c:pt idx="8338">
                  <c:v>3.1041095890410957</c:v>
                </c:pt>
                <c:pt idx="8339">
                  <c:v>3.1041095890410957</c:v>
                </c:pt>
                <c:pt idx="8340">
                  <c:v>#N/A</c:v>
                </c:pt>
                <c:pt idx="8341">
                  <c:v>#N/A</c:v>
                </c:pt>
                <c:pt idx="8342">
                  <c:v>#N/A</c:v>
                </c:pt>
                <c:pt idx="8343">
                  <c:v>#N/A</c:v>
                </c:pt>
                <c:pt idx="8344">
                  <c:v>#N/A</c:v>
                </c:pt>
                <c:pt idx="8345">
                  <c:v>#N/A</c:v>
                </c:pt>
                <c:pt idx="8346">
                  <c:v>#N/A</c:v>
                </c:pt>
                <c:pt idx="8347">
                  <c:v>#N/A</c:v>
                </c:pt>
                <c:pt idx="8348">
                  <c:v>#N/A</c:v>
                </c:pt>
                <c:pt idx="8349">
                  <c:v>#N/A</c:v>
                </c:pt>
                <c:pt idx="8350">
                  <c:v>#N/A</c:v>
                </c:pt>
                <c:pt idx="8351">
                  <c:v>#N/A</c:v>
                </c:pt>
                <c:pt idx="8352">
                  <c:v>#N/A</c:v>
                </c:pt>
                <c:pt idx="8353">
                  <c:v>3.106849315068493</c:v>
                </c:pt>
                <c:pt idx="8354">
                  <c:v>#N/A</c:v>
                </c:pt>
                <c:pt idx="8355">
                  <c:v>#N/A</c:v>
                </c:pt>
                <c:pt idx="8356">
                  <c:v>#N/A</c:v>
                </c:pt>
                <c:pt idx="8357">
                  <c:v>3.106849315068493</c:v>
                </c:pt>
                <c:pt idx="8358">
                  <c:v>#N/A</c:v>
                </c:pt>
                <c:pt idx="8359">
                  <c:v>#N/A</c:v>
                </c:pt>
                <c:pt idx="8360">
                  <c:v>#N/A</c:v>
                </c:pt>
                <c:pt idx="8361">
                  <c:v>#N/A</c:v>
                </c:pt>
                <c:pt idx="8362">
                  <c:v>3.106849315068493</c:v>
                </c:pt>
                <c:pt idx="8363">
                  <c:v>#N/A</c:v>
                </c:pt>
                <c:pt idx="8364">
                  <c:v>3.106849315068493</c:v>
                </c:pt>
                <c:pt idx="8365">
                  <c:v>3.106849315068493</c:v>
                </c:pt>
                <c:pt idx="8366">
                  <c:v>#N/A</c:v>
                </c:pt>
                <c:pt idx="8367">
                  <c:v>#N/A</c:v>
                </c:pt>
                <c:pt idx="8368">
                  <c:v>#N/A</c:v>
                </c:pt>
                <c:pt idx="8369">
                  <c:v>#N/A</c:v>
                </c:pt>
                <c:pt idx="8370">
                  <c:v>#N/A</c:v>
                </c:pt>
                <c:pt idx="8371">
                  <c:v>3.1095890410958904</c:v>
                </c:pt>
                <c:pt idx="8372">
                  <c:v>#N/A</c:v>
                </c:pt>
                <c:pt idx="8373">
                  <c:v>#N/A</c:v>
                </c:pt>
                <c:pt idx="8374">
                  <c:v>#N/A</c:v>
                </c:pt>
                <c:pt idx="8375">
                  <c:v>#N/A</c:v>
                </c:pt>
                <c:pt idx="8376">
                  <c:v>#N/A</c:v>
                </c:pt>
                <c:pt idx="8377">
                  <c:v>#N/A</c:v>
                </c:pt>
                <c:pt idx="8378">
                  <c:v>#N/A</c:v>
                </c:pt>
                <c:pt idx="8379">
                  <c:v>#N/A</c:v>
                </c:pt>
                <c:pt idx="8380">
                  <c:v>#N/A</c:v>
                </c:pt>
                <c:pt idx="8381">
                  <c:v>#N/A</c:v>
                </c:pt>
                <c:pt idx="8382">
                  <c:v>#N/A</c:v>
                </c:pt>
                <c:pt idx="8383">
                  <c:v>#N/A</c:v>
                </c:pt>
                <c:pt idx="8384">
                  <c:v>#N/A</c:v>
                </c:pt>
                <c:pt idx="8385">
                  <c:v>#N/A</c:v>
                </c:pt>
                <c:pt idx="8386">
                  <c:v>#N/A</c:v>
                </c:pt>
                <c:pt idx="8387">
                  <c:v>#N/A</c:v>
                </c:pt>
                <c:pt idx="8388">
                  <c:v>#N/A</c:v>
                </c:pt>
                <c:pt idx="8389">
                  <c:v>#N/A</c:v>
                </c:pt>
                <c:pt idx="8390">
                  <c:v>3.1095890410958904</c:v>
                </c:pt>
                <c:pt idx="8391">
                  <c:v>#N/A</c:v>
                </c:pt>
                <c:pt idx="8392">
                  <c:v>#N/A</c:v>
                </c:pt>
                <c:pt idx="8393">
                  <c:v>#N/A</c:v>
                </c:pt>
                <c:pt idx="8394">
                  <c:v>#N/A</c:v>
                </c:pt>
                <c:pt idx="8395">
                  <c:v>#N/A</c:v>
                </c:pt>
                <c:pt idx="8396">
                  <c:v>#N/A</c:v>
                </c:pt>
                <c:pt idx="8397">
                  <c:v>#N/A</c:v>
                </c:pt>
                <c:pt idx="8398">
                  <c:v>#N/A</c:v>
                </c:pt>
                <c:pt idx="8399">
                  <c:v>#N/A</c:v>
                </c:pt>
                <c:pt idx="8400">
                  <c:v>#N/A</c:v>
                </c:pt>
                <c:pt idx="8401">
                  <c:v>#N/A</c:v>
                </c:pt>
                <c:pt idx="8402">
                  <c:v>#N/A</c:v>
                </c:pt>
                <c:pt idx="8403">
                  <c:v>#N/A</c:v>
                </c:pt>
                <c:pt idx="8404">
                  <c:v>#N/A</c:v>
                </c:pt>
                <c:pt idx="8405">
                  <c:v>#N/A</c:v>
                </c:pt>
                <c:pt idx="8406">
                  <c:v>#N/A</c:v>
                </c:pt>
                <c:pt idx="8407">
                  <c:v>3.1123287671232878</c:v>
                </c:pt>
                <c:pt idx="8408">
                  <c:v>#N/A</c:v>
                </c:pt>
                <c:pt idx="8409">
                  <c:v>#N/A</c:v>
                </c:pt>
                <c:pt idx="8410">
                  <c:v>#N/A</c:v>
                </c:pt>
                <c:pt idx="8411">
                  <c:v>#N/A</c:v>
                </c:pt>
                <c:pt idx="8412">
                  <c:v>#N/A</c:v>
                </c:pt>
                <c:pt idx="8413">
                  <c:v>#N/A</c:v>
                </c:pt>
                <c:pt idx="8414">
                  <c:v>#N/A</c:v>
                </c:pt>
                <c:pt idx="8415">
                  <c:v>#N/A</c:v>
                </c:pt>
                <c:pt idx="8416">
                  <c:v>#N/A</c:v>
                </c:pt>
                <c:pt idx="8417">
                  <c:v>#N/A</c:v>
                </c:pt>
                <c:pt idx="8418">
                  <c:v>#N/A</c:v>
                </c:pt>
                <c:pt idx="8419">
                  <c:v>#N/A</c:v>
                </c:pt>
                <c:pt idx="8420">
                  <c:v>#N/A</c:v>
                </c:pt>
                <c:pt idx="8421">
                  <c:v>3.1205479452054794</c:v>
                </c:pt>
                <c:pt idx="8422">
                  <c:v>#N/A</c:v>
                </c:pt>
                <c:pt idx="8423">
                  <c:v>#N/A</c:v>
                </c:pt>
                <c:pt idx="8424">
                  <c:v>#N/A</c:v>
                </c:pt>
                <c:pt idx="8425">
                  <c:v>#N/A</c:v>
                </c:pt>
                <c:pt idx="8426">
                  <c:v>#N/A</c:v>
                </c:pt>
                <c:pt idx="8427">
                  <c:v>#N/A</c:v>
                </c:pt>
                <c:pt idx="8428">
                  <c:v>#N/A</c:v>
                </c:pt>
                <c:pt idx="8429">
                  <c:v>#N/A</c:v>
                </c:pt>
                <c:pt idx="8430">
                  <c:v>#N/A</c:v>
                </c:pt>
                <c:pt idx="8431">
                  <c:v>#N/A</c:v>
                </c:pt>
                <c:pt idx="8432">
                  <c:v>3.1232876712328768</c:v>
                </c:pt>
                <c:pt idx="8433">
                  <c:v>#N/A</c:v>
                </c:pt>
                <c:pt idx="8434">
                  <c:v>#N/A</c:v>
                </c:pt>
                <c:pt idx="8435">
                  <c:v>#N/A</c:v>
                </c:pt>
                <c:pt idx="8436">
                  <c:v>#N/A</c:v>
                </c:pt>
                <c:pt idx="8437">
                  <c:v>#N/A</c:v>
                </c:pt>
                <c:pt idx="8438">
                  <c:v>#N/A</c:v>
                </c:pt>
                <c:pt idx="8439">
                  <c:v>#N/A</c:v>
                </c:pt>
                <c:pt idx="8440">
                  <c:v>3.128767123287671</c:v>
                </c:pt>
                <c:pt idx="8441">
                  <c:v>#N/A</c:v>
                </c:pt>
                <c:pt idx="8442">
                  <c:v>#N/A</c:v>
                </c:pt>
                <c:pt idx="8443">
                  <c:v>#N/A</c:v>
                </c:pt>
                <c:pt idx="8444">
                  <c:v>3.128767123287671</c:v>
                </c:pt>
                <c:pt idx="8445">
                  <c:v>#N/A</c:v>
                </c:pt>
                <c:pt idx="8446">
                  <c:v>#N/A</c:v>
                </c:pt>
                <c:pt idx="8447">
                  <c:v>#N/A</c:v>
                </c:pt>
                <c:pt idx="8448">
                  <c:v>#N/A</c:v>
                </c:pt>
                <c:pt idx="8449">
                  <c:v>3.128767123287671</c:v>
                </c:pt>
                <c:pt idx="8450">
                  <c:v>#N/A</c:v>
                </c:pt>
                <c:pt idx="8451">
                  <c:v>#N/A</c:v>
                </c:pt>
                <c:pt idx="8452">
                  <c:v>#N/A</c:v>
                </c:pt>
                <c:pt idx="8453">
                  <c:v>#N/A</c:v>
                </c:pt>
                <c:pt idx="8454">
                  <c:v>#N/A</c:v>
                </c:pt>
                <c:pt idx="8455">
                  <c:v>3.128767123287671</c:v>
                </c:pt>
                <c:pt idx="8456">
                  <c:v>#N/A</c:v>
                </c:pt>
                <c:pt idx="8457">
                  <c:v>#N/A</c:v>
                </c:pt>
                <c:pt idx="8458">
                  <c:v>#N/A</c:v>
                </c:pt>
                <c:pt idx="8459">
                  <c:v>#N/A</c:v>
                </c:pt>
                <c:pt idx="8460">
                  <c:v>#N/A</c:v>
                </c:pt>
                <c:pt idx="8461">
                  <c:v>#N/A</c:v>
                </c:pt>
                <c:pt idx="8462">
                  <c:v>#N/A</c:v>
                </c:pt>
                <c:pt idx="8463">
                  <c:v>#N/A</c:v>
                </c:pt>
                <c:pt idx="8464">
                  <c:v>#N/A</c:v>
                </c:pt>
                <c:pt idx="8465">
                  <c:v>#N/A</c:v>
                </c:pt>
                <c:pt idx="8466">
                  <c:v>#N/A</c:v>
                </c:pt>
                <c:pt idx="8467">
                  <c:v>#N/A</c:v>
                </c:pt>
                <c:pt idx="8468">
                  <c:v>#N/A</c:v>
                </c:pt>
                <c:pt idx="8469">
                  <c:v>3.1315068493150684</c:v>
                </c:pt>
                <c:pt idx="8470">
                  <c:v>#N/A</c:v>
                </c:pt>
                <c:pt idx="8471">
                  <c:v>#N/A</c:v>
                </c:pt>
                <c:pt idx="8472">
                  <c:v>#N/A</c:v>
                </c:pt>
                <c:pt idx="8473">
                  <c:v>#N/A</c:v>
                </c:pt>
                <c:pt idx="8474">
                  <c:v>3.1397260273972605</c:v>
                </c:pt>
                <c:pt idx="8475">
                  <c:v>#N/A</c:v>
                </c:pt>
                <c:pt idx="8476">
                  <c:v>#N/A</c:v>
                </c:pt>
                <c:pt idx="8477">
                  <c:v>#N/A</c:v>
                </c:pt>
                <c:pt idx="8478">
                  <c:v>#N/A</c:v>
                </c:pt>
                <c:pt idx="8479">
                  <c:v>3.1397260273972605</c:v>
                </c:pt>
                <c:pt idx="8480">
                  <c:v>#N/A</c:v>
                </c:pt>
                <c:pt idx="8481">
                  <c:v>#N/A</c:v>
                </c:pt>
                <c:pt idx="8482">
                  <c:v>#N/A</c:v>
                </c:pt>
                <c:pt idx="8483">
                  <c:v>#N/A</c:v>
                </c:pt>
                <c:pt idx="8484">
                  <c:v>#N/A</c:v>
                </c:pt>
                <c:pt idx="8485">
                  <c:v>#N/A</c:v>
                </c:pt>
                <c:pt idx="8486">
                  <c:v>#N/A</c:v>
                </c:pt>
                <c:pt idx="8487">
                  <c:v>3.1397260273972605</c:v>
                </c:pt>
                <c:pt idx="8488">
                  <c:v>#N/A</c:v>
                </c:pt>
                <c:pt idx="8489">
                  <c:v>#N/A</c:v>
                </c:pt>
                <c:pt idx="8490">
                  <c:v>#N/A</c:v>
                </c:pt>
                <c:pt idx="8491">
                  <c:v>3.1397260273972605</c:v>
                </c:pt>
                <c:pt idx="8492">
                  <c:v>#N/A</c:v>
                </c:pt>
                <c:pt idx="8493">
                  <c:v>3.1397260273972605</c:v>
                </c:pt>
                <c:pt idx="8494">
                  <c:v>#N/A</c:v>
                </c:pt>
                <c:pt idx="8495">
                  <c:v>#N/A</c:v>
                </c:pt>
                <c:pt idx="8496">
                  <c:v>#N/A</c:v>
                </c:pt>
                <c:pt idx="8497">
                  <c:v>#N/A</c:v>
                </c:pt>
                <c:pt idx="8498">
                  <c:v>#N/A</c:v>
                </c:pt>
                <c:pt idx="8499">
                  <c:v>#N/A</c:v>
                </c:pt>
                <c:pt idx="8500">
                  <c:v>#N/A</c:v>
                </c:pt>
                <c:pt idx="8501">
                  <c:v>#N/A</c:v>
                </c:pt>
                <c:pt idx="8502">
                  <c:v>#N/A</c:v>
                </c:pt>
                <c:pt idx="8503">
                  <c:v>#N/A</c:v>
                </c:pt>
                <c:pt idx="8504">
                  <c:v>#N/A</c:v>
                </c:pt>
                <c:pt idx="8505">
                  <c:v>#N/A</c:v>
                </c:pt>
                <c:pt idx="8506">
                  <c:v>#N/A</c:v>
                </c:pt>
                <c:pt idx="8507">
                  <c:v>3.1424657534246574</c:v>
                </c:pt>
                <c:pt idx="8508">
                  <c:v>#N/A</c:v>
                </c:pt>
                <c:pt idx="8509">
                  <c:v>#N/A</c:v>
                </c:pt>
                <c:pt idx="8510">
                  <c:v>#N/A</c:v>
                </c:pt>
                <c:pt idx="8511">
                  <c:v>#N/A</c:v>
                </c:pt>
                <c:pt idx="8512">
                  <c:v>#N/A</c:v>
                </c:pt>
                <c:pt idx="8513">
                  <c:v>#N/A</c:v>
                </c:pt>
                <c:pt idx="8514">
                  <c:v>#N/A</c:v>
                </c:pt>
                <c:pt idx="8515">
                  <c:v>#N/A</c:v>
                </c:pt>
                <c:pt idx="8516">
                  <c:v>#N/A</c:v>
                </c:pt>
                <c:pt idx="8517">
                  <c:v>#N/A</c:v>
                </c:pt>
                <c:pt idx="8518">
                  <c:v>#N/A</c:v>
                </c:pt>
                <c:pt idx="8519">
                  <c:v>#N/A</c:v>
                </c:pt>
                <c:pt idx="8520">
                  <c:v>#N/A</c:v>
                </c:pt>
                <c:pt idx="8521">
                  <c:v>#N/A</c:v>
                </c:pt>
                <c:pt idx="8522">
                  <c:v>#N/A</c:v>
                </c:pt>
                <c:pt idx="8523">
                  <c:v>#N/A</c:v>
                </c:pt>
                <c:pt idx="8524">
                  <c:v>#N/A</c:v>
                </c:pt>
                <c:pt idx="8525">
                  <c:v>#N/A</c:v>
                </c:pt>
                <c:pt idx="8526">
                  <c:v>#N/A</c:v>
                </c:pt>
                <c:pt idx="8527">
                  <c:v>#N/A</c:v>
                </c:pt>
                <c:pt idx="8528">
                  <c:v>#N/A</c:v>
                </c:pt>
                <c:pt idx="8529">
                  <c:v>#N/A</c:v>
                </c:pt>
                <c:pt idx="8530">
                  <c:v>#N/A</c:v>
                </c:pt>
                <c:pt idx="8531">
                  <c:v>#N/A</c:v>
                </c:pt>
                <c:pt idx="8532">
                  <c:v>#N/A</c:v>
                </c:pt>
                <c:pt idx="8533">
                  <c:v>#N/A</c:v>
                </c:pt>
                <c:pt idx="8534">
                  <c:v>#N/A</c:v>
                </c:pt>
                <c:pt idx="8535">
                  <c:v>#N/A</c:v>
                </c:pt>
                <c:pt idx="8536">
                  <c:v>#N/A</c:v>
                </c:pt>
                <c:pt idx="8537">
                  <c:v>#N/A</c:v>
                </c:pt>
                <c:pt idx="8538">
                  <c:v>#N/A</c:v>
                </c:pt>
                <c:pt idx="8539">
                  <c:v>#N/A</c:v>
                </c:pt>
                <c:pt idx="8540">
                  <c:v>#N/A</c:v>
                </c:pt>
                <c:pt idx="8541">
                  <c:v>#N/A</c:v>
                </c:pt>
                <c:pt idx="8542">
                  <c:v>#N/A</c:v>
                </c:pt>
                <c:pt idx="8543">
                  <c:v>#N/A</c:v>
                </c:pt>
                <c:pt idx="8544">
                  <c:v>#N/A</c:v>
                </c:pt>
                <c:pt idx="8545">
                  <c:v>#N/A</c:v>
                </c:pt>
                <c:pt idx="8546">
                  <c:v>#N/A</c:v>
                </c:pt>
                <c:pt idx="8547">
                  <c:v>3.1589041095890411</c:v>
                </c:pt>
                <c:pt idx="8548">
                  <c:v>#N/A</c:v>
                </c:pt>
                <c:pt idx="8549">
                  <c:v>#N/A</c:v>
                </c:pt>
                <c:pt idx="8550">
                  <c:v>#N/A</c:v>
                </c:pt>
                <c:pt idx="8551">
                  <c:v>#N/A</c:v>
                </c:pt>
                <c:pt idx="8552">
                  <c:v>#N/A</c:v>
                </c:pt>
                <c:pt idx="8553">
                  <c:v>#N/A</c:v>
                </c:pt>
                <c:pt idx="8554">
                  <c:v>#N/A</c:v>
                </c:pt>
                <c:pt idx="8555">
                  <c:v>#N/A</c:v>
                </c:pt>
                <c:pt idx="8556">
                  <c:v>#N/A</c:v>
                </c:pt>
                <c:pt idx="8557">
                  <c:v>#N/A</c:v>
                </c:pt>
                <c:pt idx="8558">
                  <c:v>#N/A</c:v>
                </c:pt>
                <c:pt idx="8559">
                  <c:v>3.1643835616438358</c:v>
                </c:pt>
                <c:pt idx="8560">
                  <c:v>3.1643835616438358</c:v>
                </c:pt>
                <c:pt idx="8561">
                  <c:v>#N/A</c:v>
                </c:pt>
                <c:pt idx="8562">
                  <c:v>#N/A</c:v>
                </c:pt>
                <c:pt idx="8563">
                  <c:v>#N/A</c:v>
                </c:pt>
                <c:pt idx="8564">
                  <c:v>#N/A</c:v>
                </c:pt>
                <c:pt idx="8565">
                  <c:v>#N/A</c:v>
                </c:pt>
                <c:pt idx="8566">
                  <c:v>#N/A</c:v>
                </c:pt>
                <c:pt idx="8567">
                  <c:v>3.1643835616438358</c:v>
                </c:pt>
                <c:pt idx="8568">
                  <c:v>#N/A</c:v>
                </c:pt>
                <c:pt idx="8569">
                  <c:v>#N/A</c:v>
                </c:pt>
                <c:pt idx="8570">
                  <c:v>3.1671232876712327</c:v>
                </c:pt>
                <c:pt idx="8571">
                  <c:v>#N/A</c:v>
                </c:pt>
                <c:pt idx="8572">
                  <c:v>#N/A</c:v>
                </c:pt>
                <c:pt idx="8573">
                  <c:v>3.1671232876712327</c:v>
                </c:pt>
                <c:pt idx="8574">
                  <c:v>3.1671232876712327</c:v>
                </c:pt>
                <c:pt idx="8575">
                  <c:v>#N/A</c:v>
                </c:pt>
                <c:pt idx="8576">
                  <c:v>#N/A</c:v>
                </c:pt>
                <c:pt idx="8577">
                  <c:v>#N/A</c:v>
                </c:pt>
                <c:pt idx="8578">
                  <c:v>#N/A</c:v>
                </c:pt>
                <c:pt idx="8579">
                  <c:v>#N/A</c:v>
                </c:pt>
                <c:pt idx="8580">
                  <c:v>#N/A</c:v>
                </c:pt>
                <c:pt idx="8581">
                  <c:v>#N/A</c:v>
                </c:pt>
                <c:pt idx="8582">
                  <c:v>#N/A</c:v>
                </c:pt>
                <c:pt idx="8583">
                  <c:v>#N/A</c:v>
                </c:pt>
                <c:pt idx="8584">
                  <c:v>#N/A</c:v>
                </c:pt>
                <c:pt idx="8585">
                  <c:v>#N/A</c:v>
                </c:pt>
                <c:pt idx="8586">
                  <c:v>#N/A</c:v>
                </c:pt>
                <c:pt idx="8587">
                  <c:v>#N/A</c:v>
                </c:pt>
                <c:pt idx="8588">
                  <c:v>#N/A</c:v>
                </c:pt>
                <c:pt idx="8589">
                  <c:v>#N/A</c:v>
                </c:pt>
                <c:pt idx="8590">
                  <c:v>#N/A</c:v>
                </c:pt>
                <c:pt idx="8591">
                  <c:v>#N/A</c:v>
                </c:pt>
                <c:pt idx="8592">
                  <c:v>#N/A</c:v>
                </c:pt>
                <c:pt idx="8593">
                  <c:v>#N/A</c:v>
                </c:pt>
                <c:pt idx="8594">
                  <c:v>#N/A</c:v>
                </c:pt>
                <c:pt idx="8595">
                  <c:v>#N/A</c:v>
                </c:pt>
                <c:pt idx="8596">
                  <c:v>#N/A</c:v>
                </c:pt>
                <c:pt idx="8597">
                  <c:v>#N/A</c:v>
                </c:pt>
                <c:pt idx="8598">
                  <c:v>#N/A</c:v>
                </c:pt>
                <c:pt idx="8599">
                  <c:v>#N/A</c:v>
                </c:pt>
                <c:pt idx="8600">
                  <c:v>#N/A</c:v>
                </c:pt>
                <c:pt idx="8601">
                  <c:v>#N/A</c:v>
                </c:pt>
                <c:pt idx="8602">
                  <c:v>#N/A</c:v>
                </c:pt>
                <c:pt idx="8603">
                  <c:v>#N/A</c:v>
                </c:pt>
                <c:pt idx="8604">
                  <c:v>#N/A</c:v>
                </c:pt>
                <c:pt idx="8605">
                  <c:v>#N/A</c:v>
                </c:pt>
                <c:pt idx="8606">
                  <c:v>#N/A</c:v>
                </c:pt>
                <c:pt idx="8607">
                  <c:v>#N/A</c:v>
                </c:pt>
                <c:pt idx="8608">
                  <c:v>#N/A</c:v>
                </c:pt>
                <c:pt idx="8609">
                  <c:v>#N/A</c:v>
                </c:pt>
                <c:pt idx="8610">
                  <c:v>#N/A</c:v>
                </c:pt>
                <c:pt idx="8611">
                  <c:v>#N/A</c:v>
                </c:pt>
                <c:pt idx="8612">
                  <c:v>#N/A</c:v>
                </c:pt>
                <c:pt idx="8613">
                  <c:v>#N/A</c:v>
                </c:pt>
                <c:pt idx="8614">
                  <c:v>#N/A</c:v>
                </c:pt>
                <c:pt idx="8615">
                  <c:v>#N/A</c:v>
                </c:pt>
                <c:pt idx="8616">
                  <c:v>#N/A</c:v>
                </c:pt>
                <c:pt idx="8617">
                  <c:v>#N/A</c:v>
                </c:pt>
                <c:pt idx="8618">
                  <c:v>#N/A</c:v>
                </c:pt>
                <c:pt idx="8619">
                  <c:v>#N/A</c:v>
                </c:pt>
                <c:pt idx="8620">
                  <c:v>#N/A</c:v>
                </c:pt>
                <c:pt idx="8621">
                  <c:v>#N/A</c:v>
                </c:pt>
                <c:pt idx="8622">
                  <c:v>#N/A</c:v>
                </c:pt>
                <c:pt idx="8623">
                  <c:v>#N/A</c:v>
                </c:pt>
                <c:pt idx="8624">
                  <c:v>#N/A</c:v>
                </c:pt>
                <c:pt idx="8625">
                  <c:v>#N/A</c:v>
                </c:pt>
                <c:pt idx="8626">
                  <c:v>#N/A</c:v>
                </c:pt>
                <c:pt idx="8627">
                  <c:v>#N/A</c:v>
                </c:pt>
                <c:pt idx="8628">
                  <c:v>#N/A</c:v>
                </c:pt>
                <c:pt idx="8629">
                  <c:v>#N/A</c:v>
                </c:pt>
                <c:pt idx="8630">
                  <c:v>#N/A</c:v>
                </c:pt>
                <c:pt idx="8631">
                  <c:v>#N/A</c:v>
                </c:pt>
                <c:pt idx="8632">
                  <c:v>#N/A</c:v>
                </c:pt>
                <c:pt idx="8633">
                  <c:v>#N/A</c:v>
                </c:pt>
                <c:pt idx="8634">
                  <c:v>#N/A</c:v>
                </c:pt>
                <c:pt idx="8635">
                  <c:v>#N/A</c:v>
                </c:pt>
                <c:pt idx="8636">
                  <c:v>#N/A</c:v>
                </c:pt>
                <c:pt idx="8637">
                  <c:v>#N/A</c:v>
                </c:pt>
                <c:pt idx="8638">
                  <c:v>#N/A</c:v>
                </c:pt>
                <c:pt idx="8639">
                  <c:v>#N/A</c:v>
                </c:pt>
                <c:pt idx="8640">
                  <c:v>#N/A</c:v>
                </c:pt>
                <c:pt idx="8641">
                  <c:v>#N/A</c:v>
                </c:pt>
                <c:pt idx="8642">
                  <c:v>#N/A</c:v>
                </c:pt>
                <c:pt idx="8643">
                  <c:v>#N/A</c:v>
                </c:pt>
                <c:pt idx="8644">
                  <c:v>#N/A</c:v>
                </c:pt>
                <c:pt idx="8645">
                  <c:v>#N/A</c:v>
                </c:pt>
                <c:pt idx="8646">
                  <c:v>#N/A</c:v>
                </c:pt>
                <c:pt idx="8647">
                  <c:v>#N/A</c:v>
                </c:pt>
                <c:pt idx="8648">
                  <c:v>#N/A</c:v>
                </c:pt>
                <c:pt idx="8649">
                  <c:v>#N/A</c:v>
                </c:pt>
                <c:pt idx="8650">
                  <c:v>#N/A</c:v>
                </c:pt>
                <c:pt idx="8651">
                  <c:v>#N/A</c:v>
                </c:pt>
                <c:pt idx="8652">
                  <c:v>#N/A</c:v>
                </c:pt>
                <c:pt idx="8653">
                  <c:v>#N/A</c:v>
                </c:pt>
                <c:pt idx="8654">
                  <c:v>#N/A</c:v>
                </c:pt>
                <c:pt idx="8655">
                  <c:v>#N/A</c:v>
                </c:pt>
                <c:pt idx="8656">
                  <c:v>#N/A</c:v>
                </c:pt>
                <c:pt idx="8657">
                  <c:v>#N/A</c:v>
                </c:pt>
                <c:pt idx="8658">
                  <c:v>#N/A</c:v>
                </c:pt>
                <c:pt idx="8659">
                  <c:v>#N/A</c:v>
                </c:pt>
                <c:pt idx="8660">
                  <c:v>#N/A</c:v>
                </c:pt>
                <c:pt idx="8661">
                  <c:v>#N/A</c:v>
                </c:pt>
                <c:pt idx="8662">
                  <c:v>#N/A</c:v>
                </c:pt>
                <c:pt idx="8663">
                  <c:v>#N/A</c:v>
                </c:pt>
                <c:pt idx="8664">
                  <c:v>#N/A</c:v>
                </c:pt>
                <c:pt idx="8665">
                  <c:v>3.2082191780821918</c:v>
                </c:pt>
                <c:pt idx="8666">
                  <c:v>#N/A</c:v>
                </c:pt>
                <c:pt idx="8667">
                  <c:v>#N/A</c:v>
                </c:pt>
                <c:pt idx="8668">
                  <c:v>#N/A</c:v>
                </c:pt>
                <c:pt idx="8669">
                  <c:v>3.2164383561643834</c:v>
                </c:pt>
                <c:pt idx="8670">
                  <c:v>#N/A</c:v>
                </c:pt>
                <c:pt idx="8671">
                  <c:v>#N/A</c:v>
                </c:pt>
                <c:pt idx="8672">
                  <c:v>#N/A</c:v>
                </c:pt>
                <c:pt idx="8673">
                  <c:v>#N/A</c:v>
                </c:pt>
                <c:pt idx="8674">
                  <c:v>#N/A</c:v>
                </c:pt>
                <c:pt idx="8675">
                  <c:v>#N/A</c:v>
                </c:pt>
                <c:pt idx="8676">
                  <c:v>#N/A</c:v>
                </c:pt>
                <c:pt idx="8677">
                  <c:v>#N/A</c:v>
                </c:pt>
                <c:pt idx="8678">
                  <c:v>#N/A</c:v>
                </c:pt>
                <c:pt idx="8679">
                  <c:v>#N/A</c:v>
                </c:pt>
                <c:pt idx="8680">
                  <c:v>#N/A</c:v>
                </c:pt>
                <c:pt idx="8681">
                  <c:v>#N/A</c:v>
                </c:pt>
                <c:pt idx="8682">
                  <c:v>3.2246575342465755</c:v>
                </c:pt>
                <c:pt idx="8683">
                  <c:v>#N/A</c:v>
                </c:pt>
                <c:pt idx="8684">
                  <c:v>#N/A</c:v>
                </c:pt>
                <c:pt idx="8685">
                  <c:v>#N/A</c:v>
                </c:pt>
                <c:pt idx="8686">
                  <c:v>#N/A</c:v>
                </c:pt>
                <c:pt idx="8687">
                  <c:v>#N/A</c:v>
                </c:pt>
                <c:pt idx="8688">
                  <c:v>#N/A</c:v>
                </c:pt>
                <c:pt idx="8689">
                  <c:v>#N/A</c:v>
                </c:pt>
                <c:pt idx="8690">
                  <c:v>#N/A</c:v>
                </c:pt>
                <c:pt idx="8691">
                  <c:v>#N/A</c:v>
                </c:pt>
                <c:pt idx="8692">
                  <c:v>#N/A</c:v>
                </c:pt>
                <c:pt idx="8693">
                  <c:v>#N/A</c:v>
                </c:pt>
                <c:pt idx="8694">
                  <c:v>#N/A</c:v>
                </c:pt>
                <c:pt idx="8695">
                  <c:v>#N/A</c:v>
                </c:pt>
                <c:pt idx="8696">
                  <c:v>#N/A</c:v>
                </c:pt>
                <c:pt idx="8697">
                  <c:v>#N/A</c:v>
                </c:pt>
                <c:pt idx="8698">
                  <c:v>#N/A</c:v>
                </c:pt>
                <c:pt idx="8699">
                  <c:v>#N/A</c:v>
                </c:pt>
                <c:pt idx="8700">
                  <c:v>#N/A</c:v>
                </c:pt>
                <c:pt idx="8701">
                  <c:v>#N/A</c:v>
                </c:pt>
                <c:pt idx="8702">
                  <c:v>#N/A</c:v>
                </c:pt>
                <c:pt idx="8703">
                  <c:v>#N/A</c:v>
                </c:pt>
                <c:pt idx="8704">
                  <c:v>#N/A</c:v>
                </c:pt>
                <c:pt idx="8705">
                  <c:v>#N/A</c:v>
                </c:pt>
                <c:pt idx="8706">
                  <c:v>#N/A</c:v>
                </c:pt>
                <c:pt idx="8707">
                  <c:v>#N/A</c:v>
                </c:pt>
                <c:pt idx="8708">
                  <c:v>#N/A</c:v>
                </c:pt>
                <c:pt idx="8709">
                  <c:v>#N/A</c:v>
                </c:pt>
                <c:pt idx="8710">
                  <c:v>#N/A</c:v>
                </c:pt>
                <c:pt idx="8711">
                  <c:v>#N/A</c:v>
                </c:pt>
                <c:pt idx="8712">
                  <c:v>3.2657534246575342</c:v>
                </c:pt>
                <c:pt idx="8713">
                  <c:v>3.2657534246575342</c:v>
                </c:pt>
                <c:pt idx="8714">
                  <c:v>#N/A</c:v>
                </c:pt>
                <c:pt idx="8715">
                  <c:v>#N/A</c:v>
                </c:pt>
                <c:pt idx="8716">
                  <c:v>#N/A</c:v>
                </c:pt>
                <c:pt idx="8717">
                  <c:v>#N/A</c:v>
                </c:pt>
                <c:pt idx="8718">
                  <c:v>#N/A</c:v>
                </c:pt>
                <c:pt idx="8719">
                  <c:v>#N/A</c:v>
                </c:pt>
                <c:pt idx="8720">
                  <c:v>#N/A</c:v>
                </c:pt>
                <c:pt idx="8721">
                  <c:v>#N/A</c:v>
                </c:pt>
                <c:pt idx="8722">
                  <c:v>#N/A</c:v>
                </c:pt>
                <c:pt idx="8723">
                  <c:v>#N/A</c:v>
                </c:pt>
                <c:pt idx="8724">
                  <c:v>#N/A</c:v>
                </c:pt>
                <c:pt idx="8725">
                  <c:v>#N/A</c:v>
                </c:pt>
                <c:pt idx="8726">
                  <c:v>#N/A</c:v>
                </c:pt>
                <c:pt idx="8727">
                  <c:v>#N/A</c:v>
                </c:pt>
                <c:pt idx="8728">
                  <c:v>#N/A</c:v>
                </c:pt>
                <c:pt idx="8729">
                  <c:v>#N/A</c:v>
                </c:pt>
                <c:pt idx="8730">
                  <c:v>#N/A</c:v>
                </c:pt>
                <c:pt idx="8731">
                  <c:v>#N/A</c:v>
                </c:pt>
                <c:pt idx="8732">
                  <c:v>#N/A</c:v>
                </c:pt>
                <c:pt idx="8733">
                  <c:v>#N/A</c:v>
                </c:pt>
                <c:pt idx="8734">
                  <c:v>3.2931506849315069</c:v>
                </c:pt>
                <c:pt idx="8735">
                  <c:v>#N/A</c:v>
                </c:pt>
                <c:pt idx="8736">
                  <c:v>#N/A</c:v>
                </c:pt>
                <c:pt idx="8737">
                  <c:v>#N/A</c:v>
                </c:pt>
                <c:pt idx="8738">
                  <c:v>#N/A</c:v>
                </c:pt>
                <c:pt idx="8739">
                  <c:v>#N/A</c:v>
                </c:pt>
                <c:pt idx="8740">
                  <c:v>#N/A</c:v>
                </c:pt>
                <c:pt idx="8741">
                  <c:v>#N/A</c:v>
                </c:pt>
                <c:pt idx="8742">
                  <c:v>#N/A</c:v>
                </c:pt>
                <c:pt idx="8743">
                  <c:v>#N/A</c:v>
                </c:pt>
                <c:pt idx="8744">
                  <c:v>#N/A</c:v>
                </c:pt>
                <c:pt idx="8745">
                  <c:v>#N/A</c:v>
                </c:pt>
                <c:pt idx="8746">
                  <c:v>#N/A</c:v>
                </c:pt>
                <c:pt idx="8747">
                  <c:v>#N/A</c:v>
                </c:pt>
                <c:pt idx="8748">
                  <c:v>#N/A</c:v>
                </c:pt>
                <c:pt idx="8749">
                  <c:v>#N/A</c:v>
                </c:pt>
                <c:pt idx="8750">
                  <c:v>#N/A</c:v>
                </c:pt>
                <c:pt idx="8751">
                  <c:v>#N/A</c:v>
                </c:pt>
                <c:pt idx="8752">
                  <c:v>#N/A</c:v>
                </c:pt>
                <c:pt idx="8753">
                  <c:v>#N/A</c:v>
                </c:pt>
                <c:pt idx="8754">
                  <c:v>#N/A</c:v>
                </c:pt>
                <c:pt idx="8755">
                  <c:v>#N/A</c:v>
                </c:pt>
                <c:pt idx="8756">
                  <c:v>#N/A</c:v>
                </c:pt>
                <c:pt idx="8757">
                  <c:v>#N/A</c:v>
                </c:pt>
                <c:pt idx="8758">
                  <c:v>#N/A</c:v>
                </c:pt>
                <c:pt idx="8759">
                  <c:v>3.3178082191780822</c:v>
                </c:pt>
                <c:pt idx="8760">
                  <c:v>#N/A</c:v>
                </c:pt>
                <c:pt idx="8761">
                  <c:v>#N/A</c:v>
                </c:pt>
                <c:pt idx="8762">
                  <c:v>#N/A</c:v>
                </c:pt>
                <c:pt idx="8763">
                  <c:v>#N/A</c:v>
                </c:pt>
                <c:pt idx="8764">
                  <c:v>#N/A</c:v>
                </c:pt>
                <c:pt idx="8765">
                  <c:v>#N/A</c:v>
                </c:pt>
                <c:pt idx="8766">
                  <c:v>#N/A</c:v>
                </c:pt>
                <c:pt idx="8767">
                  <c:v>#N/A</c:v>
                </c:pt>
                <c:pt idx="8768">
                  <c:v>#N/A</c:v>
                </c:pt>
                <c:pt idx="8769">
                  <c:v>#N/A</c:v>
                </c:pt>
                <c:pt idx="8770">
                  <c:v>#N/A</c:v>
                </c:pt>
                <c:pt idx="8771">
                  <c:v>#N/A</c:v>
                </c:pt>
                <c:pt idx="8772">
                  <c:v>#N/A</c:v>
                </c:pt>
                <c:pt idx="8773">
                  <c:v>#N/A</c:v>
                </c:pt>
                <c:pt idx="8774">
                  <c:v>#N/A</c:v>
                </c:pt>
                <c:pt idx="8775">
                  <c:v>#N/A</c:v>
                </c:pt>
                <c:pt idx="8776">
                  <c:v>#N/A</c:v>
                </c:pt>
                <c:pt idx="8777">
                  <c:v>#N/A</c:v>
                </c:pt>
                <c:pt idx="8778">
                  <c:v>#N/A</c:v>
                </c:pt>
                <c:pt idx="8779">
                  <c:v>#N/A</c:v>
                </c:pt>
                <c:pt idx="8780">
                  <c:v>#N/A</c:v>
                </c:pt>
                <c:pt idx="8781">
                  <c:v>#N/A</c:v>
                </c:pt>
                <c:pt idx="8782">
                  <c:v>#N/A</c:v>
                </c:pt>
                <c:pt idx="8783">
                  <c:v>#N/A</c:v>
                </c:pt>
                <c:pt idx="8784">
                  <c:v>#N/A</c:v>
                </c:pt>
                <c:pt idx="8785">
                  <c:v>#N/A</c:v>
                </c:pt>
                <c:pt idx="8786">
                  <c:v>#N/A</c:v>
                </c:pt>
                <c:pt idx="8787">
                  <c:v>#N/A</c:v>
                </c:pt>
                <c:pt idx="8788">
                  <c:v>#N/A</c:v>
                </c:pt>
                <c:pt idx="8789">
                  <c:v>#N/A</c:v>
                </c:pt>
                <c:pt idx="8790">
                  <c:v>#N/A</c:v>
                </c:pt>
                <c:pt idx="8791">
                  <c:v>#N/A</c:v>
                </c:pt>
                <c:pt idx="8792">
                  <c:v>#N/A</c:v>
                </c:pt>
                <c:pt idx="8793">
                  <c:v>#N/A</c:v>
                </c:pt>
                <c:pt idx="8794">
                  <c:v>#N/A</c:v>
                </c:pt>
                <c:pt idx="8795">
                  <c:v>#N/A</c:v>
                </c:pt>
                <c:pt idx="8796">
                  <c:v>#N/A</c:v>
                </c:pt>
                <c:pt idx="8797">
                  <c:v>#N/A</c:v>
                </c:pt>
                <c:pt idx="8798">
                  <c:v>3.3616438356164382</c:v>
                </c:pt>
                <c:pt idx="8799">
                  <c:v>#N/A</c:v>
                </c:pt>
                <c:pt idx="8800">
                  <c:v>3.3616438356164382</c:v>
                </c:pt>
                <c:pt idx="8801">
                  <c:v>#N/A</c:v>
                </c:pt>
                <c:pt idx="8802">
                  <c:v>#N/A</c:v>
                </c:pt>
                <c:pt idx="8803">
                  <c:v>#N/A</c:v>
                </c:pt>
                <c:pt idx="8804">
                  <c:v>#N/A</c:v>
                </c:pt>
                <c:pt idx="8805">
                  <c:v>#N/A</c:v>
                </c:pt>
                <c:pt idx="8806">
                  <c:v>#N/A</c:v>
                </c:pt>
                <c:pt idx="8807">
                  <c:v>#N/A</c:v>
                </c:pt>
                <c:pt idx="8808">
                  <c:v>#N/A</c:v>
                </c:pt>
                <c:pt idx="8809">
                  <c:v>#N/A</c:v>
                </c:pt>
                <c:pt idx="8810">
                  <c:v>#N/A</c:v>
                </c:pt>
                <c:pt idx="8811">
                  <c:v>#N/A</c:v>
                </c:pt>
                <c:pt idx="8812">
                  <c:v>#N/A</c:v>
                </c:pt>
                <c:pt idx="8813">
                  <c:v>#N/A</c:v>
                </c:pt>
                <c:pt idx="8814">
                  <c:v>#N/A</c:v>
                </c:pt>
                <c:pt idx="8815">
                  <c:v>#N/A</c:v>
                </c:pt>
                <c:pt idx="8816">
                  <c:v>#N/A</c:v>
                </c:pt>
                <c:pt idx="8817">
                  <c:v>#N/A</c:v>
                </c:pt>
                <c:pt idx="8818">
                  <c:v>#N/A</c:v>
                </c:pt>
                <c:pt idx="8819">
                  <c:v>#N/A</c:v>
                </c:pt>
                <c:pt idx="8820">
                  <c:v>#N/A</c:v>
                </c:pt>
                <c:pt idx="8821">
                  <c:v>#N/A</c:v>
                </c:pt>
                <c:pt idx="8822">
                  <c:v>#N/A</c:v>
                </c:pt>
                <c:pt idx="8823">
                  <c:v>#N/A</c:v>
                </c:pt>
                <c:pt idx="8824">
                  <c:v>#N/A</c:v>
                </c:pt>
                <c:pt idx="8825">
                  <c:v>#N/A</c:v>
                </c:pt>
                <c:pt idx="8826">
                  <c:v>#N/A</c:v>
                </c:pt>
                <c:pt idx="8827">
                  <c:v>#N/A</c:v>
                </c:pt>
                <c:pt idx="8828">
                  <c:v>3.3890410958904109</c:v>
                </c:pt>
                <c:pt idx="8829">
                  <c:v>#N/A</c:v>
                </c:pt>
                <c:pt idx="8830">
                  <c:v>#N/A</c:v>
                </c:pt>
                <c:pt idx="8831">
                  <c:v>3.3890410958904109</c:v>
                </c:pt>
                <c:pt idx="8832">
                  <c:v>#N/A</c:v>
                </c:pt>
                <c:pt idx="8833">
                  <c:v>#N/A</c:v>
                </c:pt>
                <c:pt idx="8834">
                  <c:v>#N/A</c:v>
                </c:pt>
                <c:pt idx="8835">
                  <c:v>3.3890410958904109</c:v>
                </c:pt>
                <c:pt idx="8836">
                  <c:v>#N/A</c:v>
                </c:pt>
                <c:pt idx="8837">
                  <c:v>#N/A</c:v>
                </c:pt>
                <c:pt idx="8838">
                  <c:v>3.3890410958904109</c:v>
                </c:pt>
                <c:pt idx="8839">
                  <c:v>#N/A</c:v>
                </c:pt>
                <c:pt idx="8840">
                  <c:v>#N/A</c:v>
                </c:pt>
                <c:pt idx="8841">
                  <c:v>#N/A</c:v>
                </c:pt>
                <c:pt idx="8842">
                  <c:v>#N/A</c:v>
                </c:pt>
                <c:pt idx="8843">
                  <c:v>#N/A</c:v>
                </c:pt>
                <c:pt idx="8844">
                  <c:v>#N/A</c:v>
                </c:pt>
                <c:pt idx="8845">
                  <c:v>#N/A</c:v>
                </c:pt>
                <c:pt idx="8846">
                  <c:v>#N/A</c:v>
                </c:pt>
                <c:pt idx="8847">
                  <c:v>3.3917808219178083</c:v>
                </c:pt>
                <c:pt idx="8848">
                  <c:v>#N/A</c:v>
                </c:pt>
                <c:pt idx="8849">
                  <c:v>#N/A</c:v>
                </c:pt>
                <c:pt idx="8850">
                  <c:v>#N/A</c:v>
                </c:pt>
                <c:pt idx="8851">
                  <c:v>#N/A</c:v>
                </c:pt>
                <c:pt idx="8852">
                  <c:v>#N/A</c:v>
                </c:pt>
                <c:pt idx="8853">
                  <c:v>#N/A</c:v>
                </c:pt>
                <c:pt idx="8854">
                  <c:v>#N/A</c:v>
                </c:pt>
                <c:pt idx="8855">
                  <c:v>#N/A</c:v>
                </c:pt>
                <c:pt idx="8856">
                  <c:v>#N/A</c:v>
                </c:pt>
                <c:pt idx="8857">
                  <c:v>#N/A</c:v>
                </c:pt>
                <c:pt idx="8858">
                  <c:v>#N/A</c:v>
                </c:pt>
                <c:pt idx="8859">
                  <c:v>#N/A</c:v>
                </c:pt>
                <c:pt idx="8860">
                  <c:v>#N/A</c:v>
                </c:pt>
                <c:pt idx="8861">
                  <c:v>3.4</c:v>
                </c:pt>
                <c:pt idx="8862">
                  <c:v>#N/A</c:v>
                </c:pt>
                <c:pt idx="8863">
                  <c:v>#N/A</c:v>
                </c:pt>
                <c:pt idx="8864">
                  <c:v>#N/A</c:v>
                </c:pt>
                <c:pt idx="8865">
                  <c:v>#N/A</c:v>
                </c:pt>
                <c:pt idx="8866">
                  <c:v>#N/A</c:v>
                </c:pt>
                <c:pt idx="8867">
                  <c:v>#N/A</c:v>
                </c:pt>
                <c:pt idx="8868">
                  <c:v>3.4</c:v>
                </c:pt>
                <c:pt idx="8869">
                  <c:v>#N/A</c:v>
                </c:pt>
                <c:pt idx="8870">
                  <c:v>#N/A</c:v>
                </c:pt>
                <c:pt idx="8871">
                  <c:v>#N/A</c:v>
                </c:pt>
                <c:pt idx="8872">
                  <c:v>#N/A</c:v>
                </c:pt>
                <c:pt idx="8873">
                  <c:v>#N/A</c:v>
                </c:pt>
                <c:pt idx="8874">
                  <c:v>#N/A</c:v>
                </c:pt>
                <c:pt idx="8875">
                  <c:v>#N/A</c:v>
                </c:pt>
                <c:pt idx="8876">
                  <c:v>#N/A</c:v>
                </c:pt>
                <c:pt idx="8877">
                  <c:v>#N/A</c:v>
                </c:pt>
                <c:pt idx="8878">
                  <c:v>#N/A</c:v>
                </c:pt>
                <c:pt idx="8879">
                  <c:v>#N/A</c:v>
                </c:pt>
                <c:pt idx="8880">
                  <c:v>#N/A</c:v>
                </c:pt>
                <c:pt idx="8881">
                  <c:v>#N/A</c:v>
                </c:pt>
                <c:pt idx="8882">
                  <c:v>#N/A</c:v>
                </c:pt>
                <c:pt idx="8883">
                  <c:v>#N/A</c:v>
                </c:pt>
                <c:pt idx="8884">
                  <c:v>#N/A</c:v>
                </c:pt>
                <c:pt idx="8885">
                  <c:v>#N/A</c:v>
                </c:pt>
                <c:pt idx="8886">
                  <c:v>#N/A</c:v>
                </c:pt>
                <c:pt idx="8887">
                  <c:v>#N/A</c:v>
                </c:pt>
                <c:pt idx="8888">
                  <c:v>#N/A</c:v>
                </c:pt>
                <c:pt idx="8889">
                  <c:v>#N/A</c:v>
                </c:pt>
                <c:pt idx="8890">
                  <c:v>#N/A</c:v>
                </c:pt>
                <c:pt idx="8891">
                  <c:v>#N/A</c:v>
                </c:pt>
                <c:pt idx="8892">
                  <c:v>#N/A</c:v>
                </c:pt>
                <c:pt idx="8893">
                  <c:v>#N/A</c:v>
                </c:pt>
                <c:pt idx="8894">
                  <c:v>#N/A</c:v>
                </c:pt>
                <c:pt idx="8895">
                  <c:v>#N/A</c:v>
                </c:pt>
                <c:pt idx="8896">
                  <c:v>#N/A</c:v>
                </c:pt>
                <c:pt idx="8897">
                  <c:v>#N/A</c:v>
                </c:pt>
                <c:pt idx="8898">
                  <c:v>#N/A</c:v>
                </c:pt>
                <c:pt idx="8899">
                  <c:v>#N/A</c:v>
                </c:pt>
                <c:pt idx="8900">
                  <c:v>#N/A</c:v>
                </c:pt>
                <c:pt idx="8901">
                  <c:v>#N/A</c:v>
                </c:pt>
                <c:pt idx="8902">
                  <c:v>#N/A</c:v>
                </c:pt>
                <c:pt idx="8903">
                  <c:v>#N/A</c:v>
                </c:pt>
                <c:pt idx="8904">
                  <c:v>#N/A</c:v>
                </c:pt>
                <c:pt idx="8905">
                  <c:v>#N/A</c:v>
                </c:pt>
                <c:pt idx="8906">
                  <c:v>#N/A</c:v>
                </c:pt>
                <c:pt idx="8907">
                  <c:v>#N/A</c:v>
                </c:pt>
                <c:pt idx="8908">
                  <c:v>#N/A</c:v>
                </c:pt>
                <c:pt idx="8909">
                  <c:v>#N/A</c:v>
                </c:pt>
                <c:pt idx="8910">
                  <c:v>#N/A</c:v>
                </c:pt>
                <c:pt idx="8911">
                  <c:v>#N/A</c:v>
                </c:pt>
                <c:pt idx="8912">
                  <c:v>#N/A</c:v>
                </c:pt>
                <c:pt idx="8913">
                  <c:v>#N/A</c:v>
                </c:pt>
                <c:pt idx="8914">
                  <c:v>#N/A</c:v>
                </c:pt>
                <c:pt idx="8915">
                  <c:v>#N/A</c:v>
                </c:pt>
                <c:pt idx="8916">
                  <c:v>#N/A</c:v>
                </c:pt>
                <c:pt idx="8917">
                  <c:v>#N/A</c:v>
                </c:pt>
                <c:pt idx="8918">
                  <c:v>#N/A</c:v>
                </c:pt>
                <c:pt idx="8919">
                  <c:v>#N/A</c:v>
                </c:pt>
                <c:pt idx="8920">
                  <c:v>3.43013698630137</c:v>
                </c:pt>
                <c:pt idx="8921">
                  <c:v>#N/A</c:v>
                </c:pt>
                <c:pt idx="8922">
                  <c:v>#N/A</c:v>
                </c:pt>
                <c:pt idx="8923">
                  <c:v>3.43013698630137</c:v>
                </c:pt>
                <c:pt idx="8924">
                  <c:v>#N/A</c:v>
                </c:pt>
                <c:pt idx="8925">
                  <c:v>#N/A</c:v>
                </c:pt>
                <c:pt idx="8926">
                  <c:v>#N/A</c:v>
                </c:pt>
                <c:pt idx="8927">
                  <c:v>#N/A</c:v>
                </c:pt>
                <c:pt idx="8928">
                  <c:v>#N/A</c:v>
                </c:pt>
                <c:pt idx="8929">
                  <c:v>#N/A</c:v>
                </c:pt>
                <c:pt idx="8930">
                  <c:v>#N/A</c:v>
                </c:pt>
                <c:pt idx="8931">
                  <c:v>#N/A</c:v>
                </c:pt>
                <c:pt idx="8932">
                  <c:v>#N/A</c:v>
                </c:pt>
                <c:pt idx="8933">
                  <c:v>#N/A</c:v>
                </c:pt>
                <c:pt idx="8934">
                  <c:v>#N/A</c:v>
                </c:pt>
                <c:pt idx="8935">
                  <c:v>#N/A</c:v>
                </c:pt>
                <c:pt idx="8936">
                  <c:v>#N/A</c:v>
                </c:pt>
                <c:pt idx="8937">
                  <c:v>3.4383561643835616</c:v>
                </c:pt>
                <c:pt idx="8938">
                  <c:v>3.4383561643835616</c:v>
                </c:pt>
                <c:pt idx="8939">
                  <c:v>3.4383561643835616</c:v>
                </c:pt>
                <c:pt idx="8940">
                  <c:v>#N/A</c:v>
                </c:pt>
                <c:pt idx="8941">
                  <c:v>#N/A</c:v>
                </c:pt>
                <c:pt idx="8942">
                  <c:v>3.4383561643835616</c:v>
                </c:pt>
                <c:pt idx="8943">
                  <c:v>#N/A</c:v>
                </c:pt>
                <c:pt idx="8944">
                  <c:v>#N/A</c:v>
                </c:pt>
                <c:pt idx="8945">
                  <c:v>#N/A</c:v>
                </c:pt>
                <c:pt idx="8946">
                  <c:v>#N/A</c:v>
                </c:pt>
                <c:pt idx="8947">
                  <c:v>#N/A</c:v>
                </c:pt>
                <c:pt idx="8948">
                  <c:v>#N/A</c:v>
                </c:pt>
                <c:pt idx="8949">
                  <c:v>#N/A</c:v>
                </c:pt>
                <c:pt idx="8950">
                  <c:v>#N/A</c:v>
                </c:pt>
                <c:pt idx="8951">
                  <c:v>#N/A</c:v>
                </c:pt>
                <c:pt idx="8952">
                  <c:v>#N/A</c:v>
                </c:pt>
                <c:pt idx="8953">
                  <c:v>#N/A</c:v>
                </c:pt>
                <c:pt idx="8954">
                  <c:v>#N/A</c:v>
                </c:pt>
                <c:pt idx="8955">
                  <c:v>#N/A</c:v>
                </c:pt>
                <c:pt idx="8956">
                  <c:v>3.4547945205479453</c:v>
                </c:pt>
                <c:pt idx="8957">
                  <c:v>#N/A</c:v>
                </c:pt>
                <c:pt idx="8958">
                  <c:v>#N/A</c:v>
                </c:pt>
                <c:pt idx="8959">
                  <c:v>#N/A</c:v>
                </c:pt>
                <c:pt idx="8960">
                  <c:v>#N/A</c:v>
                </c:pt>
                <c:pt idx="8961">
                  <c:v>#N/A</c:v>
                </c:pt>
                <c:pt idx="8962">
                  <c:v>#N/A</c:v>
                </c:pt>
                <c:pt idx="8963">
                  <c:v>#N/A</c:v>
                </c:pt>
                <c:pt idx="8964">
                  <c:v>3.4657534246575343</c:v>
                </c:pt>
                <c:pt idx="8965">
                  <c:v>#N/A</c:v>
                </c:pt>
                <c:pt idx="8966">
                  <c:v>#N/A</c:v>
                </c:pt>
                <c:pt idx="8967">
                  <c:v>#N/A</c:v>
                </c:pt>
                <c:pt idx="8968">
                  <c:v>#N/A</c:v>
                </c:pt>
                <c:pt idx="8969">
                  <c:v>#N/A</c:v>
                </c:pt>
                <c:pt idx="8970">
                  <c:v>#N/A</c:v>
                </c:pt>
                <c:pt idx="8971">
                  <c:v>#N/A</c:v>
                </c:pt>
                <c:pt idx="8972">
                  <c:v>#N/A</c:v>
                </c:pt>
                <c:pt idx="8973">
                  <c:v>#N/A</c:v>
                </c:pt>
                <c:pt idx="8974">
                  <c:v>#N/A</c:v>
                </c:pt>
                <c:pt idx="8975">
                  <c:v>#N/A</c:v>
                </c:pt>
                <c:pt idx="8976">
                  <c:v>#N/A</c:v>
                </c:pt>
                <c:pt idx="8977">
                  <c:v>#N/A</c:v>
                </c:pt>
                <c:pt idx="8978">
                  <c:v>#N/A</c:v>
                </c:pt>
                <c:pt idx="8979">
                  <c:v>#N/A</c:v>
                </c:pt>
                <c:pt idx="8980">
                  <c:v>#N/A</c:v>
                </c:pt>
                <c:pt idx="8981">
                  <c:v>#N/A</c:v>
                </c:pt>
                <c:pt idx="8982">
                  <c:v>#N/A</c:v>
                </c:pt>
                <c:pt idx="8983">
                  <c:v>#N/A</c:v>
                </c:pt>
                <c:pt idx="8984">
                  <c:v>#N/A</c:v>
                </c:pt>
                <c:pt idx="8985">
                  <c:v>#N/A</c:v>
                </c:pt>
                <c:pt idx="8986">
                  <c:v>#N/A</c:v>
                </c:pt>
                <c:pt idx="8987">
                  <c:v>#N/A</c:v>
                </c:pt>
                <c:pt idx="8988">
                  <c:v>#N/A</c:v>
                </c:pt>
                <c:pt idx="8989">
                  <c:v>#N/A</c:v>
                </c:pt>
                <c:pt idx="8990">
                  <c:v>#N/A</c:v>
                </c:pt>
                <c:pt idx="8991">
                  <c:v>#N/A</c:v>
                </c:pt>
                <c:pt idx="8992">
                  <c:v>#N/A</c:v>
                </c:pt>
                <c:pt idx="8993">
                  <c:v>#N/A</c:v>
                </c:pt>
                <c:pt idx="8994">
                  <c:v>#N/A</c:v>
                </c:pt>
                <c:pt idx="8995">
                  <c:v>#N/A</c:v>
                </c:pt>
                <c:pt idx="8996">
                  <c:v>3.4684931506849317</c:v>
                </c:pt>
                <c:pt idx="8997">
                  <c:v>#N/A</c:v>
                </c:pt>
                <c:pt idx="8998">
                  <c:v>#N/A</c:v>
                </c:pt>
                <c:pt idx="8999">
                  <c:v>#N/A</c:v>
                </c:pt>
                <c:pt idx="9000">
                  <c:v>#N/A</c:v>
                </c:pt>
                <c:pt idx="9001">
                  <c:v>#N/A</c:v>
                </c:pt>
                <c:pt idx="9002">
                  <c:v>#N/A</c:v>
                </c:pt>
                <c:pt idx="9003">
                  <c:v>#N/A</c:v>
                </c:pt>
                <c:pt idx="9004">
                  <c:v>#N/A</c:v>
                </c:pt>
                <c:pt idx="9005">
                  <c:v>#N/A</c:v>
                </c:pt>
                <c:pt idx="9006">
                  <c:v>#N/A</c:v>
                </c:pt>
                <c:pt idx="9007">
                  <c:v>#N/A</c:v>
                </c:pt>
                <c:pt idx="9008">
                  <c:v>#N/A</c:v>
                </c:pt>
                <c:pt idx="9009">
                  <c:v>#N/A</c:v>
                </c:pt>
                <c:pt idx="9010">
                  <c:v>#N/A</c:v>
                </c:pt>
                <c:pt idx="9011">
                  <c:v>#N/A</c:v>
                </c:pt>
                <c:pt idx="9012">
                  <c:v>3.4684931506849317</c:v>
                </c:pt>
                <c:pt idx="9013">
                  <c:v>#N/A</c:v>
                </c:pt>
                <c:pt idx="9014">
                  <c:v>#N/A</c:v>
                </c:pt>
                <c:pt idx="9015">
                  <c:v>#N/A</c:v>
                </c:pt>
                <c:pt idx="9016">
                  <c:v>#N/A</c:v>
                </c:pt>
                <c:pt idx="9017">
                  <c:v>#N/A</c:v>
                </c:pt>
                <c:pt idx="9018">
                  <c:v>#N/A</c:v>
                </c:pt>
                <c:pt idx="9019">
                  <c:v>#N/A</c:v>
                </c:pt>
                <c:pt idx="9020">
                  <c:v>#N/A</c:v>
                </c:pt>
                <c:pt idx="9021">
                  <c:v>#N/A</c:v>
                </c:pt>
                <c:pt idx="9022">
                  <c:v>#N/A</c:v>
                </c:pt>
                <c:pt idx="9023">
                  <c:v>#N/A</c:v>
                </c:pt>
                <c:pt idx="9024">
                  <c:v>#N/A</c:v>
                </c:pt>
                <c:pt idx="9025">
                  <c:v>#N/A</c:v>
                </c:pt>
                <c:pt idx="9026">
                  <c:v>#N/A</c:v>
                </c:pt>
                <c:pt idx="9027">
                  <c:v>#N/A</c:v>
                </c:pt>
                <c:pt idx="9028">
                  <c:v>#N/A</c:v>
                </c:pt>
                <c:pt idx="9029">
                  <c:v>#N/A</c:v>
                </c:pt>
                <c:pt idx="9030">
                  <c:v>#N/A</c:v>
                </c:pt>
                <c:pt idx="9031">
                  <c:v>#N/A</c:v>
                </c:pt>
                <c:pt idx="9032">
                  <c:v>#N/A</c:v>
                </c:pt>
                <c:pt idx="9033">
                  <c:v>#N/A</c:v>
                </c:pt>
                <c:pt idx="9034">
                  <c:v>#N/A</c:v>
                </c:pt>
                <c:pt idx="9035">
                  <c:v>#N/A</c:v>
                </c:pt>
                <c:pt idx="9036">
                  <c:v>#N/A</c:v>
                </c:pt>
                <c:pt idx="9037">
                  <c:v>#N/A</c:v>
                </c:pt>
                <c:pt idx="9038">
                  <c:v>#N/A</c:v>
                </c:pt>
                <c:pt idx="9039">
                  <c:v>#N/A</c:v>
                </c:pt>
                <c:pt idx="9040">
                  <c:v>#N/A</c:v>
                </c:pt>
                <c:pt idx="9041">
                  <c:v>#N/A</c:v>
                </c:pt>
                <c:pt idx="9042">
                  <c:v>#N/A</c:v>
                </c:pt>
                <c:pt idx="9043">
                  <c:v>#N/A</c:v>
                </c:pt>
                <c:pt idx="9044">
                  <c:v>#N/A</c:v>
                </c:pt>
                <c:pt idx="9045">
                  <c:v>#N/A</c:v>
                </c:pt>
                <c:pt idx="9046">
                  <c:v>#N/A</c:v>
                </c:pt>
                <c:pt idx="9047">
                  <c:v>#N/A</c:v>
                </c:pt>
                <c:pt idx="9048">
                  <c:v>#N/A</c:v>
                </c:pt>
                <c:pt idx="9049">
                  <c:v>#N/A</c:v>
                </c:pt>
                <c:pt idx="9050">
                  <c:v>#N/A</c:v>
                </c:pt>
                <c:pt idx="9051">
                  <c:v>#N/A</c:v>
                </c:pt>
                <c:pt idx="9052">
                  <c:v>#N/A</c:v>
                </c:pt>
                <c:pt idx="9053">
                  <c:v>3.4684931506849317</c:v>
                </c:pt>
                <c:pt idx="9054">
                  <c:v>#N/A</c:v>
                </c:pt>
                <c:pt idx="9055">
                  <c:v>#N/A</c:v>
                </c:pt>
                <c:pt idx="9056">
                  <c:v>#N/A</c:v>
                </c:pt>
                <c:pt idx="9057">
                  <c:v>#N/A</c:v>
                </c:pt>
                <c:pt idx="9058">
                  <c:v>#N/A</c:v>
                </c:pt>
                <c:pt idx="9059">
                  <c:v>#N/A</c:v>
                </c:pt>
                <c:pt idx="9060">
                  <c:v>#N/A</c:v>
                </c:pt>
                <c:pt idx="9061">
                  <c:v>#N/A</c:v>
                </c:pt>
                <c:pt idx="9062">
                  <c:v>#N/A</c:v>
                </c:pt>
                <c:pt idx="9063">
                  <c:v>#N/A</c:v>
                </c:pt>
                <c:pt idx="9064">
                  <c:v>#N/A</c:v>
                </c:pt>
                <c:pt idx="9065">
                  <c:v>#N/A</c:v>
                </c:pt>
                <c:pt idx="9066">
                  <c:v>#N/A</c:v>
                </c:pt>
                <c:pt idx="9067">
                  <c:v>#N/A</c:v>
                </c:pt>
                <c:pt idx="9068">
                  <c:v>#N/A</c:v>
                </c:pt>
                <c:pt idx="9069">
                  <c:v>#N/A</c:v>
                </c:pt>
                <c:pt idx="9070">
                  <c:v>#N/A</c:v>
                </c:pt>
                <c:pt idx="9071">
                  <c:v>#N/A</c:v>
                </c:pt>
                <c:pt idx="9072">
                  <c:v>#N/A</c:v>
                </c:pt>
                <c:pt idx="9073">
                  <c:v>#N/A</c:v>
                </c:pt>
                <c:pt idx="9074">
                  <c:v>#N/A</c:v>
                </c:pt>
                <c:pt idx="9075">
                  <c:v>#N/A</c:v>
                </c:pt>
                <c:pt idx="9076">
                  <c:v>#N/A</c:v>
                </c:pt>
                <c:pt idx="9077">
                  <c:v>#N/A</c:v>
                </c:pt>
                <c:pt idx="9078">
                  <c:v>#N/A</c:v>
                </c:pt>
                <c:pt idx="9079">
                  <c:v>#N/A</c:v>
                </c:pt>
                <c:pt idx="9080">
                  <c:v>#N/A</c:v>
                </c:pt>
                <c:pt idx="9081">
                  <c:v>#N/A</c:v>
                </c:pt>
                <c:pt idx="9082">
                  <c:v>#N/A</c:v>
                </c:pt>
                <c:pt idx="9083">
                  <c:v>#N/A</c:v>
                </c:pt>
                <c:pt idx="9084">
                  <c:v>#N/A</c:v>
                </c:pt>
                <c:pt idx="9085">
                  <c:v>#N/A</c:v>
                </c:pt>
                <c:pt idx="9086">
                  <c:v>#N/A</c:v>
                </c:pt>
                <c:pt idx="9087">
                  <c:v>#N/A</c:v>
                </c:pt>
                <c:pt idx="9088">
                  <c:v>#N/A</c:v>
                </c:pt>
                <c:pt idx="9089">
                  <c:v>#N/A</c:v>
                </c:pt>
                <c:pt idx="9090">
                  <c:v>#N/A</c:v>
                </c:pt>
                <c:pt idx="9091">
                  <c:v>#N/A</c:v>
                </c:pt>
                <c:pt idx="9092">
                  <c:v>3.4684931506849317</c:v>
                </c:pt>
                <c:pt idx="9093">
                  <c:v>#N/A</c:v>
                </c:pt>
                <c:pt idx="9094">
                  <c:v>#N/A</c:v>
                </c:pt>
                <c:pt idx="9095">
                  <c:v>#N/A</c:v>
                </c:pt>
                <c:pt idx="9096">
                  <c:v>#N/A</c:v>
                </c:pt>
                <c:pt idx="9097">
                  <c:v>#N/A</c:v>
                </c:pt>
                <c:pt idx="9098">
                  <c:v>#N/A</c:v>
                </c:pt>
                <c:pt idx="9099">
                  <c:v>#N/A</c:v>
                </c:pt>
                <c:pt idx="9100">
                  <c:v>#N/A</c:v>
                </c:pt>
                <c:pt idx="9101">
                  <c:v>#N/A</c:v>
                </c:pt>
                <c:pt idx="9102">
                  <c:v>#N/A</c:v>
                </c:pt>
                <c:pt idx="9103">
                  <c:v>#N/A</c:v>
                </c:pt>
                <c:pt idx="9104">
                  <c:v>#N/A</c:v>
                </c:pt>
                <c:pt idx="9105">
                  <c:v>#N/A</c:v>
                </c:pt>
                <c:pt idx="9106">
                  <c:v>#N/A</c:v>
                </c:pt>
                <c:pt idx="9107">
                  <c:v>#N/A</c:v>
                </c:pt>
                <c:pt idx="9108">
                  <c:v>#N/A</c:v>
                </c:pt>
                <c:pt idx="9109">
                  <c:v>#N/A</c:v>
                </c:pt>
                <c:pt idx="9110">
                  <c:v>#N/A</c:v>
                </c:pt>
                <c:pt idx="9111">
                  <c:v>#N/A</c:v>
                </c:pt>
                <c:pt idx="9112">
                  <c:v>#N/A</c:v>
                </c:pt>
                <c:pt idx="9113">
                  <c:v>#N/A</c:v>
                </c:pt>
                <c:pt idx="9114">
                  <c:v>#N/A</c:v>
                </c:pt>
                <c:pt idx="9115">
                  <c:v>#N/A</c:v>
                </c:pt>
                <c:pt idx="9116">
                  <c:v>3.4684931506849317</c:v>
                </c:pt>
                <c:pt idx="9117">
                  <c:v>#N/A</c:v>
                </c:pt>
                <c:pt idx="9118">
                  <c:v>#N/A</c:v>
                </c:pt>
                <c:pt idx="9119">
                  <c:v>#N/A</c:v>
                </c:pt>
                <c:pt idx="9120">
                  <c:v>#N/A</c:v>
                </c:pt>
                <c:pt idx="9121">
                  <c:v>#N/A</c:v>
                </c:pt>
                <c:pt idx="9122">
                  <c:v>#N/A</c:v>
                </c:pt>
                <c:pt idx="9123">
                  <c:v>#N/A</c:v>
                </c:pt>
                <c:pt idx="9124">
                  <c:v>#N/A</c:v>
                </c:pt>
                <c:pt idx="9125">
                  <c:v>#N/A</c:v>
                </c:pt>
                <c:pt idx="9126">
                  <c:v>#N/A</c:v>
                </c:pt>
                <c:pt idx="9127">
                  <c:v>#N/A</c:v>
                </c:pt>
                <c:pt idx="9128">
                  <c:v>#N/A</c:v>
                </c:pt>
                <c:pt idx="9129">
                  <c:v>#N/A</c:v>
                </c:pt>
                <c:pt idx="9130">
                  <c:v>#N/A</c:v>
                </c:pt>
                <c:pt idx="9131">
                  <c:v>#N/A</c:v>
                </c:pt>
                <c:pt idx="9132">
                  <c:v>#N/A</c:v>
                </c:pt>
                <c:pt idx="9133">
                  <c:v>#N/A</c:v>
                </c:pt>
                <c:pt idx="9134">
                  <c:v>#N/A</c:v>
                </c:pt>
                <c:pt idx="9135">
                  <c:v>#N/A</c:v>
                </c:pt>
                <c:pt idx="9136">
                  <c:v>#N/A</c:v>
                </c:pt>
                <c:pt idx="9137">
                  <c:v>#N/A</c:v>
                </c:pt>
                <c:pt idx="9138">
                  <c:v>#N/A</c:v>
                </c:pt>
                <c:pt idx="9139">
                  <c:v>#N/A</c:v>
                </c:pt>
                <c:pt idx="9140">
                  <c:v>#N/A</c:v>
                </c:pt>
                <c:pt idx="9141">
                  <c:v>#N/A</c:v>
                </c:pt>
                <c:pt idx="9142">
                  <c:v>#N/A</c:v>
                </c:pt>
                <c:pt idx="9143">
                  <c:v>#N/A</c:v>
                </c:pt>
                <c:pt idx="9144">
                  <c:v>#N/A</c:v>
                </c:pt>
                <c:pt idx="9145">
                  <c:v>#N/A</c:v>
                </c:pt>
                <c:pt idx="9146">
                  <c:v>#N/A</c:v>
                </c:pt>
                <c:pt idx="9147">
                  <c:v>#N/A</c:v>
                </c:pt>
                <c:pt idx="9148">
                  <c:v>#N/A</c:v>
                </c:pt>
                <c:pt idx="9149">
                  <c:v>3.4684931506849317</c:v>
                </c:pt>
                <c:pt idx="9150">
                  <c:v>#N/A</c:v>
                </c:pt>
                <c:pt idx="9151">
                  <c:v>#N/A</c:v>
                </c:pt>
                <c:pt idx="9152">
                  <c:v>#N/A</c:v>
                </c:pt>
                <c:pt idx="9153">
                  <c:v>#N/A</c:v>
                </c:pt>
                <c:pt idx="9154">
                  <c:v>#N/A</c:v>
                </c:pt>
                <c:pt idx="9155">
                  <c:v>#N/A</c:v>
                </c:pt>
                <c:pt idx="9156">
                  <c:v>#N/A</c:v>
                </c:pt>
                <c:pt idx="9157">
                  <c:v>#N/A</c:v>
                </c:pt>
                <c:pt idx="9158">
                  <c:v>#N/A</c:v>
                </c:pt>
                <c:pt idx="9159">
                  <c:v>#N/A</c:v>
                </c:pt>
                <c:pt idx="9160">
                  <c:v>#N/A</c:v>
                </c:pt>
                <c:pt idx="9161">
                  <c:v>#N/A</c:v>
                </c:pt>
                <c:pt idx="9162">
                  <c:v>#N/A</c:v>
                </c:pt>
                <c:pt idx="9163">
                  <c:v>#N/A</c:v>
                </c:pt>
                <c:pt idx="9164">
                  <c:v>#N/A</c:v>
                </c:pt>
                <c:pt idx="9165">
                  <c:v>#N/A</c:v>
                </c:pt>
                <c:pt idx="9166">
                  <c:v>#N/A</c:v>
                </c:pt>
                <c:pt idx="9167">
                  <c:v>#N/A</c:v>
                </c:pt>
                <c:pt idx="9168">
                  <c:v>#N/A</c:v>
                </c:pt>
                <c:pt idx="9169">
                  <c:v>#N/A</c:v>
                </c:pt>
                <c:pt idx="9170">
                  <c:v>#N/A</c:v>
                </c:pt>
                <c:pt idx="9171">
                  <c:v>#N/A</c:v>
                </c:pt>
                <c:pt idx="9172">
                  <c:v>#N/A</c:v>
                </c:pt>
                <c:pt idx="9173">
                  <c:v>#N/A</c:v>
                </c:pt>
                <c:pt idx="9174">
                  <c:v>#N/A</c:v>
                </c:pt>
                <c:pt idx="9175">
                  <c:v>#N/A</c:v>
                </c:pt>
                <c:pt idx="9176">
                  <c:v>#N/A</c:v>
                </c:pt>
                <c:pt idx="9177">
                  <c:v>#N/A</c:v>
                </c:pt>
                <c:pt idx="9178">
                  <c:v>#N/A</c:v>
                </c:pt>
                <c:pt idx="9179">
                  <c:v>#N/A</c:v>
                </c:pt>
                <c:pt idx="9180">
                  <c:v>#N/A</c:v>
                </c:pt>
                <c:pt idx="9181">
                  <c:v>#N/A</c:v>
                </c:pt>
                <c:pt idx="9182">
                  <c:v>#N/A</c:v>
                </c:pt>
                <c:pt idx="9183">
                  <c:v>#N/A</c:v>
                </c:pt>
                <c:pt idx="9184">
                  <c:v>#N/A</c:v>
                </c:pt>
                <c:pt idx="9185">
                  <c:v>#N/A</c:v>
                </c:pt>
                <c:pt idx="9186">
                  <c:v>#N/A</c:v>
                </c:pt>
                <c:pt idx="9187">
                  <c:v>#N/A</c:v>
                </c:pt>
                <c:pt idx="9188">
                  <c:v>#N/A</c:v>
                </c:pt>
                <c:pt idx="9189">
                  <c:v>#N/A</c:v>
                </c:pt>
                <c:pt idx="9190">
                  <c:v>#N/A</c:v>
                </c:pt>
                <c:pt idx="9191">
                  <c:v>#N/A</c:v>
                </c:pt>
                <c:pt idx="9192">
                  <c:v>#N/A</c:v>
                </c:pt>
                <c:pt idx="9193">
                  <c:v>#N/A</c:v>
                </c:pt>
                <c:pt idx="9194">
                  <c:v>#N/A</c:v>
                </c:pt>
                <c:pt idx="9195">
                  <c:v>#N/A</c:v>
                </c:pt>
                <c:pt idx="9196">
                  <c:v>#N/A</c:v>
                </c:pt>
                <c:pt idx="9197">
                  <c:v>#N/A</c:v>
                </c:pt>
                <c:pt idx="9198">
                  <c:v>#N/A</c:v>
                </c:pt>
                <c:pt idx="9199">
                  <c:v>#N/A</c:v>
                </c:pt>
                <c:pt idx="9200">
                  <c:v>#N/A</c:v>
                </c:pt>
                <c:pt idx="9201">
                  <c:v>#N/A</c:v>
                </c:pt>
                <c:pt idx="9202">
                  <c:v>#N/A</c:v>
                </c:pt>
                <c:pt idx="9203">
                  <c:v>#N/A</c:v>
                </c:pt>
                <c:pt idx="9204">
                  <c:v>#N/A</c:v>
                </c:pt>
                <c:pt idx="9205">
                  <c:v>#N/A</c:v>
                </c:pt>
                <c:pt idx="9206">
                  <c:v>#N/A</c:v>
                </c:pt>
                <c:pt idx="9207">
                  <c:v>#N/A</c:v>
                </c:pt>
                <c:pt idx="9208">
                  <c:v>#N/A</c:v>
                </c:pt>
                <c:pt idx="9209">
                  <c:v>#N/A</c:v>
                </c:pt>
                <c:pt idx="9210">
                  <c:v>#N/A</c:v>
                </c:pt>
                <c:pt idx="9211">
                  <c:v>#N/A</c:v>
                </c:pt>
                <c:pt idx="9212">
                  <c:v>#N/A</c:v>
                </c:pt>
                <c:pt idx="9213">
                  <c:v>#N/A</c:v>
                </c:pt>
                <c:pt idx="9214">
                  <c:v>#N/A</c:v>
                </c:pt>
                <c:pt idx="9215">
                  <c:v>#N/A</c:v>
                </c:pt>
                <c:pt idx="9216">
                  <c:v>#N/A</c:v>
                </c:pt>
                <c:pt idx="9217">
                  <c:v>3.473972602739726</c:v>
                </c:pt>
                <c:pt idx="9218">
                  <c:v>#N/A</c:v>
                </c:pt>
                <c:pt idx="9219">
                  <c:v>#N/A</c:v>
                </c:pt>
                <c:pt idx="9220">
                  <c:v>#N/A</c:v>
                </c:pt>
                <c:pt idx="9221">
                  <c:v>#N/A</c:v>
                </c:pt>
                <c:pt idx="9222">
                  <c:v>#N/A</c:v>
                </c:pt>
                <c:pt idx="9223">
                  <c:v>#N/A</c:v>
                </c:pt>
                <c:pt idx="9224">
                  <c:v>3.4876712328767123</c:v>
                </c:pt>
                <c:pt idx="9225">
                  <c:v>3.4876712328767123</c:v>
                </c:pt>
                <c:pt idx="9226">
                  <c:v>3.4876712328767123</c:v>
                </c:pt>
                <c:pt idx="9227">
                  <c:v>3.4876712328767123</c:v>
                </c:pt>
                <c:pt idx="9228">
                  <c:v>3.4876712328767123</c:v>
                </c:pt>
                <c:pt idx="9229">
                  <c:v>#N/A</c:v>
                </c:pt>
                <c:pt idx="9230">
                  <c:v>#N/A</c:v>
                </c:pt>
                <c:pt idx="9231">
                  <c:v>#N/A</c:v>
                </c:pt>
                <c:pt idx="9232">
                  <c:v>#N/A</c:v>
                </c:pt>
                <c:pt idx="9233">
                  <c:v>#N/A</c:v>
                </c:pt>
                <c:pt idx="9234">
                  <c:v>#N/A</c:v>
                </c:pt>
                <c:pt idx="9235">
                  <c:v>#N/A</c:v>
                </c:pt>
                <c:pt idx="9236">
                  <c:v>#N/A</c:v>
                </c:pt>
                <c:pt idx="9237">
                  <c:v>#N/A</c:v>
                </c:pt>
                <c:pt idx="9238">
                  <c:v>#N/A</c:v>
                </c:pt>
                <c:pt idx="9239">
                  <c:v>#N/A</c:v>
                </c:pt>
                <c:pt idx="9240">
                  <c:v>#N/A</c:v>
                </c:pt>
                <c:pt idx="9241">
                  <c:v>3.506849315068493</c:v>
                </c:pt>
                <c:pt idx="9242">
                  <c:v>#N/A</c:v>
                </c:pt>
                <c:pt idx="9243">
                  <c:v>#N/A</c:v>
                </c:pt>
                <c:pt idx="9244">
                  <c:v>#N/A</c:v>
                </c:pt>
                <c:pt idx="9245">
                  <c:v>3.506849315068493</c:v>
                </c:pt>
                <c:pt idx="9246">
                  <c:v>3.506849315068493</c:v>
                </c:pt>
                <c:pt idx="9247">
                  <c:v>#N/A</c:v>
                </c:pt>
                <c:pt idx="9248">
                  <c:v>#N/A</c:v>
                </c:pt>
                <c:pt idx="9249">
                  <c:v>#N/A</c:v>
                </c:pt>
                <c:pt idx="9250">
                  <c:v>#N/A</c:v>
                </c:pt>
                <c:pt idx="9251">
                  <c:v>#N/A</c:v>
                </c:pt>
                <c:pt idx="9252">
                  <c:v>#N/A</c:v>
                </c:pt>
                <c:pt idx="9253">
                  <c:v>#N/A</c:v>
                </c:pt>
                <c:pt idx="9254">
                  <c:v>#N/A</c:v>
                </c:pt>
                <c:pt idx="9255">
                  <c:v>#N/A</c:v>
                </c:pt>
                <c:pt idx="9256">
                  <c:v>#N/A</c:v>
                </c:pt>
                <c:pt idx="9257">
                  <c:v>#N/A</c:v>
                </c:pt>
                <c:pt idx="9258">
                  <c:v>#N/A</c:v>
                </c:pt>
                <c:pt idx="9259">
                  <c:v>#N/A</c:v>
                </c:pt>
                <c:pt idx="9260">
                  <c:v>#N/A</c:v>
                </c:pt>
                <c:pt idx="9261">
                  <c:v>#N/A</c:v>
                </c:pt>
                <c:pt idx="9262">
                  <c:v>#N/A</c:v>
                </c:pt>
                <c:pt idx="9263">
                  <c:v>#N/A</c:v>
                </c:pt>
                <c:pt idx="9264">
                  <c:v>#N/A</c:v>
                </c:pt>
                <c:pt idx="9265">
                  <c:v>#N/A</c:v>
                </c:pt>
                <c:pt idx="9266">
                  <c:v>#N/A</c:v>
                </c:pt>
                <c:pt idx="9267">
                  <c:v>#N/A</c:v>
                </c:pt>
                <c:pt idx="9268">
                  <c:v>#N/A</c:v>
                </c:pt>
                <c:pt idx="9269">
                  <c:v>#N/A</c:v>
                </c:pt>
                <c:pt idx="9270">
                  <c:v>#N/A</c:v>
                </c:pt>
                <c:pt idx="9271">
                  <c:v>#N/A</c:v>
                </c:pt>
                <c:pt idx="9272">
                  <c:v>#N/A</c:v>
                </c:pt>
                <c:pt idx="9273">
                  <c:v>#N/A</c:v>
                </c:pt>
                <c:pt idx="9274">
                  <c:v>#N/A</c:v>
                </c:pt>
                <c:pt idx="9275">
                  <c:v>#N/A</c:v>
                </c:pt>
                <c:pt idx="9276">
                  <c:v>#N/A</c:v>
                </c:pt>
                <c:pt idx="9277">
                  <c:v>#N/A</c:v>
                </c:pt>
                <c:pt idx="9278">
                  <c:v>#N/A</c:v>
                </c:pt>
                <c:pt idx="9279">
                  <c:v>#N/A</c:v>
                </c:pt>
                <c:pt idx="9280">
                  <c:v>#N/A</c:v>
                </c:pt>
                <c:pt idx="9281">
                  <c:v>#N/A</c:v>
                </c:pt>
                <c:pt idx="9282">
                  <c:v>#N/A</c:v>
                </c:pt>
                <c:pt idx="9283">
                  <c:v>#N/A</c:v>
                </c:pt>
                <c:pt idx="9284">
                  <c:v>#N/A</c:v>
                </c:pt>
                <c:pt idx="9285">
                  <c:v>#N/A</c:v>
                </c:pt>
                <c:pt idx="9286">
                  <c:v>#N/A</c:v>
                </c:pt>
                <c:pt idx="9287">
                  <c:v>#N/A</c:v>
                </c:pt>
                <c:pt idx="9288">
                  <c:v>#N/A</c:v>
                </c:pt>
                <c:pt idx="9289">
                  <c:v>#N/A</c:v>
                </c:pt>
                <c:pt idx="9290">
                  <c:v>#N/A</c:v>
                </c:pt>
                <c:pt idx="9291">
                  <c:v>#N/A</c:v>
                </c:pt>
                <c:pt idx="9292">
                  <c:v>#N/A</c:v>
                </c:pt>
                <c:pt idx="9293">
                  <c:v>#N/A</c:v>
                </c:pt>
                <c:pt idx="9294">
                  <c:v>#N/A</c:v>
                </c:pt>
                <c:pt idx="9295">
                  <c:v>#N/A</c:v>
                </c:pt>
                <c:pt idx="9296">
                  <c:v>#N/A</c:v>
                </c:pt>
                <c:pt idx="9297">
                  <c:v>#N/A</c:v>
                </c:pt>
                <c:pt idx="9298">
                  <c:v>#N/A</c:v>
                </c:pt>
                <c:pt idx="9299">
                  <c:v>#N/A</c:v>
                </c:pt>
                <c:pt idx="9300">
                  <c:v>#N/A</c:v>
                </c:pt>
                <c:pt idx="9301">
                  <c:v>#N/A</c:v>
                </c:pt>
                <c:pt idx="9302">
                  <c:v>#N/A</c:v>
                </c:pt>
                <c:pt idx="9303">
                  <c:v>#N/A</c:v>
                </c:pt>
                <c:pt idx="9304">
                  <c:v>#N/A</c:v>
                </c:pt>
                <c:pt idx="9305">
                  <c:v>#N/A</c:v>
                </c:pt>
                <c:pt idx="9306">
                  <c:v>#N/A</c:v>
                </c:pt>
                <c:pt idx="9307">
                  <c:v>#N/A</c:v>
                </c:pt>
                <c:pt idx="9308">
                  <c:v>#N/A</c:v>
                </c:pt>
                <c:pt idx="9309">
                  <c:v>#N/A</c:v>
                </c:pt>
                <c:pt idx="9310">
                  <c:v>#N/A</c:v>
                </c:pt>
                <c:pt idx="9311">
                  <c:v>#N/A</c:v>
                </c:pt>
                <c:pt idx="9312">
                  <c:v>#N/A</c:v>
                </c:pt>
                <c:pt idx="9313">
                  <c:v>#N/A</c:v>
                </c:pt>
                <c:pt idx="9314">
                  <c:v>#N/A</c:v>
                </c:pt>
                <c:pt idx="9315">
                  <c:v>#N/A</c:v>
                </c:pt>
                <c:pt idx="9316">
                  <c:v>#N/A</c:v>
                </c:pt>
                <c:pt idx="9317">
                  <c:v>#N/A</c:v>
                </c:pt>
                <c:pt idx="9318">
                  <c:v>#N/A</c:v>
                </c:pt>
                <c:pt idx="9319">
                  <c:v>#N/A</c:v>
                </c:pt>
                <c:pt idx="9320">
                  <c:v>3.5095890410958903</c:v>
                </c:pt>
                <c:pt idx="9321">
                  <c:v>#N/A</c:v>
                </c:pt>
                <c:pt idx="9322">
                  <c:v>#N/A</c:v>
                </c:pt>
                <c:pt idx="9323">
                  <c:v>#N/A</c:v>
                </c:pt>
                <c:pt idx="9324">
                  <c:v>#N/A</c:v>
                </c:pt>
                <c:pt idx="9325">
                  <c:v>#N/A</c:v>
                </c:pt>
                <c:pt idx="9326">
                  <c:v>#N/A</c:v>
                </c:pt>
                <c:pt idx="9327">
                  <c:v>#N/A</c:v>
                </c:pt>
                <c:pt idx="9328">
                  <c:v>#N/A</c:v>
                </c:pt>
                <c:pt idx="9329">
                  <c:v>#N/A</c:v>
                </c:pt>
                <c:pt idx="9330">
                  <c:v>#N/A</c:v>
                </c:pt>
                <c:pt idx="9331">
                  <c:v>#N/A</c:v>
                </c:pt>
                <c:pt idx="9332">
                  <c:v>#N/A</c:v>
                </c:pt>
                <c:pt idx="9333">
                  <c:v>#N/A</c:v>
                </c:pt>
                <c:pt idx="9334">
                  <c:v>#N/A</c:v>
                </c:pt>
                <c:pt idx="9335">
                  <c:v>#N/A</c:v>
                </c:pt>
                <c:pt idx="9336">
                  <c:v>#N/A</c:v>
                </c:pt>
                <c:pt idx="9337">
                  <c:v>#N/A</c:v>
                </c:pt>
                <c:pt idx="9338">
                  <c:v>#N/A</c:v>
                </c:pt>
                <c:pt idx="9339">
                  <c:v>#N/A</c:v>
                </c:pt>
                <c:pt idx="9340">
                  <c:v>#N/A</c:v>
                </c:pt>
                <c:pt idx="9341">
                  <c:v>#N/A</c:v>
                </c:pt>
                <c:pt idx="9342">
                  <c:v>#N/A</c:v>
                </c:pt>
                <c:pt idx="9343">
                  <c:v>3.5095890410958903</c:v>
                </c:pt>
                <c:pt idx="9344">
                  <c:v>#N/A</c:v>
                </c:pt>
                <c:pt idx="9345">
                  <c:v>#N/A</c:v>
                </c:pt>
                <c:pt idx="9346">
                  <c:v>#N/A</c:v>
                </c:pt>
                <c:pt idx="9347">
                  <c:v>#N/A</c:v>
                </c:pt>
                <c:pt idx="9348">
                  <c:v>#N/A</c:v>
                </c:pt>
                <c:pt idx="9349">
                  <c:v>#N/A</c:v>
                </c:pt>
                <c:pt idx="9350">
                  <c:v>#N/A</c:v>
                </c:pt>
                <c:pt idx="9351">
                  <c:v>#N/A</c:v>
                </c:pt>
                <c:pt idx="9352">
                  <c:v>#N/A</c:v>
                </c:pt>
                <c:pt idx="9353">
                  <c:v>#N/A</c:v>
                </c:pt>
                <c:pt idx="9354">
                  <c:v>#N/A</c:v>
                </c:pt>
                <c:pt idx="9355">
                  <c:v>#N/A</c:v>
                </c:pt>
                <c:pt idx="9356">
                  <c:v>#N/A</c:v>
                </c:pt>
                <c:pt idx="9357">
                  <c:v>#N/A</c:v>
                </c:pt>
                <c:pt idx="9358">
                  <c:v>#N/A</c:v>
                </c:pt>
                <c:pt idx="9359">
                  <c:v>#N/A</c:v>
                </c:pt>
                <c:pt idx="9360">
                  <c:v>#N/A</c:v>
                </c:pt>
                <c:pt idx="9361">
                  <c:v>#N/A</c:v>
                </c:pt>
                <c:pt idx="9362">
                  <c:v>#N/A</c:v>
                </c:pt>
                <c:pt idx="9363">
                  <c:v>#N/A</c:v>
                </c:pt>
                <c:pt idx="9364">
                  <c:v>#N/A</c:v>
                </c:pt>
                <c:pt idx="9365">
                  <c:v>#N/A</c:v>
                </c:pt>
                <c:pt idx="9366">
                  <c:v>#N/A</c:v>
                </c:pt>
                <c:pt idx="9367">
                  <c:v>#N/A</c:v>
                </c:pt>
                <c:pt idx="9368">
                  <c:v>#N/A</c:v>
                </c:pt>
                <c:pt idx="9369">
                  <c:v>#N/A</c:v>
                </c:pt>
                <c:pt idx="9370">
                  <c:v>#N/A</c:v>
                </c:pt>
                <c:pt idx="9371">
                  <c:v>#N/A</c:v>
                </c:pt>
                <c:pt idx="9372">
                  <c:v>#N/A</c:v>
                </c:pt>
                <c:pt idx="9373">
                  <c:v>#N/A</c:v>
                </c:pt>
                <c:pt idx="9374">
                  <c:v>#N/A</c:v>
                </c:pt>
                <c:pt idx="9375">
                  <c:v>#N/A</c:v>
                </c:pt>
                <c:pt idx="9376">
                  <c:v>#N/A</c:v>
                </c:pt>
                <c:pt idx="9377">
                  <c:v>#N/A</c:v>
                </c:pt>
                <c:pt idx="9378">
                  <c:v>#N/A</c:v>
                </c:pt>
                <c:pt idx="9379">
                  <c:v>#N/A</c:v>
                </c:pt>
                <c:pt idx="9380">
                  <c:v>#N/A</c:v>
                </c:pt>
                <c:pt idx="9381">
                  <c:v>#N/A</c:v>
                </c:pt>
                <c:pt idx="9382">
                  <c:v>#N/A</c:v>
                </c:pt>
                <c:pt idx="9383">
                  <c:v>#N/A</c:v>
                </c:pt>
                <c:pt idx="9384">
                  <c:v>#N/A</c:v>
                </c:pt>
                <c:pt idx="9385">
                  <c:v>#N/A</c:v>
                </c:pt>
                <c:pt idx="9386">
                  <c:v>#N/A</c:v>
                </c:pt>
                <c:pt idx="9387">
                  <c:v>#N/A</c:v>
                </c:pt>
                <c:pt idx="9388">
                  <c:v>#N/A</c:v>
                </c:pt>
                <c:pt idx="9389">
                  <c:v>#N/A</c:v>
                </c:pt>
                <c:pt idx="9390">
                  <c:v>#N/A</c:v>
                </c:pt>
                <c:pt idx="9391">
                  <c:v>#N/A</c:v>
                </c:pt>
                <c:pt idx="9392">
                  <c:v>#N/A</c:v>
                </c:pt>
                <c:pt idx="9393">
                  <c:v>#N/A</c:v>
                </c:pt>
                <c:pt idx="9394">
                  <c:v>#N/A</c:v>
                </c:pt>
                <c:pt idx="9395">
                  <c:v>#N/A</c:v>
                </c:pt>
                <c:pt idx="9396">
                  <c:v>#N/A</c:v>
                </c:pt>
                <c:pt idx="9397">
                  <c:v>#N/A</c:v>
                </c:pt>
                <c:pt idx="9398">
                  <c:v>#N/A</c:v>
                </c:pt>
                <c:pt idx="9399">
                  <c:v>#N/A</c:v>
                </c:pt>
                <c:pt idx="9400">
                  <c:v>#N/A</c:v>
                </c:pt>
                <c:pt idx="9401">
                  <c:v>#N/A</c:v>
                </c:pt>
                <c:pt idx="9402">
                  <c:v>#N/A</c:v>
                </c:pt>
                <c:pt idx="9403">
                  <c:v>#N/A</c:v>
                </c:pt>
                <c:pt idx="9404">
                  <c:v>#N/A</c:v>
                </c:pt>
                <c:pt idx="9405">
                  <c:v>#N/A</c:v>
                </c:pt>
                <c:pt idx="9406">
                  <c:v>#N/A</c:v>
                </c:pt>
                <c:pt idx="9407">
                  <c:v>#N/A</c:v>
                </c:pt>
                <c:pt idx="9408">
                  <c:v>#N/A</c:v>
                </c:pt>
                <c:pt idx="9409">
                  <c:v>#N/A</c:v>
                </c:pt>
                <c:pt idx="9410">
                  <c:v>#N/A</c:v>
                </c:pt>
                <c:pt idx="9411">
                  <c:v>#N/A</c:v>
                </c:pt>
                <c:pt idx="9412">
                  <c:v>#N/A</c:v>
                </c:pt>
                <c:pt idx="9413">
                  <c:v>#N/A</c:v>
                </c:pt>
                <c:pt idx="9414">
                  <c:v>#N/A</c:v>
                </c:pt>
                <c:pt idx="9415">
                  <c:v>#N/A</c:v>
                </c:pt>
                <c:pt idx="9416">
                  <c:v>#N/A</c:v>
                </c:pt>
                <c:pt idx="9417">
                  <c:v>#N/A</c:v>
                </c:pt>
                <c:pt idx="9418">
                  <c:v>#N/A</c:v>
                </c:pt>
                <c:pt idx="9419">
                  <c:v>#N/A</c:v>
                </c:pt>
                <c:pt idx="9420">
                  <c:v>#N/A</c:v>
                </c:pt>
                <c:pt idx="9421">
                  <c:v>#N/A</c:v>
                </c:pt>
                <c:pt idx="9422">
                  <c:v>#N/A</c:v>
                </c:pt>
                <c:pt idx="9423">
                  <c:v>#N/A</c:v>
                </c:pt>
                <c:pt idx="9424">
                  <c:v>#N/A</c:v>
                </c:pt>
                <c:pt idx="9425">
                  <c:v>#N/A</c:v>
                </c:pt>
                <c:pt idx="9426">
                  <c:v>#N/A</c:v>
                </c:pt>
                <c:pt idx="9427">
                  <c:v>#N/A</c:v>
                </c:pt>
                <c:pt idx="9428">
                  <c:v>#N/A</c:v>
                </c:pt>
                <c:pt idx="9429">
                  <c:v>#N/A</c:v>
                </c:pt>
                <c:pt idx="9430">
                  <c:v>#N/A</c:v>
                </c:pt>
                <c:pt idx="9431">
                  <c:v>#N/A</c:v>
                </c:pt>
                <c:pt idx="9432">
                  <c:v>#N/A</c:v>
                </c:pt>
                <c:pt idx="9433">
                  <c:v>#N/A</c:v>
                </c:pt>
                <c:pt idx="9434">
                  <c:v>#N/A</c:v>
                </c:pt>
                <c:pt idx="9435">
                  <c:v>#N/A</c:v>
                </c:pt>
                <c:pt idx="9436">
                  <c:v>#N/A</c:v>
                </c:pt>
                <c:pt idx="9437">
                  <c:v>#N/A</c:v>
                </c:pt>
                <c:pt idx="9438">
                  <c:v>#N/A</c:v>
                </c:pt>
                <c:pt idx="9439">
                  <c:v>#N/A</c:v>
                </c:pt>
                <c:pt idx="9440">
                  <c:v>#N/A</c:v>
                </c:pt>
                <c:pt idx="9441">
                  <c:v>#N/A</c:v>
                </c:pt>
                <c:pt idx="9442">
                  <c:v>#N/A</c:v>
                </c:pt>
                <c:pt idx="9443">
                  <c:v>#N/A</c:v>
                </c:pt>
                <c:pt idx="9444">
                  <c:v>#N/A</c:v>
                </c:pt>
                <c:pt idx="9445">
                  <c:v>#N/A</c:v>
                </c:pt>
                <c:pt idx="9446">
                  <c:v>#N/A</c:v>
                </c:pt>
                <c:pt idx="9447">
                  <c:v>#N/A</c:v>
                </c:pt>
                <c:pt idx="9448">
                  <c:v>#N/A</c:v>
                </c:pt>
                <c:pt idx="9449">
                  <c:v>#N/A</c:v>
                </c:pt>
                <c:pt idx="9450">
                  <c:v>#N/A</c:v>
                </c:pt>
                <c:pt idx="9451">
                  <c:v>#N/A</c:v>
                </c:pt>
                <c:pt idx="9452">
                  <c:v>#N/A</c:v>
                </c:pt>
                <c:pt idx="9453">
                  <c:v>#N/A</c:v>
                </c:pt>
                <c:pt idx="9454">
                  <c:v>#N/A</c:v>
                </c:pt>
                <c:pt idx="9455">
                  <c:v>#N/A</c:v>
                </c:pt>
                <c:pt idx="9456">
                  <c:v>#N/A</c:v>
                </c:pt>
                <c:pt idx="9457">
                  <c:v>#N/A</c:v>
                </c:pt>
                <c:pt idx="9458">
                  <c:v>#N/A</c:v>
                </c:pt>
                <c:pt idx="9459">
                  <c:v>#N/A</c:v>
                </c:pt>
                <c:pt idx="9460">
                  <c:v>#N/A</c:v>
                </c:pt>
                <c:pt idx="9461">
                  <c:v>#N/A</c:v>
                </c:pt>
                <c:pt idx="9462">
                  <c:v>#N/A</c:v>
                </c:pt>
                <c:pt idx="9463">
                  <c:v>#N/A</c:v>
                </c:pt>
                <c:pt idx="9464">
                  <c:v>#N/A</c:v>
                </c:pt>
                <c:pt idx="9465">
                  <c:v>#N/A</c:v>
                </c:pt>
                <c:pt idx="9466">
                  <c:v>#N/A</c:v>
                </c:pt>
                <c:pt idx="9467">
                  <c:v>#N/A</c:v>
                </c:pt>
                <c:pt idx="9468">
                  <c:v>#N/A</c:v>
                </c:pt>
                <c:pt idx="9469">
                  <c:v>#N/A</c:v>
                </c:pt>
                <c:pt idx="9470">
                  <c:v>3.5123287671232877</c:v>
                </c:pt>
                <c:pt idx="9471">
                  <c:v>#N/A</c:v>
                </c:pt>
                <c:pt idx="9472">
                  <c:v>#N/A</c:v>
                </c:pt>
                <c:pt idx="9473">
                  <c:v>#N/A</c:v>
                </c:pt>
                <c:pt idx="9474">
                  <c:v>#N/A</c:v>
                </c:pt>
                <c:pt idx="9475">
                  <c:v>#N/A</c:v>
                </c:pt>
                <c:pt idx="9476">
                  <c:v>#N/A</c:v>
                </c:pt>
                <c:pt idx="9477">
                  <c:v>#N/A</c:v>
                </c:pt>
                <c:pt idx="9478">
                  <c:v>#N/A</c:v>
                </c:pt>
                <c:pt idx="9479">
                  <c:v>#N/A</c:v>
                </c:pt>
                <c:pt idx="9480">
                  <c:v>#N/A</c:v>
                </c:pt>
                <c:pt idx="9481">
                  <c:v>#N/A</c:v>
                </c:pt>
                <c:pt idx="9482">
                  <c:v>#N/A</c:v>
                </c:pt>
                <c:pt idx="9483">
                  <c:v>#N/A</c:v>
                </c:pt>
                <c:pt idx="9484">
                  <c:v>#N/A</c:v>
                </c:pt>
                <c:pt idx="9485">
                  <c:v>#N/A</c:v>
                </c:pt>
                <c:pt idx="9486">
                  <c:v>#N/A</c:v>
                </c:pt>
                <c:pt idx="9487">
                  <c:v>#N/A</c:v>
                </c:pt>
                <c:pt idx="9488">
                  <c:v>#N/A</c:v>
                </c:pt>
                <c:pt idx="9489">
                  <c:v>#N/A</c:v>
                </c:pt>
                <c:pt idx="9490">
                  <c:v>#N/A</c:v>
                </c:pt>
                <c:pt idx="9491">
                  <c:v>#N/A</c:v>
                </c:pt>
                <c:pt idx="9492">
                  <c:v>#N/A</c:v>
                </c:pt>
                <c:pt idx="9493">
                  <c:v>#N/A</c:v>
                </c:pt>
                <c:pt idx="9494">
                  <c:v>#N/A</c:v>
                </c:pt>
                <c:pt idx="9495">
                  <c:v>#N/A</c:v>
                </c:pt>
                <c:pt idx="9496">
                  <c:v>#N/A</c:v>
                </c:pt>
                <c:pt idx="9497">
                  <c:v>#N/A</c:v>
                </c:pt>
                <c:pt idx="9498">
                  <c:v>#N/A</c:v>
                </c:pt>
                <c:pt idx="9499">
                  <c:v>#N/A</c:v>
                </c:pt>
                <c:pt idx="9500">
                  <c:v>#N/A</c:v>
                </c:pt>
                <c:pt idx="9501">
                  <c:v>#N/A</c:v>
                </c:pt>
                <c:pt idx="9502">
                  <c:v>#N/A</c:v>
                </c:pt>
                <c:pt idx="9503">
                  <c:v>#N/A</c:v>
                </c:pt>
                <c:pt idx="9504">
                  <c:v>#N/A</c:v>
                </c:pt>
                <c:pt idx="9505">
                  <c:v>#N/A</c:v>
                </c:pt>
                <c:pt idx="9506">
                  <c:v>#N/A</c:v>
                </c:pt>
                <c:pt idx="9507">
                  <c:v>#N/A</c:v>
                </c:pt>
                <c:pt idx="9508">
                  <c:v>#N/A</c:v>
                </c:pt>
                <c:pt idx="9509">
                  <c:v>#N/A</c:v>
                </c:pt>
                <c:pt idx="9510">
                  <c:v>#N/A</c:v>
                </c:pt>
                <c:pt idx="9511">
                  <c:v>#N/A</c:v>
                </c:pt>
                <c:pt idx="9512">
                  <c:v>#N/A</c:v>
                </c:pt>
                <c:pt idx="9513">
                  <c:v>#N/A</c:v>
                </c:pt>
                <c:pt idx="9514">
                  <c:v>#N/A</c:v>
                </c:pt>
                <c:pt idx="9515">
                  <c:v>#N/A</c:v>
                </c:pt>
                <c:pt idx="9516">
                  <c:v>#N/A</c:v>
                </c:pt>
                <c:pt idx="9517">
                  <c:v>#N/A</c:v>
                </c:pt>
                <c:pt idx="9518">
                  <c:v>#N/A</c:v>
                </c:pt>
                <c:pt idx="9519">
                  <c:v>#N/A</c:v>
                </c:pt>
                <c:pt idx="9520">
                  <c:v>#N/A</c:v>
                </c:pt>
                <c:pt idx="9521">
                  <c:v>#N/A</c:v>
                </c:pt>
                <c:pt idx="9522">
                  <c:v>#N/A</c:v>
                </c:pt>
                <c:pt idx="9523">
                  <c:v>#N/A</c:v>
                </c:pt>
                <c:pt idx="9524">
                  <c:v>3.5123287671232877</c:v>
                </c:pt>
                <c:pt idx="9525">
                  <c:v>#N/A</c:v>
                </c:pt>
                <c:pt idx="9526">
                  <c:v>#N/A</c:v>
                </c:pt>
                <c:pt idx="9527">
                  <c:v>#N/A</c:v>
                </c:pt>
                <c:pt idx="9528">
                  <c:v>#N/A</c:v>
                </c:pt>
                <c:pt idx="9529">
                  <c:v>#N/A</c:v>
                </c:pt>
                <c:pt idx="9530">
                  <c:v>#N/A</c:v>
                </c:pt>
                <c:pt idx="9531">
                  <c:v>#N/A</c:v>
                </c:pt>
                <c:pt idx="9532">
                  <c:v>3.5123287671232877</c:v>
                </c:pt>
                <c:pt idx="9533">
                  <c:v>#N/A</c:v>
                </c:pt>
                <c:pt idx="9534">
                  <c:v>#N/A</c:v>
                </c:pt>
                <c:pt idx="9535">
                  <c:v>#N/A</c:v>
                </c:pt>
                <c:pt idx="9536">
                  <c:v>#N/A</c:v>
                </c:pt>
                <c:pt idx="9537">
                  <c:v>#N/A</c:v>
                </c:pt>
                <c:pt idx="9538">
                  <c:v>#N/A</c:v>
                </c:pt>
                <c:pt idx="9539">
                  <c:v>#N/A</c:v>
                </c:pt>
                <c:pt idx="9540">
                  <c:v>#N/A</c:v>
                </c:pt>
                <c:pt idx="9541">
                  <c:v>#N/A</c:v>
                </c:pt>
                <c:pt idx="9542">
                  <c:v>#N/A</c:v>
                </c:pt>
                <c:pt idx="9543">
                  <c:v>#N/A</c:v>
                </c:pt>
                <c:pt idx="9544">
                  <c:v>#N/A</c:v>
                </c:pt>
                <c:pt idx="9545">
                  <c:v>#N/A</c:v>
                </c:pt>
                <c:pt idx="9546">
                  <c:v>#N/A</c:v>
                </c:pt>
                <c:pt idx="9547">
                  <c:v>#N/A</c:v>
                </c:pt>
                <c:pt idx="9548">
                  <c:v>#N/A</c:v>
                </c:pt>
                <c:pt idx="9549">
                  <c:v>#N/A</c:v>
                </c:pt>
                <c:pt idx="9550">
                  <c:v>#N/A</c:v>
                </c:pt>
                <c:pt idx="9551">
                  <c:v>#N/A</c:v>
                </c:pt>
                <c:pt idx="9552">
                  <c:v>#N/A</c:v>
                </c:pt>
                <c:pt idx="9553">
                  <c:v>#N/A</c:v>
                </c:pt>
                <c:pt idx="9554">
                  <c:v>#N/A</c:v>
                </c:pt>
                <c:pt idx="9555">
                  <c:v>#N/A</c:v>
                </c:pt>
                <c:pt idx="9556">
                  <c:v>#N/A</c:v>
                </c:pt>
                <c:pt idx="9557">
                  <c:v>#N/A</c:v>
                </c:pt>
                <c:pt idx="9558">
                  <c:v>#N/A</c:v>
                </c:pt>
                <c:pt idx="9559">
                  <c:v>#N/A</c:v>
                </c:pt>
                <c:pt idx="9560">
                  <c:v>#N/A</c:v>
                </c:pt>
                <c:pt idx="9561">
                  <c:v>#N/A</c:v>
                </c:pt>
                <c:pt idx="9562">
                  <c:v>#N/A</c:v>
                </c:pt>
                <c:pt idx="9563">
                  <c:v>#N/A</c:v>
                </c:pt>
                <c:pt idx="9564">
                  <c:v>#N/A</c:v>
                </c:pt>
                <c:pt idx="9565">
                  <c:v>#N/A</c:v>
                </c:pt>
                <c:pt idx="9566">
                  <c:v>#N/A</c:v>
                </c:pt>
                <c:pt idx="9567">
                  <c:v>#N/A</c:v>
                </c:pt>
                <c:pt idx="9568">
                  <c:v>#N/A</c:v>
                </c:pt>
                <c:pt idx="9569">
                  <c:v>#N/A</c:v>
                </c:pt>
                <c:pt idx="9570">
                  <c:v>#N/A</c:v>
                </c:pt>
                <c:pt idx="9571">
                  <c:v>#N/A</c:v>
                </c:pt>
                <c:pt idx="9572">
                  <c:v>3.5232876712328767</c:v>
                </c:pt>
                <c:pt idx="9573">
                  <c:v>#N/A</c:v>
                </c:pt>
                <c:pt idx="9574">
                  <c:v>#N/A</c:v>
                </c:pt>
                <c:pt idx="9575">
                  <c:v>#N/A</c:v>
                </c:pt>
                <c:pt idx="9576">
                  <c:v>#N/A</c:v>
                </c:pt>
                <c:pt idx="9577">
                  <c:v>#N/A</c:v>
                </c:pt>
                <c:pt idx="9578">
                  <c:v>3.5232876712328767</c:v>
                </c:pt>
                <c:pt idx="9579">
                  <c:v>#N/A</c:v>
                </c:pt>
                <c:pt idx="9580">
                  <c:v>#N/A</c:v>
                </c:pt>
                <c:pt idx="9581">
                  <c:v>#N/A</c:v>
                </c:pt>
                <c:pt idx="9582">
                  <c:v>#N/A</c:v>
                </c:pt>
                <c:pt idx="9583">
                  <c:v>3.5232876712328767</c:v>
                </c:pt>
                <c:pt idx="9584">
                  <c:v>#N/A</c:v>
                </c:pt>
                <c:pt idx="9585">
                  <c:v>#N/A</c:v>
                </c:pt>
                <c:pt idx="9586">
                  <c:v>#N/A</c:v>
                </c:pt>
                <c:pt idx="9587">
                  <c:v>#N/A</c:v>
                </c:pt>
                <c:pt idx="9588">
                  <c:v>#N/A</c:v>
                </c:pt>
                <c:pt idx="9589">
                  <c:v>#N/A</c:v>
                </c:pt>
                <c:pt idx="9590">
                  <c:v>#N/A</c:v>
                </c:pt>
                <c:pt idx="9591">
                  <c:v>#N/A</c:v>
                </c:pt>
                <c:pt idx="9592">
                  <c:v>#N/A</c:v>
                </c:pt>
                <c:pt idx="9593">
                  <c:v>#N/A</c:v>
                </c:pt>
                <c:pt idx="9594">
                  <c:v>#N/A</c:v>
                </c:pt>
                <c:pt idx="9595">
                  <c:v>#N/A</c:v>
                </c:pt>
                <c:pt idx="9596">
                  <c:v>#N/A</c:v>
                </c:pt>
                <c:pt idx="9597">
                  <c:v>#N/A</c:v>
                </c:pt>
                <c:pt idx="9598">
                  <c:v>#N/A</c:v>
                </c:pt>
                <c:pt idx="9599">
                  <c:v>#N/A</c:v>
                </c:pt>
                <c:pt idx="9600">
                  <c:v>#N/A</c:v>
                </c:pt>
                <c:pt idx="9601">
                  <c:v>#N/A</c:v>
                </c:pt>
                <c:pt idx="9602">
                  <c:v>#N/A</c:v>
                </c:pt>
                <c:pt idx="9603">
                  <c:v>#N/A</c:v>
                </c:pt>
                <c:pt idx="9604">
                  <c:v>#N/A</c:v>
                </c:pt>
                <c:pt idx="9605">
                  <c:v>#N/A</c:v>
                </c:pt>
                <c:pt idx="9606">
                  <c:v>#N/A</c:v>
                </c:pt>
                <c:pt idx="9607">
                  <c:v>#N/A</c:v>
                </c:pt>
                <c:pt idx="9608">
                  <c:v>#N/A</c:v>
                </c:pt>
                <c:pt idx="9609">
                  <c:v>#N/A</c:v>
                </c:pt>
                <c:pt idx="9610">
                  <c:v>#N/A</c:v>
                </c:pt>
                <c:pt idx="9611">
                  <c:v>#N/A</c:v>
                </c:pt>
                <c:pt idx="9612">
                  <c:v>#N/A</c:v>
                </c:pt>
                <c:pt idx="9613">
                  <c:v>#N/A</c:v>
                </c:pt>
                <c:pt idx="9614">
                  <c:v>#N/A</c:v>
                </c:pt>
                <c:pt idx="9615">
                  <c:v>#N/A</c:v>
                </c:pt>
                <c:pt idx="9616">
                  <c:v>#N/A</c:v>
                </c:pt>
                <c:pt idx="9617">
                  <c:v>#N/A</c:v>
                </c:pt>
                <c:pt idx="9618">
                  <c:v>#N/A</c:v>
                </c:pt>
                <c:pt idx="9619">
                  <c:v>#N/A</c:v>
                </c:pt>
                <c:pt idx="9620">
                  <c:v>#N/A</c:v>
                </c:pt>
                <c:pt idx="9621">
                  <c:v>#N/A</c:v>
                </c:pt>
                <c:pt idx="9622">
                  <c:v>#N/A</c:v>
                </c:pt>
                <c:pt idx="9623">
                  <c:v>#N/A</c:v>
                </c:pt>
                <c:pt idx="9624">
                  <c:v>#N/A</c:v>
                </c:pt>
                <c:pt idx="9625">
                  <c:v>#N/A</c:v>
                </c:pt>
                <c:pt idx="9626">
                  <c:v>#N/A</c:v>
                </c:pt>
                <c:pt idx="9627">
                  <c:v>#N/A</c:v>
                </c:pt>
                <c:pt idx="9628">
                  <c:v>#N/A</c:v>
                </c:pt>
                <c:pt idx="9629">
                  <c:v>#N/A</c:v>
                </c:pt>
                <c:pt idx="9630">
                  <c:v>#N/A</c:v>
                </c:pt>
                <c:pt idx="9631">
                  <c:v>#N/A</c:v>
                </c:pt>
                <c:pt idx="9632">
                  <c:v>#N/A</c:v>
                </c:pt>
                <c:pt idx="9633">
                  <c:v>#N/A</c:v>
                </c:pt>
                <c:pt idx="9634">
                  <c:v>#N/A</c:v>
                </c:pt>
                <c:pt idx="9635">
                  <c:v>#N/A</c:v>
                </c:pt>
                <c:pt idx="9636">
                  <c:v>#N/A</c:v>
                </c:pt>
                <c:pt idx="9637">
                  <c:v>#N/A</c:v>
                </c:pt>
                <c:pt idx="9638">
                  <c:v>#N/A</c:v>
                </c:pt>
                <c:pt idx="9639">
                  <c:v>#N/A</c:v>
                </c:pt>
                <c:pt idx="9640">
                  <c:v>#N/A</c:v>
                </c:pt>
                <c:pt idx="9641">
                  <c:v>#N/A</c:v>
                </c:pt>
                <c:pt idx="9642">
                  <c:v>#N/A</c:v>
                </c:pt>
                <c:pt idx="9643">
                  <c:v>#N/A</c:v>
                </c:pt>
                <c:pt idx="9644">
                  <c:v>#N/A</c:v>
                </c:pt>
                <c:pt idx="9645">
                  <c:v>#N/A</c:v>
                </c:pt>
                <c:pt idx="9646">
                  <c:v>#N/A</c:v>
                </c:pt>
                <c:pt idx="9647">
                  <c:v>#N/A</c:v>
                </c:pt>
                <c:pt idx="9648">
                  <c:v>#N/A</c:v>
                </c:pt>
                <c:pt idx="9649">
                  <c:v>#N/A</c:v>
                </c:pt>
                <c:pt idx="9650">
                  <c:v>#N/A</c:v>
                </c:pt>
                <c:pt idx="9651">
                  <c:v>#N/A</c:v>
                </c:pt>
                <c:pt idx="9652">
                  <c:v>3.5342465753424657</c:v>
                </c:pt>
                <c:pt idx="9653">
                  <c:v>#N/A</c:v>
                </c:pt>
                <c:pt idx="9654">
                  <c:v>#N/A</c:v>
                </c:pt>
                <c:pt idx="9655">
                  <c:v>#N/A</c:v>
                </c:pt>
                <c:pt idx="9656">
                  <c:v>#N/A</c:v>
                </c:pt>
                <c:pt idx="9657">
                  <c:v>#N/A</c:v>
                </c:pt>
                <c:pt idx="9658">
                  <c:v>#N/A</c:v>
                </c:pt>
                <c:pt idx="9659">
                  <c:v>#N/A</c:v>
                </c:pt>
                <c:pt idx="9660">
                  <c:v>#N/A</c:v>
                </c:pt>
                <c:pt idx="9661">
                  <c:v>#N/A</c:v>
                </c:pt>
                <c:pt idx="9662">
                  <c:v>#N/A</c:v>
                </c:pt>
                <c:pt idx="9663">
                  <c:v>#N/A</c:v>
                </c:pt>
                <c:pt idx="9664">
                  <c:v>#N/A</c:v>
                </c:pt>
                <c:pt idx="9665">
                  <c:v>#N/A</c:v>
                </c:pt>
                <c:pt idx="9666">
                  <c:v>#N/A</c:v>
                </c:pt>
                <c:pt idx="9667">
                  <c:v>#N/A</c:v>
                </c:pt>
                <c:pt idx="9668">
                  <c:v>#N/A</c:v>
                </c:pt>
                <c:pt idx="9669">
                  <c:v>#N/A</c:v>
                </c:pt>
                <c:pt idx="9670">
                  <c:v>#N/A</c:v>
                </c:pt>
                <c:pt idx="9671">
                  <c:v>#N/A</c:v>
                </c:pt>
                <c:pt idx="9672">
                  <c:v>#N/A</c:v>
                </c:pt>
                <c:pt idx="9673">
                  <c:v>#N/A</c:v>
                </c:pt>
                <c:pt idx="9674">
                  <c:v>#N/A</c:v>
                </c:pt>
                <c:pt idx="9675">
                  <c:v>#N/A</c:v>
                </c:pt>
                <c:pt idx="9676">
                  <c:v>#N/A</c:v>
                </c:pt>
                <c:pt idx="9677">
                  <c:v>#N/A</c:v>
                </c:pt>
                <c:pt idx="9678">
                  <c:v>#N/A</c:v>
                </c:pt>
                <c:pt idx="9679">
                  <c:v>#N/A</c:v>
                </c:pt>
                <c:pt idx="9680">
                  <c:v>#N/A</c:v>
                </c:pt>
                <c:pt idx="9681">
                  <c:v>#N/A</c:v>
                </c:pt>
                <c:pt idx="9682">
                  <c:v>#N/A</c:v>
                </c:pt>
                <c:pt idx="9683">
                  <c:v>#N/A</c:v>
                </c:pt>
                <c:pt idx="9684">
                  <c:v>3.547945205479452</c:v>
                </c:pt>
                <c:pt idx="9685">
                  <c:v>#N/A</c:v>
                </c:pt>
                <c:pt idx="9686">
                  <c:v>#N/A</c:v>
                </c:pt>
                <c:pt idx="9687">
                  <c:v>#N/A</c:v>
                </c:pt>
                <c:pt idx="9688">
                  <c:v>#N/A</c:v>
                </c:pt>
                <c:pt idx="9689">
                  <c:v>#N/A</c:v>
                </c:pt>
                <c:pt idx="9690">
                  <c:v>#N/A</c:v>
                </c:pt>
                <c:pt idx="9691">
                  <c:v>#N/A</c:v>
                </c:pt>
                <c:pt idx="9692">
                  <c:v>#N/A</c:v>
                </c:pt>
                <c:pt idx="9693">
                  <c:v>#N/A</c:v>
                </c:pt>
                <c:pt idx="9694">
                  <c:v>#N/A</c:v>
                </c:pt>
                <c:pt idx="9695">
                  <c:v>#N/A</c:v>
                </c:pt>
                <c:pt idx="9696">
                  <c:v>#N/A</c:v>
                </c:pt>
                <c:pt idx="9697">
                  <c:v>#N/A</c:v>
                </c:pt>
                <c:pt idx="9698">
                  <c:v>#N/A</c:v>
                </c:pt>
                <c:pt idx="9699">
                  <c:v>#N/A</c:v>
                </c:pt>
                <c:pt idx="9700">
                  <c:v>#N/A</c:v>
                </c:pt>
                <c:pt idx="9701">
                  <c:v>#N/A</c:v>
                </c:pt>
                <c:pt idx="9702">
                  <c:v>#N/A</c:v>
                </c:pt>
                <c:pt idx="9703">
                  <c:v>#N/A</c:v>
                </c:pt>
                <c:pt idx="9704">
                  <c:v>#N/A</c:v>
                </c:pt>
                <c:pt idx="9705">
                  <c:v>#N/A</c:v>
                </c:pt>
                <c:pt idx="9706">
                  <c:v>#N/A</c:v>
                </c:pt>
                <c:pt idx="9707">
                  <c:v>#N/A</c:v>
                </c:pt>
                <c:pt idx="9708">
                  <c:v>#N/A</c:v>
                </c:pt>
                <c:pt idx="9709">
                  <c:v>#N/A</c:v>
                </c:pt>
                <c:pt idx="9710">
                  <c:v>#N/A</c:v>
                </c:pt>
                <c:pt idx="9711">
                  <c:v>#N/A</c:v>
                </c:pt>
                <c:pt idx="9712">
                  <c:v>#N/A</c:v>
                </c:pt>
                <c:pt idx="9713">
                  <c:v>#N/A</c:v>
                </c:pt>
                <c:pt idx="9714">
                  <c:v>#N/A</c:v>
                </c:pt>
                <c:pt idx="9715">
                  <c:v>#N/A</c:v>
                </c:pt>
                <c:pt idx="9716">
                  <c:v>#N/A</c:v>
                </c:pt>
                <c:pt idx="9717">
                  <c:v>#N/A</c:v>
                </c:pt>
                <c:pt idx="9718">
                  <c:v>#N/A</c:v>
                </c:pt>
                <c:pt idx="9719">
                  <c:v>#N/A</c:v>
                </c:pt>
                <c:pt idx="9720">
                  <c:v>#N/A</c:v>
                </c:pt>
                <c:pt idx="9721">
                  <c:v>#N/A</c:v>
                </c:pt>
                <c:pt idx="9722">
                  <c:v>#N/A</c:v>
                </c:pt>
                <c:pt idx="9723">
                  <c:v>#N/A</c:v>
                </c:pt>
                <c:pt idx="9724">
                  <c:v>#N/A</c:v>
                </c:pt>
                <c:pt idx="9725">
                  <c:v>#N/A</c:v>
                </c:pt>
                <c:pt idx="9726">
                  <c:v>#N/A</c:v>
                </c:pt>
                <c:pt idx="9727">
                  <c:v>#N/A</c:v>
                </c:pt>
                <c:pt idx="9728">
                  <c:v>#N/A</c:v>
                </c:pt>
                <c:pt idx="9729">
                  <c:v>#N/A</c:v>
                </c:pt>
                <c:pt idx="9730">
                  <c:v>3.5671232876712327</c:v>
                </c:pt>
                <c:pt idx="9731">
                  <c:v>#N/A</c:v>
                </c:pt>
                <c:pt idx="9732">
                  <c:v>#N/A</c:v>
                </c:pt>
                <c:pt idx="9733">
                  <c:v>#N/A</c:v>
                </c:pt>
                <c:pt idx="9734">
                  <c:v>#N/A</c:v>
                </c:pt>
                <c:pt idx="9735">
                  <c:v>#N/A</c:v>
                </c:pt>
                <c:pt idx="9736">
                  <c:v>#N/A</c:v>
                </c:pt>
                <c:pt idx="9737">
                  <c:v>#N/A</c:v>
                </c:pt>
                <c:pt idx="9738">
                  <c:v>#N/A</c:v>
                </c:pt>
                <c:pt idx="9739">
                  <c:v>#N/A</c:v>
                </c:pt>
                <c:pt idx="9740">
                  <c:v>#N/A</c:v>
                </c:pt>
                <c:pt idx="9741">
                  <c:v>#N/A</c:v>
                </c:pt>
                <c:pt idx="9742">
                  <c:v>#N/A</c:v>
                </c:pt>
                <c:pt idx="9743">
                  <c:v>3.5726027397260274</c:v>
                </c:pt>
                <c:pt idx="9744">
                  <c:v>#N/A</c:v>
                </c:pt>
                <c:pt idx="9745">
                  <c:v>#N/A</c:v>
                </c:pt>
                <c:pt idx="9746">
                  <c:v>#N/A</c:v>
                </c:pt>
                <c:pt idx="9747">
                  <c:v>#N/A</c:v>
                </c:pt>
                <c:pt idx="9748">
                  <c:v>#N/A</c:v>
                </c:pt>
                <c:pt idx="9749">
                  <c:v>#N/A</c:v>
                </c:pt>
                <c:pt idx="9750">
                  <c:v>#N/A</c:v>
                </c:pt>
                <c:pt idx="9751">
                  <c:v>#N/A</c:v>
                </c:pt>
                <c:pt idx="9752">
                  <c:v>#N/A</c:v>
                </c:pt>
                <c:pt idx="9753">
                  <c:v>#N/A</c:v>
                </c:pt>
                <c:pt idx="9754">
                  <c:v>#N/A</c:v>
                </c:pt>
                <c:pt idx="9755">
                  <c:v>#N/A</c:v>
                </c:pt>
                <c:pt idx="9756">
                  <c:v>#N/A</c:v>
                </c:pt>
                <c:pt idx="9757">
                  <c:v>#N/A</c:v>
                </c:pt>
                <c:pt idx="9758">
                  <c:v>#N/A</c:v>
                </c:pt>
                <c:pt idx="9759">
                  <c:v>#N/A</c:v>
                </c:pt>
                <c:pt idx="9760">
                  <c:v>#N/A</c:v>
                </c:pt>
                <c:pt idx="9761">
                  <c:v>#N/A</c:v>
                </c:pt>
                <c:pt idx="9762">
                  <c:v>#N/A</c:v>
                </c:pt>
                <c:pt idx="9763">
                  <c:v>#N/A</c:v>
                </c:pt>
                <c:pt idx="9764">
                  <c:v>#N/A</c:v>
                </c:pt>
                <c:pt idx="9765">
                  <c:v>#N/A</c:v>
                </c:pt>
                <c:pt idx="9766">
                  <c:v>3.5945205479452054</c:v>
                </c:pt>
                <c:pt idx="9767">
                  <c:v>#N/A</c:v>
                </c:pt>
                <c:pt idx="9768">
                  <c:v>#N/A</c:v>
                </c:pt>
                <c:pt idx="9769">
                  <c:v>#N/A</c:v>
                </c:pt>
                <c:pt idx="9770">
                  <c:v>#N/A</c:v>
                </c:pt>
                <c:pt idx="9771">
                  <c:v>#N/A</c:v>
                </c:pt>
                <c:pt idx="9772">
                  <c:v>#N/A</c:v>
                </c:pt>
                <c:pt idx="9773">
                  <c:v>#N/A</c:v>
                </c:pt>
                <c:pt idx="9774">
                  <c:v>#N/A</c:v>
                </c:pt>
                <c:pt idx="9775">
                  <c:v>#N/A</c:v>
                </c:pt>
                <c:pt idx="9776">
                  <c:v>#N/A</c:v>
                </c:pt>
                <c:pt idx="9777">
                  <c:v>#N/A</c:v>
                </c:pt>
                <c:pt idx="9778">
                  <c:v>#N/A</c:v>
                </c:pt>
                <c:pt idx="9779">
                  <c:v>#N/A</c:v>
                </c:pt>
                <c:pt idx="9780">
                  <c:v>#N/A</c:v>
                </c:pt>
                <c:pt idx="9781">
                  <c:v>#N/A</c:v>
                </c:pt>
                <c:pt idx="9782">
                  <c:v>#N/A</c:v>
                </c:pt>
                <c:pt idx="9783">
                  <c:v>#N/A</c:v>
                </c:pt>
                <c:pt idx="9784">
                  <c:v>#N/A</c:v>
                </c:pt>
                <c:pt idx="9785">
                  <c:v>#N/A</c:v>
                </c:pt>
                <c:pt idx="9786">
                  <c:v>#N/A</c:v>
                </c:pt>
                <c:pt idx="9787">
                  <c:v>#N/A</c:v>
                </c:pt>
                <c:pt idx="9788">
                  <c:v>#N/A</c:v>
                </c:pt>
                <c:pt idx="9789">
                  <c:v>#N/A</c:v>
                </c:pt>
                <c:pt idx="9790">
                  <c:v>#N/A</c:v>
                </c:pt>
                <c:pt idx="9791">
                  <c:v>#N/A</c:v>
                </c:pt>
                <c:pt idx="9792">
                  <c:v>#N/A</c:v>
                </c:pt>
                <c:pt idx="9793">
                  <c:v>#N/A</c:v>
                </c:pt>
                <c:pt idx="9794">
                  <c:v>#N/A</c:v>
                </c:pt>
                <c:pt idx="9795">
                  <c:v>#N/A</c:v>
                </c:pt>
                <c:pt idx="9796">
                  <c:v>#N/A</c:v>
                </c:pt>
                <c:pt idx="9797">
                  <c:v>#N/A</c:v>
                </c:pt>
                <c:pt idx="9798">
                  <c:v>#N/A</c:v>
                </c:pt>
                <c:pt idx="9799">
                  <c:v>#N/A</c:v>
                </c:pt>
                <c:pt idx="9800">
                  <c:v>#N/A</c:v>
                </c:pt>
                <c:pt idx="9801">
                  <c:v>#N/A</c:v>
                </c:pt>
                <c:pt idx="9802">
                  <c:v>#N/A</c:v>
                </c:pt>
                <c:pt idx="9803">
                  <c:v>#N/A</c:v>
                </c:pt>
                <c:pt idx="9804">
                  <c:v>#N/A</c:v>
                </c:pt>
                <c:pt idx="9805">
                  <c:v>#N/A</c:v>
                </c:pt>
                <c:pt idx="9806">
                  <c:v>#N/A</c:v>
                </c:pt>
                <c:pt idx="9807">
                  <c:v>3.6027397260273974</c:v>
                </c:pt>
                <c:pt idx="9808">
                  <c:v>#N/A</c:v>
                </c:pt>
                <c:pt idx="9809">
                  <c:v>#N/A</c:v>
                </c:pt>
                <c:pt idx="9810">
                  <c:v>#N/A</c:v>
                </c:pt>
                <c:pt idx="9811">
                  <c:v>#N/A</c:v>
                </c:pt>
                <c:pt idx="9812">
                  <c:v>#N/A</c:v>
                </c:pt>
                <c:pt idx="9813">
                  <c:v>#N/A</c:v>
                </c:pt>
                <c:pt idx="9814">
                  <c:v>#N/A</c:v>
                </c:pt>
                <c:pt idx="9815">
                  <c:v>#N/A</c:v>
                </c:pt>
                <c:pt idx="9816">
                  <c:v>#N/A</c:v>
                </c:pt>
                <c:pt idx="9817">
                  <c:v>#N/A</c:v>
                </c:pt>
                <c:pt idx="9818">
                  <c:v>#N/A</c:v>
                </c:pt>
                <c:pt idx="9819">
                  <c:v>#N/A</c:v>
                </c:pt>
                <c:pt idx="9820">
                  <c:v>#N/A</c:v>
                </c:pt>
                <c:pt idx="9821">
                  <c:v>#N/A</c:v>
                </c:pt>
                <c:pt idx="9822">
                  <c:v>#N/A</c:v>
                </c:pt>
                <c:pt idx="9823">
                  <c:v>#N/A</c:v>
                </c:pt>
                <c:pt idx="9824">
                  <c:v>#N/A</c:v>
                </c:pt>
                <c:pt idx="9825">
                  <c:v>#N/A</c:v>
                </c:pt>
                <c:pt idx="9826">
                  <c:v>#N/A</c:v>
                </c:pt>
                <c:pt idx="9827">
                  <c:v>#N/A</c:v>
                </c:pt>
                <c:pt idx="9828">
                  <c:v>#N/A</c:v>
                </c:pt>
                <c:pt idx="9829">
                  <c:v>#N/A</c:v>
                </c:pt>
                <c:pt idx="9830">
                  <c:v>#N/A</c:v>
                </c:pt>
                <c:pt idx="9831">
                  <c:v>3.6465753424657534</c:v>
                </c:pt>
                <c:pt idx="9832">
                  <c:v>#N/A</c:v>
                </c:pt>
                <c:pt idx="9833">
                  <c:v>#N/A</c:v>
                </c:pt>
                <c:pt idx="9834">
                  <c:v>#N/A</c:v>
                </c:pt>
                <c:pt idx="9835">
                  <c:v>#N/A</c:v>
                </c:pt>
                <c:pt idx="9836">
                  <c:v>#N/A</c:v>
                </c:pt>
                <c:pt idx="9837">
                  <c:v>3.6465753424657534</c:v>
                </c:pt>
                <c:pt idx="9838">
                  <c:v>#N/A</c:v>
                </c:pt>
                <c:pt idx="9839">
                  <c:v>#N/A</c:v>
                </c:pt>
                <c:pt idx="9840">
                  <c:v>#N/A</c:v>
                </c:pt>
                <c:pt idx="9841">
                  <c:v>#N/A</c:v>
                </c:pt>
                <c:pt idx="9842">
                  <c:v>#N/A</c:v>
                </c:pt>
                <c:pt idx="9843">
                  <c:v>#N/A</c:v>
                </c:pt>
                <c:pt idx="9844">
                  <c:v>#N/A</c:v>
                </c:pt>
                <c:pt idx="9845">
                  <c:v>#N/A</c:v>
                </c:pt>
                <c:pt idx="9846">
                  <c:v>#N/A</c:v>
                </c:pt>
                <c:pt idx="9847">
                  <c:v>#N/A</c:v>
                </c:pt>
                <c:pt idx="9848">
                  <c:v>#N/A</c:v>
                </c:pt>
                <c:pt idx="9849">
                  <c:v>#N/A</c:v>
                </c:pt>
                <c:pt idx="9850">
                  <c:v>3.6602739726027398</c:v>
                </c:pt>
                <c:pt idx="9851">
                  <c:v>#N/A</c:v>
                </c:pt>
                <c:pt idx="9852">
                  <c:v>#N/A</c:v>
                </c:pt>
                <c:pt idx="9853">
                  <c:v>3.6657534246575341</c:v>
                </c:pt>
                <c:pt idx="9854">
                  <c:v>3.6657534246575341</c:v>
                </c:pt>
                <c:pt idx="9855">
                  <c:v>3.6657534246575341</c:v>
                </c:pt>
                <c:pt idx="9856">
                  <c:v>3.6657534246575341</c:v>
                </c:pt>
                <c:pt idx="9857">
                  <c:v>#N/A</c:v>
                </c:pt>
                <c:pt idx="9858">
                  <c:v>#N/A</c:v>
                </c:pt>
                <c:pt idx="9859">
                  <c:v>#N/A</c:v>
                </c:pt>
                <c:pt idx="9860">
                  <c:v>#N/A</c:v>
                </c:pt>
                <c:pt idx="9861">
                  <c:v>#N/A</c:v>
                </c:pt>
                <c:pt idx="9862">
                  <c:v>#N/A</c:v>
                </c:pt>
                <c:pt idx="9863">
                  <c:v>#N/A</c:v>
                </c:pt>
                <c:pt idx="9864">
                  <c:v>#N/A</c:v>
                </c:pt>
                <c:pt idx="9865">
                  <c:v>#N/A</c:v>
                </c:pt>
                <c:pt idx="9866">
                  <c:v>#N/A</c:v>
                </c:pt>
                <c:pt idx="9867">
                  <c:v>#N/A</c:v>
                </c:pt>
                <c:pt idx="9868">
                  <c:v>#N/A</c:v>
                </c:pt>
                <c:pt idx="9869">
                  <c:v>#N/A</c:v>
                </c:pt>
                <c:pt idx="9870">
                  <c:v>#N/A</c:v>
                </c:pt>
                <c:pt idx="9871">
                  <c:v>#N/A</c:v>
                </c:pt>
                <c:pt idx="9872">
                  <c:v>#N/A</c:v>
                </c:pt>
                <c:pt idx="9873">
                  <c:v>#N/A</c:v>
                </c:pt>
                <c:pt idx="9874">
                  <c:v>#N/A</c:v>
                </c:pt>
                <c:pt idx="9875">
                  <c:v>#N/A</c:v>
                </c:pt>
                <c:pt idx="9876">
                  <c:v>3.6767123287671235</c:v>
                </c:pt>
                <c:pt idx="9877">
                  <c:v>#N/A</c:v>
                </c:pt>
                <c:pt idx="9878">
                  <c:v>#N/A</c:v>
                </c:pt>
                <c:pt idx="9879">
                  <c:v>#N/A</c:v>
                </c:pt>
                <c:pt idx="9880">
                  <c:v>#N/A</c:v>
                </c:pt>
                <c:pt idx="9881">
                  <c:v>#N/A</c:v>
                </c:pt>
                <c:pt idx="9882">
                  <c:v>#N/A</c:v>
                </c:pt>
                <c:pt idx="9883">
                  <c:v>#N/A</c:v>
                </c:pt>
                <c:pt idx="9884">
                  <c:v>#N/A</c:v>
                </c:pt>
                <c:pt idx="9885">
                  <c:v>#N/A</c:v>
                </c:pt>
                <c:pt idx="9886">
                  <c:v>#N/A</c:v>
                </c:pt>
                <c:pt idx="9887">
                  <c:v>#N/A</c:v>
                </c:pt>
                <c:pt idx="9888">
                  <c:v>#N/A</c:v>
                </c:pt>
                <c:pt idx="9889">
                  <c:v>#N/A</c:v>
                </c:pt>
                <c:pt idx="9890">
                  <c:v>#N/A</c:v>
                </c:pt>
                <c:pt idx="9891">
                  <c:v>3.6794520547945204</c:v>
                </c:pt>
                <c:pt idx="9892">
                  <c:v>#N/A</c:v>
                </c:pt>
                <c:pt idx="9893">
                  <c:v>#N/A</c:v>
                </c:pt>
                <c:pt idx="9894">
                  <c:v>#N/A</c:v>
                </c:pt>
                <c:pt idx="9895">
                  <c:v>#N/A</c:v>
                </c:pt>
                <c:pt idx="9896">
                  <c:v>#N/A</c:v>
                </c:pt>
                <c:pt idx="9897">
                  <c:v>#N/A</c:v>
                </c:pt>
                <c:pt idx="9898">
                  <c:v>#N/A</c:v>
                </c:pt>
                <c:pt idx="9899">
                  <c:v>#N/A</c:v>
                </c:pt>
                <c:pt idx="9900">
                  <c:v>#N/A</c:v>
                </c:pt>
                <c:pt idx="9901">
                  <c:v>#N/A</c:v>
                </c:pt>
                <c:pt idx="9902">
                  <c:v>#N/A</c:v>
                </c:pt>
                <c:pt idx="9903">
                  <c:v>3.6821917808219178</c:v>
                </c:pt>
                <c:pt idx="9904">
                  <c:v>#N/A</c:v>
                </c:pt>
                <c:pt idx="9905">
                  <c:v>#N/A</c:v>
                </c:pt>
                <c:pt idx="9906">
                  <c:v>#N/A</c:v>
                </c:pt>
                <c:pt idx="9907">
                  <c:v>#N/A</c:v>
                </c:pt>
                <c:pt idx="9908">
                  <c:v>#N/A</c:v>
                </c:pt>
                <c:pt idx="9909">
                  <c:v>#N/A</c:v>
                </c:pt>
                <c:pt idx="9910">
                  <c:v>#N/A</c:v>
                </c:pt>
                <c:pt idx="9911">
                  <c:v>#N/A</c:v>
                </c:pt>
                <c:pt idx="9912">
                  <c:v>#N/A</c:v>
                </c:pt>
                <c:pt idx="9913">
                  <c:v>#N/A</c:v>
                </c:pt>
                <c:pt idx="9914">
                  <c:v>#N/A</c:v>
                </c:pt>
                <c:pt idx="9915">
                  <c:v>#N/A</c:v>
                </c:pt>
                <c:pt idx="9916">
                  <c:v>#N/A</c:v>
                </c:pt>
                <c:pt idx="9917">
                  <c:v>#N/A</c:v>
                </c:pt>
                <c:pt idx="9918">
                  <c:v>#N/A</c:v>
                </c:pt>
                <c:pt idx="9919">
                  <c:v>#N/A</c:v>
                </c:pt>
                <c:pt idx="9920">
                  <c:v>#N/A</c:v>
                </c:pt>
                <c:pt idx="9921">
                  <c:v>#N/A</c:v>
                </c:pt>
                <c:pt idx="9922">
                  <c:v>#N/A</c:v>
                </c:pt>
                <c:pt idx="9923">
                  <c:v>#N/A</c:v>
                </c:pt>
                <c:pt idx="9924">
                  <c:v>#N/A</c:v>
                </c:pt>
                <c:pt idx="9925">
                  <c:v>#N/A</c:v>
                </c:pt>
                <c:pt idx="9926">
                  <c:v>#N/A</c:v>
                </c:pt>
                <c:pt idx="9927">
                  <c:v>3.6958904109589041</c:v>
                </c:pt>
                <c:pt idx="9928">
                  <c:v>#N/A</c:v>
                </c:pt>
                <c:pt idx="9929">
                  <c:v>#N/A</c:v>
                </c:pt>
                <c:pt idx="9930">
                  <c:v>3.6958904109589041</c:v>
                </c:pt>
                <c:pt idx="9931">
                  <c:v>#N/A</c:v>
                </c:pt>
                <c:pt idx="9932">
                  <c:v>#N/A</c:v>
                </c:pt>
                <c:pt idx="9933">
                  <c:v>#N/A</c:v>
                </c:pt>
                <c:pt idx="9934">
                  <c:v>#N/A</c:v>
                </c:pt>
                <c:pt idx="9935">
                  <c:v>3.6958904109589041</c:v>
                </c:pt>
                <c:pt idx="9936">
                  <c:v>#N/A</c:v>
                </c:pt>
                <c:pt idx="9937">
                  <c:v>#N/A</c:v>
                </c:pt>
                <c:pt idx="9938">
                  <c:v>#N/A</c:v>
                </c:pt>
                <c:pt idx="9939">
                  <c:v>#N/A</c:v>
                </c:pt>
                <c:pt idx="9940">
                  <c:v>3.7013698630136984</c:v>
                </c:pt>
                <c:pt idx="9941">
                  <c:v>3.7013698630136984</c:v>
                </c:pt>
                <c:pt idx="9942">
                  <c:v>#N/A</c:v>
                </c:pt>
                <c:pt idx="9943">
                  <c:v>3.7013698630136984</c:v>
                </c:pt>
                <c:pt idx="9944">
                  <c:v>3.7013698630136984</c:v>
                </c:pt>
                <c:pt idx="9945">
                  <c:v>3.7013698630136984</c:v>
                </c:pt>
                <c:pt idx="9946">
                  <c:v>#N/A</c:v>
                </c:pt>
                <c:pt idx="9947">
                  <c:v>3.7013698630136984</c:v>
                </c:pt>
                <c:pt idx="9948">
                  <c:v>#N/A</c:v>
                </c:pt>
                <c:pt idx="9949">
                  <c:v>#N/A</c:v>
                </c:pt>
                <c:pt idx="9950">
                  <c:v>#N/A</c:v>
                </c:pt>
                <c:pt idx="9951">
                  <c:v>#N/A</c:v>
                </c:pt>
                <c:pt idx="9952">
                  <c:v>3.7150684931506848</c:v>
                </c:pt>
                <c:pt idx="9953">
                  <c:v>#N/A</c:v>
                </c:pt>
                <c:pt idx="9954">
                  <c:v>#N/A</c:v>
                </c:pt>
                <c:pt idx="9955">
                  <c:v>#N/A</c:v>
                </c:pt>
                <c:pt idx="9956">
                  <c:v>#N/A</c:v>
                </c:pt>
                <c:pt idx="9957">
                  <c:v>#N/A</c:v>
                </c:pt>
                <c:pt idx="9958">
                  <c:v>#N/A</c:v>
                </c:pt>
                <c:pt idx="9959">
                  <c:v>#N/A</c:v>
                </c:pt>
                <c:pt idx="9960">
                  <c:v>#N/A</c:v>
                </c:pt>
                <c:pt idx="9961">
                  <c:v>#N/A</c:v>
                </c:pt>
                <c:pt idx="9962">
                  <c:v>3.7369863013698632</c:v>
                </c:pt>
                <c:pt idx="9963">
                  <c:v>#N/A</c:v>
                </c:pt>
                <c:pt idx="9964">
                  <c:v>#N/A</c:v>
                </c:pt>
                <c:pt idx="9965">
                  <c:v>#N/A</c:v>
                </c:pt>
                <c:pt idx="9966">
                  <c:v>#N/A</c:v>
                </c:pt>
                <c:pt idx="9967">
                  <c:v>#N/A</c:v>
                </c:pt>
                <c:pt idx="9968">
                  <c:v>#N/A</c:v>
                </c:pt>
                <c:pt idx="9969">
                  <c:v>#N/A</c:v>
                </c:pt>
                <c:pt idx="9970">
                  <c:v>#N/A</c:v>
                </c:pt>
                <c:pt idx="9971">
                  <c:v>#N/A</c:v>
                </c:pt>
                <c:pt idx="9972">
                  <c:v>#N/A</c:v>
                </c:pt>
                <c:pt idx="9973">
                  <c:v>#N/A</c:v>
                </c:pt>
                <c:pt idx="9974">
                  <c:v>#N/A</c:v>
                </c:pt>
                <c:pt idx="9975">
                  <c:v>#N/A</c:v>
                </c:pt>
                <c:pt idx="9976">
                  <c:v>#N/A</c:v>
                </c:pt>
                <c:pt idx="9977">
                  <c:v>#N/A</c:v>
                </c:pt>
                <c:pt idx="9978">
                  <c:v>#N/A</c:v>
                </c:pt>
                <c:pt idx="9979">
                  <c:v>#N/A</c:v>
                </c:pt>
                <c:pt idx="9980">
                  <c:v>#N/A</c:v>
                </c:pt>
                <c:pt idx="9981">
                  <c:v>3.7808219178082192</c:v>
                </c:pt>
                <c:pt idx="9982">
                  <c:v>#N/A</c:v>
                </c:pt>
                <c:pt idx="9983">
                  <c:v>#N/A</c:v>
                </c:pt>
                <c:pt idx="9984">
                  <c:v>#N/A</c:v>
                </c:pt>
                <c:pt idx="9985">
                  <c:v>#N/A</c:v>
                </c:pt>
                <c:pt idx="9986">
                  <c:v>#N/A</c:v>
                </c:pt>
                <c:pt idx="9987">
                  <c:v>#N/A</c:v>
                </c:pt>
                <c:pt idx="9988">
                  <c:v>#N/A</c:v>
                </c:pt>
                <c:pt idx="9989">
                  <c:v>#N/A</c:v>
                </c:pt>
                <c:pt idx="9990">
                  <c:v>#N/A</c:v>
                </c:pt>
                <c:pt idx="9991">
                  <c:v>#N/A</c:v>
                </c:pt>
                <c:pt idx="9992">
                  <c:v>#N/A</c:v>
                </c:pt>
                <c:pt idx="9993">
                  <c:v>#N/A</c:v>
                </c:pt>
                <c:pt idx="9994">
                  <c:v>#N/A</c:v>
                </c:pt>
                <c:pt idx="9995">
                  <c:v>#N/A</c:v>
                </c:pt>
                <c:pt idx="9996">
                  <c:v>#N/A</c:v>
                </c:pt>
                <c:pt idx="9997">
                  <c:v>#N/A</c:v>
                </c:pt>
                <c:pt idx="9998">
                  <c:v>#N/A</c:v>
                </c:pt>
                <c:pt idx="9999">
                  <c:v>#N/A</c:v>
                </c:pt>
                <c:pt idx="10000">
                  <c:v>#N/A</c:v>
                </c:pt>
                <c:pt idx="10001">
                  <c:v>3.8</c:v>
                </c:pt>
                <c:pt idx="10002">
                  <c:v>#N/A</c:v>
                </c:pt>
                <c:pt idx="10003">
                  <c:v>#N/A</c:v>
                </c:pt>
                <c:pt idx="10004">
                  <c:v>#N/A</c:v>
                </c:pt>
                <c:pt idx="10005">
                  <c:v>#N/A</c:v>
                </c:pt>
                <c:pt idx="10006">
                  <c:v>#N/A</c:v>
                </c:pt>
                <c:pt idx="10007">
                  <c:v>#N/A</c:v>
                </c:pt>
                <c:pt idx="10008">
                  <c:v>#N/A</c:v>
                </c:pt>
                <c:pt idx="10009">
                  <c:v>#N/A</c:v>
                </c:pt>
                <c:pt idx="10010">
                  <c:v>#N/A</c:v>
                </c:pt>
                <c:pt idx="10011">
                  <c:v>3.8301369863013699</c:v>
                </c:pt>
                <c:pt idx="10012">
                  <c:v>3.8301369863013699</c:v>
                </c:pt>
                <c:pt idx="10013">
                  <c:v>#N/A</c:v>
                </c:pt>
                <c:pt idx="10014">
                  <c:v>#N/A</c:v>
                </c:pt>
                <c:pt idx="10015">
                  <c:v>#N/A</c:v>
                </c:pt>
                <c:pt idx="10016">
                  <c:v>#N/A</c:v>
                </c:pt>
                <c:pt idx="10017">
                  <c:v>#N/A</c:v>
                </c:pt>
                <c:pt idx="10018">
                  <c:v>#N/A</c:v>
                </c:pt>
                <c:pt idx="10019">
                  <c:v>#N/A</c:v>
                </c:pt>
                <c:pt idx="10020">
                  <c:v>#N/A</c:v>
                </c:pt>
                <c:pt idx="10021">
                  <c:v>#N/A</c:v>
                </c:pt>
                <c:pt idx="10022">
                  <c:v>#N/A</c:v>
                </c:pt>
                <c:pt idx="10023">
                  <c:v>#N/A</c:v>
                </c:pt>
                <c:pt idx="10024">
                  <c:v>#N/A</c:v>
                </c:pt>
                <c:pt idx="10025">
                  <c:v>#N/A</c:v>
                </c:pt>
                <c:pt idx="10026">
                  <c:v>#N/A</c:v>
                </c:pt>
                <c:pt idx="10027">
                  <c:v>#N/A</c:v>
                </c:pt>
                <c:pt idx="10028">
                  <c:v>#N/A</c:v>
                </c:pt>
                <c:pt idx="10029">
                  <c:v>#N/A</c:v>
                </c:pt>
                <c:pt idx="10030">
                  <c:v>#N/A</c:v>
                </c:pt>
                <c:pt idx="10031">
                  <c:v>#N/A</c:v>
                </c:pt>
                <c:pt idx="10032">
                  <c:v>#N/A</c:v>
                </c:pt>
                <c:pt idx="10033">
                  <c:v>#N/A</c:v>
                </c:pt>
                <c:pt idx="10034">
                  <c:v>#N/A</c:v>
                </c:pt>
                <c:pt idx="10035">
                  <c:v>#N/A</c:v>
                </c:pt>
                <c:pt idx="10036">
                  <c:v>#N/A</c:v>
                </c:pt>
                <c:pt idx="10037">
                  <c:v>#N/A</c:v>
                </c:pt>
                <c:pt idx="10038">
                  <c:v>#N/A</c:v>
                </c:pt>
                <c:pt idx="10039">
                  <c:v>#N/A</c:v>
                </c:pt>
                <c:pt idx="10040">
                  <c:v>#N/A</c:v>
                </c:pt>
                <c:pt idx="10041">
                  <c:v>#N/A</c:v>
                </c:pt>
                <c:pt idx="10042">
                  <c:v>#N/A</c:v>
                </c:pt>
                <c:pt idx="10043">
                  <c:v>#N/A</c:v>
                </c:pt>
                <c:pt idx="10044">
                  <c:v>#N/A</c:v>
                </c:pt>
                <c:pt idx="10045">
                  <c:v>#N/A</c:v>
                </c:pt>
                <c:pt idx="10046">
                  <c:v>#N/A</c:v>
                </c:pt>
                <c:pt idx="10047">
                  <c:v>#N/A</c:v>
                </c:pt>
                <c:pt idx="10048">
                  <c:v>#N/A</c:v>
                </c:pt>
                <c:pt idx="10049">
                  <c:v>#N/A</c:v>
                </c:pt>
                <c:pt idx="10050">
                  <c:v>#N/A</c:v>
                </c:pt>
                <c:pt idx="10051">
                  <c:v>#N/A</c:v>
                </c:pt>
                <c:pt idx="10052">
                  <c:v>#N/A</c:v>
                </c:pt>
                <c:pt idx="10053">
                  <c:v>#N/A</c:v>
                </c:pt>
                <c:pt idx="10054">
                  <c:v>#N/A</c:v>
                </c:pt>
                <c:pt idx="10055">
                  <c:v>#N/A</c:v>
                </c:pt>
                <c:pt idx="10056">
                  <c:v>#N/A</c:v>
                </c:pt>
                <c:pt idx="10057">
                  <c:v>#N/A</c:v>
                </c:pt>
                <c:pt idx="10058">
                  <c:v>#N/A</c:v>
                </c:pt>
                <c:pt idx="10059">
                  <c:v>#N/A</c:v>
                </c:pt>
                <c:pt idx="10060">
                  <c:v>#N/A</c:v>
                </c:pt>
                <c:pt idx="10061">
                  <c:v>#N/A</c:v>
                </c:pt>
                <c:pt idx="10062">
                  <c:v>#N/A</c:v>
                </c:pt>
                <c:pt idx="10063">
                  <c:v>#N/A</c:v>
                </c:pt>
                <c:pt idx="10064">
                  <c:v>#N/A</c:v>
                </c:pt>
                <c:pt idx="10065">
                  <c:v>#N/A</c:v>
                </c:pt>
                <c:pt idx="10066">
                  <c:v>#N/A</c:v>
                </c:pt>
                <c:pt idx="10067">
                  <c:v>#N/A</c:v>
                </c:pt>
                <c:pt idx="10068">
                  <c:v>#N/A</c:v>
                </c:pt>
                <c:pt idx="10069">
                  <c:v>#N/A</c:v>
                </c:pt>
                <c:pt idx="10070">
                  <c:v>#N/A</c:v>
                </c:pt>
                <c:pt idx="10071">
                  <c:v>#N/A</c:v>
                </c:pt>
                <c:pt idx="10072">
                  <c:v>#N/A</c:v>
                </c:pt>
                <c:pt idx="10073">
                  <c:v>#N/A</c:v>
                </c:pt>
                <c:pt idx="10074">
                  <c:v>#N/A</c:v>
                </c:pt>
                <c:pt idx="10075">
                  <c:v>#N/A</c:v>
                </c:pt>
                <c:pt idx="10076">
                  <c:v>#N/A</c:v>
                </c:pt>
                <c:pt idx="10077">
                  <c:v>#N/A</c:v>
                </c:pt>
                <c:pt idx="10078">
                  <c:v>#N/A</c:v>
                </c:pt>
                <c:pt idx="10079">
                  <c:v>#N/A</c:v>
                </c:pt>
                <c:pt idx="10080">
                  <c:v>#N/A</c:v>
                </c:pt>
                <c:pt idx="10081">
                  <c:v>#N/A</c:v>
                </c:pt>
                <c:pt idx="10082">
                  <c:v>#N/A</c:v>
                </c:pt>
                <c:pt idx="10083">
                  <c:v>#N/A</c:v>
                </c:pt>
                <c:pt idx="10084">
                  <c:v>#N/A</c:v>
                </c:pt>
                <c:pt idx="10085">
                  <c:v>#N/A</c:v>
                </c:pt>
                <c:pt idx="10086">
                  <c:v>#N/A</c:v>
                </c:pt>
                <c:pt idx="10087">
                  <c:v>#N/A</c:v>
                </c:pt>
                <c:pt idx="10088">
                  <c:v>#N/A</c:v>
                </c:pt>
                <c:pt idx="10089">
                  <c:v>#N/A</c:v>
                </c:pt>
                <c:pt idx="10090">
                  <c:v>#N/A</c:v>
                </c:pt>
                <c:pt idx="10091">
                  <c:v>#N/A</c:v>
                </c:pt>
                <c:pt idx="10092">
                  <c:v>#N/A</c:v>
                </c:pt>
                <c:pt idx="10093">
                  <c:v>#N/A</c:v>
                </c:pt>
                <c:pt idx="10094">
                  <c:v>#N/A</c:v>
                </c:pt>
                <c:pt idx="10095">
                  <c:v>#N/A</c:v>
                </c:pt>
                <c:pt idx="10096">
                  <c:v>#N/A</c:v>
                </c:pt>
                <c:pt idx="10097">
                  <c:v>#N/A</c:v>
                </c:pt>
                <c:pt idx="10098">
                  <c:v>#N/A</c:v>
                </c:pt>
                <c:pt idx="10099">
                  <c:v>#N/A</c:v>
                </c:pt>
                <c:pt idx="10100">
                  <c:v>#N/A</c:v>
                </c:pt>
                <c:pt idx="10101">
                  <c:v>#N/A</c:v>
                </c:pt>
                <c:pt idx="10102">
                  <c:v>#N/A</c:v>
                </c:pt>
                <c:pt idx="10103">
                  <c:v>#N/A</c:v>
                </c:pt>
                <c:pt idx="10104">
                  <c:v>#N/A</c:v>
                </c:pt>
                <c:pt idx="10105">
                  <c:v>#N/A</c:v>
                </c:pt>
                <c:pt idx="10106">
                  <c:v>#N/A</c:v>
                </c:pt>
                <c:pt idx="10107">
                  <c:v>#N/A</c:v>
                </c:pt>
                <c:pt idx="10108">
                  <c:v>#N/A</c:v>
                </c:pt>
                <c:pt idx="10109">
                  <c:v>#N/A</c:v>
                </c:pt>
                <c:pt idx="10110">
                  <c:v>#N/A</c:v>
                </c:pt>
                <c:pt idx="10111">
                  <c:v>#N/A</c:v>
                </c:pt>
                <c:pt idx="10112">
                  <c:v>#N/A</c:v>
                </c:pt>
                <c:pt idx="10113">
                  <c:v>#N/A</c:v>
                </c:pt>
                <c:pt idx="10114">
                  <c:v>#N/A</c:v>
                </c:pt>
                <c:pt idx="10115">
                  <c:v>#N/A</c:v>
                </c:pt>
                <c:pt idx="10116">
                  <c:v>#N/A</c:v>
                </c:pt>
                <c:pt idx="10117">
                  <c:v>#N/A</c:v>
                </c:pt>
                <c:pt idx="10118">
                  <c:v>#N/A</c:v>
                </c:pt>
                <c:pt idx="10119">
                  <c:v>#N/A</c:v>
                </c:pt>
                <c:pt idx="10120">
                  <c:v>#N/A</c:v>
                </c:pt>
                <c:pt idx="10121">
                  <c:v>#N/A</c:v>
                </c:pt>
                <c:pt idx="10122">
                  <c:v>#N/A</c:v>
                </c:pt>
                <c:pt idx="10123">
                  <c:v>#N/A</c:v>
                </c:pt>
                <c:pt idx="10124">
                  <c:v>#N/A</c:v>
                </c:pt>
                <c:pt idx="10125">
                  <c:v>#N/A</c:v>
                </c:pt>
                <c:pt idx="10126">
                  <c:v>#N/A</c:v>
                </c:pt>
                <c:pt idx="10127">
                  <c:v>#N/A</c:v>
                </c:pt>
                <c:pt idx="10128">
                  <c:v>#N/A</c:v>
                </c:pt>
                <c:pt idx="10129">
                  <c:v>#N/A</c:v>
                </c:pt>
                <c:pt idx="10130">
                  <c:v>#N/A</c:v>
                </c:pt>
                <c:pt idx="10131">
                  <c:v>#N/A</c:v>
                </c:pt>
                <c:pt idx="10132">
                  <c:v>#N/A</c:v>
                </c:pt>
                <c:pt idx="10133">
                  <c:v>#N/A</c:v>
                </c:pt>
                <c:pt idx="10134">
                  <c:v>#N/A</c:v>
                </c:pt>
                <c:pt idx="10135">
                  <c:v>#N/A</c:v>
                </c:pt>
                <c:pt idx="10136">
                  <c:v>#N/A</c:v>
                </c:pt>
                <c:pt idx="10137">
                  <c:v>#N/A</c:v>
                </c:pt>
                <c:pt idx="10138">
                  <c:v>#N/A</c:v>
                </c:pt>
                <c:pt idx="10139">
                  <c:v>#N/A</c:v>
                </c:pt>
                <c:pt idx="10140">
                  <c:v>#N/A</c:v>
                </c:pt>
                <c:pt idx="10141">
                  <c:v>#N/A</c:v>
                </c:pt>
                <c:pt idx="10142">
                  <c:v>#N/A</c:v>
                </c:pt>
                <c:pt idx="10143">
                  <c:v>#N/A</c:v>
                </c:pt>
                <c:pt idx="10144">
                  <c:v>#N/A</c:v>
                </c:pt>
                <c:pt idx="10145">
                  <c:v>#N/A</c:v>
                </c:pt>
                <c:pt idx="10146">
                  <c:v>#N/A</c:v>
                </c:pt>
                <c:pt idx="10147">
                  <c:v>#N/A</c:v>
                </c:pt>
                <c:pt idx="10148">
                  <c:v>#N/A</c:v>
                </c:pt>
                <c:pt idx="10149">
                  <c:v>#N/A</c:v>
                </c:pt>
                <c:pt idx="10150">
                  <c:v>#N/A</c:v>
                </c:pt>
                <c:pt idx="10151">
                  <c:v>#N/A</c:v>
                </c:pt>
                <c:pt idx="10152">
                  <c:v>#N/A</c:v>
                </c:pt>
                <c:pt idx="10153">
                  <c:v>#N/A</c:v>
                </c:pt>
                <c:pt idx="10154">
                  <c:v>#N/A</c:v>
                </c:pt>
                <c:pt idx="10155">
                  <c:v>#N/A</c:v>
                </c:pt>
                <c:pt idx="10156">
                  <c:v>#N/A</c:v>
                </c:pt>
                <c:pt idx="10157">
                  <c:v>#N/A</c:v>
                </c:pt>
                <c:pt idx="10158">
                  <c:v>#N/A</c:v>
                </c:pt>
                <c:pt idx="10159">
                  <c:v>#N/A</c:v>
                </c:pt>
                <c:pt idx="10160">
                  <c:v>#N/A</c:v>
                </c:pt>
                <c:pt idx="10161">
                  <c:v>#N/A</c:v>
                </c:pt>
                <c:pt idx="10162">
                  <c:v>#N/A</c:v>
                </c:pt>
                <c:pt idx="10163">
                  <c:v>#N/A</c:v>
                </c:pt>
                <c:pt idx="10164">
                  <c:v>#N/A</c:v>
                </c:pt>
                <c:pt idx="10165">
                  <c:v>#N/A</c:v>
                </c:pt>
                <c:pt idx="10166">
                  <c:v>#N/A</c:v>
                </c:pt>
                <c:pt idx="10167">
                  <c:v>#N/A</c:v>
                </c:pt>
                <c:pt idx="10168">
                  <c:v>#N/A</c:v>
                </c:pt>
                <c:pt idx="10169">
                  <c:v>#N/A</c:v>
                </c:pt>
                <c:pt idx="10170">
                  <c:v>#N/A</c:v>
                </c:pt>
                <c:pt idx="10171">
                  <c:v>#N/A</c:v>
                </c:pt>
                <c:pt idx="10172">
                  <c:v>#N/A</c:v>
                </c:pt>
                <c:pt idx="10173">
                  <c:v>#N/A</c:v>
                </c:pt>
                <c:pt idx="10174">
                  <c:v>#N/A</c:v>
                </c:pt>
                <c:pt idx="10175">
                  <c:v>#N/A</c:v>
                </c:pt>
                <c:pt idx="10176">
                  <c:v>#N/A</c:v>
                </c:pt>
                <c:pt idx="10177">
                  <c:v>#N/A</c:v>
                </c:pt>
                <c:pt idx="10178">
                  <c:v>#N/A</c:v>
                </c:pt>
                <c:pt idx="10179">
                  <c:v>#N/A</c:v>
                </c:pt>
                <c:pt idx="10180">
                  <c:v>#N/A</c:v>
                </c:pt>
                <c:pt idx="10181">
                  <c:v>#N/A</c:v>
                </c:pt>
                <c:pt idx="10182">
                  <c:v>4.0082191780821921</c:v>
                </c:pt>
                <c:pt idx="10183">
                  <c:v>#N/A</c:v>
                </c:pt>
                <c:pt idx="10184">
                  <c:v>#N/A</c:v>
                </c:pt>
                <c:pt idx="10185">
                  <c:v>#N/A</c:v>
                </c:pt>
                <c:pt idx="10186">
                  <c:v>#N/A</c:v>
                </c:pt>
                <c:pt idx="10187">
                  <c:v>4.0082191780821921</c:v>
                </c:pt>
                <c:pt idx="10188">
                  <c:v>#N/A</c:v>
                </c:pt>
                <c:pt idx="10189">
                  <c:v>#N/A</c:v>
                </c:pt>
                <c:pt idx="10190">
                  <c:v>#N/A</c:v>
                </c:pt>
                <c:pt idx="10191">
                  <c:v>#N/A</c:v>
                </c:pt>
                <c:pt idx="10192">
                  <c:v>#N/A</c:v>
                </c:pt>
                <c:pt idx="10193">
                  <c:v>#N/A</c:v>
                </c:pt>
                <c:pt idx="10194">
                  <c:v>#N/A</c:v>
                </c:pt>
                <c:pt idx="10195">
                  <c:v>#N/A</c:v>
                </c:pt>
                <c:pt idx="10196">
                  <c:v>#N/A</c:v>
                </c:pt>
                <c:pt idx="10197">
                  <c:v>#N/A</c:v>
                </c:pt>
                <c:pt idx="10198">
                  <c:v>#N/A</c:v>
                </c:pt>
                <c:pt idx="10199">
                  <c:v>#N/A</c:v>
                </c:pt>
                <c:pt idx="10200">
                  <c:v>#N/A</c:v>
                </c:pt>
                <c:pt idx="10201">
                  <c:v>#N/A</c:v>
                </c:pt>
                <c:pt idx="10202">
                  <c:v>#N/A</c:v>
                </c:pt>
                <c:pt idx="10203">
                  <c:v>#N/A</c:v>
                </c:pt>
                <c:pt idx="10204">
                  <c:v>#N/A</c:v>
                </c:pt>
                <c:pt idx="10205">
                  <c:v>4.0082191780821921</c:v>
                </c:pt>
                <c:pt idx="10206">
                  <c:v>#N/A</c:v>
                </c:pt>
                <c:pt idx="10207">
                  <c:v>#N/A</c:v>
                </c:pt>
                <c:pt idx="10208">
                  <c:v>#N/A</c:v>
                </c:pt>
                <c:pt idx="10209">
                  <c:v>#N/A</c:v>
                </c:pt>
                <c:pt idx="10210">
                  <c:v>#N/A</c:v>
                </c:pt>
                <c:pt idx="10211">
                  <c:v>#N/A</c:v>
                </c:pt>
                <c:pt idx="10212">
                  <c:v>#N/A</c:v>
                </c:pt>
                <c:pt idx="10213">
                  <c:v>4.0082191780821921</c:v>
                </c:pt>
                <c:pt idx="10214">
                  <c:v>#N/A</c:v>
                </c:pt>
                <c:pt idx="10215">
                  <c:v>#N/A</c:v>
                </c:pt>
                <c:pt idx="10216">
                  <c:v>#N/A</c:v>
                </c:pt>
                <c:pt idx="10217">
                  <c:v>#N/A</c:v>
                </c:pt>
                <c:pt idx="10218">
                  <c:v>#N/A</c:v>
                </c:pt>
                <c:pt idx="10219">
                  <c:v>#N/A</c:v>
                </c:pt>
                <c:pt idx="10220">
                  <c:v>#N/A</c:v>
                </c:pt>
                <c:pt idx="10221">
                  <c:v>#N/A</c:v>
                </c:pt>
                <c:pt idx="10222">
                  <c:v>4.0082191780821921</c:v>
                </c:pt>
                <c:pt idx="10223">
                  <c:v>#N/A</c:v>
                </c:pt>
                <c:pt idx="10224">
                  <c:v>#N/A</c:v>
                </c:pt>
                <c:pt idx="10225">
                  <c:v>#N/A</c:v>
                </c:pt>
                <c:pt idx="10226">
                  <c:v>#N/A</c:v>
                </c:pt>
                <c:pt idx="10227">
                  <c:v>#N/A</c:v>
                </c:pt>
                <c:pt idx="10228">
                  <c:v>#N/A</c:v>
                </c:pt>
                <c:pt idx="10229">
                  <c:v>#N/A</c:v>
                </c:pt>
                <c:pt idx="10230">
                  <c:v>#N/A</c:v>
                </c:pt>
                <c:pt idx="10231">
                  <c:v>#N/A</c:v>
                </c:pt>
                <c:pt idx="10232">
                  <c:v>#N/A</c:v>
                </c:pt>
                <c:pt idx="10233">
                  <c:v>#N/A</c:v>
                </c:pt>
                <c:pt idx="10234">
                  <c:v>#N/A</c:v>
                </c:pt>
                <c:pt idx="10235">
                  <c:v>#N/A</c:v>
                </c:pt>
                <c:pt idx="10236">
                  <c:v>#N/A</c:v>
                </c:pt>
                <c:pt idx="10237">
                  <c:v>#N/A</c:v>
                </c:pt>
                <c:pt idx="10238">
                  <c:v>#N/A</c:v>
                </c:pt>
                <c:pt idx="10239">
                  <c:v>#N/A</c:v>
                </c:pt>
                <c:pt idx="10240">
                  <c:v>#N/A</c:v>
                </c:pt>
                <c:pt idx="10241">
                  <c:v>#N/A</c:v>
                </c:pt>
                <c:pt idx="10242">
                  <c:v>#N/A</c:v>
                </c:pt>
                <c:pt idx="10243">
                  <c:v>#N/A</c:v>
                </c:pt>
                <c:pt idx="10244">
                  <c:v>#N/A</c:v>
                </c:pt>
                <c:pt idx="10245">
                  <c:v>#N/A</c:v>
                </c:pt>
                <c:pt idx="10246">
                  <c:v>#N/A</c:v>
                </c:pt>
                <c:pt idx="10247">
                  <c:v>#N/A</c:v>
                </c:pt>
                <c:pt idx="10248">
                  <c:v>#N/A</c:v>
                </c:pt>
                <c:pt idx="10249">
                  <c:v>#N/A</c:v>
                </c:pt>
                <c:pt idx="10250">
                  <c:v>#N/A</c:v>
                </c:pt>
                <c:pt idx="10251">
                  <c:v>#N/A</c:v>
                </c:pt>
                <c:pt idx="10252">
                  <c:v>#N/A</c:v>
                </c:pt>
                <c:pt idx="10253">
                  <c:v>#N/A</c:v>
                </c:pt>
                <c:pt idx="10254">
                  <c:v>#N/A</c:v>
                </c:pt>
                <c:pt idx="10255">
                  <c:v>#N/A</c:v>
                </c:pt>
                <c:pt idx="10256">
                  <c:v>#N/A</c:v>
                </c:pt>
                <c:pt idx="10257">
                  <c:v>#N/A</c:v>
                </c:pt>
                <c:pt idx="10258">
                  <c:v>#N/A</c:v>
                </c:pt>
                <c:pt idx="10259">
                  <c:v>#N/A</c:v>
                </c:pt>
                <c:pt idx="10260">
                  <c:v>#N/A</c:v>
                </c:pt>
                <c:pt idx="10261">
                  <c:v>4.0082191780821921</c:v>
                </c:pt>
                <c:pt idx="10262">
                  <c:v>#N/A</c:v>
                </c:pt>
                <c:pt idx="10263">
                  <c:v>#N/A</c:v>
                </c:pt>
                <c:pt idx="10264">
                  <c:v>#N/A</c:v>
                </c:pt>
                <c:pt idx="10265">
                  <c:v>#N/A</c:v>
                </c:pt>
                <c:pt idx="10266">
                  <c:v>#N/A</c:v>
                </c:pt>
                <c:pt idx="10267">
                  <c:v>#N/A</c:v>
                </c:pt>
                <c:pt idx="10268">
                  <c:v>#N/A</c:v>
                </c:pt>
                <c:pt idx="10269">
                  <c:v>#N/A</c:v>
                </c:pt>
                <c:pt idx="10270">
                  <c:v>#N/A</c:v>
                </c:pt>
                <c:pt idx="10271">
                  <c:v>#N/A</c:v>
                </c:pt>
                <c:pt idx="10272">
                  <c:v>#N/A</c:v>
                </c:pt>
                <c:pt idx="10273">
                  <c:v>#N/A</c:v>
                </c:pt>
                <c:pt idx="10274">
                  <c:v>#N/A</c:v>
                </c:pt>
                <c:pt idx="10275">
                  <c:v>#N/A</c:v>
                </c:pt>
                <c:pt idx="10276">
                  <c:v>#N/A</c:v>
                </c:pt>
                <c:pt idx="10277">
                  <c:v>#N/A</c:v>
                </c:pt>
                <c:pt idx="10278">
                  <c:v>#N/A</c:v>
                </c:pt>
                <c:pt idx="10279">
                  <c:v>#N/A</c:v>
                </c:pt>
                <c:pt idx="10280">
                  <c:v>#N/A</c:v>
                </c:pt>
                <c:pt idx="10281">
                  <c:v>#N/A</c:v>
                </c:pt>
                <c:pt idx="10282">
                  <c:v>#N/A</c:v>
                </c:pt>
                <c:pt idx="10283">
                  <c:v>#N/A</c:v>
                </c:pt>
                <c:pt idx="10284">
                  <c:v>#N/A</c:v>
                </c:pt>
                <c:pt idx="10285">
                  <c:v>#N/A</c:v>
                </c:pt>
                <c:pt idx="10286">
                  <c:v>#N/A</c:v>
                </c:pt>
                <c:pt idx="10287">
                  <c:v>#N/A</c:v>
                </c:pt>
                <c:pt idx="10288">
                  <c:v>#N/A</c:v>
                </c:pt>
                <c:pt idx="10289">
                  <c:v>#N/A</c:v>
                </c:pt>
                <c:pt idx="10290">
                  <c:v>#N/A</c:v>
                </c:pt>
                <c:pt idx="10291">
                  <c:v>#N/A</c:v>
                </c:pt>
                <c:pt idx="10292">
                  <c:v>#N/A</c:v>
                </c:pt>
                <c:pt idx="10293">
                  <c:v>#N/A</c:v>
                </c:pt>
                <c:pt idx="10294">
                  <c:v>#N/A</c:v>
                </c:pt>
                <c:pt idx="10295">
                  <c:v>#N/A</c:v>
                </c:pt>
                <c:pt idx="10296">
                  <c:v>#N/A</c:v>
                </c:pt>
                <c:pt idx="10297">
                  <c:v>#N/A</c:v>
                </c:pt>
                <c:pt idx="10298">
                  <c:v>#N/A</c:v>
                </c:pt>
                <c:pt idx="10299">
                  <c:v>#N/A</c:v>
                </c:pt>
                <c:pt idx="10300">
                  <c:v>#N/A</c:v>
                </c:pt>
                <c:pt idx="10301">
                  <c:v>#N/A</c:v>
                </c:pt>
                <c:pt idx="10302">
                  <c:v>#N/A</c:v>
                </c:pt>
                <c:pt idx="10303">
                  <c:v>#N/A</c:v>
                </c:pt>
                <c:pt idx="10304">
                  <c:v>#N/A</c:v>
                </c:pt>
                <c:pt idx="10305">
                  <c:v>#N/A</c:v>
                </c:pt>
                <c:pt idx="10306">
                  <c:v>#N/A</c:v>
                </c:pt>
                <c:pt idx="10307">
                  <c:v>#N/A</c:v>
                </c:pt>
                <c:pt idx="10308">
                  <c:v>#N/A</c:v>
                </c:pt>
                <c:pt idx="10309">
                  <c:v>#N/A</c:v>
                </c:pt>
                <c:pt idx="10310">
                  <c:v>#N/A</c:v>
                </c:pt>
                <c:pt idx="10311">
                  <c:v>#N/A</c:v>
                </c:pt>
                <c:pt idx="10312">
                  <c:v>#N/A</c:v>
                </c:pt>
                <c:pt idx="10313">
                  <c:v>#N/A</c:v>
                </c:pt>
                <c:pt idx="10314">
                  <c:v>#N/A</c:v>
                </c:pt>
                <c:pt idx="10315">
                  <c:v>#N/A</c:v>
                </c:pt>
                <c:pt idx="10316">
                  <c:v>#N/A</c:v>
                </c:pt>
                <c:pt idx="10317">
                  <c:v>#N/A</c:v>
                </c:pt>
                <c:pt idx="10318">
                  <c:v>#N/A</c:v>
                </c:pt>
                <c:pt idx="10319">
                  <c:v>#N/A</c:v>
                </c:pt>
                <c:pt idx="10320">
                  <c:v>#N/A</c:v>
                </c:pt>
                <c:pt idx="10321">
                  <c:v>#N/A</c:v>
                </c:pt>
                <c:pt idx="10322">
                  <c:v>#N/A</c:v>
                </c:pt>
                <c:pt idx="10323">
                  <c:v>#N/A</c:v>
                </c:pt>
                <c:pt idx="10324">
                  <c:v>#N/A</c:v>
                </c:pt>
                <c:pt idx="10325">
                  <c:v>#N/A</c:v>
                </c:pt>
                <c:pt idx="10326">
                  <c:v>#N/A</c:v>
                </c:pt>
                <c:pt idx="10327">
                  <c:v>#N/A</c:v>
                </c:pt>
                <c:pt idx="10328">
                  <c:v>#N/A</c:v>
                </c:pt>
                <c:pt idx="10329">
                  <c:v>#N/A</c:v>
                </c:pt>
                <c:pt idx="10330">
                  <c:v>#N/A</c:v>
                </c:pt>
                <c:pt idx="10331">
                  <c:v>#N/A</c:v>
                </c:pt>
                <c:pt idx="10332">
                  <c:v>#N/A</c:v>
                </c:pt>
                <c:pt idx="10333">
                  <c:v>#N/A</c:v>
                </c:pt>
                <c:pt idx="10334">
                  <c:v>#N/A</c:v>
                </c:pt>
                <c:pt idx="10335">
                  <c:v>#N/A</c:v>
                </c:pt>
                <c:pt idx="10336">
                  <c:v>#N/A</c:v>
                </c:pt>
                <c:pt idx="10337">
                  <c:v>#N/A</c:v>
                </c:pt>
                <c:pt idx="10338">
                  <c:v>#N/A</c:v>
                </c:pt>
                <c:pt idx="10339">
                  <c:v>#N/A</c:v>
                </c:pt>
                <c:pt idx="10340">
                  <c:v>#N/A</c:v>
                </c:pt>
                <c:pt idx="10341">
                  <c:v>#N/A</c:v>
                </c:pt>
                <c:pt idx="10342">
                  <c:v>#N/A</c:v>
                </c:pt>
                <c:pt idx="10343">
                  <c:v>#N/A</c:v>
                </c:pt>
                <c:pt idx="10344">
                  <c:v>4.021917808219178</c:v>
                </c:pt>
                <c:pt idx="10345">
                  <c:v>#N/A</c:v>
                </c:pt>
                <c:pt idx="10346">
                  <c:v>#N/A</c:v>
                </c:pt>
                <c:pt idx="10347">
                  <c:v>#N/A</c:v>
                </c:pt>
                <c:pt idx="10348">
                  <c:v>#N/A</c:v>
                </c:pt>
                <c:pt idx="10349">
                  <c:v>#N/A</c:v>
                </c:pt>
                <c:pt idx="10350">
                  <c:v>#N/A</c:v>
                </c:pt>
                <c:pt idx="10351">
                  <c:v>#N/A</c:v>
                </c:pt>
                <c:pt idx="10352">
                  <c:v>#N/A</c:v>
                </c:pt>
                <c:pt idx="10353">
                  <c:v>#N/A</c:v>
                </c:pt>
                <c:pt idx="10354">
                  <c:v>#N/A</c:v>
                </c:pt>
                <c:pt idx="10355">
                  <c:v>#N/A</c:v>
                </c:pt>
                <c:pt idx="10356">
                  <c:v>#N/A</c:v>
                </c:pt>
                <c:pt idx="10357">
                  <c:v>#N/A</c:v>
                </c:pt>
                <c:pt idx="10358">
                  <c:v>#N/A</c:v>
                </c:pt>
                <c:pt idx="10359">
                  <c:v>#N/A</c:v>
                </c:pt>
                <c:pt idx="10360">
                  <c:v>#N/A</c:v>
                </c:pt>
                <c:pt idx="10361">
                  <c:v>#N/A</c:v>
                </c:pt>
                <c:pt idx="10362">
                  <c:v>4.0301369863013701</c:v>
                </c:pt>
                <c:pt idx="10363">
                  <c:v>#N/A</c:v>
                </c:pt>
                <c:pt idx="10364">
                  <c:v>#N/A</c:v>
                </c:pt>
                <c:pt idx="10365">
                  <c:v>#N/A</c:v>
                </c:pt>
                <c:pt idx="10366">
                  <c:v>4.0301369863013701</c:v>
                </c:pt>
                <c:pt idx="10367">
                  <c:v>#N/A</c:v>
                </c:pt>
                <c:pt idx="10368">
                  <c:v>#N/A</c:v>
                </c:pt>
                <c:pt idx="10369">
                  <c:v>#N/A</c:v>
                </c:pt>
                <c:pt idx="10370">
                  <c:v>#N/A</c:v>
                </c:pt>
                <c:pt idx="10371">
                  <c:v>#N/A</c:v>
                </c:pt>
                <c:pt idx="10372">
                  <c:v>#N/A</c:v>
                </c:pt>
                <c:pt idx="10373">
                  <c:v>#N/A</c:v>
                </c:pt>
                <c:pt idx="10374">
                  <c:v>#N/A</c:v>
                </c:pt>
                <c:pt idx="10375">
                  <c:v>#N/A</c:v>
                </c:pt>
                <c:pt idx="10376">
                  <c:v>#N/A</c:v>
                </c:pt>
                <c:pt idx="10377">
                  <c:v>#N/A</c:v>
                </c:pt>
                <c:pt idx="10378">
                  <c:v>#N/A</c:v>
                </c:pt>
                <c:pt idx="10379">
                  <c:v>#N/A</c:v>
                </c:pt>
                <c:pt idx="10380">
                  <c:v>#N/A</c:v>
                </c:pt>
                <c:pt idx="10381">
                  <c:v>#N/A</c:v>
                </c:pt>
                <c:pt idx="10382">
                  <c:v>#N/A</c:v>
                </c:pt>
                <c:pt idx="10383">
                  <c:v>#N/A</c:v>
                </c:pt>
                <c:pt idx="10384">
                  <c:v>#N/A</c:v>
                </c:pt>
                <c:pt idx="10385">
                  <c:v>#N/A</c:v>
                </c:pt>
                <c:pt idx="10386">
                  <c:v>#N/A</c:v>
                </c:pt>
                <c:pt idx="10387">
                  <c:v>#N/A</c:v>
                </c:pt>
                <c:pt idx="10388">
                  <c:v>#N/A</c:v>
                </c:pt>
                <c:pt idx="10389">
                  <c:v>#N/A</c:v>
                </c:pt>
                <c:pt idx="10390">
                  <c:v>#N/A</c:v>
                </c:pt>
                <c:pt idx="10391">
                  <c:v>#N/A</c:v>
                </c:pt>
                <c:pt idx="10392">
                  <c:v>#N/A</c:v>
                </c:pt>
                <c:pt idx="10393">
                  <c:v>#N/A</c:v>
                </c:pt>
                <c:pt idx="10394">
                  <c:v>#N/A</c:v>
                </c:pt>
                <c:pt idx="10395">
                  <c:v>#N/A</c:v>
                </c:pt>
                <c:pt idx="10396">
                  <c:v>#N/A</c:v>
                </c:pt>
                <c:pt idx="10397">
                  <c:v>#N/A</c:v>
                </c:pt>
                <c:pt idx="10398">
                  <c:v>#N/A</c:v>
                </c:pt>
                <c:pt idx="10399">
                  <c:v>#N/A</c:v>
                </c:pt>
                <c:pt idx="10400">
                  <c:v>#N/A</c:v>
                </c:pt>
                <c:pt idx="10401">
                  <c:v>#N/A</c:v>
                </c:pt>
                <c:pt idx="10402">
                  <c:v>#N/A</c:v>
                </c:pt>
                <c:pt idx="10403">
                  <c:v>#N/A</c:v>
                </c:pt>
                <c:pt idx="10404">
                  <c:v>#N/A</c:v>
                </c:pt>
                <c:pt idx="10405">
                  <c:v>#N/A</c:v>
                </c:pt>
                <c:pt idx="10406">
                  <c:v>#N/A</c:v>
                </c:pt>
                <c:pt idx="10407">
                  <c:v>#N/A</c:v>
                </c:pt>
                <c:pt idx="10408">
                  <c:v>#N/A</c:v>
                </c:pt>
                <c:pt idx="10409">
                  <c:v>#N/A</c:v>
                </c:pt>
                <c:pt idx="10410">
                  <c:v>#N/A</c:v>
                </c:pt>
                <c:pt idx="10411">
                  <c:v>#N/A</c:v>
                </c:pt>
                <c:pt idx="10412">
                  <c:v>#N/A</c:v>
                </c:pt>
                <c:pt idx="10413">
                  <c:v>#N/A</c:v>
                </c:pt>
                <c:pt idx="10414">
                  <c:v>4.065753424657534</c:v>
                </c:pt>
                <c:pt idx="10415">
                  <c:v>#N/A</c:v>
                </c:pt>
                <c:pt idx="10416">
                  <c:v>#N/A</c:v>
                </c:pt>
                <c:pt idx="10417">
                  <c:v>#N/A</c:v>
                </c:pt>
                <c:pt idx="10418">
                  <c:v>#N/A</c:v>
                </c:pt>
                <c:pt idx="10419">
                  <c:v>4.0794520547945208</c:v>
                </c:pt>
                <c:pt idx="10420">
                  <c:v>#N/A</c:v>
                </c:pt>
                <c:pt idx="10421">
                  <c:v>#N/A</c:v>
                </c:pt>
                <c:pt idx="10422">
                  <c:v>#N/A</c:v>
                </c:pt>
                <c:pt idx="10423">
                  <c:v>#N/A</c:v>
                </c:pt>
                <c:pt idx="10424">
                  <c:v>#N/A</c:v>
                </c:pt>
                <c:pt idx="10425">
                  <c:v>#N/A</c:v>
                </c:pt>
                <c:pt idx="10426">
                  <c:v>#N/A</c:v>
                </c:pt>
                <c:pt idx="10427">
                  <c:v>#N/A</c:v>
                </c:pt>
                <c:pt idx="10428">
                  <c:v>#N/A</c:v>
                </c:pt>
                <c:pt idx="10429">
                  <c:v>#N/A</c:v>
                </c:pt>
                <c:pt idx="10430">
                  <c:v>#N/A</c:v>
                </c:pt>
                <c:pt idx="10431">
                  <c:v>#N/A</c:v>
                </c:pt>
                <c:pt idx="10432">
                  <c:v>#N/A</c:v>
                </c:pt>
                <c:pt idx="10433">
                  <c:v>#N/A</c:v>
                </c:pt>
                <c:pt idx="10434">
                  <c:v>#N/A</c:v>
                </c:pt>
                <c:pt idx="10435">
                  <c:v>#N/A</c:v>
                </c:pt>
                <c:pt idx="10436">
                  <c:v>#N/A</c:v>
                </c:pt>
                <c:pt idx="10437">
                  <c:v>#N/A</c:v>
                </c:pt>
                <c:pt idx="10438">
                  <c:v>#N/A</c:v>
                </c:pt>
                <c:pt idx="10439">
                  <c:v>#N/A</c:v>
                </c:pt>
                <c:pt idx="10440">
                  <c:v>#N/A</c:v>
                </c:pt>
                <c:pt idx="10441">
                  <c:v>4.1041095890410961</c:v>
                </c:pt>
                <c:pt idx="10442">
                  <c:v>#N/A</c:v>
                </c:pt>
                <c:pt idx="10443">
                  <c:v>#N/A</c:v>
                </c:pt>
                <c:pt idx="10444">
                  <c:v>#N/A</c:v>
                </c:pt>
                <c:pt idx="10445">
                  <c:v>#N/A</c:v>
                </c:pt>
                <c:pt idx="10446">
                  <c:v>#N/A</c:v>
                </c:pt>
                <c:pt idx="10447">
                  <c:v>#N/A</c:v>
                </c:pt>
                <c:pt idx="10448">
                  <c:v>#N/A</c:v>
                </c:pt>
                <c:pt idx="10449">
                  <c:v>#N/A</c:v>
                </c:pt>
                <c:pt idx="10450">
                  <c:v>#N/A</c:v>
                </c:pt>
                <c:pt idx="10451">
                  <c:v>#N/A</c:v>
                </c:pt>
                <c:pt idx="10452">
                  <c:v>#N/A</c:v>
                </c:pt>
                <c:pt idx="10453">
                  <c:v>#N/A</c:v>
                </c:pt>
                <c:pt idx="10454">
                  <c:v>#N/A</c:v>
                </c:pt>
                <c:pt idx="10455">
                  <c:v>#N/A</c:v>
                </c:pt>
                <c:pt idx="10456">
                  <c:v>#N/A</c:v>
                </c:pt>
                <c:pt idx="10457">
                  <c:v>#N/A</c:v>
                </c:pt>
                <c:pt idx="10458">
                  <c:v>#N/A</c:v>
                </c:pt>
                <c:pt idx="10459">
                  <c:v>#N/A</c:v>
                </c:pt>
                <c:pt idx="10460">
                  <c:v>#N/A</c:v>
                </c:pt>
                <c:pt idx="10461">
                  <c:v>#N/A</c:v>
                </c:pt>
                <c:pt idx="10462">
                  <c:v>#N/A</c:v>
                </c:pt>
                <c:pt idx="10463">
                  <c:v>#N/A</c:v>
                </c:pt>
                <c:pt idx="10464">
                  <c:v>#N/A</c:v>
                </c:pt>
                <c:pt idx="10465">
                  <c:v>#N/A</c:v>
                </c:pt>
                <c:pt idx="10466">
                  <c:v>4.13972602739726</c:v>
                </c:pt>
                <c:pt idx="10467">
                  <c:v>#N/A</c:v>
                </c:pt>
                <c:pt idx="10468">
                  <c:v>#N/A</c:v>
                </c:pt>
                <c:pt idx="10469">
                  <c:v>#N/A</c:v>
                </c:pt>
                <c:pt idx="10470">
                  <c:v>#N/A</c:v>
                </c:pt>
                <c:pt idx="10471">
                  <c:v>#N/A</c:v>
                </c:pt>
                <c:pt idx="10472">
                  <c:v>#N/A</c:v>
                </c:pt>
                <c:pt idx="10473">
                  <c:v>#N/A</c:v>
                </c:pt>
                <c:pt idx="10474">
                  <c:v>#N/A</c:v>
                </c:pt>
                <c:pt idx="10475">
                  <c:v>#N/A</c:v>
                </c:pt>
                <c:pt idx="10476">
                  <c:v>#N/A</c:v>
                </c:pt>
                <c:pt idx="10477">
                  <c:v>#N/A</c:v>
                </c:pt>
                <c:pt idx="10478">
                  <c:v>#N/A</c:v>
                </c:pt>
                <c:pt idx="10479">
                  <c:v>#N/A</c:v>
                </c:pt>
                <c:pt idx="10480">
                  <c:v>#N/A</c:v>
                </c:pt>
                <c:pt idx="10481">
                  <c:v>#N/A</c:v>
                </c:pt>
                <c:pt idx="10482">
                  <c:v>#N/A</c:v>
                </c:pt>
                <c:pt idx="10483">
                  <c:v>#N/A</c:v>
                </c:pt>
                <c:pt idx="10484">
                  <c:v>#N/A</c:v>
                </c:pt>
                <c:pt idx="10485">
                  <c:v>#N/A</c:v>
                </c:pt>
                <c:pt idx="10486">
                  <c:v>#N/A</c:v>
                </c:pt>
                <c:pt idx="10487">
                  <c:v>#N/A</c:v>
                </c:pt>
                <c:pt idx="10488">
                  <c:v>#N/A</c:v>
                </c:pt>
                <c:pt idx="10489">
                  <c:v>#N/A</c:v>
                </c:pt>
                <c:pt idx="10490">
                  <c:v>#N/A</c:v>
                </c:pt>
                <c:pt idx="10491">
                  <c:v>#N/A</c:v>
                </c:pt>
                <c:pt idx="10492">
                  <c:v>4.1753424657534248</c:v>
                </c:pt>
                <c:pt idx="10493">
                  <c:v>#N/A</c:v>
                </c:pt>
                <c:pt idx="10494">
                  <c:v>#N/A</c:v>
                </c:pt>
                <c:pt idx="10495">
                  <c:v>4.1753424657534248</c:v>
                </c:pt>
                <c:pt idx="10496">
                  <c:v>#N/A</c:v>
                </c:pt>
                <c:pt idx="10497">
                  <c:v>#N/A</c:v>
                </c:pt>
                <c:pt idx="10498">
                  <c:v>#N/A</c:v>
                </c:pt>
                <c:pt idx="10499">
                  <c:v>#N/A</c:v>
                </c:pt>
                <c:pt idx="10500">
                  <c:v>#N/A</c:v>
                </c:pt>
                <c:pt idx="10501">
                  <c:v>#N/A</c:v>
                </c:pt>
                <c:pt idx="10502">
                  <c:v>#N/A</c:v>
                </c:pt>
                <c:pt idx="10503">
                  <c:v>#N/A</c:v>
                </c:pt>
                <c:pt idx="10504">
                  <c:v>#N/A</c:v>
                </c:pt>
                <c:pt idx="10505">
                  <c:v>#N/A</c:v>
                </c:pt>
                <c:pt idx="10506">
                  <c:v>#N/A</c:v>
                </c:pt>
                <c:pt idx="10507">
                  <c:v>#N/A</c:v>
                </c:pt>
                <c:pt idx="10508">
                  <c:v>#N/A</c:v>
                </c:pt>
                <c:pt idx="10509">
                  <c:v>#N/A</c:v>
                </c:pt>
                <c:pt idx="10510">
                  <c:v>#N/A</c:v>
                </c:pt>
                <c:pt idx="10511">
                  <c:v>#N/A</c:v>
                </c:pt>
                <c:pt idx="10512">
                  <c:v>#N/A</c:v>
                </c:pt>
                <c:pt idx="10513">
                  <c:v>#N/A</c:v>
                </c:pt>
                <c:pt idx="10514">
                  <c:v>#N/A</c:v>
                </c:pt>
                <c:pt idx="10515">
                  <c:v>#N/A</c:v>
                </c:pt>
                <c:pt idx="10516">
                  <c:v>#N/A</c:v>
                </c:pt>
                <c:pt idx="10517">
                  <c:v>#N/A</c:v>
                </c:pt>
                <c:pt idx="10518">
                  <c:v>#N/A</c:v>
                </c:pt>
                <c:pt idx="10519">
                  <c:v>#N/A</c:v>
                </c:pt>
                <c:pt idx="10520">
                  <c:v>#N/A</c:v>
                </c:pt>
                <c:pt idx="10521">
                  <c:v>4.1945205479452055</c:v>
                </c:pt>
                <c:pt idx="10522">
                  <c:v>#N/A</c:v>
                </c:pt>
                <c:pt idx="10523">
                  <c:v>4.1945205479452055</c:v>
                </c:pt>
                <c:pt idx="10524">
                  <c:v>#N/A</c:v>
                </c:pt>
                <c:pt idx="10525">
                  <c:v>#N/A</c:v>
                </c:pt>
                <c:pt idx="10526">
                  <c:v>#N/A</c:v>
                </c:pt>
                <c:pt idx="10527">
                  <c:v>#N/A</c:v>
                </c:pt>
                <c:pt idx="10528">
                  <c:v>#N/A</c:v>
                </c:pt>
                <c:pt idx="10529">
                  <c:v>#N/A</c:v>
                </c:pt>
                <c:pt idx="10530">
                  <c:v>#N/A</c:v>
                </c:pt>
                <c:pt idx="10531">
                  <c:v>#N/A</c:v>
                </c:pt>
                <c:pt idx="10532">
                  <c:v>#N/A</c:v>
                </c:pt>
                <c:pt idx="10533">
                  <c:v>#N/A</c:v>
                </c:pt>
                <c:pt idx="10534">
                  <c:v>#N/A</c:v>
                </c:pt>
                <c:pt idx="10535">
                  <c:v>#N/A</c:v>
                </c:pt>
                <c:pt idx="10536">
                  <c:v>#N/A</c:v>
                </c:pt>
                <c:pt idx="10537">
                  <c:v>#N/A</c:v>
                </c:pt>
                <c:pt idx="10538">
                  <c:v>#N/A</c:v>
                </c:pt>
                <c:pt idx="10539">
                  <c:v>#N/A</c:v>
                </c:pt>
                <c:pt idx="10540">
                  <c:v>#N/A</c:v>
                </c:pt>
                <c:pt idx="10541">
                  <c:v>4.2136986301369861</c:v>
                </c:pt>
                <c:pt idx="10542">
                  <c:v>#N/A</c:v>
                </c:pt>
                <c:pt idx="10543">
                  <c:v>#N/A</c:v>
                </c:pt>
                <c:pt idx="10544">
                  <c:v>#N/A</c:v>
                </c:pt>
                <c:pt idx="10545">
                  <c:v>#N/A</c:v>
                </c:pt>
                <c:pt idx="10546">
                  <c:v>#N/A</c:v>
                </c:pt>
                <c:pt idx="10547">
                  <c:v>#N/A</c:v>
                </c:pt>
                <c:pt idx="10548">
                  <c:v>#N/A</c:v>
                </c:pt>
                <c:pt idx="10549">
                  <c:v>#N/A</c:v>
                </c:pt>
                <c:pt idx="10550">
                  <c:v>#N/A</c:v>
                </c:pt>
                <c:pt idx="10551">
                  <c:v>#N/A</c:v>
                </c:pt>
                <c:pt idx="10552">
                  <c:v>#N/A</c:v>
                </c:pt>
                <c:pt idx="10553">
                  <c:v>#N/A</c:v>
                </c:pt>
                <c:pt idx="10554">
                  <c:v>#N/A</c:v>
                </c:pt>
                <c:pt idx="10555">
                  <c:v>#N/A</c:v>
                </c:pt>
                <c:pt idx="10556">
                  <c:v>#N/A</c:v>
                </c:pt>
                <c:pt idx="10557">
                  <c:v>#N/A</c:v>
                </c:pt>
                <c:pt idx="10558">
                  <c:v>4.2547945205479456</c:v>
                </c:pt>
                <c:pt idx="10559">
                  <c:v>#N/A</c:v>
                </c:pt>
                <c:pt idx="10560">
                  <c:v>#N/A</c:v>
                </c:pt>
                <c:pt idx="10561">
                  <c:v>#N/A</c:v>
                </c:pt>
                <c:pt idx="10562">
                  <c:v>#N/A</c:v>
                </c:pt>
                <c:pt idx="10563">
                  <c:v>#N/A</c:v>
                </c:pt>
                <c:pt idx="10564">
                  <c:v>#N/A</c:v>
                </c:pt>
                <c:pt idx="10565">
                  <c:v>#N/A</c:v>
                </c:pt>
                <c:pt idx="10566">
                  <c:v>#N/A</c:v>
                </c:pt>
                <c:pt idx="10567">
                  <c:v>#N/A</c:v>
                </c:pt>
                <c:pt idx="10568">
                  <c:v>#N/A</c:v>
                </c:pt>
                <c:pt idx="10569">
                  <c:v>#N/A</c:v>
                </c:pt>
                <c:pt idx="10570">
                  <c:v>#N/A</c:v>
                </c:pt>
                <c:pt idx="10571">
                  <c:v>4.2739726027397262</c:v>
                </c:pt>
                <c:pt idx="10572">
                  <c:v>#N/A</c:v>
                </c:pt>
                <c:pt idx="10573">
                  <c:v>#N/A</c:v>
                </c:pt>
                <c:pt idx="10574">
                  <c:v>#N/A</c:v>
                </c:pt>
                <c:pt idx="10575">
                  <c:v>#N/A</c:v>
                </c:pt>
                <c:pt idx="10576">
                  <c:v>#N/A</c:v>
                </c:pt>
                <c:pt idx="10577">
                  <c:v>#N/A</c:v>
                </c:pt>
                <c:pt idx="10578">
                  <c:v>#N/A</c:v>
                </c:pt>
                <c:pt idx="10579">
                  <c:v>4.2739726027397262</c:v>
                </c:pt>
                <c:pt idx="10580">
                  <c:v>#N/A</c:v>
                </c:pt>
                <c:pt idx="10581">
                  <c:v>4.2739726027397262</c:v>
                </c:pt>
                <c:pt idx="10582">
                  <c:v>4.2739726027397262</c:v>
                </c:pt>
                <c:pt idx="10583">
                  <c:v>#N/A</c:v>
                </c:pt>
                <c:pt idx="10584">
                  <c:v>4.2739726027397262</c:v>
                </c:pt>
                <c:pt idx="10585">
                  <c:v>#N/A</c:v>
                </c:pt>
                <c:pt idx="10586">
                  <c:v>#N/A</c:v>
                </c:pt>
                <c:pt idx="10587">
                  <c:v>4.2767123287671236</c:v>
                </c:pt>
                <c:pt idx="10588">
                  <c:v>#N/A</c:v>
                </c:pt>
                <c:pt idx="10589">
                  <c:v>#N/A</c:v>
                </c:pt>
                <c:pt idx="10590">
                  <c:v>#N/A</c:v>
                </c:pt>
                <c:pt idx="10591">
                  <c:v>#N/A</c:v>
                </c:pt>
                <c:pt idx="10592">
                  <c:v>#N/A</c:v>
                </c:pt>
                <c:pt idx="10593">
                  <c:v>#N/A</c:v>
                </c:pt>
                <c:pt idx="10594">
                  <c:v>#N/A</c:v>
                </c:pt>
                <c:pt idx="10595">
                  <c:v>#N/A</c:v>
                </c:pt>
                <c:pt idx="10596">
                  <c:v>#N/A</c:v>
                </c:pt>
                <c:pt idx="10597">
                  <c:v>#N/A</c:v>
                </c:pt>
                <c:pt idx="10598">
                  <c:v>#N/A</c:v>
                </c:pt>
                <c:pt idx="10599">
                  <c:v>#N/A</c:v>
                </c:pt>
                <c:pt idx="10600">
                  <c:v>4.2767123287671236</c:v>
                </c:pt>
                <c:pt idx="10601">
                  <c:v>#N/A</c:v>
                </c:pt>
                <c:pt idx="10602">
                  <c:v>#N/A</c:v>
                </c:pt>
                <c:pt idx="10603">
                  <c:v>#N/A</c:v>
                </c:pt>
                <c:pt idx="10604">
                  <c:v>#N/A</c:v>
                </c:pt>
                <c:pt idx="10605">
                  <c:v>#N/A</c:v>
                </c:pt>
                <c:pt idx="10606">
                  <c:v>#N/A</c:v>
                </c:pt>
                <c:pt idx="10607">
                  <c:v>#N/A</c:v>
                </c:pt>
                <c:pt idx="10608">
                  <c:v>#N/A</c:v>
                </c:pt>
                <c:pt idx="10609">
                  <c:v>#N/A</c:v>
                </c:pt>
                <c:pt idx="10610">
                  <c:v>#N/A</c:v>
                </c:pt>
                <c:pt idx="10611">
                  <c:v>#N/A</c:v>
                </c:pt>
                <c:pt idx="10612">
                  <c:v>#N/A</c:v>
                </c:pt>
                <c:pt idx="10613">
                  <c:v>#N/A</c:v>
                </c:pt>
                <c:pt idx="10614">
                  <c:v>#N/A</c:v>
                </c:pt>
                <c:pt idx="10615">
                  <c:v>#N/A</c:v>
                </c:pt>
                <c:pt idx="10616">
                  <c:v>4.279452054794521</c:v>
                </c:pt>
                <c:pt idx="10617">
                  <c:v>#N/A</c:v>
                </c:pt>
                <c:pt idx="10618">
                  <c:v>#N/A</c:v>
                </c:pt>
                <c:pt idx="10619">
                  <c:v>#N/A</c:v>
                </c:pt>
                <c:pt idx="10620">
                  <c:v>#N/A</c:v>
                </c:pt>
                <c:pt idx="10621">
                  <c:v>#N/A</c:v>
                </c:pt>
                <c:pt idx="10622">
                  <c:v>#N/A</c:v>
                </c:pt>
                <c:pt idx="10623">
                  <c:v>#N/A</c:v>
                </c:pt>
                <c:pt idx="10624">
                  <c:v>#N/A</c:v>
                </c:pt>
                <c:pt idx="10625">
                  <c:v>#N/A</c:v>
                </c:pt>
                <c:pt idx="10626">
                  <c:v>#N/A</c:v>
                </c:pt>
                <c:pt idx="10627">
                  <c:v>#N/A</c:v>
                </c:pt>
                <c:pt idx="10628">
                  <c:v>#N/A</c:v>
                </c:pt>
                <c:pt idx="10629">
                  <c:v>#N/A</c:v>
                </c:pt>
                <c:pt idx="10630">
                  <c:v>#N/A</c:v>
                </c:pt>
                <c:pt idx="10631">
                  <c:v>#N/A</c:v>
                </c:pt>
                <c:pt idx="10632">
                  <c:v>#N/A</c:v>
                </c:pt>
                <c:pt idx="10633">
                  <c:v>4.279452054794521</c:v>
                </c:pt>
                <c:pt idx="10634">
                  <c:v>#N/A</c:v>
                </c:pt>
                <c:pt idx="10635">
                  <c:v>#N/A</c:v>
                </c:pt>
                <c:pt idx="10636">
                  <c:v>#N/A</c:v>
                </c:pt>
                <c:pt idx="10637">
                  <c:v>#N/A</c:v>
                </c:pt>
                <c:pt idx="10638">
                  <c:v>#N/A</c:v>
                </c:pt>
                <c:pt idx="10639">
                  <c:v>#N/A</c:v>
                </c:pt>
                <c:pt idx="10640">
                  <c:v>4.2821917808219174</c:v>
                </c:pt>
                <c:pt idx="10641">
                  <c:v>#N/A</c:v>
                </c:pt>
                <c:pt idx="10642">
                  <c:v>#N/A</c:v>
                </c:pt>
                <c:pt idx="10643">
                  <c:v>#N/A</c:v>
                </c:pt>
                <c:pt idx="10644">
                  <c:v>#N/A</c:v>
                </c:pt>
                <c:pt idx="10645">
                  <c:v>#N/A</c:v>
                </c:pt>
                <c:pt idx="10646">
                  <c:v>#N/A</c:v>
                </c:pt>
                <c:pt idx="10647">
                  <c:v>#N/A</c:v>
                </c:pt>
                <c:pt idx="10648">
                  <c:v>#N/A</c:v>
                </c:pt>
                <c:pt idx="10649">
                  <c:v>#N/A</c:v>
                </c:pt>
                <c:pt idx="10650">
                  <c:v>#N/A</c:v>
                </c:pt>
                <c:pt idx="10651">
                  <c:v>#N/A</c:v>
                </c:pt>
                <c:pt idx="10652">
                  <c:v>#N/A</c:v>
                </c:pt>
                <c:pt idx="10653">
                  <c:v>#N/A</c:v>
                </c:pt>
                <c:pt idx="10654">
                  <c:v>#N/A</c:v>
                </c:pt>
                <c:pt idx="10655">
                  <c:v>4.2821917808219174</c:v>
                </c:pt>
                <c:pt idx="10656">
                  <c:v>#N/A</c:v>
                </c:pt>
                <c:pt idx="10657">
                  <c:v>#N/A</c:v>
                </c:pt>
                <c:pt idx="10658">
                  <c:v>#N/A</c:v>
                </c:pt>
                <c:pt idx="10659">
                  <c:v>#N/A</c:v>
                </c:pt>
                <c:pt idx="10660">
                  <c:v>#N/A</c:v>
                </c:pt>
                <c:pt idx="10661">
                  <c:v>#N/A</c:v>
                </c:pt>
                <c:pt idx="10662">
                  <c:v>#N/A</c:v>
                </c:pt>
                <c:pt idx="10663">
                  <c:v>#N/A</c:v>
                </c:pt>
                <c:pt idx="10664">
                  <c:v>#N/A</c:v>
                </c:pt>
                <c:pt idx="10665">
                  <c:v>4.2904109589041095</c:v>
                </c:pt>
                <c:pt idx="10666">
                  <c:v>4.2904109589041095</c:v>
                </c:pt>
                <c:pt idx="10667">
                  <c:v>#N/A</c:v>
                </c:pt>
                <c:pt idx="10668">
                  <c:v>#N/A</c:v>
                </c:pt>
                <c:pt idx="10669">
                  <c:v>#N/A</c:v>
                </c:pt>
                <c:pt idx="10670">
                  <c:v>#N/A</c:v>
                </c:pt>
                <c:pt idx="10671">
                  <c:v>#N/A</c:v>
                </c:pt>
                <c:pt idx="10672">
                  <c:v>#N/A</c:v>
                </c:pt>
                <c:pt idx="10673">
                  <c:v>#N/A</c:v>
                </c:pt>
                <c:pt idx="10674">
                  <c:v>#N/A</c:v>
                </c:pt>
                <c:pt idx="10675">
                  <c:v>#N/A</c:v>
                </c:pt>
                <c:pt idx="10676">
                  <c:v>#N/A</c:v>
                </c:pt>
                <c:pt idx="10677">
                  <c:v>#N/A</c:v>
                </c:pt>
                <c:pt idx="10678">
                  <c:v>#N/A</c:v>
                </c:pt>
                <c:pt idx="10679">
                  <c:v>#N/A</c:v>
                </c:pt>
                <c:pt idx="10680">
                  <c:v>#N/A</c:v>
                </c:pt>
                <c:pt idx="10681">
                  <c:v>#N/A</c:v>
                </c:pt>
                <c:pt idx="10682">
                  <c:v>#N/A</c:v>
                </c:pt>
                <c:pt idx="10683">
                  <c:v>#N/A</c:v>
                </c:pt>
                <c:pt idx="10684">
                  <c:v>#N/A</c:v>
                </c:pt>
                <c:pt idx="10685">
                  <c:v>#N/A</c:v>
                </c:pt>
                <c:pt idx="10686">
                  <c:v>#N/A</c:v>
                </c:pt>
                <c:pt idx="10687">
                  <c:v>#N/A</c:v>
                </c:pt>
                <c:pt idx="10688">
                  <c:v>#N/A</c:v>
                </c:pt>
                <c:pt idx="10689">
                  <c:v>#N/A</c:v>
                </c:pt>
                <c:pt idx="10690">
                  <c:v>#N/A</c:v>
                </c:pt>
                <c:pt idx="10691">
                  <c:v>#N/A</c:v>
                </c:pt>
                <c:pt idx="10692">
                  <c:v>#N/A</c:v>
                </c:pt>
                <c:pt idx="10693">
                  <c:v>#N/A</c:v>
                </c:pt>
                <c:pt idx="10694">
                  <c:v>#N/A</c:v>
                </c:pt>
                <c:pt idx="10695">
                  <c:v>#N/A</c:v>
                </c:pt>
                <c:pt idx="10696">
                  <c:v>#N/A</c:v>
                </c:pt>
                <c:pt idx="10697">
                  <c:v>#N/A</c:v>
                </c:pt>
                <c:pt idx="10698">
                  <c:v>#N/A</c:v>
                </c:pt>
                <c:pt idx="10699">
                  <c:v>#N/A</c:v>
                </c:pt>
                <c:pt idx="10700">
                  <c:v>#N/A</c:v>
                </c:pt>
                <c:pt idx="10701">
                  <c:v>#N/A</c:v>
                </c:pt>
                <c:pt idx="10702">
                  <c:v>#N/A</c:v>
                </c:pt>
                <c:pt idx="10703">
                  <c:v>#N/A</c:v>
                </c:pt>
                <c:pt idx="10704">
                  <c:v>#N/A</c:v>
                </c:pt>
                <c:pt idx="10705">
                  <c:v>#N/A</c:v>
                </c:pt>
                <c:pt idx="10706">
                  <c:v>#N/A</c:v>
                </c:pt>
                <c:pt idx="10707">
                  <c:v>#N/A</c:v>
                </c:pt>
                <c:pt idx="10708">
                  <c:v>#N/A</c:v>
                </c:pt>
                <c:pt idx="10709">
                  <c:v>#N/A</c:v>
                </c:pt>
                <c:pt idx="10710">
                  <c:v>#N/A</c:v>
                </c:pt>
                <c:pt idx="10711">
                  <c:v>#N/A</c:v>
                </c:pt>
                <c:pt idx="10712">
                  <c:v>#N/A</c:v>
                </c:pt>
                <c:pt idx="10713">
                  <c:v>#N/A</c:v>
                </c:pt>
                <c:pt idx="10714">
                  <c:v>#N/A</c:v>
                </c:pt>
                <c:pt idx="10715">
                  <c:v>#N/A</c:v>
                </c:pt>
                <c:pt idx="10716">
                  <c:v>#N/A</c:v>
                </c:pt>
                <c:pt idx="10717">
                  <c:v>#N/A</c:v>
                </c:pt>
                <c:pt idx="10718">
                  <c:v>#N/A</c:v>
                </c:pt>
                <c:pt idx="10719">
                  <c:v>#N/A</c:v>
                </c:pt>
                <c:pt idx="10720">
                  <c:v>#N/A</c:v>
                </c:pt>
                <c:pt idx="10721">
                  <c:v>4.3506849315068497</c:v>
                </c:pt>
                <c:pt idx="10722">
                  <c:v>#N/A</c:v>
                </c:pt>
                <c:pt idx="10723">
                  <c:v>#N/A</c:v>
                </c:pt>
                <c:pt idx="10724">
                  <c:v>#N/A</c:v>
                </c:pt>
                <c:pt idx="10725">
                  <c:v>#N/A</c:v>
                </c:pt>
                <c:pt idx="10726">
                  <c:v>#N/A</c:v>
                </c:pt>
                <c:pt idx="10727">
                  <c:v>#N/A</c:v>
                </c:pt>
                <c:pt idx="10728">
                  <c:v>4.375342465753425</c:v>
                </c:pt>
                <c:pt idx="10729">
                  <c:v>4.375342465753425</c:v>
                </c:pt>
                <c:pt idx="10730">
                  <c:v>#N/A</c:v>
                </c:pt>
                <c:pt idx="10731">
                  <c:v>#N/A</c:v>
                </c:pt>
                <c:pt idx="10732">
                  <c:v>#N/A</c:v>
                </c:pt>
                <c:pt idx="10733">
                  <c:v>#N/A</c:v>
                </c:pt>
                <c:pt idx="10734">
                  <c:v>#N/A</c:v>
                </c:pt>
                <c:pt idx="10735">
                  <c:v>#N/A</c:v>
                </c:pt>
                <c:pt idx="10736">
                  <c:v>#N/A</c:v>
                </c:pt>
                <c:pt idx="10737">
                  <c:v>4.4109589041095889</c:v>
                </c:pt>
                <c:pt idx="10738">
                  <c:v>#N/A</c:v>
                </c:pt>
                <c:pt idx="10739">
                  <c:v>#N/A</c:v>
                </c:pt>
                <c:pt idx="10740">
                  <c:v>#N/A</c:v>
                </c:pt>
                <c:pt idx="10741">
                  <c:v>#N/A</c:v>
                </c:pt>
                <c:pt idx="10742">
                  <c:v>#N/A</c:v>
                </c:pt>
                <c:pt idx="10743">
                  <c:v>#N/A</c:v>
                </c:pt>
                <c:pt idx="10744">
                  <c:v>#N/A</c:v>
                </c:pt>
                <c:pt idx="10745">
                  <c:v>#N/A</c:v>
                </c:pt>
                <c:pt idx="10746">
                  <c:v>#N/A</c:v>
                </c:pt>
                <c:pt idx="10747">
                  <c:v>#N/A</c:v>
                </c:pt>
                <c:pt idx="10748">
                  <c:v>#N/A</c:v>
                </c:pt>
                <c:pt idx="10749">
                  <c:v>#N/A</c:v>
                </c:pt>
                <c:pt idx="10750">
                  <c:v>#N/A</c:v>
                </c:pt>
                <c:pt idx="10751">
                  <c:v>#N/A</c:v>
                </c:pt>
                <c:pt idx="10752">
                  <c:v>#N/A</c:v>
                </c:pt>
                <c:pt idx="10753">
                  <c:v>#N/A</c:v>
                </c:pt>
                <c:pt idx="10754">
                  <c:v>#N/A</c:v>
                </c:pt>
                <c:pt idx="10755">
                  <c:v>#N/A</c:v>
                </c:pt>
                <c:pt idx="10756">
                  <c:v>#N/A</c:v>
                </c:pt>
                <c:pt idx="10757">
                  <c:v>#N/A</c:v>
                </c:pt>
                <c:pt idx="10758">
                  <c:v>#N/A</c:v>
                </c:pt>
                <c:pt idx="10759">
                  <c:v>#N/A</c:v>
                </c:pt>
                <c:pt idx="10760">
                  <c:v>#N/A</c:v>
                </c:pt>
                <c:pt idx="10761">
                  <c:v>#N/A</c:v>
                </c:pt>
                <c:pt idx="10762">
                  <c:v>#N/A</c:v>
                </c:pt>
                <c:pt idx="10763">
                  <c:v>#N/A</c:v>
                </c:pt>
                <c:pt idx="10764">
                  <c:v>#N/A</c:v>
                </c:pt>
                <c:pt idx="10765">
                  <c:v>#N/A</c:v>
                </c:pt>
                <c:pt idx="10766">
                  <c:v>#N/A</c:v>
                </c:pt>
                <c:pt idx="10767">
                  <c:v>#N/A</c:v>
                </c:pt>
                <c:pt idx="10768">
                  <c:v>#N/A</c:v>
                </c:pt>
                <c:pt idx="10769">
                  <c:v>#N/A</c:v>
                </c:pt>
                <c:pt idx="10770">
                  <c:v>#N/A</c:v>
                </c:pt>
                <c:pt idx="10771">
                  <c:v>#N/A</c:v>
                </c:pt>
                <c:pt idx="10772">
                  <c:v>#N/A</c:v>
                </c:pt>
                <c:pt idx="10773">
                  <c:v>#N/A</c:v>
                </c:pt>
                <c:pt idx="10774">
                  <c:v>#N/A</c:v>
                </c:pt>
                <c:pt idx="10775">
                  <c:v>#N/A</c:v>
                </c:pt>
                <c:pt idx="10776">
                  <c:v>#N/A</c:v>
                </c:pt>
                <c:pt idx="10777">
                  <c:v>#N/A</c:v>
                </c:pt>
                <c:pt idx="10778">
                  <c:v>#N/A</c:v>
                </c:pt>
                <c:pt idx="10779">
                  <c:v>#N/A</c:v>
                </c:pt>
                <c:pt idx="10780">
                  <c:v>#N/A</c:v>
                </c:pt>
                <c:pt idx="10781">
                  <c:v>#N/A</c:v>
                </c:pt>
                <c:pt idx="10782">
                  <c:v>#N/A</c:v>
                </c:pt>
                <c:pt idx="10783">
                  <c:v>#N/A</c:v>
                </c:pt>
                <c:pt idx="10784">
                  <c:v>#N/A</c:v>
                </c:pt>
                <c:pt idx="10785">
                  <c:v>#N/A</c:v>
                </c:pt>
                <c:pt idx="10786">
                  <c:v>#N/A</c:v>
                </c:pt>
                <c:pt idx="10787">
                  <c:v>#N/A</c:v>
                </c:pt>
                <c:pt idx="10788">
                  <c:v>#N/A</c:v>
                </c:pt>
                <c:pt idx="10789">
                  <c:v>#N/A</c:v>
                </c:pt>
                <c:pt idx="10790">
                  <c:v>#N/A</c:v>
                </c:pt>
                <c:pt idx="10791">
                  <c:v>4.4438356164383563</c:v>
                </c:pt>
                <c:pt idx="10792">
                  <c:v>#N/A</c:v>
                </c:pt>
                <c:pt idx="10793">
                  <c:v>4.4438356164383563</c:v>
                </c:pt>
                <c:pt idx="10794">
                  <c:v>4.4438356164383563</c:v>
                </c:pt>
                <c:pt idx="10795">
                  <c:v>#N/A</c:v>
                </c:pt>
                <c:pt idx="10796">
                  <c:v>#N/A</c:v>
                </c:pt>
                <c:pt idx="10797">
                  <c:v>#N/A</c:v>
                </c:pt>
                <c:pt idx="10798">
                  <c:v>#N/A</c:v>
                </c:pt>
                <c:pt idx="10799">
                  <c:v>#N/A</c:v>
                </c:pt>
                <c:pt idx="10800">
                  <c:v>#N/A</c:v>
                </c:pt>
                <c:pt idx="10801">
                  <c:v>#N/A</c:v>
                </c:pt>
                <c:pt idx="10802">
                  <c:v>#N/A</c:v>
                </c:pt>
                <c:pt idx="10803">
                  <c:v>#N/A</c:v>
                </c:pt>
                <c:pt idx="10804">
                  <c:v>#N/A</c:v>
                </c:pt>
                <c:pt idx="10805">
                  <c:v>#N/A</c:v>
                </c:pt>
                <c:pt idx="10806">
                  <c:v>#N/A</c:v>
                </c:pt>
                <c:pt idx="10807">
                  <c:v>#N/A</c:v>
                </c:pt>
                <c:pt idx="10808">
                  <c:v>#N/A</c:v>
                </c:pt>
                <c:pt idx="10809">
                  <c:v>#N/A</c:v>
                </c:pt>
                <c:pt idx="10810">
                  <c:v>#N/A</c:v>
                </c:pt>
                <c:pt idx="10811">
                  <c:v>#N/A</c:v>
                </c:pt>
                <c:pt idx="10812">
                  <c:v>#N/A</c:v>
                </c:pt>
                <c:pt idx="10813">
                  <c:v>#N/A</c:v>
                </c:pt>
                <c:pt idx="10814">
                  <c:v>#N/A</c:v>
                </c:pt>
                <c:pt idx="10815">
                  <c:v>#N/A</c:v>
                </c:pt>
                <c:pt idx="10816">
                  <c:v>4.4684931506849317</c:v>
                </c:pt>
                <c:pt idx="10817">
                  <c:v>#N/A</c:v>
                </c:pt>
                <c:pt idx="10818">
                  <c:v>4.4684931506849317</c:v>
                </c:pt>
                <c:pt idx="10819">
                  <c:v>#N/A</c:v>
                </c:pt>
                <c:pt idx="10820">
                  <c:v>#N/A</c:v>
                </c:pt>
                <c:pt idx="10821">
                  <c:v>#N/A</c:v>
                </c:pt>
                <c:pt idx="10822">
                  <c:v>#N/A</c:v>
                </c:pt>
                <c:pt idx="10823">
                  <c:v>#N/A</c:v>
                </c:pt>
                <c:pt idx="10824">
                  <c:v>#N/A</c:v>
                </c:pt>
                <c:pt idx="10825">
                  <c:v>#N/A</c:v>
                </c:pt>
                <c:pt idx="10826">
                  <c:v>#N/A</c:v>
                </c:pt>
                <c:pt idx="10827">
                  <c:v>4.4684931506849317</c:v>
                </c:pt>
                <c:pt idx="10828">
                  <c:v>#N/A</c:v>
                </c:pt>
                <c:pt idx="10829">
                  <c:v>#N/A</c:v>
                </c:pt>
                <c:pt idx="10830">
                  <c:v>#N/A</c:v>
                </c:pt>
                <c:pt idx="10831">
                  <c:v>#N/A</c:v>
                </c:pt>
                <c:pt idx="10832">
                  <c:v>#N/A</c:v>
                </c:pt>
                <c:pt idx="10833">
                  <c:v>#N/A</c:v>
                </c:pt>
                <c:pt idx="10834">
                  <c:v>#N/A</c:v>
                </c:pt>
                <c:pt idx="10835">
                  <c:v>#N/A</c:v>
                </c:pt>
                <c:pt idx="10836">
                  <c:v>#N/A</c:v>
                </c:pt>
                <c:pt idx="10837">
                  <c:v>#N/A</c:v>
                </c:pt>
                <c:pt idx="10838">
                  <c:v>#N/A</c:v>
                </c:pt>
                <c:pt idx="10839">
                  <c:v>#N/A</c:v>
                </c:pt>
                <c:pt idx="10840">
                  <c:v>#N/A</c:v>
                </c:pt>
                <c:pt idx="10841">
                  <c:v>4.4684931506849317</c:v>
                </c:pt>
                <c:pt idx="10842">
                  <c:v>4.4684931506849317</c:v>
                </c:pt>
                <c:pt idx="10843">
                  <c:v>4.4684931506849317</c:v>
                </c:pt>
                <c:pt idx="10844">
                  <c:v>#N/A</c:v>
                </c:pt>
                <c:pt idx="10845">
                  <c:v>#N/A</c:v>
                </c:pt>
                <c:pt idx="10846">
                  <c:v>#N/A</c:v>
                </c:pt>
                <c:pt idx="10847">
                  <c:v>#N/A</c:v>
                </c:pt>
                <c:pt idx="10848">
                  <c:v>#N/A</c:v>
                </c:pt>
                <c:pt idx="10849">
                  <c:v>#N/A</c:v>
                </c:pt>
                <c:pt idx="10850">
                  <c:v>#N/A</c:v>
                </c:pt>
                <c:pt idx="10851">
                  <c:v>#N/A</c:v>
                </c:pt>
                <c:pt idx="10852">
                  <c:v>#N/A</c:v>
                </c:pt>
                <c:pt idx="10853">
                  <c:v>#N/A</c:v>
                </c:pt>
                <c:pt idx="10854">
                  <c:v>#N/A</c:v>
                </c:pt>
                <c:pt idx="10855">
                  <c:v>#N/A</c:v>
                </c:pt>
                <c:pt idx="10856">
                  <c:v>#N/A</c:v>
                </c:pt>
                <c:pt idx="10857">
                  <c:v>4.4684931506849317</c:v>
                </c:pt>
                <c:pt idx="10858">
                  <c:v>#N/A</c:v>
                </c:pt>
                <c:pt idx="10859">
                  <c:v>#N/A</c:v>
                </c:pt>
                <c:pt idx="10860">
                  <c:v>#N/A</c:v>
                </c:pt>
                <c:pt idx="10861">
                  <c:v>#N/A</c:v>
                </c:pt>
                <c:pt idx="10862">
                  <c:v>#N/A</c:v>
                </c:pt>
                <c:pt idx="10863">
                  <c:v>#N/A</c:v>
                </c:pt>
                <c:pt idx="10864">
                  <c:v>#N/A</c:v>
                </c:pt>
                <c:pt idx="10865">
                  <c:v>#N/A</c:v>
                </c:pt>
                <c:pt idx="10866">
                  <c:v>4.4684931506849317</c:v>
                </c:pt>
                <c:pt idx="10867">
                  <c:v>#N/A</c:v>
                </c:pt>
                <c:pt idx="10868">
                  <c:v>#N/A</c:v>
                </c:pt>
                <c:pt idx="10869">
                  <c:v>#N/A</c:v>
                </c:pt>
                <c:pt idx="10870">
                  <c:v>#N/A</c:v>
                </c:pt>
                <c:pt idx="10871">
                  <c:v>#N/A</c:v>
                </c:pt>
                <c:pt idx="10872">
                  <c:v>#N/A</c:v>
                </c:pt>
                <c:pt idx="10873">
                  <c:v>#N/A</c:v>
                </c:pt>
                <c:pt idx="10874">
                  <c:v>#N/A</c:v>
                </c:pt>
                <c:pt idx="10875">
                  <c:v>#N/A</c:v>
                </c:pt>
                <c:pt idx="10876">
                  <c:v>#N/A</c:v>
                </c:pt>
                <c:pt idx="10877">
                  <c:v>#N/A</c:v>
                </c:pt>
                <c:pt idx="10878">
                  <c:v>4.4684931506849317</c:v>
                </c:pt>
                <c:pt idx="10879">
                  <c:v>#N/A</c:v>
                </c:pt>
                <c:pt idx="10880">
                  <c:v>#N/A</c:v>
                </c:pt>
                <c:pt idx="10881">
                  <c:v>#N/A</c:v>
                </c:pt>
                <c:pt idx="10882">
                  <c:v>#N/A</c:v>
                </c:pt>
                <c:pt idx="10883">
                  <c:v>#N/A</c:v>
                </c:pt>
                <c:pt idx="10884">
                  <c:v>#N/A</c:v>
                </c:pt>
                <c:pt idx="10885">
                  <c:v>#N/A</c:v>
                </c:pt>
                <c:pt idx="10886">
                  <c:v>#N/A</c:v>
                </c:pt>
                <c:pt idx="10887">
                  <c:v>#N/A</c:v>
                </c:pt>
                <c:pt idx="10888">
                  <c:v>#N/A</c:v>
                </c:pt>
                <c:pt idx="10889">
                  <c:v>#N/A</c:v>
                </c:pt>
                <c:pt idx="10890">
                  <c:v>#N/A</c:v>
                </c:pt>
                <c:pt idx="10891">
                  <c:v>#N/A</c:v>
                </c:pt>
                <c:pt idx="10892">
                  <c:v>#N/A</c:v>
                </c:pt>
                <c:pt idx="10893">
                  <c:v>#N/A</c:v>
                </c:pt>
                <c:pt idx="10894">
                  <c:v>#N/A</c:v>
                </c:pt>
                <c:pt idx="10895">
                  <c:v>#N/A</c:v>
                </c:pt>
                <c:pt idx="10896">
                  <c:v>#N/A</c:v>
                </c:pt>
                <c:pt idx="10897">
                  <c:v>#N/A</c:v>
                </c:pt>
                <c:pt idx="10898">
                  <c:v>#N/A</c:v>
                </c:pt>
                <c:pt idx="10899">
                  <c:v>#N/A</c:v>
                </c:pt>
                <c:pt idx="10900">
                  <c:v>#N/A</c:v>
                </c:pt>
                <c:pt idx="10901">
                  <c:v>#N/A</c:v>
                </c:pt>
                <c:pt idx="10902">
                  <c:v>#N/A</c:v>
                </c:pt>
                <c:pt idx="10903">
                  <c:v>#N/A</c:v>
                </c:pt>
                <c:pt idx="10904">
                  <c:v>#N/A</c:v>
                </c:pt>
                <c:pt idx="10905">
                  <c:v>#N/A</c:v>
                </c:pt>
                <c:pt idx="10906">
                  <c:v>#N/A</c:v>
                </c:pt>
                <c:pt idx="10907">
                  <c:v>#N/A</c:v>
                </c:pt>
                <c:pt idx="10908">
                  <c:v>#N/A</c:v>
                </c:pt>
                <c:pt idx="10909">
                  <c:v>#N/A</c:v>
                </c:pt>
                <c:pt idx="10910">
                  <c:v>#N/A</c:v>
                </c:pt>
                <c:pt idx="10911">
                  <c:v>#N/A</c:v>
                </c:pt>
                <c:pt idx="10912">
                  <c:v>#N/A</c:v>
                </c:pt>
                <c:pt idx="10913">
                  <c:v>#N/A</c:v>
                </c:pt>
                <c:pt idx="10914">
                  <c:v>#N/A</c:v>
                </c:pt>
                <c:pt idx="10915">
                  <c:v>#N/A</c:v>
                </c:pt>
                <c:pt idx="10916">
                  <c:v>#N/A</c:v>
                </c:pt>
                <c:pt idx="10917">
                  <c:v>#N/A</c:v>
                </c:pt>
                <c:pt idx="10918">
                  <c:v>#N/A</c:v>
                </c:pt>
                <c:pt idx="10919">
                  <c:v>#N/A</c:v>
                </c:pt>
                <c:pt idx="10920">
                  <c:v>#N/A</c:v>
                </c:pt>
                <c:pt idx="10921">
                  <c:v>#N/A</c:v>
                </c:pt>
                <c:pt idx="10922">
                  <c:v>#N/A</c:v>
                </c:pt>
                <c:pt idx="10923">
                  <c:v>#N/A</c:v>
                </c:pt>
                <c:pt idx="10924">
                  <c:v>#N/A</c:v>
                </c:pt>
                <c:pt idx="10925">
                  <c:v>#N/A</c:v>
                </c:pt>
                <c:pt idx="10926">
                  <c:v>#N/A</c:v>
                </c:pt>
                <c:pt idx="10927">
                  <c:v>#N/A</c:v>
                </c:pt>
                <c:pt idx="10928">
                  <c:v>#N/A</c:v>
                </c:pt>
                <c:pt idx="10929">
                  <c:v>#N/A</c:v>
                </c:pt>
                <c:pt idx="10930">
                  <c:v>#N/A</c:v>
                </c:pt>
                <c:pt idx="10931">
                  <c:v>#N/A</c:v>
                </c:pt>
                <c:pt idx="10932">
                  <c:v>#N/A</c:v>
                </c:pt>
                <c:pt idx="10933">
                  <c:v>#N/A</c:v>
                </c:pt>
                <c:pt idx="10934">
                  <c:v>#N/A</c:v>
                </c:pt>
                <c:pt idx="10935">
                  <c:v>#N/A</c:v>
                </c:pt>
                <c:pt idx="10936">
                  <c:v>#N/A</c:v>
                </c:pt>
                <c:pt idx="10937">
                  <c:v>#N/A</c:v>
                </c:pt>
                <c:pt idx="10938">
                  <c:v>#N/A</c:v>
                </c:pt>
                <c:pt idx="10939">
                  <c:v>#N/A</c:v>
                </c:pt>
                <c:pt idx="10940">
                  <c:v>#N/A</c:v>
                </c:pt>
                <c:pt idx="10941">
                  <c:v>#N/A</c:v>
                </c:pt>
                <c:pt idx="10942">
                  <c:v>#N/A</c:v>
                </c:pt>
                <c:pt idx="10943">
                  <c:v>#N/A</c:v>
                </c:pt>
                <c:pt idx="10944">
                  <c:v>#N/A</c:v>
                </c:pt>
                <c:pt idx="10945">
                  <c:v>#N/A</c:v>
                </c:pt>
                <c:pt idx="10946">
                  <c:v>#N/A</c:v>
                </c:pt>
                <c:pt idx="10947">
                  <c:v>#N/A</c:v>
                </c:pt>
                <c:pt idx="10948">
                  <c:v>#N/A</c:v>
                </c:pt>
                <c:pt idx="10949">
                  <c:v>#N/A</c:v>
                </c:pt>
                <c:pt idx="10950">
                  <c:v>#N/A</c:v>
                </c:pt>
                <c:pt idx="10951">
                  <c:v>#N/A</c:v>
                </c:pt>
                <c:pt idx="10952">
                  <c:v>#N/A</c:v>
                </c:pt>
                <c:pt idx="10953">
                  <c:v>#N/A</c:v>
                </c:pt>
                <c:pt idx="10954">
                  <c:v>#N/A</c:v>
                </c:pt>
                <c:pt idx="10955">
                  <c:v>#N/A</c:v>
                </c:pt>
                <c:pt idx="10956">
                  <c:v>#N/A</c:v>
                </c:pt>
                <c:pt idx="10957">
                  <c:v>#N/A</c:v>
                </c:pt>
                <c:pt idx="10958">
                  <c:v>#N/A</c:v>
                </c:pt>
                <c:pt idx="10959">
                  <c:v>#N/A</c:v>
                </c:pt>
                <c:pt idx="10960">
                  <c:v>#N/A</c:v>
                </c:pt>
                <c:pt idx="10961">
                  <c:v>#N/A</c:v>
                </c:pt>
                <c:pt idx="10962">
                  <c:v>#N/A</c:v>
                </c:pt>
                <c:pt idx="10963">
                  <c:v>#N/A</c:v>
                </c:pt>
                <c:pt idx="10964">
                  <c:v>#N/A</c:v>
                </c:pt>
                <c:pt idx="10965">
                  <c:v>#N/A</c:v>
                </c:pt>
                <c:pt idx="10966">
                  <c:v>#N/A</c:v>
                </c:pt>
                <c:pt idx="10967">
                  <c:v>#N/A</c:v>
                </c:pt>
                <c:pt idx="10968">
                  <c:v>#N/A</c:v>
                </c:pt>
                <c:pt idx="10969">
                  <c:v>#N/A</c:v>
                </c:pt>
                <c:pt idx="10970">
                  <c:v>#N/A</c:v>
                </c:pt>
                <c:pt idx="10971">
                  <c:v>#N/A</c:v>
                </c:pt>
                <c:pt idx="10972">
                  <c:v>#N/A</c:v>
                </c:pt>
                <c:pt idx="10973">
                  <c:v>#N/A</c:v>
                </c:pt>
                <c:pt idx="10974">
                  <c:v>#N/A</c:v>
                </c:pt>
                <c:pt idx="10975">
                  <c:v>#N/A</c:v>
                </c:pt>
                <c:pt idx="10976">
                  <c:v>#N/A</c:v>
                </c:pt>
                <c:pt idx="10977">
                  <c:v>#N/A</c:v>
                </c:pt>
                <c:pt idx="10978">
                  <c:v>#N/A</c:v>
                </c:pt>
                <c:pt idx="10979">
                  <c:v>#N/A</c:v>
                </c:pt>
                <c:pt idx="10980">
                  <c:v>#N/A</c:v>
                </c:pt>
                <c:pt idx="10981">
                  <c:v>4.5095890410958903</c:v>
                </c:pt>
                <c:pt idx="10982">
                  <c:v>#N/A</c:v>
                </c:pt>
                <c:pt idx="10983">
                  <c:v>#N/A</c:v>
                </c:pt>
                <c:pt idx="10984">
                  <c:v>#N/A</c:v>
                </c:pt>
                <c:pt idx="10985">
                  <c:v>#N/A</c:v>
                </c:pt>
                <c:pt idx="10986">
                  <c:v>#N/A</c:v>
                </c:pt>
                <c:pt idx="10987">
                  <c:v>4.5095890410958903</c:v>
                </c:pt>
                <c:pt idx="10988">
                  <c:v>#N/A</c:v>
                </c:pt>
                <c:pt idx="10989">
                  <c:v>#N/A</c:v>
                </c:pt>
                <c:pt idx="10990">
                  <c:v>#N/A</c:v>
                </c:pt>
                <c:pt idx="10991">
                  <c:v>#N/A</c:v>
                </c:pt>
                <c:pt idx="10992">
                  <c:v>#N/A</c:v>
                </c:pt>
                <c:pt idx="10993">
                  <c:v>#N/A</c:v>
                </c:pt>
                <c:pt idx="10994">
                  <c:v>#N/A</c:v>
                </c:pt>
                <c:pt idx="10995">
                  <c:v>#N/A</c:v>
                </c:pt>
                <c:pt idx="10996">
                  <c:v>#N/A</c:v>
                </c:pt>
                <c:pt idx="10997">
                  <c:v>#N/A</c:v>
                </c:pt>
                <c:pt idx="10998">
                  <c:v>#N/A</c:v>
                </c:pt>
                <c:pt idx="10999">
                  <c:v>#N/A</c:v>
                </c:pt>
                <c:pt idx="11000">
                  <c:v>#N/A</c:v>
                </c:pt>
                <c:pt idx="11001">
                  <c:v>#N/A</c:v>
                </c:pt>
                <c:pt idx="11002">
                  <c:v>#N/A</c:v>
                </c:pt>
                <c:pt idx="11003">
                  <c:v>#N/A</c:v>
                </c:pt>
                <c:pt idx="11004">
                  <c:v>#N/A</c:v>
                </c:pt>
                <c:pt idx="11005">
                  <c:v>#N/A</c:v>
                </c:pt>
                <c:pt idx="11006">
                  <c:v>#N/A</c:v>
                </c:pt>
                <c:pt idx="11007">
                  <c:v>#N/A</c:v>
                </c:pt>
                <c:pt idx="11008">
                  <c:v>#N/A</c:v>
                </c:pt>
                <c:pt idx="11009">
                  <c:v>#N/A</c:v>
                </c:pt>
                <c:pt idx="11010">
                  <c:v>#N/A</c:v>
                </c:pt>
                <c:pt idx="11011">
                  <c:v>#N/A</c:v>
                </c:pt>
                <c:pt idx="11012">
                  <c:v>#N/A</c:v>
                </c:pt>
                <c:pt idx="11013">
                  <c:v>#N/A</c:v>
                </c:pt>
                <c:pt idx="11014">
                  <c:v>#N/A</c:v>
                </c:pt>
                <c:pt idx="11015">
                  <c:v>#N/A</c:v>
                </c:pt>
                <c:pt idx="11016">
                  <c:v>#N/A</c:v>
                </c:pt>
                <c:pt idx="11017">
                  <c:v>4.5123287671232877</c:v>
                </c:pt>
                <c:pt idx="11018">
                  <c:v>#N/A</c:v>
                </c:pt>
                <c:pt idx="11019">
                  <c:v>#N/A</c:v>
                </c:pt>
                <c:pt idx="11020">
                  <c:v>#N/A</c:v>
                </c:pt>
                <c:pt idx="11021">
                  <c:v>#N/A</c:v>
                </c:pt>
                <c:pt idx="11022">
                  <c:v>#N/A</c:v>
                </c:pt>
                <c:pt idx="11023">
                  <c:v>#N/A</c:v>
                </c:pt>
                <c:pt idx="11024">
                  <c:v>#N/A</c:v>
                </c:pt>
                <c:pt idx="11025">
                  <c:v>#N/A</c:v>
                </c:pt>
                <c:pt idx="11026">
                  <c:v>#N/A</c:v>
                </c:pt>
                <c:pt idx="11027">
                  <c:v>#N/A</c:v>
                </c:pt>
                <c:pt idx="11028">
                  <c:v>#N/A</c:v>
                </c:pt>
                <c:pt idx="11029">
                  <c:v>#N/A</c:v>
                </c:pt>
                <c:pt idx="11030">
                  <c:v>#N/A</c:v>
                </c:pt>
                <c:pt idx="11031">
                  <c:v>#N/A</c:v>
                </c:pt>
                <c:pt idx="11032">
                  <c:v>#N/A</c:v>
                </c:pt>
                <c:pt idx="11033">
                  <c:v>#N/A</c:v>
                </c:pt>
                <c:pt idx="11034">
                  <c:v>#N/A</c:v>
                </c:pt>
                <c:pt idx="11035">
                  <c:v>#N/A</c:v>
                </c:pt>
                <c:pt idx="11036">
                  <c:v>#N/A</c:v>
                </c:pt>
                <c:pt idx="11037">
                  <c:v>#N/A</c:v>
                </c:pt>
                <c:pt idx="11038">
                  <c:v>#N/A</c:v>
                </c:pt>
                <c:pt idx="11039">
                  <c:v>#N/A</c:v>
                </c:pt>
                <c:pt idx="11040">
                  <c:v>#N/A</c:v>
                </c:pt>
                <c:pt idx="11041">
                  <c:v>#N/A</c:v>
                </c:pt>
                <c:pt idx="11042">
                  <c:v>#N/A</c:v>
                </c:pt>
                <c:pt idx="11043">
                  <c:v>#N/A</c:v>
                </c:pt>
                <c:pt idx="11044">
                  <c:v>#N/A</c:v>
                </c:pt>
                <c:pt idx="11045">
                  <c:v>#N/A</c:v>
                </c:pt>
                <c:pt idx="11046">
                  <c:v>#N/A</c:v>
                </c:pt>
                <c:pt idx="11047">
                  <c:v>#N/A</c:v>
                </c:pt>
                <c:pt idx="11048">
                  <c:v>#N/A</c:v>
                </c:pt>
                <c:pt idx="11049">
                  <c:v>#N/A</c:v>
                </c:pt>
                <c:pt idx="11050">
                  <c:v>#N/A</c:v>
                </c:pt>
                <c:pt idx="11051">
                  <c:v>#N/A</c:v>
                </c:pt>
                <c:pt idx="11052">
                  <c:v>#N/A</c:v>
                </c:pt>
                <c:pt idx="11053">
                  <c:v>#N/A</c:v>
                </c:pt>
                <c:pt idx="11054">
                  <c:v>#N/A</c:v>
                </c:pt>
                <c:pt idx="11055">
                  <c:v>#N/A</c:v>
                </c:pt>
                <c:pt idx="11056">
                  <c:v>#N/A</c:v>
                </c:pt>
                <c:pt idx="11057">
                  <c:v>#N/A</c:v>
                </c:pt>
                <c:pt idx="11058">
                  <c:v>#N/A</c:v>
                </c:pt>
                <c:pt idx="11059">
                  <c:v>#N/A</c:v>
                </c:pt>
                <c:pt idx="11060">
                  <c:v>#N/A</c:v>
                </c:pt>
                <c:pt idx="11061">
                  <c:v>#N/A</c:v>
                </c:pt>
                <c:pt idx="11062">
                  <c:v>#N/A</c:v>
                </c:pt>
                <c:pt idx="11063">
                  <c:v>#N/A</c:v>
                </c:pt>
                <c:pt idx="11064">
                  <c:v>#N/A</c:v>
                </c:pt>
                <c:pt idx="11065">
                  <c:v>#N/A</c:v>
                </c:pt>
                <c:pt idx="11066">
                  <c:v>#N/A</c:v>
                </c:pt>
                <c:pt idx="11067">
                  <c:v>#N/A</c:v>
                </c:pt>
                <c:pt idx="11068">
                  <c:v>#N/A</c:v>
                </c:pt>
                <c:pt idx="11069">
                  <c:v>#N/A</c:v>
                </c:pt>
                <c:pt idx="11070">
                  <c:v>#N/A</c:v>
                </c:pt>
                <c:pt idx="11071">
                  <c:v>#N/A</c:v>
                </c:pt>
                <c:pt idx="11072">
                  <c:v>#N/A</c:v>
                </c:pt>
                <c:pt idx="11073">
                  <c:v>#N/A</c:v>
                </c:pt>
                <c:pt idx="11074">
                  <c:v>#N/A</c:v>
                </c:pt>
                <c:pt idx="11075">
                  <c:v>#N/A</c:v>
                </c:pt>
                <c:pt idx="11076">
                  <c:v>#N/A</c:v>
                </c:pt>
                <c:pt idx="11077">
                  <c:v>#N/A</c:v>
                </c:pt>
                <c:pt idx="11078">
                  <c:v>#N/A</c:v>
                </c:pt>
                <c:pt idx="11079">
                  <c:v>#N/A</c:v>
                </c:pt>
                <c:pt idx="11080">
                  <c:v>#N/A</c:v>
                </c:pt>
                <c:pt idx="11081">
                  <c:v>#N/A</c:v>
                </c:pt>
                <c:pt idx="11082">
                  <c:v>#N/A</c:v>
                </c:pt>
                <c:pt idx="11083">
                  <c:v>#N/A</c:v>
                </c:pt>
                <c:pt idx="11084">
                  <c:v>#N/A</c:v>
                </c:pt>
                <c:pt idx="11085">
                  <c:v>#N/A</c:v>
                </c:pt>
                <c:pt idx="11086">
                  <c:v>#N/A</c:v>
                </c:pt>
                <c:pt idx="11087">
                  <c:v>#N/A</c:v>
                </c:pt>
                <c:pt idx="11088">
                  <c:v>#N/A</c:v>
                </c:pt>
                <c:pt idx="11089">
                  <c:v>#N/A</c:v>
                </c:pt>
                <c:pt idx="11090">
                  <c:v>#N/A</c:v>
                </c:pt>
                <c:pt idx="11091">
                  <c:v>#N/A</c:v>
                </c:pt>
                <c:pt idx="11092">
                  <c:v>#N/A</c:v>
                </c:pt>
                <c:pt idx="11093">
                  <c:v>#N/A</c:v>
                </c:pt>
                <c:pt idx="11094">
                  <c:v>4.5397260273972604</c:v>
                </c:pt>
                <c:pt idx="11095">
                  <c:v>#N/A</c:v>
                </c:pt>
                <c:pt idx="11096">
                  <c:v>#N/A</c:v>
                </c:pt>
                <c:pt idx="11097">
                  <c:v>#N/A</c:v>
                </c:pt>
                <c:pt idx="11098">
                  <c:v>#N/A</c:v>
                </c:pt>
                <c:pt idx="11099">
                  <c:v>#N/A</c:v>
                </c:pt>
                <c:pt idx="11100">
                  <c:v>#N/A</c:v>
                </c:pt>
                <c:pt idx="11101">
                  <c:v>#N/A</c:v>
                </c:pt>
                <c:pt idx="11102">
                  <c:v>#N/A</c:v>
                </c:pt>
                <c:pt idx="11103">
                  <c:v>#N/A</c:v>
                </c:pt>
                <c:pt idx="11104">
                  <c:v>#N/A</c:v>
                </c:pt>
                <c:pt idx="11105">
                  <c:v>#N/A</c:v>
                </c:pt>
                <c:pt idx="11106">
                  <c:v>#N/A</c:v>
                </c:pt>
                <c:pt idx="11107">
                  <c:v>#N/A</c:v>
                </c:pt>
                <c:pt idx="11108">
                  <c:v>#N/A</c:v>
                </c:pt>
                <c:pt idx="11109">
                  <c:v>#N/A</c:v>
                </c:pt>
                <c:pt idx="11110">
                  <c:v>#N/A</c:v>
                </c:pt>
                <c:pt idx="11111">
                  <c:v>#N/A</c:v>
                </c:pt>
                <c:pt idx="11112">
                  <c:v>#N/A</c:v>
                </c:pt>
                <c:pt idx="11113">
                  <c:v>#N/A</c:v>
                </c:pt>
                <c:pt idx="11114">
                  <c:v>#N/A</c:v>
                </c:pt>
                <c:pt idx="11115">
                  <c:v>#N/A</c:v>
                </c:pt>
                <c:pt idx="11116">
                  <c:v>#N/A</c:v>
                </c:pt>
                <c:pt idx="11117">
                  <c:v>#N/A</c:v>
                </c:pt>
                <c:pt idx="11118">
                  <c:v>#N/A</c:v>
                </c:pt>
                <c:pt idx="11119">
                  <c:v>#N/A</c:v>
                </c:pt>
                <c:pt idx="11120">
                  <c:v>#N/A</c:v>
                </c:pt>
                <c:pt idx="11121">
                  <c:v>#N/A</c:v>
                </c:pt>
                <c:pt idx="11122">
                  <c:v>#N/A</c:v>
                </c:pt>
                <c:pt idx="11123">
                  <c:v>#N/A</c:v>
                </c:pt>
                <c:pt idx="11124">
                  <c:v>#N/A</c:v>
                </c:pt>
                <c:pt idx="11125">
                  <c:v>#N/A</c:v>
                </c:pt>
                <c:pt idx="11126">
                  <c:v>#N/A</c:v>
                </c:pt>
                <c:pt idx="11127">
                  <c:v>#N/A</c:v>
                </c:pt>
                <c:pt idx="11128">
                  <c:v>#N/A</c:v>
                </c:pt>
                <c:pt idx="11129">
                  <c:v>#N/A</c:v>
                </c:pt>
                <c:pt idx="11130">
                  <c:v>#N/A</c:v>
                </c:pt>
                <c:pt idx="11131">
                  <c:v>4.5780821917808217</c:v>
                </c:pt>
                <c:pt idx="11132">
                  <c:v>4.5835616438356164</c:v>
                </c:pt>
                <c:pt idx="11133">
                  <c:v>#N/A</c:v>
                </c:pt>
                <c:pt idx="11134">
                  <c:v>#N/A</c:v>
                </c:pt>
                <c:pt idx="11135">
                  <c:v>#N/A</c:v>
                </c:pt>
                <c:pt idx="11136">
                  <c:v>4.5890410958904111</c:v>
                </c:pt>
                <c:pt idx="11137">
                  <c:v>#N/A</c:v>
                </c:pt>
                <c:pt idx="11138">
                  <c:v>#N/A</c:v>
                </c:pt>
                <c:pt idx="11139">
                  <c:v>#N/A</c:v>
                </c:pt>
                <c:pt idx="11140">
                  <c:v>#N/A</c:v>
                </c:pt>
                <c:pt idx="11141">
                  <c:v>#N/A</c:v>
                </c:pt>
                <c:pt idx="11142">
                  <c:v>#N/A</c:v>
                </c:pt>
                <c:pt idx="11143">
                  <c:v>#N/A</c:v>
                </c:pt>
                <c:pt idx="11144">
                  <c:v>#N/A</c:v>
                </c:pt>
                <c:pt idx="11145">
                  <c:v>#N/A</c:v>
                </c:pt>
                <c:pt idx="11146">
                  <c:v>#N/A</c:v>
                </c:pt>
                <c:pt idx="11147">
                  <c:v>#N/A</c:v>
                </c:pt>
                <c:pt idx="11148">
                  <c:v>#N/A</c:v>
                </c:pt>
                <c:pt idx="11149">
                  <c:v>#N/A</c:v>
                </c:pt>
                <c:pt idx="11150">
                  <c:v>#N/A</c:v>
                </c:pt>
                <c:pt idx="11151">
                  <c:v>#N/A</c:v>
                </c:pt>
                <c:pt idx="11152">
                  <c:v>#N/A</c:v>
                </c:pt>
                <c:pt idx="11153">
                  <c:v>#N/A</c:v>
                </c:pt>
                <c:pt idx="11154">
                  <c:v>#N/A</c:v>
                </c:pt>
                <c:pt idx="11155">
                  <c:v>4.5999999999999996</c:v>
                </c:pt>
                <c:pt idx="11156">
                  <c:v>#N/A</c:v>
                </c:pt>
                <c:pt idx="11157">
                  <c:v>#N/A</c:v>
                </c:pt>
                <c:pt idx="11158">
                  <c:v>#N/A</c:v>
                </c:pt>
                <c:pt idx="11159">
                  <c:v>#N/A</c:v>
                </c:pt>
                <c:pt idx="11160">
                  <c:v>#N/A</c:v>
                </c:pt>
                <c:pt idx="11161">
                  <c:v>#N/A</c:v>
                </c:pt>
                <c:pt idx="11162">
                  <c:v>#N/A</c:v>
                </c:pt>
                <c:pt idx="11163">
                  <c:v>#N/A</c:v>
                </c:pt>
                <c:pt idx="11164">
                  <c:v>#N/A</c:v>
                </c:pt>
                <c:pt idx="11165">
                  <c:v>#N/A</c:v>
                </c:pt>
                <c:pt idx="11166">
                  <c:v>#N/A</c:v>
                </c:pt>
                <c:pt idx="11167">
                  <c:v>#N/A</c:v>
                </c:pt>
                <c:pt idx="11168">
                  <c:v>4.6273972602739724</c:v>
                </c:pt>
                <c:pt idx="11169">
                  <c:v>#N/A</c:v>
                </c:pt>
                <c:pt idx="11170">
                  <c:v>#N/A</c:v>
                </c:pt>
                <c:pt idx="11171">
                  <c:v>#N/A</c:v>
                </c:pt>
                <c:pt idx="11172">
                  <c:v>#N/A</c:v>
                </c:pt>
                <c:pt idx="11173">
                  <c:v>#N/A</c:v>
                </c:pt>
                <c:pt idx="11174">
                  <c:v>#N/A</c:v>
                </c:pt>
                <c:pt idx="11175">
                  <c:v>#N/A</c:v>
                </c:pt>
                <c:pt idx="11176">
                  <c:v>4.646575342465753</c:v>
                </c:pt>
                <c:pt idx="11177">
                  <c:v>#N/A</c:v>
                </c:pt>
                <c:pt idx="11178">
                  <c:v>#N/A</c:v>
                </c:pt>
                <c:pt idx="11179">
                  <c:v>#N/A</c:v>
                </c:pt>
                <c:pt idx="11180">
                  <c:v>#N/A</c:v>
                </c:pt>
                <c:pt idx="11181">
                  <c:v>#N/A</c:v>
                </c:pt>
                <c:pt idx="11182">
                  <c:v>#N/A</c:v>
                </c:pt>
                <c:pt idx="11183">
                  <c:v>#N/A</c:v>
                </c:pt>
                <c:pt idx="11184">
                  <c:v>#N/A</c:v>
                </c:pt>
                <c:pt idx="11185">
                  <c:v>#N/A</c:v>
                </c:pt>
                <c:pt idx="11186">
                  <c:v>#N/A</c:v>
                </c:pt>
                <c:pt idx="11187">
                  <c:v>#N/A</c:v>
                </c:pt>
                <c:pt idx="11188">
                  <c:v>#N/A</c:v>
                </c:pt>
                <c:pt idx="11189">
                  <c:v>#N/A</c:v>
                </c:pt>
                <c:pt idx="11190">
                  <c:v>#N/A</c:v>
                </c:pt>
                <c:pt idx="11191">
                  <c:v>#N/A</c:v>
                </c:pt>
                <c:pt idx="11192">
                  <c:v>#N/A</c:v>
                </c:pt>
                <c:pt idx="11193">
                  <c:v>#N/A</c:v>
                </c:pt>
                <c:pt idx="11194">
                  <c:v>#N/A</c:v>
                </c:pt>
                <c:pt idx="11195">
                  <c:v>#N/A</c:v>
                </c:pt>
                <c:pt idx="11196">
                  <c:v>#N/A</c:v>
                </c:pt>
                <c:pt idx="11197">
                  <c:v>#N/A</c:v>
                </c:pt>
                <c:pt idx="11198">
                  <c:v>#N/A</c:v>
                </c:pt>
                <c:pt idx="11199">
                  <c:v>#N/A</c:v>
                </c:pt>
                <c:pt idx="11200">
                  <c:v>#N/A</c:v>
                </c:pt>
                <c:pt idx="11201">
                  <c:v>#N/A</c:v>
                </c:pt>
                <c:pt idx="11202">
                  <c:v>#N/A</c:v>
                </c:pt>
                <c:pt idx="11203">
                  <c:v>#N/A</c:v>
                </c:pt>
                <c:pt idx="11204">
                  <c:v>#N/A</c:v>
                </c:pt>
                <c:pt idx="11205">
                  <c:v>#N/A</c:v>
                </c:pt>
                <c:pt idx="11206">
                  <c:v>4.6794520547945204</c:v>
                </c:pt>
                <c:pt idx="11207">
                  <c:v>#N/A</c:v>
                </c:pt>
                <c:pt idx="11208">
                  <c:v>#N/A</c:v>
                </c:pt>
                <c:pt idx="11209">
                  <c:v>#N/A</c:v>
                </c:pt>
                <c:pt idx="11210">
                  <c:v>#N/A</c:v>
                </c:pt>
                <c:pt idx="11211">
                  <c:v>#N/A</c:v>
                </c:pt>
                <c:pt idx="11212">
                  <c:v>#N/A</c:v>
                </c:pt>
                <c:pt idx="11213">
                  <c:v>#N/A</c:v>
                </c:pt>
                <c:pt idx="11214">
                  <c:v>#N/A</c:v>
                </c:pt>
                <c:pt idx="11215">
                  <c:v>#N/A</c:v>
                </c:pt>
                <c:pt idx="11216">
                  <c:v>#N/A</c:v>
                </c:pt>
                <c:pt idx="11217">
                  <c:v>#N/A</c:v>
                </c:pt>
                <c:pt idx="11218">
                  <c:v>#N/A</c:v>
                </c:pt>
                <c:pt idx="11219">
                  <c:v>#N/A</c:v>
                </c:pt>
                <c:pt idx="11220">
                  <c:v>#N/A</c:v>
                </c:pt>
                <c:pt idx="11221">
                  <c:v>#N/A</c:v>
                </c:pt>
                <c:pt idx="11222">
                  <c:v>#N/A</c:v>
                </c:pt>
                <c:pt idx="11223">
                  <c:v>#N/A</c:v>
                </c:pt>
                <c:pt idx="11224">
                  <c:v>#N/A</c:v>
                </c:pt>
                <c:pt idx="11225">
                  <c:v>#N/A</c:v>
                </c:pt>
                <c:pt idx="11226">
                  <c:v>#N/A</c:v>
                </c:pt>
                <c:pt idx="11227">
                  <c:v>#N/A</c:v>
                </c:pt>
                <c:pt idx="11228">
                  <c:v>#N/A</c:v>
                </c:pt>
                <c:pt idx="11229">
                  <c:v>#N/A</c:v>
                </c:pt>
                <c:pt idx="11230">
                  <c:v>#N/A</c:v>
                </c:pt>
                <c:pt idx="11231">
                  <c:v>#N/A</c:v>
                </c:pt>
                <c:pt idx="11232">
                  <c:v>#N/A</c:v>
                </c:pt>
                <c:pt idx="11233">
                  <c:v>#N/A</c:v>
                </c:pt>
                <c:pt idx="11234">
                  <c:v>#N/A</c:v>
                </c:pt>
                <c:pt idx="11235">
                  <c:v>#N/A</c:v>
                </c:pt>
                <c:pt idx="11236">
                  <c:v>#N/A</c:v>
                </c:pt>
                <c:pt idx="11237">
                  <c:v>#N/A</c:v>
                </c:pt>
                <c:pt idx="11238">
                  <c:v>#N/A</c:v>
                </c:pt>
                <c:pt idx="11239">
                  <c:v>#N/A</c:v>
                </c:pt>
                <c:pt idx="11240">
                  <c:v>#N/A</c:v>
                </c:pt>
                <c:pt idx="11241">
                  <c:v>#N/A</c:v>
                </c:pt>
                <c:pt idx="11242">
                  <c:v>#N/A</c:v>
                </c:pt>
                <c:pt idx="11243">
                  <c:v>#N/A</c:v>
                </c:pt>
                <c:pt idx="11244">
                  <c:v>#N/A</c:v>
                </c:pt>
                <c:pt idx="11245">
                  <c:v>#N/A</c:v>
                </c:pt>
                <c:pt idx="11246">
                  <c:v>#N/A</c:v>
                </c:pt>
                <c:pt idx="11247">
                  <c:v>4.7397260273972606</c:v>
                </c:pt>
                <c:pt idx="11248">
                  <c:v>#N/A</c:v>
                </c:pt>
                <c:pt idx="11249">
                  <c:v>#N/A</c:v>
                </c:pt>
                <c:pt idx="11250">
                  <c:v>#N/A</c:v>
                </c:pt>
                <c:pt idx="11251">
                  <c:v>#N/A</c:v>
                </c:pt>
                <c:pt idx="11252">
                  <c:v>#N/A</c:v>
                </c:pt>
                <c:pt idx="11253">
                  <c:v>#N/A</c:v>
                </c:pt>
                <c:pt idx="11254">
                  <c:v>#N/A</c:v>
                </c:pt>
                <c:pt idx="11255">
                  <c:v>#N/A</c:v>
                </c:pt>
                <c:pt idx="11256">
                  <c:v>#N/A</c:v>
                </c:pt>
                <c:pt idx="11257">
                  <c:v>#N/A</c:v>
                </c:pt>
                <c:pt idx="11258">
                  <c:v>#N/A</c:v>
                </c:pt>
                <c:pt idx="11259">
                  <c:v>#N/A</c:v>
                </c:pt>
                <c:pt idx="11260">
                  <c:v>#N/A</c:v>
                </c:pt>
                <c:pt idx="11261">
                  <c:v>#N/A</c:v>
                </c:pt>
                <c:pt idx="11262">
                  <c:v>#N/A</c:v>
                </c:pt>
                <c:pt idx="11263">
                  <c:v>4.7945205479452051</c:v>
                </c:pt>
                <c:pt idx="11264">
                  <c:v>#N/A</c:v>
                </c:pt>
                <c:pt idx="11265">
                  <c:v>#N/A</c:v>
                </c:pt>
                <c:pt idx="11266">
                  <c:v>#N/A</c:v>
                </c:pt>
                <c:pt idx="11267">
                  <c:v>#N/A</c:v>
                </c:pt>
                <c:pt idx="11268">
                  <c:v>#N/A</c:v>
                </c:pt>
                <c:pt idx="11269">
                  <c:v>#N/A</c:v>
                </c:pt>
                <c:pt idx="11270">
                  <c:v>#N/A</c:v>
                </c:pt>
                <c:pt idx="11271">
                  <c:v>#N/A</c:v>
                </c:pt>
                <c:pt idx="11272">
                  <c:v>#N/A</c:v>
                </c:pt>
                <c:pt idx="11273">
                  <c:v>#N/A</c:v>
                </c:pt>
                <c:pt idx="11274">
                  <c:v>#N/A</c:v>
                </c:pt>
                <c:pt idx="11275">
                  <c:v>#N/A</c:v>
                </c:pt>
                <c:pt idx="11276">
                  <c:v>#N/A</c:v>
                </c:pt>
                <c:pt idx="11277">
                  <c:v>#N/A</c:v>
                </c:pt>
                <c:pt idx="11278">
                  <c:v>#N/A</c:v>
                </c:pt>
                <c:pt idx="11279">
                  <c:v>#N/A</c:v>
                </c:pt>
                <c:pt idx="11280">
                  <c:v>#N/A</c:v>
                </c:pt>
                <c:pt idx="11281">
                  <c:v>#N/A</c:v>
                </c:pt>
                <c:pt idx="11282">
                  <c:v>#N/A</c:v>
                </c:pt>
                <c:pt idx="11283">
                  <c:v>#N/A</c:v>
                </c:pt>
                <c:pt idx="11284">
                  <c:v>#N/A</c:v>
                </c:pt>
                <c:pt idx="11285">
                  <c:v>#N/A</c:v>
                </c:pt>
                <c:pt idx="11286">
                  <c:v>#N/A</c:v>
                </c:pt>
                <c:pt idx="11287">
                  <c:v>#N/A</c:v>
                </c:pt>
                <c:pt idx="11288">
                  <c:v>#N/A</c:v>
                </c:pt>
                <c:pt idx="11289">
                  <c:v>#N/A</c:v>
                </c:pt>
                <c:pt idx="11290">
                  <c:v>#N/A</c:v>
                </c:pt>
                <c:pt idx="11291">
                  <c:v>#N/A</c:v>
                </c:pt>
                <c:pt idx="11292">
                  <c:v>#N/A</c:v>
                </c:pt>
                <c:pt idx="11293">
                  <c:v>#N/A</c:v>
                </c:pt>
                <c:pt idx="11294">
                  <c:v>#N/A</c:v>
                </c:pt>
                <c:pt idx="11295">
                  <c:v>#N/A</c:v>
                </c:pt>
                <c:pt idx="11296">
                  <c:v>#N/A</c:v>
                </c:pt>
                <c:pt idx="11297">
                  <c:v>#N/A</c:v>
                </c:pt>
                <c:pt idx="11298">
                  <c:v>#N/A</c:v>
                </c:pt>
                <c:pt idx="11299">
                  <c:v>#N/A</c:v>
                </c:pt>
                <c:pt idx="11300">
                  <c:v>#N/A</c:v>
                </c:pt>
                <c:pt idx="11301">
                  <c:v>#N/A</c:v>
                </c:pt>
                <c:pt idx="11302">
                  <c:v>#N/A</c:v>
                </c:pt>
                <c:pt idx="11303">
                  <c:v>#N/A</c:v>
                </c:pt>
                <c:pt idx="11304">
                  <c:v>#N/A</c:v>
                </c:pt>
                <c:pt idx="11305">
                  <c:v>#N/A</c:v>
                </c:pt>
                <c:pt idx="11306">
                  <c:v>#N/A</c:v>
                </c:pt>
                <c:pt idx="11307">
                  <c:v>#N/A</c:v>
                </c:pt>
                <c:pt idx="11308">
                  <c:v>#N/A</c:v>
                </c:pt>
                <c:pt idx="11309">
                  <c:v>#N/A</c:v>
                </c:pt>
                <c:pt idx="11310">
                  <c:v>#N/A</c:v>
                </c:pt>
                <c:pt idx="11311">
                  <c:v>#N/A</c:v>
                </c:pt>
                <c:pt idx="11312">
                  <c:v>#N/A</c:v>
                </c:pt>
                <c:pt idx="11313">
                  <c:v>#N/A</c:v>
                </c:pt>
                <c:pt idx="11314">
                  <c:v>#N/A</c:v>
                </c:pt>
                <c:pt idx="11315">
                  <c:v>#N/A</c:v>
                </c:pt>
                <c:pt idx="11316">
                  <c:v>#N/A</c:v>
                </c:pt>
                <c:pt idx="11317">
                  <c:v>#N/A</c:v>
                </c:pt>
                <c:pt idx="11318">
                  <c:v>#N/A</c:v>
                </c:pt>
                <c:pt idx="11319">
                  <c:v>#N/A</c:v>
                </c:pt>
                <c:pt idx="11320">
                  <c:v>#N/A</c:v>
                </c:pt>
                <c:pt idx="11321">
                  <c:v>#N/A</c:v>
                </c:pt>
                <c:pt idx="11322">
                  <c:v>#N/A</c:v>
                </c:pt>
                <c:pt idx="11323">
                  <c:v>#N/A</c:v>
                </c:pt>
                <c:pt idx="11324">
                  <c:v>#N/A</c:v>
                </c:pt>
                <c:pt idx="11325">
                  <c:v>#N/A</c:v>
                </c:pt>
                <c:pt idx="11326">
                  <c:v>#N/A</c:v>
                </c:pt>
                <c:pt idx="11327">
                  <c:v>#N/A</c:v>
                </c:pt>
                <c:pt idx="11328">
                  <c:v>#N/A</c:v>
                </c:pt>
                <c:pt idx="11329">
                  <c:v>#N/A</c:v>
                </c:pt>
                <c:pt idx="11330">
                  <c:v>#N/A</c:v>
                </c:pt>
                <c:pt idx="11331">
                  <c:v>#N/A</c:v>
                </c:pt>
                <c:pt idx="11332">
                  <c:v>#N/A</c:v>
                </c:pt>
                <c:pt idx="11333">
                  <c:v>#N/A</c:v>
                </c:pt>
                <c:pt idx="11334">
                  <c:v>#N/A</c:v>
                </c:pt>
                <c:pt idx="11335">
                  <c:v>#N/A</c:v>
                </c:pt>
                <c:pt idx="11336">
                  <c:v>#N/A</c:v>
                </c:pt>
                <c:pt idx="11337">
                  <c:v>#N/A</c:v>
                </c:pt>
                <c:pt idx="11338">
                  <c:v>#N/A</c:v>
                </c:pt>
                <c:pt idx="11339">
                  <c:v>#N/A</c:v>
                </c:pt>
                <c:pt idx="11340">
                  <c:v>#N/A</c:v>
                </c:pt>
                <c:pt idx="11341">
                  <c:v>#N/A</c:v>
                </c:pt>
                <c:pt idx="11342">
                  <c:v>#N/A</c:v>
                </c:pt>
                <c:pt idx="11343">
                  <c:v>#N/A</c:v>
                </c:pt>
                <c:pt idx="11344">
                  <c:v>#N/A</c:v>
                </c:pt>
                <c:pt idx="11345">
                  <c:v>#N/A</c:v>
                </c:pt>
                <c:pt idx="11346">
                  <c:v>#N/A</c:v>
                </c:pt>
                <c:pt idx="11347">
                  <c:v>#N/A</c:v>
                </c:pt>
                <c:pt idx="11348">
                  <c:v>#N/A</c:v>
                </c:pt>
                <c:pt idx="11349">
                  <c:v>#N/A</c:v>
                </c:pt>
                <c:pt idx="11350">
                  <c:v>#N/A</c:v>
                </c:pt>
                <c:pt idx="11351">
                  <c:v>#N/A</c:v>
                </c:pt>
                <c:pt idx="11352">
                  <c:v>#N/A</c:v>
                </c:pt>
                <c:pt idx="11353">
                  <c:v>#N/A</c:v>
                </c:pt>
                <c:pt idx="11354">
                  <c:v>#N/A</c:v>
                </c:pt>
                <c:pt idx="11355">
                  <c:v>#N/A</c:v>
                </c:pt>
                <c:pt idx="11356">
                  <c:v>#N/A</c:v>
                </c:pt>
                <c:pt idx="11357">
                  <c:v>#N/A</c:v>
                </c:pt>
                <c:pt idx="11358">
                  <c:v>#N/A</c:v>
                </c:pt>
                <c:pt idx="11359">
                  <c:v>#N/A</c:v>
                </c:pt>
                <c:pt idx="11360">
                  <c:v>#N/A</c:v>
                </c:pt>
                <c:pt idx="11361">
                  <c:v>#N/A</c:v>
                </c:pt>
                <c:pt idx="11362">
                  <c:v>#N/A</c:v>
                </c:pt>
                <c:pt idx="11363">
                  <c:v>#N/A</c:v>
                </c:pt>
                <c:pt idx="11364">
                  <c:v>#N/A</c:v>
                </c:pt>
                <c:pt idx="11365">
                  <c:v>#N/A</c:v>
                </c:pt>
                <c:pt idx="11366">
                  <c:v>#N/A</c:v>
                </c:pt>
                <c:pt idx="11367">
                  <c:v>#N/A</c:v>
                </c:pt>
                <c:pt idx="11368">
                  <c:v>#N/A</c:v>
                </c:pt>
                <c:pt idx="11369">
                  <c:v>#N/A</c:v>
                </c:pt>
                <c:pt idx="11370">
                  <c:v>#N/A</c:v>
                </c:pt>
                <c:pt idx="11371">
                  <c:v>#N/A</c:v>
                </c:pt>
                <c:pt idx="11372">
                  <c:v>#N/A</c:v>
                </c:pt>
                <c:pt idx="11373">
                  <c:v>#N/A</c:v>
                </c:pt>
                <c:pt idx="11374">
                  <c:v>#N/A</c:v>
                </c:pt>
                <c:pt idx="11375">
                  <c:v>#N/A</c:v>
                </c:pt>
                <c:pt idx="11376">
                  <c:v>#N/A</c:v>
                </c:pt>
                <c:pt idx="11377">
                  <c:v>#N/A</c:v>
                </c:pt>
                <c:pt idx="11378">
                  <c:v>#N/A</c:v>
                </c:pt>
                <c:pt idx="11379">
                  <c:v>5.0109589041095894</c:v>
                </c:pt>
                <c:pt idx="11380">
                  <c:v>#N/A</c:v>
                </c:pt>
                <c:pt idx="11381">
                  <c:v>5.0109589041095894</c:v>
                </c:pt>
                <c:pt idx="11382">
                  <c:v>#N/A</c:v>
                </c:pt>
                <c:pt idx="11383">
                  <c:v>#N/A</c:v>
                </c:pt>
                <c:pt idx="11384">
                  <c:v>#N/A</c:v>
                </c:pt>
                <c:pt idx="11385">
                  <c:v>#N/A</c:v>
                </c:pt>
                <c:pt idx="11386">
                  <c:v>5.0109589041095894</c:v>
                </c:pt>
                <c:pt idx="11387">
                  <c:v>#N/A</c:v>
                </c:pt>
                <c:pt idx="11388">
                  <c:v>5.0109589041095894</c:v>
                </c:pt>
                <c:pt idx="11389">
                  <c:v>5.0109589041095894</c:v>
                </c:pt>
                <c:pt idx="11390">
                  <c:v>#N/A</c:v>
                </c:pt>
                <c:pt idx="11391">
                  <c:v>#N/A</c:v>
                </c:pt>
                <c:pt idx="11392">
                  <c:v>#N/A</c:v>
                </c:pt>
                <c:pt idx="11393">
                  <c:v>#N/A</c:v>
                </c:pt>
                <c:pt idx="11394">
                  <c:v>#N/A</c:v>
                </c:pt>
                <c:pt idx="11395">
                  <c:v>#N/A</c:v>
                </c:pt>
                <c:pt idx="11396">
                  <c:v>#N/A</c:v>
                </c:pt>
                <c:pt idx="11397">
                  <c:v>#N/A</c:v>
                </c:pt>
                <c:pt idx="11398">
                  <c:v>#N/A</c:v>
                </c:pt>
                <c:pt idx="11399">
                  <c:v>#N/A</c:v>
                </c:pt>
                <c:pt idx="11400">
                  <c:v>#N/A</c:v>
                </c:pt>
                <c:pt idx="11401">
                  <c:v>#N/A</c:v>
                </c:pt>
                <c:pt idx="11402">
                  <c:v>#N/A</c:v>
                </c:pt>
                <c:pt idx="11403">
                  <c:v>#N/A</c:v>
                </c:pt>
                <c:pt idx="11404">
                  <c:v>#N/A</c:v>
                </c:pt>
                <c:pt idx="11405">
                  <c:v>#N/A</c:v>
                </c:pt>
                <c:pt idx="11406">
                  <c:v>#N/A</c:v>
                </c:pt>
                <c:pt idx="11407">
                  <c:v>#N/A</c:v>
                </c:pt>
                <c:pt idx="11408">
                  <c:v>#N/A</c:v>
                </c:pt>
                <c:pt idx="11409">
                  <c:v>#N/A</c:v>
                </c:pt>
                <c:pt idx="11410">
                  <c:v>#N/A</c:v>
                </c:pt>
                <c:pt idx="11411">
                  <c:v>#N/A</c:v>
                </c:pt>
                <c:pt idx="11412">
                  <c:v>#N/A</c:v>
                </c:pt>
                <c:pt idx="11413">
                  <c:v>#N/A</c:v>
                </c:pt>
                <c:pt idx="11414">
                  <c:v>#N/A</c:v>
                </c:pt>
                <c:pt idx="11415">
                  <c:v>#N/A</c:v>
                </c:pt>
                <c:pt idx="11416">
                  <c:v>5.021917808219178</c:v>
                </c:pt>
                <c:pt idx="11417">
                  <c:v>#N/A</c:v>
                </c:pt>
                <c:pt idx="11418">
                  <c:v>#N/A</c:v>
                </c:pt>
                <c:pt idx="11419">
                  <c:v>#N/A</c:v>
                </c:pt>
                <c:pt idx="11420">
                  <c:v>#N/A</c:v>
                </c:pt>
                <c:pt idx="11421">
                  <c:v>#N/A</c:v>
                </c:pt>
                <c:pt idx="11422">
                  <c:v>#N/A</c:v>
                </c:pt>
                <c:pt idx="11423">
                  <c:v>#N/A</c:v>
                </c:pt>
                <c:pt idx="11424">
                  <c:v>5.0246575342465754</c:v>
                </c:pt>
                <c:pt idx="11425">
                  <c:v>#N/A</c:v>
                </c:pt>
                <c:pt idx="11426">
                  <c:v>#N/A</c:v>
                </c:pt>
                <c:pt idx="11427">
                  <c:v>#N/A</c:v>
                </c:pt>
                <c:pt idx="11428">
                  <c:v>5.0246575342465754</c:v>
                </c:pt>
                <c:pt idx="11429">
                  <c:v>#N/A</c:v>
                </c:pt>
                <c:pt idx="11430">
                  <c:v>#N/A</c:v>
                </c:pt>
                <c:pt idx="11431">
                  <c:v>#N/A</c:v>
                </c:pt>
                <c:pt idx="11432">
                  <c:v>5.0273972602739727</c:v>
                </c:pt>
                <c:pt idx="11433">
                  <c:v>5.0273972602739727</c:v>
                </c:pt>
                <c:pt idx="11434">
                  <c:v>#N/A</c:v>
                </c:pt>
                <c:pt idx="11435">
                  <c:v>5.0273972602739727</c:v>
                </c:pt>
                <c:pt idx="11436">
                  <c:v>5.0273972602739727</c:v>
                </c:pt>
                <c:pt idx="11437">
                  <c:v>#N/A</c:v>
                </c:pt>
                <c:pt idx="11438">
                  <c:v>#N/A</c:v>
                </c:pt>
                <c:pt idx="11439">
                  <c:v>#N/A</c:v>
                </c:pt>
                <c:pt idx="11440">
                  <c:v>#N/A</c:v>
                </c:pt>
                <c:pt idx="11441">
                  <c:v>#N/A</c:v>
                </c:pt>
                <c:pt idx="11442">
                  <c:v>#N/A</c:v>
                </c:pt>
                <c:pt idx="11443">
                  <c:v>#N/A</c:v>
                </c:pt>
                <c:pt idx="11444">
                  <c:v>#N/A</c:v>
                </c:pt>
                <c:pt idx="11445">
                  <c:v>#N/A</c:v>
                </c:pt>
                <c:pt idx="11446">
                  <c:v>#N/A</c:v>
                </c:pt>
                <c:pt idx="11447">
                  <c:v>#N/A</c:v>
                </c:pt>
                <c:pt idx="11448">
                  <c:v>#N/A</c:v>
                </c:pt>
                <c:pt idx="11449">
                  <c:v>#N/A</c:v>
                </c:pt>
                <c:pt idx="11450">
                  <c:v>#N/A</c:v>
                </c:pt>
                <c:pt idx="11451">
                  <c:v>#N/A</c:v>
                </c:pt>
                <c:pt idx="11452">
                  <c:v>#N/A</c:v>
                </c:pt>
                <c:pt idx="11453">
                  <c:v>#N/A</c:v>
                </c:pt>
                <c:pt idx="11454">
                  <c:v>#N/A</c:v>
                </c:pt>
                <c:pt idx="11455">
                  <c:v>#N/A</c:v>
                </c:pt>
                <c:pt idx="11456">
                  <c:v>#N/A</c:v>
                </c:pt>
                <c:pt idx="11457">
                  <c:v>#N/A</c:v>
                </c:pt>
                <c:pt idx="11458">
                  <c:v>#N/A</c:v>
                </c:pt>
                <c:pt idx="11459">
                  <c:v>#N/A</c:v>
                </c:pt>
                <c:pt idx="11460">
                  <c:v>#N/A</c:v>
                </c:pt>
                <c:pt idx="11461">
                  <c:v>5.0465753424657533</c:v>
                </c:pt>
                <c:pt idx="11462">
                  <c:v>5.0465753424657533</c:v>
                </c:pt>
                <c:pt idx="11463">
                  <c:v>5.0465753424657533</c:v>
                </c:pt>
                <c:pt idx="11464">
                  <c:v>#N/A</c:v>
                </c:pt>
                <c:pt idx="11465">
                  <c:v>#N/A</c:v>
                </c:pt>
                <c:pt idx="11466">
                  <c:v>#N/A</c:v>
                </c:pt>
                <c:pt idx="11467">
                  <c:v>#N/A</c:v>
                </c:pt>
                <c:pt idx="11468">
                  <c:v>#N/A</c:v>
                </c:pt>
                <c:pt idx="11469">
                  <c:v>#N/A</c:v>
                </c:pt>
                <c:pt idx="11470">
                  <c:v>#N/A</c:v>
                </c:pt>
                <c:pt idx="11471">
                  <c:v>#N/A</c:v>
                </c:pt>
                <c:pt idx="11472">
                  <c:v>#N/A</c:v>
                </c:pt>
                <c:pt idx="11473">
                  <c:v>#N/A</c:v>
                </c:pt>
                <c:pt idx="11474">
                  <c:v>#N/A</c:v>
                </c:pt>
                <c:pt idx="11475">
                  <c:v>#N/A</c:v>
                </c:pt>
                <c:pt idx="11476">
                  <c:v>#N/A</c:v>
                </c:pt>
                <c:pt idx="11477">
                  <c:v>#N/A</c:v>
                </c:pt>
                <c:pt idx="11478">
                  <c:v>#N/A</c:v>
                </c:pt>
                <c:pt idx="11479">
                  <c:v>#N/A</c:v>
                </c:pt>
                <c:pt idx="11480">
                  <c:v>5.065753424657534</c:v>
                </c:pt>
                <c:pt idx="11481">
                  <c:v>#N/A</c:v>
                </c:pt>
                <c:pt idx="11482">
                  <c:v>#N/A</c:v>
                </c:pt>
                <c:pt idx="11483">
                  <c:v>#N/A</c:v>
                </c:pt>
                <c:pt idx="11484">
                  <c:v>#N/A</c:v>
                </c:pt>
                <c:pt idx="11485">
                  <c:v>#N/A</c:v>
                </c:pt>
                <c:pt idx="11486">
                  <c:v>#N/A</c:v>
                </c:pt>
                <c:pt idx="11487">
                  <c:v>#N/A</c:v>
                </c:pt>
                <c:pt idx="11488">
                  <c:v>#N/A</c:v>
                </c:pt>
                <c:pt idx="11489">
                  <c:v>#N/A</c:v>
                </c:pt>
                <c:pt idx="11490">
                  <c:v>#N/A</c:v>
                </c:pt>
                <c:pt idx="11491">
                  <c:v>#N/A</c:v>
                </c:pt>
                <c:pt idx="11492">
                  <c:v>#N/A</c:v>
                </c:pt>
                <c:pt idx="11493">
                  <c:v>#N/A</c:v>
                </c:pt>
                <c:pt idx="11494">
                  <c:v>#N/A</c:v>
                </c:pt>
                <c:pt idx="11495">
                  <c:v>#N/A</c:v>
                </c:pt>
                <c:pt idx="11496">
                  <c:v>#N/A</c:v>
                </c:pt>
                <c:pt idx="11497">
                  <c:v>#N/A</c:v>
                </c:pt>
                <c:pt idx="11498">
                  <c:v>#N/A</c:v>
                </c:pt>
                <c:pt idx="11499">
                  <c:v>#N/A</c:v>
                </c:pt>
                <c:pt idx="11500">
                  <c:v>5.095890410958904</c:v>
                </c:pt>
                <c:pt idx="11501">
                  <c:v>#N/A</c:v>
                </c:pt>
                <c:pt idx="11502">
                  <c:v>5.095890410958904</c:v>
                </c:pt>
                <c:pt idx="11503">
                  <c:v>#N/A</c:v>
                </c:pt>
                <c:pt idx="11504">
                  <c:v>#N/A</c:v>
                </c:pt>
                <c:pt idx="11505">
                  <c:v>#N/A</c:v>
                </c:pt>
                <c:pt idx="11506">
                  <c:v>#N/A</c:v>
                </c:pt>
                <c:pt idx="11507">
                  <c:v>#N/A</c:v>
                </c:pt>
                <c:pt idx="11508">
                  <c:v>#N/A</c:v>
                </c:pt>
                <c:pt idx="11509">
                  <c:v>#N/A</c:v>
                </c:pt>
                <c:pt idx="11510">
                  <c:v>#N/A</c:v>
                </c:pt>
                <c:pt idx="11511">
                  <c:v>#N/A</c:v>
                </c:pt>
                <c:pt idx="11512">
                  <c:v>#N/A</c:v>
                </c:pt>
                <c:pt idx="11513">
                  <c:v>#N/A</c:v>
                </c:pt>
                <c:pt idx="11514">
                  <c:v>#N/A</c:v>
                </c:pt>
                <c:pt idx="11515">
                  <c:v>#N/A</c:v>
                </c:pt>
                <c:pt idx="11516">
                  <c:v>#N/A</c:v>
                </c:pt>
                <c:pt idx="11517">
                  <c:v>#N/A</c:v>
                </c:pt>
                <c:pt idx="11518">
                  <c:v>#N/A</c:v>
                </c:pt>
                <c:pt idx="11519">
                  <c:v>#N/A</c:v>
                </c:pt>
                <c:pt idx="11520">
                  <c:v>#N/A</c:v>
                </c:pt>
                <c:pt idx="11521">
                  <c:v>#N/A</c:v>
                </c:pt>
                <c:pt idx="11522">
                  <c:v>#N/A</c:v>
                </c:pt>
                <c:pt idx="11523">
                  <c:v>#N/A</c:v>
                </c:pt>
                <c:pt idx="11524">
                  <c:v>#N/A</c:v>
                </c:pt>
                <c:pt idx="11525">
                  <c:v>#N/A</c:v>
                </c:pt>
                <c:pt idx="11526">
                  <c:v>#N/A</c:v>
                </c:pt>
                <c:pt idx="11527">
                  <c:v>#N/A</c:v>
                </c:pt>
                <c:pt idx="11528">
                  <c:v>#N/A</c:v>
                </c:pt>
                <c:pt idx="11529">
                  <c:v>#N/A</c:v>
                </c:pt>
                <c:pt idx="11530">
                  <c:v>#N/A</c:v>
                </c:pt>
                <c:pt idx="11531">
                  <c:v>#N/A</c:v>
                </c:pt>
                <c:pt idx="11532">
                  <c:v>#N/A</c:v>
                </c:pt>
                <c:pt idx="11533">
                  <c:v>#N/A</c:v>
                </c:pt>
                <c:pt idx="11534">
                  <c:v>#N/A</c:v>
                </c:pt>
                <c:pt idx="11535">
                  <c:v>#N/A</c:v>
                </c:pt>
                <c:pt idx="11536">
                  <c:v>#N/A</c:v>
                </c:pt>
                <c:pt idx="11537">
                  <c:v>#N/A</c:v>
                </c:pt>
                <c:pt idx="11538">
                  <c:v>#N/A</c:v>
                </c:pt>
                <c:pt idx="11539">
                  <c:v>#N/A</c:v>
                </c:pt>
                <c:pt idx="11540">
                  <c:v>#N/A</c:v>
                </c:pt>
                <c:pt idx="11541">
                  <c:v>#N/A</c:v>
                </c:pt>
                <c:pt idx="11542">
                  <c:v>#N/A</c:v>
                </c:pt>
                <c:pt idx="11543">
                  <c:v>#N/A</c:v>
                </c:pt>
                <c:pt idx="11544">
                  <c:v>#N/A</c:v>
                </c:pt>
                <c:pt idx="11545">
                  <c:v>#N/A</c:v>
                </c:pt>
                <c:pt idx="11546">
                  <c:v>#N/A</c:v>
                </c:pt>
                <c:pt idx="11547">
                  <c:v>#N/A</c:v>
                </c:pt>
                <c:pt idx="11548">
                  <c:v>#N/A</c:v>
                </c:pt>
                <c:pt idx="11549">
                  <c:v>5.2739726027397262</c:v>
                </c:pt>
                <c:pt idx="11550">
                  <c:v>#N/A</c:v>
                </c:pt>
                <c:pt idx="11551">
                  <c:v>#N/A</c:v>
                </c:pt>
                <c:pt idx="11552">
                  <c:v>#N/A</c:v>
                </c:pt>
                <c:pt idx="11553">
                  <c:v>5.2904109589041095</c:v>
                </c:pt>
                <c:pt idx="11554">
                  <c:v>#N/A</c:v>
                </c:pt>
                <c:pt idx="11555">
                  <c:v>5.2904109589041095</c:v>
                </c:pt>
                <c:pt idx="11556">
                  <c:v>#N/A</c:v>
                </c:pt>
                <c:pt idx="11557">
                  <c:v>5.2986301369863016</c:v>
                </c:pt>
                <c:pt idx="11558">
                  <c:v>5.3068493150684928</c:v>
                </c:pt>
                <c:pt idx="11559">
                  <c:v>5.3068493150684928</c:v>
                </c:pt>
                <c:pt idx="11560">
                  <c:v>5.3068493150684928</c:v>
                </c:pt>
                <c:pt idx="11561">
                  <c:v>5.3068493150684928</c:v>
                </c:pt>
                <c:pt idx="11562">
                  <c:v>#N/A</c:v>
                </c:pt>
                <c:pt idx="11563">
                  <c:v>#N/A</c:v>
                </c:pt>
                <c:pt idx="11564">
                  <c:v>#N/A</c:v>
                </c:pt>
                <c:pt idx="11565">
                  <c:v>#N/A</c:v>
                </c:pt>
                <c:pt idx="11566">
                  <c:v>#N/A</c:v>
                </c:pt>
                <c:pt idx="11567">
                  <c:v>#N/A</c:v>
                </c:pt>
                <c:pt idx="11568">
                  <c:v>#N/A</c:v>
                </c:pt>
                <c:pt idx="11569">
                  <c:v>#N/A</c:v>
                </c:pt>
                <c:pt idx="11570">
                  <c:v>#N/A</c:v>
                </c:pt>
                <c:pt idx="11571">
                  <c:v>#N/A</c:v>
                </c:pt>
                <c:pt idx="11572">
                  <c:v>#N/A</c:v>
                </c:pt>
                <c:pt idx="11573">
                  <c:v>#N/A</c:v>
                </c:pt>
                <c:pt idx="11574">
                  <c:v>#N/A</c:v>
                </c:pt>
                <c:pt idx="11575">
                  <c:v>#N/A</c:v>
                </c:pt>
                <c:pt idx="11576">
                  <c:v>#N/A</c:v>
                </c:pt>
                <c:pt idx="11577">
                  <c:v>5.3369863013698629</c:v>
                </c:pt>
                <c:pt idx="11578">
                  <c:v>#N/A</c:v>
                </c:pt>
                <c:pt idx="11579">
                  <c:v>#N/A</c:v>
                </c:pt>
                <c:pt idx="11580">
                  <c:v>#N/A</c:v>
                </c:pt>
                <c:pt idx="11581">
                  <c:v>#N/A</c:v>
                </c:pt>
                <c:pt idx="11582">
                  <c:v>#N/A</c:v>
                </c:pt>
                <c:pt idx="11583">
                  <c:v>5.3479452054794523</c:v>
                </c:pt>
                <c:pt idx="11584">
                  <c:v>#N/A</c:v>
                </c:pt>
                <c:pt idx="11585">
                  <c:v>#N/A</c:v>
                </c:pt>
                <c:pt idx="11586">
                  <c:v>#N/A</c:v>
                </c:pt>
                <c:pt idx="11587">
                  <c:v>#N/A</c:v>
                </c:pt>
                <c:pt idx="11588">
                  <c:v>#N/A</c:v>
                </c:pt>
                <c:pt idx="11589">
                  <c:v>#N/A</c:v>
                </c:pt>
                <c:pt idx="11590">
                  <c:v>#N/A</c:v>
                </c:pt>
                <c:pt idx="11591">
                  <c:v>#N/A</c:v>
                </c:pt>
                <c:pt idx="11592">
                  <c:v>#N/A</c:v>
                </c:pt>
                <c:pt idx="11593">
                  <c:v>#N/A</c:v>
                </c:pt>
                <c:pt idx="11594">
                  <c:v>#N/A</c:v>
                </c:pt>
                <c:pt idx="11595">
                  <c:v>#N/A</c:v>
                </c:pt>
                <c:pt idx="11596">
                  <c:v>#N/A</c:v>
                </c:pt>
                <c:pt idx="11597">
                  <c:v>#N/A</c:v>
                </c:pt>
                <c:pt idx="11598">
                  <c:v>#N/A</c:v>
                </c:pt>
                <c:pt idx="11599">
                  <c:v>#N/A</c:v>
                </c:pt>
                <c:pt idx="11600">
                  <c:v>#N/A</c:v>
                </c:pt>
                <c:pt idx="11601">
                  <c:v>#N/A</c:v>
                </c:pt>
                <c:pt idx="11602">
                  <c:v>#N/A</c:v>
                </c:pt>
                <c:pt idx="11603">
                  <c:v>#N/A</c:v>
                </c:pt>
                <c:pt idx="11604">
                  <c:v>#N/A</c:v>
                </c:pt>
                <c:pt idx="11605">
                  <c:v>#N/A</c:v>
                </c:pt>
                <c:pt idx="11606">
                  <c:v>#N/A</c:v>
                </c:pt>
                <c:pt idx="11607">
                  <c:v>#N/A</c:v>
                </c:pt>
                <c:pt idx="11608">
                  <c:v>#N/A</c:v>
                </c:pt>
                <c:pt idx="11609">
                  <c:v>#N/A</c:v>
                </c:pt>
                <c:pt idx="11610">
                  <c:v>#N/A</c:v>
                </c:pt>
                <c:pt idx="11611">
                  <c:v>#N/A</c:v>
                </c:pt>
                <c:pt idx="11612">
                  <c:v>#N/A</c:v>
                </c:pt>
                <c:pt idx="11613">
                  <c:v>#N/A</c:v>
                </c:pt>
                <c:pt idx="11614">
                  <c:v>#N/A</c:v>
                </c:pt>
                <c:pt idx="11615">
                  <c:v>#N/A</c:v>
                </c:pt>
                <c:pt idx="11616">
                  <c:v>#N/A</c:v>
                </c:pt>
                <c:pt idx="11617">
                  <c:v>#N/A</c:v>
                </c:pt>
                <c:pt idx="11618">
                  <c:v>#N/A</c:v>
                </c:pt>
                <c:pt idx="11619">
                  <c:v>#N/A</c:v>
                </c:pt>
                <c:pt idx="11620">
                  <c:v>#N/A</c:v>
                </c:pt>
                <c:pt idx="11621">
                  <c:v>#N/A</c:v>
                </c:pt>
                <c:pt idx="11622">
                  <c:v>#N/A</c:v>
                </c:pt>
                <c:pt idx="11623">
                  <c:v>#N/A</c:v>
                </c:pt>
                <c:pt idx="11624">
                  <c:v>#N/A</c:v>
                </c:pt>
                <c:pt idx="11625">
                  <c:v>#N/A</c:v>
                </c:pt>
                <c:pt idx="11626">
                  <c:v>#N/A</c:v>
                </c:pt>
                <c:pt idx="11627">
                  <c:v>5.4082191780821915</c:v>
                </c:pt>
                <c:pt idx="11628">
                  <c:v>#N/A</c:v>
                </c:pt>
                <c:pt idx="11629">
                  <c:v>#N/A</c:v>
                </c:pt>
                <c:pt idx="11630">
                  <c:v>5.4109589041095889</c:v>
                </c:pt>
                <c:pt idx="11631">
                  <c:v>#N/A</c:v>
                </c:pt>
                <c:pt idx="11632">
                  <c:v>#N/A</c:v>
                </c:pt>
                <c:pt idx="11633">
                  <c:v>#N/A</c:v>
                </c:pt>
                <c:pt idx="11634">
                  <c:v>#N/A</c:v>
                </c:pt>
                <c:pt idx="11635">
                  <c:v>#N/A</c:v>
                </c:pt>
                <c:pt idx="11636">
                  <c:v>#N/A</c:v>
                </c:pt>
                <c:pt idx="11637">
                  <c:v>#N/A</c:v>
                </c:pt>
                <c:pt idx="11638">
                  <c:v>#N/A</c:v>
                </c:pt>
                <c:pt idx="11639">
                  <c:v>#N/A</c:v>
                </c:pt>
                <c:pt idx="11640">
                  <c:v>#N/A</c:v>
                </c:pt>
                <c:pt idx="11641">
                  <c:v>#N/A</c:v>
                </c:pt>
                <c:pt idx="11642">
                  <c:v>#N/A</c:v>
                </c:pt>
                <c:pt idx="11643">
                  <c:v>#N/A</c:v>
                </c:pt>
                <c:pt idx="11644">
                  <c:v>#N/A</c:v>
                </c:pt>
                <c:pt idx="11645">
                  <c:v>#N/A</c:v>
                </c:pt>
                <c:pt idx="11646">
                  <c:v>#N/A</c:v>
                </c:pt>
                <c:pt idx="11647">
                  <c:v>#N/A</c:v>
                </c:pt>
                <c:pt idx="11648">
                  <c:v>#N/A</c:v>
                </c:pt>
                <c:pt idx="11649">
                  <c:v>#N/A</c:v>
                </c:pt>
                <c:pt idx="11650">
                  <c:v>#N/A</c:v>
                </c:pt>
                <c:pt idx="11651">
                  <c:v>#N/A</c:v>
                </c:pt>
                <c:pt idx="11652">
                  <c:v>#N/A</c:v>
                </c:pt>
                <c:pt idx="11653">
                  <c:v>#N/A</c:v>
                </c:pt>
                <c:pt idx="11654">
                  <c:v>#N/A</c:v>
                </c:pt>
                <c:pt idx="11655">
                  <c:v>#N/A</c:v>
                </c:pt>
                <c:pt idx="11656">
                  <c:v>#N/A</c:v>
                </c:pt>
                <c:pt idx="11657">
                  <c:v>#N/A</c:v>
                </c:pt>
                <c:pt idx="11658">
                  <c:v>#N/A</c:v>
                </c:pt>
                <c:pt idx="11659">
                  <c:v>5.4328767123287669</c:v>
                </c:pt>
                <c:pt idx="11660">
                  <c:v>#N/A</c:v>
                </c:pt>
                <c:pt idx="11661">
                  <c:v>#N/A</c:v>
                </c:pt>
                <c:pt idx="11662">
                  <c:v>#N/A</c:v>
                </c:pt>
                <c:pt idx="11663">
                  <c:v>#N/A</c:v>
                </c:pt>
                <c:pt idx="11664">
                  <c:v>#N/A</c:v>
                </c:pt>
                <c:pt idx="11665">
                  <c:v>#N/A</c:v>
                </c:pt>
                <c:pt idx="11666">
                  <c:v>#N/A</c:v>
                </c:pt>
                <c:pt idx="11667">
                  <c:v>#N/A</c:v>
                </c:pt>
                <c:pt idx="11668">
                  <c:v>#N/A</c:v>
                </c:pt>
                <c:pt idx="11669">
                  <c:v>#N/A</c:v>
                </c:pt>
                <c:pt idx="11670">
                  <c:v>#N/A</c:v>
                </c:pt>
                <c:pt idx="11671">
                  <c:v>#N/A</c:v>
                </c:pt>
                <c:pt idx="11672">
                  <c:v>#N/A</c:v>
                </c:pt>
                <c:pt idx="11673">
                  <c:v>#N/A</c:v>
                </c:pt>
                <c:pt idx="11674">
                  <c:v>#N/A</c:v>
                </c:pt>
                <c:pt idx="11675">
                  <c:v>#N/A</c:v>
                </c:pt>
                <c:pt idx="11676">
                  <c:v>#N/A</c:v>
                </c:pt>
                <c:pt idx="11677">
                  <c:v>#N/A</c:v>
                </c:pt>
                <c:pt idx="11678">
                  <c:v>5.4328767123287669</c:v>
                </c:pt>
                <c:pt idx="11679">
                  <c:v>#N/A</c:v>
                </c:pt>
                <c:pt idx="11680">
                  <c:v>#N/A</c:v>
                </c:pt>
                <c:pt idx="11681">
                  <c:v>#N/A</c:v>
                </c:pt>
                <c:pt idx="11682">
                  <c:v>#N/A</c:v>
                </c:pt>
                <c:pt idx="11683">
                  <c:v>#N/A</c:v>
                </c:pt>
                <c:pt idx="11684">
                  <c:v>#N/A</c:v>
                </c:pt>
                <c:pt idx="11685">
                  <c:v>#N/A</c:v>
                </c:pt>
                <c:pt idx="11686">
                  <c:v>#N/A</c:v>
                </c:pt>
                <c:pt idx="11687">
                  <c:v>#N/A</c:v>
                </c:pt>
                <c:pt idx="11688">
                  <c:v>#N/A</c:v>
                </c:pt>
                <c:pt idx="11689">
                  <c:v>#N/A</c:v>
                </c:pt>
                <c:pt idx="11690">
                  <c:v>#N/A</c:v>
                </c:pt>
                <c:pt idx="11691">
                  <c:v>5.4328767123287669</c:v>
                </c:pt>
                <c:pt idx="11692">
                  <c:v>#N/A</c:v>
                </c:pt>
                <c:pt idx="11693">
                  <c:v>#N/A</c:v>
                </c:pt>
                <c:pt idx="11694">
                  <c:v>#N/A</c:v>
                </c:pt>
                <c:pt idx="11695">
                  <c:v>#N/A</c:v>
                </c:pt>
                <c:pt idx="11696">
                  <c:v>#N/A</c:v>
                </c:pt>
                <c:pt idx="11697">
                  <c:v>#N/A</c:v>
                </c:pt>
                <c:pt idx="11698">
                  <c:v>#N/A</c:v>
                </c:pt>
                <c:pt idx="11699">
                  <c:v>#N/A</c:v>
                </c:pt>
                <c:pt idx="11700">
                  <c:v>#N/A</c:v>
                </c:pt>
                <c:pt idx="11701">
                  <c:v>#N/A</c:v>
                </c:pt>
                <c:pt idx="11702">
                  <c:v>#N/A</c:v>
                </c:pt>
                <c:pt idx="11703">
                  <c:v>#N/A</c:v>
                </c:pt>
                <c:pt idx="11704">
                  <c:v>#N/A</c:v>
                </c:pt>
                <c:pt idx="11705">
                  <c:v>#N/A</c:v>
                </c:pt>
                <c:pt idx="11706">
                  <c:v>#N/A</c:v>
                </c:pt>
                <c:pt idx="11707">
                  <c:v>#N/A</c:v>
                </c:pt>
                <c:pt idx="11708">
                  <c:v>#N/A</c:v>
                </c:pt>
                <c:pt idx="11709">
                  <c:v>#N/A</c:v>
                </c:pt>
                <c:pt idx="11710">
                  <c:v>#N/A</c:v>
                </c:pt>
                <c:pt idx="11711">
                  <c:v>#N/A</c:v>
                </c:pt>
                <c:pt idx="11712">
                  <c:v>#N/A</c:v>
                </c:pt>
                <c:pt idx="11713">
                  <c:v>#N/A</c:v>
                </c:pt>
                <c:pt idx="11714">
                  <c:v>#N/A</c:v>
                </c:pt>
                <c:pt idx="11715">
                  <c:v>#N/A</c:v>
                </c:pt>
                <c:pt idx="11716">
                  <c:v>#N/A</c:v>
                </c:pt>
                <c:pt idx="11717">
                  <c:v>#N/A</c:v>
                </c:pt>
                <c:pt idx="11718">
                  <c:v>#N/A</c:v>
                </c:pt>
                <c:pt idx="11719">
                  <c:v>#N/A</c:v>
                </c:pt>
                <c:pt idx="11720">
                  <c:v>#N/A</c:v>
                </c:pt>
                <c:pt idx="11721">
                  <c:v>#N/A</c:v>
                </c:pt>
                <c:pt idx="11722">
                  <c:v>#N/A</c:v>
                </c:pt>
                <c:pt idx="11723">
                  <c:v>#N/A</c:v>
                </c:pt>
                <c:pt idx="11724">
                  <c:v>#N/A</c:v>
                </c:pt>
                <c:pt idx="11725">
                  <c:v>#N/A</c:v>
                </c:pt>
                <c:pt idx="11726">
                  <c:v>#N/A</c:v>
                </c:pt>
                <c:pt idx="11727">
                  <c:v>#N/A</c:v>
                </c:pt>
                <c:pt idx="11728">
                  <c:v>#N/A</c:v>
                </c:pt>
                <c:pt idx="11729">
                  <c:v>#N/A</c:v>
                </c:pt>
                <c:pt idx="11730">
                  <c:v>#N/A</c:v>
                </c:pt>
                <c:pt idx="11731">
                  <c:v>#N/A</c:v>
                </c:pt>
                <c:pt idx="11732">
                  <c:v>5.4328767123287669</c:v>
                </c:pt>
                <c:pt idx="11733">
                  <c:v>#N/A</c:v>
                </c:pt>
                <c:pt idx="11734">
                  <c:v>5.4328767123287669</c:v>
                </c:pt>
                <c:pt idx="11735">
                  <c:v>#N/A</c:v>
                </c:pt>
                <c:pt idx="11736">
                  <c:v>5.4328767123287669</c:v>
                </c:pt>
                <c:pt idx="11737">
                  <c:v>#N/A</c:v>
                </c:pt>
                <c:pt idx="11738">
                  <c:v>#N/A</c:v>
                </c:pt>
                <c:pt idx="11739">
                  <c:v>#N/A</c:v>
                </c:pt>
                <c:pt idx="11740">
                  <c:v>#N/A</c:v>
                </c:pt>
                <c:pt idx="11741">
                  <c:v>#N/A</c:v>
                </c:pt>
                <c:pt idx="11742">
                  <c:v>#N/A</c:v>
                </c:pt>
                <c:pt idx="11743">
                  <c:v>#N/A</c:v>
                </c:pt>
                <c:pt idx="11744">
                  <c:v>#N/A</c:v>
                </c:pt>
                <c:pt idx="11745">
                  <c:v>5.4328767123287669</c:v>
                </c:pt>
                <c:pt idx="11746">
                  <c:v>5.4328767123287669</c:v>
                </c:pt>
                <c:pt idx="11747">
                  <c:v>5.4328767123287669</c:v>
                </c:pt>
                <c:pt idx="11748">
                  <c:v>#N/A</c:v>
                </c:pt>
                <c:pt idx="11749">
                  <c:v>#N/A</c:v>
                </c:pt>
                <c:pt idx="11750">
                  <c:v>#N/A</c:v>
                </c:pt>
                <c:pt idx="11751">
                  <c:v>#N/A</c:v>
                </c:pt>
                <c:pt idx="11752">
                  <c:v>#N/A</c:v>
                </c:pt>
                <c:pt idx="11753">
                  <c:v>#N/A</c:v>
                </c:pt>
                <c:pt idx="11754">
                  <c:v>5.4328767123287669</c:v>
                </c:pt>
                <c:pt idx="11755">
                  <c:v>#N/A</c:v>
                </c:pt>
                <c:pt idx="11756">
                  <c:v>#N/A</c:v>
                </c:pt>
                <c:pt idx="11757">
                  <c:v>#N/A</c:v>
                </c:pt>
                <c:pt idx="11758">
                  <c:v>#N/A</c:v>
                </c:pt>
                <c:pt idx="11759">
                  <c:v>#N/A</c:v>
                </c:pt>
                <c:pt idx="11760">
                  <c:v>5.4328767123287669</c:v>
                </c:pt>
                <c:pt idx="11761">
                  <c:v>#N/A</c:v>
                </c:pt>
                <c:pt idx="11762">
                  <c:v>#N/A</c:v>
                </c:pt>
                <c:pt idx="11763">
                  <c:v>#N/A</c:v>
                </c:pt>
                <c:pt idx="11764">
                  <c:v>5.4328767123287669</c:v>
                </c:pt>
                <c:pt idx="11765">
                  <c:v>#N/A</c:v>
                </c:pt>
                <c:pt idx="11766">
                  <c:v>#N/A</c:v>
                </c:pt>
                <c:pt idx="11767">
                  <c:v>#N/A</c:v>
                </c:pt>
                <c:pt idx="11768">
                  <c:v>#N/A</c:v>
                </c:pt>
                <c:pt idx="11769">
                  <c:v>#N/A</c:v>
                </c:pt>
                <c:pt idx="11770">
                  <c:v>#N/A</c:v>
                </c:pt>
                <c:pt idx="11771">
                  <c:v>#N/A</c:v>
                </c:pt>
                <c:pt idx="11772">
                  <c:v>#N/A</c:v>
                </c:pt>
                <c:pt idx="11773">
                  <c:v>#N/A</c:v>
                </c:pt>
                <c:pt idx="11774">
                  <c:v>#N/A</c:v>
                </c:pt>
                <c:pt idx="11775">
                  <c:v>#N/A</c:v>
                </c:pt>
                <c:pt idx="11776">
                  <c:v>#N/A</c:v>
                </c:pt>
                <c:pt idx="11777">
                  <c:v>#N/A</c:v>
                </c:pt>
                <c:pt idx="11778">
                  <c:v>#N/A</c:v>
                </c:pt>
                <c:pt idx="11779">
                  <c:v>#N/A</c:v>
                </c:pt>
                <c:pt idx="11780">
                  <c:v>#N/A</c:v>
                </c:pt>
                <c:pt idx="11781">
                  <c:v>#N/A</c:v>
                </c:pt>
                <c:pt idx="11782">
                  <c:v>#N/A</c:v>
                </c:pt>
                <c:pt idx="11783">
                  <c:v>#N/A</c:v>
                </c:pt>
                <c:pt idx="11784">
                  <c:v>#N/A</c:v>
                </c:pt>
                <c:pt idx="11785">
                  <c:v>#N/A</c:v>
                </c:pt>
                <c:pt idx="11786">
                  <c:v>#N/A</c:v>
                </c:pt>
                <c:pt idx="11787">
                  <c:v>5.4438356164383563</c:v>
                </c:pt>
                <c:pt idx="11788">
                  <c:v>#N/A</c:v>
                </c:pt>
                <c:pt idx="11789">
                  <c:v>#N/A</c:v>
                </c:pt>
                <c:pt idx="11790">
                  <c:v>#N/A</c:v>
                </c:pt>
                <c:pt idx="11791">
                  <c:v>#N/A</c:v>
                </c:pt>
                <c:pt idx="11792">
                  <c:v>#N/A</c:v>
                </c:pt>
                <c:pt idx="11793">
                  <c:v>#N/A</c:v>
                </c:pt>
                <c:pt idx="11794">
                  <c:v>5.4438356164383563</c:v>
                </c:pt>
                <c:pt idx="11795">
                  <c:v>#N/A</c:v>
                </c:pt>
                <c:pt idx="11796">
                  <c:v>#N/A</c:v>
                </c:pt>
                <c:pt idx="11797">
                  <c:v>#N/A</c:v>
                </c:pt>
                <c:pt idx="11798">
                  <c:v>#N/A</c:v>
                </c:pt>
                <c:pt idx="11799">
                  <c:v>#N/A</c:v>
                </c:pt>
                <c:pt idx="11800">
                  <c:v>#N/A</c:v>
                </c:pt>
                <c:pt idx="11801">
                  <c:v>#N/A</c:v>
                </c:pt>
                <c:pt idx="11802">
                  <c:v>#N/A</c:v>
                </c:pt>
                <c:pt idx="11803">
                  <c:v>#N/A</c:v>
                </c:pt>
                <c:pt idx="11804">
                  <c:v>5.4465753424657537</c:v>
                </c:pt>
                <c:pt idx="11805">
                  <c:v>#N/A</c:v>
                </c:pt>
                <c:pt idx="11806">
                  <c:v>5.4493150684931511</c:v>
                </c:pt>
                <c:pt idx="11807">
                  <c:v>#N/A</c:v>
                </c:pt>
                <c:pt idx="11808">
                  <c:v>#N/A</c:v>
                </c:pt>
                <c:pt idx="11809">
                  <c:v>#N/A</c:v>
                </c:pt>
                <c:pt idx="11810">
                  <c:v>#N/A</c:v>
                </c:pt>
                <c:pt idx="11811">
                  <c:v>#N/A</c:v>
                </c:pt>
                <c:pt idx="11812">
                  <c:v>#N/A</c:v>
                </c:pt>
                <c:pt idx="11813">
                  <c:v>#N/A</c:v>
                </c:pt>
                <c:pt idx="11814">
                  <c:v>#N/A</c:v>
                </c:pt>
                <c:pt idx="11815">
                  <c:v>#N/A</c:v>
                </c:pt>
                <c:pt idx="11816">
                  <c:v>#N/A</c:v>
                </c:pt>
                <c:pt idx="11817">
                  <c:v>#N/A</c:v>
                </c:pt>
                <c:pt idx="11818">
                  <c:v>#N/A</c:v>
                </c:pt>
                <c:pt idx="11819">
                  <c:v>#N/A</c:v>
                </c:pt>
                <c:pt idx="11820">
                  <c:v>#N/A</c:v>
                </c:pt>
                <c:pt idx="11821">
                  <c:v>#N/A</c:v>
                </c:pt>
                <c:pt idx="11822">
                  <c:v>#N/A</c:v>
                </c:pt>
                <c:pt idx="11823">
                  <c:v>#N/A</c:v>
                </c:pt>
                <c:pt idx="11824">
                  <c:v>#N/A</c:v>
                </c:pt>
                <c:pt idx="11825">
                  <c:v>#N/A</c:v>
                </c:pt>
                <c:pt idx="11826">
                  <c:v>#N/A</c:v>
                </c:pt>
                <c:pt idx="11827">
                  <c:v>#N/A</c:v>
                </c:pt>
                <c:pt idx="11828">
                  <c:v>#N/A</c:v>
                </c:pt>
                <c:pt idx="11829">
                  <c:v>#N/A</c:v>
                </c:pt>
                <c:pt idx="11830">
                  <c:v>#N/A</c:v>
                </c:pt>
                <c:pt idx="11831">
                  <c:v>#N/A</c:v>
                </c:pt>
                <c:pt idx="11832">
                  <c:v>#N/A</c:v>
                </c:pt>
                <c:pt idx="11833">
                  <c:v>#N/A</c:v>
                </c:pt>
                <c:pt idx="11834">
                  <c:v>#N/A</c:v>
                </c:pt>
                <c:pt idx="11835">
                  <c:v>#N/A</c:v>
                </c:pt>
                <c:pt idx="11836">
                  <c:v>#N/A</c:v>
                </c:pt>
                <c:pt idx="11837">
                  <c:v>#N/A</c:v>
                </c:pt>
                <c:pt idx="11838">
                  <c:v>#N/A</c:v>
                </c:pt>
                <c:pt idx="11839">
                  <c:v>#N/A</c:v>
                </c:pt>
                <c:pt idx="11840">
                  <c:v>#N/A</c:v>
                </c:pt>
                <c:pt idx="11841">
                  <c:v>#N/A</c:v>
                </c:pt>
                <c:pt idx="11842">
                  <c:v>#N/A</c:v>
                </c:pt>
                <c:pt idx="11843">
                  <c:v>#N/A</c:v>
                </c:pt>
                <c:pt idx="11844">
                  <c:v>#N/A</c:v>
                </c:pt>
                <c:pt idx="11845">
                  <c:v>#N/A</c:v>
                </c:pt>
                <c:pt idx="11846">
                  <c:v>5.4712328767123291</c:v>
                </c:pt>
                <c:pt idx="11847">
                  <c:v>#N/A</c:v>
                </c:pt>
                <c:pt idx="11848">
                  <c:v>#N/A</c:v>
                </c:pt>
                <c:pt idx="11849">
                  <c:v>#N/A</c:v>
                </c:pt>
                <c:pt idx="11850">
                  <c:v>#N/A</c:v>
                </c:pt>
                <c:pt idx="11851">
                  <c:v>#N/A</c:v>
                </c:pt>
                <c:pt idx="11852">
                  <c:v>#N/A</c:v>
                </c:pt>
                <c:pt idx="11853">
                  <c:v>#N/A</c:v>
                </c:pt>
                <c:pt idx="11854">
                  <c:v>#N/A</c:v>
                </c:pt>
                <c:pt idx="11855">
                  <c:v>#N/A</c:v>
                </c:pt>
                <c:pt idx="11856">
                  <c:v>#N/A</c:v>
                </c:pt>
                <c:pt idx="11857">
                  <c:v>#N/A</c:v>
                </c:pt>
                <c:pt idx="11858">
                  <c:v>#N/A</c:v>
                </c:pt>
                <c:pt idx="11859">
                  <c:v>#N/A</c:v>
                </c:pt>
                <c:pt idx="11860">
                  <c:v>#N/A</c:v>
                </c:pt>
                <c:pt idx="11861">
                  <c:v>#N/A</c:v>
                </c:pt>
                <c:pt idx="11862">
                  <c:v>#N/A</c:v>
                </c:pt>
                <c:pt idx="11863">
                  <c:v>#N/A</c:v>
                </c:pt>
                <c:pt idx="11864">
                  <c:v>#N/A</c:v>
                </c:pt>
                <c:pt idx="11865">
                  <c:v>#N/A</c:v>
                </c:pt>
                <c:pt idx="11866">
                  <c:v>#N/A</c:v>
                </c:pt>
                <c:pt idx="11867">
                  <c:v>#N/A</c:v>
                </c:pt>
                <c:pt idx="11868">
                  <c:v>#N/A</c:v>
                </c:pt>
                <c:pt idx="11869">
                  <c:v>#N/A</c:v>
                </c:pt>
                <c:pt idx="11870">
                  <c:v>#N/A</c:v>
                </c:pt>
                <c:pt idx="11871">
                  <c:v>#N/A</c:v>
                </c:pt>
                <c:pt idx="11872">
                  <c:v>#N/A</c:v>
                </c:pt>
                <c:pt idx="11873">
                  <c:v>5.484931506849315</c:v>
                </c:pt>
                <c:pt idx="11874">
                  <c:v>#N/A</c:v>
                </c:pt>
                <c:pt idx="11875">
                  <c:v>#N/A</c:v>
                </c:pt>
                <c:pt idx="11876">
                  <c:v>#N/A</c:v>
                </c:pt>
                <c:pt idx="11877">
                  <c:v>#N/A</c:v>
                </c:pt>
                <c:pt idx="11878">
                  <c:v>#N/A</c:v>
                </c:pt>
                <c:pt idx="11879">
                  <c:v>#N/A</c:v>
                </c:pt>
                <c:pt idx="11880">
                  <c:v>#N/A</c:v>
                </c:pt>
                <c:pt idx="11881">
                  <c:v>#N/A</c:v>
                </c:pt>
                <c:pt idx="11882">
                  <c:v>#N/A</c:v>
                </c:pt>
                <c:pt idx="11883">
                  <c:v>#N/A</c:v>
                </c:pt>
                <c:pt idx="11884">
                  <c:v>#N/A</c:v>
                </c:pt>
                <c:pt idx="11885">
                  <c:v>#N/A</c:v>
                </c:pt>
                <c:pt idx="11886">
                  <c:v>#N/A</c:v>
                </c:pt>
                <c:pt idx="11887">
                  <c:v>#N/A</c:v>
                </c:pt>
                <c:pt idx="11888">
                  <c:v>#N/A</c:v>
                </c:pt>
                <c:pt idx="11889">
                  <c:v>#N/A</c:v>
                </c:pt>
                <c:pt idx="11890">
                  <c:v>#N/A</c:v>
                </c:pt>
                <c:pt idx="11891">
                  <c:v>5.5095890410958903</c:v>
                </c:pt>
                <c:pt idx="11892">
                  <c:v>#N/A</c:v>
                </c:pt>
                <c:pt idx="11893">
                  <c:v>#N/A</c:v>
                </c:pt>
                <c:pt idx="11894">
                  <c:v>#N/A</c:v>
                </c:pt>
                <c:pt idx="11895">
                  <c:v>#N/A</c:v>
                </c:pt>
                <c:pt idx="11896">
                  <c:v>#N/A</c:v>
                </c:pt>
                <c:pt idx="11897">
                  <c:v>#N/A</c:v>
                </c:pt>
                <c:pt idx="11898">
                  <c:v>#N/A</c:v>
                </c:pt>
                <c:pt idx="11899">
                  <c:v>#N/A</c:v>
                </c:pt>
                <c:pt idx="11900">
                  <c:v>#N/A</c:v>
                </c:pt>
                <c:pt idx="11901">
                  <c:v>#N/A</c:v>
                </c:pt>
                <c:pt idx="11902">
                  <c:v>#N/A</c:v>
                </c:pt>
                <c:pt idx="11903">
                  <c:v>#N/A</c:v>
                </c:pt>
                <c:pt idx="11904">
                  <c:v>#N/A</c:v>
                </c:pt>
                <c:pt idx="11905">
                  <c:v>5.5178082191780824</c:v>
                </c:pt>
                <c:pt idx="11906">
                  <c:v>#N/A</c:v>
                </c:pt>
                <c:pt idx="11907">
                  <c:v>#N/A</c:v>
                </c:pt>
                <c:pt idx="11908">
                  <c:v>#N/A</c:v>
                </c:pt>
                <c:pt idx="11909">
                  <c:v>#N/A</c:v>
                </c:pt>
                <c:pt idx="11910">
                  <c:v>5.5178082191780824</c:v>
                </c:pt>
                <c:pt idx="11911">
                  <c:v>#N/A</c:v>
                </c:pt>
                <c:pt idx="11912">
                  <c:v>#N/A</c:v>
                </c:pt>
                <c:pt idx="11913">
                  <c:v>#N/A</c:v>
                </c:pt>
                <c:pt idx="11914">
                  <c:v>#N/A</c:v>
                </c:pt>
                <c:pt idx="11915">
                  <c:v>#N/A</c:v>
                </c:pt>
                <c:pt idx="11916">
                  <c:v>#N/A</c:v>
                </c:pt>
                <c:pt idx="11917">
                  <c:v>5.5205479452054798</c:v>
                </c:pt>
                <c:pt idx="11918">
                  <c:v>#N/A</c:v>
                </c:pt>
                <c:pt idx="11919">
                  <c:v>#N/A</c:v>
                </c:pt>
                <c:pt idx="11920">
                  <c:v>#N/A</c:v>
                </c:pt>
                <c:pt idx="11921">
                  <c:v>#N/A</c:v>
                </c:pt>
                <c:pt idx="11922">
                  <c:v>#N/A</c:v>
                </c:pt>
                <c:pt idx="11923">
                  <c:v>#N/A</c:v>
                </c:pt>
                <c:pt idx="11924">
                  <c:v>#N/A</c:v>
                </c:pt>
                <c:pt idx="11925">
                  <c:v>5.5232876712328771</c:v>
                </c:pt>
                <c:pt idx="11926">
                  <c:v>#N/A</c:v>
                </c:pt>
                <c:pt idx="11927">
                  <c:v>5.5232876712328771</c:v>
                </c:pt>
                <c:pt idx="11928">
                  <c:v>5.5232876712328771</c:v>
                </c:pt>
                <c:pt idx="11929">
                  <c:v>#N/A</c:v>
                </c:pt>
                <c:pt idx="11930">
                  <c:v>#N/A</c:v>
                </c:pt>
                <c:pt idx="11931">
                  <c:v>#N/A</c:v>
                </c:pt>
                <c:pt idx="11932">
                  <c:v>#N/A</c:v>
                </c:pt>
                <c:pt idx="11933">
                  <c:v>#N/A</c:v>
                </c:pt>
                <c:pt idx="11934">
                  <c:v>#N/A</c:v>
                </c:pt>
                <c:pt idx="11935">
                  <c:v>#N/A</c:v>
                </c:pt>
                <c:pt idx="11936">
                  <c:v>#N/A</c:v>
                </c:pt>
                <c:pt idx="11937">
                  <c:v>#N/A</c:v>
                </c:pt>
                <c:pt idx="11938">
                  <c:v>#N/A</c:v>
                </c:pt>
                <c:pt idx="11939">
                  <c:v>#N/A</c:v>
                </c:pt>
                <c:pt idx="11940">
                  <c:v>#N/A</c:v>
                </c:pt>
                <c:pt idx="11941">
                  <c:v>#N/A</c:v>
                </c:pt>
                <c:pt idx="11942">
                  <c:v>#N/A</c:v>
                </c:pt>
                <c:pt idx="11943">
                  <c:v>#N/A</c:v>
                </c:pt>
                <c:pt idx="11944">
                  <c:v>#N/A</c:v>
                </c:pt>
                <c:pt idx="11945">
                  <c:v>#N/A</c:v>
                </c:pt>
                <c:pt idx="11946">
                  <c:v>#N/A</c:v>
                </c:pt>
                <c:pt idx="11947">
                  <c:v>#N/A</c:v>
                </c:pt>
                <c:pt idx="11948">
                  <c:v>#N/A</c:v>
                </c:pt>
                <c:pt idx="11949">
                  <c:v>5.536986301369863</c:v>
                </c:pt>
                <c:pt idx="11950">
                  <c:v>#N/A</c:v>
                </c:pt>
                <c:pt idx="11951">
                  <c:v>#N/A</c:v>
                </c:pt>
                <c:pt idx="11952">
                  <c:v>#N/A</c:v>
                </c:pt>
                <c:pt idx="11953">
                  <c:v>#N/A</c:v>
                </c:pt>
                <c:pt idx="11954">
                  <c:v>#N/A</c:v>
                </c:pt>
                <c:pt idx="11955">
                  <c:v>#N/A</c:v>
                </c:pt>
                <c:pt idx="11956">
                  <c:v>#N/A</c:v>
                </c:pt>
                <c:pt idx="11957">
                  <c:v>#N/A</c:v>
                </c:pt>
                <c:pt idx="11958">
                  <c:v>#N/A</c:v>
                </c:pt>
                <c:pt idx="11959">
                  <c:v>#N/A</c:v>
                </c:pt>
                <c:pt idx="11960">
                  <c:v>#N/A</c:v>
                </c:pt>
                <c:pt idx="11961">
                  <c:v>#N/A</c:v>
                </c:pt>
                <c:pt idx="11962">
                  <c:v>#N/A</c:v>
                </c:pt>
                <c:pt idx="11963">
                  <c:v>#N/A</c:v>
                </c:pt>
                <c:pt idx="11964">
                  <c:v>#N/A</c:v>
                </c:pt>
                <c:pt idx="11965">
                  <c:v>#N/A</c:v>
                </c:pt>
                <c:pt idx="11966">
                  <c:v>#N/A</c:v>
                </c:pt>
                <c:pt idx="11967">
                  <c:v>#N/A</c:v>
                </c:pt>
                <c:pt idx="11968">
                  <c:v>#N/A</c:v>
                </c:pt>
                <c:pt idx="11969">
                  <c:v>#N/A</c:v>
                </c:pt>
                <c:pt idx="11970">
                  <c:v>#N/A</c:v>
                </c:pt>
                <c:pt idx="11971">
                  <c:v>#N/A</c:v>
                </c:pt>
                <c:pt idx="11972">
                  <c:v>#N/A</c:v>
                </c:pt>
                <c:pt idx="11973">
                  <c:v>#N/A</c:v>
                </c:pt>
                <c:pt idx="11974">
                  <c:v>#N/A</c:v>
                </c:pt>
                <c:pt idx="11975">
                  <c:v>5.5561643835616437</c:v>
                </c:pt>
                <c:pt idx="11976">
                  <c:v>#N/A</c:v>
                </c:pt>
                <c:pt idx="11977">
                  <c:v>#N/A</c:v>
                </c:pt>
                <c:pt idx="11978">
                  <c:v>5.558904109589041</c:v>
                </c:pt>
                <c:pt idx="11979">
                  <c:v>#N/A</c:v>
                </c:pt>
                <c:pt idx="11980">
                  <c:v>#N/A</c:v>
                </c:pt>
                <c:pt idx="11981">
                  <c:v>#N/A</c:v>
                </c:pt>
                <c:pt idx="11982">
                  <c:v>#N/A</c:v>
                </c:pt>
                <c:pt idx="11983">
                  <c:v>#N/A</c:v>
                </c:pt>
                <c:pt idx="11984">
                  <c:v>#N/A</c:v>
                </c:pt>
                <c:pt idx="11985">
                  <c:v>#N/A</c:v>
                </c:pt>
                <c:pt idx="11986">
                  <c:v>#N/A</c:v>
                </c:pt>
                <c:pt idx="11987">
                  <c:v>#N/A</c:v>
                </c:pt>
                <c:pt idx="11988">
                  <c:v>#N/A</c:v>
                </c:pt>
                <c:pt idx="11989">
                  <c:v>#N/A</c:v>
                </c:pt>
                <c:pt idx="11990">
                  <c:v>#N/A</c:v>
                </c:pt>
                <c:pt idx="11991">
                  <c:v>#N/A</c:v>
                </c:pt>
                <c:pt idx="11992">
                  <c:v>#N/A</c:v>
                </c:pt>
                <c:pt idx="11993">
                  <c:v>#N/A</c:v>
                </c:pt>
                <c:pt idx="11994">
                  <c:v>#N/A</c:v>
                </c:pt>
                <c:pt idx="11995">
                  <c:v>5.5972602739726032</c:v>
                </c:pt>
                <c:pt idx="11996">
                  <c:v>#N/A</c:v>
                </c:pt>
                <c:pt idx="11997">
                  <c:v>#N/A</c:v>
                </c:pt>
                <c:pt idx="11998">
                  <c:v>#N/A</c:v>
                </c:pt>
                <c:pt idx="11999">
                  <c:v>#N/A</c:v>
                </c:pt>
                <c:pt idx="12000">
                  <c:v>#N/A</c:v>
                </c:pt>
                <c:pt idx="12001">
                  <c:v>#N/A</c:v>
                </c:pt>
                <c:pt idx="12002">
                  <c:v>#N/A</c:v>
                </c:pt>
                <c:pt idx="12003">
                  <c:v>#N/A</c:v>
                </c:pt>
                <c:pt idx="12004">
                  <c:v>#N/A</c:v>
                </c:pt>
                <c:pt idx="12005">
                  <c:v>#N/A</c:v>
                </c:pt>
                <c:pt idx="12006">
                  <c:v>#N/A</c:v>
                </c:pt>
                <c:pt idx="12007">
                  <c:v>5.6164383561643838</c:v>
                </c:pt>
                <c:pt idx="12008">
                  <c:v>5.6164383561643838</c:v>
                </c:pt>
                <c:pt idx="12009">
                  <c:v>#N/A</c:v>
                </c:pt>
                <c:pt idx="12010">
                  <c:v>5.6164383561643838</c:v>
                </c:pt>
                <c:pt idx="12011">
                  <c:v>#N/A</c:v>
                </c:pt>
                <c:pt idx="12012">
                  <c:v>5.6191780821917812</c:v>
                </c:pt>
                <c:pt idx="12013">
                  <c:v>#N/A</c:v>
                </c:pt>
                <c:pt idx="12014">
                  <c:v>#N/A</c:v>
                </c:pt>
                <c:pt idx="12015">
                  <c:v>#N/A</c:v>
                </c:pt>
                <c:pt idx="12016">
                  <c:v>#N/A</c:v>
                </c:pt>
                <c:pt idx="12017">
                  <c:v>5.6356164383561644</c:v>
                </c:pt>
                <c:pt idx="12018">
                  <c:v>#N/A</c:v>
                </c:pt>
                <c:pt idx="12019">
                  <c:v>5.6356164383561644</c:v>
                </c:pt>
                <c:pt idx="12020">
                  <c:v>#N/A</c:v>
                </c:pt>
                <c:pt idx="12021">
                  <c:v>#N/A</c:v>
                </c:pt>
                <c:pt idx="12022">
                  <c:v>#N/A</c:v>
                </c:pt>
                <c:pt idx="12023">
                  <c:v>#N/A</c:v>
                </c:pt>
                <c:pt idx="12024">
                  <c:v>#N/A</c:v>
                </c:pt>
                <c:pt idx="12025">
                  <c:v>#N/A</c:v>
                </c:pt>
                <c:pt idx="12026">
                  <c:v>#N/A</c:v>
                </c:pt>
                <c:pt idx="12027">
                  <c:v>#N/A</c:v>
                </c:pt>
                <c:pt idx="12028">
                  <c:v>#N/A</c:v>
                </c:pt>
                <c:pt idx="12029">
                  <c:v>#N/A</c:v>
                </c:pt>
                <c:pt idx="12030">
                  <c:v>#N/A</c:v>
                </c:pt>
                <c:pt idx="12031">
                  <c:v>#N/A</c:v>
                </c:pt>
                <c:pt idx="12032">
                  <c:v>#N/A</c:v>
                </c:pt>
                <c:pt idx="12033">
                  <c:v>#N/A</c:v>
                </c:pt>
                <c:pt idx="12034">
                  <c:v>#N/A</c:v>
                </c:pt>
                <c:pt idx="12035">
                  <c:v>#N/A</c:v>
                </c:pt>
                <c:pt idx="12036">
                  <c:v>#N/A</c:v>
                </c:pt>
                <c:pt idx="12037">
                  <c:v>#N/A</c:v>
                </c:pt>
                <c:pt idx="12038">
                  <c:v>#N/A</c:v>
                </c:pt>
                <c:pt idx="12039">
                  <c:v>#N/A</c:v>
                </c:pt>
                <c:pt idx="12040">
                  <c:v>#N/A</c:v>
                </c:pt>
                <c:pt idx="12041">
                  <c:v>#N/A</c:v>
                </c:pt>
                <c:pt idx="12042">
                  <c:v>#N/A</c:v>
                </c:pt>
                <c:pt idx="12043">
                  <c:v>#N/A</c:v>
                </c:pt>
                <c:pt idx="12044">
                  <c:v>#N/A</c:v>
                </c:pt>
                <c:pt idx="12045">
                  <c:v>#N/A</c:v>
                </c:pt>
                <c:pt idx="12046">
                  <c:v>#N/A</c:v>
                </c:pt>
                <c:pt idx="12047">
                  <c:v>#N/A</c:v>
                </c:pt>
                <c:pt idx="12048">
                  <c:v>#N/A</c:v>
                </c:pt>
                <c:pt idx="12049">
                  <c:v>#N/A</c:v>
                </c:pt>
                <c:pt idx="12050">
                  <c:v>#N/A</c:v>
                </c:pt>
                <c:pt idx="12051">
                  <c:v>#N/A</c:v>
                </c:pt>
                <c:pt idx="12052">
                  <c:v>5.7178082191780826</c:v>
                </c:pt>
                <c:pt idx="12053">
                  <c:v>#N/A</c:v>
                </c:pt>
                <c:pt idx="12054">
                  <c:v>#N/A</c:v>
                </c:pt>
                <c:pt idx="12055">
                  <c:v>#N/A</c:v>
                </c:pt>
                <c:pt idx="12056">
                  <c:v>5.7287671232876711</c:v>
                </c:pt>
                <c:pt idx="12057">
                  <c:v>#N/A</c:v>
                </c:pt>
                <c:pt idx="12058">
                  <c:v>#N/A</c:v>
                </c:pt>
                <c:pt idx="12059">
                  <c:v>#N/A</c:v>
                </c:pt>
                <c:pt idx="12060">
                  <c:v>5.7671232876712333</c:v>
                </c:pt>
                <c:pt idx="12061">
                  <c:v>#N/A</c:v>
                </c:pt>
                <c:pt idx="12062">
                  <c:v>#N/A</c:v>
                </c:pt>
                <c:pt idx="12063">
                  <c:v>#N/A</c:v>
                </c:pt>
                <c:pt idx="12064">
                  <c:v>#N/A</c:v>
                </c:pt>
                <c:pt idx="12065">
                  <c:v>#N/A</c:v>
                </c:pt>
                <c:pt idx="12066">
                  <c:v>#N/A</c:v>
                </c:pt>
                <c:pt idx="12067">
                  <c:v>#N/A</c:v>
                </c:pt>
                <c:pt idx="12068">
                  <c:v>#N/A</c:v>
                </c:pt>
                <c:pt idx="12069">
                  <c:v>5.8</c:v>
                </c:pt>
                <c:pt idx="12070">
                  <c:v>5.8027397260273972</c:v>
                </c:pt>
                <c:pt idx="12071">
                  <c:v>5.8027397260273972</c:v>
                </c:pt>
                <c:pt idx="12072">
                  <c:v>#N/A</c:v>
                </c:pt>
                <c:pt idx="12073">
                  <c:v>#N/A</c:v>
                </c:pt>
                <c:pt idx="12074">
                  <c:v>#N/A</c:v>
                </c:pt>
                <c:pt idx="12075">
                  <c:v>#N/A</c:v>
                </c:pt>
                <c:pt idx="12076">
                  <c:v>#N/A</c:v>
                </c:pt>
                <c:pt idx="12077">
                  <c:v>#N/A</c:v>
                </c:pt>
                <c:pt idx="12078">
                  <c:v>#N/A</c:v>
                </c:pt>
                <c:pt idx="12079">
                  <c:v>#N/A</c:v>
                </c:pt>
                <c:pt idx="12080">
                  <c:v>#N/A</c:v>
                </c:pt>
                <c:pt idx="12081">
                  <c:v>#N/A</c:v>
                </c:pt>
                <c:pt idx="12082">
                  <c:v>5.8109589041095893</c:v>
                </c:pt>
                <c:pt idx="12083">
                  <c:v>#N/A</c:v>
                </c:pt>
                <c:pt idx="12084">
                  <c:v>#N/A</c:v>
                </c:pt>
                <c:pt idx="12085">
                  <c:v>#N/A</c:v>
                </c:pt>
                <c:pt idx="12086">
                  <c:v>#N/A</c:v>
                </c:pt>
                <c:pt idx="12087">
                  <c:v>#N/A</c:v>
                </c:pt>
                <c:pt idx="12088">
                  <c:v>#N/A</c:v>
                </c:pt>
                <c:pt idx="12089">
                  <c:v>#N/A</c:v>
                </c:pt>
                <c:pt idx="12090">
                  <c:v>#N/A</c:v>
                </c:pt>
                <c:pt idx="12091">
                  <c:v>#N/A</c:v>
                </c:pt>
                <c:pt idx="12092">
                  <c:v>#N/A</c:v>
                </c:pt>
                <c:pt idx="12093">
                  <c:v>#N/A</c:v>
                </c:pt>
                <c:pt idx="12094">
                  <c:v>5.8273972602739725</c:v>
                </c:pt>
                <c:pt idx="12095">
                  <c:v>#N/A</c:v>
                </c:pt>
                <c:pt idx="12096">
                  <c:v>#N/A</c:v>
                </c:pt>
                <c:pt idx="12097">
                  <c:v>#N/A</c:v>
                </c:pt>
                <c:pt idx="12098">
                  <c:v>#N/A</c:v>
                </c:pt>
                <c:pt idx="12099">
                  <c:v>#N/A</c:v>
                </c:pt>
                <c:pt idx="12100">
                  <c:v>#N/A</c:v>
                </c:pt>
                <c:pt idx="12101">
                  <c:v>5.8520547945205479</c:v>
                </c:pt>
                <c:pt idx="12102">
                  <c:v>#N/A</c:v>
                </c:pt>
                <c:pt idx="12103">
                  <c:v>#N/A</c:v>
                </c:pt>
                <c:pt idx="12104">
                  <c:v>5.8684931506849312</c:v>
                </c:pt>
                <c:pt idx="12105">
                  <c:v>5.8684931506849312</c:v>
                </c:pt>
                <c:pt idx="12106">
                  <c:v>#N/A</c:v>
                </c:pt>
                <c:pt idx="12107">
                  <c:v>#N/A</c:v>
                </c:pt>
                <c:pt idx="12108">
                  <c:v>#N/A</c:v>
                </c:pt>
                <c:pt idx="12109">
                  <c:v>#N/A</c:v>
                </c:pt>
                <c:pt idx="12110">
                  <c:v>#N/A</c:v>
                </c:pt>
                <c:pt idx="12111">
                  <c:v>#N/A</c:v>
                </c:pt>
                <c:pt idx="12112">
                  <c:v>#N/A</c:v>
                </c:pt>
                <c:pt idx="12113">
                  <c:v>#N/A</c:v>
                </c:pt>
                <c:pt idx="12114">
                  <c:v>#N/A</c:v>
                </c:pt>
                <c:pt idx="12115">
                  <c:v>#N/A</c:v>
                </c:pt>
                <c:pt idx="12116">
                  <c:v>5.8739726027397259</c:v>
                </c:pt>
                <c:pt idx="12117">
                  <c:v>5.8739726027397259</c:v>
                </c:pt>
                <c:pt idx="12118">
                  <c:v>5.8767123287671232</c:v>
                </c:pt>
                <c:pt idx="12119">
                  <c:v>#N/A</c:v>
                </c:pt>
                <c:pt idx="12120">
                  <c:v>5.882191780821918</c:v>
                </c:pt>
                <c:pt idx="12121">
                  <c:v>#N/A</c:v>
                </c:pt>
                <c:pt idx="12122">
                  <c:v>#N/A</c:v>
                </c:pt>
                <c:pt idx="12123">
                  <c:v>#N/A</c:v>
                </c:pt>
                <c:pt idx="12124">
                  <c:v>#N/A</c:v>
                </c:pt>
                <c:pt idx="12125">
                  <c:v>5.9068493150684933</c:v>
                </c:pt>
                <c:pt idx="12126">
                  <c:v>5.9068493150684933</c:v>
                </c:pt>
                <c:pt idx="12127">
                  <c:v>#N/A</c:v>
                </c:pt>
                <c:pt idx="12128">
                  <c:v>#N/A</c:v>
                </c:pt>
                <c:pt idx="12129">
                  <c:v>#N/A</c:v>
                </c:pt>
                <c:pt idx="12130">
                  <c:v>5.9260273972602739</c:v>
                </c:pt>
                <c:pt idx="12131">
                  <c:v>5.9397260273972599</c:v>
                </c:pt>
                <c:pt idx="12132">
                  <c:v>5.9397260273972599</c:v>
                </c:pt>
                <c:pt idx="12133">
                  <c:v>#N/A</c:v>
                </c:pt>
                <c:pt idx="12134">
                  <c:v>#N/A</c:v>
                </c:pt>
                <c:pt idx="12135">
                  <c:v>5.9424657534246572</c:v>
                </c:pt>
                <c:pt idx="12136">
                  <c:v>#N/A</c:v>
                </c:pt>
                <c:pt idx="12137">
                  <c:v>5.9452054794520546</c:v>
                </c:pt>
                <c:pt idx="12138">
                  <c:v>5.9479452054794519</c:v>
                </c:pt>
                <c:pt idx="12139">
                  <c:v>#N/A</c:v>
                </c:pt>
                <c:pt idx="12140">
                  <c:v>#N/A</c:v>
                </c:pt>
                <c:pt idx="12141">
                  <c:v>#N/A</c:v>
                </c:pt>
                <c:pt idx="12142">
                  <c:v>#N/A</c:v>
                </c:pt>
                <c:pt idx="12143">
                  <c:v>#N/A</c:v>
                </c:pt>
                <c:pt idx="12144">
                  <c:v>5.9863013698630141</c:v>
                </c:pt>
                <c:pt idx="12145">
                  <c:v>5.9863013698630141</c:v>
                </c:pt>
                <c:pt idx="12146">
                  <c:v>#N/A</c:v>
                </c:pt>
                <c:pt idx="12147">
                  <c:v>#N/A</c:v>
                </c:pt>
                <c:pt idx="12148">
                  <c:v>#N/A</c:v>
                </c:pt>
                <c:pt idx="12149">
                  <c:v>#N/A</c:v>
                </c:pt>
                <c:pt idx="12150">
                  <c:v>#N/A</c:v>
                </c:pt>
                <c:pt idx="12151">
                  <c:v>#N/A</c:v>
                </c:pt>
                <c:pt idx="12152">
                  <c:v>#N/A</c:v>
                </c:pt>
                <c:pt idx="12153">
                  <c:v>#N/A</c:v>
                </c:pt>
                <c:pt idx="12154">
                  <c:v>#N/A</c:v>
                </c:pt>
                <c:pt idx="12155">
                  <c:v>6.0164383561643833</c:v>
                </c:pt>
                <c:pt idx="12156">
                  <c:v>#N/A</c:v>
                </c:pt>
                <c:pt idx="12157">
                  <c:v>#N/A</c:v>
                </c:pt>
                <c:pt idx="12158">
                  <c:v>#N/A</c:v>
                </c:pt>
                <c:pt idx="12159">
                  <c:v>#N/A</c:v>
                </c:pt>
                <c:pt idx="12160">
                  <c:v>#N/A</c:v>
                </c:pt>
                <c:pt idx="12161">
                  <c:v>#N/A</c:v>
                </c:pt>
                <c:pt idx="12162">
                  <c:v>#N/A</c:v>
                </c:pt>
                <c:pt idx="12163">
                  <c:v>6.0191780821917806</c:v>
                </c:pt>
                <c:pt idx="12164">
                  <c:v>6.0191780821917806</c:v>
                </c:pt>
                <c:pt idx="12165">
                  <c:v>#N/A</c:v>
                </c:pt>
                <c:pt idx="12166">
                  <c:v>#N/A</c:v>
                </c:pt>
                <c:pt idx="12167">
                  <c:v>#N/A</c:v>
                </c:pt>
                <c:pt idx="12168">
                  <c:v>#N/A</c:v>
                </c:pt>
                <c:pt idx="12169">
                  <c:v>#N/A</c:v>
                </c:pt>
                <c:pt idx="12170">
                  <c:v>#N/A</c:v>
                </c:pt>
                <c:pt idx="12171">
                  <c:v>#N/A</c:v>
                </c:pt>
                <c:pt idx="12172">
                  <c:v>#N/A</c:v>
                </c:pt>
                <c:pt idx="12173">
                  <c:v>#N/A</c:v>
                </c:pt>
                <c:pt idx="12174">
                  <c:v>#N/A</c:v>
                </c:pt>
                <c:pt idx="12175">
                  <c:v>#N/A</c:v>
                </c:pt>
                <c:pt idx="12176">
                  <c:v>#N/A</c:v>
                </c:pt>
                <c:pt idx="12177">
                  <c:v>#N/A</c:v>
                </c:pt>
                <c:pt idx="12178">
                  <c:v>#N/A</c:v>
                </c:pt>
                <c:pt idx="12179">
                  <c:v>#N/A</c:v>
                </c:pt>
                <c:pt idx="12180">
                  <c:v>#N/A</c:v>
                </c:pt>
                <c:pt idx="12181">
                  <c:v>#N/A</c:v>
                </c:pt>
                <c:pt idx="12182">
                  <c:v>6.0246575342465754</c:v>
                </c:pt>
                <c:pt idx="12183">
                  <c:v>#N/A</c:v>
                </c:pt>
                <c:pt idx="12184">
                  <c:v>#N/A</c:v>
                </c:pt>
                <c:pt idx="12185">
                  <c:v>6.0273972602739727</c:v>
                </c:pt>
                <c:pt idx="12186">
                  <c:v>#N/A</c:v>
                </c:pt>
                <c:pt idx="12187">
                  <c:v>#N/A</c:v>
                </c:pt>
                <c:pt idx="12188">
                  <c:v>#N/A</c:v>
                </c:pt>
                <c:pt idx="12189">
                  <c:v>#N/A</c:v>
                </c:pt>
                <c:pt idx="12190">
                  <c:v>#N/A</c:v>
                </c:pt>
                <c:pt idx="12191">
                  <c:v>6.043835616438356</c:v>
                </c:pt>
                <c:pt idx="12192">
                  <c:v>#N/A</c:v>
                </c:pt>
                <c:pt idx="12193">
                  <c:v>#N/A</c:v>
                </c:pt>
                <c:pt idx="12194">
                  <c:v>#N/A</c:v>
                </c:pt>
                <c:pt idx="12195">
                  <c:v>6.0465753424657533</c:v>
                </c:pt>
                <c:pt idx="12196">
                  <c:v>6.0465753424657533</c:v>
                </c:pt>
                <c:pt idx="12197">
                  <c:v>6.0465753424657533</c:v>
                </c:pt>
                <c:pt idx="12198">
                  <c:v>6.0465753424657533</c:v>
                </c:pt>
                <c:pt idx="12199">
                  <c:v>#N/A</c:v>
                </c:pt>
                <c:pt idx="12200">
                  <c:v>#N/A</c:v>
                </c:pt>
                <c:pt idx="12201">
                  <c:v>6.0547945205479454</c:v>
                </c:pt>
                <c:pt idx="12202">
                  <c:v>#N/A</c:v>
                </c:pt>
                <c:pt idx="12203">
                  <c:v>6.0575342465753428</c:v>
                </c:pt>
                <c:pt idx="12204">
                  <c:v>#N/A</c:v>
                </c:pt>
                <c:pt idx="12205">
                  <c:v>#N/A</c:v>
                </c:pt>
                <c:pt idx="12206">
                  <c:v>6.0575342465753428</c:v>
                </c:pt>
                <c:pt idx="12207">
                  <c:v>#N/A</c:v>
                </c:pt>
                <c:pt idx="12208">
                  <c:v>#N/A</c:v>
                </c:pt>
                <c:pt idx="12209">
                  <c:v>#N/A</c:v>
                </c:pt>
                <c:pt idx="12210">
                  <c:v>#N/A</c:v>
                </c:pt>
                <c:pt idx="12211">
                  <c:v>#N/A</c:v>
                </c:pt>
                <c:pt idx="12212">
                  <c:v>#N/A</c:v>
                </c:pt>
                <c:pt idx="12213">
                  <c:v>#N/A</c:v>
                </c:pt>
                <c:pt idx="12214">
                  <c:v>#N/A</c:v>
                </c:pt>
                <c:pt idx="12215">
                  <c:v>#N/A</c:v>
                </c:pt>
                <c:pt idx="12216">
                  <c:v>#N/A</c:v>
                </c:pt>
                <c:pt idx="12217">
                  <c:v>#N/A</c:v>
                </c:pt>
                <c:pt idx="12218">
                  <c:v>#N/A</c:v>
                </c:pt>
                <c:pt idx="12219">
                  <c:v>#N/A</c:v>
                </c:pt>
                <c:pt idx="12220">
                  <c:v>#N/A</c:v>
                </c:pt>
                <c:pt idx="12221">
                  <c:v>6.1041095890410961</c:v>
                </c:pt>
                <c:pt idx="12222">
                  <c:v>6.1041095890410961</c:v>
                </c:pt>
                <c:pt idx="12223">
                  <c:v>6.1205479452054794</c:v>
                </c:pt>
                <c:pt idx="12224">
                  <c:v>#N/A</c:v>
                </c:pt>
                <c:pt idx="12225">
                  <c:v>#N/A</c:v>
                </c:pt>
                <c:pt idx="12226">
                  <c:v>#N/A</c:v>
                </c:pt>
                <c:pt idx="12227">
                  <c:v>#N/A</c:v>
                </c:pt>
                <c:pt idx="12228">
                  <c:v>#N/A</c:v>
                </c:pt>
                <c:pt idx="12229">
                  <c:v>#N/A</c:v>
                </c:pt>
                <c:pt idx="12230">
                  <c:v>#N/A</c:v>
                </c:pt>
                <c:pt idx="12231">
                  <c:v>#N/A</c:v>
                </c:pt>
                <c:pt idx="12232">
                  <c:v>#N/A</c:v>
                </c:pt>
                <c:pt idx="12233">
                  <c:v>#N/A</c:v>
                </c:pt>
                <c:pt idx="12234">
                  <c:v>#N/A</c:v>
                </c:pt>
                <c:pt idx="12235">
                  <c:v>#N/A</c:v>
                </c:pt>
                <c:pt idx="12236">
                  <c:v>#N/A</c:v>
                </c:pt>
                <c:pt idx="12237">
                  <c:v>#N/A</c:v>
                </c:pt>
                <c:pt idx="12238">
                  <c:v>#N/A</c:v>
                </c:pt>
                <c:pt idx="12239">
                  <c:v>#N/A</c:v>
                </c:pt>
                <c:pt idx="12240">
                  <c:v>#N/A</c:v>
                </c:pt>
                <c:pt idx="12241">
                  <c:v>#N/A</c:v>
                </c:pt>
                <c:pt idx="12242">
                  <c:v>#N/A</c:v>
                </c:pt>
                <c:pt idx="12243">
                  <c:v>#N/A</c:v>
                </c:pt>
                <c:pt idx="12244">
                  <c:v>#N/A</c:v>
                </c:pt>
                <c:pt idx="12245">
                  <c:v>#N/A</c:v>
                </c:pt>
                <c:pt idx="12246">
                  <c:v>#N/A</c:v>
                </c:pt>
                <c:pt idx="12247">
                  <c:v>#N/A</c:v>
                </c:pt>
                <c:pt idx="12248">
                  <c:v>#N/A</c:v>
                </c:pt>
                <c:pt idx="12249">
                  <c:v>#N/A</c:v>
                </c:pt>
                <c:pt idx="12250">
                  <c:v>#N/A</c:v>
                </c:pt>
                <c:pt idx="12251">
                  <c:v>#N/A</c:v>
                </c:pt>
                <c:pt idx="12252">
                  <c:v>#N/A</c:v>
                </c:pt>
                <c:pt idx="12253">
                  <c:v>#N/A</c:v>
                </c:pt>
                <c:pt idx="12254">
                  <c:v>#N/A</c:v>
                </c:pt>
                <c:pt idx="12255">
                  <c:v>#N/A</c:v>
                </c:pt>
                <c:pt idx="12256">
                  <c:v>#N/A</c:v>
                </c:pt>
                <c:pt idx="12257">
                  <c:v>#N/A</c:v>
                </c:pt>
                <c:pt idx="12258">
                  <c:v>6.2931506849315069</c:v>
                </c:pt>
                <c:pt idx="12259">
                  <c:v>#N/A</c:v>
                </c:pt>
                <c:pt idx="12260">
                  <c:v>6.3123287671232875</c:v>
                </c:pt>
                <c:pt idx="12261">
                  <c:v>#N/A</c:v>
                </c:pt>
                <c:pt idx="12262">
                  <c:v>#N/A</c:v>
                </c:pt>
                <c:pt idx="12263">
                  <c:v>#N/A</c:v>
                </c:pt>
                <c:pt idx="12264">
                  <c:v>#N/A</c:v>
                </c:pt>
                <c:pt idx="12265">
                  <c:v>#N/A</c:v>
                </c:pt>
                <c:pt idx="12266">
                  <c:v>#N/A</c:v>
                </c:pt>
                <c:pt idx="12267">
                  <c:v>#N/A</c:v>
                </c:pt>
                <c:pt idx="12268">
                  <c:v>#N/A</c:v>
                </c:pt>
                <c:pt idx="12269">
                  <c:v>#N/A</c:v>
                </c:pt>
                <c:pt idx="12270">
                  <c:v>#N/A</c:v>
                </c:pt>
                <c:pt idx="12271">
                  <c:v>#N/A</c:v>
                </c:pt>
                <c:pt idx="12272">
                  <c:v>#N/A</c:v>
                </c:pt>
                <c:pt idx="12273">
                  <c:v>#N/A</c:v>
                </c:pt>
                <c:pt idx="12274">
                  <c:v>#N/A</c:v>
                </c:pt>
                <c:pt idx="12275">
                  <c:v>#N/A</c:v>
                </c:pt>
                <c:pt idx="12276">
                  <c:v>#N/A</c:v>
                </c:pt>
                <c:pt idx="12277">
                  <c:v>#N/A</c:v>
                </c:pt>
                <c:pt idx="12278">
                  <c:v>#N/A</c:v>
                </c:pt>
                <c:pt idx="12279">
                  <c:v>#N/A</c:v>
                </c:pt>
                <c:pt idx="12280">
                  <c:v>#N/A</c:v>
                </c:pt>
                <c:pt idx="12281">
                  <c:v>#N/A</c:v>
                </c:pt>
                <c:pt idx="12282">
                  <c:v>6.3506849315068497</c:v>
                </c:pt>
                <c:pt idx="12283">
                  <c:v>#N/A</c:v>
                </c:pt>
                <c:pt idx="12284">
                  <c:v>#N/A</c:v>
                </c:pt>
                <c:pt idx="12285">
                  <c:v>#N/A</c:v>
                </c:pt>
                <c:pt idx="12286">
                  <c:v>#N/A</c:v>
                </c:pt>
                <c:pt idx="12287">
                  <c:v>#N/A</c:v>
                </c:pt>
                <c:pt idx="12288">
                  <c:v>#N/A</c:v>
                </c:pt>
                <c:pt idx="12289">
                  <c:v>#N/A</c:v>
                </c:pt>
                <c:pt idx="12290">
                  <c:v>#N/A</c:v>
                </c:pt>
                <c:pt idx="12291">
                  <c:v>#N/A</c:v>
                </c:pt>
                <c:pt idx="12292">
                  <c:v>6.3890410958904109</c:v>
                </c:pt>
                <c:pt idx="12293">
                  <c:v>6.4054794520547942</c:v>
                </c:pt>
                <c:pt idx="12294">
                  <c:v>#N/A</c:v>
                </c:pt>
                <c:pt idx="12295">
                  <c:v>6.4054794520547942</c:v>
                </c:pt>
                <c:pt idx="12296">
                  <c:v>#N/A</c:v>
                </c:pt>
                <c:pt idx="12297">
                  <c:v>#N/A</c:v>
                </c:pt>
                <c:pt idx="12298">
                  <c:v>#N/A</c:v>
                </c:pt>
                <c:pt idx="12299">
                  <c:v>#N/A</c:v>
                </c:pt>
                <c:pt idx="12300">
                  <c:v>#N/A</c:v>
                </c:pt>
                <c:pt idx="12301">
                  <c:v>#N/A</c:v>
                </c:pt>
                <c:pt idx="12302">
                  <c:v>#N/A</c:v>
                </c:pt>
                <c:pt idx="12303">
                  <c:v>6.4383561643835616</c:v>
                </c:pt>
                <c:pt idx="12304">
                  <c:v>6.4383561643835616</c:v>
                </c:pt>
                <c:pt idx="12305">
                  <c:v>#N/A</c:v>
                </c:pt>
                <c:pt idx="12306">
                  <c:v>#N/A</c:v>
                </c:pt>
                <c:pt idx="12307">
                  <c:v>6.441095890410959</c:v>
                </c:pt>
                <c:pt idx="12308">
                  <c:v>#N/A</c:v>
                </c:pt>
                <c:pt idx="12309">
                  <c:v>#N/A</c:v>
                </c:pt>
                <c:pt idx="12310">
                  <c:v>6.441095890410959</c:v>
                </c:pt>
                <c:pt idx="12311">
                  <c:v>6.4438356164383563</c:v>
                </c:pt>
                <c:pt idx="12312">
                  <c:v>#N/A</c:v>
                </c:pt>
                <c:pt idx="12313">
                  <c:v>#N/A</c:v>
                </c:pt>
                <c:pt idx="12314">
                  <c:v>#N/A</c:v>
                </c:pt>
                <c:pt idx="12315">
                  <c:v>#N/A</c:v>
                </c:pt>
                <c:pt idx="12316">
                  <c:v>#N/A</c:v>
                </c:pt>
                <c:pt idx="12317">
                  <c:v>#N/A</c:v>
                </c:pt>
                <c:pt idx="12318">
                  <c:v>#N/A</c:v>
                </c:pt>
                <c:pt idx="12319">
                  <c:v>#N/A</c:v>
                </c:pt>
                <c:pt idx="12320">
                  <c:v>#N/A</c:v>
                </c:pt>
                <c:pt idx="12321">
                  <c:v>#N/A</c:v>
                </c:pt>
                <c:pt idx="12322">
                  <c:v>#N/A</c:v>
                </c:pt>
                <c:pt idx="12323">
                  <c:v>6.4684931506849317</c:v>
                </c:pt>
                <c:pt idx="12324">
                  <c:v>#N/A</c:v>
                </c:pt>
                <c:pt idx="12325">
                  <c:v>#N/A</c:v>
                </c:pt>
                <c:pt idx="12326">
                  <c:v>#N/A</c:v>
                </c:pt>
                <c:pt idx="12327">
                  <c:v>#N/A</c:v>
                </c:pt>
                <c:pt idx="12328">
                  <c:v>#N/A</c:v>
                </c:pt>
                <c:pt idx="12329">
                  <c:v>#N/A</c:v>
                </c:pt>
                <c:pt idx="12330">
                  <c:v>#N/A</c:v>
                </c:pt>
                <c:pt idx="12331">
                  <c:v>#N/A</c:v>
                </c:pt>
                <c:pt idx="12332">
                  <c:v>#N/A</c:v>
                </c:pt>
                <c:pt idx="12333">
                  <c:v>#N/A</c:v>
                </c:pt>
                <c:pt idx="12334">
                  <c:v>#N/A</c:v>
                </c:pt>
                <c:pt idx="12335">
                  <c:v>#N/A</c:v>
                </c:pt>
                <c:pt idx="12336">
                  <c:v>#N/A</c:v>
                </c:pt>
                <c:pt idx="12337">
                  <c:v>#N/A</c:v>
                </c:pt>
                <c:pt idx="12338">
                  <c:v>#N/A</c:v>
                </c:pt>
                <c:pt idx="12339">
                  <c:v>#N/A</c:v>
                </c:pt>
                <c:pt idx="12340">
                  <c:v>#N/A</c:v>
                </c:pt>
                <c:pt idx="12341">
                  <c:v>#N/A</c:v>
                </c:pt>
                <c:pt idx="12342">
                  <c:v>#N/A</c:v>
                </c:pt>
                <c:pt idx="12343">
                  <c:v>#N/A</c:v>
                </c:pt>
                <c:pt idx="12344">
                  <c:v>#N/A</c:v>
                </c:pt>
                <c:pt idx="12345">
                  <c:v>6.4684931506849317</c:v>
                </c:pt>
                <c:pt idx="12346">
                  <c:v>#N/A</c:v>
                </c:pt>
                <c:pt idx="12347">
                  <c:v>#N/A</c:v>
                </c:pt>
                <c:pt idx="12348">
                  <c:v>#N/A</c:v>
                </c:pt>
                <c:pt idx="12349">
                  <c:v>#N/A</c:v>
                </c:pt>
                <c:pt idx="12350">
                  <c:v>#N/A</c:v>
                </c:pt>
                <c:pt idx="12351">
                  <c:v>#N/A</c:v>
                </c:pt>
                <c:pt idx="12352">
                  <c:v>#N/A</c:v>
                </c:pt>
                <c:pt idx="12353">
                  <c:v>#N/A</c:v>
                </c:pt>
                <c:pt idx="12354">
                  <c:v>#N/A</c:v>
                </c:pt>
                <c:pt idx="12355">
                  <c:v>#N/A</c:v>
                </c:pt>
                <c:pt idx="12356">
                  <c:v>#N/A</c:v>
                </c:pt>
                <c:pt idx="12357">
                  <c:v>#N/A</c:v>
                </c:pt>
                <c:pt idx="12358">
                  <c:v>#N/A</c:v>
                </c:pt>
                <c:pt idx="12359">
                  <c:v>#N/A</c:v>
                </c:pt>
                <c:pt idx="12360">
                  <c:v>#N/A</c:v>
                </c:pt>
                <c:pt idx="12361">
                  <c:v>#N/A</c:v>
                </c:pt>
                <c:pt idx="12362">
                  <c:v>#N/A</c:v>
                </c:pt>
                <c:pt idx="12363">
                  <c:v>#N/A</c:v>
                </c:pt>
                <c:pt idx="12364">
                  <c:v>#N/A</c:v>
                </c:pt>
                <c:pt idx="12365">
                  <c:v>#N/A</c:v>
                </c:pt>
                <c:pt idx="12366">
                  <c:v>#N/A</c:v>
                </c:pt>
                <c:pt idx="12367">
                  <c:v>#N/A</c:v>
                </c:pt>
                <c:pt idx="12368">
                  <c:v>#N/A</c:v>
                </c:pt>
                <c:pt idx="12369">
                  <c:v>#N/A</c:v>
                </c:pt>
                <c:pt idx="12370">
                  <c:v>#N/A</c:v>
                </c:pt>
                <c:pt idx="12371">
                  <c:v>#N/A</c:v>
                </c:pt>
                <c:pt idx="12372">
                  <c:v>#N/A</c:v>
                </c:pt>
                <c:pt idx="12373">
                  <c:v>#N/A</c:v>
                </c:pt>
                <c:pt idx="12374">
                  <c:v>#N/A</c:v>
                </c:pt>
                <c:pt idx="12375">
                  <c:v>#N/A</c:v>
                </c:pt>
                <c:pt idx="12376">
                  <c:v>#N/A</c:v>
                </c:pt>
                <c:pt idx="12377">
                  <c:v>#N/A</c:v>
                </c:pt>
                <c:pt idx="12378">
                  <c:v>#N/A</c:v>
                </c:pt>
                <c:pt idx="12379">
                  <c:v>#N/A</c:v>
                </c:pt>
                <c:pt idx="12380">
                  <c:v>6.5452054794520551</c:v>
                </c:pt>
                <c:pt idx="12381">
                  <c:v>#N/A</c:v>
                </c:pt>
                <c:pt idx="12382">
                  <c:v>#N/A</c:v>
                </c:pt>
                <c:pt idx="12383">
                  <c:v>#N/A</c:v>
                </c:pt>
                <c:pt idx="12384">
                  <c:v>#N/A</c:v>
                </c:pt>
                <c:pt idx="12385">
                  <c:v>#N/A</c:v>
                </c:pt>
                <c:pt idx="12386">
                  <c:v>6.5643835616438357</c:v>
                </c:pt>
                <c:pt idx="12387">
                  <c:v>#N/A</c:v>
                </c:pt>
                <c:pt idx="12388">
                  <c:v>6.5643835616438357</c:v>
                </c:pt>
                <c:pt idx="12389">
                  <c:v>#N/A</c:v>
                </c:pt>
                <c:pt idx="12390">
                  <c:v>#N/A</c:v>
                </c:pt>
                <c:pt idx="12391">
                  <c:v>#N/A</c:v>
                </c:pt>
                <c:pt idx="12392">
                  <c:v>#N/A</c:v>
                </c:pt>
                <c:pt idx="12393">
                  <c:v>6.5643835616438357</c:v>
                </c:pt>
                <c:pt idx="12394">
                  <c:v>#N/A</c:v>
                </c:pt>
                <c:pt idx="12395">
                  <c:v>#N/A</c:v>
                </c:pt>
                <c:pt idx="12396">
                  <c:v>6.5643835616438357</c:v>
                </c:pt>
                <c:pt idx="12397">
                  <c:v>#N/A</c:v>
                </c:pt>
                <c:pt idx="12398">
                  <c:v>#N/A</c:v>
                </c:pt>
                <c:pt idx="12399">
                  <c:v>#N/A</c:v>
                </c:pt>
                <c:pt idx="12400">
                  <c:v>#N/A</c:v>
                </c:pt>
                <c:pt idx="12401">
                  <c:v>#N/A</c:v>
                </c:pt>
                <c:pt idx="12402">
                  <c:v>#N/A</c:v>
                </c:pt>
                <c:pt idx="12403">
                  <c:v>#N/A</c:v>
                </c:pt>
                <c:pt idx="12404">
                  <c:v>6.5643835616438357</c:v>
                </c:pt>
                <c:pt idx="12405">
                  <c:v>#N/A</c:v>
                </c:pt>
                <c:pt idx="12406">
                  <c:v>6.5643835616438357</c:v>
                </c:pt>
                <c:pt idx="12407">
                  <c:v>#N/A</c:v>
                </c:pt>
                <c:pt idx="12408">
                  <c:v>#N/A</c:v>
                </c:pt>
                <c:pt idx="12409">
                  <c:v>#N/A</c:v>
                </c:pt>
                <c:pt idx="12410">
                  <c:v>#N/A</c:v>
                </c:pt>
                <c:pt idx="12411">
                  <c:v>#N/A</c:v>
                </c:pt>
                <c:pt idx="12412">
                  <c:v>#N/A</c:v>
                </c:pt>
                <c:pt idx="12413">
                  <c:v>#N/A</c:v>
                </c:pt>
                <c:pt idx="12414">
                  <c:v>#N/A</c:v>
                </c:pt>
                <c:pt idx="12415">
                  <c:v>#N/A</c:v>
                </c:pt>
                <c:pt idx="12416">
                  <c:v>#N/A</c:v>
                </c:pt>
                <c:pt idx="12417">
                  <c:v>#N/A</c:v>
                </c:pt>
                <c:pt idx="12418">
                  <c:v>#N/A</c:v>
                </c:pt>
                <c:pt idx="12419">
                  <c:v>#N/A</c:v>
                </c:pt>
                <c:pt idx="12420">
                  <c:v>6.5643835616438357</c:v>
                </c:pt>
                <c:pt idx="12421">
                  <c:v>#N/A</c:v>
                </c:pt>
                <c:pt idx="12422">
                  <c:v>#N/A</c:v>
                </c:pt>
                <c:pt idx="12423">
                  <c:v>#N/A</c:v>
                </c:pt>
                <c:pt idx="12424">
                  <c:v>#N/A</c:v>
                </c:pt>
                <c:pt idx="12425">
                  <c:v>#N/A</c:v>
                </c:pt>
                <c:pt idx="12426">
                  <c:v>#N/A</c:v>
                </c:pt>
                <c:pt idx="12427">
                  <c:v>#N/A</c:v>
                </c:pt>
                <c:pt idx="12428">
                  <c:v>6.5643835616438357</c:v>
                </c:pt>
                <c:pt idx="12429">
                  <c:v>#N/A</c:v>
                </c:pt>
                <c:pt idx="12430">
                  <c:v>6.5643835616438357</c:v>
                </c:pt>
                <c:pt idx="12431">
                  <c:v>#N/A</c:v>
                </c:pt>
                <c:pt idx="12432">
                  <c:v>#N/A</c:v>
                </c:pt>
                <c:pt idx="12433">
                  <c:v>#N/A</c:v>
                </c:pt>
                <c:pt idx="12434">
                  <c:v>#N/A</c:v>
                </c:pt>
                <c:pt idx="12435">
                  <c:v>#N/A</c:v>
                </c:pt>
                <c:pt idx="12436">
                  <c:v>#N/A</c:v>
                </c:pt>
                <c:pt idx="12437">
                  <c:v>#N/A</c:v>
                </c:pt>
                <c:pt idx="12438">
                  <c:v>#N/A</c:v>
                </c:pt>
                <c:pt idx="12439">
                  <c:v>#N/A</c:v>
                </c:pt>
                <c:pt idx="12440">
                  <c:v>#N/A</c:v>
                </c:pt>
                <c:pt idx="12441">
                  <c:v>#N/A</c:v>
                </c:pt>
                <c:pt idx="12442">
                  <c:v>#N/A</c:v>
                </c:pt>
                <c:pt idx="12443">
                  <c:v>#N/A</c:v>
                </c:pt>
                <c:pt idx="12444">
                  <c:v>#N/A</c:v>
                </c:pt>
                <c:pt idx="12445">
                  <c:v>#N/A</c:v>
                </c:pt>
                <c:pt idx="12446">
                  <c:v>#N/A</c:v>
                </c:pt>
                <c:pt idx="12447">
                  <c:v>6.6739726027397257</c:v>
                </c:pt>
                <c:pt idx="12448">
                  <c:v>#N/A</c:v>
                </c:pt>
                <c:pt idx="12449">
                  <c:v>#N/A</c:v>
                </c:pt>
                <c:pt idx="12450">
                  <c:v>6.6986301369863011</c:v>
                </c:pt>
                <c:pt idx="12451">
                  <c:v>#N/A</c:v>
                </c:pt>
                <c:pt idx="12452">
                  <c:v>#N/A</c:v>
                </c:pt>
                <c:pt idx="12453">
                  <c:v>#N/A</c:v>
                </c:pt>
                <c:pt idx="12454">
                  <c:v>#N/A</c:v>
                </c:pt>
                <c:pt idx="12455">
                  <c:v>#N/A</c:v>
                </c:pt>
                <c:pt idx="12456">
                  <c:v>#N/A</c:v>
                </c:pt>
                <c:pt idx="12457">
                  <c:v>#N/A</c:v>
                </c:pt>
                <c:pt idx="12458">
                  <c:v>6.7945205479452051</c:v>
                </c:pt>
                <c:pt idx="12459">
                  <c:v>#N/A</c:v>
                </c:pt>
                <c:pt idx="12460">
                  <c:v>6.8027397260273972</c:v>
                </c:pt>
                <c:pt idx="12461">
                  <c:v>#N/A</c:v>
                </c:pt>
                <c:pt idx="12462">
                  <c:v>#N/A</c:v>
                </c:pt>
                <c:pt idx="12463">
                  <c:v>#N/A</c:v>
                </c:pt>
                <c:pt idx="12464">
                  <c:v>#N/A</c:v>
                </c:pt>
                <c:pt idx="12465">
                  <c:v>#N/A</c:v>
                </c:pt>
                <c:pt idx="12466">
                  <c:v>6.8438356164383558</c:v>
                </c:pt>
                <c:pt idx="12467">
                  <c:v>#N/A</c:v>
                </c:pt>
                <c:pt idx="12468">
                  <c:v>#N/A</c:v>
                </c:pt>
                <c:pt idx="12469">
                  <c:v>6.8438356164383558</c:v>
                </c:pt>
                <c:pt idx="12470">
                  <c:v>#N/A</c:v>
                </c:pt>
                <c:pt idx="12471">
                  <c:v>#N/A</c:v>
                </c:pt>
                <c:pt idx="12472">
                  <c:v>#N/A</c:v>
                </c:pt>
                <c:pt idx="12473">
                  <c:v>#N/A</c:v>
                </c:pt>
                <c:pt idx="12474">
                  <c:v>6.8438356164383558</c:v>
                </c:pt>
                <c:pt idx="12475">
                  <c:v>6.8438356164383558</c:v>
                </c:pt>
                <c:pt idx="12476">
                  <c:v>#N/A</c:v>
                </c:pt>
                <c:pt idx="12477">
                  <c:v>#N/A</c:v>
                </c:pt>
                <c:pt idx="12478">
                  <c:v>#N/A</c:v>
                </c:pt>
                <c:pt idx="12479">
                  <c:v>6.8465753424657532</c:v>
                </c:pt>
                <c:pt idx="12480">
                  <c:v>#N/A</c:v>
                </c:pt>
                <c:pt idx="12481">
                  <c:v>#N/A</c:v>
                </c:pt>
                <c:pt idx="12482">
                  <c:v>6.8465753424657532</c:v>
                </c:pt>
                <c:pt idx="12483">
                  <c:v>6.8465753424657532</c:v>
                </c:pt>
                <c:pt idx="12484">
                  <c:v>#N/A</c:v>
                </c:pt>
                <c:pt idx="12485">
                  <c:v>#N/A</c:v>
                </c:pt>
                <c:pt idx="12486">
                  <c:v>6.8465753424657532</c:v>
                </c:pt>
                <c:pt idx="12487">
                  <c:v>#N/A</c:v>
                </c:pt>
                <c:pt idx="12488">
                  <c:v>#N/A</c:v>
                </c:pt>
                <c:pt idx="12489">
                  <c:v>#N/A</c:v>
                </c:pt>
                <c:pt idx="12490">
                  <c:v>6.8465753424657532</c:v>
                </c:pt>
                <c:pt idx="12491">
                  <c:v>#N/A</c:v>
                </c:pt>
                <c:pt idx="12492">
                  <c:v>#N/A</c:v>
                </c:pt>
                <c:pt idx="12493">
                  <c:v>6.8493150684931505</c:v>
                </c:pt>
                <c:pt idx="12494">
                  <c:v>#N/A</c:v>
                </c:pt>
                <c:pt idx="12495">
                  <c:v>6.8493150684931505</c:v>
                </c:pt>
                <c:pt idx="12496">
                  <c:v>#N/A</c:v>
                </c:pt>
                <c:pt idx="12497">
                  <c:v>#N/A</c:v>
                </c:pt>
                <c:pt idx="12498">
                  <c:v>6.8493150684931505</c:v>
                </c:pt>
                <c:pt idx="12499">
                  <c:v>#N/A</c:v>
                </c:pt>
                <c:pt idx="12500">
                  <c:v>6.8520547945205479</c:v>
                </c:pt>
                <c:pt idx="12501">
                  <c:v>6.8520547945205479</c:v>
                </c:pt>
                <c:pt idx="12502">
                  <c:v>6.8520547945205479</c:v>
                </c:pt>
                <c:pt idx="12503">
                  <c:v>#N/A</c:v>
                </c:pt>
                <c:pt idx="12504">
                  <c:v>6.8657534246575347</c:v>
                </c:pt>
                <c:pt idx="12505">
                  <c:v>6.8657534246575347</c:v>
                </c:pt>
                <c:pt idx="12506">
                  <c:v>6.8657534246575347</c:v>
                </c:pt>
                <c:pt idx="12507">
                  <c:v>#N/A</c:v>
                </c:pt>
                <c:pt idx="12508">
                  <c:v>#N/A</c:v>
                </c:pt>
                <c:pt idx="12509">
                  <c:v>#N/A</c:v>
                </c:pt>
                <c:pt idx="12510">
                  <c:v>#N/A</c:v>
                </c:pt>
                <c:pt idx="12511">
                  <c:v>6.8794520547945206</c:v>
                </c:pt>
                <c:pt idx="12512">
                  <c:v>6.8794520547945206</c:v>
                </c:pt>
                <c:pt idx="12513">
                  <c:v>6.8794520547945206</c:v>
                </c:pt>
                <c:pt idx="12514">
                  <c:v>#N/A</c:v>
                </c:pt>
                <c:pt idx="12515">
                  <c:v>#N/A</c:v>
                </c:pt>
                <c:pt idx="12516">
                  <c:v>6.8986301369863012</c:v>
                </c:pt>
                <c:pt idx="12517">
                  <c:v>6.9095890410958907</c:v>
                </c:pt>
                <c:pt idx="12518">
                  <c:v>#N/A</c:v>
                </c:pt>
                <c:pt idx="12519">
                  <c:v>#N/A</c:v>
                </c:pt>
                <c:pt idx="12520">
                  <c:v>#N/A</c:v>
                </c:pt>
                <c:pt idx="12521">
                  <c:v>#N/A</c:v>
                </c:pt>
                <c:pt idx="12522">
                  <c:v>#N/A</c:v>
                </c:pt>
                <c:pt idx="12523">
                  <c:v>#N/A</c:v>
                </c:pt>
                <c:pt idx="12524">
                  <c:v>6.9671232876712326</c:v>
                </c:pt>
                <c:pt idx="12525">
                  <c:v>#N/A</c:v>
                </c:pt>
                <c:pt idx="12526">
                  <c:v>#N/A</c:v>
                </c:pt>
                <c:pt idx="12527">
                  <c:v>#N/A</c:v>
                </c:pt>
                <c:pt idx="12528">
                  <c:v>#N/A</c:v>
                </c:pt>
                <c:pt idx="12529">
                  <c:v>#N/A</c:v>
                </c:pt>
                <c:pt idx="12530">
                  <c:v>#N/A</c:v>
                </c:pt>
                <c:pt idx="12531">
                  <c:v>#N/A</c:v>
                </c:pt>
                <c:pt idx="12532">
                  <c:v>#N/A</c:v>
                </c:pt>
                <c:pt idx="12533">
                  <c:v>#N/A</c:v>
                </c:pt>
                <c:pt idx="12534">
                  <c:v>#N/A</c:v>
                </c:pt>
                <c:pt idx="12535">
                  <c:v>#N/A</c:v>
                </c:pt>
                <c:pt idx="12536">
                  <c:v>#N/A</c:v>
                </c:pt>
                <c:pt idx="12537">
                  <c:v>7.0328767123287674</c:v>
                </c:pt>
                <c:pt idx="12538">
                  <c:v>#N/A</c:v>
                </c:pt>
                <c:pt idx="12539">
                  <c:v>#N/A</c:v>
                </c:pt>
                <c:pt idx="12540">
                  <c:v>#N/A</c:v>
                </c:pt>
                <c:pt idx="12541">
                  <c:v>#N/A</c:v>
                </c:pt>
                <c:pt idx="12542">
                  <c:v>#N/A</c:v>
                </c:pt>
                <c:pt idx="12543">
                  <c:v>#N/A</c:v>
                </c:pt>
                <c:pt idx="12544">
                  <c:v>#N/A</c:v>
                </c:pt>
                <c:pt idx="12545">
                  <c:v>7.0602739726027401</c:v>
                </c:pt>
                <c:pt idx="12546">
                  <c:v>#N/A</c:v>
                </c:pt>
                <c:pt idx="12547">
                  <c:v>#N/A</c:v>
                </c:pt>
                <c:pt idx="12548">
                  <c:v>7.0767123287671234</c:v>
                </c:pt>
                <c:pt idx="12549">
                  <c:v>#N/A</c:v>
                </c:pt>
                <c:pt idx="12550">
                  <c:v>#N/A</c:v>
                </c:pt>
                <c:pt idx="12551">
                  <c:v>#N/A</c:v>
                </c:pt>
                <c:pt idx="12552">
                  <c:v>#N/A</c:v>
                </c:pt>
                <c:pt idx="12553">
                  <c:v>7.1315068493150688</c:v>
                </c:pt>
                <c:pt idx="12554">
                  <c:v>#N/A</c:v>
                </c:pt>
                <c:pt idx="12555">
                  <c:v>#N/A</c:v>
                </c:pt>
                <c:pt idx="12556">
                  <c:v>#N/A</c:v>
                </c:pt>
                <c:pt idx="12557">
                  <c:v>#N/A</c:v>
                </c:pt>
                <c:pt idx="12558">
                  <c:v>#N/A</c:v>
                </c:pt>
                <c:pt idx="12559">
                  <c:v>#N/A</c:v>
                </c:pt>
                <c:pt idx="12560">
                  <c:v>#N/A</c:v>
                </c:pt>
                <c:pt idx="12561">
                  <c:v>#N/A</c:v>
                </c:pt>
                <c:pt idx="12562">
                  <c:v>#N/A</c:v>
                </c:pt>
                <c:pt idx="12563">
                  <c:v>#N/A</c:v>
                </c:pt>
                <c:pt idx="12564">
                  <c:v>#N/A</c:v>
                </c:pt>
                <c:pt idx="12565">
                  <c:v>#N/A</c:v>
                </c:pt>
                <c:pt idx="12566">
                  <c:v>#N/A</c:v>
                </c:pt>
                <c:pt idx="12567">
                  <c:v>#N/A</c:v>
                </c:pt>
                <c:pt idx="12568">
                  <c:v>#N/A</c:v>
                </c:pt>
                <c:pt idx="12569">
                  <c:v>#N/A</c:v>
                </c:pt>
                <c:pt idx="12570">
                  <c:v>#N/A</c:v>
                </c:pt>
                <c:pt idx="12571">
                  <c:v>#N/A</c:v>
                </c:pt>
                <c:pt idx="12572">
                  <c:v>#N/A</c:v>
                </c:pt>
                <c:pt idx="12573">
                  <c:v>#N/A</c:v>
                </c:pt>
                <c:pt idx="12574">
                  <c:v>#N/A</c:v>
                </c:pt>
                <c:pt idx="12575">
                  <c:v>7.2301369863013702</c:v>
                </c:pt>
                <c:pt idx="12576">
                  <c:v>#N/A</c:v>
                </c:pt>
                <c:pt idx="12577">
                  <c:v>#N/A</c:v>
                </c:pt>
                <c:pt idx="12578">
                  <c:v>7.2493150684931509</c:v>
                </c:pt>
                <c:pt idx="12579">
                  <c:v>#N/A</c:v>
                </c:pt>
                <c:pt idx="12580">
                  <c:v>#N/A</c:v>
                </c:pt>
                <c:pt idx="12581">
                  <c:v>#N/A</c:v>
                </c:pt>
                <c:pt idx="12582">
                  <c:v>#N/A</c:v>
                </c:pt>
                <c:pt idx="12583">
                  <c:v>#N/A</c:v>
                </c:pt>
                <c:pt idx="12584">
                  <c:v>#N/A</c:v>
                </c:pt>
                <c:pt idx="12585">
                  <c:v>#N/A</c:v>
                </c:pt>
                <c:pt idx="12586">
                  <c:v>#N/A</c:v>
                </c:pt>
                <c:pt idx="12587">
                  <c:v>#N/A</c:v>
                </c:pt>
                <c:pt idx="12588">
                  <c:v>#N/A</c:v>
                </c:pt>
                <c:pt idx="12589">
                  <c:v>#N/A</c:v>
                </c:pt>
                <c:pt idx="12590">
                  <c:v>#N/A</c:v>
                </c:pt>
                <c:pt idx="12591">
                  <c:v>7.2931506849315069</c:v>
                </c:pt>
                <c:pt idx="12592">
                  <c:v>#N/A</c:v>
                </c:pt>
                <c:pt idx="12593">
                  <c:v>#N/A</c:v>
                </c:pt>
                <c:pt idx="12594">
                  <c:v>#N/A</c:v>
                </c:pt>
                <c:pt idx="12595">
                  <c:v>#N/A</c:v>
                </c:pt>
                <c:pt idx="12596">
                  <c:v>#N/A</c:v>
                </c:pt>
                <c:pt idx="12597">
                  <c:v>#N/A</c:v>
                </c:pt>
                <c:pt idx="12598">
                  <c:v>#N/A</c:v>
                </c:pt>
                <c:pt idx="12599">
                  <c:v>#N/A</c:v>
                </c:pt>
                <c:pt idx="12600">
                  <c:v>#N/A</c:v>
                </c:pt>
                <c:pt idx="12601">
                  <c:v>#N/A</c:v>
                </c:pt>
                <c:pt idx="12602">
                  <c:v>#N/A</c:v>
                </c:pt>
                <c:pt idx="12603">
                  <c:v>#N/A</c:v>
                </c:pt>
                <c:pt idx="12604">
                  <c:v>7.3013698630136989</c:v>
                </c:pt>
                <c:pt idx="12605">
                  <c:v>#N/A</c:v>
                </c:pt>
                <c:pt idx="12606">
                  <c:v>#N/A</c:v>
                </c:pt>
                <c:pt idx="12607">
                  <c:v>7.3013698630136989</c:v>
                </c:pt>
                <c:pt idx="12608">
                  <c:v>#N/A</c:v>
                </c:pt>
                <c:pt idx="12609">
                  <c:v>#N/A</c:v>
                </c:pt>
                <c:pt idx="12610">
                  <c:v>#N/A</c:v>
                </c:pt>
                <c:pt idx="12611">
                  <c:v>#N/A</c:v>
                </c:pt>
                <c:pt idx="12612">
                  <c:v>#N/A</c:v>
                </c:pt>
                <c:pt idx="12613">
                  <c:v>#N/A</c:v>
                </c:pt>
                <c:pt idx="12614">
                  <c:v>#N/A</c:v>
                </c:pt>
                <c:pt idx="12615">
                  <c:v>#N/A</c:v>
                </c:pt>
                <c:pt idx="12616">
                  <c:v>#N/A</c:v>
                </c:pt>
                <c:pt idx="12617">
                  <c:v>#N/A</c:v>
                </c:pt>
                <c:pt idx="12618">
                  <c:v>#N/A</c:v>
                </c:pt>
                <c:pt idx="12619">
                  <c:v>#N/A</c:v>
                </c:pt>
                <c:pt idx="12620">
                  <c:v>7.3013698630136989</c:v>
                </c:pt>
                <c:pt idx="12621">
                  <c:v>#N/A</c:v>
                </c:pt>
                <c:pt idx="12622">
                  <c:v>#N/A</c:v>
                </c:pt>
                <c:pt idx="12623">
                  <c:v>7.3287671232876717</c:v>
                </c:pt>
                <c:pt idx="12624">
                  <c:v>#N/A</c:v>
                </c:pt>
                <c:pt idx="12625">
                  <c:v>7.3452054794520549</c:v>
                </c:pt>
                <c:pt idx="12626">
                  <c:v>#N/A</c:v>
                </c:pt>
                <c:pt idx="12627">
                  <c:v>7.3452054794520549</c:v>
                </c:pt>
                <c:pt idx="12628">
                  <c:v>#N/A</c:v>
                </c:pt>
                <c:pt idx="12629">
                  <c:v>#N/A</c:v>
                </c:pt>
                <c:pt idx="12630">
                  <c:v>#N/A</c:v>
                </c:pt>
                <c:pt idx="12631">
                  <c:v>#N/A</c:v>
                </c:pt>
                <c:pt idx="12632">
                  <c:v>#N/A</c:v>
                </c:pt>
                <c:pt idx="12633">
                  <c:v>#N/A</c:v>
                </c:pt>
                <c:pt idx="12634">
                  <c:v>#N/A</c:v>
                </c:pt>
                <c:pt idx="12635">
                  <c:v>#N/A</c:v>
                </c:pt>
                <c:pt idx="12636">
                  <c:v>#N/A</c:v>
                </c:pt>
                <c:pt idx="12637">
                  <c:v>#N/A</c:v>
                </c:pt>
                <c:pt idx="12638">
                  <c:v>#N/A</c:v>
                </c:pt>
                <c:pt idx="12639">
                  <c:v>#N/A</c:v>
                </c:pt>
                <c:pt idx="12640">
                  <c:v>#N/A</c:v>
                </c:pt>
                <c:pt idx="12641">
                  <c:v>#N/A</c:v>
                </c:pt>
                <c:pt idx="12642">
                  <c:v>#N/A</c:v>
                </c:pt>
                <c:pt idx="12643">
                  <c:v>#N/A</c:v>
                </c:pt>
                <c:pt idx="12644">
                  <c:v>#N/A</c:v>
                </c:pt>
                <c:pt idx="12645">
                  <c:v>#N/A</c:v>
                </c:pt>
                <c:pt idx="12646">
                  <c:v>#N/A</c:v>
                </c:pt>
                <c:pt idx="12647">
                  <c:v>7.3698630136986303</c:v>
                </c:pt>
                <c:pt idx="12648">
                  <c:v>7.3808219178082188</c:v>
                </c:pt>
                <c:pt idx="12649">
                  <c:v>#N/A</c:v>
                </c:pt>
                <c:pt idx="12650">
                  <c:v>#N/A</c:v>
                </c:pt>
                <c:pt idx="12651">
                  <c:v>#N/A</c:v>
                </c:pt>
                <c:pt idx="12652">
                  <c:v>#N/A</c:v>
                </c:pt>
                <c:pt idx="12653">
                  <c:v>#N/A</c:v>
                </c:pt>
                <c:pt idx="12654">
                  <c:v>#N/A</c:v>
                </c:pt>
                <c:pt idx="12655">
                  <c:v>7.4273972602739722</c:v>
                </c:pt>
                <c:pt idx="12656">
                  <c:v>#N/A</c:v>
                </c:pt>
                <c:pt idx="12657">
                  <c:v>#N/A</c:v>
                </c:pt>
                <c:pt idx="12658">
                  <c:v>#N/A</c:v>
                </c:pt>
                <c:pt idx="12659">
                  <c:v>#N/A</c:v>
                </c:pt>
                <c:pt idx="12660">
                  <c:v>#N/A</c:v>
                </c:pt>
                <c:pt idx="12661">
                  <c:v>#N/A</c:v>
                </c:pt>
                <c:pt idx="12662">
                  <c:v>#N/A</c:v>
                </c:pt>
                <c:pt idx="12663">
                  <c:v>#N/A</c:v>
                </c:pt>
                <c:pt idx="12664">
                  <c:v>#N/A</c:v>
                </c:pt>
                <c:pt idx="12665">
                  <c:v>#N/A</c:v>
                </c:pt>
                <c:pt idx="12666">
                  <c:v>#N/A</c:v>
                </c:pt>
                <c:pt idx="12667">
                  <c:v>7.4273972602739722</c:v>
                </c:pt>
                <c:pt idx="12668">
                  <c:v>#N/A</c:v>
                </c:pt>
                <c:pt idx="12669">
                  <c:v>7.4273972602739722</c:v>
                </c:pt>
                <c:pt idx="12670">
                  <c:v>#N/A</c:v>
                </c:pt>
                <c:pt idx="12671">
                  <c:v>#N/A</c:v>
                </c:pt>
                <c:pt idx="12672">
                  <c:v>#N/A</c:v>
                </c:pt>
                <c:pt idx="12673">
                  <c:v>#N/A</c:v>
                </c:pt>
                <c:pt idx="12674">
                  <c:v>#N/A</c:v>
                </c:pt>
                <c:pt idx="12675">
                  <c:v>#N/A</c:v>
                </c:pt>
                <c:pt idx="12676">
                  <c:v>#N/A</c:v>
                </c:pt>
                <c:pt idx="12677">
                  <c:v>#N/A</c:v>
                </c:pt>
                <c:pt idx="12678">
                  <c:v>#N/A</c:v>
                </c:pt>
                <c:pt idx="12679">
                  <c:v>7.4739726027397264</c:v>
                </c:pt>
                <c:pt idx="12680">
                  <c:v>7.4739726027397264</c:v>
                </c:pt>
                <c:pt idx="12681">
                  <c:v>7.4821917808219176</c:v>
                </c:pt>
                <c:pt idx="12682">
                  <c:v>7.4821917808219176</c:v>
                </c:pt>
                <c:pt idx="12683">
                  <c:v>#N/A</c:v>
                </c:pt>
                <c:pt idx="12684">
                  <c:v>7.5013698630136982</c:v>
                </c:pt>
                <c:pt idx="12685">
                  <c:v>#N/A</c:v>
                </c:pt>
                <c:pt idx="12686">
                  <c:v>#N/A</c:v>
                </c:pt>
                <c:pt idx="12687">
                  <c:v>#N/A</c:v>
                </c:pt>
                <c:pt idx="12688">
                  <c:v>#N/A</c:v>
                </c:pt>
                <c:pt idx="12689">
                  <c:v>#N/A</c:v>
                </c:pt>
                <c:pt idx="12690">
                  <c:v>#N/A</c:v>
                </c:pt>
                <c:pt idx="12691">
                  <c:v>#N/A</c:v>
                </c:pt>
                <c:pt idx="12692">
                  <c:v>#N/A</c:v>
                </c:pt>
                <c:pt idx="12693">
                  <c:v>#N/A</c:v>
                </c:pt>
                <c:pt idx="12694">
                  <c:v>#N/A</c:v>
                </c:pt>
                <c:pt idx="12695">
                  <c:v>#N/A</c:v>
                </c:pt>
                <c:pt idx="12696">
                  <c:v>#N/A</c:v>
                </c:pt>
                <c:pt idx="12697">
                  <c:v>#N/A</c:v>
                </c:pt>
                <c:pt idx="12698">
                  <c:v>#N/A</c:v>
                </c:pt>
                <c:pt idx="12699">
                  <c:v>#N/A</c:v>
                </c:pt>
                <c:pt idx="12700">
                  <c:v>#N/A</c:v>
                </c:pt>
                <c:pt idx="12701">
                  <c:v>#N/A</c:v>
                </c:pt>
                <c:pt idx="12702">
                  <c:v>7.5945205479452058</c:v>
                </c:pt>
                <c:pt idx="12703">
                  <c:v>#N/A</c:v>
                </c:pt>
                <c:pt idx="12704">
                  <c:v>#N/A</c:v>
                </c:pt>
                <c:pt idx="12705">
                  <c:v>#N/A</c:v>
                </c:pt>
                <c:pt idx="12706">
                  <c:v>#N/A</c:v>
                </c:pt>
                <c:pt idx="12707">
                  <c:v>#N/A</c:v>
                </c:pt>
                <c:pt idx="12708">
                  <c:v>#N/A</c:v>
                </c:pt>
                <c:pt idx="12709">
                  <c:v>7.6164383561643838</c:v>
                </c:pt>
                <c:pt idx="12710">
                  <c:v>#N/A</c:v>
                </c:pt>
                <c:pt idx="12711">
                  <c:v>#N/A</c:v>
                </c:pt>
                <c:pt idx="12712">
                  <c:v>#N/A</c:v>
                </c:pt>
                <c:pt idx="12713">
                  <c:v>#N/A</c:v>
                </c:pt>
                <c:pt idx="12714">
                  <c:v>#N/A</c:v>
                </c:pt>
                <c:pt idx="12715">
                  <c:v>#N/A</c:v>
                </c:pt>
                <c:pt idx="12716">
                  <c:v>#N/A</c:v>
                </c:pt>
                <c:pt idx="12717">
                  <c:v>#N/A</c:v>
                </c:pt>
                <c:pt idx="12718">
                  <c:v>#N/A</c:v>
                </c:pt>
                <c:pt idx="12719">
                  <c:v>#N/A</c:v>
                </c:pt>
                <c:pt idx="12720">
                  <c:v>#N/A</c:v>
                </c:pt>
                <c:pt idx="12721">
                  <c:v>7.7479452054794518</c:v>
                </c:pt>
                <c:pt idx="12722">
                  <c:v>#N/A</c:v>
                </c:pt>
                <c:pt idx="12723">
                  <c:v>#N/A</c:v>
                </c:pt>
                <c:pt idx="12724">
                  <c:v>#N/A</c:v>
                </c:pt>
                <c:pt idx="12725">
                  <c:v>#N/A</c:v>
                </c:pt>
                <c:pt idx="12726">
                  <c:v>#N/A</c:v>
                </c:pt>
                <c:pt idx="12727">
                  <c:v>#N/A</c:v>
                </c:pt>
                <c:pt idx="12728">
                  <c:v>#N/A</c:v>
                </c:pt>
                <c:pt idx="12729">
                  <c:v>#N/A</c:v>
                </c:pt>
                <c:pt idx="12730">
                  <c:v>#N/A</c:v>
                </c:pt>
                <c:pt idx="12731">
                  <c:v>#N/A</c:v>
                </c:pt>
                <c:pt idx="12732">
                  <c:v>#N/A</c:v>
                </c:pt>
                <c:pt idx="12733">
                  <c:v>#N/A</c:v>
                </c:pt>
                <c:pt idx="12734">
                  <c:v>7.8301369863013699</c:v>
                </c:pt>
                <c:pt idx="12735">
                  <c:v>7.8301369863013699</c:v>
                </c:pt>
                <c:pt idx="12736">
                  <c:v>#N/A</c:v>
                </c:pt>
                <c:pt idx="12737">
                  <c:v>#N/A</c:v>
                </c:pt>
                <c:pt idx="12738">
                  <c:v>#N/A</c:v>
                </c:pt>
                <c:pt idx="12739">
                  <c:v>#N/A</c:v>
                </c:pt>
                <c:pt idx="12740">
                  <c:v>#N/A</c:v>
                </c:pt>
                <c:pt idx="12741">
                  <c:v>#N/A</c:v>
                </c:pt>
                <c:pt idx="12742">
                  <c:v>#N/A</c:v>
                </c:pt>
                <c:pt idx="12743">
                  <c:v>7.8438356164383558</c:v>
                </c:pt>
                <c:pt idx="12744">
                  <c:v>7.8438356164383558</c:v>
                </c:pt>
                <c:pt idx="12745">
                  <c:v>#N/A</c:v>
                </c:pt>
                <c:pt idx="12746">
                  <c:v>7.8438356164383558</c:v>
                </c:pt>
                <c:pt idx="12747">
                  <c:v>7.8438356164383558</c:v>
                </c:pt>
                <c:pt idx="12748">
                  <c:v>7.8438356164383558</c:v>
                </c:pt>
                <c:pt idx="12749">
                  <c:v>7.8465753424657532</c:v>
                </c:pt>
                <c:pt idx="12750">
                  <c:v>7.8465753424657532</c:v>
                </c:pt>
                <c:pt idx="12751">
                  <c:v>7.8465753424657532</c:v>
                </c:pt>
                <c:pt idx="12752">
                  <c:v>7.8465753424657532</c:v>
                </c:pt>
                <c:pt idx="12753">
                  <c:v>7.8465753424657532</c:v>
                </c:pt>
                <c:pt idx="12754">
                  <c:v>7.8465753424657532</c:v>
                </c:pt>
                <c:pt idx="12755">
                  <c:v>#N/A</c:v>
                </c:pt>
                <c:pt idx="12756">
                  <c:v>7.8465753424657532</c:v>
                </c:pt>
                <c:pt idx="12757">
                  <c:v>7.8465753424657532</c:v>
                </c:pt>
                <c:pt idx="12758">
                  <c:v>7.8465753424657532</c:v>
                </c:pt>
                <c:pt idx="12759">
                  <c:v>#N/A</c:v>
                </c:pt>
                <c:pt idx="12760">
                  <c:v>#N/A</c:v>
                </c:pt>
                <c:pt idx="12761">
                  <c:v>#N/A</c:v>
                </c:pt>
                <c:pt idx="12762">
                  <c:v>#N/A</c:v>
                </c:pt>
                <c:pt idx="12763">
                  <c:v>#N/A</c:v>
                </c:pt>
                <c:pt idx="12764">
                  <c:v>#N/A</c:v>
                </c:pt>
                <c:pt idx="12765">
                  <c:v>#N/A</c:v>
                </c:pt>
                <c:pt idx="12766">
                  <c:v>7.8958904109589039</c:v>
                </c:pt>
                <c:pt idx="12767">
                  <c:v>#N/A</c:v>
                </c:pt>
                <c:pt idx="12768">
                  <c:v>#N/A</c:v>
                </c:pt>
                <c:pt idx="12769">
                  <c:v>7.9068493150684933</c:v>
                </c:pt>
                <c:pt idx="12770">
                  <c:v>7.9150684931506845</c:v>
                </c:pt>
                <c:pt idx="12771">
                  <c:v>7.9150684931506845</c:v>
                </c:pt>
                <c:pt idx="12772">
                  <c:v>#N/A</c:v>
                </c:pt>
                <c:pt idx="12773">
                  <c:v>#N/A</c:v>
                </c:pt>
                <c:pt idx="12774">
                  <c:v>#N/A</c:v>
                </c:pt>
                <c:pt idx="12775">
                  <c:v>#N/A</c:v>
                </c:pt>
                <c:pt idx="12776">
                  <c:v>#N/A</c:v>
                </c:pt>
                <c:pt idx="12777">
                  <c:v>#N/A</c:v>
                </c:pt>
                <c:pt idx="12778">
                  <c:v>#N/A</c:v>
                </c:pt>
                <c:pt idx="12779">
                  <c:v>#N/A</c:v>
                </c:pt>
                <c:pt idx="12780">
                  <c:v>#N/A</c:v>
                </c:pt>
                <c:pt idx="12781">
                  <c:v>#N/A</c:v>
                </c:pt>
                <c:pt idx="12782">
                  <c:v>#N/A</c:v>
                </c:pt>
                <c:pt idx="12783">
                  <c:v>#N/A</c:v>
                </c:pt>
                <c:pt idx="12784">
                  <c:v>#N/A</c:v>
                </c:pt>
                <c:pt idx="12785">
                  <c:v>#N/A</c:v>
                </c:pt>
                <c:pt idx="12786">
                  <c:v>#N/A</c:v>
                </c:pt>
                <c:pt idx="12787">
                  <c:v>#N/A</c:v>
                </c:pt>
                <c:pt idx="12788">
                  <c:v>#N/A</c:v>
                </c:pt>
                <c:pt idx="12789">
                  <c:v>#N/A</c:v>
                </c:pt>
                <c:pt idx="12790">
                  <c:v>#N/A</c:v>
                </c:pt>
                <c:pt idx="12791">
                  <c:v>#N/A</c:v>
                </c:pt>
                <c:pt idx="12792">
                  <c:v>#N/A</c:v>
                </c:pt>
                <c:pt idx="12793">
                  <c:v>#N/A</c:v>
                </c:pt>
                <c:pt idx="12794">
                  <c:v>#N/A</c:v>
                </c:pt>
                <c:pt idx="12795">
                  <c:v>#N/A</c:v>
                </c:pt>
                <c:pt idx="12796">
                  <c:v>#N/A</c:v>
                </c:pt>
                <c:pt idx="12797">
                  <c:v>#N/A</c:v>
                </c:pt>
                <c:pt idx="12798">
                  <c:v>#N/A</c:v>
                </c:pt>
                <c:pt idx="12799">
                  <c:v>#N/A</c:v>
                </c:pt>
                <c:pt idx="12800">
                  <c:v>#N/A</c:v>
                </c:pt>
                <c:pt idx="12801">
                  <c:v>#N/A</c:v>
                </c:pt>
                <c:pt idx="12802">
                  <c:v>#N/A</c:v>
                </c:pt>
                <c:pt idx="12803">
                  <c:v>#N/A</c:v>
                </c:pt>
                <c:pt idx="12804">
                  <c:v>#N/A</c:v>
                </c:pt>
                <c:pt idx="12805">
                  <c:v>#N/A</c:v>
                </c:pt>
                <c:pt idx="12806">
                  <c:v>#N/A</c:v>
                </c:pt>
                <c:pt idx="12807">
                  <c:v>#N/A</c:v>
                </c:pt>
                <c:pt idx="12808">
                  <c:v>#N/A</c:v>
                </c:pt>
                <c:pt idx="12809">
                  <c:v>#N/A</c:v>
                </c:pt>
                <c:pt idx="12810">
                  <c:v>#N/A</c:v>
                </c:pt>
                <c:pt idx="12811">
                  <c:v>8.0904109589041102</c:v>
                </c:pt>
                <c:pt idx="12812">
                  <c:v>8.0904109589041102</c:v>
                </c:pt>
                <c:pt idx="12813">
                  <c:v>#N/A</c:v>
                </c:pt>
                <c:pt idx="12814">
                  <c:v>#N/A</c:v>
                </c:pt>
                <c:pt idx="12815">
                  <c:v>#N/A</c:v>
                </c:pt>
                <c:pt idx="12816">
                  <c:v>#N/A</c:v>
                </c:pt>
                <c:pt idx="12817">
                  <c:v>#N/A</c:v>
                </c:pt>
                <c:pt idx="12818">
                  <c:v>#N/A</c:v>
                </c:pt>
                <c:pt idx="12819">
                  <c:v>#N/A</c:v>
                </c:pt>
                <c:pt idx="12820">
                  <c:v>8.1671232876712327</c:v>
                </c:pt>
                <c:pt idx="12821">
                  <c:v>8.1671232876712327</c:v>
                </c:pt>
                <c:pt idx="12822">
                  <c:v>#N/A</c:v>
                </c:pt>
                <c:pt idx="12823">
                  <c:v>#N/A</c:v>
                </c:pt>
                <c:pt idx="12824">
                  <c:v>#N/A</c:v>
                </c:pt>
                <c:pt idx="12825">
                  <c:v>#N/A</c:v>
                </c:pt>
                <c:pt idx="12826">
                  <c:v>#N/A</c:v>
                </c:pt>
                <c:pt idx="12827">
                  <c:v>#N/A</c:v>
                </c:pt>
                <c:pt idx="12828">
                  <c:v>#N/A</c:v>
                </c:pt>
                <c:pt idx="12829">
                  <c:v>#N/A</c:v>
                </c:pt>
                <c:pt idx="12830">
                  <c:v>#N/A</c:v>
                </c:pt>
                <c:pt idx="12831">
                  <c:v>#N/A</c:v>
                </c:pt>
                <c:pt idx="12832">
                  <c:v>#N/A</c:v>
                </c:pt>
                <c:pt idx="12833">
                  <c:v>#N/A</c:v>
                </c:pt>
                <c:pt idx="12834">
                  <c:v>#N/A</c:v>
                </c:pt>
                <c:pt idx="12835">
                  <c:v>8.2328767123287676</c:v>
                </c:pt>
                <c:pt idx="12836">
                  <c:v>8.2328767123287676</c:v>
                </c:pt>
                <c:pt idx="12837">
                  <c:v>#N/A</c:v>
                </c:pt>
                <c:pt idx="12838">
                  <c:v>8.2328767123287676</c:v>
                </c:pt>
                <c:pt idx="12839">
                  <c:v>8.2328767123287676</c:v>
                </c:pt>
                <c:pt idx="12840">
                  <c:v>#N/A</c:v>
                </c:pt>
                <c:pt idx="12841">
                  <c:v>8.2410958904109588</c:v>
                </c:pt>
                <c:pt idx="12842">
                  <c:v>#N/A</c:v>
                </c:pt>
                <c:pt idx="12843">
                  <c:v>#N/A</c:v>
                </c:pt>
                <c:pt idx="12844">
                  <c:v>#N/A</c:v>
                </c:pt>
                <c:pt idx="12845">
                  <c:v>8.3287671232876708</c:v>
                </c:pt>
                <c:pt idx="12846">
                  <c:v>#N/A</c:v>
                </c:pt>
                <c:pt idx="12847">
                  <c:v>#N/A</c:v>
                </c:pt>
                <c:pt idx="12848">
                  <c:v>#N/A</c:v>
                </c:pt>
                <c:pt idx="12849">
                  <c:v>#N/A</c:v>
                </c:pt>
                <c:pt idx="12850">
                  <c:v>#N/A</c:v>
                </c:pt>
                <c:pt idx="12851">
                  <c:v>#N/A</c:v>
                </c:pt>
                <c:pt idx="12852">
                  <c:v>#N/A</c:v>
                </c:pt>
                <c:pt idx="12853">
                  <c:v>#N/A</c:v>
                </c:pt>
                <c:pt idx="12854">
                  <c:v>#N/A</c:v>
                </c:pt>
                <c:pt idx="12855">
                  <c:v>#N/A</c:v>
                </c:pt>
                <c:pt idx="12856">
                  <c:v>#N/A</c:v>
                </c:pt>
                <c:pt idx="12857">
                  <c:v>#N/A</c:v>
                </c:pt>
                <c:pt idx="12858">
                  <c:v>#N/A</c:v>
                </c:pt>
                <c:pt idx="12859">
                  <c:v>#N/A</c:v>
                </c:pt>
                <c:pt idx="12860">
                  <c:v>#N/A</c:v>
                </c:pt>
                <c:pt idx="12861">
                  <c:v>#N/A</c:v>
                </c:pt>
                <c:pt idx="12862">
                  <c:v>#N/A</c:v>
                </c:pt>
                <c:pt idx="12863">
                  <c:v>#N/A</c:v>
                </c:pt>
                <c:pt idx="12864">
                  <c:v>#N/A</c:v>
                </c:pt>
                <c:pt idx="12865">
                  <c:v>#N/A</c:v>
                </c:pt>
                <c:pt idx="12866">
                  <c:v>#N/A</c:v>
                </c:pt>
                <c:pt idx="12867">
                  <c:v>#N/A</c:v>
                </c:pt>
                <c:pt idx="12868">
                  <c:v>8.4246575342465757</c:v>
                </c:pt>
                <c:pt idx="12869">
                  <c:v>#N/A</c:v>
                </c:pt>
                <c:pt idx="12870">
                  <c:v>#N/A</c:v>
                </c:pt>
                <c:pt idx="12871">
                  <c:v>#N/A</c:v>
                </c:pt>
                <c:pt idx="12872">
                  <c:v>#N/A</c:v>
                </c:pt>
                <c:pt idx="12873">
                  <c:v>#N/A</c:v>
                </c:pt>
                <c:pt idx="12874">
                  <c:v>#N/A</c:v>
                </c:pt>
                <c:pt idx="12875">
                  <c:v>#N/A</c:v>
                </c:pt>
                <c:pt idx="12876">
                  <c:v>#N/A</c:v>
                </c:pt>
                <c:pt idx="12877">
                  <c:v>#N/A</c:v>
                </c:pt>
                <c:pt idx="12878">
                  <c:v>#N/A</c:v>
                </c:pt>
                <c:pt idx="12879">
                  <c:v>#N/A</c:v>
                </c:pt>
                <c:pt idx="12880">
                  <c:v>#N/A</c:v>
                </c:pt>
                <c:pt idx="12881">
                  <c:v>#N/A</c:v>
                </c:pt>
                <c:pt idx="12882">
                  <c:v>#N/A</c:v>
                </c:pt>
                <c:pt idx="12883">
                  <c:v>#N/A</c:v>
                </c:pt>
                <c:pt idx="12884">
                  <c:v>#N/A</c:v>
                </c:pt>
                <c:pt idx="12885">
                  <c:v>8.4739726027397264</c:v>
                </c:pt>
                <c:pt idx="12886">
                  <c:v>8.5123287671232877</c:v>
                </c:pt>
                <c:pt idx="12887">
                  <c:v>#N/A</c:v>
                </c:pt>
                <c:pt idx="12888">
                  <c:v>#N/A</c:v>
                </c:pt>
                <c:pt idx="12889">
                  <c:v>#N/A</c:v>
                </c:pt>
                <c:pt idx="12890">
                  <c:v>8.5150684931506841</c:v>
                </c:pt>
                <c:pt idx="12891">
                  <c:v>#N/A</c:v>
                </c:pt>
                <c:pt idx="12892">
                  <c:v>#N/A</c:v>
                </c:pt>
                <c:pt idx="12893">
                  <c:v>#N/A</c:v>
                </c:pt>
                <c:pt idx="12894">
                  <c:v>#N/A</c:v>
                </c:pt>
                <c:pt idx="12895">
                  <c:v>8.5205479452054789</c:v>
                </c:pt>
                <c:pt idx="12896">
                  <c:v>#N/A</c:v>
                </c:pt>
                <c:pt idx="12897">
                  <c:v>#N/A</c:v>
                </c:pt>
                <c:pt idx="12898">
                  <c:v>#N/A</c:v>
                </c:pt>
                <c:pt idx="12899">
                  <c:v>#N/A</c:v>
                </c:pt>
                <c:pt idx="12900">
                  <c:v>8.5506849315068489</c:v>
                </c:pt>
                <c:pt idx="12901">
                  <c:v>#N/A</c:v>
                </c:pt>
                <c:pt idx="12902">
                  <c:v>8.5698630136986296</c:v>
                </c:pt>
                <c:pt idx="12903">
                  <c:v>#N/A</c:v>
                </c:pt>
                <c:pt idx="12904">
                  <c:v>#N/A</c:v>
                </c:pt>
                <c:pt idx="12905">
                  <c:v>#N/A</c:v>
                </c:pt>
                <c:pt idx="12906">
                  <c:v>#N/A</c:v>
                </c:pt>
                <c:pt idx="12907">
                  <c:v>#N/A</c:v>
                </c:pt>
                <c:pt idx="12908">
                  <c:v>#N/A</c:v>
                </c:pt>
                <c:pt idx="12909">
                  <c:v>#N/A</c:v>
                </c:pt>
                <c:pt idx="12910">
                  <c:v>#N/A</c:v>
                </c:pt>
                <c:pt idx="12911">
                  <c:v>#N/A</c:v>
                </c:pt>
                <c:pt idx="12912">
                  <c:v>#N/A</c:v>
                </c:pt>
                <c:pt idx="12913">
                  <c:v>8.7671232876712324</c:v>
                </c:pt>
                <c:pt idx="12914">
                  <c:v>#N/A</c:v>
                </c:pt>
                <c:pt idx="12915">
                  <c:v>8.8054794520547937</c:v>
                </c:pt>
                <c:pt idx="12916">
                  <c:v>#N/A</c:v>
                </c:pt>
                <c:pt idx="12917">
                  <c:v>#N/A</c:v>
                </c:pt>
                <c:pt idx="12918">
                  <c:v>#N/A</c:v>
                </c:pt>
                <c:pt idx="12919">
                  <c:v>#N/A</c:v>
                </c:pt>
                <c:pt idx="12920">
                  <c:v>#N/A</c:v>
                </c:pt>
                <c:pt idx="12921">
                  <c:v>8.9232876712328775</c:v>
                </c:pt>
                <c:pt idx="12922">
                  <c:v>#N/A</c:v>
                </c:pt>
                <c:pt idx="12923">
                  <c:v>#N/A</c:v>
                </c:pt>
                <c:pt idx="12924">
                  <c:v>#N/A</c:v>
                </c:pt>
                <c:pt idx="12925">
                  <c:v>8.9342465753424651</c:v>
                </c:pt>
                <c:pt idx="12926">
                  <c:v>8.9342465753424651</c:v>
                </c:pt>
                <c:pt idx="12927">
                  <c:v>#N/A</c:v>
                </c:pt>
                <c:pt idx="12928">
                  <c:v>#N/A</c:v>
                </c:pt>
                <c:pt idx="12929">
                  <c:v>#N/A</c:v>
                </c:pt>
                <c:pt idx="12930">
                  <c:v>#N/A</c:v>
                </c:pt>
                <c:pt idx="12931">
                  <c:v>#N/A</c:v>
                </c:pt>
                <c:pt idx="12932">
                  <c:v>#N/A</c:v>
                </c:pt>
                <c:pt idx="12933">
                  <c:v>#N/A</c:v>
                </c:pt>
                <c:pt idx="12934">
                  <c:v>8.9945205479452053</c:v>
                </c:pt>
                <c:pt idx="12935">
                  <c:v>8.9972602739726035</c:v>
                </c:pt>
                <c:pt idx="12936">
                  <c:v>9</c:v>
                </c:pt>
                <c:pt idx="12937">
                  <c:v>#N/A</c:v>
                </c:pt>
                <c:pt idx="12938">
                  <c:v>#N/A</c:v>
                </c:pt>
                <c:pt idx="12939">
                  <c:v>#N/A</c:v>
                </c:pt>
                <c:pt idx="12940">
                  <c:v>#N/A</c:v>
                </c:pt>
                <c:pt idx="12941">
                  <c:v>#N/A</c:v>
                </c:pt>
                <c:pt idx="12942">
                  <c:v>9.0575342465753419</c:v>
                </c:pt>
                <c:pt idx="12943">
                  <c:v>#N/A</c:v>
                </c:pt>
                <c:pt idx="12944">
                  <c:v>#N/A</c:v>
                </c:pt>
                <c:pt idx="12945">
                  <c:v>9.0958904109589049</c:v>
                </c:pt>
                <c:pt idx="12946">
                  <c:v>#N/A</c:v>
                </c:pt>
                <c:pt idx="12947">
                  <c:v>#N/A</c:v>
                </c:pt>
                <c:pt idx="12948">
                  <c:v>#N/A</c:v>
                </c:pt>
                <c:pt idx="12949">
                  <c:v>9.3835616438356162</c:v>
                </c:pt>
                <c:pt idx="12950">
                  <c:v>#N/A</c:v>
                </c:pt>
                <c:pt idx="12951">
                  <c:v>9.4027397260273968</c:v>
                </c:pt>
                <c:pt idx="12952">
                  <c:v>#N/A</c:v>
                </c:pt>
                <c:pt idx="12953">
                  <c:v>#N/A</c:v>
                </c:pt>
                <c:pt idx="12954">
                  <c:v>#N/A</c:v>
                </c:pt>
                <c:pt idx="12955">
                  <c:v>#N/A</c:v>
                </c:pt>
                <c:pt idx="12956">
                  <c:v>#N/A</c:v>
                </c:pt>
                <c:pt idx="12957">
                  <c:v>#N/A</c:v>
                </c:pt>
                <c:pt idx="12958">
                  <c:v>#N/A</c:v>
                </c:pt>
                <c:pt idx="12959">
                  <c:v>#N/A</c:v>
                </c:pt>
                <c:pt idx="12960">
                  <c:v>#N/A</c:v>
                </c:pt>
                <c:pt idx="12961">
                  <c:v>#N/A</c:v>
                </c:pt>
                <c:pt idx="12962">
                  <c:v>#N/A</c:v>
                </c:pt>
                <c:pt idx="12963">
                  <c:v>9.4328767123287669</c:v>
                </c:pt>
                <c:pt idx="12964">
                  <c:v>#N/A</c:v>
                </c:pt>
                <c:pt idx="12965">
                  <c:v>#N/A</c:v>
                </c:pt>
                <c:pt idx="12966">
                  <c:v>#N/A</c:v>
                </c:pt>
                <c:pt idx="12967">
                  <c:v>#N/A</c:v>
                </c:pt>
                <c:pt idx="12968">
                  <c:v>#N/A</c:v>
                </c:pt>
                <c:pt idx="12969">
                  <c:v>#N/A</c:v>
                </c:pt>
                <c:pt idx="12970">
                  <c:v>#N/A</c:v>
                </c:pt>
                <c:pt idx="12971">
                  <c:v>9.4794520547945211</c:v>
                </c:pt>
                <c:pt idx="12972">
                  <c:v>#N/A</c:v>
                </c:pt>
                <c:pt idx="12973">
                  <c:v>#N/A</c:v>
                </c:pt>
                <c:pt idx="12974">
                  <c:v>#N/A</c:v>
                </c:pt>
                <c:pt idx="12975">
                  <c:v>#N/A</c:v>
                </c:pt>
                <c:pt idx="12976">
                  <c:v>#N/A</c:v>
                </c:pt>
                <c:pt idx="12977">
                  <c:v>#N/A</c:v>
                </c:pt>
                <c:pt idx="12978">
                  <c:v>#N/A</c:v>
                </c:pt>
                <c:pt idx="12979">
                  <c:v>#N/A</c:v>
                </c:pt>
                <c:pt idx="12980">
                  <c:v>#N/A</c:v>
                </c:pt>
                <c:pt idx="12981">
                  <c:v>#N/A</c:v>
                </c:pt>
                <c:pt idx="12982">
                  <c:v>#N/A</c:v>
                </c:pt>
                <c:pt idx="12983">
                  <c:v>#N/A</c:v>
                </c:pt>
                <c:pt idx="12984">
                  <c:v>#N/A</c:v>
                </c:pt>
                <c:pt idx="12985">
                  <c:v>#N/A</c:v>
                </c:pt>
                <c:pt idx="12986">
                  <c:v>#N/A</c:v>
                </c:pt>
                <c:pt idx="12987">
                  <c:v>#N/A</c:v>
                </c:pt>
                <c:pt idx="12988">
                  <c:v>#N/A</c:v>
                </c:pt>
                <c:pt idx="12989">
                  <c:v>#N/A</c:v>
                </c:pt>
                <c:pt idx="12990">
                  <c:v>#N/A</c:v>
                </c:pt>
                <c:pt idx="12991">
                  <c:v>#N/A</c:v>
                </c:pt>
                <c:pt idx="12992">
                  <c:v>#N/A</c:v>
                </c:pt>
                <c:pt idx="12993">
                  <c:v>#N/A</c:v>
                </c:pt>
                <c:pt idx="12994">
                  <c:v>#N/A</c:v>
                </c:pt>
                <c:pt idx="12995">
                  <c:v>#N/A</c:v>
                </c:pt>
                <c:pt idx="12996">
                  <c:v>#N/A</c:v>
                </c:pt>
                <c:pt idx="12997">
                  <c:v>11.07123287671233</c:v>
                </c:pt>
                <c:pt idx="12998">
                  <c:v>11.07123287671233</c:v>
                </c:pt>
                <c:pt idx="12999">
                  <c:v>#N/A</c:v>
                </c:pt>
                <c:pt idx="13000">
                  <c:v>#N/A</c:v>
                </c:pt>
                <c:pt idx="13001">
                  <c:v>11.202739726027398</c:v>
                </c:pt>
                <c:pt idx="13002">
                  <c:v>#N/A</c:v>
                </c:pt>
                <c:pt idx="13003">
                  <c:v>#N/A</c:v>
                </c:pt>
                <c:pt idx="13004">
                  <c:v>#N/A</c:v>
                </c:pt>
                <c:pt idx="13005">
                  <c:v>#N/A</c:v>
                </c:pt>
                <c:pt idx="13006">
                  <c:v>#N/A</c:v>
                </c:pt>
                <c:pt idx="13007">
                  <c:v>#N/A</c:v>
                </c:pt>
                <c:pt idx="13008">
                  <c:v>11.468493150684932</c:v>
                </c:pt>
                <c:pt idx="13009">
                  <c:v>11.597260273972603</c:v>
                </c:pt>
                <c:pt idx="13010">
                  <c:v>#N/A</c:v>
                </c:pt>
                <c:pt idx="13011">
                  <c:v>11.846575342465753</c:v>
                </c:pt>
                <c:pt idx="13012">
                  <c:v>#N/A</c:v>
                </c:pt>
                <c:pt idx="13013">
                  <c:v>#N/A</c:v>
                </c:pt>
                <c:pt idx="13014">
                  <c:v>#N/A</c:v>
                </c:pt>
                <c:pt idx="13015">
                  <c:v>#N/A</c:v>
                </c:pt>
                <c:pt idx="13016">
                  <c:v>#N/A</c:v>
                </c:pt>
                <c:pt idx="13017">
                  <c:v>#N/A</c:v>
                </c:pt>
                <c:pt idx="13018">
                  <c:v>#N/A</c:v>
                </c:pt>
                <c:pt idx="13019">
                  <c:v>12.079452054794521</c:v>
                </c:pt>
                <c:pt idx="13020">
                  <c:v>#N/A</c:v>
                </c:pt>
                <c:pt idx="13021">
                  <c:v>12.693150684931506</c:v>
                </c:pt>
                <c:pt idx="13022">
                  <c:v>#N/A</c:v>
                </c:pt>
                <c:pt idx="13023">
                  <c:v>#N/A</c:v>
                </c:pt>
                <c:pt idx="13024">
                  <c:v>#N/A</c:v>
                </c:pt>
                <c:pt idx="13025">
                  <c:v>#N/A</c:v>
                </c:pt>
                <c:pt idx="13026">
                  <c:v>#N/A</c:v>
                </c:pt>
                <c:pt idx="13027">
                  <c:v>#N/A</c:v>
                </c:pt>
                <c:pt idx="13028">
                  <c:v>#N/A</c:v>
                </c:pt>
                <c:pt idx="13029">
                  <c:v>13.517808219178082</c:v>
                </c:pt>
                <c:pt idx="13030">
                  <c:v>#N/A</c:v>
                </c:pt>
                <c:pt idx="13031">
                  <c:v>13.517808219178082</c:v>
                </c:pt>
                <c:pt idx="13032">
                  <c:v>#N/A</c:v>
                </c:pt>
                <c:pt idx="13033">
                  <c:v>#N/A</c:v>
                </c:pt>
                <c:pt idx="13034">
                  <c:v>#N/A</c:v>
                </c:pt>
                <c:pt idx="13035">
                  <c:v>14.109589041095891</c:v>
                </c:pt>
                <c:pt idx="13036">
                  <c:v>#N/A</c:v>
                </c:pt>
                <c:pt idx="13037">
                  <c:v>#N/A</c:v>
                </c:pt>
                <c:pt idx="13038">
                  <c:v>#N/A</c:v>
                </c:pt>
                <c:pt idx="13039">
                  <c:v>#N/A</c:v>
                </c:pt>
                <c:pt idx="13040">
                  <c:v>#N/A</c:v>
                </c:pt>
                <c:pt idx="13041">
                  <c:v>#N/A</c:v>
                </c:pt>
                <c:pt idx="13042">
                  <c:v>#N/A</c:v>
                </c:pt>
                <c:pt idx="13043">
                  <c:v>#N/A</c:v>
                </c:pt>
                <c:pt idx="13044">
                  <c:v>#N/A</c:v>
                </c:pt>
                <c:pt idx="13045">
                  <c:v>#N/A</c:v>
                </c:pt>
                <c:pt idx="13046">
                  <c:v>#N/A</c:v>
                </c:pt>
                <c:pt idx="13047">
                  <c:v>#N/A</c:v>
                </c:pt>
                <c:pt idx="13048">
                  <c:v>#N/A</c:v>
                </c:pt>
                <c:pt idx="13049">
                  <c:v>15.386301369863014</c:v>
                </c:pt>
                <c:pt idx="13050">
                  <c:v>15.509589041095891</c:v>
                </c:pt>
                <c:pt idx="13051">
                  <c:v>15.509589041095891</c:v>
                </c:pt>
                <c:pt idx="13052">
                  <c:v>#N/A</c:v>
                </c:pt>
                <c:pt idx="13053">
                  <c:v>#N/A</c:v>
                </c:pt>
                <c:pt idx="13054">
                  <c:v>#N/A</c:v>
                </c:pt>
                <c:pt idx="13055">
                  <c:v>#N/A</c:v>
                </c:pt>
                <c:pt idx="13056">
                  <c:v>#N/A</c:v>
                </c:pt>
                <c:pt idx="13057">
                  <c:v>#N/A</c:v>
                </c:pt>
                <c:pt idx="13058">
                  <c:v>#N/A</c:v>
                </c:pt>
                <c:pt idx="13059">
                  <c:v>#N/A</c:v>
                </c:pt>
                <c:pt idx="13060">
                  <c:v>#N/A</c:v>
                </c:pt>
                <c:pt idx="13061">
                  <c:v>#N/A</c:v>
                </c:pt>
                <c:pt idx="13062">
                  <c:v>#N/A</c:v>
                </c:pt>
                <c:pt idx="13063">
                  <c:v>#N/A</c:v>
                </c:pt>
                <c:pt idx="13064">
                  <c:v>#N/A</c:v>
                </c:pt>
                <c:pt idx="13065">
                  <c:v>#N/A</c:v>
                </c:pt>
                <c:pt idx="13066">
                  <c:v>#N/A</c:v>
                </c:pt>
                <c:pt idx="13067">
                  <c:v>#N/A</c:v>
                </c:pt>
                <c:pt idx="13068">
                  <c:v>#N/A</c:v>
                </c:pt>
                <c:pt idx="13069">
                  <c:v>#N/A</c:v>
                </c:pt>
                <c:pt idx="13070">
                  <c:v>#N/A</c:v>
                </c:pt>
                <c:pt idx="13071">
                  <c:v>#N/A</c:v>
                </c:pt>
                <c:pt idx="13072">
                  <c:v>#N/A</c:v>
                </c:pt>
                <c:pt idx="13073">
                  <c:v>#N/A</c:v>
                </c:pt>
                <c:pt idx="13074">
                  <c:v>#N/A</c:v>
                </c:pt>
                <c:pt idx="13075">
                  <c:v>#N/A</c:v>
                </c:pt>
                <c:pt idx="13076">
                  <c:v>#N/A</c:v>
                </c:pt>
                <c:pt idx="13077">
                  <c:v>#N/A</c:v>
                </c:pt>
                <c:pt idx="13078">
                  <c:v>#N/A</c:v>
                </c:pt>
                <c:pt idx="13079">
                  <c:v>#N/A</c:v>
                </c:pt>
                <c:pt idx="13080">
                  <c:v>#N/A</c:v>
                </c:pt>
              </c:numCache>
            </c:numRef>
          </c:xVal>
          <c:yVal>
            <c:numRef>
              <c:f>'power_generator-2024-09-23T (2)'!$U$2:$U$13082</c:f>
              <c:numCache>
                <c:formatCode>General</c:formatCode>
                <c:ptCount val="13081"/>
                <c:pt idx="0">
                  <c:v>5.0423620058489318</c:v>
                </c:pt>
                <c:pt idx="1">
                  <c:v>5.9984969734300204</c:v>
                </c:pt>
                <c:pt idx="2">
                  <c:v>6.028243266869449</c:v>
                </c:pt>
                <c:pt idx="3">
                  <c:v>6.027615680892267</c:v>
                </c:pt>
                <c:pt idx="4">
                  <c:v>6.0968802963641044</c:v>
                </c:pt>
                <c:pt idx="5">
                  <c:v>5.0833740576969442</c:v>
                </c:pt>
                <c:pt idx="6">
                  <c:v>4.8649706859237121</c:v>
                </c:pt>
                <c:pt idx="7">
                  <c:v>4.9838127763822371</c:v>
                </c:pt>
                <c:pt idx="8">
                  <c:v>3.9330733837753398</c:v>
                </c:pt>
                <c:pt idx="9">
                  <c:v>5.0274272656549748</c:v>
                </c:pt>
                <c:pt idx="10">
                  <c:v>4.2713519971552012</c:v>
                </c:pt>
                <c:pt idx="11">
                  <c:v>4.0230424193938301</c:v>
                </c:pt>
                <c:pt idx="12">
                  <c:v>5.1093266698785786</c:v>
                </c:pt>
                <c:pt idx="13">
                  <c:v>3.7789549155485394</c:v>
                </c:pt>
                <c:pt idx="14">
                  <c:v>5.1135823180669</c:v>
                </c:pt>
                <c:pt idx="15">
                  <c:v>5.1470967119613782</c:v>
                </c:pt>
                <c:pt idx="16">
                  <c:v>5.0933798732621636</c:v>
                </c:pt>
                <c:pt idx="17">
                  <c:v>6.1148849603222679</c:v>
                </c:pt>
                <c:pt idx="18">
                  <c:v>5.1840351127786324</c:v>
                </c:pt>
                <c:pt idx="19">
                  <c:v>4.9326101929562061</c:v>
                </c:pt>
                <c:pt idx="20">
                  <c:v>4.891495675253843</c:v>
                </c:pt>
                <c:pt idx="21">
                  <c:v>5.0342251415695536</c:v>
                </c:pt>
                <c:pt idx="22">
                  <c:v>5.0857390895175936</c:v>
                </c:pt>
                <c:pt idx="23">
                  <c:v>6.0305374433227987</c:v>
                </c:pt>
                <c:pt idx="24">
                  <c:v>5.867703502113379</c:v>
                </c:pt>
                <c:pt idx="25">
                  <c:v>5.2281367546392428</c:v>
                </c:pt>
                <c:pt idx="26">
                  <c:v>6.0403565569171107</c:v>
                </c:pt>
                <c:pt idx="27">
                  <c:v>4.9230729141968723</c:v>
                </c:pt>
                <c:pt idx="28">
                  <c:v>5.0047761039437617</c:v>
                </c:pt>
                <c:pt idx="29">
                  <c:v>4.1601352771088891</c:v>
                </c:pt>
                <c:pt idx="30">
                  <c:v>4.8531316785957088</c:v>
                </c:pt>
                <c:pt idx="31">
                  <c:v>5.1731757707995758</c:v>
                </c:pt>
                <c:pt idx="32">
                  <c:v>3.8841641575482173</c:v>
                </c:pt>
                <c:pt idx="33">
                  <c:v>4.9633263593285042</c:v>
                </c:pt>
                <c:pt idx="34">
                  <c:v>5.7934833686737042</c:v>
                </c:pt>
                <c:pt idx="35">
                  <c:v>5.776250892404355</c:v>
                </c:pt>
                <c:pt idx="36">
                  <c:v>4.9795114960604261</c:v>
                </c:pt>
                <c:pt idx="37">
                  <c:v>7.0567515492551678</c:v>
                </c:pt>
                <c:pt idx="38">
                  <c:v>5.9107818677330508</c:v>
                </c:pt>
                <c:pt idx="39">
                  <c:v>3.9863828012207243</c:v>
                </c:pt>
                <c:pt idx="40">
                  <c:v>5.0730218962980711</c:v>
                </c:pt>
                <c:pt idx="41">
                  <c:v>4.912029944991863</c:v>
                </c:pt>
                <c:pt idx="42">
                  <c:v>5.0048101777829253</c:v>
                </c:pt>
                <c:pt idx="43">
                  <c:v>5.8595127855509057</c:v>
                </c:pt>
                <c:pt idx="44">
                  <c:v>4.1076766125286248</c:v>
                </c:pt>
                <c:pt idx="45">
                  <c:v>6.9813927063759165</c:v>
                </c:pt>
                <c:pt idx="46">
                  <c:v>6.1455680024709345</c:v>
                </c:pt>
                <c:pt idx="47">
                  <c:v>5.002322790238539</c:v>
                </c:pt>
                <c:pt idx="48">
                  <c:v>3.9556188004152095</c:v>
                </c:pt>
                <c:pt idx="49">
                  <c:v>5.9668690691198574</c:v>
                </c:pt>
                <c:pt idx="50">
                  <c:v>6.1061528519625874</c:v>
                </c:pt>
                <c:pt idx="51">
                  <c:v>4.9568554683781558</c:v>
                </c:pt>
                <c:pt idx="52">
                  <c:v>5.9705560961442199</c:v>
                </c:pt>
                <c:pt idx="53">
                  <c:v>3.8649575757968564</c:v>
                </c:pt>
                <c:pt idx="54">
                  <c:v>5.0505858619730901</c:v>
                </c:pt>
                <c:pt idx="55">
                  <c:v>5.094145874629155</c:v>
                </c:pt>
                <c:pt idx="56">
                  <c:v>5.8074269643065435</c:v>
                </c:pt>
                <c:pt idx="57">
                  <c:v>5.953659090889821</c:v>
                </c:pt>
                <c:pt idx="58">
                  <c:v>4.8031963268992515</c:v>
                </c:pt>
                <c:pt idx="59">
                  <c:v>4.0680530396243464</c:v>
                </c:pt>
                <c:pt idx="60">
                  <c:v>5.1313087767133325</c:v>
                </c:pt>
                <c:pt idx="61">
                  <c:v>3.8579803787173397</c:v>
                </c:pt>
                <c:pt idx="62">
                  <c:v>5.8664847588884204</c:v>
                </c:pt>
                <c:pt idx="63">
                  <c:v>9.0794018642177576</c:v>
                </c:pt>
                <c:pt idx="64">
                  <c:v>5.0592714449641276</c:v>
                </c:pt>
                <c:pt idx="65">
                  <c:v>6.1206365581012303</c:v>
                </c:pt>
                <c:pt idx="66">
                  <c:v>4.8865991374950877</c:v>
                </c:pt>
                <c:pt idx="67">
                  <c:v>4.9021862801652549</c:v>
                </c:pt>
                <c:pt idx="68">
                  <c:v>5.1710506636393925</c:v>
                </c:pt>
                <c:pt idx="69">
                  <c:v>6.1361049125818008</c:v>
                </c:pt>
                <c:pt idx="70">
                  <c:v>5.9186018762335406</c:v>
                </c:pt>
                <c:pt idx="71">
                  <c:v>6.0127675753564214</c:v>
                </c:pt>
                <c:pt idx="72">
                  <c:v>5.9751240711200326</c:v>
                </c:pt>
                <c:pt idx="73">
                  <c:v>5.9048754423423997</c:v>
                </c:pt>
                <c:pt idx="74">
                  <c:v>6.0030827812151504</c:v>
                </c:pt>
                <c:pt idx="75">
                  <c:v>5.9356058018936881</c:v>
                </c:pt>
                <c:pt idx="76">
                  <c:v>4.9025467418290649</c:v>
                </c:pt>
                <c:pt idx="77">
                  <c:v>5.8577519470087003</c:v>
                </c:pt>
                <c:pt idx="78">
                  <c:v>4.917646632103513</c:v>
                </c:pt>
                <c:pt idx="79">
                  <c:v>4.9490580642890647</c:v>
                </c:pt>
                <c:pt idx="80">
                  <c:v>5.0974975255379489</c:v>
                </c:pt>
                <c:pt idx="81">
                  <c:v>5.9318785407512555</c:v>
                </c:pt>
                <c:pt idx="82">
                  <c:v>4.9220516310285447</c:v>
                </c:pt>
                <c:pt idx="83">
                  <c:v>5.078016067201184</c:v>
                </c:pt>
                <c:pt idx="84">
                  <c:v>5.1051260061440606</c:v>
                </c:pt>
                <c:pt idx="85">
                  <c:v>4.9754304970155259</c:v>
                </c:pt>
                <c:pt idx="86">
                  <c:v>5.9431455999129463</c:v>
                </c:pt>
                <c:pt idx="87">
                  <c:v>6.0190873451923839</c:v>
                </c:pt>
                <c:pt idx="88">
                  <c:v>5.1276009043277524</c:v>
                </c:pt>
                <c:pt idx="89">
                  <c:v>6.0970598419303919</c:v>
                </c:pt>
                <c:pt idx="90">
                  <c:v>5.0061002985165173</c:v>
                </c:pt>
                <c:pt idx="91">
                  <c:v>6.0247791384179923</c:v>
                </c:pt>
                <c:pt idx="92">
                  <c:v>5.9782425106237085</c:v>
                </c:pt>
                <c:pt idx="93">
                  <c:v>4.9007286570651205</c:v>
                </c:pt>
                <c:pt idx="94">
                  <c:v>5.962445986496177</c:v>
                </c:pt>
                <c:pt idx="95">
                  <c:v>6.1226960261946486</c:v>
                </c:pt>
                <c:pt idx="96">
                  <c:v>5.0999749424204692</c:v>
                </c:pt>
                <c:pt idx="97">
                  <c:v>5.0223016162710925</c:v>
                </c:pt>
                <c:pt idx="98">
                  <c:v>5.925556808952706</c:v>
                </c:pt>
                <c:pt idx="99">
                  <c:v>5.9122627195450885</c:v>
                </c:pt>
                <c:pt idx="100">
                  <c:v>5.9604077256928312</c:v>
                </c:pt>
                <c:pt idx="101">
                  <c:v>6.0114538526580734</c:v>
                </c:pt>
                <c:pt idx="102">
                  <c:v>6.2095468873314248</c:v>
                </c:pt>
                <c:pt idx="103">
                  <c:v>4.9598970253977299</c:v>
                </c:pt>
                <c:pt idx="104">
                  <c:v>6.1295661774850361</c:v>
                </c:pt>
                <c:pt idx="105">
                  <c:v>6.0973062095551605</c:v>
                </c:pt>
                <c:pt idx="106">
                  <c:v>4.973498553324597</c:v>
                </c:pt>
                <c:pt idx="107">
                  <c:v>4.9186300478743785</c:v>
                </c:pt>
                <c:pt idx="108">
                  <c:v>5.0099753647069001</c:v>
                </c:pt>
                <c:pt idx="109">
                  <c:v>4.9343798874746421</c:v>
                </c:pt>
                <c:pt idx="110">
                  <c:v>4.8266720303695108</c:v>
                </c:pt>
                <c:pt idx="111">
                  <c:v>4.9887374921046366</c:v>
                </c:pt>
                <c:pt idx="112">
                  <c:v>5.9214695848801044</c:v>
                </c:pt>
                <c:pt idx="113">
                  <c:v>5.2496843542288083</c:v>
                </c:pt>
                <c:pt idx="114">
                  <c:v>6.9017115400496101</c:v>
                </c:pt>
                <c:pt idx="115">
                  <c:v>4.8642807759450353</c:v>
                </c:pt>
                <c:pt idx="116">
                  <c:v>4.0107633082364842</c:v>
                </c:pt>
                <c:pt idx="117">
                  <c:v>5.716100812085207</c:v>
                </c:pt>
                <c:pt idx="118">
                  <c:v>3.9643128178614315</c:v>
                </c:pt>
                <c:pt idx="119">
                  <c:v>4.9274400474862983</c:v>
                </c:pt>
                <c:pt idx="120">
                  <c:v>5.9118105434917032</c:v>
                </c:pt>
                <c:pt idx="121">
                  <c:v>4.9687323800346315</c:v>
                </c:pt>
                <c:pt idx="122">
                  <c:v>5.0709090838859856</c:v>
                </c:pt>
                <c:pt idx="123">
                  <c:v>6.1895441805595812</c:v>
                </c:pt>
                <c:pt idx="124">
                  <c:v>5.0240952862107973</c:v>
                </c:pt>
                <c:pt idx="125">
                  <c:v>5.0158145501548654</c:v>
                </c:pt>
                <c:pt idx="126">
                  <c:v>4.9110702561664219</c:v>
                </c:pt>
                <c:pt idx="127">
                  <c:v>4.9505232340569609</c:v>
                </c:pt>
                <c:pt idx="128">
                  <c:v>4.9914528394628972</c:v>
                </c:pt>
                <c:pt idx="129">
                  <c:v>5.0485988376627606</c:v>
                </c:pt>
                <c:pt idx="130">
                  <c:v>5.9040392126915098</c:v>
                </c:pt>
                <c:pt idx="131">
                  <c:v>5.1263152877492377</c:v>
                </c:pt>
                <c:pt idx="132">
                  <c:v>3.8780653190770926</c:v>
                </c:pt>
                <c:pt idx="133">
                  <c:v>7.0810924603937728</c:v>
                </c:pt>
                <c:pt idx="134">
                  <c:v>4.1695790557500478</c:v>
                </c:pt>
                <c:pt idx="135">
                  <c:v>4.8333544444253231</c:v>
                </c:pt>
                <c:pt idx="136">
                  <c:v>5.047786140001068</c:v>
                </c:pt>
                <c:pt idx="137">
                  <c:v>4.9850374742404373</c:v>
                </c:pt>
                <c:pt idx="138">
                  <c:v>5.9966655440644159</c:v>
                </c:pt>
                <c:pt idx="139">
                  <c:v>5.9464070761871151</c:v>
                </c:pt>
                <c:pt idx="140">
                  <c:v>5.0261577459183897</c:v>
                </c:pt>
                <c:pt idx="141">
                  <c:v>6.0492630038458195</c:v>
                </c:pt>
                <c:pt idx="142">
                  <c:v>5.9904079223632039</c:v>
                </c:pt>
                <c:pt idx="143">
                  <c:v>5.1123386361373644</c:v>
                </c:pt>
                <c:pt idx="144">
                  <c:v>5.9627487621356012</c:v>
                </c:pt>
                <c:pt idx="145">
                  <c:v>5.0191285834595094</c:v>
                </c:pt>
                <c:pt idx="146">
                  <c:v>4.8464054626331707</c:v>
                </c:pt>
                <c:pt idx="147">
                  <c:v>6.1887514766896352</c:v>
                </c:pt>
                <c:pt idx="148">
                  <c:v>5.0198268604449474</c:v>
                </c:pt>
                <c:pt idx="149">
                  <c:v>4.9449494860754672</c:v>
                </c:pt>
                <c:pt idx="150">
                  <c:v>6.0367281491066711</c:v>
                </c:pt>
                <c:pt idx="151">
                  <c:v>5.0934908623560897</c:v>
                </c:pt>
                <c:pt idx="152">
                  <c:v>3.9807678242223608</c:v>
                </c:pt>
                <c:pt idx="153">
                  <c:v>6.0355725917546055</c:v>
                </c:pt>
                <c:pt idx="154">
                  <c:v>5.9603480468779209</c:v>
                </c:pt>
                <c:pt idx="155">
                  <c:v>5.9638408615907457</c:v>
                </c:pt>
                <c:pt idx="156">
                  <c:v>3.9539837663113113</c:v>
                </c:pt>
                <c:pt idx="157">
                  <c:v>4.1731656536706145</c:v>
                </c:pt>
                <c:pt idx="158">
                  <c:v>4.0214970395963894</c:v>
                </c:pt>
                <c:pt idx="159">
                  <c:v>6.8408029881742465</c:v>
                </c:pt>
                <c:pt idx="160">
                  <c:v>4.910736369240956</c:v>
                </c:pt>
                <c:pt idx="161">
                  <c:v>3.803027586613863</c:v>
                </c:pt>
                <c:pt idx="162">
                  <c:v>4.8912904841671416</c:v>
                </c:pt>
                <c:pt idx="163">
                  <c:v>5.0828837914567213</c:v>
                </c:pt>
                <c:pt idx="164">
                  <c:v>5.9008980929160826</c:v>
                </c:pt>
                <c:pt idx="165">
                  <c:v>5.0204716450650793</c:v>
                </c:pt>
                <c:pt idx="166">
                  <c:v>5.8305132069850591</c:v>
                </c:pt>
                <c:pt idx="167">
                  <c:v>7.0406017735940996</c:v>
                </c:pt>
                <c:pt idx="168">
                  <c:v>5.9859054573296024</c:v>
                </c:pt>
                <c:pt idx="169">
                  <c:v>4.9997223872251988</c:v>
                </c:pt>
                <c:pt idx="170">
                  <c:v>6.0103278301842487</c:v>
                </c:pt>
                <c:pt idx="171">
                  <c:v>7.1055740348015242</c:v>
                </c:pt>
                <c:pt idx="172">
                  <c:v>5.0173008044384222</c:v>
                </c:pt>
                <c:pt idx="173">
                  <c:v>6.1730306603458152</c:v>
                </c:pt>
                <c:pt idx="174">
                  <c:v>6.1826816457524929</c:v>
                </c:pt>
                <c:pt idx="175">
                  <c:v>4.9729191662701808</c:v>
                </c:pt>
                <c:pt idx="176">
                  <c:v>5.0330274337650973</c:v>
                </c:pt>
                <c:pt idx="177">
                  <c:v>7.1317304266108064</c:v>
                </c:pt>
                <c:pt idx="178">
                  <c:v>5.0889509198750593</c:v>
                </c:pt>
                <c:pt idx="179">
                  <c:v>6.8172523782089272</c:v>
                </c:pt>
                <c:pt idx="180">
                  <c:v>6.1648282916004895</c:v>
                </c:pt>
                <c:pt idx="181">
                  <c:v>6.9722014193880693</c:v>
                </c:pt>
                <c:pt idx="182">
                  <c:v>4.9969252129256176</c:v>
                </c:pt>
                <c:pt idx="183">
                  <c:v>4.8497439597186318</c:v>
                </c:pt>
                <c:pt idx="184">
                  <c:v>6.1491410038074044</c:v>
                </c:pt>
                <c:pt idx="185">
                  <c:v>6.8212694297105489</c:v>
                </c:pt>
                <c:pt idx="186">
                  <c:v>4.9067617809449633</c:v>
                </c:pt>
                <c:pt idx="187">
                  <c:v>5.9926035340808115</c:v>
                </c:pt>
                <c:pt idx="188">
                  <c:v>5.1682307987036351</c:v>
                </c:pt>
                <c:pt idx="189">
                  <c:v>4.9957825970204937</c:v>
                </c:pt>
                <c:pt idx="190">
                  <c:v>5.0982241597762847</c:v>
                </c:pt>
                <c:pt idx="191">
                  <c:v>6.0282998980335787</c:v>
                </c:pt>
                <c:pt idx="192">
                  <c:v>5.0541895358524371</c:v>
                </c:pt>
                <c:pt idx="193">
                  <c:v>4.9970709057776794</c:v>
                </c:pt>
                <c:pt idx="194">
                  <c:v>3.8003804184922676</c:v>
                </c:pt>
                <c:pt idx="195">
                  <c:v>7.0466582274554277</c:v>
                </c:pt>
                <c:pt idx="196">
                  <c:v>6.0212963952618574</c:v>
                </c:pt>
                <c:pt idx="197">
                  <c:v>4.793230031026722</c:v>
                </c:pt>
                <c:pt idx="198">
                  <c:v>6.080865798418067</c:v>
                </c:pt>
                <c:pt idx="199">
                  <c:v>4.8861636674611866</c:v>
                </c:pt>
                <c:pt idx="200">
                  <c:v>6.1234908645295203</c:v>
                </c:pt>
                <c:pt idx="201">
                  <c:v>4.999357389225942</c:v>
                </c:pt>
                <c:pt idx="202">
                  <c:v>5.980716292650639</c:v>
                </c:pt>
                <c:pt idx="203">
                  <c:v>6.0332082211200744</c:v>
                </c:pt>
                <c:pt idx="204">
                  <c:v>6.0915285932885723</c:v>
                </c:pt>
                <c:pt idx="205">
                  <c:v>6.0278542981032821</c:v>
                </c:pt>
                <c:pt idx="206">
                  <c:v>2.9477775731227913</c:v>
                </c:pt>
                <c:pt idx="207">
                  <c:v>6.0840400342303207</c:v>
                </c:pt>
                <c:pt idx="208">
                  <c:v>6.1682895985196717</c:v>
                </c:pt>
                <c:pt idx="209">
                  <c:v>5.0584110563120026</c:v>
                </c:pt>
                <c:pt idx="210">
                  <c:v>5.9020192961825133</c:v>
                </c:pt>
                <c:pt idx="211">
                  <c:v>5.0820017355251439</c:v>
                </c:pt>
                <c:pt idx="212">
                  <c:v>6.1041879349566557</c:v>
                </c:pt>
                <c:pt idx="213">
                  <c:v>4.842808517381517</c:v>
                </c:pt>
                <c:pt idx="214">
                  <c:v>5.0700700097661784</c:v>
                </c:pt>
                <c:pt idx="215">
                  <c:v>5.9056577603186318</c:v>
                </c:pt>
                <c:pt idx="216">
                  <c:v>5.9642940476681057</c:v>
                </c:pt>
                <c:pt idx="217">
                  <c:v>5.8165689246558028</c:v>
                </c:pt>
                <c:pt idx="218">
                  <c:v>6.0108322739224</c:v>
                </c:pt>
                <c:pt idx="219">
                  <c:v>4.8831536474413122</c:v>
                </c:pt>
                <c:pt idx="220">
                  <c:v>4.9390785790196503</c:v>
                </c:pt>
                <c:pt idx="221">
                  <c:v>6.8765981783800934</c:v>
                </c:pt>
                <c:pt idx="222">
                  <c:v>5.8793298720437672</c:v>
                </c:pt>
                <c:pt idx="223">
                  <c:v>5.962042194731616</c:v>
                </c:pt>
                <c:pt idx="224">
                  <c:v>7.1114495938419244</c:v>
                </c:pt>
                <c:pt idx="225">
                  <c:v>4.9892365360762199</c:v>
                </c:pt>
                <c:pt idx="226">
                  <c:v>4.9188345427678497</c:v>
                </c:pt>
                <c:pt idx="227">
                  <c:v>4.843636773135592</c:v>
                </c:pt>
                <c:pt idx="228">
                  <c:v>4.8146486174694072</c:v>
                </c:pt>
                <c:pt idx="229">
                  <c:v>6.9030673957482822</c:v>
                </c:pt>
                <c:pt idx="230">
                  <c:v>4.880718752787109</c:v>
                </c:pt>
                <c:pt idx="231">
                  <c:v>4.9002960353052485</c:v>
                </c:pt>
                <c:pt idx="232">
                  <c:v>4.7193027084078878</c:v>
                </c:pt>
                <c:pt idx="233">
                  <c:v>2.8697434451342234</c:v>
                </c:pt>
                <c:pt idx="234">
                  <c:v>5.0756071344489966</c:v>
                </c:pt>
                <c:pt idx="235">
                  <c:v>5.8944544926968101</c:v>
                </c:pt>
                <c:pt idx="236">
                  <c:v>4.9127453877650717</c:v>
                </c:pt>
                <c:pt idx="237">
                  <c:v>4.8017985781301844</c:v>
                </c:pt>
                <c:pt idx="238">
                  <c:v>5.9327315458412953</c:v>
                </c:pt>
                <c:pt idx="239">
                  <c:v>5.9041896594131291</c:v>
                </c:pt>
                <c:pt idx="240">
                  <c:v>4.8016771338059607</c:v>
                </c:pt>
                <c:pt idx="241">
                  <c:v>5.9641380952762617</c:v>
                </c:pt>
                <c:pt idx="242">
                  <c:v>5.952300035164785</c:v>
                </c:pt>
                <c:pt idx="243">
                  <c:v>6.0619676921819243</c:v>
                </c:pt>
                <c:pt idx="244">
                  <c:v>6.0111006631843953</c:v>
                </c:pt>
                <c:pt idx="245">
                  <c:v>4.851244598195402</c:v>
                </c:pt>
                <c:pt idx="246">
                  <c:v>4.9906080186302466</c:v>
                </c:pt>
                <c:pt idx="247">
                  <c:v>4.9064243993438685</c:v>
                </c:pt>
                <c:pt idx="248">
                  <c:v>5.8970273293123032</c:v>
                </c:pt>
                <c:pt idx="249">
                  <c:v>5.0452739296327449</c:v>
                </c:pt>
                <c:pt idx="250">
                  <c:v>5.1689640835037789</c:v>
                </c:pt>
                <c:pt idx="251">
                  <c:v>5.7823981166963154</c:v>
                </c:pt>
                <c:pt idx="252">
                  <c:v>5.9882387546657707</c:v>
                </c:pt>
                <c:pt idx="253">
                  <c:v>4.9312738496139774</c:v>
                </c:pt>
                <c:pt idx="254">
                  <c:v>4.9625860723113746</c:v>
                </c:pt>
                <c:pt idx="255">
                  <c:v>5.0109173225453576</c:v>
                </c:pt>
                <c:pt idx="256">
                  <c:v>5.2733558191826919</c:v>
                </c:pt>
                <c:pt idx="257">
                  <c:v>4.9274546571206894</c:v>
                </c:pt>
                <c:pt idx="258">
                  <c:v>5.9450012077590904</c:v>
                </c:pt>
                <c:pt idx="259">
                  <c:v>4.7775452926105935</c:v>
                </c:pt>
                <c:pt idx="260">
                  <c:v>5.073238990658262</c:v>
                </c:pt>
                <c:pt idx="261">
                  <c:v>5.0522821710366914</c:v>
                </c:pt>
                <c:pt idx="262">
                  <c:v>5.2364283529770788</c:v>
                </c:pt>
                <c:pt idx="263">
                  <c:v>5.0524473201889153</c:v>
                </c:pt>
                <c:pt idx="264">
                  <c:v>5.9465842556328274</c:v>
                </c:pt>
                <c:pt idx="265">
                  <c:v>4.8895291818552256</c:v>
                </c:pt>
                <c:pt idx="266">
                  <c:v>5.0805123652886399</c:v>
                </c:pt>
                <c:pt idx="267">
                  <c:v>4.8794320382777912</c:v>
                </c:pt>
                <c:pt idx="268">
                  <c:v>5.01838177870472</c:v>
                </c:pt>
                <c:pt idx="269">
                  <c:v>4.9918274488573955</c:v>
                </c:pt>
                <c:pt idx="270">
                  <c:v>6.1200409172211074</c:v>
                </c:pt>
                <c:pt idx="271">
                  <c:v>5.932653920391326</c:v>
                </c:pt>
                <c:pt idx="272">
                  <c:v>5.9701727787049306</c:v>
                </c:pt>
                <c:pt idx="273">
                  <c:v>6.1478878161993809</c:v>
                </c:pt>
                <c:pt idx="274">
                  <c:v>4.8317009545328231</c:v>
                </c:pt>
                <c:pt idx="275">
                  <c:v>2.9634620591025471</c:v>
                </c:pt>
                <c:pt idx="276">
                  <c:v>3.9806464797880272</c:v>
                </c:pt>
                <c:pt idx="277">
                  <c:v>5.9867573979320845</c:v>
                </c:pt>
                <c:pt idx="278">
                  <c:v>6.0781911475850325</c:v>
                </c:pt>
                <c:pt idx="279">
                  <c:v>6.0342051834257191</c:v>
                </c:pt>
                <c:pt idx="280">
                  <c:v>5.9271561542908229</c:v>
                </c:pt>
                <c:pt idx="281">
                  <c:v>6.1122342121904909</c:v>
                </c:pt>
                <c:pt idx="282">
                  <c:v>5.815451475759053</c:v>
                </c:pt>
                <c:pt idx="283">
                  <c:v>5.8798628396886503</c:v>
                </c:pt>
                <c:pt idx="284">
                  <c:v>4.9700053532855195</c:v>
                </c:pt>
                <c:pt idx="285">
                  <c:v>5.1303753972439967</c:v>
                </c:pt>
                <c:pt idx="286">
                  <c:v>4.9920553925093136</c:v>
                </c:pt>
                <c:pt idx="287">
                  <c:v>6.9827118123280414</c:v>
                </c:pt>
                <c:pt idx="288">
                  <c:v>5.9880190527504773</c:v>
                </c:pt>
                <c:pt idx="289">
                  <c:v>3.9919881112683298</c:v>
                </c:pt>
                <c:pt idx="290">
                  <c:v>6.0840417778173324</c:v>
                </c:pt>
                <c:pt idx="291">
                  <c:v>6.0194571192955193</c:v>
                </c:pt>
                <c:pt idx="292">
                  <c:v>6.1022896422957089</c:v>
                </c:pt>
                <c:pt idx="293">
                  <c:v>5.0392997264935273</c:v>
                </c:pt>
                <c:pt idx="294">
                  <c:v>6.0363952575660953</c:v>
                </c:pt>
                <c:pt idx="295">
                  <c:v>4.9871365582278697</c:v>
                </c:pt>
                <c:pt idx="296">
                  <c:v>6.0088966354097133</c:v>
                </c:pt>
                <c:pt idx="297">
                  <c:v>5.0622778632756074</c:v>
                </c:pt>
                <c:pt idx="298">
                  <c:v>3.9427991134193787</c:v>
                </c:pt>
                <c:pt idx="299">
                  <c:v>4.8892441963980575</c:v>
                </c:pt>
                <c:pt idx="300">
                  <c:v>5.0413153770015597</c:v>
                </c:pt>
                <c:pt idx="301">
                  <c:v>5.0652707849752199</c:v>
                </c:pt>
                <c:pt idx="302">
                  <c:v>5.0239740289447949</c:v>
                </c:pt>
                <c:pt idx="303">
                  <c:v>5.968839313017182</c:v>
                </c:pt>
                <c:pt idx="304">
                  <c:v>6.033625409387751</c:v>
                </c:pt>
                <c:pt idx="305">
                  <c:v>4.9154251328101868</c:v>
                </c:pt>
                <c:pt idx="306">
                  <c:v>5.0960135237818402</c:v>
                </c:pt>
                <c:pt idx="307">
                  <c:v>4.9013306189490136</c:v>
                </c:pt>
                <c:pt idx="308">
                  <c:v>5.8767408005972879</c:v>
                </c:pt>
                <c:pt idx="309">
                  <c:v>3.8219548454663124</c:v>
                </c:pt>
                <c:pt idx="310">
                  <c:v>5.1852830532321361</c:v>
                </c:pt>
                <c:pt idx="311">
                  <c:v>5.9895204201191588</c:v>
                </c:pt>
                <c:pt idx="312">
                  <c:v>6.2069554504064888</c:v>
                </c:pt>
                <c:pt idx="313">
                  <c:v>5.161462854999523</c:v>
                </c:pt>
                <c:pt idx="314">
                  <c:v>5.1493373094064729</c:v>
                </c:pt>
                <c:pt idx="315">
                  <c:v>4.8440120114589256</c:v>
                </c:pt>
                <c:pt idx="316">
                  <c:v>3.9032997784716916</c:v>
                </c:pt>
                <c:pt idx="317">
                  <c:v>4.9576213770016144</c:v>
                </c:pt>
                <c:pt idx="318">
                  <c:v>4.8503244241720846</c:v>
                </c:pt>
                <c:pt idx="319">
                  <c:v>5.9600145107325364</c:v>
                </c:pt>
                <c:pt idx="320">
                  <c:v>5.8987295344287523</c:v>
                </c:pt>
                <c:pt idx="321">
                  <c:v>6.057050866882923</c:v>
                </c:pt>
                <c:pt idx="322">
                  <c:v>6.0487230419033526</c:v>
                </c:pt>
                <c:pt idx="323">
                  <c:v>6.1336847944682846</c:v>
                </c:pt>
                <c:pt idx="324">
                  <c:v>6.9544399674089181</c:v>
                </c:pt>
                <c:pt idx="325">
                  <c:v>4.808816710036723</c:v>
                </c:pt>
                <c:pt idx="326">
                  <c:v>4.9794913942623946</c:v>
                </c:pt>
                <c:pt idx="327">
                  <c:v>6.1644405081891041</c:v>
                </c:pt>
                <c:pt idx="328">
                  <c:v>3.9218760587372112</c:v>
                </c:pt>
                <c:pt idx="329">
                  <c:v>4.8872602261411595</c:v>
                </c:pt>
                <c:pt idx="330">
                  <c:v>4.9853337761105507</c:v>
                </c:pt>
                <c:pt idx="331">
                  <c:v>7.065037717679794</c:v>
                </c:pt>
                <c:pt idx="332">
                  <c:v>5.2737874926974966</c:v>
                </c:pt>
                <c:pt idx="333">
                  <c:v>6.0572261608642428</c:v>
                </c:pt>
                <c:pt idx="334">
                  <c:v>4.8764830148170111</c:v>
                </c:pt>
                <c:pt idx="335">
                  <c:v>5.9679167828210709</c:v>
                </c:pt>
                <c:pt idx="336">
                  <c:v>5.1131043128302176</c:v>
                </c:pt>
                <c:pt idx="337">
                  <c:v>6.1343592522027919</c:v>
                </c:pt>
                <c:pt idx="338">
                  <c:v>6.0301297223411812</c:v>
                </c:pt>
                <c:pt idx="339">
                  <c:v>4.9457066337093911</c:v>
                </c:pt>
                <c:pt idx="340">
                  <c:v>5.0605160671991198</c:v>
                </c:pt>
                <c:pt idx="341">
                  <c:v>5.9550894755082133</c:v>
                </c:pt>
                <c:pt idx="342">
                  <c:v>6.0746855578257133</c:v>
                </c:pt>
                <c:pt idx="343">
                  <c:v>6.0978608957887674</c:v>
                </c:pt>
                <c:pt idx="344">
                  <c:v>5.8756101884225522</c:v>
                </c:pt>
                <c:pt idx="345">
                  <c:v>4.9188368870531995</c:v>
                </c:pt>
                <c:pt idx="346">
                  <c:v>5.0844212910354836</c:v>
                </c:pt>
                <c:pt idx="347">
                  <c:v>4.9181079764859836</c:v>
                </c:pt>
                <c:pt idx="348">
                  <c:v>5.044646254830921</c:v>
                </c:pt>
                <c:pt idx="349">
                  <c:v>5.8356833278369562</c:v>
                </c:pt>
                <c:pt idx="350">
                  <c:v>5.0884302924375566</c:v>
                </c:pt>
                <c:pt idx="351">
                  <c:v>5.0422446718746547</c:v>
                </c:pt>
                <c:pt idx="352">
                  <c:v>4.9106652376792059</c:v>
                </c:pt>
                <c:pt idx="353">
                  <c:v>6.0630771991423824</c:v>
                </c:pt>
                <c:pt idx="354">
                  <c:v>6.1129968480713783</c:v>
                </c:pt>
                <c:pt idx="355">
                  <c:v>6.0094966980013664</c:v>
                </c:pt>
                <c:pt idx="356">
                  <c:v>4.9610035780420514</c:v>
                </c:pt>
                <c:pt idx="357">
                  <c:v>4.9157121492655946</c:v>
                </c:pt>
                <c:pt idx="358">
                  <c:v>5.8033729384724273</c:v>
                </c:pt>
                <c:pt idx="359">
                  <c:v>4.9302084871776231</c:v>
                </c:pt>
                <c:pt idx="360">
                  <c:v>6.1025270978055346</c:v>
                </c:pt>
                <c:pt idx="361">
                  <c:v>5.0724853358064692</c:v>
                </c:pt>
                <c:pt idx="362">
                  <c:v>5.9053768351829614</c:v>
                </c:pt>
                <c:pt idx="363">
                  <c:v>5.926839235613806</c:v>
                </c:pt>
                <c:pt idx="364">
                  <c:v>6.0328040695080274</c:v>
                </c:pt>
                <c:pt idx="365">
                  <c:v>5.0406055666312701</c:v>
                </c:pt>
                <c:pt idx="366">
                  <c:v>4.9025989861004344</c:v>
                </c:pt>
                <c:pt idx="367">
                  <c:v>5.0939324641028891</c:v>
                </c:pt>
                <c:pt idx="368">
                  <c:v>4.9662255802727948</c:v>
                </c:pt>
                <c:pt idx="369">
                  <c:v>4.8765438556883014</c:v>
                </c:pt>
                <c:pt idx="370">
                  <c:v>4.9015945723515708</c:v>
                </c:pt>
                <c:pt idx="371">
                  <c:v>5.9417459041058338</c:v>
                </c:pt>
                <c:pt idx="372">
                  <c:v>4.9331555610057825</c:v>
                </c:pt>
                <c:pt idx="373">
                  <c:v>4.7366043874871453</c:v>
                </c:pt>
                <c:pt idx="374">
                  <c:v>6.0078344154387979</c:v>
                </c:pt>
                <c:pt idx="375">
                  <c:v>6.0603739624748609</c:v>
                </c:pt>
                <c:pt idx="376">
                  <c:v>6.0991121085320419</c:v>
                </c:pt>
                <c:pt idx="377">
                  <c:v>5.9089415303033306</c:v>
                </c:pt>
                <c:pt idx="378">
                  <c:v>5.0495417255407711</c:v>
                </c:pt>
                <c:pt idx="379">
                  <c:v>6.93794890130473</c:v>
                </c:pt>
                <c:pt idx="380">
                  <c:v>6.0602720675591666</c:v>
                </c:pt>
                <c:pt idx="381">
                  <c:v>5.0993048867104873</c:v>
                </c:pt>
                <c:pt idx="382">
                  <c:v>4.9905666272203675</c:v>
                </c:pt>
                <c:pt idx="383">
                  <c:v>6.1090324312273285</c:v>
                </c:pt>
                <c:pt idx="384">
                  <c:v>5.9780361767082599</c:v>
                </c:pt>
                <c:pt idx="385">
                  <c:v>5.8890602924289173</c:v>
                </c:pt>
                <c:pt idx="386">
                  <c:v>5.056646385808234</c:v>
                </c:pt>
                <c:pt idx="387">
                  <c:v>5.284458925171287</c:v>
                </c:pt>
                <c:pt idx="388">
                  <c:v>5.1113687628078281</c:v>
                </c:pt>
                <c:pt idx="389">
                  <c:v>4.9183420952386276</c:v>
                </c:pt>
                <c:pt idx="390">
                  <c:v>5.030871823904314</c:v>
                </c:pt>
                <c:pt idx="391">
                  <c:v>4.8765433610651749</c:v>
                </c:pt>
                <c:pt idx="392">
                  <c:v>7.0124312933875661</c:v>
                </c:pt>
                <c:pt idx="393">
                  <c:v>7.0693160854753057</c:v>
                </c:pt>
                <c:pt idx="394">
                  <c:v>6.9371584626636755</c:v>
                </c:pt>
                <c:pt idx="395">
                  <c:v>6.0898278013704354</c:v>
                </c:pt>
                <c:pt idx="396">
                  <c:v>6.0426094078689827</c:v>
                </c:pt>
                <c:pt idx="397">
                  <c:v>5.9611745825794724</c:v>
                </c:pt>
                <c:pt idx="398">
                  <c:v>7.0412816939840264</c:v>
                </c:pt>
                <c:pt idx="399">
                  <c:v>4.9447325019026582</c:v>
                </c:pt>
                <c:pt idx="400">
                  <c:v>6.2075700765928659</c:v>
                </c:pt>
                <c:pt idx="401">
                  <c:v>5.0110885648677801</c:v>
                </c:pt>
                <c:pt idx="402">
                  <c:v>4.9623912758908704</c:v>
                </c:pt>
                <c:pt idx="403">
                  <c:v>6.9167230423717045</c:v>
                </c:pt>
                <c:pt idx="404">
                  <c:v>5.9956243446709019</c:v>
                </c:pt>
                <c:pt idx="405">
                  <c:v>3.9446384928454195</c:v>
                </c:pt>
                <c:pt idx="406">
                  <c:v>3.9870649018227589</c:v>
                </c:pt>
                <c:pt idx="407">
                  <c:v>5.0742112911596777</c:v>
                </c:pt>
                <c:pt idx="408">
                  <c:v>1.7600022717928372</c:v>
                </c:pt>
                <c:pt idx="409">
                  <c:v>5.9346645359748305</c:v>
                </c:pt>
                <c:pt idx="410">
                  <c:v>6.0801702978504073</c:v>
                </c:pt>
                <c:pt idx="411">
                  <c:v>5.0839586460577895</c:v>
                </c:pt>
                <c:pt idx="412">
                  <c:v>4.9558819881149896</c:v>
                </c:pt>
                <c:pt idx="413">
                  <c:v>4.8559971816590046</c:v>
                </c:pt>
                <c:pt idx="414">
                  <c:v>5.0313173037435819</c:v>
                </c:pt>
                <c:pt idx="415">
                  <c:v>6.1549351502432712</c:v>
                </c:pt>
                <c:pt idx="416">
                  <c:v>4.8927343512993247</c:v>
                </c:pt>
                <c:pt idx="417">
                  <c:v>5.8652685620920781</c:v>
                </c:pt>
                <c:pt idx="418">
                  <c:v>4.7475229628460927</c:v>
                </c:pt>
                <c:pt idx="419">
                  <c:v>6.1363518309517993</c:v>
                </c:pt>
                <c:pt idx="420">
                  <c:v>6.2697334490773962</c:v>
                </c:pt>
                <c:pt idx="421">
                  <c:v>6.0831397145979444</c:v>
                </c:pt>
                <c:pt idx="422">
                  <c:v>4.8768987171812483</c:v>
                </c:pt>
                <c:pt idx="423">
                  <c:v>4.9988179492249971</c:v>
                </c:pt>
                <c:pt idx="424">
                  <c:v>5.1273767037704152</c:v>
                </c:pt>
                <c:pt idx="425">
                  <c:v>6.0770025717210405</c:v>
                </c:pt>
                <c:pt idx="426">
                  <c:v>5.0407145733156238</c:v>
                </c:pt>
                <c:pt idx="427">
                  <c:v>6.0124995025209005</c:v>
                </c:pt>
                <c:pt idx="428">
                  <c:v>4.95841273892598</c:v>
                </c:pt>
                <c:pt idx="429">
                  <c:v>5.9838594759965966</c:v>
                </c:pt>
                <c:pt idx="430">
                  <c:v>5.1257689989498116</c:v>
                </c:pt>
                <c:pt idx="431">
                  <c:v>6.1442562333815882</c:v>
                </c:pt>
                <c:pt idx="432">
                  <c:v>4.9527336553167869</c:v>
                </c:pt>
                <c:pt idx="433">
                  <c:v>4.8830023036906276</c:v>
                </c:pt>
                <c:pt idx="434">
                  <c:v>6.0424297172320465</c:v>
                </c:pt>
                <c:pt idx="435">
                  <c:v>7.0730754837387675</c:v>
                </c:pt>
                <c:pt idx="436">
                  <c:v>5.1106844708238697</c:v>
                </c:pt>
                <c:pt idx="437">
                  <c:v>4.9243033397499616</c:v>
                </c:pt>
                <c:pt idx="438">
                  <c:v>7.142942607756491</c:v>
                </c:pt>
                <c:pt idx="439">
                  <c:v>4.9392168898925641</c:v>
                </c:pt>
                <c:pt idx="440">
                  <c:v>4.9087847398426492</c:v>
                </c:pt>
                <c:pt idx="441">
                  <c:v>4.9832167176425646</c:v>
                </c:pt>
                <c:pt idx="442">
                  <c:v>4.976125437489392</c:v>
                </c:pt>
                <c:pt idx="443">
                  <c:v>6.9590335179699041</c:v>
                </c:pt>
                <c:pt idx="444">
                  <c:v>5.9202017444246904</c:v>
                </c:pt>
                <c:pt idx="445">
                  <c:v>4.9046364658992578</c:v>
                </c:pt>
                <c:pt idx="446">
                  <c:v>4.7539650406056442</c:v>
                </c:pt>
                <c:pt idx="447">
                  <c:v>4.8640678087130818</c:v>
                </c:pt>
                <c:pt idx="448">
                  <c:v>4.9710367438373471</c:v>
                </c:pt>
                <c:pt idx="449">
                  <c:v>5.046449567870396</c:v>
                </c:pt>
                <c:pt idx="450">
                  <c:v>6.0133449032723583</c:v>
                </c:pt>
                <c:pt idx="451">
                  <c:v>4.9882724840849413</c:v>
                </c:pt>
                <c:pt idx="452">
                  <c:v>6.0699392675876291</c:v>
                </c:pt>
                <c:pt idx="453">
                  <c:v>5.9879698578349432</c:v>
                </c:pt>
                <c:pt idx="454">
                  <c:v>4.8818067925804618</c:v>
                </c:pt>
                <c:pt idx="455">
                  <c:v>5.1562528075250125</c:v>
                </c:pt>
                <c:pt idx="456">
                  <c:v>5.0053652935344379</c:v>
                </c:pt>
                <c:pt idx="457">
                  <c:v>5.8727677645621474</c:v>
                </c:pt>
                <c:pt idx="458">
                  <c:v>5.0227111564056708</c:v>
                </c:pt>
                <c:pt idx="459">
                  <c:v>5.1001965331268959</c:v>
                </c:pt>
                <c:pt idx="460">
                  <c:v>5.9644951933147752</c:v>
                </c:pt>
                <c:pt idx="461">
                  <c:v>5.932992221100875</c:v>
                </c:pt>
                <c:pt idx="462">
                  <c:v>5.9399762568550099</c:v>
                </c:pt>
                <c:pt idx="463">
                  <c:v>6.2171061850162017</c:v>
                </c:pt>
                <c:pt idx="464">
                  <c:v>4.9800882624731342</c:v>
                </c:pt>
                <c:pt idx="465">
                  <c:v>5.8591225369495694</c:v>
                </c:pt>
                <c:pt idx="466">
                  <c:v>7.0686959545127346</c:v>
                </c:pt>
                <c:pt idx="467">
                  <c:v>4.8891792626019779</c:v>
                </c:pt>
                <c:pt idx="468">
                  <c:v>2.0789821234075188</c:v>
                </c:pt>
                <c:pt idx="469">
                  <c:v>5.144535094063575</c:v>
                </c:pt>
                <c:pt idx="470">
                  <c:v>5.8112500471987278</c:v>
                </c:pt>
                <c:pt idx="471">
                  <c:v>5.0253740512820171</c:v>
                </c:pt>
                <c:pt idx="472">
                  <c:v>5.0038668143292737</c:v>
                </c:pt>
                <c:pt idx="473">
                  <c:v>5.9977404018087057</c:v>
                </c:pt>
                <c:pt idx="474">
                  <c:v>4.9569426596837083</c:v>
                </c:pt>
                <c:pt idx="475">
                  <c:v>7.1971207960538592</c:v>
                </c:pt>
                <c:pt idx="476">
                  <c:v>5.9641893202534995</c:v>
                </c:pt>
                <c:pt idx="477">
                  <c:v>7.0047404854594966</c:v>
                </c:pt>
                <c:pt idx="478">
                  <c:v>6.0773687954956026</c:v>
                </c:pt>
                <c:pt idx="479">
                  <c:v>4.8875322584532306</c:v>
                </c:pt>
                <c:pt idx="480">
                  <c:v>4.8729472162900382</c:v>
                </c:pt>
                <c:pt idx="481">
                  <c:v>4.955627760016867</c:v>
                </c:pt>
                <c:pt idx="482">
                  <c:v>4.0566347213905187</c:v>
                </c:pt>
                <c:pt idx="483">
                  <c:v>4.8760667485759575</c:v>
                </c:pt>
                <c:pt idx="484">
                  <c:v>5.1049491871044372</c:v>
                </c:pt>
                <c:pt idx="485">
                  <c:v>5.7092205972022043</c:v>
                </c:pt>
                <c:pt idx="486">
                  <c:v>4.9594590522043731</c:v>
                </c:pt>
                <c:pt idx="487">
                  <c:v>4.9845482241049632</c:v>
                </c:pt>
                <c:pt idx="488">
                  <c:v>6.0150473616108071</c:v>
                </c:pt>
                <c:pt idx="489">
                  <c:v>4.174348773748056</c:v>
                </c:pt>
                <c:pt idx="490">
                  <c:v>6.9914659195835176</c:v>
                </c:pt>
                <c:pt idx="491">
                  <c:v>5.9400590151004051</c:v>
                </c:pt>
                <c:pt idx="492">
                  <c:v>4.9900032418761509</c:v>
                </c:pt>
                <c:pt idx="493">
                  <c:v>5.9498861002395707</c:v>
                </c:pt>
                <c:pt idx="494">
                  <c:v>4.8429191507405829</c:v>
                </c:pt>
                <c:pt idx="495">
                  <c:v>6.010832665229441</c:v>
                </c:pt>
                <c:pt idx="496">
                  <c:v>5.0234638782179513</c:v>
                </c:pt>
                <c:pt idx="497">
                  <c:v>5.9791631416215747</c:v>
                </c:pt>
                <c:pt idx="498">
                  <c:v>5.8490511271560894</c:v>
                </c:pt>
                <c:pt idx="499">
                  <c:v>4.8819831735620518</c:v>
                </c:pt>
                <c:pt idx="500">
                  <c:v>5.99716102455087</c:v>
                </c:pt>
                <c:pt idx="501">
                  <c:v>4.9830454288073369</c:v>
                </c:pt>
                <c:pt idx="502">
                  <c:v>4.9558829228165244</c:v>
                </c:pt>
                <c:pt idx="503">
                  <c:v>6.0557071127145399</c:v>
                </c:pt>
                <c:pt idx="504">
                  <c:v>6.0418878242014182</c:v>
                </c:pt>
                <c:pt idx="505">
                  <c:v>4.9783429164453548</c:v>
                </c:pt>
                <c:pt idx="506">
                  <c:v>5.8539470259696778</c:v>
                </c:pt>
                <c:pt idx="507">
                  <c:v>5.9516471558783577</c:v>
                </c:pt>
                <c:pt idx="508">
                  <c:v>5.9596734318073983</c:v>
                </c:pt>
                <c:pt idx="509">
                  <c:v>4.9641565685302149</c:v>
                </c:pt>
                <c:pt idx="510">
                  <c:v>6.9370217508740888</c:v>
                </c:pt>
                <c:pt idx="511">
                  <c:v>4.9280293121360668</c:v>
                </c:pt>
                <c:pt idx="512">
                  <c:v>4.9972366971669961</c:v>
                </c:pt>
                <c:pt idx="513">
                  <c:v>4.9268457886269648</c:v>
                </c:pt>
                <c:pt idx="514">
                  <c:v>5.9818627829398769</c:v>
                </c:pt>
                <c:pt idx="515">
                  <c:v>5.8209843973272148</c:v>
                </c:pt>
                <c:pt idx="516">
                  <c:v>5.9691501049851512</c:v>
                </c:pt>
                <c:pt idx="517">
                  <c:v>5.864935341405797</c:v>
                </c:pt>
                <c:pt idx="518">
                  <c:v>4.9843645371099674</c:v>
                </c:pt>
                <c:pt idx="519">
                  <c:v>4.09479677216813</c:v>
                </c:pt>
                <c:pt idx="520">
                  <c:v>6.1147883997539214</c:v>
                </c:pt>
                <c:pt idx="521">
                  <c:v>6.1117924724012855</c:v>
                </c:pt>
                <c:pt idx="522">
                  <c:v>5.1571815579707181</c:v>
                </c:pt>
                <c:pt idx="523">
                  <c:v>6.0620587845262177</c:v>
                </c:pt>
                <c:pt idx="524">
                  <c:v>4.9390376884006697</c:v>
                </c:pt>
                <c:pt idx="525">
                  <c:v>6.0779986422861629</c:v>
                </c:pt>
                <c:pt idx="526">
                  <c:v>6.0761853083399675</c:v>
                </c:pt>
                <c:pt idx="527">
                  <c:v>5.836437396181795</c:v>
                </c:pt>
                <c:pt idx="528">
                  <c:v>5.089248381933249</c:v>
                </c:pt>
                <c:pt idx="529">
                  <c:v>4.8920484673590945</c:v>
                </c:pt>
                <c:pt idx="530">
                  <c:v>5.0069960578263428</c:v>
                </c:pt>
                <c:pt idx="531">
                  <c:v>5.0705690019953193</c:v>
                </c:pt>
                <c:pt idx="532">
                  <c:v>5.9311126295820946</c:v>
                </c:pt>
                <c:pt idx="533">
                  <c:v>6.1071057909256607</c:v>
                </c:pt>
                <c:pt idx="534">
                  <c:v>7.1907957106306268</c:v>
                </c:pt>
                <c:pt idx="535">
                  <c:v>5.967270109776976</c:v>
                </c:pt>
                <c:pt idx="536">
                  <c:v>6.8813375871100027</c:v>
                </c:pt>
                <c:pt idx="537">
                  <c:v>6.1119370594381772</c:v>
                </c:pt>
                <c:pt idx="538">
                  <c:v>4.9812148007211556</c:v>
                </c:pt>
                <c:pt idx="539">
                  <c:v>4.9429126646839352</c:v>
                </c:pt>
                <c:pt idx="540">
                  <c:v>4.9320082423108946</c:v>
                </c:pt>
                <c:pt idx="541">
                  <c:v>6.0601631704968622</c:v>
                </c:pt>
                <c:pt idx="542">
                  <c:v>6.0556232472663432</c:v>
                </c:pt>
                <c:pt idx="543">
                  <c:v>5.1511358126799012</c:v>
                </c:pt>
                <c:pt idx="544">
                  <c:v>6.1293449254959667</c:v>
                </c:pt>
                <c:pt idx="545">
                  <c:v>4.9243692058923338</c:v>
                </c:pt>
                <c:pt idx="546">
                  <c:v>6.1027027544233379</c:v>
                </c:pt>
                <c:pt idx="547">
                  <c:v>6.0018490055461706</c:v>
                </c:pt>
                <c:pt idx="548">
                  <c:v>5.9663473222944203</c:v>
                </c:pt>
                <c:pt idx="549">
                  <c:v>6.1427213087020904</c:v>
                </c:pt>
                <c:pt idx="550">
                  <c:v>5.0047458646239464</c:v>
                </c:pt>
                <c:pt idx="551">
                  <c:v>5.8326016540467611</c:v>
                </c:pt>
                <c:pt idx="552">
                  <c:v>5.0193388266842085</c:v>
                </c:pt>
                <c:pt idx="553">
                  <c:v>6.0663035500825657</c:v>
                </c:pt>
                <c:pt idx="554">
                  <c:v>7.0357569489189942</c:v>
                </c:pt>
                <c:pt idx="555">
                  <c:v>5.9285337621616705</c:v>
                </c:pt>
                <c:pt idx="556">
                  <c:v>4.1234153126108888</c:v>
                </c:pt>
                <c:pt idx="557">
                  <c:v>5.8927965560181841</c:v>
                </c:pt>
                <c:pt idx="558">
                  <c:v>4.9718655718117288</c:v>
                </c:pt>
                <c:pt idx="559">
                  <c:v>7.1178711692216599</c:v>
                </c:pt>
                <c:pt idx="560">
                  <c:v>5.92141689027462</c:v>
                </c:pt>
                <c:pt idx="561">
                  <c:v>6.9773375268472062</c:v>
                </c:pt>
                <c:pt idx="562">
                  <c:v>7.0036115778822632</c:v>
                </c:pt>
                <c:pt idx="563">
                  <c:v>6.0197897211962292</c:v>
                </c:pt>
                <c:pt idx="564">
                  <c:v>6.1235295898718629</c:v>
                </c:pt>
                <c:pt idx="565">
                  <c:v>5.0927209876131938</c:v>
                </c:pt>
                <c:pt idx="566">
                  <c:v>5.1281030787682367</c:v>
                </c:pt>
                <c:pt idx="567">
                  <c:v>6.8730891328019066</c:v>
                </c:pt>
                <c:pt idx="568">
                  <c:v>5.9686392646104345</c:v>
                </c:pt>
                <c:pt idx="569">
                  <c:v>4.971714375725556</c:v>
                </c:pt>
                <c:pt idx="570">
                  <c:v>5.8854602361295667</c:v>
                </c:pt>
                <c:pt idx="571">
                  <c:v>7.0398045222047756</c:v>
                </c:pt>
                <c:pt idx="572">
                  <c:v>5.9335411534803546</c:v>
                </c:pt>
                <c:pt idx="573">
                  <c:v>6.0035084357344166</c:v>
                </c:pt>
                <c:pt idx="574">
                  <c:v>7.1612744563814932</c:v>
                </c:pt>
                <c:pt idx="575">
                  <c:v>5.9452007217816636</c:v>
                </c:pt>
                <c:pt idx="576">
                  <c:v>7.055492723278312</c:v>
                </c:pt>
                <c:pt idx="577">
                  <c:v>5.8867145007453718</c:v>
                </c:pt>
                <c:pt idx="578">
                  <c:v>6.980548029110988</c:v>
                </c:pt>
                <c:pt idx="579">
                  <c:v>5.8752362394512714</c:v>
                </c:pt>
                <c:pt idx="580">
                  <c:v>5.8603638362785668</c:v>
                </c:pt>
                <c:pt idx="581">
                  <c:v>5.8677916975003814</c:v>
                </c:pt>
                <c:pt idx="582">
                  <c:v>5.9861379334826763</c:v>
                </c:pt>
                <c:pt idx="583">
                  <c:v>7.0565611747645836</c:v>
                </c:pt>
                <c:pt idx="584">
                  <c:v>5.8768930731023001</c:v>
                </c:pt>
                <c:pt idx="585">
                  <c:v>7.0621236672951646</c:v>
                </c:pt>
                <c:pt idx="586">
                  <c:v>5.089166866244045</c:v>
                </c:pt>
                <c:pt idx="587">
                  <c:v>5.9636188153419383</c:v>
                </c:pt>
                <c:pt idx="588">
                  <c:v>4.8648246674029867</c:v>
                </c:pt>
                <c:pt idx="589">
                  <c:v>6.0143599725321515</c:v>
                </c:pt>
                <c:pt idx="590">
                  <c:v>4.8998527678363448</c:v>
                </c:pt>
                <c:pt idx="591">
                  <c:v>6.8797959050947535</c:v>
                </c:pt>
                <c:pt idx="592">
                  <c:v>5.029047616128377</c:v>
                </c:pt>
                <c:pt idx="593">
                  <c:v>7.0347699581971446</c:v>
                </c:pt>
                <c:pt idx="594">
                  <c:v>4.8291517897494671</c:v>
                </c:pt>
                <c:pt idx="595">
                  <c:v>4.031403780656226</c:v>
                </c:pt>
                <c:pt idx="596">
                  <c:v>6.1269427418719715</c:v>
                </c:pt>
                <c:pt idx="597">
                  <c:v>4.9142345699245169</c:v>
                </c:pt>
                <c:pt idx="598">
                  <c:v>6.1943912085750386</c:v>
                </c:pt>
                <c:pt idx="599">
                  <c:v>6.7639804192699682</c:v>
                </c:pt>
                <c:pt idx="600">
                  <c:v>5.7436495356945851</c:v>
                </c:pt>
                <c:pt idx="601">
                  <c:v>5.9006472239152803</c:v>
                </c:pt>
                <c:pt idx="602">
                  <c:v>6.8903700477329828</c:v>
                </c:pt>
                <c:pt idx="603">
                  <c:v>5.9847035858058328</c:v>
                </c:pt>
                <c:pt idx="604">
                  <c:v>6.1014073460012321</c:v>
                </c:pt>
                <c:pt idx="605">
                  <c:v>6.9476119244658614</c:v>
                </c:pt>
                <c:pt idx="606">
                  <c:v>5.9183023279340778</c:v>
                </c:pt>
                <c:pt idx="607">
                  <c:v>6.9949621686481036</c:v>
                </c:pt>
                <c:pt idx="608">
                  <c:v>4.8182265516766343</c:v>
                </c:pt>
                <c:pt idx="609">
                  <c:v>6.0707340111036299</c:v>
                </c:pt>
                <c:pt idx="610">
                  <c:v>5.0141668880829009</c:v>
                </c:pt>
                <c:pt idx="611">
                  <c:v>6.0134030899012973</c:v>
                </c:pt>
                <c:pt idx="612">
                  <c:v>5.7998851498196577</c:v>
                </c:pt>
                <c:pt idx="613">
                  <c:v>5.9863590122170613</c:v>
                </c:pt>
                <c:pt idx="614">
                  <c:v>4.9356085556178781</c:v>
                </c:pt>
                <c:pt idx="615">
                  <c:v>4.8900164311956553</c:v>
                </c:pt>
                <c:pt idx="616">
                  <c:v>7.1121094455930685</c:v>
                </c:pt>
                <c:pt idx="617">
                  <c:v>4.8710757785302858</c:v>
                </c:pt>
                <c:pt idx="618">
                  <c:v>6.023599076821478</c:v>
                </c:pt>
                <c:pt idx="619">
                  <c:v>3.030097819577978</c:v>
                </c:pt>
                <c:pt idx="620">
                  <c:v>5.0438936748186922</c:v>
                </c:pt>
                <c:pt idx="621">
                  <c:v>4.8237993741904495</c:v>
                </c:pt>
                <c:pt idx="622">
                  <c:v>5.0269797190947543</c:v>
                </c:pt>
                <c:pt idx="623">
                  <c:v>6.0275580308425916</c:v>
                </c:pt>
                <c:pt idx="624">
                  <c:v>7.1054191459963194</c:v>
                </c:pt>
                <c:pt idx="625">
                  <c:v>6.0152244191930873</c:v>
                </c:pt>
                <c:pt idx="626">
                  <c:v>6.0580160494681419</c:v>
                </c:pt>
                <c:pt idx="627">
                  <c:v>6.9082141625157547</c:v>
                </c:pt>
                <c:pt idx="628">
                  <c:v>5.0435697615513568</c:v>
                </c:pt>
                <c:pt idx="629">
                  <c:v>4.8827759191360167</c:v>
                </c:pt>
                <c:pt idx="630">
                  <c:v>4.9174590834182901</c:v>
                </c:pt>
                <c:pt idx="631">
                  <c:v>6.0576916913892918</c:v>
                </c:pt>
                <c:pt idx="632">
                  <c:v>5.8728421651923384</c:v>
                </c:pt>
                <c:pt idx="633">
                  <c:v>6.9778702641966337</c:v>
                </c:pt>
                <c:pt idx="634">
                  <c:v>5.9792270220913908</c:v>
                </c:pt>
                <c:pt idx="635">
                  <c:v>5.997971492755326</c:v>
                </c:pt>
                <c:pt idx="636">
                  <c:v>5.0679384448401565</c:v>
                </c:pt>
                <c:pt idx="637">
                  <c:v>6.9044002479461462</c:v>
                </c:pt>
                <c:pt idx="638">
                  <c:v>5.7691517499992608</c:v>
                </c:pt>
                <c:pt idx="639">
                  <c:v>7.096003893743382</c:v>
                </c:pt>
                <c:pt idx="640">
                  <c:v>4.9027893845836044</c:v>
                </c:pt>
                <c:pt idx="641">
                  <c:v>6.0980826625567834</c:v>
                </c:pt>
                <c:pt idx="642">
                  <c:v>5.9331690126096257</c:v>
                </c:pt>
                <c:pt idx="643">
                  <c:v>5.0583774211971164</c:v>
                </c:pt>
                <c:pt idx="644">
                  <c:v>5.9593419816854363</c:v>
                </c:pt>
                <c:pt idx="645">
                  <c:v>4.9867513000124042</c:v>
                </c:pt>
                <c:pt idx="646">
                  <c:v>6.0504145213085572</c:v>
                </c:pt>
                <c:pt idx="647">
                  <c:v>5.0125710764540754</c:v>
                </c:pt>
                <c:pt idx="648">
                  <c:v>6.0214535101464532</c:v>
                </c:pt>
                <c:pt idx="649">
                  <c:v>7.013959127165835</c:v>
                </c:pt>
                <c:pt idx="650">
                  <c:v>5.1181213579530249</c:v>
                </c:pt>
                <c:pt idx="651">
                  <c:v>5.8899754547095826</c:v>
                </c:pt>
                <c:pt idx="652">
                  <c:v>7.0677057228342699</c:v>
                </c:pt>
                <c:pt idx="653">
                  <c:v>5.0297295721735544</c:v>
                </c:pt>
                <c:pt idx="654">
                  <c:v>5.9521601889807512</c:v>
                </c:pt>
                <c:pt idx="655">
                  <c:v>5.8833212712352916</c:v>
                </c:pt>
                <c:pt idx="656">
                  <c:v>6.1239388457086781</c:v>
                </c:pt>
                <c:pt idx="657">
                  <c:v>5.8651524146257907</c:v>
                </c:pt>
                <c:pt idx="658">
                  <c:v>5.8538554542600352</c:v>
                </c:pt>
                <c:pt idx="659">
                  <c:v>5.9516342646591021</c:v>
                </c:pt>
                <c:pt idx="660">
                  <c:v>4.8607865505231613</c:v>
                </c:pt>
                <c:pt idx="661">
                  <c:v>7.0454579172298297</c:v>
                </c:pt>
                <c:pt idx="662">
                  <c:v>4.9037723259106434</c:v>
                </c:pt>
                <c:pt idx="663">
                  <c:v>5.9861973870843954</c:v>
                </c:pt>
                <c:pt idx="664">
                  <c:v>5.8659859631213065</c:v>
                </c:pt>
                <c:pt idx="665">
                  <c:v>7.1094859313012355</c:v>
                </c:pt>
                <c:pt idx="666">
                  <c:v>6.0834839658043203</c:v>
                </c:pt>
                <c:pt idx="667">
                  <c:v>6.012323560754127</c:v>
                </c:pt>
                <c:pt idx="668">
                  <c:v>6.0103491501487598</c:v>
                </c:pt>
                <c:pt idx="669">
                  <c:v>4.8930707977688952</c:v>
                </c:pt>
                <c:pt idx="670">
                  <c:v>6.0846969200908889</c:v>
                </c:pt>
                <c:pt idx="671">
                  <c:v>6.0475143532445577</c:v>
                </c:pt>
                <c:pt idx="672">
                  <c:v>4.0327839027679211</c:v>
                </c:pt>
                <c:pt idx="673">
                  <c:v>4.9152307621705917</c:v>
                </c:pt>
                <c:pt idx="674">
                  <c:v>6.1517742633524408</c:v>
                </c:pt>
                <c:pt idx="675">
                  <c:v>5.789051433536323</c:v>
                </c:pt>
                <c:pt idx="676">
                  <c:v>5.9784793280406721</c:v>
                </c:pt>
                <c:pt idx="677">
                  <c:v>4.9556223170404055</c:v>
                </c:pt>
                <c:pt idx="678">
                  <c:v>4.979502177483476</c:v>
                </c:pt>
                <c:pt idx="679">
                  <c:v>5.7842397610883216</c:v>
                </c:pt>
                <c:pt idx="680">
                  <c:v>5.077071400108883</c:v>
                </c:pt>
                <c:pt idx="681">
                  <c:v>4.852694990757815</c:v>
                </c:pt>
                <c:pt idx="682">
                  <c:v>6.1605018138623064</c:v>
                </c:pt>
                <c:pt idx="683">
                  <c:v>4.9516845940075589</c:v>
                </c:pt>
                <c:pt idx="684">
                  <c:v>5.8998864420676229</c:v>
                </c:pt>
                <c:pt idx="685">
                  <c:v>6.9503215079455209</c:v>
                </c:pt>
                <c:pt idx="686">
                  <c:v>7.0085356648546933</c:v>
                </c:pt>
                <c:pt idx="687">
                  <c:v>3.9778997973554486</c:v>
                </c:pt>
                <c:pt idx="688">
                  <c:v>4.8399531395618522</c:v>
                </c:pt>
                <c:pt idx="689">
                  <c:v>6.16960366363051</c:v>
                </c:pt>
                <c:pt idx="690">
                  <c:v>5.9020755639961333</c:v>
                </c:pt>
                <c:pt idx="691">
                  <c:v>5.985567106456573</c:v>
                </c:pt>
                <c:pt idx="692">
                  <c:v>5.240237020499106</c:v>
                </c:pt>
                <c:pt idx="693">
                  <c:v>6.1141759877248854</c:v>
                </c:pt>
                <c:pt idx="694">
                  <c:v>5.9548714025466847</c:v>
                </c:pt>
                <c:pt idx="695">
                  <c:v>5.2447775159633645</c:v>
                </c:pt>
                <c:pt idx="696">
                  <c:v>5.8271842296203431</c:v>
                </c:pt>
                <c:pt idx="697">
                  <c:v>4.9248630477986426</c:v>
                </c:pt>
                <c:pt idx="698">
                  <c:v>5.7138960203288987</c:v>
                </c:pt>
                <c:pt idx="699">
                  <c:v>6.062984410203522</c:v>
                </c:pt>
                <c:pt idx="700">
                  <c:v>5.071695813188084</c:v>
                </c:pt>
                <c:pt idx="701">
                  <c:v>5.0393378175552161</c:v>
                </c:pt>
                <c:pt idx="702">
                  <c:v>5.8839010460873507</c:v>
                </c:pt>
                <c:pt idx="703">
                  <c:v>4.9160592059606332</c:v>
                </c:pt>
                <c:pt idx="704">
                  <c:v>7.001859122520858</c:v>
                </c:pt>
                <c:pt idx="705">
                  <c:v>5.9583545022985716</c:v>
                </c:pt>
                <c:pt idx="706">
                  <c:v>5.9485476612870398</c:v>
                </c:pt>
                <c:pt idx="707">
                  <c:v>5.7671051006638931</c:v>
                </c:pt>
                <c:pt idx="708">
                  <c:v>4.1087069779647249</c:v>
                </c:pt>
                <c:pt idx="709">
                  <c:v>5.8203750980134012</c:v>
                </c:pt>
                <c:pt idx="710">
                  <c:v>5.9367377825053653</c:v>
                </c:pt>
                <c:pt idx="711">
                  <c:v>5.9574234285617624</c:v>
                </c:pt>
                <c:pt idx="712">
                  <c:v>4.8816364909532748</c:v>
                </c:pt>
                <c:pt idx="713">
                  <c:v>4.966545764200375</c:v>
                </c:pt>
                <c:pt idx="714">
                  <c:v>7.0494294721736388</c:v>
                </c:pt>
                <c:pt idx="715">
                  <c:v>5.997431175120207</c:v>
                </c:pt>
                <c:pt idx="716">
                  <c:v>6.1705777825956272</c:v>
                </c:pt>
                <c:pt idx="717">
                  <c:v>7.0527832885124928</c:v>
                </c:pt>
                <c:pt idx="718">
                  <c:v>4.9335782430709729</c:v>
                </c:pt>
                <c:pt idx="719">
                  <c:v>5.9674931496114079</c:v>
                </c:pt>
                <c:pt idx="720">
                  <c:v>5.1360164023790382</c:v>
                </c:pt>
                <c:pt idx="721">
                  <c:v>5.0405618615207493</c:v>
                </c:pt>
                <c:pt idx="722">
                  <c:v>6.1827801898479207</c:v>
                </c:pt>
                <c:pt idx="723">
                  <c:v>5.0406365618325184</c:v>
                </c:pt>
                <c:pt idx="724">
                  <c:v>5.8609124534205419</c:v>
                </c:pt>
                <c:pt idx="725">
                  <c:v>5.9130838098849345</c:v>
                </c:pt>
                <c:pt idx="726">
                  <c:v>5.0553302493755554</c:v>
                </c:pt>
                <c:pt idx="727">
                  <c:v>6.015942493556719</c:v>
                </c:pt>
                <c:pt idx="728">
                  <c:v>5.0513696387559595</c:v>
                </c:pt>
                <c:pt idx="729">
                  <c:v>7.1277211120771549</c:v>
                </c:pt>
                <c:pt idx="730">
                  <c:v>7.1348879575039135</c:v>
                </c:pt>
                <c:pt idx="731">
                  <c:v>7.0458042552761073</c:v>
                </c:pt>
                <c:pt idx="732">
                  <c:v>6.046245962920473</c:v>
                </c:pt>
                <c:pt idx="733">
                  <c:v>3.8544608910195532</c:v>
                </c:pt>
                <c:pt idx="734">
                  <c:v>7.1207531400216855</c:v>
                </c:pt>
                <c:pt idx="735">
                  <c:v>7.0614368142566812</c:v>
                </c:pt>
                <c:pt idx="736">
                  <c:v>5.9369369946447179</c:v>
                </c:pt>
                <c:pt idx="737">
                  <c:v>4.9066319239341363</c:v>
                </c:pt>
                <c:pt idx="738">
                  <c:v>5.1040302234343242</c:v>
                </c:pt>
                <c:pt idx="739">
                  <c:v>6.1776592527352356</c:v>
                </c:pt>
                <c:pt idx="740">
                  <c:v>7.0776761252081224</c:v>
                </c:pt>
                <c:pt idx="741">
                  <c:v>4.9735445587587606</c:v>
                </c:pt>
                <c:pt idx="742">
                  <c:v>3.9638340558752256</c:v>
                </c:pt>
                <c:pt idx="743">
                  <c:v>4.0282277927915757</c:v>
                </c:pt>
                <c:pt idx="744">
                  <c:v>6.978967942546995</c:v>
                </c:pt>
                <c:pt idx="745">
                  <c:v>5.9287941896140728</c:v>
                </c:pt>
                <c:pt idx="746">
                  <c:v>3.9830338785105321</c:v>
                </c:pt>
                <c:pt idx="747">
                  <c:v>5.9372304509173057</c:v>
                </c:pt>
                <c:pt idx="748">
                  <c:v>6.0499601620319892</c:v>
                </c:pt>
                <c:pt idx="749">
                  <c:v>6.0287392345630169</c:v>
                </c:pt>
                <c:pt idx="750">
                  <c:v>3.9785380952296183</c:v>
                </c:pt>
                <c:pt idx="751">
                  <c:v>4.8558962662704142</c:v>
                </c:pt>
                <c:pt idx="752">
                  <c:v>5.8872295683394498</c:v>
                </c:pt>
                <c:pt idx="753">
                  <c:v>4.0286727066372725</c:v>
                </c:pt>
                <c:pt idx="754">
                  <c:v>6.1007255320643781</c:v>
                </c:pt>
                <c:pt idx="755">
                  <c:v>6.1142092748035726</c:v>
                </c:pt>
                <c:pt idx="756">
                  <c:v>6.7647031750322757</c:v>
                </c:pt>
                <c:pt idx="757">
                  <c:v>4.8579594584882555</c:v>
                </c:pt>
                <c:pt idx="758">
                  <c:v>6.9875093373978263</c:v>
                </c:pt>
                <c:pt idx="759">
                  <c:v>6.0348146587576332</c:v>
                </c:pt>
                <c:pt idx="760">
                  <c:v>7.0420993778991186</c:v>
                </c:pt>
                <c:pt idx="761">
                  <c:v>6.9875112787319225</c:v>
                </c:pt>
                <c:pt idx="762">
                  <c:v>6.1150124822105631</c:v>
                </c:pt>
                <c:pt idx="763">
                  <c:v>6.1124094299093414</c:v>
                </c:pt>
                <c:pt idx="764">
                  <c:v>5.1241850666039879</c:v>
                </c:pt>
                <c:pt idx="765">
                  <c:v>5.9969423478700232</c:v>
                </c:pt>
                <c:pt idx="766">
                  <c:v>4.0288689739788888</c:v>
                </c:pt>
                <c:pt idx="767">
                  <c:v>7.1657511020335001</c:v>
                </c:pt>
                <c:pt idx="768">
                  <c:v>6.0248594583677448</c:v>
                </c:pt>
                <c:pt idx="769">
                  <c:v>6.0620097518403826</c:v>
                </c:pt>
                <c:pt idx="770">
                  <c:v>6.0631564673239033</c:v>
                </c:pt>
                <c:pt idx="771">
                  <c:v>5.9602952854345395</c:v>
                </c:pt>
                <c:pt idx="772">
                  <c:v>6.022706270436017</c:v>
                </c:pt>
                <c:pt idx="773">
                  <c:v>7.1620687599989177</c:v>
                </c:pt>
                <c:pt idx="774">
                  <c:v>5.8756435383941801</c:v>
                </c:pt>
                <c:pt idx="775">
                  <c:v>4.9639742620202281</c:v>
                </c:pt>
                <c:pt idx="776">
                  <c:v>6.1838736033217536</c:v>
                </c:pt>
                <c:pt idx="777">
                  <c:v>5.9639107702160201</c:v>
                </c:pt>
                <c:pt idx="778">
                  <c:v>4.9368071688932904</c:v>
                </c:pt>
                <c:pt idx="779">
                  <c:v>5.0621748528312072</c:v>
                </c:pt>
                <c:pt idx="780">
                  <c:v>5.856551748277699</c:v>
                </c:pt>
                <c:pt idx="781">
                  <c:v>4.9505028481606432</c:v>
                </c:pt>
                <c:pt idx="782">
                  <c:v>5.8756016234608008</c:v>
                </c:pt>
                <c:pt idx="783">
                  <c:v>4.0509162802827658</c:v>
                </c:pt>
                <c:pt idx="784">
                  <c:v>5.0178427292095273</c:v>
                </c:pt>
                <c:pt idx="785">
                  <c:v>4.8952445371369961</c:v>
                </c:pt>
                <c:pt idx="786">
                  <c:v>4.8973502476456012</c:v>
                </c:pt>
                <c:pt idx="787">
                  <c:v>6.0263964982924492</c:v>
                </c:pt>
                <c:pt idx="788">
                  <c:v>4.8297668107338509</c:v>
                </c:pt>
                <c:pt idx="789">
                  <c:v>6.0141083970772442</c:v>
                </c:pt>
                <c:pt idx="790">
                  <c:v>4.0112816868375889</c:v>
                </c:pt>
                <c:pt idx="791">
                  <c:v>6.0379931744781041</c:v>
                </c:pt>
                <c:pt idx="792">
                  <c:v>4.9770591439736682</c:v>
                </c:pt>
                <c:pt idx="793">
                  <c:v>6.0007836547433433</c:v>
                </c:pt>
                <c:pt idx="794">
                  <c:v>5.9813766968460298</c:v>
                </c:pt>
                <c:pt idx="795">
                  <c:v>6.1089928407146417</c:v>
                </c:pt>
                <c:pt idx="796">
                  <c:v>6.122121980080216</c:v>
                </c:pt>
                <c:pt idx="797">
                  <c:v>4.1055534308908053</c:v>
                </c:pt>
                <c:pt idx="798">
                  <c:v>6.0349238720149927</c:v>
                </c:pt>
                <c:pt idx="799">
                  <c:v>4.9973939743865516</c:v>
                </c:pt>
                <c:pt idx="800">
                  <c:v>5.1067164232216999</c:v>
                </c:pt>
                <c:pt idx="801">
                  <c:v>6.1934782714673293</c:v>
                </c:pt>
                <c:pt idx="802">
                  <c:v>6.006057224487952</c:v>
                </c:pt>
                <c:pt idx="803">
                  <c:v>6.8252063077723424</c:v>
                </c:pt>
                <c:pt idx="804">
                  <c:v>6.0643699451897941</c:v>
                </c:pt>
                <c:pt idx="805">
                  <c:v>6.043804330140671</c:v>
                </c:pt>
                <c:pt idx="806">
                  <c:v>5.116290615961133</c:v>
                </c:pt>
                <c:pt idx="807">
                  <c:v>5.9150392433899839</c:v>
                </c:pt>
                <c:pt idx="808">
                  <c:v>5.1623743612193653</c:v>
                </c:pt>
                <c:pt idx="809">
                  <c:v>5.1306127339122742</c:v>
                </c:pt>
                <c:pt idx="810">
                  <c:v>5.0023875144900858</c:v>
                </c:pt>
                <c:pt idx="811">
                  <c:v>6.0000242496083205</c:v>
                </c:pt>
                <c:pt idx="812">
                  <c:v>3.7911259443148637</c:v>
                </c:pt>
                <c:pt idx="813">
                  <c:v>6.1140787335836873</c:v>
                </c:pt>
                <c:pt idx="814">
                  <c:v>5.0190798336904745</c:v>
                </c:pt>
                <c:pt idx="815">
                  <c:v>6.0280939314997095</c:v>
                </c:pt>
                <c:pt idx="816">
                  <c:v>7.1194130032016325</c:v>
                </c:pt>
                <c:pt idx="817">
                  <c:v>6.068858140036915</c:v>
                </c:pt>
                <c:pt idx="818">
                  <c:v>6.9848586749113659</c:v>
                </c:pt>
                <c:pt idx="819">
                  <c:v>6.1318449598935976</c:v>
                </c:pt>
                <c:pt idx="820">
                  <c:v>5.0177554448607999</c:v>
                </c:pt>
                <c:pt idx="821">
                  <c:v>5.005417260514502</c:v>
                </c:pt>
                <c:pt idx="822">
                  <c:v>6.1003114967705532</c:v>
                </c:pt>
                <c:pt idx="823">
                  <c:v>6.0207621682761232</c:v>
                </c:pt>
                <c:pt idx="824">
                  <c:v>5.9971871915989308</c:v>
                </c:pt>
                <c:pt idx="825">
                  <c:v>6.0593277441675006</c:v>
                </c:pt>
                <c:pt idx="826">
                  <c:v>5.0494401026641951</c:v>
                </c:pt>
                <c:pt idx="827">
                  <c:v>5.9066200881038089</c:v>
                </c:pt>
                <c:pt idx="828">
                  <c:v>6.0512585448868128</c:v>
                </c:pt>
                <c:pt idx="829">
                  <c:v>6.0614691645466703</c:v>
                </c:pt>
                <c:pt idx="830">
                  <c:v>5.0018436561632678</c:v>
                </c:pt>
                <c:pt idx="831">
                  <c:v>7.1135294376657425</c:v>
                </c:pt>
                <c:pt idx="832">
                  <c:v>5.0589578424734363</c:v>
                </c:pt>
                <c:pt idx="833">
                  <c:v>5.1023055811659974</c:v>
                </c:pt>
                <c:pt idx="834">
                  <c:v>5.0237768638580169</c:v>
                </c:pt>
                <c:pt idx="835">
                  <c:v>5.0701649328321849</c:v>
                </c:pt>
                <c:pt idx="836">
                  <c:v>6.0126540138380058</c:v>
                </c:pt>
                <c:pt idx="837">
                  <c:v>7.0630501682634481</c:v>
                </c:pt>
                <c:pt idx="838">
                  <c:v>4.9567667568314393</c:v>
                </c:pt>
                <c:pt idx="839">
                  <c:v>4.9640115256924764</c:v>
                </c:pt>
                <c:pt idx="840">
                  <c:v>5.0414799214725585</c:v>
                </c:pt>
                <c:pt idx="841">
                  <c:v>4.8477445209853309</c:v>
                </c:pt>
                <c:pt idx="842">
                  <c:v>5.1204633024957893</c:v>
                </c:pt>
                <c:pt idx="843">
                  <c:v>4.9043029658105182</c:v>
                </c:pt>
                <c:pt idx="844">
                  <c:v>5.0210310522825052</c:v>
                </c:pt>
                <c:pt idx="845">
                  <c:v>4.0134933752688369</c:v>
                </c:pt>
                <c:pt idx="846">
                  <c:v>5.9650133408702271</c:v>
                </c:pt>
                <c:pt idx="847">
                  <c:v>5.9473834304652478</c:v>
                </c:pt>
                <c:pt idx="848">
                  <c:v>6.9080573491115524</c:v>
                </c:pt>
                <c:pt idx="849">
                  <c:v>4.964684548303544</c:v>
                </c:pt>
                <c:pt idx="850">
                  <c:v>4.0003085600062898</c:v>
                </c:pt>
                <c:pt idx="851">
                  <c:v>6.1365548992331327</c:v>
                </c:pt>
                <c:pt idx="852">
                  <c:v>5.9173810314860118</c:v>
                </c:pt>
                <c:pt idx="853">
                  <c:v>6.0059492824562994</c:v>
                </c:pt>
                <c:pt idx="854">
                  <c:v>6.0967667345234391</c:v>
                </c:pt>
                <c:pt idx="855">
                  <c:v>6.0779837494195537</c:v>
                </c:pt>
                <c:pt idx="856">
                  <c:v>5.0498823639165868</c:v>
                </c:pt>
                <c:pt idx="857">
                  <c:v>3.9670239660117046</c:v>
                </c:pt>
                <c:pt idx="858">
                  <c:v>4.9188677274937422</c:v>
                </c:pt>
                <c:pt idx="859">
                  <c:v>5.9754812553843504</c:v>
                </c:pt>
                <c:pt idx="860">
                  <c:v>5.2847792141901859</c:v>
                </c:pt>
                <c:pt idx="861">
                  <c:v>5.8712158286888041</c:v>
                </c:pt>
                <c:pt idx="862">
                  <c:v>6.0301776063826606</c:v>
                </c:pt>
                <c:pt idx="863">
                  <c:v>4.8600828078083245</c:v>
                </c:pt>
                <c:pt idx="864">
                  <c:v>6.0030917777830952</c:v>
                </c:pt>
                <c:pt idx="865">
                  <c:v>6.0585358897557144</c:v>
                </c:pt>
                <c:pt idx="866">
                  <c:v>6.0553802398676622</c:v>
                </c:pt>
                <c:pt idx="867">
                  <c:v>6.9486274246651636</c:v>
                </c:pt>
                <c:pt idx="868">
                  <c:v>5.0723803958118152</c:v>
                </c:pt>
                <c:pt idx="869">
                  <c:v>3.8382710890088449</c:v>
                </c:pt>
                <c:pt idx="870">
                  <c:v>5.9516736415968037</c:v>
                </c:pt>
                <c:pt idx="871">
                  <c:v>5.9050895065832449</c:v>
                </c:pt>
                <c:pt idx="872">
                  <c:v>7.0277092355540942</c:v>
                </c:pt>
                <c:pt idx="873">
                  <c:v>6.1219900202880373</c:v>
                </c:pt>
                <c:pt idx="874">
                  <c:v>6.9758359612121961</c:v>
                </c:pt>
                <c:pt idx="875">
                  <c:v>6.1207044627386988</c:v>
                </c:pt>
                <c:pt idx="876">
                  <c:v>6.1228377691718059</c:v>
                </c:pt>
                <c:pt idx="877">
                  <c:v>6.0578642215836851</c:v>
                </c:pt>
                <c:pt idx="878">
                  <c:v>4.844428767952019</c:v>
                </c:pt>
                <c:pt idx="879">
                  <c:v>6.9535215737507841</c:v>
                </c:pt>
                <c:pt idx="880">
                  <c:v>5.8793146336187467</c:v>
                </c:pt>
                <c:pt idx="881">
                  <c:v>6.1475129872445873</c:v>
                </c:pt>
                <c:pt idx="882">
                  <c:v>6.0948848599190208</c:v>
                </c:pt>
                <c:pt idx="883">
                  <c:v>6.0572501991170133</c:v>
                </c:pt>
                <c:pt idx="884">
                  <c:v>5.9295454518542305</c:v>
                </c:pt>
                <c:pt idx="885">
                  <c:v>7.1386272851174475</c:v>
                </c:pt>
                <c:pt idx="886">
                  <c:v>5.9000831533647382</c:v>
                </c:pt>
                <c:pt idx="887">
                  <c:v>6.1030878441115597</c:v>
                </c:pt>
                <c:pt idx="888">
                  <c:v>6.1534991448845968</c:v>
                </c:pt>
                <c:pt idx="889">
                  <c:v>4.9525350316955956</c:v>
                </c:pt>
                <c:pt idx="890">
                  <c:v>4.0460458038214098</c:v>
                </c:pt>
                <c:pt idx="891">
                  <c:v>4.978883531507444</c:v>
                </c:pt>
                <c:pt idx="892">
                  <c:v>4.8946780322056389</c:v>
                </c:pt>
                <c:pt idx="893">
                  <c:v>6.0859875182900653</c:v>
                </c:pt>
                <c:pt idx="894">
                  <c:v>4.071537229956494</c:v>
                </c:pt>
                <c:pt idx="895">
                  <c:v>5.0762892116051761</c:v>
                </c:pt>
                <c:pt idx="896">
                  <c:v>4.9652310584216712</c:v>
                </c:pt>
                <c:pt idx="897">
                  <c:v>6.959391390476414</c:v>
                </c:pt>
                <c:pt idx="898">
                  <c:v>6.09071639422221</c:v>
                </c:pt>
                <c:pt idx="899">
                  <c:v>6.0470404938803224</c:v>
                </c:pt>
                <c:pt idx="900">
                  <c:v>7.0601493640390673</c:v>
                </c:pt>
                <c:pt idx="901">
                  <c:v>6.1641700429508361</c:v>
                </c:pt>
                <c:pt idx="902">
                  <c:v>7.1149391367029571</c:v>
                </c:pt>
                <c:pt idx="903">
                  <c:v>4.8354568202326949</c:v>
                </c:pt>
                <c:pt idx="904">
                  <c:v>4.9854366724571113</c:v>
                </c:pt>
                <c:pt idx="905">
                  <c:v>6.0306160859396494</c:v>
                </c:pt>
                <c:pt idx="906">
                  <c:v>5.8142483484516987</c:v>
                </c:pt>
                <c:pt idx="907">
                  <c:v>6.0442836243940237</c:v>
                </c:pt>
                <c:pt idx="908">
                  <c:v>4.6804394592949006</c:v>
                </c:pt>
                <c:pt idx="909">
                  <c:v>5.863265140007738</c:v>
                </c:pt>
                <c:pt idx="910">
                  <c:v>4.8624745337823629</c:v>
                </c:pt>
                <c:pt idx="911">
                  <c:v>4.9438793167837964</c:v>
                </c:pt>
                <c:pt idx="912">
                  <c:v>5.7433109205260191</c:v>
                </c:pt>
                <c:pt idx="913">
                  <c:v>6.1871972408344833</c:v>
                </c:pt>
                <c:pt idx="914">
                  <c:v>4.9824725284955491</c:v>
                </c:pt>
                <c:pt idx="915">
                  <c:v>6.2691389178725165</c:v>
                </c:pt>
                <c:pt idx="916">
                  <c:v>5.0204197926301886</c:v>
                </c:pt>
                <c:pt idx="917">
                  <c:v>5.00337170300197</c:v>
                </c:pt>
                <c:pt idx="918">
                  <c:v>5.0079438060825865</c:v>
                </c:pt>
                <c:pt idx="919">
                  <c:v>5.6966615132923168</c:v>
                </c:pt>
                <c:pt idx="920">
                  <c:v>6.1076127106342115</c:v>
                </c:pt>
                <c:pt idx="921">
                  <c:v>7.0739069323434629</c:v>
                </c:pt>
                <c:pt idx="922">
                  <c:v>5.0312090146245625</c:v>
                </c:pt>
                <c:pt idx="923">
                  <c:v>4.7094172847978832</c:v>
                </c:pt>
                <c:pt idx="924">
                  <c:v>6.7958250194545382</c:v>
                </c:pt>
                <c:pt idx="925">
                  <c:v>6.990700684606252</c:v>
                </c:pt>
                <c:pt idx="926">
                  <c:v>6.970441882034244</c:v>
                </c:pt>
                <c:pt idx="927">
                  <c:v>6.0299929431429211</c:v>
                </c:pt>
                <c:pt idx="928">
                  <c:v>6.312741385739864</c:v>
                </c:pt>
                <c:pt idx="929">
                  <c:v>6.053224781560635</c:v>
                </c:pt>
                <c:pt idx="930">
                  <c:v>5.174974989632152</c:v>
                </c:pt>
                <c:pt idx="931">
                  <c:v>5.1747556327084725</c:v>
                </c:pt>
                <c:pt idx="932">
                  <c:v>5.0801015988579152</c:v>
                </c:pt>
                <c:pt idx="933">
                  <c:v>5.7619396679183419</c:v>
                </c:pt>
                <c:pt idx="934">
                  <c:v>5.9213350058212937</c:v>
                </c:pt>
                <c:pt idx="935">
                  <c:v>6.0514727486381394</c:v>
                </c:pt>
                <c:pt idx="936">
                  <c:v>5.0174263034462028</c:v>
                </c:pt>
                <c:pt idx="937">
                  <c:v>5.9095902500144684</c:v>
                </c:pt>
                <c:pt idx="938">
                  <c:v>7.017391779112593</c:v>
                </c:pt>
                <c:pt idx="939">
                  <c:v>5.0872515108566176</c:v>
                </c:pt>
                <c:pt idx="940">
                  <c:v>5.9071605665773559</c:v>
                </c:pt>
                <c:pt idx="941">
                  <c:v>5.1005728985179317</c:v>
                </c:pt>
                <c:pt idx="942">
                  <c:v>4.8685566156969546</c:v>
                </c:pt>
                <c:pt idx="943">
                  <c:v>6.156165719566113</c:v>
                </c:pt>
                <c:pt idx="944">
                  <c:v>5.8647693934870828</c:v>
                </c:pt>
                <c:pt idx="945">
                  <c:v>5.9843310335340147</c:v>
                </c:pt>
                <c:pt idx="946">
                  <c:v>7.0155951698143131</c:v>
                </c:pt>
                <c:pt idx="947">
                  <c:v>6.1119619242546346</c:v>
                </c:pt>
                <c:pt idx="948">
                  <c:v>5.9713134176075293</c:v>
                </c:pt>
                <c:pt idx="949">
                  <c:v>5.1921044650501988</c:v>
                </c:pt>
                <c:pt idx="950">
                  <c:v>4.9517360047542516</c:v>
                </c:pt>
                <c:pt idx="951">
                  <c:v>4.8640810556490699</c:v>
                </c:pt>
                <c:pt idx="952">
                  <c:v>4.9567643580437837</c:v>
                </c:pt>
                <c:pt idx="953">
                  <c:v>5.8654044329838504</c:v>
                </c:pt>
                <c:pt idx="954">
                  <c:v>4.988333021295885</c:v>
                </c:pt>
                <c:pt idx="955">
                  <c:v>6.037842134619325</c:v>
                </c:pt>
                <c:pt idx="956">
                  <c:v>4.9807179799714874</c:v>
                </c:pt>
                <c:pt idx="957">
                  <c:v>6.1216887893635166</c:v>
                </c:pt>
                <c:pt idx="958">
                  <c:v>4.920965192217726</c:v>
                </c:pt>
                <c:pt idx="959">
                  <c:v>5.8224171278872481</c:v>
                </c:pt>
                <c:pt idx="960">
                  <c:v>7.1666342108251042</c:v>
                </c:pt>
                <c:pt idx="961">
                  <c:v>6.8545225042416424</c:v>
                </c:pt>
                <c:pt idx="962">
                  <c:v>5.9519490479133728</c:v>
                </c:pt>
                <c:pt idx="963">
                  <c:v>6.0461278506257115</c:v>
                </c:pt>
                <c:pt idx="964">
                  <c:v>4.8565759163348075</c:v>
                </c:pt>
                <c:pt idx="965">
                  <c:v>5.908935374250512</c:v>
                </c:pt>
                <c:pt idx="966">
                  <c:v>5.7845222864471335</c:v>
                </c:pt>
                <c:pt idx="967">
                  <c:v>6.065377642791554</c:v>
                </c:pt>
                <c:pt idx="968">
                  <c:v>6.0504867611032829</c:v>
                </c:pt>
                <c:pt idx="969">
                  <c:v>7.0101787763309931</c:v>
                </c:pt>
                <c:pt idx="970">
                  <c:v>4.9968760136781425</c:v>
                </c:pt>
                <c:pt idx="971">
                  <c:v>4.9214411420843795</c:v>
                </c:pt>
                <c:pt idx="972">
                  <c:v>7.0553312560323498</c:v>
                </c:pt>
                <c:pt idx="973">
                  <c:v>4.9716817422120565</c:v>
                </c:pt>
                <c:pt idx="974">
                  <c:v>4.839310295791619</c:v>
                </c:pt>
                <c:pt idx="975">
                  <c:v>6.0168149141882461</c:v>
                </c:pt>
                <c:pt idx="976">
                  <c:v>5.0547430271997049</c:v>
                </c:pt>
                <c:pt idx="977">
                  <c:v>6.0755411528715326</c:v>
                </c:pt>
                <c:pt idx="978">
                  <c:v>5.1546814934983587</c:v>
                </c:pt>
                <c:pt idx="979">
                  <c:v>5.1836480298721712</c:v>
                </c:pt>
                <c:pt idx="980">
                  <c:v>5.0004366801315658</c:v>
                </c:pt>
                <c:pt idx="981">
                  <c:v>4.9802795943895353</c:v>
                </c:pt>
                <c:pt idx="982">
                  <c:v>5.0451624051801991</c:v>
                </c:pt>
                <c:pt idx="983">
                  <c:v>6.1000362388280109</c:v>
                </c:pt>
                <c:pt idx="984">
                  <c:v>4.9029631448508253</c:v>
                </c:pt>
                <c:pt idx="985">
                  <c:v>6.0547112734188975</c:v>
                </c:pt>
                <c:pt idx="986">
                  <c:v>4.9525064308429583</c:v>
                </c:pt>
                <c:pt idx="987">
                  <c:v>5.8488194596365819</c:v>
                </c:pt>
                <c:pt idx="988">
                  <c:v>6.0460220774941016</c:v>
                </c:pt>
                <c:pt idx="989">
                  <c:v>4.9966243890728173</c:v>
                </c:pt>
                <c:pt idx="990">
                  <c:v>5.9987729705280586</c:v>
                </c:pt>
                <c:pt idx="991">
                  <c:v>4.9817285880514799</c:v>
                </c:pt>
                <c:pt idx="992">
                  <c:v>6.0300810672983651</c:v>
                </c:pt>
                <c:pt idx="993">
                  <c:v>5.0245837035817873</c:v>
                </c:pt>
                <c:pt idx="994">
                  <c:v>4.6962356533655987</c:v>
                </c:pt>
                <c:pt idx="995">
                  <c:v>6.0806397384360347</c:v>
                </c:pt>
                <c:pt idx="996">
                  <c:v>6.0384929110691239</c:v>
                </c:pt>
                <c:pt idx="997">
                  <c:v>4.8857231785234889</c:v>
                </c:pt>
                <c:pt idx="998">
                  <c:v>5.9624120036314681</c:v>
                </c:pt>
                <c:pt idx="999">
                  <c:v>6.0876370056968581</c:v>
                </c:pt>
                <c:pt idx="1000">
                  <c:v>6.00750628026596</c:v>
                </c:pt>
                <c:pt idx="1001">
                  <c:v>6.0598575542225008</c:v>
                </c:pt>
                <c:pt idx="1002">
                  <c:v>6.118437401325262</c:v>
                </c:pt>
                <c:pt idx="1003">
                  <c:v>5.9781909117473671</c:v>
                </c:pt>
                <c:pt idx="1004">
                  <c:v>6.0182884812290451</c:v>
                </c:pt>
                <c:pt idx="1005">
                  <c:v>5.037060460229128</c:v>
                </c:pt>
                <c:pt idx="1006">
                  <c:v>6.034238654538699</c:v>
                </c:pt>
                <c:pt idx="1007">
                  <c:v>5.1357186012924458</c:v>
                </c:pt>
                <c:pt idx="1008">
                  <c:v>5.9683448823380134</c:v>
                </c:pt>
                <c:pt idx="1009">
                  <c:v>5.0172715460527808</c:v>
                </c:pt>
                <c:pt idx="1010">
                  <c:v>4.9366325934173743</c:v>
                </c:pt>
                <c:pt idx="1011">
                  <c:v>4.8600545734431915</c:v>
                </c:pt>
                <c:pt idx="1012">
                  <c:v>4.9682970041332046</c:v>
                </c:pt>
                <c:pt idx="1013">
                  <c:v>5.0105608574516065</c:v>
                </c:pt>
                <c:pt idx="1014">
                  <c:v>4.9423992236916554</c:v>
                </c:pt>
                <c:pt idx="1015">
                  <c:v>5.9445190236830756</c:v>
                </c:pt>
                <c:pt idx="1016">
                  <c:v>6.0801427988981338</c:v>
                </c:pt>
                <c:pt idx="1017">
                  <c:v>5.1329012867515802</c:v>
                </c:pt>
                <c:pt idx="1018">
                  <c:v>6.004748960132086</c:v>
                </c:pt>
                <c:pt idx="1019">
                  <c:v>4.9595290805728469</c:v>
                </c:pt>
                <c:pt idx="1020">
                  <c:v>5.9740008951881265</c:v>
                </c:pt>
                <c:pt idx="1021">
                  <c:v>5.0004176042915685</c:v>
                </c:pt>
                <c:pt idx="1022">
                  <c:v>6.2001474738687818</c:v>
                </c:pt>
                <c:pt idx="1023">
                  <c:v>4.8819066741586612</c:v>
                </c:pt>
                <c:pt idx="1024">
                  <c:v>4.9495867344097784</c:v>
                </c:pt>
                <c:pt idx="1025">
                  <c:v>5.9159248409278229</c:v>
                </c:pt>
                <c:pt idx="1026">
                  <c:v>5.0048953091008892</c:v>
                </c:pt>
                <c:pt idx="1027">
                  <c:v>6.053598410237119</c:v>
                </c:pt>
                <c:pt idx="1028">
                  <c:v>6.0332816011095884</c:v>
                </c:pt>
                <c:pt idx="1029">
                  <c:v>5.1112891395629223</c:v>
                </c:pt>
                <c:pt idx="1030">
                  <c:v>4.9223358018006733</c:v>
                </c:pt>
                <c:pt idx="1031">
                  <c:v>4.8852460864742495</c:v>
                </c:pt>
                <c:pt idx="1032">
                  <c:v>6.1218974448867742</c:v>
                </c:pt>
                <c:pt idx="1033">
                  <c:v>5.0881465611073518</c:v>
                </c:pt>
                <c:pt idx="1034">
                  <c:v>5.1133327137901867</c:v>
                </c:pt>
                <c:pt idx="1035">
                  <c:v>4.9415019277643166</c:v>
                </c:pt>
                <c:pt idx="1036">
                  <c:v>6.0480171780265195</c:v>
                </c:pt>
                <c:pt idx="1037">
                  <c:v>5.2435714191000455</c:v>
                </c:pt>
                <c:pt idx="1038">
                  <c:v>4.8690930718758567</c:v>
                </c:pt>
                <c:pt idx="1039">
                  <c:v>5.9460558520155624</c:v>
                </c:pt>
                <c:pt idx="1040">
                  <c:v>6.9279696608418897</c:v>
                </c:pt>
                <c:pt idx="1041">
                  <c:v>6.8402356024202238</c:v>
                </c:pt>
                <c:pt idx="1042">
                  <c:v>6.0364155301419746</c:v>
                </c:pt>
                <c:pt idx="1043">
                  <c:v>4.9785560646985081</c:v>
                </c:pt>
                <c:pt idx="1044">
                  <c:v>4.9392511284872533</c:v>
                </c:pt>
                <c:pt idx="1045">
                  <c:v>5.1020693786701008</c:v>
                </c:pt>
                <c:pt idx="1046">
                  <c:v>4.8769594640057843</c:v>
                </c:pt>
                <c:pt idx="1047">
                  <c:v>6.0933982771622617</c:v>
                </c:pt>
                <c:pt idx="1048">
                  <c:v>5.0848456254239593</c:v>
                </c:pt>
                <c:pt idx="1049">
                  <c:v>6.1289201227865018</c:v>
                </c:pt>
                <c:pt idx="1050">
                  <c:v>5.061692310818291</c:v>
                </c:pt>
                <c:pt idx="1051">
                  <c:v>6.0369344369402622</c:v>
                </c:pt>
                <c:pt idx="1052">
                  <c:v>5.8428009143610389</c:v>
                </c:pt>
                <c:pt idx="1053">
                  <c:v>6.0150586130096784</c:v>
                </c:pt>
                <c:pt idx="1054">
                  <c:v>5.9586639380716191</c:v>
                </c:pt>
                <c:pt idx="1055">
                  <c:v>4.8692216019165215</c:v>
                </c:pt>
                <c:pt idx="1056">
                  <c:v>5.8464858747693063</c:v>
                </c:pt>
                <c:pt idx="1057">
                  <c:v>6.1958178944125901</c:v>
                </c:pt>
                <c:pt idx="1058">
                  <c:v>5.9768001325465256</c:v>
                </c:pt>
                <c:pt idx="1059">
                  <c:v>5.0355992473164193</c:v>
                </c:pt>
                <c:pt idx="1060">
                  <c:v>7.03602977681029</c:v>
                </c:pt>
                <c:pt idx="1061">
                  <c:v>7.2141396315667778</c:v>
                </c:pt>
                <c:pt idx="1062">
                  <c:v>5.942366251177579</c:v>
                </c:pt>
                <c:pt idx="1063">
                  <c:v>6.994436044260433</c:v>
                </c:pt>
                <c:pt idx="1064">
                  <c:v>6.0101999717973174</c:v>
                </c:pt>
                <c:pt idx="1065">
                  <c:v>6.920836631288986</c:v>
                </c:pt>
                <c:pt idx="1066">
                  <c:v>5.0941478421408126</c:v>
                </c:pt>
                <c:pt idx="1067">
                  <c:v>6.9227427207498522</c:v>
                </c:pt>
                <c:pt idx="1068">
                  <c:v>5.7758711596886636</c:v>
                </c:pt>
                <c:pt idx="1069">
                  <c:v>6.0936985955903538</c:v>
                </c:pt>
                <c:pt idx="1070">
                  <c:v>6.0399325857778914</c:v>
                </c:pt>
                <c:pt idx="1071">
                  <c:v>5.9436313347603509</c:v>
                </c:pt>
                <c:pt idx="1072">
                  <c:v>6.0937451638781353</c:v>
                </c:pt>
                <c:pt idx="1073">
                  <c:v>6.9709166776727223</c:v>
                </c:pt>
                <c:pt idx="1074">
                  <c:v>6.0497560704099413</c:v>
                </c:pt>
                <c:pt idx="1075">
                  <c:v>7.048980394854695</c:v>
                </c:pt>
                <c:pt idx="1076">
                  <c:v>4.9620480362098647</c:v>
                </c:pt>
                <c:pt idx="1077">
                  <c:v>5.8404736875863117</c:v>
                </c:pt>
                <c:pt idx="1078">
                  <c:v>6.0149249696513252</c:v>
                </c:pt>
                <c:pt idx="1079">
                  <c:v>1.8020404022741703</c:v>
                </c:pt>
                <c:pt idx="1080">
                  <c:v>4.9608694385285821</c:v>
                </c:pt>
                <c:pt idx="1081">
                  <c:v>2.0842096056649915</c:v>
                </c:pt>
                <c:pt idx="1082">
                  <c:v>2.0579764488184389</c:v>
                </c:pt>
                <c:pt idx="1083">
                  <c:v>4.9480537703392278</c:v>
                </c:pt>
                <c:pt idx="1084">
                  <c:v>4.9716474125309302</c:v>
                </c:pt>
                <c:pt idx="1085">
                  <c:v>4.7815276216284008</c:v>
                </c:pt>
                <c:pt idx="1086">
                  <c:v>5.0884955727283394</c:v>
                </c:pt>
                <c:pt idx="1087">
                  <c:v>4.8789376459622398</c:v>
                </c:pt>
                <c:pt idx="1088">
                  <c:v>4.0228247636492869</c:v>
                </c:pt>
                <c:pt idx="1089">
                  <c:v>5.0087963483019209</c:v>
                </c:pt>
                <c:pt idx="1090">
                  <c:v>3.9926765530203046</c:v>
                </c:pt>
                <c:pt idx="1091">
                  <c:v>4.9913314043258907</c:v>
                </c:pt>
                <c:pt idx="1092">
                  <c:v>7.0678872191635858</c:v>
                </c:pt>
                <c:pt idx="1093">
                  <c:v>3.8762940355032804</c:v>
                </c:pt>
                <c:pt idx="1094">
                  <c:v>5.969322668158707</c:v>
                </c:pt>
                <c:pt idx="1095">
                  <c:v>6.1297201505746903</c:v>
                </c:pt>
                <c:pt idx="1096">
                  <c:v>6.8308096943748362</c:v>
                </c:pt>
                <c:pt idx="1097">
                  <c:v>6.9983263017224955</c:v>
                </c:pt>
                <c:pt idx="1098">
                  <c:v>6.0903983451463075</c:v>
                </c:pt>
                <c:pt idx="1099">
                  <c:v>6.0540902055188912</c:v>
                </c:pt>
                <c:pt idx="1100">
                  <c:v>6.0275675224655831</c:v>
                </c:pt>
                <c:pt idx="1101">
                  <c:v>6.1304209594871697</c:v>
                </c:pt>
                <c:pt idx="1102">
                  <c:v>6.9535174674094327</c:v>
                </c:pt>
                <c:pt idx="1103">
                  <c:v>6.1367203196466846</c:v>
                </c:pt>
                <c:pt idx="1104">
                  <c:v>5.0017461076024583</c:v>
                </c:pt>
                <c:pt idx="1105">
                  <c:v>6.0006581460278072</c:v>
                </c:pt>
                <c:pt idx="1106">
                  <c:v>6.8578150117009073</c:v>
                </c:pt>
                <c:pt idx="1107">
                  <c:v>5.9670126782502821</c:v>
                </c:pt>
                <c:pt idx="1108">
                  <c:v>6.0370172988503681</c:v>
                </c:pt>
                <c:pt idx="1109">
                  <c:v>4.9646233495839143</c:v>
                </c:pt>
                <c:pt idx="1110">
                  <c:v>5.0113204694098581</c:v>
                </c:pt>
                <c:pt idx="1111">
                  <c:v>4.8511085198431552</c:v>
                </c:pt>
                <c:pt idx="1112">
                  <c:v>4.9958837406795205</c:v>
                </c:pt>
                <c:pt idx="1113">
                  <c:v>5.0639348083019051</c:v>
                </c:pt>
                <c:pt idx="1114">
                  <c:v>6.0695405520546863</c:v>
                </c:pt>
                <c:pt idx="1115">
                  <c:v>5.1033911301702064</c:v>
                </c:pt>
                <c:pt idx="1116">
                  <c:v>4.0188097688577864</c:v>
                </c:pt>
                <c:pt idx="1117">
                  <c:v>5.1182746610944214</c:v>
                </c:pt>
                <c:pt idx="1118">
                  <c:v>4.9880447994259285</c:v>
                </c:pt>
                <c:pt idx="1119">
                  <c:v>6.8322729272032952</c:v>
                </c:pt>
                <c:pt idx="1120">
                  <c:v>5.1579672963696765</c:v>
                </c:pt>
                <c:pt idx="1121">
                  <c:v>5.0989848067206358</c:v>
                </c:pt>
                <c:pt idx="1122">
                  <c:v>4.8097196849473303</c:v>
                </c:pt>
                <c:pt idx="1123">
                  <c:v>5.1994404060124344</c:v>
                </c:pt>
                <c:pt idx="1124">
                  <c:v>4.7613275411598508</c:v>
                </c:pt>
                <c:pt idx="1125">
                  <c:v>6.0459858455444291</c:v>
                </c:pt>
                <c:pt idx="1126">
                  <c:v>5.8297177066167007</c:v>
                </c:pt>
                <c:pt idx="1127">
                  <c:v>6.0142923320201715</c:v>
                </c:pt>
                <c:pt idx="1128">
                  <c:v>6.969184187942087</c:v>
                </c:pt>
                <c:pt idx="1129">
                  <c:v>6.0390193979694047</c:v>
                </c:pt>
                <c:pt idx="1130">
                  <c:v>6.1264251904412861</c:v>
                </c:pt>
                <c:pt idx="1131">
                  <c:v>4.9596808429260513</c:v>
                </c:pt>
                <c:pt idx="1132">
                  <c:v>4.9198843581666987</c:v>
                </c:pt>
                <c:pt idx="1133">
                  <c:v>5.1170589232618093</c:v>
                </c:pt>
                <c:pt idx="1134">
                  <c:v>5.9140812401904794</c:v>
                </c:pt>
                <c:pt idx="1135">
                  <c:v>5.9634419156769241</c:v>
                </c:pt>
                <c:pt idx="1136">
                  <c:v>4.855980348851431</c:v>
                </c:pt>
                <c:pt idx="1137">
                  <c:v>6.2731576660144057</c:v>
                </c:pt>
                <c:pt idx="1138">
                  <c:v>6.0494790695568303</c:v>
                </c:pt>
                <c:pt idx="1139">
                  <c:v>4.9291168063837816</c:v>
                </c:pt>
                <c:pt idx="1140">
                  <c:v>5.7806460050958348</c:v>
                </c:pt>
                <c:pt idx="1141">
                  <c:v>4.8952100478639116</c:v>
                </c:pt>
                <c:pt idx="1142">
                  <c:v>4.849459012689521</c:v>
                </c:pt>
                <c:pt idx="1143">
                  <c:v>1.880461267430666</c:v>
                </c:pt>
                <c:pt idx="1144">
                  <c:v>4.9628394212364748</c:v>
                </c:pt>
                <c:pt idx="1145">
                  <c:v>4.9883034826306547</c:v>
                </c:pt>
                <c:pt idx="1146">
                  <c:v>4.9571178109552472</c:v>
                </c:pt>
                <c:pt idx="1147">
                  <c:v>4.9096935146834015</c:v>
                </c:pt>
                <c:pt idx="1148">
                  <c:v>4.9176829499414758</c:v>
                </c:pt>
                <c:pt idx="1149">
                  <c:v>5.9930982989444725</c:v>
                </c:pt>
                <c:pt idx="1150">
                  <c:v>5.8668775259382651</c:v>
                </c:pt>
                <c:pt idx="1151">
                  <c:v>6.1857443889640011</c:v>
                </c:pt>
                <c:pt idx="1152">
                  <c:v>6.172905002901544</c:v>
                </c:pt>
                <c:pt idx="1153">
                  <c:v>5.9684888083657297</c:v>
                </c:pt>
                <c:pt idx="1154">
                  <c:v>6.1545983028293145</c:v>
                </c:pt>
                <c:pt idx="1155">
                  <c:v>5.9736281795041517</c:v>
                </c:pt>
                <c:pt idx="1156">
                  <c:v>5.014424150386648</c:v>
                </c:pt>
                <c:pt idx="1157">
                  <c:v>4.7742834610029083</c:v>
                </c:pt>
                <c:pt idx="1158">
                  <c:v>5.9246862839447099</c:v>
                </c:pt>
                <c:pt idx="1159">
                  <c:v>5.9905533351908407</c:v>
                </c:pt>
                <c:pt idx="1160">
                  <c:v>6.0101028293552918</c:v>
                </c:pt>
                <c:pt idx="1161">
                  <c:v>6.0927237371024408</c:v>
                </c:pt>
                <c:pt idx="1162">
                  <c:v>4.9876894904153897</c:v>
                </c:pt>
                <c:pt idx="1163">
                  <c:v>4.8698358071745806</c:v>
                </c:pt>
                <c:pt idx="1164">
                  <c:v>6.1100311959223275</c:v>
                </c:pt>
                <c:pt idx="1165">
                  <c:v>5.1078641938878873</c:v>
                </c:pt>
                <c:pt idx="1166">
                  <c:v>6.8102438011207695</c:v>
                </c:pt>
                <c:pt idx="1167">
                  <c:v>5.9125924875234155</c:v>
                </c:pt>
                <c:pt idx="1168">
                  <c:v>5.0470289887937501</c:v>
                </c:pt>
                <c:pt idx="1169">
                  <c:v>5.9826063123410398</c:v>
                </c:pt>
                <c:pt idx="1170">
                  <c:v>4.9539123793248567</c:v>
                </c:pt>
                <c:pt idx="1171">
                  <c:v>5.793857577840412</c:v>
                </c:pt>
                <c:pt idx="1172">
                  <c:v>4.9944382091493633</c:v>
                </c:pt>
                <c:pt idx="1173">
                  <c:v>5.9913409313068495</c:v>
                </c:pt>
                <c:pt idx="1174">
                  <c:v>5.1529224057098455</c:v>
                </c:pt>
                <c:pt idx="1175">
                  <c:v>5.8551416207356324</c:v>
                </c:pt>
                <c:pt idx="1176">
                  <c:v>5.1469082790601624</c:v>
                </c:pt>
                <c:pt idx="1177">
                  <c:v>5.8309547820159757</c:v>
                </c:pt>
                <c:pt idx="1178">
                  <c:v>5.9044394537169822</c:v>
                </c:pt>
                <c:pt idx="1179">
                  <c:v>4.8584504402623967</c:v>
                </c:pt>
                <c:pt idx="1180">
                  <c:v>5.0791902510254676</c:v>
                </c:pt>
                <c:pt idx="1181">
                  <c:v>5.129236014518904</c:v>
                </c:pt>
                <c:pt idx="1182">
                  <c:v>5.1237175345299901</c:v>
                </c:pt>
                <c:pt idx="1183">
                  <c:v>4.8603742478369787</c:v>
                </c:pt>
                <c:pt idx="1184">
                  <c:v>5.1397845164377811</c:v>
                </c:pt>
                <c:pt idx="1185">
                  <c:v>5.8918350631344225</c:v>
                </c:pt>
                <c:pt idx="1186">
                  <c:v>5.8780112019879684</c:v>
                </c:pt>
                <c:pt idx="1187">
                  <c:v>4.7807559994769901</c:v>
                </c:pt>
                <c:pt idx="1188">
                  <c:v>4.9999332308235553</c:v>
                </c:pt>
                <c:pt idx="1189">
                  <c:v>5.1128366620468526</c:v>
                </c:pt>
                <c:pt idx="1190">
                  <c:v>4.9679515436143955</c:v>
                </c:pt>
                <c:pt idx="1191">
                  <c:v>6.1287444069815438</c:v>
                </c:pt>
                <c:pt idx="1192">
                  <c:v>5.2343301958928157</c:v>
                </c:pt>
                <c:pt idx="1193">
                  <c:v>5.8796517497125862</c:v>
                </c:pt>
                <c:pt idx="1194">
                  <c:v>6.0647752622294782</c:v>
                </c:pt>
                <c:pt idx="1195">
                  <c:v>6.0470114279335725</c:v>
                </c:pt>
                <c:pt idx="1196">
                  <c:v>5.0223933274248633</c:v>
                </c:pt>
                <c:pt idx="1197">
                  <c:v>5.9684086545060433</c:v>
                </c:pt>
                <c:pt idx="1198">
                  <c:v>6.11181466536146</c:v>
                </c:pt>
                <c:pt idx="1199">
                  <c:v>4.9216550036654461</c:v>
                </c:pt>
                <c:pt idx="1200">
                  <c:v>4.9846980866382156</c:v>
                </c:pt>
                <c:pt idx="1201">
                  <c:v>5.9136421376089405</c:v>
                </c:pt>
                <c:pt idx="1202">
                  <c:v>4.9752609183981242</c:v>
                </c:pt>
                <c:pt idx="1203">
                  <c:v>5.9963957675584654</c:v>
                </c:pt>
                <c:pt idx="1204">
                  <c:v>5.8750779725188238</c:v>
                </c:pt>
                <c:pt idx="1205">
                  <c:v>5.9506684984529459</c:v>
                </c:pt>
                <c:pt idx="1206">
                  <c:v>6.0167739971013638</c:v>
                </c:pt>
                <c:pt idx="1207">
                  <c:v>6.9727659793367502</c:v>
                </c:pt>
                <c:pt idx="1208">
                  <c:v>4.9480154595479009</c:v>
                </c:pt>
                <c:pt idx="1209">
                  <c:v>6.0138021592680753</c:v>
                </c:pt>
                <c:pt idx="1210">
                  <c:v>5.0341250447693167</c:v>
                </c:pt>
                <c:pt idx="1211">
                  <c:v>4.8707639023168605</c:v>
                </c:pt>
                <c:pt idx="1212">
                  <c:v>6.9618781097786879</c:v>
                </c:pt>
                <c:pt idx="1213">
                  <c:v>5.9142751381327274</c:v>
                </c:pt>
                <c:pt idx="1214">
                  <c:v>6.1428492939065595</c:v>
                </c:pt>
                <c:pt idx="1215">
                  <c:v>4.8967339175505682</c:v>
                </c:pt>
                <c:pt idx="1216">
                  <c:v>6.1237999196329227</c:v>
                </c:pt>
                <c:pt idx="1217">
                  <c:v>4.8211062624990495</c:v>
                </c:pt>
                <c:pt idx="1218">
                  <c:v>5.9965030496854554</c:v>
                </c:pt>
                <c:pt idx="1219">
                  <c:v>6.0775477176425428</c:v>
                </c:pt>
                <c:pt idx="1220">
                  <c:v>5.9732250081347678</c:v>
                </c:pt>
                <c:pt idx="1221">
                  <c:v>5.0133360421380111</c:v>
                </c:pt>
                <c:pt idx="1222">
                  <c:v>6.0034424187009767</c:v>
                </c:pt>
                <c:pt idx="1223">
                  <c:v>4.9347105635491788</c:v>
                </c:pt>
                <c:pt idx="1224">
                  <c:v>6.0422732372380015</c:v>
                </c:pt>
                <c:pt idx="1225">
                  <c:v>6.0384262018229302</c:v>
                </c:pt>
                <c:pt idx="1226">
                  <c:v>6.0778971374403152</c:v>
                </c:pt>
                <c:pt idx="1227">
                  <c:v>5.9804993965635198</c:v>
                </c:pt>
                <c:pt idx="1228">
                  <c:v>4.9215229964939304</c:v>
                </c:pt>
                <c:pt idx="1229">
                  <c:v>6.0312728741344577</c:v>
                </c:pt>
                <c:pt idx="1230">
                  <c:v>4.9469514960824377</c:v>
                </c:pt>
                <c:pt idx="1231">
                  <c:v>6.0320368389289545</c:v>
                </c:pt>
                <c:pt idx="1232">
                  <c:v>4.9861494589567554</c:v>
                </c:pt>
                <c:pt idx="1233">
                  <c:v>5.9336837570864471</c:v>
                </c:pt>
                <c:pt idx="1234">
                  <c:v>5.9393038349390039</c:v>
                </c:pt>
                <c:pt idx="1235">
                  <c:v>5.161600397741255</c:v>
                </c:pt>
                <c:pt idx="1236">
                  <c:v>7.1799318068910338</c:v>
                </c:pt>
                <c:pt idx="1237">
                  <c:v>5.8982305502841221</c:v>
                </c:pt>
                <c:pt idx="1238">
                  <c:v>5.0976875196955822</c:v>
                </c:pt>
                <c:pt idx="1239">
                  <c:v>5.0279030556485784</c:v>
                </c:pt>
                <c:pt idx="1240">
                  <c:v>5.0727419810020855</c:v>
                </c:pt>
                <c:pt idx="1241">
                  <c:v>6.0374538485421629</c:v>
                </c:pt>
                <c:pt idx="1242">
                  <c:v>4.886885684819811</c:v>
                </c:pt>
                <c:pt idx="1243">
                  <c:v>4.9880982104190048</c:v>
                </c:pt>
                <c:pt idx="1244">
                  <c:v>5.8493883801285689</c:v>
                </c:pt>
                <c:pt idx="1245">
                  <c:v>6.1805386434566003</c:v>
                </c:pt>
                <c:pt idx="1246">
                  <c:v>5.9396342783185592</c:v>
                </c:pt>
                <c:pt idx="1247">
                  <c:v>6.2160644657873334</c:v>
                </c:pt>
                <c:pt idx="1248">
                  <c:v>5.9825210356691496</c:v>
                </c:pt>
                <c:pt idx="1249">
                  <c:v>5.1369690041724763</c:v>
                </c:pt>
                <c:pt idx="1250">
                  <c:v>5.0221966236123219</c:v>
                </c:pt>
                <c:pt idx="1251">
                  <c:v>6.0154054347101535</c:v>
                </c:pt>
                <c:pt idx="1252">
                  <c:v>6.0867566745558239</c:v>
                </c:pt>
                <c:pt idx="1253">
                  <c:v>4.873243441785422</c:v>
                </c:pt>
                <c:pt idx="1254">
                  <c:v>4.9957323869107446</c:v>
                </c:pt>
                <c:pt idx="1255">
                  <c:v>4.889870112321975</c:v>
                </c:pt>
                <c:pt idx="1256">
                  <c:v>4.9599819746119298</c:v>
                </c:pt>
                <c:pt idx="1257">
                  <c:v>5.171621569218896</c:v>
                </c:pt>
                <c:pt idx="1258">
                  <c:v>6.8553231298788431</c:v>
                </c:pt>
                <c:pt idx="1259">
                  <c:v>6.0482897909055104</c:v>
                </c:pt>
                <c:pt idx="1260">
                  <c:v>6.0579560362997871</c:v>
                </c:pt>
                <c:pt idx="1261">
                  <c:v>4.8199923853267377</c:v>
                </c:pt>
                <c:pt idx="1262">
                  <c:v>4.9046135088136902</c:v>
                </c:pt>
                <c:pt idx="1263">
                  <c:v>6.2039967967010679</c:v>
                </c:pt>
                <c:pt idx="1264">
                  <c:v>4.0240260664449075</c:v>
                </c:pt>
                <c:pt idx="1265">
                  <c:v>6.0061902554062243</c:v>
                </c:pt>
                <c:pt idx="1266">
                  <c:v>5.0310594323256046</c:v>
                </c:pt>
                <c:pt idx="1267">
                  <c:v>5.0517036643949256</c:v>
                </c:pt>
                <c:pt idx="1268">
                  <c:v>4.7861088688639457</c:v>
                </c:pt>
                <c:pt idx="1269">
                  <c:v>4.9463953038497817</c:v>
                </c:pt>
                <c:pt idx="1270">
                  <c:v>5.9953765175932272</c:v>
                </c:pt>
                <c:pt idx="1271">
                  <c:v>4.9911525067395255</c:v>
                </c:pt>
                <c:pt idx="1272">
                  <c:v>5.0828147471179834</c:v>
                </c:pt>
                <c:pt idx="1273">
                  <c:v>4.9806501227196183</c:v>
                </c:pt>
                <c:pt idx="1274">
                  <c:v>4.9942868029490546</c:v>
                </c:pt>
                <c:pt idx="1275">
                  <c:v>4.9345697470396814</c:v>
                </c:pt>
                <c:pt idx="1276">
                  <c:v>5.9774752413790813</c:v>
                </c:pt>
                <c:pt idx="1277">
                  <c:v>5.8637488992337143</c:v>
                </c:pt>
                <c:pt idx="1278">
                  <c:v>4.9277256376821423</c:v>
                </c:pt>
                <c:pt idx="1279">
                  <c:v>4.9255483004024754</c:v>
                </c:pt>
                <c:pt idx="1280">
                  <c:v>5.0822149117891469</c:v>
                </c:pt>
                <c:pt idx="1281">
                  <c:v>4.9102393078799569</c:v>
                </c:pt>
                <c:pt idx="1282">
                  <c:v>5.0359681131119878</c:v>
                </c:pt>
                <c:pt idx="1283">
                  <c:v>6.0722855727548426</c:v>
                </c:pt>
                <c:pt idx="1284">
                  <c:v>6.0295110839206876</c:v>
                </c:pt>
                <c:pt idx="1285">
                  <c:v>5.9767608520710152</c:v>
                </c:pt>
                <c:pt idx="1286">
                  <c:v>5.9164507493710774</c:v>
                </c:pt>
                <c:pt idx="1287">
                  <c:v>5.9870766083004172</c:v>
                </c:pt>
                <c:pt idx="1288">
                  <c:v>5.0392672788402608</c:v>
                </c:pt>
                <c:pt idx="1289">
                  <c:v>7.0014514135287067</c:v>
                </c:pt>
                <c:pt idx="1290">
                  <c:v>3.898410058709044</c:v>
                </c:pt>
                <c:pt idx="1291">
                  <c:v>5.9402127550990134</c:v>
                </c:pt>
                <c:pt idx="1292">
                  <c:v>6.0582402894423986</c:v>
                </c:pt>
                <c:pt idx="1293">
                  <c:v>6.0138218529128622</c:v>
                </c:pt>
                <c:pt idx="1294">
                  <c:v>5.873374104205249</c:v>
                </c:pt>
                <c:pt idx="1295">
                  <c:v>5.9342478379668648</c:v>
                </c:pt>
                <c:pt idx="1296">
                  <c:v>6.9811545445836893</c:v>
                </c:pt>
                <c:pt idx="1297">
                  <c:v>4.0137913029180075</c:v>
                </c:pt>
                <c:pt idx="1298">
                  <c:v>6.0987711270121583</c:v>
                </c:pt>
                <c:pt idx="1299">
                  <c:v>4.1424189347965541</c:v>
                </c:pt>
                <c:pt idx="1300">
                  <c:v>7.0743652401819785</c:v>
                </c:pt>
                <c:pt idx="1301">
                  <c:v>3.8959814801654926</c:v>
                </c:pt>
                <c:pt idx="1302">
                  <c:v>5.1212353435677</c:v>
                </c:pt>
                <c:pt idx="1303">
                  <c:v>4.8971437179423463</c:v>
                </c:pt>
                <c:pt idx="1304">
                  <c:v>4.060143560013584</c:v>
                </c:pt>
                <c:pt idx="1305">
                  <c:v>3.9474749458040508</c:v>
                </c:pt>
                <c:pt idx="1306">
                  <c:v>5.9242919043409721</c:v>
                </c:pt>
                <c:pt idx="1307">
                  <c:v>5.9278610418376845</c:v>
                </c:pt>
                <c:pt idx="1308">
                  <c:v>4.0831830561481182</c:v>
                </c:pt>
                <c:pt idx="1309">
                  <c:v>3.9045467394547448</c:v>
                </c:pt>
                <c:pt idx="1310">
                  <c:v>6.0059351610928928</c:v>
                </c:pt>
                <c:pt idx="1311">
                  <c:v>3.8607298906425154</c:v>
                </c:pt>
                <c:pt idx="1312">
                  <c:v>3.9196966763330217</c:v>
                </c:pt>
                <c:pt idx="1313">
                  <c:v>5.9885758632359156</c:v>
                </c:pt>
                <c:pt idx="1314">
                  <c:v>4.0415946338975459</c:v>
                </c:pt>
                <c:pt idx="1315">
                  <c:v>5.8653770470749391</c:v>
                </c:pt>
                <c:pt idx="1316">
                  <c:v>6.908043134992595</c:v>
                </c:pt>
                <c:pt idx="1317">
                  <c:v>5.8382174903226112</c:v>
                </c:pt>
                <c:pt idx="1318">
                  <c:v>3.0764210309773001</c:v>
                </c:pt>
                <c:pt idx="1319">
                  <c:v>4.9830200083195217</c:v>
                </c:pt>
                <c:pt idx="1320">
                  <c:v>5.9646493233462472</c:v>
                </c:pt>
                <c:pt idx="1321">
                  <c:v>4.9817455511156616</c:v>
                </c:pt>
                <c:pt idx="1322">
                  <c:v>4.9805737109812762</c:v>
                </c:pt>
                <c:pt idx="1323">
                  <c:v>5.9242752769108984</c:v>
                </c:pt>
                <c:pt idx="1324">
                  <c:v>5.9834618256863266</c:v>
                </c:pt>
                <c:pt idx="1325">
                  <c:v>5.9788862064182302</c:v>
                </c:pt>
                <c:pt idx="1326">
                  <c:v>6.0663888091662379</c:v>
                </c:pt>
                <c:pt idx="1327">
                  <c:v>5.0056757942699868</c:v>
                </c:pt>
                <c:pt idx="1328">
                  <c:v>4.9205242738598924</c:v>
                </c:pt>
                <c:pt idx="1329">
                  <c:v>5.1929855674517915</c:v>
                </c:pt>
                <c:pt idx="1330">
                  <c:v>5.9386583149666867</c:v>
                </c:pt>
                <c:pt idx="1331">
                  <c:v>6.1178138351065137</c:v>
                </c:pt>
                <c:pt idx="1332">
                  <c:v>5.9549584175971759</c:v>
                </c:pt>
                <c:pt idx="1333">
                  <c:v>5.8114799877316798</c:v>
                </c:pt>
                <c:pt idx="1334">
                  <c:v>6.0536752726426659</c:v>
                </c:pt>
                <c:pt idx="1335">
                  <c:v>5.006035343239704</c:v>
                </c:pt>
                <c:pt idx="1336">
                  <c:v>5.8377112580218764</c:v>
                </c:pt>
                <c:pt idx="1337">
                  <c:v>6.0729296513079252</c:v>
                </c:pt>
                <c:pt idx="1338">
                  <c:v>4.9267095791197804</c:v>
                </c:pt>
                <c:pt idx="1339">
                  <c:v>5.869148650606216</c:v>
                </c:pt>
                <c:pt idx="1340">
                  <c:v>5.9994889858098546</c:v>
                </c:pt>
                <c:pt idx="1341">
                  <c:v>5.0332614606429678</c:v>
                </c:pt>
                <c:pt idx="1342">
                  <c:v>4.9629550034342165</c:v>
                </c:pt>
                <c:pt idx="1343">
                  <c:v>4.8232071816765316</c:v>
                </c:pt>
                <c:pt idx="1344">
                  <c:v>6.0744932362099204</c:v>
                </c:pt>
                <c:pt idx="1345">
                  <c:v>4.841822659327657</c:v>
                </c:pt>
                <c:pt idx="1346">
                  <c:v>5.1051303114906545</c:v>
                </c:pt>
                <c:pt idx="1347">
                  <c:v>4.8303257228659167</c:v>
                </c:pt>
                <c:pt idx="1348">
                  <c:v>4.881233584551679</c:v>
                </c:pt>
                <c:pt idx="1349">
                  <c:v>5.0062349146591387</c:v>
                </c:pt>
                <c:pt idx="1350">
                  <c:v>4.9451875923022657</c:v>
                </c:pt>
                <c:pt idx="1351">
                  <c:v>4.9409947632190443</c:v>
                </c:pt>
                <c:pt idx="1352">
                  <c:v>5.0232576741344825</c:v>
                </c:pt>
                <c:pt idx="1353">
                  <c:v>5.0105978597858938</c:v>
                </c:pt>
                <c:pt idx="1354">
                  <c:v>7.0942246347704927</c:v>
                </c:pt>
                <c:pt idx="1355">
                  <c:v>5.987480026826602</c:v>
                </c:pt>
                <c:pt idx="1356">
                  <c:v>6.0246276848364992</c:v>
                </c:pt>
                <c:pt idx="1357">
                  <c:v>5.8962077728354014</c:v>
                </c:pt>
                <c:pt idx="1358">
                  <c:v>4.934880258800864</c:v>
                </c:pt>
                <c:pt idx="1359">
                  <c:v>5.0014357001490151</c:v>
                </c:pt>
                <c:pt idx="1360">
                  <c:v>5.0511400536336311</c:v>
                </c:pt>
                <c:pt idx="1361">
                  <c:v>5.0820162551342483</c:v>
                </c:pt>
                <c:pt idx="1362">
                  <c:v>4.9603223592627783</c:v>
                </c:pt>
                <c:pt idx="1363">
                  <c:v>6.9792695705815149</c:v>
                </c:pt>
                <c:pt idx="1364">
                  <c:v>6.9445393156323583</c:v>
                </c:pt>
                <c:pt idx="1365">
                  <c:v>7.1712692504040003</c:v>
                </c:pt>
                <c:pt idx="1366">
                  <c:v>6.9792710739848971</c:v>
                </c:pt>
                <c:pt idx="1367">
                  <c:v>7.0513999009911155</c:v>
                </c:pt>
                <c:pt idx="1368">
                  <c:v>1.9793943847948936</c:v>
                </c:pt>
                <c:pt idx="1369">
                  <c:v>5.080627825660434</c:v>
                </c:pt>
                <c:pt idx="1370">
                  <c:v>5.0768117786924902</c:v>
                </c:pt>
                <c:pt idx="1371">
                  <c:v>5.9863907183798997</c:v>
                </c:pt>
                <c:pt idx="1372">
                  <c:v>7.0097455584935489</c:v>
                </c:pt>
                <c:pt idx="1373">
                  <c:v>4.9323637479060043</c:v>
                </c:pt>
                <c:pt idx="1374">
                  <c:v>3.9594953769512626</c:v>
                </c:pt>
                <c:pt idx="1375">
                  <c:v>6.1259545423670856</c:v>
                </c:pt>
                <c:pt idx="1376">
                  <c:v>6.0155176735457863</c:v>
                </c:pt>
                <c:pt idx="1377">
                  <c:v>4.9648324611698573</c:v>
                </c:pt>
                <c:pt idx="1378">
                  <c:v>5.8230115379932172</c:v>
                </c:pt>
                <c:pt idx="1379">
                  <c:v>4.8840219819051205</c:v>
                </c:pt>
                <c:pt idx="1380">
                  <c:v>4.9113812998690785</c:v>
                </c:pt>
                <c:pt idx="1381">
                  <c:v>5.1251622912547123</c:v>
                </c:pt>
                <c:pt idx="1382">
                  <c:v>4.9388626220239304</c:v>
                </c:pt>
                <c:pt idx="1383">
                  <c:v>5.0397902297288244</c:v>
                </c:pt>
                <c:pt idx="1384">
                  <c:v>5.963786773601818</c:v>
                </c:pt>
                <c:pt idx="1385">
                  <c:v>4.8984293157617911</c:v>
                </c:pt>
                <c:pt idx="1386">
                  <c:v>5.1965480594019633</c:v>
                </c:pt>
                <c:pt idx="1387">
                  <c:v>4.0686126281394532</c:v>
                </c:pt>
                <c:pt idx="1388">
                  <c:v>4.798171037923936</c:v>
                </c:pt>
                <c:pt idx="1389">
                  <c:v>5.1190927719649029</c:v>
                </c:pt>
                <c:pt idx="1390">
                  <c:v>5.0476955555260723</c:v>
                </c:pt>
                <c:pt idx="1391">
                  <c:v>4.8976018669312307</c:v>
                </c:pt>
                <c:pt idx="1392">
                  <c:v>5.1779858978338682</c:v>
                </c:pt>
                <c:pt idx="1393">
                  <c:v>4.9290939816535992</c:v>
                </c:pt>
                <c:pt idx="1394">
                  <c:v>5.0001841419889406</c:v>
                </c:pt>
                <c:pt idx="1395">
                  <c:v>5.0807904249191616</c:v>
                </c:pt>
                <c:pt idx="1396">
                  <c:v>5.1799587623890373</c:v>
                </c:pt>
                <c:pt idx="1397">
                  <c:v>5.9796873852068009</c:v>
                </c:pt>
                <c:pt idx="1398">
                  <c:v>5.9691198156768799</c:v>
                </c:pt>
                <c:pt idx="1399">
                  <c:v>5.0123888640240617</c:v>
                </c:pt>
                <c:pt idx="1400">
                  <c:v>6.1133864167127872</c:v>
                </c:pt>
                <c:pt idx="1401">
                  <c:v>5.1436884479239211</c:v>
                </c:pt>
                <c:pt idx="1402">
                  <c:v>4.9410037378272014</c:v>
                </c:pt>
                <c:pt idx="1403">
                  <c:v>4.9295508033281932</c:v>
                </c:pt>
                <c:pt idx="1404">
                  <c:v>5.1554477348669465</c:v>
                </c:pt>
                <c:pt idx="1405">
                  <c:v>4.9977165106870194</c:v>
                </c:pt>
                <c:pt idx="1406">
                  <c:v>4.9719489191025446</c:v>
                </c:pt>
                <c:pt idx="1407">
                  <c:v>4.928060510215035</c:v>
                </c:pt>
                <c:pt idx="1408">
                  <c:v>5.9093728722460446</c:v>
                </c:pt>
                <c:pt idx="1409">
                  <c:v>5.9068608806681473</c:v>
                </c:pt>
                <c:pt idx="1410">
                  <c:v>4.9614862669910256</c:v>
                </c:pt>
                <c:pt idx="1411">
                  <c:v>5.1034139978938091</c:v>
                </c:pt>
                <c:pt idx="1412">
                  <c:v>4.8336695059631474</c:v>
                </c:pt>
                <c:pt idx="1413">
                  <c:v>6.0544046773089972</c:v>
                </c:pt>
                <c:pt idx="1414">
                  <c:v>4.9103532390083018</c:v>
                </c:pt>
                <c:pt idx="1415">
                  <c:v>5.9873769656755185</c:v>
                </c:pt>
                <c:pt idx="1416">
                  <c:v>6.0413923748262501</c:v>
                </c:pt>
                <c:pt idx="1417">
                  <c:v>5.050596756365838</c:v>
                </c:pt>
                <c:pt idx="1418">
                  <c:v>6.0091084948240203</c:v>
                </c:pt>
                <c:pt idx="1419">
                  <c:v>5.0636938607266098</c:v>
                </c:pt>
                <c:pt idx="1420">
                  <c:v>4.76490557917404</c:v>
                </c:pt>
                <c:pt idx="1421">
                  <c:v>6.0031929132650177</c:v>
                </c:pt>
                <c:pt idx="1422">
                  <c:v>6.2309384834672752</c:v>
                </c:pt>
                <c:pt idx="1423">
                  <c:v>5.9340190164528055</c:v>
                </c:pt>
                <c:pt idx="1424">
                  <c:v>5.0061494600984418</c:v>
                </c:pt>
                <c:pt idx="1425">
                  <c:v>4.0866424694728192</c:v>
                </c:pt>
                <c:pt idx="1426">
                  <c:v>5.0794036309425659</c:v>
                </c:pt>
                <c:pt idx="1427">
                  <c:v>6.2221107199630348</c:v>
                </c:pt>
                <c:pt idx="1428">
                  <c:v>5.1006731088775634</c:v>
                </c:pt>
                <c:pt idx="1429">
                  <c:v>3.9671980336702366</c:v>
                </c:pt>
                <c:pt idx="1430">
                  <c:v>4.960111809379419</c:v>
                </c:pt>
                <c:pt idx="1431">
                  <c:v>4.9946245141371062</c:v>
                </c:pt>
                <c:pt idx="1432">
                  <c:v>6.0081300559175848</c:v>
                </c:pt>
                <c:pt idx="1433">
                  <c:v>5.1077217826048074</c:v>
                </c:pt>
                <c:pt idx="1434">
                  <c:v>4.7857215788933356</c:v>
                </c:pt>
                <c:pt idx="1435">
                  <c:v>4.0185837209383299</c:v>
                </c:pt>
                <c:pt idx="1436">
                  <c:v>5.803840817283505</c:v>
                </c:pt>
                <c:pt idx="1437">
                  <c:v>5.0768424395758398</c:v>
                </c:pt>
                <c:pt idx="1438">
                  <c:v>5.942387681661125</c:v>
                </c:pt>
                <c:pt idx="1439">
                  <c:v>4.9306598793130565</c:v>
                </c:pt>
                <c:pt idx="1440">
                  <c:v>5.0609695230528962</c:v>
                </c:pt>
                <c:pt idx="1441">
                  <c:v>4.8264570712997896</c:v>
                </c:pt>
                <c:pt idx="1442">
                  <c:v>6.013104687216928</c:v>
                </c:pt>
                <c:pt idx="1443">
                  <c:v>4.8261587874841521</c:v>
                </c:pt>
                <c:pt idx="1444">
                  <c:v>5.0748590455741267</c:v>
                </c:pt>
                <c:pt idx="1445">
                  <c:v>5.9105886004566166</c:v>
                </c:pt>
                <c:pt idx="1446">
                  <c:v>5.127280408851802</c:v>
                </c:pt>
                <c:pt idx="1447">
                  <c:v>5.1667941397074184</c:v>
                </c:pt>
                <c:pt idx="1448">
                  <c:v>6.0001812221193971</c:v>
                </c:pt>
                <c:pt idx="1449">
                  <c:v>5.0951106336919114</c:v>
                </c:pt>
                <c:pt idx="1450">
                  <c:v>5.0912139543028703</c:v>
                </c:pt>
                <c:pt idx="1451">
                  <c:v>6.0587822331602652</c:v>
                </c:pt>
                <c:pt idx="1452">
                  <c:v>3.0125944993891767</c:v>
                </c:pt>
                <c:pt idx="1453">
                  <c:v>4.957947351554056</c:v>
                </c:pt>
                <c:pt idx="1454">
                  <c:v>5.8034542487009251</c:v>
                </c:pt>
                <c:pt idx="1455">
                  <c:v>6.1094647571735221</c:v>
                </c:pt>
                <c:pt idx="1456">
                  <c:v>6.0049705405221889</c:v>
                </c:pt>
                <c:pt idx="1457">
                  <c:v>4.2234822839722597</c:v>
                </c:pt>
                <c:pt idx="1458">
                  <c:v>5.9360942756479274</c:v>
                </c:pt>
                <c:pt idx="1459">
                  <c:v>3.9256748416193856</c:v>
                </c:pt>
                <c:pt idx="1460">
                  <c:v>7.0754724328139691</c:v>
                </c:pt>
                <c:pt idx="1461">
                  <c:v>4.2068758414270819</c:v>
                </c:pt>
                <c:pt idx="1462">
                  <c:v>3.8464166921739213</c:v>
                </c:pt>
                <c:pt idx="1463">
                  <c:v>5.9589041719070011</c:v>
                </c:pt>
                <c:pt idx="1464">
                  <c:v>6.1208132326889269</c:v>
                </c:pt>
                <c:pt idx="1465">
                  <c:v>5.8886609250135384</c:v>
                </c:pt>
                <c:pt idx="1466">
                  <c:v>5.0460561376856106</c:v>
                </c:pt>
                <c:pt idx="1467">
                  <c:v>4.8198742997931969</c:v>
                </c:pt>
                <c:pt idx="1468">
                  <c:v>4.9295587074474696</c:v>
                </c:pt>
                <c:pt idx="1469">
                  <c:v>5.0062397146295501</c:v>
                </c:pt>
                <c:pt idx="1470">
                  <c:v>4.9377848731278249</c:v>
                </c:pt>
                <c:pt idx="1471">
                  <c:v>6.166417736570815</c:v>
                </c:pt>
                <c:pt idx="1472">
                  <c:v>5.9681733384796232</c:v>
                </c:pt>
                <c:pt idx="1473">
                  <c:v>6.2288233801681869</c:v>
                </c:pt>
                <c:pt idx="1474">
                  <c:v>5.0018259817421304</c:v>
                </c:pt>
                <c:pt idx="1475">
                  <c:v>4.8655432909700629</c:v>
                </c:pt>
                <c:pt idx="1476">
                  <c:v>6.0851694506913061</c:v>
                </c:pt>
                <c:pt idx="1477">
                  <c:v>5.937423178829663</c:v>
                </c:pt>
                <c:pt idx="1478">
                  <c:v>6.1474050634347366</c:v>
                </c:pt>
                <c:pt idx="1479">
                  <c:v>5.0689121840075853</c:v>
                </c:pt>
                <c:pt idx="1480">
                  <c:v>6.0565132522056944</c:v>
                </c:pt>
                <c:pt idx="1481">
                  <c:v>5.0811605290360795</c:v>
                </c:pt>
                <c:pt idx="1482">
                  <c:v>6.1170220653615548</c:v>
                </c:pt>
                <c:pt idx="1483">
                  <c:v>5.9547202219675244</c:v>
                </c:pt>
                <c:pt idx="1484">
                  <c:v>5.9967052923574222</c:v>
                </c:pt>
                <c:pt idx="1485">
                  <c:v>5.867229812440141</c:v>
                </c:pt>
                <c:pt idx="1486">
                  <c:v>5.0047521938986765</c:v>
                </c:pt>
                <c:pt idx="1487">
                  <c:v>5.0873052644601984</c:v>
                </c:pt>
                <c:pt idx="1488">
                  <c:v>6.824897125124723</c:v>
                </c:pt>
                <c:pt idx="1489">
                  <c:v>5.8697049294707702</c:v>
                </c:pt>
                <c:pt idx="1490">
                  <c:v>5.0449656711705382</c:v>
                </c:pt>
                <c:pt idx="1491">
                  <c:v>6.0023947426902664</c:v>
                </c:pt>
                <c:pt idx="1492">
                  <c:v>4.9595013318108974</c:v>
                </c:pt>
                <c:pt idx="1493">
                  <c:v>6.9822484941734739</c:v>
                </c:pt>
                <c:pt idx="1494">
                  <c:v>6.0416476113902942</c:v>
                </c:pt>
                <c:pt idx="1495">
                  <c:v>6.0408243042656284</c:v>
                </c:pt>
                <c:pt idx="1496">
                  <c:v>5.0231741696928225</c:v>
                </c:pt>
                <c:pt idx="1497">
                  <c:v>7.0111092441233875</c:v>
                </c:pt>
                <c:pt idx="1498">
                  <c:v>5.1850180564593389</c:v>
                </c:pt>
                <c:pt idx="1499">
                  <c:v>4.9447529385054105</c:v>
                </c:pt>
                <c:pt idx="1500">
                  <c:v>4.9491127328295796</c:v>
                </c:pt>
                <c:pt idx="1501">
                  <c:v>4.9171128588765258</c:v>
                </c:pt>
                <c:pt idx="1502">
                  <c:v>4.9570236729721371</c:v>
                </c:pt>
                <c:pt idx="1503">
                  <c:v>6.0348319279866391</c:v>
                </c:pt>
                <c:pt idx="1504">
                  <c:v>6.132555238612408</c:v>
                </c:pt>
                <c:pt idx="1505">
                  <c:v>4.0916030770846445</c:v>
                </c:pt>
                <c:pt idx="1506">
                  <c:v>5.8985141638030365</c:v>
                </c:pt>
                <c:pt idx="1507">
                  <c:v>4.9198960450744851</c:v>
                </c:pt>
                <c:pt idx="1508">
                  <c:v>3.9897154610321497</c:v>
                </c:pt>
                <c:pt idx="1509">
                  <c:v>5.1214094591127628</c:v>
                </c:pt>
                <c:pt idx="1510">
                  <c:v>4.9853155500174013</c:v>
                </c:pt>
                <c:pt idx="1511">
                  <c:v>5.845340387382949</c:v>
                </c:pt>
                <c:pt idx="1512">
                  <c:v>5.9613120285002772</c:v>
                </c:pt>
                <c:pt idx="1513">
                  <c:v>5.9976844460363532</c:v>
                </c:pt>
                <c:pt idx="1514">
                  <c:v>5.8490509193759559</c:v>
                </c:pt>
                <c:pt idx="1515">
                  <c:v>5.8668597343559705</c:v>
                </c:pt>
                <c:pt idx="1516">
                  <c:v>5.9962755347430585</c:v>
                </c:pt>
                <c:pt idx="1517">
                  <c:v>5.8398314730361607</c:v>
                </c:pt>
                <c:pt idx="1518">
                  <c:v>4.8924849355596374</c:v>
                </c:pt>
                <c:pt idx="1519">
                  <c:v>3.80005061718412</c:v>
                </c:pt>
                <c:pt idx="1520">
                  <c:v>6.1082069735763804</c:v>
                </c:pt>
                <c:pt idx="1521">
                  <c:v>6.0095975437153797</c:v>
                </c:pt>
                <c:pt idx="1522">
                  <c:v>6.050015229774159</c:v>
                </c:pt>
                <c:pt idx="1523">
                  <c:v>5.9789608443947246</c:v>
                </c:pt>
                <c:pt idx="1524">
                  <c:v>5.0810875706787408</c:v>
                </c:pt>
                <c:pt idx="1525">
                  <c:v>6.0089238318436884</c:v>
                </c:pt>
                <c:pt idx="1526">
                  <c:v>4.9589766269081865</c:v>
                </c:pt>
                <c:pt idx="1527">
                  <c:v>5.9611178247271734</c:v>
                </c:pt>
                <c:pt idx="1528">
                  <c:v>5.0825362569435022</c:v>
                </c:pt>
                <c:pt idx="1529">
                  <c:v>5.0827426836464635</c:v>
                </c:pt>
                <c:pt idx="1530">
                  <c:v>5.1003037719494486</c:v>
                </c:pt>
                <c:pt idx="1531">
                  <c:v>6.0279643208098097</c:v>
                </c:pt>
                <c:pt idx="1532">
                  <c:v>4.9839882418753607</c:v>
                </c:pt>
                <c:pt idx="1533">
                  <c:v>5.0493054115778877</c:v>
                </c:pt>
                <c:pt idx="1534">
                  <c:v>4.9861222900984492</c:v>
                </c:pt>
                <c:pt idx="1535">
                  <c:v>4.9357568475741074</c:v>
                </c:pt>
                <c:pt idx="1536">
                  <c:v>6.0461429726130911</c:v>
                </c:pt>
                <c:pt idx="1537">
                  <c:v>5.9494815782719543</c:v>
                </c:pt>
                <c:pt idx="1538">
                  <c:v>6.0038469414858948</c:v>
                </c:pt>
                <c:pt idx="1539">
                  <c:v>6.9367057866765238</c:v>
                </c:pt>
                <c:pt idx="1540">
                  <c:v>4.9301986046023707</c:v>
                </c:pt>
                <c:pt idx="1541">
                  <c:v>6.0208611233070659</c:v>
                </c:pt>
                <c:pt idx="1542">
                  <c:v>4.9680537468823802</c:v>
                </c:pt>
                <c:pt idx="1543">
                  <c:v>4.9586338018187623</c:v>
                </c:pt>
                <c:pt idx="1544">
                  <c:v>5.9662026325308553</c:v>
                </c:pt>
                <c:pt idx="1545">
                  <c:v>5.0892076914677906</c:v>
                </c:pt>
                <c:pt idx="1546">
                  <c:v>5.9781483995940707</c:v>
                </c:pt>
                <c:pt idx="1547">
                  <c:v>4.9893715651338493</c:v>
                </c:pt>
                <c:pt idx="1548">
                  <c:v>4.842799659739053</c:v>
                </c:pt>
                <c:pt idx="1549">
                  <c:v>4.9734519425762747</c:v>
                </c:pt>
                <c:pt idx="1550">
                  <c:v>5.020292087287717</c:v>
                </c:pt>
                <c:pt idx="1551">
                  <c:v>6.0068706048375207</c:v>
                </c:pt>
                <c:pt idx="1552">
                  <c:v>6.0718880310546481</c:v>
                </c:pt>
                <c:pt idx="1553">
                  <c:v>5.998508225613949</c:v>
                </c:pt>
                <c:pt idx="1554">
                  <c:v>6.0716885945889638</c:v>
                </c:pt>
                <c:pt idx="1555">
                  <c:v>5.0859131990079707</c:v>
                </c:pt>
                <c:pt idx="1556">
                  <c:v>4.9464327856672323</c:v>
                </c:pt>
                <c:pt idx="1557">
                  <c:v>5.8791336148930418</c:v>
                </c:pt>
                <c:pt idx="1558">
                  <c:v>5.1766695391056103</c:v>
                </c:pt>
                <c:pt idx="1559">
                  <c:v>4.8618784390254053</c:v>
                </c:pt>
                <c:pt idx="1560">
                  <c:v>5.0449327600918412</c:v>
                </c:pt>
                <c:pt idx="1561">
                  <c:v>4.9111122226586978</c:v>
                </c:pt>
                <c:pt idx="1562">
                  <c:v>4.8186737710605234</c:v>
                </c:pt>
                <c:pt idx="1563">
                  <c:v>6.9457952130843079</c:v>
                </c:pt>
                <c:pt idx="1564">
                  <c:v>4.9709100423699129</c:v>
                </c:pt>
                <c:pt idx="1565">
                  <c:v>5.9577685815713579</c:v>
                </c:pt>
                <c:pt idx="1566">
                  <c:v>4.934277153790779</c:v>
                </c:pt>
                <c:pt idx="1567">
                  <c:v>5.9040487725448729</c:v>
                </c:pt>
                <c:pt idx="1568">
                  <c:v>5.8285529105939844</c:v>
                </c:pt>
                <c:pt idx="1569">
                  <c:v>4.9837375453025823</c:v>
                </c:pt>
                <c:pt idx="1570">
                  <c:v>4.9242642634943348</c:v>
                </c:pt>
                <c:pt idx="1571">
                  <c:v>4.9688893393770837</c:v>
                </c:pt>
                <c:pt idx="1572">
                  <c:v>6.032121785399104</c:v>
                </c:pt>
                <c:pt idx="1573">
                  <c:v>5.0155669475592015</c:v>
                </c:pt>
                <c:pt idx="1574">
                  <c:v>4.8680456786225319</c:v>
                </c:pt>
                <c:pt idx="1575">
                  <c:v>5.0530441721977386</c:v>
                </c:pt>
                <c:pt idx="1576">
                  <c:v>5.0849779806945614</c:v>
                </c:pt>
                <c:pt idx="1577">
                  <c:v>6.1540344951898067</c:v>
                </c:pt>
                <c:pt idx="1578">
                  <c:v>4.7086337071285058</c:v>
                </c:pt>
                <c:pt idx="1579">
                  <c:v>4.814989713853139</c:v>
                </c:pt>
                <c:pt idx="1580">
                  <c:v>4.9764006832320486</c:v>
                </c:pt>
                <c:pt idx="1581">
                  <c:v>6.9741159047159256</c:v>
                </c:pt>
                <c:pt idx="1582">
                  <c:v>5.0064865789554736</c:v>
                </c:pt>
                <c:pt idx="1583">
                  <c:v>5.0645121141125049</c:v>
                </c:pt>
                <c:pt idx="1584">
                  <c:v>5.8480751106768398</c:v>
                </c:pt>
                <c:pt idx="1585">
                  <c:v>4.9174315224445513</c:v>
                </c:pt>
                <c:pt idx="1586">
                  <c:v>5.1358141486388256</c:v>
                </c:pt>
                <c:pt idx="1587">
                  <c:v>6.0550148369395904</c:v>
                </c:pt>
                <c:pt idx="1588">
                  <c:v>6.0388756549651772</c:v>
                </c:pt>
                <c:pt idx="1589">
                  <c:v>5.9456037897608294</c:v>
                </c:pt>
                <c:pt idx="1590">
                  <c:v>4.8876612059468556</c:v>
                </c:pt>
                <c:pt idx="1591">
                  <c:v>4.9302834662293611</c:v>
                </c:pt>
                <c:pt idx="1592">
                  <c:v>5.1248780853269942</c:v>
                </c:pt>
                <c:pt idx="1593">
                  <c:v>4.9889656192643015</c:v>
                </c:pt>
                <c:pt idx="1594">
                  <c:v>6.0423308486376932</c:v>
                </c:pt>
                <c:pt idx="1595">
                  <c:v>5.1482429645527796</c:v>
                </c:pt>
                <c:pt idx="1596">
                  <c:v>6.0698520783869965</c:v>
                </c:pt>
                <c:pt idx="1597">
                  <c:v>6.0198787373307292</c:v>
                </c:pt>
                <c:pt idx="1598">
                  <c:v>5.0239392257237467</c:v>
                </c:pt>
                <c:pt idx="1599">
                  <c:v>6.8994519357586439</c:v>
                </c:pt>
                <c:pt idx="1600">
                  <c:v>5.9426898908134733</c:v>
                </c:pt>
                <c:pt idx="1601">
                  <c:v>4.9512737368493571</c:v>
                </c:pt>
                <c:pt idx="1602">
                  <c:v>5.016811751011204</c:v>
                </c:pt>
                <c:pt idx="1603">
                  <c:v>6.0769687858037562</c:v>
                </c:pt>
                <c:pt idx="1604">
                  <c:v>5.02756902148887</c:v>
                </c:pt>
                <c:pt idx="1605">
                  <c:v>6.0794510723030273</c:v>
                </c:pt>
                <c:pt idx="1606">
                  <c:v>4.8138925518741527</c:v>
                </c:pt>
                <c:pt idx="1607">
                  <c:v>6.097146003314041</c:v>
                </c:pt>
                <c:pt idx="1608">
                  <c:v>6.1640262583258547</c:v>
                </c:pt>
                <c:pt idx="1609">
                  <c:v>5.1013682409547076</c:v>
                </c:pt>
                <c:pt idx="1610">
                  <c:v>5.8740073363986181</c:v>
                </c:pt>
                <c:pt idx="1611">
                  <c:v>5.9468040461806471</c:v>
                </c:pt>
                <c:pt idx="1612">
                  <c:v>6.0935087929108755</c:v>
                </c:pt>
                <c:pt idx="1613">
                  <c:v>5.8299598981463721</c:v>
                </c:pt>
                <c:pt idx="1614">
                  <c:v>6.0754805607255946</c:v>
                </c:pt>
                <c:pt idx="1615">
                  <c:v>5.8292385078480349</c:v>
                </c:pt>
                <c:pt idx="1616">
                  <c:v>6.0644635907741922</c:v>
                </c:pt>
                <c:pt idx="1617">
                  <c:v>6.0222869053474186</c:v>
                </c:pt>
                <c:pt idx="1618">
                  <c:v>5.0072494557642573</c:v>
                </c:pt>
                <c:pt idx="1619">
                  <c:v>6.0446459550889147</c:v>
                </c:pt>
                <c:pt idx="1620">
                  <c:v>5.9832665587517972</c:v>
                </c:pt>
                <c:pt idx="1621">
                  <c:v>5.0484286958392097</c:v>
                </c:pt>
                <c:pt idx="1622">
                  <c:v>4.8636805950710738</c:v>
                </c:pt>
                <c:pt idx="1623">
                  <c:v>6.1621290160024627</c:v>
                </c:pt>
                <c:pt idx="1624">
                  <c:v>4.9402358825573875</c:v>
                </c:pt>
                <c:pt idx="1625">
                  <c:v>5.7991090339238625</c:v>
                </c:pt>
                <c:pt idx="1626">
                  <c:v>5.7918254713655486</c:v>
                </c:pt>
                <c:pt idx="1627">
                  <c:v>5.9632265721059179</c:v>
                </c:pt>
                <c:pt idx="1628">
                  <c:v>4.8876202473119834</c:v>
                </c:pt>
                <c:pt idx="1629">
                  <c:v>6.1437152396836439</c:v>
                </c:pt>
                <c:pt idx="1630">
                  <c:v>6.1221903983915524</c:v>
                </c:pt>
                <c:pt idx="1631">
                  <c:v>4.9624739134349811</c:v>
                </c:pt>
                <c:pt idx="1632">
                  <c:v>4.9683110444877849</c:v>
                </c:pt>
                <c:pt idx="1633">
                  <c:v>5.2480588608432202</c:v>
                </c:pt>
                <c:pt idx="1634">
                  <c:v>4.74735852812295</c:v>
                </c:pt>
                <c:pt idx="1635">
                  <c:v>7.1588568522628044</c:v>
                </c:pt>
                <c:pt idx="1636">
                  <c:v>5.0122034919857708</c:v>
                </c:pt>
                <c:pt idx="1637">
                  <c:v>4.8858732119302015</c:v>
                </c:pt>
                <c:pt idx="1638">
                  <c:v>5.0445430634380815</c:v>
                </c:pt>
                <c:pt idx="1639">
                  <c:v>4.8368747116876625</c:v>
                </c:pt>
                <c:pt idx="1640">
                  <c:v>4.9130102368451931</c:v>
                </c:pt>
                <c:pt idx="1641">
                  <c:v>4.0568087796770982</c:v>
                </c:pt>
                <c:pt idx="1642">
                  <c:v>4.0717940008802334</c:v>
                </c:pt>
                <c:pt idx="1643">
                  <c:v>4.8460173896114078</c:v>
                </c:pt>
                <c:pt idx="1644">
                  <c:v>3.9652083442792754</c:v>
                </c:pt>
                <c:pt idx="1645">
                  <c:v>4.8560107311468821</c:v>
                </c:pt>
                <c:pt idx="1646">
                  <c:v>4.9902981786801428</c:v>
                </c:pt>
                <c:pt idx="1647">
                  <c:v>5.0519511087515392</c:v>
                </c:pt>
                <c:pt idx="1648">
                  <c:v>5.9849069029894393</c:v>
                </c:pt>
                <c:pt idx="1649">
                  <c:v>4.9805979476424724</c:v>
                </c:pt>
                <c:pt idx="1650">
                  <c:v>4.9518561966153616</c:v>
                </c:pt>
                <c:pt idx="1651">
                  <c:v>6.1268435304747006</c:v>
                </c:pt>
                <c:pt idx="1652">
                  <c:v>5.9277779476882824</c:v>
                </c:pt>
                <c:pt idx="1653">
                  <c:v>6.0044324793110224</c:v>
                </c:pt>
                <c:pt idx="1654">
                  <c:v>4.9794921156654501</c:v>
                </c:pt>
                <c:pt idx="1655">
                  <c:v>5.8965083023047935</c:v>
                </c:pt>
                <c:pt idx="1656">
                  <c:v>6.1129733354065028</c:v>
                </c:pt>
                <c:pt idx="1657">
                  <c:v>6.0824156767470159</c:v>
                </c:pt>
                <c:pt idx="1658">
                  <c:v>6.0056174527730937</c:v>
                </c:pt>
                <c:pt idx="1659">
                  <c:v>5.9551203512054007</c:v>
                </c:pt>
                <c:pt idx="1660">
                  <c:v>5.0800268402610413</c:v>
                </c:pt>
                <c:pt idx="1661">
                  <c:v>6.0953871116214504</c:v>
                </c:pt>
                <c:pt idx="1662">
                  <c:v>5.9780243316345674</c:v>
                </c:pt>
                <c:pt idx="1663">
                  <c:v>5.9467183379880728</c:v>
                </c:pt>
                <c:pt idx="1664">
                  <c:v>5.8480393291786585</c:v>
                </c:pt>
                <c:pt idx="1665">
                  <c:v>4.946190586525085</c:v>
                </c:pt>
                <c:pt idx="1666">
                  <c:v>5.1425426393122367</c:v>
                </c:pt>
                <c:pt idx="1667">
                  <c:v>5.0231568680827436</c:v>
                </c:pt>
                <c:pt idx="1668">
                  <c:v>5.1124419254701312</c:v>
                </c:pt>
                <c:pt idx="1669">
                  <c:v>5.9345883324534938</c:v>
                </c:pt>
                <c:pt idx="1670">
                  <c:v>4.9552258568370311</c:v>
                </c:pt>
                <c:pt idx="1671">
                  <c:v>5.8927047473224166</c:v>
                </c:pt>
                <c:pt idx="1672">
                  <c:v>5.1849156909881531</c:v>
                </c:pt>
                <c:pt idx="1673">
                  <c:v>4.9808950406419763</c:v>
                </c:pt>
                <c:pt idx="1674">
                  <c:v>5.989677831311548</c:v>
                </c:pt>
                <c:pt idx="1675">
                  <c:v>5.9834037971231284</c:v>
                </c:pt>
                <c:pt idx="1676">
                  <c:v>5.8324936232081148</c:v>
                </c:pt>
                <c:pt idx="1677">
                  <c:v>6.116095836878543</c:v>
                </c:pt>
                <c:pt idx="1678">
                  <c:v>5.0078871522200297</c:v>
                </c:pt>
                <c:pt idx="1679">
                  <c:v>4.8590788787663</c:v>
                </c:pt>
                <c:pt idx="1680">
                  <c:v>6.2000239635277765</c:v>
                </c:pt>
                <c:pt idx="1681">
                  <c:v>5.1116560927838535</c:v>
                </c:pt>
                <c:pt idx="1682">
                  <c:v>6.0350862199330519</c:v>
                </c:pt>
                <c:pt idx="1683">
                  <c:v>4.9431397368560051</c:v>
                </c:pt>
                <c:pt idx="1684">
                  <c:v>6.0529166820082789</c:v>
                </c:pt>
                <c:pt idx="1685">
                  <c:v>5.937878870251426</c:v>
                </c:pt>
                <c:pt idx="1686">
                  <c:v>5.9030984466826073</c:v>
                </c:pt>
                <c:pt idx="1687">
                  <c:v>5.9663760687832061</c:v>
                </c:pt>
                <c:pt idx="1688">
                  <c:v>4.9958593621578995</c:v>
                </c:pt>
                <c:pt idx="1689">
                  <c:v>5.956308523364144</c:v>
                </c:pt>
                <c:pt idx="1690">
                  <c:v>5.2379020443299034</c:v>
                </c:pt>
                <c:pt idx="1691">
                  <c:v>4.9019466371206377</c:v>
                </c:pt>
                <c:pt idx="1692">
                  <c:v>6.0422790651991205</c:v>
                </c:pt>
                <c:pt idx="1693">
                  <c:v>7.0536372004064978</c:v>
                </c:pt>
                <c:pt idx="1694">
                  <c:v>5.1463293766966212</c:v>
                </c:pt>
                <c:pt idx="1695">
                  <c:v>4.9174754394265676</c:v>
                </c:pt>
                <c:pt idx="1696">
                  <c:v>5.1675038119243979</c:v>
                </c:pt>
                <c:pt idx="1697">
                  <c:v>6.142760437741388</c:v>
                </c:pt>
                <c:pt idx="1698">
                  <c:v>5.003157606942624</c:v>
                </c:pt>
                <c:pt idx="1699">
                  <c:v>4.7997180646578732</c:v>
                </c:pt>
                <c:pt idx="1700">
                  <c:v>7.010775156421472</c:v>
                </c:pt>
                <c:pt idx="1701">
                  <c:v>6.0642888112883773</c:v>
                </c:pt>
                <c:pt idx="1702">
                  <c:v>5.8794314586448877</c:v>
                </c:pt>
                <c:pt idx="1703">
                  <c:v>6.1073940019664716</c:v>
                </c:pt>
                <c:pt idx="1704">
                  <c:v>6.1173287459887611</c:v>
                </c:pt>
                <c:pt idx="1705">
                  <c:v>4.8421319744324975</c:v>
                </c:pt>
                <c:pt idx="1706">
                  <c:v>4.9481736878241378</c:v>
                </c:pt>
                <c:pt idx="1707">
                  <c:v>5.9997440973033127</c:v>
                </c:pt>
                <c:pt idx="1708">
                  <c:v>5.9998158504125998</c:v>
                </c:pt>
                <c:pt idx="1709">
                  <c:v>5.8872233950937289</c:v>
                </c:pt>
                <c:pt idx="1710">
                  <c:v>5.0577872971097904</c:v>
                </c:pt>
                <c:pt idx="1711">
                  <c:v>6.0402280299672482</c:v>
                </c:pt>
                <c:pt idx="1712">
                  <c:v>5.0369402998500341</c:v>
                </c:pt>
                <c:pt idx="1713">
                  <c:v>6.0687542663535732</c:v>
                </c:pt>
                <c:pt idx="1714">
                  <c:v>5.1074470609559572</c:v>
                </c:pt>
                <c:pt idx="1715">
                  <c:v>4.9591039636061085</c:v>
                </c:pt>
                <c:pt idx="1716">
                  <c:v>4.9589175018003067</c:v>
                </c:pt>
                <c:pt idx="1717">
                  <c:v>6.0324211720092968</c:v>
                </c:pt>
                <c:pt idx="1718">
                  <c:v>4.9557464030816485</c:v>
                </c:pt>
                <c:pt idx="1719">
                  <c:v>5.0073470099336355</c:v>
                </c:pt>
                <c:pt idx="1720">
                  <c:v>4.9585231271684975</c:v>
                </c:pt>
                <c:pt idx="1721">
                  <c:v>4.9536980162583486</c:v>
                </c:pt>
                <c:pt idx="1722">
                  <c:v>5.0104799381652452</c:v>
                </c:pt>
                <c:pt idx="1723">
                  <c:v>4.9535526185937231</c:v>
                </c:pt>
                <c:pt idx="1724">
                  <c:v>5.8030444491984543</c:v>
                </c:pt>
                <c:pt idx="1725">
                  <c:v>8.0813146389412704</c:v>
                </c:pt>
                <c:pt idx="1726">
                  <c:v>6.0318079781479916</c:v>
                </c:pt>
                <c:pt idx="1727">
                  <c:v>6.0818817929035802</c:v>
                </c:pt>
                <c:pt idx="1728">
                  <c:v>5.0428860601789696</c:v>
                </c:pt>
                <c:pt idx="1729">
                  <c:v>6.0640122191981476</c:v>
                </c:pt>
                <c:pt idx="1730">
                  <c:v>4.8299553514755331</c:v>
                </c:pt>
                <c:pt idx="1731">
                  <c:v>4.8820492691416222</c:v>
                </c:pt>
                <c:pt idx="1732">
                  <c:v>6.0178369732750516</c:v>
                </c:pt>
                <c:pt idx="1733">
                  <c:v>6.0749891336618438</c:v>
                </c:pt>
                <c:pt idx="1734">
                  <c:v>5.0981179937987813</c:v>
                </c:pt>
                <c:pt idx="1735">
                  <c:v>6.0193022339934394</c:v>
                </c:pt>
                <c:pt idx="1736">
                  <c:v>5.9783379240996233</c:v>
                </c:pt>
                <c:pt idx="1737">
                  <c:v>4.9935769857790069</c:v>
                </c:pt>
                <c:pt idx="1738">
                  <c:v>6.0173771631129753</c:v>
                </c:pt>
                <c:pt idx="1739">
                  <c:v>5.9564139151139628</c:v>
                </c:pt>
                <c:pt idx="1740">
                  <c:v>6.0186644143235517</c:v>
                </c:pt>
                <c:pt idx="1741">
                  <c:v>6.0841275744077707</c:v>
                </c:pt>
                <c:pt idx="1742">
                  <c:v>4.939363854198823</c:v>
                </c:pt>
                <c:pt idx="1743">
                  <c:v>5.0209056256243576</c:v>
                </c:pt>
                <c:pt idx="1744">
                  <c:v>5.0896914770945445</c:v>
                </c:pt>
                <c:pt idx="1745">
                  <c:v>4.8843353109940315</c:v>
                </c:pt>
                <c:pt idx="1746">
                  <c:v>5.8573581035146836</c:v>
                </c:pt>
                <c:pt idx="1747">
                  <c:v>5.1464830439188232</c:v>
                </c:pt>
                <c:pt idx="1748">
                  <c:v>4.9875841425473002</c:v>
                </c:pt>
                <c:pt idx="1749">
                  <c:v>5.137286263988261</c:v>
                </c:pt>
                <c:pt idx="1750">
                  <c:v>4.9382685892016598</c:v>
                </c:pt>
                <c:pt idx="1751">
                  <c:v>5.0948724969759258</c:v>
                </c:pt>
                <c:pt idx="1752">
                  <c:v>4.95963643336645</c:v>
                </c:pt>
                <c:pt idx="1753">
                  <c:v>6.1155271975919199</c:v>
                </c:pt>
                <c:pt idx="1754">
                  <c:v>6.1934810136891558</c:v>
                </c:pt>
                <c:pt idx="1755">
                  <c:v>5.9722855793114773</c:v>
                </c:pt>
                <c:pt idx="1756">
                  <c:v>5.0330797874487541</c:v>
                </c:pt>
                <c:pt idx="1757">
                  <c:v>5.8649112305885911</c:v>
                </c:pt>
                <c:pt idx="1758">
                  <c:v>5.0288746708351661</c:v>
                </c:pt>
                <c:pt idx="1759">
                  <c:v>5.0759050376335875</c:v>
                </c:pt>
                <c:pt idx="1760">
                  <c:v>6.1808745233986278</c:v>
                </c:pt>
                <c:pt idx="1761">
                  <c:v>5.0849757094733441</c:v>
                </c:pt>
                <c:pt idx="1762">
                  <c:v>5.9705043357779886</c:v>
                </c:pt>
                <c:pt idx="1763">
                  <c:v>6.9432394029726252</c:v>
                </c:pt>
                <c:pt idx="1764">
                  <c:v>5.1736793779655557</c:v>
                </c:pt>
                <c:pt idx="1765">
                  <c:v>6.0415193177578388</c:v>
                </c:pt>
                <c:pt idx="1766">
                  <c:v>4.9525124879857083</c:v>
                </c:pt>
                <c:pt idx="1767">
                  <c:v>6.0577004633358085</c:v>
                </c:pt>
                <c:pt idx="1768">
                  <c:v>5.9480296879828245</c:v>
                </c:pt>
                <c:pt idx="1769">
                  <c:v>7.1208564105923857</c:v>
                </c:pt>
                <c:pt idx="1770">
                  <c:v>5.7847013161717866</c:v>
                </c:pt>
                <c:pt idx="1771">
                  <c:v>5.1916110196543119</c:v>
                </c:pt>
                <c:pt idx="1772">
                  <c:v>4.8849252239357535</c:v>
                </c:pt>
                <c:pt idx="1773">
                  <c:v>5.0728877469520119</c:v>
                </c:pt>
                <c:pt idx="1774">
                  <c:v>5.1090630346135741</c:v>
                </c:pt>
                <c:pt idx="1775">
                  <c:v>5.0460749940729777</c:v>
                </c:pt>
                <c:pt idx="1776">
                  <c:v>4.9338329237332026</c:v>
                </c:pt>
                <c:pt idx="1777">
                  <c:v>6.0756324752865707</c:v>
                </c:pt>
                <c:pt idx="1778">
                  <c:v>4.9998709419589282</c:v>
                </c:pt>
                <c:pt idx="1779">
                  <c:v>7.0985852971509864</c:v>
                </c:pt>
                <c:pt idx="1780">
                  <c:v>6.0140461442834425</c:v>
                </c:pt>
                <c:pt idx="1781">
                  <c:v>6.9825589629116482</c:v>
                </c:pt>
                <c:pt idx="1782">
                  <c:v>7.2185148878607013</c:v>
                </c:pt>
                <c:pt idx="1783">
                  <c:v>7.0078224728425278</c:v>
                </c:pt>
                <c:pt idx="1784">
                  <c:v>5.1230315443199412</c:v>
                </c:pt>
                <c:pt idx="1785">
                  <c:v>6.1878968537699546</c:v>
                </c:pt>
                <c:pt idx="1786">
                  <c:v>4.9935645686681669</c:v>
                </c:pt>
                <c:pt idx="1787">
                  <c:v>6.0023284724834332</c:v>
                </c:pt>
                <c:pt idx="1788">
                  <c:v>5.0262893481954203</c:v>
                </c:pt>
                <c:pt idx="1789">
                  <c:v>5.9382634541594994</c:v>
                </c:pt>
                <c:pt idx="1790">
                  <c:v>5.8400088778920471</c:v>
                </c:pt>
                <c:pt idx="1791">
                  <c:v>5.0536722797038207</c:v>
                </c:pt>
                <c:pt idx="1792">
                  <c:v>6.0152948395605774</c:v>
                </c:pt>
                <c:pt idx="1793">
                  <c:v>6.1051945765989455</c:v>
                </c:pt>
                <c:pt idx="1794">
                  <c:v>5.9485971436265626</c:v>
                </c:pt>
                <c:pt idx="1795">
                  <c:v>6.0994079050710681</c:v>
                </c:pt>
                <c:pt idx="1796">
                  <c:v>5.9605744693683071</c:v>
                </c:pt>
                <c:pt idx="1797">
                  <c:v>5.0236891580984402</c:v>
                </c:pt>
                <c:pt idx="1798">
                  <c:v>6.1593456100323625</c:v>
                </c:pt>
                <c:pt idx="1799">
                  <c:v>6.8705454235806798</c:v>
                </c:pt>
                <c:pt idx="1800">
                  <c:v>5.0574122244510091</c:v>
                </c:pt>
                <c:pt idx="1801">
                  <c:v>6.0501801321697926</c:v>
                </c:pt>
                <c:pt idx="1802">
                  <c:v>6.0045373223512968</c:v>
                </c:pt>
                <c:pt idx="1803">
                  <c:v>5.1425369371948211</c:v>
                </c:pt>
                <c:pt idx="1804">
                  <c:v>6.9094969449193639</c:v>
                </c:pt>
                <c:pt idx="1805">
                  <c:v>5.9816075003194928</c:v>
                </c:pt>
                <c:pt idx="1806">
                  <c:v>5.1240520206668814</c:v>
                </c:pt>
                <c:pt idx="1807">
                  <c:v>6.9828091622477046</c:v>
                </c:pt>
                <c:pt idx="1808">
                  <c:v>4.9648246369158358</c:v>
                </c:pt>
                <c:pt idx="1809">
                  <c:v>7.0948237282542603</c:v>
                </c:pt>
                <c:pt idx="1810">
                  <c:v>5.9185876423196371</c:v>
                </c:pt>
                <c:pt idx="1811">
                  <c:v>6.6928135937604365</c:v>
                </c:pt>
                <c:pt idx="1812">
                  <c:v>7.0282815141466841</c:v>
                </c:pt>
                <c:pt idx="1813">
                  <c:v>5.0153821084628545</c:v>
                </c:pt>
                <c:pt idx="1814">
                  <c:v>6.0114208270581546</c:v>
                </c:pt>
                <c:pt idx="1815">
                  <c:v>4.0784058792096687</c:v>
                </c:pt>
                <c:pt idx="1816">
                  <c:v>6.0778495647403474</c:v>
                </c:pt>
                <c:pt idx="1817">
                  <c:v>5.8753582455585649</c:v>
                </c:pt>
                <c:pt idx="1818">
                  <c:v>7.0697175170187849</c:v>
                </c:pt>
                <c:pt idx="1819">
                  <c:v>5.927838985661924</c:v>
                </c:pt>
                <c:pt idx="1820">
                  <c:v>5.7897193056260097</c:v>
                </c:pt>
                <c:pt idx="1821">
                  <c:v>5.063664285905813</c:v>
                </c:pt>
                <c:pt idx="1822">
                  <c:v>6.0337025687798889</c:v>
                </c:pt>
                <c:pt idx="1823">
                  <c:v>6.1096741120324429</c:v>
                </c:pt>
                <c:pt idx="1824">
                  <c:v>6.1021831526157611</c:v>
                </c:pt>
                <c:pt idx="1825">
                  <c:v>5.9030721402528537</c:v>
                </c:pt>
                <c:pt idx="1826">
                  <c:v>9.0264528855788395</c:v>
                </c:pt>
                <c:pt idx="1827">
                  <c:v>4.9722096660373989</c:v>
                </c:pt>
                <c:pt idx="1828">
                  <c:v>4.9955433140996455</c:v>
                </c:pt>
                <c:pt idx="1829">
                  <c:v>4.9052724023850178</c:v>
                </c:pt>
                <c:pt idx="1830">
                  <c:v>4.8319370422073895</c:v>
                </c:pt>
                <c:pt idx="1831">
                  <c:v>3.8452586645193469</c:v>
                </c:pt>
                <c:pt idx="1832">
                  <c:v>4.9736679309340319</c:v>
                </c:pt>
                <c:pt idx="1833">
                  <c:v>5.2016210025587339</c:v>
                </c:pt>
                <c:pt idx="1834">
                  <c:v>5.0365078410291551</c:v>
                </c:pt>
                <c:pt idx="1835">
                  <c:v>6.0234611055650644</c:v>
                </c:pt>
                <c:pt idx="1836">
                  <c:v>4.9337381282089101</c:v>
                </c:pt>
                <c:pt idx="1837">
                  <c:v>5.0018988814874339</c:v>
                </c:pt>
                <c:pt idx="1838">
                  <c:v>4.8986097686540955</c:v>
                </c:pt>
                <c:pt idx="1839">
                  <c:v>3.9371597052199263</c:v>
                </c:pt>
                <c:pt idx="1840">
                  <c:v>6.0051959529422065</c:v>
                </c:pt>
                <c:pt idx="1841">
                  <c:v>3.9764402739304296</c:v>
                </c:pt>
                <c:pt idx="1842">
                  <c:v>5.1612670897312363</c:v>
                </c:pt>
                <c:pt idx="1843">
                  <c:v>4.9464850020154456</c:v>
                </c:pt>
                <c:pt idx="1844">
                  <c:v>5.9201482252619035</c:v>
                </c:pt>
                <c:pt idx="1845">
                  <c:v>5.0399797319303916</c:v>
                </c:pt>
                <c:pt idx="1846">
                  <c:v>5.9733481112363345</c:v>
                </c:pt>
                <c:pt idx="1847">
                  <c:v>6.9959540668243907</c:v>
                </c:pt>
                <c:pt idx="1848">
                  <c:v>5.9726826650189535</c:v>
                </c:pt>
                <c:pt idx="1849">
                  <c:v>5.1643763870214432</c:v>
                </c:pt>
                <c:pt idx="1850">
                  <c:v>6.9997728129432053</c:v>
                </c:pt>
                <c:pt idx="1851">
                  <c:v>6.2093573522551004</c:v>
                </c:pt>
                <c:pt idx="1852">
                  <c:v>5.9736306742073797</c:v>
                </c:pt>
                <c:pt idx="1853">
                  <c:v>6.164324825083189</c:v>
                </c:pt>
                <c:pt idx="1854">
                  <c:v>5.9377180463280697</c:v>
                </c:pt>
                <c:pt idx="1855">
                  <c:v>6.8469999152980749</c:v>
                </c:pt>
                <c:pt idx="1856">
                  <c:v>7.2107083768768581</c:v>
                </c:pt>
                <c:pt idx="1857">
                  <c:v>4.9827418743435326</c:v>
                </c:pt>
                <c:pt idx="1858">
                  <c:v>7.0158578223459189</c:v>
                </c:pt>
                <c:pt idx="1859">
                  <c:v>6.8634451223068647</c:v>
                </c:pt>
                <c:pt idx="1860">
                  <c:v>5.8691784540447642</c:v>
                </c:pt>
                <c:pt idx="1861">
                  <c:v>6.9767166690993552</c:v>
                </c:pt>
                <c:pt idx="1862">
                  <c:v>6.7847223872921925</c:v>
                </c:pt>
                <c:pt idx="1863">
                  <c:v>7.0048115452333963</c:v>
                </c:pt>
                <c:pt idx="1864">
                  <c:v>4.9926160491588263</c:v>
                </c:pt>
                <c:pt idx="1865">
                  <c:v>6.0090736399530753</c:v>
                </c:pt>
                <c:pt idx="1866">
                  <c:v>4.9345205908277388</c:v>
                </c:pt>
                <c:pt idx="1867">
                  <c:v>5.9671194134384713</c:v>
                </c:pt>
                <c:pt idx="1868">
                  <c:v>5.098150801505021</c:v>
                </c:pt>
                <c:pt idx="1869">
                  <c:v>5.0027293020226296</c:v>
                </c:pt>
                <c:pt idx="1870">
                  <c:v>4.9821591746138054</c:v>
                </c:pt>
                <c:pt idx="1871">
                  <c:v>7.236976377514746</c:v>
                </c:pt>
                <c:pt idx="1872">
                  <c:v>5.990309492725971</c:v>
                </c:pt>
                <c:pt idx="1873">
                  <c:v>7.0523038038789458</c:v>
                </c:pt>
                <c:pt idx="1874">
                  <c:v>6.050852088859072</c:v>
                </c:pt>
                <c:pt idx="1875">
                  <c:v>3.9546035724120947</c:v>
                </c:pt>
                <c:pt idx="1876">
                  <c:v>5.9237584542453376</c:v>
                </c:pt>
                <c:pt idx="1877">
                  <c:v>4.8266800447999074</c:v>
                </c:pt>
                <c:pt idx="1878">
                  <c:v>4.9894959677160786</c:v>
                </c:pt>
                <c:pt idx="1879">
                  <c:v>4.9443488125340407</c:v>
                </c:pt>
                <c:pt idx="1880">
                  <c:v>5.1154399311175309</c:v>
                </c:pt>
                <c:pt idx="1881">
                  <c:v>7.0624530791436699</c:v>
                </c:pt>
                <c:pt idx="1882">
                  <c:v>5.9684993877819945</c:v>
                </c:pt>
                <c:pt idx="1883">
                  <c:v>6.7399487272290592</c:v>
                </c:pt>
                <c:pt idx="1884">
                  <c:v>5.1098282424249888</c:v>
                </c:pt>
                <c:pt idx="1885">
                  <c:v>6.0495952957151369</c:v>
                </c:pt>
                <c:pt idx="1886">
                  <c:v>6.0379423850912843</c:v>
                </c:pt>
                <c:pt idx="1887">
                  <c:v>5.0454735206953538</c:v>
                </c:pt>
                <c:pt idx="1888">
                  <c:v>4.8600351507445456</c:v>
                </c:pt>
                <c:pt idx="1889">
                  <c:v>3.9244732684930441</c:v>
                </c:pt>
                <c:pt idx="1890">
                  <c:v>4.8916104560981752</c:v>
                </c:pt>
                <c:pt idx="1891">
                  <c:v>5.9768451022882125</c:v>
                </c:pt>
                <c:pt idx="1892">
                  <c:v>5.9541704901579449</c:v>
                </c:pt>
                <c:pt idx="1893">
                  <c:v>5.900173842055831</c:v>
                </c:pt>
                <c:pt idx="1894">
                  <c:v>5.9961541018956339</c:v>
                </c:pt>
                <c:pt idx="1895">
                  <c:v>6.0541956601608318</c:v>
                </c:pt>
                <c:pt idx="1896">
                  <c:v>5.0906290641826812</c:v>
                </c:pt>
                <c:pt idx="1897">
                  <c:v>5.0255564854339845</c:v>
                </c:pt>
                <c:pt idx="1898">
                  <c:v>6.0626070962485867</c:v>
                </c:pt>
                <c:pt idx="1899">
                  <c:v>4.8829600865698453</c:v>
                </c:pt>
                <c:pt idx="1900">
                  <c:v>6.1724697856415291</c:v>
                </c:pt>
                <c:pt idx="1901">
                  <c:v>6.0028870091899318</c:v>
                </c:pt>
                <c:pt idx="1902">
                  <c:v>6.0423748444841854</c:v>
                </c:pt>
                <c:pt idx="1903">
                  <c:v>6.1468604925921388</c:v>
                </c:pt>
                <c:pt idx="1904">
                  <c:v>6.1579492756514176</c:v>
                </c:pt>
                <c:pt idx="1905">
                  <c:v>5.0223187403029517</c:v>
                </c:pt>
                <c:pt idx="1906">
                  <c:v>4.9821010100152145</c:v>
                </c:pt>
                <c:pt idx="1907">
                  <c:v>4.9311953469482468</c:v>
                </c:pt>
                <c:pt idx="1908">
                  <c:v>3.9742719081528666</c:v>
                </c:pt>
                <c:pt idx="1909">
                  <c:v>4.9987070934797702</c:v>
                </c:pt>
                <c:pt idx="1910">
                  <c:v>5.2375940601534801</c:v>
                </c:pt>
                <c:pt idx="1911">
                  <c:v>5.0544509451820296</c:v>
                </c:pt>
                <c:pt idx="1912">
                  <c:v>7.0848699782358366</c:v>
                </c:pt>
                <c:pt idx="1913">
                  <c:v>4.8439263444115408</c:v>
                </c:pt>
                <c:pt idx="1914">
                  <c:v>5.1335664016556457</c:v>
                </c:pt>
                <c:pt idx="1915">
                  <c:v>5.0478045656623065</c:v>
                </c:pt>
                <c:pt idx="1916">
                  <c:v>4.9115574321741704</c:v>
                </c:pt>
                <c:pt idx="1917">
                  <c:v>5.8900067926553143</c:v>
                </c:pt>
                <c:pt idx="1918">
                  <c:v>6.1599049583320671</c:v>
                </c:pt>
                <c:pt idx="1919">
                  <c:v>5.0890651847006643</c:v>
                </c:pt>
                <c:pt idx="1920">
                  <c:v>4.8854062854152707</c:v>
                </c:pt>
                <c:pt idx="1921">
                  <c:v>5.9211598840395965</c:v>
                </c:pt>
                <c:pt idx="1922">
                  <c:v>5.2352997497559546</c:v>
                </c:pt>
                <c:pt idx="1923">
                  <c:v>4.8753165222245887</c:v>
                </c:pt>
                <c:pt idx="1924">
                  <c:v>5.0623654828201197</c:v>
                </c:pt>
                <c:pt idx="1925">
                  <c:v>4.9877180592343304</c:v>
                </c:pt>
                <c:pt idx="1926">
                  <c:v>5.0381475471163926</c:v>
                </c:pt>
                <c:pt idx="1927">
                  <c:v>5.1132958907190122</c:v>
                </c:pt>
                <c:pt idx="1928">
                  <c:v>5.973265708379496</c:v>
                </c:pt>
                <c:pt idx="1929">
                  <c:v>6.0380260803014423</c:v>
                </c:pt>
                <c:pt idx="1930">
                  <c:v>5.1243461755671502</c:v>
                </c:pt>
                <c:pt idx="1931">
                  <c:v>5.2682552168417711</c:v>
                </c:pt>
                <c:pt idx="1932">
                  <c:v>5.9044223634971589</c:v>
                </c:pt>
                <c:pt idx="1933">
                  <c:v>5.1731981729495997</c:v>
                </c:pt>
                <c:pt idx="1934">
                  <c:v>5.1571840674846952</c:v>
                </c:pt>
                <c:pt idx="1935">
                  <c:v>5.8648746132395058</c:v>
                </c:pt>
                <c:pt idx="1936">
                  <c:v>6.0815479551659237</c:v>
                </c:pt>
                <c:pt idx="1937">
                  <c:v>5.0747648859491594</c:v>
                </c:pt>
                <c:pt idx="1938">
                  <c:v>5.9076631291276129</c:v>
                </c:pt>
                <c:pt idx="1939">
                  <c:v>4.9607035691445738</c:v>
                </c:pt>
                <c:pt idx="1940">
                  <c:v>5.1195092703349276</c:v>
                </c:pt>
                <c:pt idx="1941">
                  <c:v>6.1426128237295812</c:v>
                </c:pt>
                <c:pt idx="1942">
                  <c:v>6.1430170196857503</c:v>
                </c:pt>
                <c:pt idx="1943">
                  <c:v>5.0779475503779654</c:v>
                </c:pt>
                <c:pt idx="1944">
                  <c:v>3.8988316500062763</c:v>
                </c:pt>
                <c:pt idx="1945">
                  <c:v>4.1718932029342506</c:v>
                </c:pt>
                <c:pt idx="1946">
                  <c:v>5.9871867617552645</c:v>
                </c:pt>
                <c:pt idx="1947">
                  <c:v>4.9032504043529075</c:v>
                </c:pt>
                <c:pt idx="1948">
                  <c:v>5.1555794910644837</c:v>
                </c:pt>
                <c:pt idx="1949">
                  <c:v>6.0477721353514786</c:v>
                </c:pt>
                <c:pt idx="1950">
                  <c:v>7.1139018533435969</c:v>
                </c:pt>
                <c:pt idx="1951">
                  <c:v>5.9877073230997349</c:v>
                </c:pt>
                <c:pt idx="1952">
                  <c:v>6.8317610331480001</c:v>
                </c:pt>
                <c:pt idx="1953">
                  <c:v>7.0689215210281127</c:v>
                </c:pt>
                <c:pt idx="1954">
                  <c:v>6.9297816574994116</c:v>
                </c:pt>
                <c:pt idx="1955">
                  <c:v>6.9107329068019219</c:v>
                </c:pt>
                <c:pt idx="1956">
                  <c:v>2.797583864084964</c:v>
                </c:pt>
                <c:pt idx="1957">
                  <c:v>3.197216439017426</c:v>
                </c:pt>
                <c:pt idx="1958">
                  <c:v>5.0770728902413271</c:v>
                </c:pt>
                <c:pt idx="1959">
                  <c:v>6.0166256968430218</c:v>
                </c:pt>
                <c:pt idx="1960">
                  <c:v>5.9886367569074839</c:v>
                </c:pt>
                <c:pt idx="1961">
                  <c:v>4.0305606253963555</c:v>
                </c:pt>
                <c:pt idx="1962">
                  <c:v>4.8665892393337984</c:v>
                </c:pt>
                <c:pt idx="1963">
                  <c:v>6.1718954041466905</c:v>
                </c:pt>
                <c:pt idx="1964">
                  <c:v>5.1029006991763328</c:v>
                </c:pt>
                <c:pt idx="1965">
                  <c:v>5.9020042574259666</c:v>
                </c:pt>
                <c:pt idx="1966">
                  <c:v>6.0844835021909818</c:v>
                </c:pt>
                <c:pt idx="1967">
                  <c:v>5.1401193917595478</c:v>
                </c:pt>
                <c:pt idx="1968">
                  <c:v>4.9715652921437314</c:v>
                </c:pt>
                <c:pt idx="1969">
                  <c:v>6.0878675711627519</c:v>
                </c:pt>
                <c:pt idx="1970">
                  <c:v>5.0131134139539606</c:v>
                </c:pt>
                <c:pt idx="1971">
                  <c:v>5.7964402549602712</c:v>
                </c:pt>
                <c:pt idx="1972">
                  <c:v>4.9401197265655039</c:v>
                </c:pt>
                <c:pt idx="1973">
                  <c:v>4.7997627548285005</c:v>
                </c:pt>
                <c:pt idx="1974">
                  <c:v>4.9638669211834365</c:v>
                </c:pt>
                <c:pt idx="1975">
                  <c:v>4.8983820726440364</c:v>
                </c:pt>
                <c:pt idx="1976">
                  <c:v>5.0993948533761726</c:v>
                </c:pt>
                <c:pt idx="1977">
                  <c:v>5.9142214611728505</c:v>
                </c:pt>
                <c:pt idx="1978">
                  <c:v>6.0432246853087488</c:v>
                </c:pt>
                <c:pt idx="1979">
                  <c:v>7.1272966162828757</c:v>
                </c:pt>
                <c:pt idx="1980">
                  <c:v>5.0256909776592238</c:v>
                </c:pt>
                <c:pt idx="1981">
                  <c:v>4.1064953581291173</c:v>
                </c:pt>
                <c:pt idx="1982">
                  <c:v>5.9510808574532215</c:v>
                </c:pt>
                <c:pt idx="1983">
                  <c:v>5.8985813047496203</c:v>
                </c:pt>
                <c:pt idx="1984">
                  <c:v>5.086771792815119</c:v>
                </c:pt>
                <c:pt idx="1985">
                  <c:v>5.1399639989610071</c:v>
                </c:pt>
                <c:pt idx="1986">
                  <c:v>6.1416787002541895</c:v>
                </c:pt>
                <c:pt idx="1987">
                  <c:v>4.9412500369435968</c:v>
                </c:pt>
                <c:pt idx="1988">
                  <c:v>4.9982725344325134</c:v>
                </c:pt>
                <c:pt idx="1989">
                  <c:v>6.1570457573228579</c:v>
                </c:pt>
                <c:pt idx="1990">
                  <c:v>5.9907953317181324</c:v>
                </c:pt>
                <c:pt idx="1991">
                  <c:v>5.0628328959894606</c:v>
                </c:pt>
                <c:pt idx="1992">
                  <c:v>4.9932476108637616</c:v>
                </c:pt>
                <c:pt idx="1993">
                  <c:v>4.9484983798102267</c:v>
                </c:pt>
                <c:pt idx="1994">
                  <c:v>5.8724310046679893</c:v>
                </c:pt>
                <c:pt idx="1995">
                  <c:v>5.0961987707497736</c:v>
                </c:pt>
                <c:pt idx="1996">
                  <c:v>4.9756522556913056</c:v>
                </c:pt>
                <c:pt idx="1997">
                  <c:v>4.9624995185135985</c:v>
                </c:pt>
                <c:pt idx="1998">
                  <c:v>5.0033239730765242</c:v>
                </c:pt>
                <c:pt idx="1999">
                  <c:v>5.1305913396836127</c:v>
                </c:pt>
                <c:pt idx="2000">
                  <c:v>4.8632111624174668</c:v>
                </c:pt>
                <c:pt idx="2001">
                  <c:v>5.9666202691926182</c:v>
                </c:pt>
                <c:pt idx="2002">
                  <c:v>6.0642225536139094</c:v>
                </c:pt>
                <c:pt idx="2003">
                  <c:v>4.909228998199481</c:v>
                </c:pt>
                <c:pt idx="2004">
                  <c:v>5.8184983044560177</c:v>
                </c:pt>
                <c:pt idx="2005">
                  <c:v>5.9571472657548519</c:v>
                </c:pt>
                <c:pt idx="2006">
                  <c:v>6.9592142640214831</c:v>
                </c:pt>
                <c:pt idx="2007">
                  <c:v>6.8312585848229599</c:v>
                </c:pt>
                <c:pt idx="2008">
                  <c:v>6.8717917282909662</c:v>
                </c:pt>
                <c:pt idx="2009">
                  <c:v>4.732988008414404</c:v>
                </c:pt>
                <c:pt idx="2010">
                  <c:v>4.9905935034364557</c:v>
                </c:pt>
                <c:pt idx="2011">
                  <c:v>6.9725267509328699</c:v>
                </c:pt>
                <c:pt idx="2012">
                  <c:v>4.9466032194469927</c:v>
                </c:pt>
                <c:pt idx="2013">
                  <c:v>4.8389718095562637</c:v>
                </c:pt>
                <c:pt idx="2014">
                  <c:v>4.957193180011795</c:v>
                </c:pt>
                <c:pt idx="2015">
                  <c:v>5.9924268124107751</c:v>
                </c:pt>
                <c:pt idx="2016">
                  <c:v>5.9684256053215039</c:v>
                </c:pt>
                <c:pt idx="2017">
                  <c:v>5.0119620073564093</c:v>
                </c:pt>
                <c:pt idx="2018">
                  <c:v>4.8814558838820759</c:v>
                </c:pt>
                <c:pt idx="2019">
                  <c:v>7.0952098356679718</c:v>
                </c:pt>
                <c:pt idx="2020">
                  <c:v>5.1795951622734302</c:v>
                </c:pt>
                <c:pt idx="2021">
                  <c:v>4.8964069592354473</c:v>
                </c:pt>
                <c:pt idx="2022">
                  <c:v>5.0128001711244474</c:v>
                </c:pt>
                <c:pt idx="2023">
                  <c:v>5.0583833684213566</c:v>
                </c:pt>
                <c:pt idx="2024">
                  <c:v>6.2088767909185165</c:v>
                </c:pt>
                <c:pt idx="2025">
                  <c:v>4.8177481906763679</c:v>
                </c:pt>
                <c:pt idx="2026">
                  <c:v>6.073236050552814</c:v>
                </c:pt>
                <c:pt idx="2027">
                  <c:v>5.2044437246253779</c:v>
                </c:pt>
                <c:pt idx="2028">
                  <c:v>5.0020409726491275</c:v>
                </c:pt>
                <c:pt idx="2029">
                  <c:v>5.1581391191424784</c:v>
                </c:pt>
                <c:pt idx="2030">
                  <c:v>4.9267707365389981</c:v>
                </c:pt>
                <c:pt idx="2031">
                  <c:v>4.9946770950291954</c:v>
                </c:pt>
                <c:pt idx="2032">
                  <c:v>5.0406911646214771</c:v>
                </c:pt>
                <c:pt idx="2033">
                  <c:v>4.9353287474741219</c:v>
                </c:pt>
                <c:pt idx="2034">
                  <c:v>5.9149084403950551</c:v>
                </c:pt>
                <c:pt idx="2035">
                  <c:v>6.0718350787802153</c:v>
                </c:pt>
                <c:pt idx="2036">
                  <c:v>6.1528167900553381</c:v>
                </c:pt>
                <c:pt idx="2037">
                  <c:v>4.8800224922546427</c:v>
                </c:pt>
                <c:pt idx="2038">
                  <c:v>5.0935168488012987</c:v>
                </c:pt>
                <c:pt idx="2039">
                  <c:v>6.0525226120756352</c:v>
                </c:pt>
                <c:pt idx="2040">
                  <c:v>6.1170333153119785</c:v>
                </c:pt>
                <c:pt idx="2041">
                  <c:v>5.9854568557757988</c:v>
                </c:pt>
                <c:pt idx="2042">
                  <c:v>5.9943228691460169</c:v>
                </c:pt>
                <c:pt idx="2043">
                  <c:v>6.2497312548658535</c:v>
                </c:pt>
                <c:pt idx="2044">
                  <c:v>5.9340655124191475</c:v>
                </c:pt>
                <c:pt idx="2045">
                  <c:v>4.1260549176157317</c:v>
                </c:pt>
                <c:pt idx="2046">
                  <c:v>4.9588575920326603</c:v>
                </c:pt>
                <c:pt idx="2047">
                  <c:v>5.9675651103412628</c:v>
                </c:pt>
                <c:pt idx="2048">
                  <c:v>4.7877509085392482</c:v>
                </c:pt>
                <c:pt idx="2049">
                  <c:v>7.0976084138947657</c:v>
                </c:pt>
                <c:pt idx="2050">
                  <c:v>4.9403013646466185</c:v>
                </c:pt>
                <c:pt idx="2051">
                  <c:v>6.0775840907101264</c:v>
                </c:pt>
                <c:pt idx="2052">
                  <c:v>5.9501502801054231</c:v>
                </c:pt>
                <c:pt idx="2053">
                  <c:v>6.1081217018798233</c:v>
                </c:pt>
                <c:pt idx="2054">
                  <c:v>4.8879480753050384</c:v>
                </c:pt>
                <c:pt idx="2055">
                  <c:v>4.0157927779781062</c:v>
                </c:pt>
                <c:pt idx="2056">
                  <c:v>4.9824919416600437</c:v>
                </c:pt>
                <c:pt idx="2057">
                  <c:v>6.0318449466710709</c:v>
                </c:pt>
                <c:pt idx="2058">
                  <c:v>4.9873248135916404</c:v>
                </c:pt>
                <c:pt idx="2059">
                  <c:v>5.0404414499775907</c:v>
                </c:pt>
                <c:pt idx="2060">
                  <c:v>6.0129688685603391</c:v>
                </c:pt>
                <c:pt idx="2061">
                  <c:v>4.0013527550873684</c:v>
                </c:pt>
                <c:pt idx="2062">
                  <c:v>4.9352462959747099</c:v>
                </c:pt>
                <c:pt idx="2063">
                  <c:v>6.9591024149118681</c:v>
                </c:pt>
                <c:pt idx="2064">
                  <c:v>7.2020437798898218</c:v>
                </c:pt>
                <c:pt idx="2065">
                  <c:v>5.0610092768702577</c:v>
                </c:pt>
                <c:pt idx="2066">
                  <c:v>5.0056435520762035</c:v>
                </c:pt>
                <c:pt idx="2067">
                  <c:v>6.1565089527234704</c:v>
                </c:pt>
                <c:pt idx="2068">
                  <c:v>5.9943241372244751</c:v>
                </c:pt>
                <c:pt idx="2069">
                  <c:v>4.9975117094762354</c:v>
                </c:pt>
                <c:pt idx="2070">
                  <c:v>4.7205717881093436</c:v>
                </c:pt>
                <c:pt idx="2071">
                  <c:v>5.9728146728888483</c:v>
                </c:pt>
                <c:pt idx="2072">
                  <c:v>6.0126982772054891</c:v>
                </c:pt>
                <c:pt idx="2073">
                  <c:v>5.9071173769918497</c:v>
                </c:pt>
                <c:pt idx="2074">
                  <c:v>5.1547477647318765</c:v>
                </c:pt>
                <c:pt idx="2075">
                  <c:v>4.8993930631815559</c:v>
                </c:pt>
                <c:pt idx="2076">
                  <c:v>6.2471290559528549</c:v>
                </c:pt>
                <c:pt idx="2077">
                  <c:v>6.1698759858208634</c:v>
                </c:pt>
                <c:pt idx="2078">
                  <c:v>4.8712650523003456</c:v>
                </c:pt>
                <c:pt idx="2079">
                  <c:v>4.9182634091703292</c:v>
                </c:pt>
                <c:pt idx="2080">
                  <c:v>5.9810778329331784</c:v>
                </c:pt>
                <c:pt idx="2081">
                  <c:v>5.8907794259055999</c:v>
                </c:pt>
                <c:pt idx="2082">
                  <c:v>5.8688067163532853</c:v>
                </c:pt>
                <c:pt idx="2083">
                  <c:v>6.0863452995340968</c:v>
                </c:pt>
                <c:pt idx="2084">
                  <c:v>4.8953438120863266</c:v>
                </c:pt>
                <c:pt idx="2085">
                  <c:v>7.0504616180091615</c:v>
                </c:pt>
                <c:pt idx="2086">
                  <c:v>5.0807022812056593</c:v>
                </c:pt>
                <c:pt idx="2087">
                  <c:v>5.0289677864723332</c:v>
                </c:pt>
                <c:pt idx="2088">
                  <c:v>6.098027344168365</c:v>
                </c:pt>
                <c:pt idx="2089">
                  <c:v>4.8770355949143767</c:v>
                </c:pt>
                <c:pt idx="2090">
                  <c:v>6.1327441785871537</c:v>
                </c:pt>
                <c:pt idx="2091">
                  <c:v>5.1973508615915414</c:v>
                </c:pt>
                <c:pt idx="2092">
                  <c:v>4.9393591140679156</c:v>
                </c:pt>
                <c:pt idx="2093">
                  <c:v>4.9084625387215208</c:v>
                </c:pt>
                <c:pt idx="2094">
                  <c:v>6.2965374800106284</c:v>
                </c:pt>
                <c:pt idx="2095">
                  <c:v>5.0315894267007533</c:v>
                </c:pt>
                <c:pt idx="2096">
                  <c:v>5.9397068305523018</c:v>
                </c:pt>
                <c:pt idx="2097">
                  <c:v>5.1062822587290926</c:v>
                </c:pt>
                <c:pt idx="2098">
                  <c:v>7.0386900855139229</c:v>
                </c:pt>
                <c:pt idx="2099">
                  <c:v>4.9721037187322255</c:v>
                </c:pt>
                <c:pt idx="2100">
                  <c:v>5.9845909145634026</c:v>
                </c:pt>
                <c:pt idx="2101">
                  <c:v>5.9232133451933269</c:v>
                </c:pt>
                <c:pt idx="2102">
                  <c:v>4.8692358374414733</c:v>
                </c:pt>
                <c:pt idx="2103">
                  <c:v>5.9607534392818708</c:v>
                </c:pt>
                <c:pt idx="2104">
                  <c:v>5.0168322231368077</c:v>
                </c:pt>
                <c:pt idx="2105">
                  <c:v>6.8989660640341777</c:v>
                </c:pt>
                <c:pt idx="2106">
                  <c:v>6.2257658284564759</c:v>
                </c:pt>
                <c:pt idx="2107">
                  <c:v>6.0971127679752524</c:v>
                </c:pt>
                <c:pt idx="2108">
                  <c:v>5.9372251073109146</c:v>
                </c:pt>
                <c:pt idx="2109">
                  <c:v>6.044574697859181</c:v>
                </c:pt>
                <c:pt idx="2110">
                  <c:v>6.0093470718561175</c:v>
                </c:pt>
                <c:pt idx="2111">
                  <c:v>3.9350798519012797</c:v>
                </c:pt>
                <c:pt idx="2112">
                  <c:v>6.0385416291666534</c:v>
                </c:pt>
                <c:pt idx="2113">
                  <c:v>5.082657933278238</c:v>
                </c:pt>
                <c:pt idx="2114">
                  <c:v>5.9679280727255284</c:v>
                </c:pt>
                <c:pt idx="2115">
                  <c:v>5.875762456634015</c:v>
                </c:pt>
                <c:pt idx="2116">
                  <c:v>4.9949461536617896</c:v>
                </c:pt>
                <c:pt idx="2117">
                  <c:v>3.9730948533739969</c:v>
                </c:pt>
                <c:pt idx="2118">
                  <c:v>4.9995064144102264</c:v>
                </c:pt>
                <c:pt idx="2119">
                  <c:v>4.8781058671262416</c:v>
                </c:pt>
                <c:pt idx="2120">
                  <c:v>6.0028372538918502</c:v>
                </c:pt>
                <c:pt idx="2121">
                  <c:v>5.0988182562572799</c:v>
                </c:pt>
                <c:pt idx="2122">
                  <c:v>5.0612987385647266</c:v>
                </c:pt>
                <c:pt idx="2123">
                  <c:v>3.9791676460793348</c:v>
                </c:pt>
                <c:pt idx="2124">
                  <c:v>6.844902585206837</c:v>
                </c:pt>
                <c:pt idx="2125">
                  <c:v>5.0611579440179932</c:v>
                </c:pt>
                <c:pt idx="2126">
                  <c:v>5.0615656297046048</c:v>
                </c:pt>
                <c:pt idx="2127">
                  <c:v>4.8409953861462114</c:v>
                </c:pt>
                <c:pt idx="2128">
                  <c:v>6.0752019627370801</c:v>
                </c:pt>
                <c:pt idx="2129">
                  <c:v>5.0077872331149216</c:v>
                </c:pt>
                <c:pt idx="2130">
                  <c:v>4.8567218803642813</c:v>
                </c:pt>
                <c:pt idx="2131">
                  <c:v>7.0017895086351629</c:v>
                </c:pt>
                <c:pt idx="2132">
                  <c:v>6.0919314126813049</c:v>
                </c:pt>
                <c:pt idx="2133">
                  <c:v>7.0320585800120599</c:v>
                </c:pt>
                <c:pt idx="2134">
                  <c:v>4.7994444368880451</c:v>
                </c:pt>
                <c:pt idx="2135">
                  <c:v>5.9882568419975222</c:v>
                </c:pt>
                <c:pt idx="2136">
                  <c:v>6.1948932108900499</c:v>
                </c:pt>
                <c:pt idx="2137">
                  <c:v>4.970643803248552</c:v>
                </c:pt>
                <c:pt idx="2138">
                  <c:v>5.7994721932798159</c:v>
                </c:pt>
                <c:pt idx="2139">
                  <c:v>6.0206851483075345</c:v>
                </c:pt>
                <c:pt idx="2140">
                  <c:v>5.8732340715989553</c:v>
                </c:pt>
                <c:pt idx="2141">
                  <c:v>5.9849238827516835</c:v>
                </c:pt>
                <c:pt idx="2142">
                  <c:v>7.0639405023431125</c:v>
                </c:pt>
                <c:pt idx="2143">
                  <c:v>4.8859979770253039</c:v>
                </c:pt>
                <c:pt idx="2144">
                  <c:v>4.9660576255723301</c:v>
                </c:pt>
                <c:pt idx="2145">
                  <c:v>4.9862814890747709</c:v>
                </c:pt>
                <c:pt idx="2146">
                  <c:v>6.0705314182641619</c:v>
                </c:pt>
                <c:pt idx="2147">
                  <c:v>7.1423640555957277</c:v>
                </c:pt>
                <c:pt idx="2148">
                  <c:v>5.0225126077016924</c:v>
                </c:pt>
                <c:pt idx="2149">
                  <c:v>6.1099777142617313</c:v>
                </c:pt>
                <c:pt idx="2150">
                  <c:v>5.1050253322222554</c:v>
                </c:pt>
                <c:pt idx="2151">
                  <c:v>5.9311155431875129</c:v>
                </c:pt>
                <c:pt idx="2152">
                  <c:v>6.0665120938680168</c:v>
                </c:pt>
                <c:pt idx="2153">
                  <c:v>5.0040457789447252</c:v>
                </c:pt>
                <c:pt idx="2154">
                  <c:v>4.802387087403666</c:v>
                </c:pt>
                <c:pt idx="2155">
                  <c:v>5.0337835161708639</c:v>
                </c:pt>
                <c:pt idx="2156">
                  <c:v>5.9699547471546612</c:v>
                </c:pt>
                <c:pt idx="2157">
                  <c:v>4.9139546737630466</c:v>
                </c:pt>
                <c:pt idx="2158">
                  <c:v>6.9960604435499354</c:v>
                </c:pt>
                <c:pt idx="2159">
                  <c:v>6.1136913790554397</c:v>
                </c:pt>
                <c:pt idx="2160">
                  <c:v>7.0050345974415755</c:v>
                </c:pt>
                <c:pt idx="2161">
                  <c:v>4.8692878164079945</c:v>
                </c:pt>
                <c:pt idx="2162">
                  <c:v>5.1117133972111111</c:v>
                </c:pt>
                <c:pt idx="2163">
                  <c:v>5.0124258573382612</c:v>
                </c:pt>
                <c:pt idx="2164">
                  <c:v>6.8804304783939942</c:v>
                </c:pt>
                <c:pt idx="2165">
                  <c:v>4.8716336011871126</c:v>
                </c:pt>
                <c:pt idx="2166">
                  <c:v>5.9781125053205812</c:v>
                </c:pt>
                <c:pt idx="2167">
                  <c:v>5.9378455972992406</c:v>
                </c:pt>
                <c:pt idx="2168">
                  <c:v>5.9113929634969127</c:v>
                </c:pt>
                <c:pt idx="2169">
                  <c:v>5.8884850542118707</c:v>
                </c:pt>
                <c:pt idx="2170">
                  <c:v>3.9343123065467309</c:v>
                </c:pt>
                <c:pt idx="2171">
                  <c:v>5.0326199331190011</c:v>
                </c:pt>
                <c:pt idx="2172">
                  <c:v>6.1040969207003553</c:v>
                </c:pt>
                <c:pt idx="2173">
                  <c:v>4.89309558232946</c:v>
                </c:pt>
                <c:pt idx="2174">
                  <c:v>6.0550845859342717</c:v>
                </c:pt>
                <c:pt idx="2175">
                  <c:v>5.0974959696802848</c:v>
                </c:pt>
                <c:pt idx="2176">
                  <c:v>4.974289014318293</c:v>
                </c:pt>
                <c:pt idx="2177">
                  <c:v>3.8632293904689292</c:v>
                </c:pt>
                <c:pt idx="2178">
                  <c:v>5.9575205737631718</c:v>
                </c:pt>
                <c:pt idx="2179">
                  <c:v>5.8352162774121528</c:v>
                </c:pt>
                <c:pt idx="2180">
                  <c:v>5.9537055080054921</c:v>
                </c:pt>
                <c:pt idx="2181">
                  <c:v>5.9792052205799342</c:v>
                </c:pt>
                <c:pt idx="2182">
                  <c:v>6.1266564549767972</c:v>
                </c:pt>
                <c:pt idx="2183">
                  <c:v>6.094267625558933</c:v>
                </c:pt>
                <c:pt idx="2184">
                  <c:v>5.8922799799159753</c:v>
                </c:pt>
                <c:pt idx="2185">
                  <c:v>6.055423359629768</c:v>
                </c:pt>
                <c:pt idx="2186">
                  <c:v>5.8911078938114789</c:v>
                </c:pt>
                <c:pt idx="2187">
                  <c:v>5.883567899258602</c:v>
                </c:pt>
                <c:pt idx="2188">
                  <c:v>6.0030942466853077</c:v>
                </c:pt>
                <c:pt idx="2189">
                  <c:v>5.900474291171208</c:v>
                </c:pt>
                <c:pt idx="2190">
                  <c:v>5.947508763618103</c:v>
                </c:pt>
                <c:pt idx="2191">
                  <c:v>5.9205576025524973</c:v>
                </c:pt>
                <c:pt idx="2192">
                  <c:v>5.9332161508831671</c:v>
                </c:pt>
                <c:pt idx="2193">
                  <c:v>6.1838498016278294</c:v>
                </c:pt>
                <c:pt idx="2194">
                  <c:v>4.9718635431837841</c:v>
                </c:pt>
                <c:pt idx="2195">
                  <c:v>6.0221266717525932</c:v>
                </c:pt>
                <c:pt idx="2196">
                  <c:v>6.0277784124143938</c:v>
                </c:pt>
                <c:pt idx="2197">
                  <c:v>6.0876184867294478</c:v>
                </c:pt>
                <c:pt idx="2198">
                  <c:v>6.0581339040978133</c:v>
                </c:pt>
                <c:pt idx="2199">
                  <c:v>4.989135461505386</c:v>
                </c:pt>
                <c:pt idx="2200">
                  <c:v>5.07847261005102</c:v>
                </c:pt>
                <c:pt idx="2201">
                  <c:v>4.958498640361463</c:v>
                </c:pt>
                <c:pt idx="2202">
                  <c:v>5.0378221447085387</c:v>
                </c:pt>
                <c:pt idx="2203">
                  <c:v>5.9980384182629738</c:v>
                </c:pt>
                <c:pt idx="2204">
                  <c:v>5.8789491498782507</c:v>
                </c:pt>
                <c:pt idx="2205">
                  <c:v>6.9423905871917224</c:v>
                </c:pt>
                <c:pt idx="2206">
                  <c:v>5.9578847447816079</c:v>
                </c:pt>
                <c:pt idx="2207">
                  <c:v>4.9471416142183591</c:v>
                </c:pt>
                <c:pt idx="2208">
                  <c:v>5.0446026674137814</c:v>
                </c:pt>
                <c:pt idx="2209">
                  <c:v>5.0224437817703667</c:v>
                </c:pt>
                <c:pt idx="2210">
                  <c:v>4.9142830734166898</c:v>
                </c:pt>
                <c:pt idx="2211">
                  <c:v>5.9252890026219607</c:v>
                </c:pt>
                <c:pt idx="2212">
                  <c:v>5.8805224115659582</c:v>
                </c:pt>
                <c:pt idx="2213">
                  <c:v>5.7997518151041447</c:v>
                </c:pt>
                <c:pt idx="2214">
                  <c:v>2.0089465280072418</c:v>
                </c:pt>
                <c:pt idx="2215">
                  <c:v>4.9622694296182113</c:v>
                </c:pt>
                <c:pt idx="2216">
                  <c:v>5.9109846797498964</c:v>
                </c:pt>
                <c:pt idx="2217">
                  <c:v>2.2111931190340686</c:v>
                </c:pt>
                <c:pt idx="2218">
                  <c:v>5.9952364071715465</c:v>
                </c:pt>
                <c:pt idx="2219">
                  <c:v>5.8302510149512923</c:v>
                </c:pt>
                <c:pt idx="2220">
                  <c:v>1.8950131147393481</c:v>
                </c:pt>
                <c:pt idx="2221">
                  <c:v>6.1051260791468858</c:v>
                </c:pt>
                <c:pt idx="2222">
                  <c:v>2.1066048450870163</c:v>
                </c:pt>
                <c:pt idx="2223">
                  <c:v>5.8640100532914845</c:v>
                </c:pt>
                <c:pt idx="2224">
                  <c:v>6.0411665790376512</c:v>
                </c:pt>
                <c:pt idx="2225">
                  <c:v>6.022014771025388</c:v>
                </c:pt>
                <c:pt idx="2226">
                  <c:v>6.0058503327747124</c:v>
                </c:pt>
                <c:pt idx="2227">
                  <c:v>5.0182272453110528</c:v>
                </c:pt>
                <c:pt idx="2228">
                  <c:v>6.0579111469513087</c:v>
                </c:pt>
                <c:pt idx="2229">
                  <c:v>6.1032097258013795</c:v>
                </c:pt>
                <c:pt idx="2230">
                  <c:v>3.9666654740055711</c:v>
                </c:pt>
                <c:pt idx="2231">
                  <c:v>5.974450042599166</c:v>
                </c:pt>
                <c:pt idx="2232">
                  <c:v>5.8188350944389313</c:v>
                </c:pt>
                <c:pt idx="2233">
                  <c:v>6.1981999535772534</c:v>
                </c:pt>
                <c:pt idx="2234">
                  <c:v>3.9582802369069667</c:v>
                </c:pt>
                <c:pt idx="2235">
                  <c:v>5.0730173334154589</c:v>
                </c:pt>
                <c:pt idx="2236">
                  <c:v>5.7939645871962009</c:v>
                </c:pt>
                <c:pt idx="2237">
                  <c:v>1.9634612099840498</c:v>
                </c:pt>
                <c:pt idx="2238">
                  <c:v>5.9336198252783952</c:v>
                </c:pt>
                <c:pt idx="2239">
                  <c:v>6.0831818502897512</c:v>
                </c:pt>
                <c:pt idx="2240">
                  <c:v>5.9919524261868959</c:v>
                </c:pt>
                <c:pt idx="2241">
                  <c:v>5.982103853787426</c:v>
                </c:pt>
                <c:pt idx="2242">
                  <c:v>5.0190983705948771</c:v>
                </c:pt>
                <c:pt idx="2243">
                  <c:v>6.0900482179291133</c:v>
                </c:pt>
                <c:pt idx="2244">
                  <c:v>5.0019588138983284</c:v>
                </c:pt>
                <c:pt idx="2245">
                  <c:v>6.0400970515821157</c:v>
                </c:pt>
                <c:pt idx="2246">
                  <c:v>5.0507314934723526</c:v>
                </c:pt>
                <c:pt idx="2247">
                  <c:v>5.1163952375860937</c:v>
                </c:pt>
                <c:pt idx="2248">
                  <c:v>5.005845240151868</c:v>
                </c:pt>
                <c:pt idx="2249">
                  <c:v>5.0763239198890524</c:v>
                </c:pt>
                <c:pt idx="2250">
                  <c:v>5.9543878284761469</c:v>
                </c:pt>
                <c:pt idx="2251">
                  <c:v>7.0264946613070869</c:v>
                </c:pt>
                <c:pt idx="2252">
                  <c:v>5.9090359798759611</c:v>
                </c:pt>
                <c:pt idx="2253">
                  <c:v>6.0256638602461861</c:v>
                </c:pt>
                <c:pt idx="2254">
                  <c:v>4.8738881690485085</c:v>
                </c:pt>
                <c:pt idx="2255">
                  <c:v>6.0445775917309712</c:v>
                </c:pt>
                <c:pt idx="2256">
                  <c:v>4.993500513574479</c:v>
                </c:pt>
                <c:pt idx="2257">
                  <c:v>5.1679157411120933</c:v>
                </c:pt>
                <c:pt idx="2258">
                  <c:v>5.0801971198356188</c:v>
                </c:pt>
                <c:pt idx="2259">
                  <c:v>5.9369422949526172</c:v>
                </c:pt>
                <c:pt idx="2260">
                  <c:v>5.0344675514870243</c:v>
                </c:pt>
                <c:pt idx="2261">
                  <c:v>5.0708340723223184</c:v>
                </c:pt>
                <c:pt idx="2262">
                  <c:v>5.0129133027062363</c:v>
                </c:pt>
                <c:pt idx="2263">
                  <c:v>6.2057409596141655</c:v>
                </c:pt>
                <c:pt idx="2264">
                  <c:v>5.020866495385234</c:v>
                </c:pt>
                <c:pt idx="2265">
                  <c:v>6.009072142658014</c:v>
                </c:pt>
                <c:pt idx="2266">
                  <c:v>5.0072914647669835</c:v>
                </c:pt>
                <c:pt idx="2267">
                  <c:v>4.098084744128168</c:v>
                </c:pt>
                <c:pt idx="2268">
                  <c:v>5.0162638819120042</c:v>
                </c:pt>
                <c:pt idx="2269">
                  <c:v>6.1508551294039098</c:v>
                </c:pt>
                <c:pt idx="2270">
                  <c:v>5.9776504223873621</c:v>
                </c:pt>
                <c:pt idx="2271">
                  <c:v>5.9873766209352315</c:v>
                </c:pt>
                <c:pt idx="2272">
                  <c:v>5.9970685311422853</c:v>
                </c:pt>
                <c:pt idx="2273">
                  <c:v>5.9462409092923441</c:v>
                </c:pt>
                <c:pt idx="2274">
                  <c:v>6.0947429657137597</c:v>
                </c:pt>
                <c:pt idx="2275">
                  <c:v>5.9984256205549258</c:v>
                </c:pt>
                <c:pt idx="2276">
                  <c:v>7.0156268451035499</c:v>
                </c:pt>
                <c:pt idx="2277">
                  <c:v>5.0692561793128545</c:v>
                </c:pt>
                <c:pt idx="2278">
                  <c:v>5.0570223664417187</c:v>
                </c:pt>
                <c:pt idx="2279">
                  <c:v>4.9441418251656142</c:v>
                </c:pt>
                <c:pt idx="2280">
                  <c:v>4.9214097073824483</c:v>
                </c:pt>
                <c:pt idx="2281">
                  <c:v>5.9224803002861783</c:v>
                </c:pt>
                <c:pt idx="2282">
                  <c:v>5.0809632877125885</c:v>
                </c:pt>
                <c:pt idx="2283">
                  <c:v>6.0997025809721661</c:v>
                </c:pt>
                <c:pt idx="2284">
                  <c:v>4.0753381597852369</c:v>
                </c:pt>
                <c:pt idx="2285">
                  <c:v>3.9129080312986497</c:v>
                </c:pt>
                <c:pt idx="2286">
                  <c:v>5.9486779474057752</c:v>
                </c:pt>
                <c:pt idx="2287">
                  <c:v>4.9321674579299408</c:v>
                </c:pt>
                <c:pt idx="2288">
                  <c:v>6.1900690531276759</c:v>
                </c:pt>
                <c:pt idx="2289">
                  <c:v>5.9507327258948131</c:v>
                </c:pt>
                <c:pt idx="2290">
                  <c:v>6.0503781417856173</c:v>
                </c:pt>
                <c:pt idx="2291">
                  <c:v>5.0841337053594273</c:v>
                </c:pt>
                <c:pt idx="2292">
                  <c:v>6.0604877164099644</c:v>
                </c:pt>
                <c:pt idx="2293">
                  <c:v>6.0146743791454309</c:v>
                </c:pt>
                <c:pt idx="2294">
                  <c:v>5.0439303989943101</c:v>
                </c:pt>
                <c:pt idx="2295">
                  <c:v>4.9643056035647852</c:v>
                </c:pt>
                <c:pt idx="2296">
                  <c:v>6.8338258169025394</c:v>
                </c:pt>
                <c:pt idx="2297">
                  <c:v>5.9090735315262828</c:v>
                </c:pt>
                <c:pt idx="2298">
                  <c:v>5.1054204866197823</c:v>
                </c:pt>
                <c:pt idx="2299">
                  <c:v>5.9796484632310332</c:v>
                </c:pt>
                <c:pt idx="2300">
                  <c:v>6.0725676266335844</c:v>
                </c:pt>
                <c:pt idx="2301">
                  <c:v>6.0349939294188193</c:v>
                </c:pt>
                <c:pt idx="2302">
                  <c:v>6.0110715553844054</c:v>
                </c:pt>
                <c:pt idx="2303">
                  <c:v>7.0285506932165385</c:v>
                </c:pt>
                <c:pt idx="2304">
                  <c:v>6.9465341034090837</c:v>
                </c:pt>
                <c:pt idx="2305">
                  <c:v>6.202106001856496</c:v>
                </c:pt>
                <c:pt idx="2306">
                  <c:v>4.8986678942838582</c:v>
                </c:pt>
                <c:pt idx="2307">
                  <c:v>4.7827372193094675</c:v>
                </c:pt>
                <c:pt idx="2308">
                  <c:v>5.0737617592447695</c:v>
                </c:pt>
                <c:pt idx="2309">
                  <c:v>4.8455845092617063</c:v>
                </c:pt>
                <c:pt idx="2310">
                  <c:v>4.9937695709932548</c:v>
                </c:pt>
                <c:pt idx="2311">
                  <c:v>5.0013794794093176</c:v>
                </c:pt>
                <c:pt idx="2312">
                  <c:v>4.8448912004173765</c:v>
                </c:pt>
                <c:pt idx="2313">
                  <c:v>5.93968687666609</c:v>
                </c:pt>
                <c:pt idx="2314">
                  <c:v>5.8733765089434584</c:v>
                </c:pt>
                <c:pt idx="2315">
                  <c:v>4.9548886875971396</c:v>
                </c:pt>
                <c:pt idx="2316">
                  <c:v>6.0128130900128154</c:v>
                </c:pt>
                <c:pt idx="2317">
                  <c:v>5.8678729008914852</c:v>
                </c:pt>
                <c:pt idx="2318">
                  <c:v>5.9073206759017269</c:v>
                </c:pt>
                <c:pt idx="2319">
                  <c:v>6.8473669280492606</c:v>
                </c:pt>
                <c:pt idx="2320">
                  <c:v>5.9532400171302129</c:v>
                </c:pt>
                <c:pt idx="2321">
                  <c:v>5.0255744335271846</c:v>
                </c:pt>
                <c:pt idx="2322">
                  <c:v>4.9735694590715402</c:v>
                </c:pt>
                <c:pt idx="2323">
                  <c:v>6.1346473623740829</c:v>
                </c:pt>
                <c:pt idx="2324">
                  <c:v>5.0655488032895359</c:v>
                </c:pt>
                <c:pt idx="2325">
                  <c:v>6.1552401663414713</c:v>
                </c:pt>
                <c:pt idx="2326">
                  <c:v>5.0638272047439665</c:v>
                </c:pt>
                <c:pt idx="2327">
                  <c:v>6.0192619705485786</c:v>
                </c:pt>
                <c:pt idx="2328">
                  <c:v>6.0216059257337911</c:v>
                </c:pt>
                <c:pt idx="2329">
                  <c:v>5.0150578520527516</c:v>
                </c:pt>
                <c:pt idx="2330">
                  <c:v>4.7974649415006878</c:v>
                </c:pt>
                <c:pt idx="2331">
                  <c:v>4.8669737237992026</c:v>
                </c:pt>
                <c:pt idx="2332">
                  <c:v>6.0652477204084656</c:v>
                </c:pt>
                <c:pt idx="2333">
                  <c:v>7.0816668625169505</c:v>
                </c:pt>
                <c:pt idx="2334">
                  <c:v>6.2033832056303728</c:v>
                </c:pt>
                <c:pt idx="2335">
                  <c:v>5.8156697206809493</c:v>
                </c:pt>
                <c:pt idx="2336">
                  <c:v>5.0214856632577058</c:v>
                </c:pt>
                <c:pt idx="2337">
                  <c:v>5.007136447575121</c:v>
                </c:pt>
                <c:pt idx="2338">
                  <c:v>5.9934332376027948</c:v>
                </c:pt>
                <c:pt idx="2339">
                  <c:v>4.8919149485698341</c:v>
                </c:pt>
                <c:pt idx="2340">
                  <c:v>5.9649760474823568</c:v>
                </c:pt>
                <c:pt idx="2341">
                  <c:v>5.0420645621059865</c:v>
                </c:pt>
                <c:pt idx="2342">
                  <c:v>5.9521563203336019</c:v>
                </c:pt>
                <c:pt idx="2343">
                  <c:v>5.0862142321887278</c:v>
                </c:pt>
                <c:pt idx="2344">
                  <c:v>6.0471797404845189</c:v>
                </c:pt>
                <c:pt idx="2345">
                  <c:v>7.1094116378903722</c:v>
                </c:pt>
                <c:pt idx="2346">
                  <c:v>5.0341159188462665</c:v>
                </c:pt>
                <c:pt idx="2347">
                  <c:v>5.0407509107320747</c:v>
                </c:pt>
                <c:pt idx="2348">
                  <c:v>6.0277518085296924</c:v>
                </c:pt>
                <c:pt idx="2349">
                  <c:v>4.9480025719207639</c:v>
                </c:pt>
                <c:pt idx="2350">
                  <c:v>4.8967238160517299</c:v>
                </c:pt>
                <c:pt idx="2351">
                  <c:v>6.6925553689334629</c:v>
                </c:pt>
                <c:pt idx="2352">
                  <c:v>5.9046225252189579</c:v>
                </c:pt>
                <c:pt idx="2353">
                  <c:v>7.0377790318779345</c:v>
                </c:pt>
                <c:pt idx="2354">
                  <c:v>6.0570347233391919</c:v>
                </c:pt>
                <c:pt idx="2355">
                  <c:v>6.9140070927016639</c:v>
                </c:pt>
                <c:pt idx="2356">
                  <c:v>5.9561908375342121</c:v>
                </c:pt>
                <c:pt idx="2357">
                  <c:v>5.0810416116497299</c:v>
                </c:pt>
                <c:pt idx="2358">
                  <c:v>5.0580026365133426</c:v>
                </c:pt>
                <c:pt idx="2359">
                  <c:v>6.1159038339935936</c:v>
                </c:pt>
                <c:pt idx="2360">
                  <c:v>5.1718752747766628</c:v>
                </c:pt>
                <c:pt idx="2361">
                  <c:v>5.0312972890359253</c:v>
                </c:pt>
                <c:pt idx="2362">
                  <c:v>5.9817050618348802</c:v>
                </c:pt>
                <c:pt idx="2363">
                  <c:v>4.8497194824603422</c:v>
                </c:pt>
                <c:pt idx="2364">
                  <c:v>5.0496286336823548</c:v>
                </c:pt>
                <c:pt idx="2365">
                  <c:v>6.0336272203528871</c:v>
                </c:pt>
                <c:pt idx="2366">
                  <c:v>5.9217162248415081</c:v>
                </c:pt>
                <c:pt idx="2367">
                  <c:v>4.8911996052594864</c:v>
                </c:pt>
                <c:pt idx="2368">
                  <c:v>5.1720157995039644</c:v>
                </c:pt>
                <c:pt idx="2369">
                  <c:v>6.0253239626776649</c:v>
                </c:pt>
                <c:pt idx="2370">
                  <c:v>5.0768149861396044</c:v>
                </c:pt>
                <c:pt idx="2371">
                  <c:v>5.0060675064659392</c:v>
                </c:pt>
                <c:pt idx="2372">
                  <c:v>5.9822984391393907</c:v>
                </c:pt>
                <c:pt idx="2373">
                  <c:v>5.8379873256981378</c:v>
                </c:pt>
                <c:pt idx="2374">
                  <c:v>4.9778184039221989</c:v>
                </c:pt>
                <c:pt idx="2375">
                  <c:v>6.0615909086565356</c:v>
                </c:pt>
                <c:pt idx="2376">
                  <c:v>5.182785365216283</c:v>
                </c:pt>
                <c:pt idx="2377">
                  <c:v>8.9693284511431042</c:v>
                </c:pt>
                <c:pt idx="2378">
                  <c:v>6.9988780991351707</c:v>
                </c:pt>
                <c:pt idx="2379">
                  <c:v>6.0450034708587603</c:v>
                </c:pt>
                <c:pt idx="2380">
                  <c:v>4.9352856096522082</c:v>
                </c:pt>
                <c:pt idx="2381">
                  <c:v>5.0852168979423373</c:v>
                </c:pt>
                <c:pt idx="2382">
                  <c:v>6.1227525371855851</c:v>
                </c:pt>
                <c:pt idx="2383">
                  <c:v>4.9212337205297816</c:v>
                </c:pt>
                <c:pt idx="2384">
                  <c:v>5.3076856437737252</c:v>
                </c:pt>
                <c:pt idx="2385">
                  <c:v>4.946677651082716</c:v>
                </c:pt>
                <c:pt idx="2386">
                  <c:v>6.1297405840115609</c:v>
                </c:pt>
                <c:pt idx="2387">
                  <c:v>6.0363261825063201</c:v>
                </c:pt>
                <c:pt idx="2388">
                  <c:v>5.0538746438061377</c:v>
                </c:pt>
                <c:pt idx="2389">
                  <c:v>5.1995529049196669</c:v>
                </c:pt>
                <c:pt idx="2390">
                  <c:v>5.0840126966917749</c:v>
                </c:pt>
                <c:pt idx="2391">
                  <c:v>4.8924830266373673</c:v>
                </c:pt>
                <c:pt idx="2392">
                  <c:v>5.8709770341918368</c:v>
                </c:pt>
                <c:pt idx="2393">
                  <c:v>4.8604976628686636</c:v>
                </c:pt>
                <c:pt idx="2394">
                  <c:v>4.8351235349497852</c:v>
                </c:pt>
                <c:pt idx="2395">
                  <c:v>5.8887965416510433</c:v>
                </c:pt>
                <c:pt idx="2396">
                  <c:v>4.0232532089182627</c:v>
                </c:pt>
                <c:pt idx="2397">
                  <c:v>4.9221528420798135</c:v>
                </c:pt>
                <c:pt idx="2398">
                  <c:v>6.0297913285094564</c:v>
                </c:pt>
                <c:pt idx="2399">
                  <c:v>5.9125830946513123</c:v>
                </c:pt>
                <c:pt idx="2400">
                  <c:v>5.0746959747338183</c:v>
                </c:pt>
                <c:pt idx="2401">
                  <c:v>4.8549359087497805</c:v>
                </c:pt>
                <c:pt idx="2402">
                  <c:v>5.0554585654366502</c:v>
                </c:pt>
                <c:pt idx="2403">
                  <c:v>6.141269084005752</c:v>
                </c:pt>
                <c:pt idx="2404">
                  <c:v>7.0153771863644776</c:v>
                </c:pt>
                <c:pt idx="2405">
                  <c:v>5.9889043617268021</c:v>
                </c:pt>
                <c:pt idx="2406">
                  <c:v>5.8475928541848639</c:v>
                </c:pt>
                <c:pt idx="2407">
                  <c:v>4.9597468607114958</c:v>
                </c:pt>
                <c:pt idx="2408">
                  <c:v>5.0281490253919809</c:v>
                </c:pt>
                <c:pt idx="2409">
                  <c:v>6.913294389228299</c:v>
                </c:pt>
                <c:pt idx="2410">
                  <c:v>6.0195838440372684</c:v>
                </c:pt>
                <c:pt idx="2411">
                  <c:v>5.0867945311115728</c:v>
                </c:pt>
                <c:pt idx="2412">
                  <c:v>5.0136429138632703</c:v>
                </c:pt>
                <c:pt idx="2413">
                  <c:v>4.9573713632105765</c:v>
                </c:pt>
                <c:pt idx="2414">
                  <c:v>4.1850661159427087</c:v>
                </c:pt>
                <c:pt idx="2415">
                  <c:v>3.7620822821371807</c:v>
                </c:pt>
                <c:pt idx="2416">
                  <c:v>4.0675778510880258</c:v>
                </c:pt>
                <c:pt idx="2417">
                  <c:v>5.8960688191361772</c:v>
                </c:pt>
                <c:pt idx="2418">
                  <c:v>5.1476511634571116</c:v>
                </c:pt>
                <c:pt idx="2419">
                  <c:v>5.1944161100793806</c:v>
                </c:pt>
                <c:pt idx="2420">
                  <c:v>4.9748212967115224</c:v>
                </c:pt>
                <c:pt idx="2421">
                  <c:v>6.9991682724874806</c:v>
                </c:pt>
                <c:pt idx="2422">
                  <c:v>4.8449550730816746</c:v>
                </c:pt>
                <c:pt idx="2423">
                  <c:v>5.9156438582234774</c:v>
                </c:pt>
                <c:pt idx="2424">
                  <c:v>5.0722447859389179</c:v>
                </c:pt>
                <c:pt idx="2425">
                  <c:v>5.963224450656492</c:v>
                </c:pt>
                <c:pt idx="2426">
                  <c:v>4.993199139145263</c:v>
                </c:pt>
                <c:pt idx="2427">
                  <c:v>6.094436643625202</c:v>
                </c:pt>
                <c:pt idx="2428">
                  <c:v>5.9777991188252573</c:v>
                </c:pt>
                <c:pt idx="2429">
                  <c:v>6.0421265216528122</c:v>
                </c:pt>
                <c:pt idx="2430">
                  <c:v>5.9535763605098975</c:v>
                </c:pt>
                <c:pt idx="2431">
                  <c:v>5.9064562083097272</c:v>
                </c:pt>
                <c:pt idx="2432">
                  <c:v>7.1560545167643301</c:v>
                </c:pt>
                <c:pt idx="2433">
                  <c:v>3.9480728043286279</c:v>
                </c:pt>
                <c:pt idx="2434">
                  <c:v>3.9703972167724957</c:v>
                </c:pt>
                <c:pt idx="2435">
                  <c:v>4.0545945711472857</c:v>
                </c:pt>
                <c:pt idx="2436">
                  <c:v>6.0608755806184824</c:v>
                </c:pt>
                <c:pt idx="2437">
                  <c:v>5.9586001028708289</c:v>
                </c:pt>
                <c:pt idx="2438">
                  <c:v>6.0229910218420057</c:v>
                </c:pt>
                <c:pt idx="2439">
                  <c:v>5.2367000317076657</c:v>
                </c:pt>
                <c:pt idx="2440">
                  <c:v>4.8709532630691337</c:v>
                </c:pt>
                <c:pt idx="2441">
                  <c:v>5.0093234039033385</c:v>
                </c:pt>
                <c:pt idx="2442">
                  <c:v>5.8452392482821836</c:v>
                </c:pt>
                <c:pt idx="2443">
                  <c:v>4.951017763662616</c:v>
                </c:pt>
                <c:pt idx="2444">
                  <c:v>4.8208351725737639</c:v>
                </c:pt>
                <c:pt idx="2445">
                  <c:v>5.0553071179573221</c:v>
                </c:pt>
                <c:pt idx="2446">
                  <c:v>4.9811324029830724</c:v>
                </c:pt>
                <c:pt idx="2447">
                  <c:v>5.9521816683183291</c:v>
                </c:pt>
                <c:pt idx="2448">
                  <c:v>5.2714400500523748</c:v>
                </c:pt>
                <c:pt idx="2449">
                  <c:v>4.9034456363123171</c:v>
                </c:pt>
                <c:pt idx="2450">
                  <c:v>6.092864693177324</c:v>
                </c:pt>
                <c:pt idx="2451">
                  <c:v>6.0111678754628315</c:v>
                </c:pt>
                <c:pt idx="2452">
                  <c:v>6.1355334081052648</c:v>
                </c:pt>
                <c:pt idx="2453">
                  <c:v>4.8766580927776726</c:v>
                </c:pt>
                <c:pt idx="2454">
                  <c:v>6.0746564665803371</c:v>
                </c:pt>
                <c:pt idx="2455">
                  <c:v>4.8040599031604634</c:v>
                </c:pt>
                <c:pt idx="2456">
                  <c:v>5.9544971249241421</c:v>
                </c:pt>
                <c:pt idx="2457">
                  <c:v>6.1770834356449837</c:v>
                </c:pt>
                <c:pt idx="2458">
                  <c:v>6.0806366425468363</c:v>
                </c:pt>
                <c:pt idx="2459">
                  <c:v>6.0669202059885867</c:v>
                </c:pt>
                <c:pt idx="2460">
                  <c:v>6.0500472931355631</c:v>
                </c:pt>
                <c:pt idx="2461">
                  <c:v>5.9891095435746537</c:v>
                </c:pt>
                <c:pt idx="2462">
                  <c:v>6.0768012195204459</c:v>
                </c:pt>
                <c:pt idx="2463">
                  <c:v>6.0176032709316827</c:v>
                </c:pt>
                <c:pt idx="2464">
                  <c:v>6.0839421951371282</c:v>
                </c:pt>
                <c:pt idx="2465">
                  <c:v>5.9909519282683767</c:v>
                </c:pt>
                <c:pt idx="2466">
                  <c:v>5.948111449797822</c:v>
                </c:pt>
                <c:pt idx="2467">
                  <c:v>6.0792639184521367</c:v>
                </c:pt>
                <c:pt idx="2468">
                  <c:v>6.0716196910885509</c:v>
                </c:pt>
                <c:pt idx="2469">
                  <c:v>6.1174653472451324</c:v>
                </c:pt>
                <c:pt idx="2470">
                  <c:v>6.0691645180808251</c:v>
                </c:pt>
                <c:pt idx="2471">
                  <c:v>6.012966599484681</c:v>
                </c:pt>
                <c:pt idx="2472">
                  <c:v>6.0391783481041763</c:v>
                </c:pt>
                <c:pt idx="2473">
                  <c:v>5.8929698416924667</c:v>
                </c:pt>
                <c:pt idx="2474">
                  <c:v>4.8543155393363095</c:v>
                </c:pt>
                <c:pt idx="2475">
                  <c:v>5.9843318344761833</c:v>
                </c:pt>
                <c:pt idx="2476">
                  <c:v>6.0834402377585581</c:v>
                </c:pt>
                <c:pt idx="2477">
                  <c:v>5.1098390562453675</c:v>
                </c:pt>
                <c:pt idx="2478">
                  <c:v>5.0872009317603624</c:v>
                </c:pt>
                <c:pt idx="2479">
                  <c:v>6.0853739912129177</c:v>
                </c:pt>
                <c:pt idx="2480">
                  <c:v>5.015947372813641</c:v>
                </c:pt>
                <c:pt idx="2481">
                  <c:v>4.9306063198111145</c:v>
                </c:pt>
                <c:pt idx="2482">
                  <c:v>5.9821926836883845</c:v>
                </c:pt>
                <c:pt idx="2483">
                  <c:v>6.1126023523015993</c:v>
                </c:pt>
                <c:pt idx="2484">
                  <c:v>3.9622357754936384</c:v>
                </c:pt>
                <c:pt idx="2485">
                  <c:v>4.8872685791962205</c:v>
                </c:pt>
                <c:pt idx="2486">
                  <c:v>5.0577861029170217</c:v>
                </c:pt>
                <c:pt idx="2487">
                  <c:v>3.9874253958147117</c:v>
                </c:pt>
                <c:pt idx="2488">
                  <c:v>4.9043579820659469</c:v>
                </c:pt>
                <c:pt idx="2489">
                  <c:v>7.1049720601006952</c:v>
                </c:pt>
                <c:pt idx="2490">
                  <c:v>6.0761776874487197</c:v>
                </c:pt>
                <c:pt idx="2491">
                  <c:v>4.8594825245064195</c:v>
                </c:pt>
                <c:pt idx="2492">
                  <c:v>5.939517925921824</c:v>
                </c:pt>
                <c:pt idx="2493">
                  <c:v>4.9692311616489659</c:v>
                </c:pt>
                <c:pt idx="2494">
                  <c:v>4.984307977808685</c:v>
                </c:pt>
                <c:pt idx="2495">
                  <c:v>5.8965405189024915</c:v>
                </c:pt>
                <c:pt idx="2496">
                  <c:v>4.9084801855317721</c:v>
                </c:pt>
                <c:pt idx="2497">
                  <c:v>5.9538421470285154</c:v>
                </c:pt>
                <c:pt idx="2498">
                  <c:v>5.9428668474940931</c:v>
                </c:pt>
                <c:pt idx="2499">
                  <c:v>6.0377019905913158</c:v>
                </c:pt>
                <c:pt idx="2500">
                  <c:v>6.0415411400794738</c:v>
                </c:pt>
                <c:pt idx="2501">
                  <c:v>5.9674164071598108</c:v>
                </c:pt>
                <c:pt idx="2502">
                  <c:v>6.013269735965511</c:v>
                </c:pt>
                <c:pt idx="2503">
                  <c:v>5.1103067912291307</c:v>
                </c:pt>
                <c:pt idx="2504">
                  <c:v>6.0541100603746614</c:v>
                </c:pt>
                <c:pt idx="2505">
                  <c:v>6.0856352355477954</c:v>
                </c:pt>
                <c:pt idx="2506">
                  <c:v>4.9440537612667796</c:v>
                </c:pt>
                <c:pt idx="2507">
                  <c:v>5.7965080303224683</c:v>
                </c:pt>
                <c:pt idx="2508">
                  <c:v>6.0122696688737394</c:v>
                </c:pt>
                <c:pt idx="2509">
                  <c:v>5.085702644337867</c:v>
                </c:pt>
                <c:pt idx="2510">
                  <c:v>6.0976599587923044</c:v>
                </c:pt>
                <c:pt idx="2511">
                  <c:v>5.0570222259685487</c:v>
                </c:pt>
                <c:pt idx="2512">
                  <c:v>6.8986057901847166</c:v>
                </c:pt>
                <c:pt idx="2513">
                  <c:v>4.9306689766975822</c:v>
                </c:pt>
                <c:pt idx="2514">
                  <c:v>5.8800045957260503</c:v>
                </c:pt>
                <c:pt idx="2515">
                  <c:v>6.0531733934922176</c:v>
                </c:pt>
                <c:pt idx="2516">
                  <c:v>5.1334904198465976</c:v>
                </c:pt>
                <c:pt idx="2517">
                  <c:v>6.1272677051390136</c:v>
                </c:pt>
                <c:pt idx="2518">
                  <c:v>6.0866595820700153</c:v>
                </c:pt>
                <c:pt idx="2519">
                  <c:v>4.9081899468018069</c:v>
                </c:pt>
                <c:pt idx="2520">
                  <c:v>5.0616589576431155</c:v>
                </c:pt>
                <c:pt idx="2521">
                  <c:v>4.8005263543139796</c:v>
                </c:pt>
                <c:pt idx="2522">
                  <c:v>6.0870124839832798</c:v>
                </c:pt>
                <c:pt idx="2523">
                  <c:v>5.0520122529460014</c:v>
                </c:pt>
                <c:pt idx="2524">
                  <c:v>6.0071074816933878</c:v>
                </c:pt>
                <c:pt idx="2525">
                  <c:v>3.8408279126004565</c:v>
                </c:pt>
                <c:pt idx="2526">
                  <c:v>5.1566655400333845</c:v>
                </c:pt>
                <c:pt idx="2527">
                  <c:v>6.0561429351577569</c:v>
                </c:pt>
                <c:pt idx="2528">
                  <c:v>4.9917183689486482</c:v>
                </c:pt>
                <c:pt idx="2529">
                  <c:v>6.0577230439833549</c:v>
                </c:pt>
                <c:pt idx="2530">
                  <c:v>5.0472861999443257</c:v>
                </c:pt>
                <c:pt idx="2531">
                  <c:v>4.8578739665534192</c:v>
                </c:pt>
                <c:pt idx="2532">
                  <c:v>5.0288707907589618</c:v>
                </c:pt>
                <c:pt idx="2533">
                  <c:v>5.2015575218177208</c:v>
                </c:pt>
                <c:pt idx="2534">
                  <c:v>6.0019639233055031</c:v>
                </c:pt>
                <c:pt idx="2535">
                  <c:v>7.1844024949557967</c:v>
                </c:pt>
                <c:pt idx="2536">
                  <c:v>6.1327200770558292</c:v>
                </c:pt>
                <c:pt idx="2537">
                  <c:v>4.7960220354903793</c:v>
                </c:pt>
                <c:pt idx="2538">
                  <c:v>5.00492067495931</c:v>
                </c:pt>
                <c:pt idx="2539">
                  <c:v>4.9681947124621164</c:v>
                </c:pt>
                <c:pt idx="2540">
                  <c:v>4.9860224802143573</c:v>
                </c:pt>
                <c:pt idx="2541">
                  <c:v>4.996882834491319</c:v>
                </c:pt>
                <c:pt idx="2542">
                  <c:v>4.9364329709090953</c:v>
                </c:pt>
                <c:pt idx="2543">
                  <c:v>5.9992251364965448</c:v>
                </c:pt>
                <c:pt idx="2544">
                  <c:v>5.0397288634711908</c:v>
                </c:pt>
                <c:pt idx="2545">
                  <c:v>5.8559885668752649</c:v>
                </c:pt>
                <c:pt idx="2546">
                  <c:v>5.1327580127454002</c:v>
                </c:pt>
                <c:pt idx="2547">
                  <c:v>5.826429056504435</c:v>
                </c:pt>
                <c:pt idx="2548">
                  <c:v>4.8514888051819778</c:v>
                </c:pt>
                <c:pt idx="2549">
                  <c:v>6.071713955561254</c:v>
                </c:pt>
                <c:pt idx="2550">
                  <c:v>4.9504552550016641</c:v>
                </c:pt>
                <c:pt idx="2551">
                  <c:v>6.0366217520638861</c:v>
                </c:pt>
                <c:pt idx="2552">
                  <c:v>4.9008374201761686</c:v>
                </c:pt>
                <c:pt idx="2553">
                  <c:v>5.9374280066023113</c:v>
                </c:pt>
                <c:pt idx="2554">
                  <c:v>5.0737027499721847</c:v>
                </c:pt>
                <c:pt idx="2555">
                  <c:v>6.1465540659459847</c:v>
                </c:pt>
                <c:pt idx="2556">
                  <c:v>6.8754152699111595</c:v>
                </c:pt>
                <c:pt idx="2557">
                  <c:v>5.9232413848584731</c:v>
                </c:pt>
                <c:pt idx="2558">
                  <c:v>5.162535956926674</c:v>
                </c:pt>
                <c:pt idx="2559">
                  <c:v>6.0995300819903946</c:v>
                </c:pt>
                <c:pt idx="2560">
                  <c:v>7.0110943036507729</c:v>
                </c:pt>
                <c:pt idx="2561">
                  <c:v>6.0035609440245814</c:v>
                </c:pt>
                <c:pt idx="2562">
                  <c:v>6.1185942611634117</c:v>
                </c:pt>
                <c:pt idx="2563">
                  <c:v>4.8935349083257487</c:v>
                </c:pt>
                <c:pt idx="2564">
                  <c:v>5.1205977674223311</c:v>
                </c:pt>
                <c:pt idx="2565">
                  <c:v>4.8942744382541123</c:v>
                </c:pt>
                <c:pt idx="2566">
                  <c:v>5.0038663785345792</c:v>
                </c:pt>
                <c:pt idx="2567">
                  <c:v>6.0687873139274071</c:v>
                </c:pt>
                <c:pt idx="2568">
                  <c:v>5.92154383539589</c:v>
                </c:pt>
                <c:pt idx="2569">
                  <c:v>6.0142957732288389</c:v>
                </c:pt>
                <c:pt idx="2570">
                  <c:v>4.8954616694267026</c:v>
                </c:pt>
                <c:pt idx="2571">
                  <c:v>6.0677900612419267</c:v>
                </c:pt>
                <c:pt idx="2572">
                  <c:v>5.9305056489271903</c:v>
                </c:pt>
                <c:pt idx="2573">
                  <c:v>5.0974647427491533</c:v>
                </c:pt>
                <c:pt idx="2574">
                  <c:v>5.0041454004838464</c:v>
                </c:pt>
                <c:pt idx="2575">
                  <c:v>6.0429469408276235</c:v>
                </c:pt>
                <c:pt idx="2576">
                  <c:v>4.9065530513225459</c:v>
                </c:pt>
                <c:pt idx="2577">
                  <c:v>5.0115333325499307</c:v>
                </c:pt>
                <c:pt idx="2578">
                  <c:v>5.0532150222705763</c:v>
                </c:pt>
                <c:pt idx="2579">
                  <c:v>5.9125682600452469</c:v>
                </c:pt>
                <c:pt idx="2580">
                  <c:v>6.0096264164435915</c:v>
                </c:pt>
                <c:pt idx="2581">
                  <c:v>5.0149185486346299</c:v>
                </c:pt>
                <c:pt idx="2582">
                  <c:v>5.8916615854205299</c:v>
                </c:pt>
                <c:pt idx="2583">
                  <c:v>6.1470382794860363</c:v>
                </c:pt>
                <c:pt idx="2584">
                  <c:v>6.0744622739866028</c:v>
                </c:pt>
                <c:pt idx="2585">
                  <c:v>7.1397231674523693</c:v>
                </c:pt>
                <c:pt idx="2586">
                  <c:v>5.9961672423361998</c:v>
                </c:pt>
                <c:pt idx="2587">
                  <c:v>4.8772987144475213</c:v>
                </c:pt>
                <c:pt idx="2588">
                  <c:v>5.0326282854480189</c:v>
                </c:pt>
                <c:pt idx="2589">
                  <c:v>6.1945722244010604</c:v>
                </c:pt>
                <c:pt idx="2590">
                  <c:v>5.9732025164339024</c:v>
                </c:pt>
                <c:pt idx="2591">
                  <c:v>6.0617042364514226</c:v>
                </c:pt>
                <c:pt idx="2592">
                  <c:v>5.8234613180889081</c:v>
                </c:pt>
                <c:pt idx="2593">
                  <c:v>4.9925844897629883</c:v>
                </c:pt>
                <c:pt idx="2594">
                  <c:v>5.8287512164183557</c:v>
                </c:pt>
                <c:pt idx="2595">
                  <c:v>6.0792643343976298</c:v>
                </c:pt>
                <c:pt idx="2596">
                  <c:v>4.9291717889185209</c:v>
                </c:pt>
                <c:pt idx="2597">
                  <c:v>5.9587693590891124</c:v>
                </c:pt>
                <c:pt idx="2598">
                  <c:v>5.0480770796375474</c:v>
                </c:pt>
                <c:pt idx="2599">
                  <c:v>6.0209332339017712</c:v>
                </c:pt>
                <c:pt idx="2600">
                  <c:v>5.9715366065071755</c:v>
                </c:pt>
                <c:pt idx="2601">
                  <c:v>4.8708988934479391</c:v>
                </c:pt>
                <c:pt idx="2602">
                  <c:v>6.0335936895427649</c:v>
                </c:pt>
                <c:pt idx="2603">
                  <c:v>6.2938335455363807</c:v>
                </c:pt>
                <c:pt idx="2604">
                  <c:v>5.9856815120684006</c:v>
                </c:pt>
                <c:pt idx="2605">
                  <c:v>7.0596212708866402</c:v>
                </c:pt>
                <c:pt idx="2606">
                  <c:v>6.026066124470038</c:v>
                </c:pt>
                <c:pt idx="2607">
                  <c:v>5.9086390144749794</c:v>
                </c:pt>
                <c:pt idx="2608">
                  <c:v>5.9028082426598489</c:v>
                </c:pt>
                <c:pt idx="2609">
                  <c:v>5.8122032318314183</c:v>
                </c:pt>
                <c:pt idx="2610">
                  <c:v>4.8502572523481327</c:v>
                </c:pt>
                <c:pt idx="2611">
                  <c:v>4.8930648443206923</c:v>
                </c:pt>
                <c:pt idx="2612">
                  <c:v>4.8686860235669371</c:v>
                </c:pt>
                <c:pt idx="2613">
                  <c:v>5.1060114503204304</c:v>
                </c:pt>
                <c:pt idx="2614">
                  <c:v>7.089366131956047</c:v>
                </c:pt>
                <c:pt idx="2615">
                  <c:v>5.8983872874971688</c:v>
                </c:pt>
                <c:pt idx="2616">
                  <c:v>6.164918615262053</c:v>
                </c:pt>
                <c:pt idx="2617">
                  <c:v>5.9102828767499123</c:v>
                </c:pt>
                <c:pt idx="2618">
                  <c:v>7.0647199738836077</c:v>
                </c:pt>
                <c:pt idx="2619">
                  <c:v>3.9364676096566713</c:v>
                </c:pt>
                <c:pt idx="2620">
                  <c:v>5.0866368812741722</c:v>
                </c:pt>
                <c:pt idx="2621">
                  <c:v>4.9787681033556375</c:v>
                </c:pt>
                <c:pt idx="2622">
                  <c:v>4.7888275216880318</c:v>
                </c:pt>
                <c:pt idx="2623">
                  <c:v>6.1791424824549823</c:v>
                </c:pt>
                <c:pt idx="2624">
                  <c:v>5.0939187717532528</c:v>
                </c:pt>
                <c:pt idx="2625">
                  <c:v>6.0140977383496539</c:v>
                </c:pt>
                <c:pt idx="2626">
                  <c:v>6.0579830343415404</c:v>
                </c:pt>
                <c:pt idx="2627">
                  <c:v>6.0204417118218387</c:v>
                </c:pt>
                <c:pt idx="2628">
                  <c:v>4.8947638609658757</c:v>
                </c:pt>
                <c:pt idx="2629">
                  <c:v>6.0429527616385101</c:v>
                </c:pt>
                <c:pt idx="2630">
                  <c:v>4.8825191813925164</c:v>
                </c:pt>
                <c:pt idx="2631">
                  <c:v>6.1335283089705648</c:v>
                </c:pt>
                <c:pt idx="2632">
                  <c:v>2.0019872462384649</c:v>
                </c:pt>
                <c:pt idx="2633">
                  <c:v>3.080783958541979</c:v>
                </c:pt>
                <c:pt idx="2634">
                  <c:v>5.0100978255472368</c:v>
                </c:pt>
                <c:pt idx="2635">
                  <c:v>4.9212878674049723</c:v>
                </c:pt>
                <c:pt idx="2636">
                  <c:v>5.0380285317440254</c:v>
                </c:pt>
                <c:pt idx="2637">
                  <c:v>2.9598307045521244</c:v>
                </c:pt>
                <c:pt idx="2638">
                  <c:v>6.1175484118078227</c:v>
                </c:pt>
                <c:pt idx="2639">
                  <c:v>6.8973666588171305</c:v>
                </c:pt>
                <c:pt idx="2640">
                  <c:v>5.9683945036660822</c:v>
                </c:pt>
                <c:pt idx="2641">
                  <c:v>6.9803537453395048</c:v>
                </c:pt>
                <c:pt idx="2642">
                  <c:v>4.9696708150620061</c:v>
                </c:pt>
                <c:pt idx="2643">
                  <c:v>5.9285534946359384</c:v>
                </c:pt>
                <c:pt idx="2644">
                  <c:v>4.8632471211097279</c:v>
                </c:pt>
                <c:pt idx="2645">
                  <c:v>5.0245881745168575</c:v>
                </c:pt>
                <c:pt idx="2646">
                  <c:v>5.1227616957049369</c:v>
                </c:pt>
                <c:pt idx="2647">
                  <c:v>4.047950356467573</c:v>
                </c:pt>
                <c:pt idx="2648">
                  <c:v>5.0476382184363784</c:v>
                </c:pt>
                <c:pt idx="2649">
                  <c:v>4.9352579923116799</c:v>
                </c:pt>
                <c:pt idx="2650">
                  <c:v>5.0812050927651367</c:v>
                </c:pt>
                <c:pt idx="2651">
                  <c:v>5.0445168000952822</c:v>
                </c:pt>
                <c:pt idx="2652">
                  <c:v>5.8309898967946463</c:v>
                </c:pt>
                <c:pt idx="2653">
                  <c:v>6.0153250425696028</c:v>
                </c:pt>
                <c:pt idx="2654">
                  <c:v>4.0333117956132174</c:v>
                </c:pt>
                <c:pt idx="2655">
                  <c:v>2.9287696178667368</c:v>
                </c:pt>
                <c:pt idx="2656">
                  <c:v>4.8481380164172201</c:v>
                </c:pt>
                <c:pt idx="2657">
                  <c:v>4.7916464094709781</c:v>
                </c:pt>
                <c:pt idx="2658">
                  <c:v>5.0806479052675426</c:v>
                </c:pt>
                <c:pt idx="2659">
                  <c:v>4.8861720436130325</c:v>
                </c:pt>
                <c:pt idx="2660">
                  <c:v>3.8487782947857894</c:v>
                </c:pt>
                <c:pt idx="2661">
                  <c:v>6.0812425538231363</c:v>
                </c:pt>
                <c:pt idx="2662">
                  <c:v>4.0435566821510847</c:v>
                </c:pt>
                <c:pt idx="2663">
                  <c:v>3.9584363625461059</c:v>
                </c:pt>
                <c:pt idx="2664">
                  <c:v>4.8276991875232982</c:v>
                </c:pt>
                <c:pt idx="2665">
                  <c:v>4.8697619248380768</c:v>
                </c:pt>
                <c:pt idx="2666">
                  <c:v>2.9051017967003747</c:v>
                </c:pt>
                <c:pt idx="2667">
                  <c:v>4.0301861747171497</c:v>
                </c:pt>
                <c:pt idx="2668">
                  <c:v>5.0084596790686753</c:v>
                </c:pt>
                <c:pt idx="2669">
                  <c:v>5.9719106107932669</c:v>
                </c:pt>
                <c:pt idx="2670">
                  <c:v>5.9761738245806626</c:v>
                </c:pt>
                <c:pt idx="2671">
                  <c:v>4.9662829058169926</c:v>
                </c:pt>
                <c:pt idx="2672">
                  <c:v>5.9160805288338203</c:v>
                </c:pt>
                <c:pt idx="2673">
                  <c:v>2.9136450868945389</c:v>
                </c:pt>
                <c:pt idx="2674">
                  <c:v>4.8151517212207544</c:v>
                </c:pt>
                <c:pt idx="2675">
                  <c:v>5.8528684239077684</c:v>
                </c:pt>
                <c:pt idx="2676">
                  <c:v>6.9807557040252881</c:v>
                </c:pt>
                <c:pt idx="2677">
                  <c:v>4.9895889827432374</c:v>
                </c:pt>
                <c:pt idx="2678">
                  <c:v>5.9749666813374871</c:v>
                </c:pt>
                <c:pt idx="2679">
                  <c:v>4.9731926436916387</c:v>
                </c:pt>
                <c:pt idx="2680">
                  <c:v>4.995176272170271</c:v>
                </c:pt>
                <c:pt idx="2681">
                  <c:v>4.8942081705575555</c:v>
                </c:pt>
                <c:pt idx="2682">
                  <c:v>6.0288775921519555</c:v>
                </c:pt>
                <c:pt idx="2683">
                  <c:v>6.0882043814713809</c:v>
                </c:pt>
                <c:pt idx="2684">
                  <c:v>5.0261025173891634</c:v>
                </c:pt>
                <c:pt idx="2685">
                  <c:v>4.0067496110208065</c:v>
                </c:pt>
                <c:pt idx="2686">
                  <c:v>5.9784748866812647</c:v>
                </c:pt>
                <c:pt idx="2687">
                  <c:v>3.9775589269959362</c:v>
                </c:pt>
                <c:pt idx="2688">
                  <c:v>6.0265191764657624</c:v>
                </c:pt>
                <c:pt idx="2689">
                  <c:v>4.8007867530719279</c:v>
                </c:pt>
                <c:pt idx="2690">
                  <c:v>6.0773664626404811</c:v>
                </c:pt>
                <c:pt idx="2691">
                  <c:v>5.0545764203414727</c:v>
                </c:pt>
                <c:pt idx="2692">
                  <c:v>5.8032267297427822</c:v>
                </c:pt>
                <c:pt idx="2693">
                  <c:v>4.874297447991645</c:v>
                </c:pt>
                <c:pt idx="2694">
                  <c:v>5.9071480698802432</c:v>
                </c:pt>
                <c:pt idx="2695">
                  <c:v>4.9713236903023272</c:v>
                </c:pt>
                <c:pt idx="2696">
                  <c:v>5.9958751245830673</c:v>
                </c:pt>
                <c:pt idx="2697">
                  <c:v>6.1066067715632872</c:v>
                </c:pt>
                <c:pt idx="2698">
                  <c:v>4.975442965803281</c:v>
                </c:pt>
                <c:pt idx="2699">
                  <c:v>5.0956840726930128</c:v>
                </c:pt>
                <c:pt idx="2700">
                  <c:v>6.0929042740208077</c:v>
                </c:pt>
                <c:pt idx="2701">
                  <c:v>6.1326737025625562</c:v>
                </c:pt>
                <c:pt idx="2702">
                  <c:v>5.9037766056190932</c:v>
                </c:pt>
                <c:pt idx="2703">
                  <c:v>5.1239397687255597</c:v>
                </c:pt>
                <c:pt idx="2704">
                  <c:v>5.0109875296615041</c:v>
                </c:pt>
                <c:pt idx="2705">
                  <c:v>5.9952519812194964</c:v>
                </c:pt>
                <c:pt idx="2706">
                  <c:v>5.0572122528446561</c:v>
                </c:pt>
                <c:pt idx="2707">
                  <c:v>5.0197701237582377</c:v>
                </c:pt>
                <c:pt idx="2708">
                  <c:v>4.7541207485551933</c:v>
                </c:pt>
                <c:pt idx="2709">
                  <c:v>5.9414831444017375</c:v>
                </c:pt>
                <c:pt idx="2710">
                  <c:v>5.0253224629586999</c:v>
                </c:pt>
                <c:pt idx="2711">
                  <c:v>4.9069660103782073</c:v>
                </c:pt>
                <c:pt idx="2712">
                  <c:v>4.988477996485047</c:v>
                </c:pt>
                <c:pt idx="2713">
                  <c:v>6.0434392077676229</c:v>
                </c:pt>
                <c:pt idx="2714">
                  <c:v>5.0556750440481428</c:v>
                </c:pt>
                <c:pt idx="2715">
                  <c:v>3.7544630509847403</c:v>
                </c:pt>
                <c:pt idx="2716">
                  <c:v>4.9690133988510308</c:v>
                </c:pt>
                <c:pt idx="2717">
                  <c:v>5.8869180769289624</c:v>
                </c:pt>
                <c:pt idx="2718">
                  <c:v>4.9135376704763996</c:v>
                </c:pt>
                <c:pt idx="2719">
                  <c:v>3.7770996940627959</c:v>
                </c:pt>
                <c:pt idx="2720">
                  <c:v>4.9955778844798591</c:v>
                </c:pt>
                <c:pt idx="2721">
                  <c:v>3.8348362285517239</c:v>
                </c:pt>
                <c:pt idx="2722">
                  <c:v>5.8337823661418442</c:v>
                </c:pt>
                <c:pt idx="2723">
                  <c:v>5.1534573921188809</c:v>
                </c:pt>
                <c:pt idx="2724">
                  <c:v>3.6421782317195408</c:v>
                </c:pt>
                <c:pt idx="2725">
                  <c:v>5.9298715521920426</c:v>
                </c:pt>
                <c:pt idx="2726">
                  <c:v>8.9662551027221831</c:v>
                </c:pt>
                <c:pt idx="2727">
                  <c:v>6.049415517059308</c:v>
                </c:pt>
                <c:pt idx="2728">
                  <c:v>5.8575430940055879</c:v>
                </c:pt>
                <c:pt idx="2729">
                  <c:v>6.2239201865486047</c:v>
                </c:pt>
                <c:pt idx="2730">
                  <c:v>4.9135614596075445</c:v>
                </c:pt>
                <c:pt idx="2731">
                  <c:v>5.0294151451494962</c:v>
                </c:pt>
                <c:pt idx="2732">
                  <c:v>6.1162437083022656</c:v>
                </c:pt>
                <c:pt idx="2733">
                  <c:v>5.1325283207192269</c:v>
                </c:pt>
                <c:pt idx="2734">
                  <c:v>5.0866470906814758</c:v>
                </c:pt>
                <c:pt idx="2735">
                  <c:v>5.912631303011473</c:v>
                </c:pt>
                <c:pt idx="2736">
                  <c:v>6.0395828004568912</c:v>
                </c:pt>
                <c:pt idx="2737">
                  <c:v>4.8363684269320046</c:v>
                </c:pt>
                <c:pt idx="2738">
                  <c:v>4.8351611045881988</c:v>
                </c:pt>
                <c:pt idx="2739">
                  <c:v>6.0483389647255379</c:v>
                </c:pt>
                <c:pt idx="2740">
                  <c:v>5.872516478881793</c:v>
                </c:pt>
                <c:pt idx="2741">
                  <c:v>5.1314808340631863</c:v>
                </c:pt>
                <c:pt idx="2742">
                  <c:v>5.8965797038045178</c:v>
                </c:pt>
                <c:pt idx="2743">
                  <c:v>5.1185617648917301</c:v>
                </c:pt>
                <c:pt idx="2744">
                  <c:v>5.9608630237704823</c:v>
                </c:pt>
                <c:pt idx="2745">
                  <c:v>6.1066902063829422</c:v>
                </c:pt>
                <c:pt idx="2746">
                  <c:v>5.0248386530855935</c:v>
                </c:pt>
                <c:pt idx="2747">
                  <c:v>5.0503767182877057</c:v>
                </c:pt>
                <c:pt idx="2748">
                  <c:v>6.1855879765845163</c:v>
                </c:pt>
                <c:pt idx="2749">
                  <c:v>4.9721846100818015</c:v>
                </c:pt>
                <c:pt idx="2750">
                  <c:v>5.1077358196481635</c:v>
                </c:pt>
                <c:pt idx="2751">
                  <c:v>4.9573433010231245</c:v>
                </c:pt>
                <c:pt idx="2752">
                  <c:v>4.9672223159350652</c:v>
                </c:pt>
                <c:pt idx="2753">
                  <c:v>5.0013821165121524</c:v>
                </c:pt>
                <c:pt idx="2754">
                  <c:v>5.0033561916900995</c:v>
                </c:pt>
                <c:pt idx="2755">
                  <c:v>6.0169965755310999</c:v>
                </c:pt>
                <c:pt idx="2756">
                  <c:v>3.9851384003763592</c:v>
                </c:pt>
                <c:pt idx="2757">
                  <c:v>7.0778944145423965</c:v>
                </c:pt>
                <c:pt idx="2758">
                  <c:v>5.015295965438554</c:v>
                </c:pt>
                <c:pt idx="2759">
                  <c:v>4.9142487593140958</c:v>
                </c:pt>
                <c:pt idx="2760">
                  <c:v>5.0843278846029314</c:v>
                </c:pt>
                <c:pt idx="2761">
                  <c:v>5.0132137548147018</c:v>
                </c:pt>
                <c:pt idx="2762">
                  <c:v>5.8479829282031313</c:v>
                </c:pt>
                <c:pt idx="2763">
                  <c:v>4.879712510809803</c:v>
                </c:pt>
                <c:pt idx="2764">
                  <c:v>5.1938484426406175</c:v>
                </c:pt>
                <c:pt idx="2765">
                  <c:v>5.1491618960681329</c:v>
                </c:pt>
                <c:pt idx="2766">
                  <c:v>5.0503662861144258</c:v>
                </c:pt>
                <c:pt idx="2767">
                  <c:v>5.1619827383979366</c:v>
                </c:pt>
                <c:pt idx="2768">
                  <c:v>6.0131091378319583</c:v>
                </c:pt>
                <c:pt idx="2769">
                  <c:v>4.032626752804501</c:v>
                </c:pt>
                <c:pt idx="2770">
                  <c:v>5.1098297446247045</c:v>
                </c:pt>
                <c:pt idx="2771">
                  <c:v>5.0305168103225153</c:v>
                </c:pt>
                <c:pt idx="2772">
                  <c:v>4.9233644299508628</c:v>
                </c:pt>
                <c:pt idx="2773">
                  <c:v>4.8915625754910845</c:v>
                </c:pt>
                <c:pt idx="2774">
                  <c:v>4.1431789811746631</c:v>
                </c:pt>
                <c:pt idx="2775">
                  <c:v>6.0419529227073436</c:v>
                </c:pt>
                <c:pt idx="2776">
                  <c:v>6.063193689346833</c:v>
                </c:pt>
                <c:pt idx="2777">
                  <c:v>5.8792679915756763</c:v>
                </c:pt>
                <c:pt idx="2778">
                  <c:v>4.1566937478611248</c:v>
                </c:pt>
                <c:pt idx="2779">
                  <c:v>6.0804915319780175</c:v>
                </c:pt>
                <c:pt idx="2780">
                  <c:v>5.9730918141946558</c:v>
                </c:pt>
                <c:pt idx="2781">
                  <c:v>6.0402745645335409</c:v>
                </c:pt>
                <c:pt idx="2782">
                  <c:v>4.9428547247483232</c:v>
                </c:pt>
                <c:pt idx="2783">
                  <c:v>6.0753365467313127</c:v>
                </c:pt>
                <c:pt idx="2784">
                  <c:v>6.0876459217547554</c:v>
                </c:pt>
                <c:pt idx="2785">
                  <c:v>5.9641061083658</c:v>
                </c:pt>
                <c:pt idx="2786">
                  <c:v>6.0023836307066647</c:v>
                </c:pt>
                <c:pt idx="2787">
                  <c:v>6.1193967229152086</c:v>
                </c:pt>
                <c:pt idx="2788">
                  <c:v>5.9757748729616003</c:v>
                </c:pt>
                <c:pt idx="2789">
                  <c:v>6.0460208259711221</c:v>
                </c:pt>
                <c:pt idx="2790">
                  <c:v>6.3167523813677882</c:v>
                </c:pt>
                <c:pt idx="2791">
                  <c:v>5.9574804745879479</c:v>
                </c:pt>
                <c:pt idx="2792">
                  <c:v>5.0944894386381856</c:v>
                </c:pt>
                <c:pt idx="2793">
                  <c:v>6.016920268248132</c:v>
                </c:pt>
                <c:pt idx="2794">
                  <c:v>6.0959944216221764</c:v>
                </c:pt>
                <c:pt idx="2795">
                  <c:v>5.1675642100854562</c:v>
                </c:pt>
                <c:pt idx="2796">
                  <c:v>6.2405267956523121</c:v>
                </c:pt>
                <c:pt idx="2797">
                  <c:v>7.0751631375727309</c:v>
                </c:pt>
                <c:pt idx="2798">
                  <c:v>4.9159084185687387</c:v>
                </c:pt>
                <c:pt idx="2799">
                  <c:v>6.1114575796116526</c:v>
                </c:pt>
                <c:pt idx="2800">
                  <c:v>7.0240130497895858</c:v>
                </c:pt>
                <c:pt idx="2801">
                  <c:v>5.8659363404440992</c:v>
                </c:pt>
                <c:pt idx="2802">
                  <c:v>6.0615731067701821</c:v>
                </c:pt>
                <c:pt idx="2803">
                  <c:v>5.9078089320424496</c:v>
                </c:pt>
                <c:pt idx="2804">
                  <c:v>6.0557225191949939</c:v>
                </c:pt>
                <c:pt idx="2805">
                  <c:v>5.9421686878922362</c:v>
                </c:pt>
                <c:pt idx="2806">
                  <c:v>5.9173437316996518</c:v>
                </c:pt>
                <c:pt idx="2807">
                  <c:v>5.0108313699572893</c:v>
                </c:pt>
                <c:pt idx="2808">
                  <c:v>4.1182387941867926</c:v>
                </c:pt>
                <c:pt idx="2809">
                  <c:v>5.9650330992386182</c:v>
                </c:pt>
                <c:pt idx="2810">
                  <c:v>5.0220753320646256</c:v>
                </c:pt>
                <c:pt idx="2811">
                  <c:v>5.9949434775291275</c:v>
                </c:pt>
                <c:pt idx="2812">
                  <c:v>4.8501145403290113</c:v>
                </c:pt>
                <c:pt idx="2813">
                  <c:v>5.9881815126894029</c:v>
                </c:pt>
                <c:pt idx="2814">
                  <c:v>6.0973414177970389</c:v>
                </c:pt>
                <c:pt idx="2815">
                  <c:v>6.2345785571258743</c:v>
                </c:pt>
                <c:pt idx="2816">
                  <c:v>6.0352478836200589</c:v>
                </c:pt>
                <c:pt idx="2817">
                  <c:v>3.961124982474117</c:v>
                </c:pt>
                <c:pt idx="2818">
                  <c:v>6.0230942749956204</c:v>
                </c:pt>
                <c:pt idx="2819">
                  <c:v>4.9903703754053179</c:v>
                </c:pt>
                <c:pt idx="2820">
                  <c:v>3.9500256702121037</c:v>
                </c:pt>
                <c:pt idx="2821">
                  <c:v>3.8989394408782769</c:v>
                </c:pt>
                <c:pt idx="2822">
                  <c:v>5.1526899863499622</c:v>
                </c:pt>
                <c:pt idx="2823">
                  <c:v>5.9926623941433785</c:v>
                </c:pt>
                <c:pt idx="2824">
                  <c:v>4.9396947252278824</c:v>
                </c:pt>
                <c:pt idx="2825">
                  <c:v>5.9220883420844537</c:v>
                </c:pt>
                <c:pt idx="2826">
                  <c:v>6.0349330509719472</c:v>
                </c:pt>
                <c:pt idx="2827">
                  <c:v>5.950386215993162</c:v>
                </c:pt>
                <c:pt idx="2828">
                  <c:v>5.9989588523568091</c:v>
                </c:pt>
                <c:pt idx="2829">
                  <c:v>4.8951462167317619</c:v>
                </c:pt>
                <c:pt idx="2830">
                  <c:v>5.0806566026001461</c:v>
                </c:pt>
                <c:pt idx="2831">
                  <c:v>4.0176046622027464</c:v>
                </c:pt>
                <c:pt idx="2832">
                  <c:v>4.9956005049410974</c:v>
                </c:pt>
                <c:pt idx="2833">
                  <c:v>4.8430160002117502</c:v>
                </c:pt>
                <c:pt idx="2834">
                  <c:v>5.9504148263106034</c:v>
                </c:pt>
                <c:pt idx="2835">
                  <c:v>4.9058119336605266</c:v>
                </c:pt>
                <c:pt idx="2836">
                  <c:v>3.9550900428509701</c:v>
                </c:pt>
                <c:pt idx="2837">
                  <c:v>4.0253574279285331</c:v>
                </c:pt>
                <c:pt idx="2838">
                  <c:v>6.0919859544519364</c:v>
                </c:pt>
                <c:pt idx="2839">
                  <c:v>6.0213922521712124</c:v>
                </c:pt>
                <c:pt idx="2840">
                  <c:v>4.9353851190001459</c:v>
                </c:pt>
                <c:pt idx="2841">
                  <c:v>3.924329957336417</c:v>
                </c:pt>
                <c:pt idx="2842">
                  <c:v>4.9179551721301911</c:v>
                </c:pt>
                <c:pt idx="2843">
                  <c:v>6.0727420160288101</c:v>
                </c:pt>
                <c:pt idx="2844">
                  <c:v>4.0020317550408437</c:v>
                </c:pt>
                <c:pt idx="2845">
                  <c:v>6.1090249208861991</c:v>
                </c:pt>
                <c:pt idx="2846">
                  <c:v>5.0832734537023319</c:v>
                </c:pt>
                <c:pt idx="2847">
                  <c:v>5.9047063767205445</c:v>
                </c:pt>
                <c:pt idx="2848">
                  <c:v>4.8633640612113744</c:v>
                </c:pt>
                <c:pt idx="2849">
                  <c:v>5.0892098373345798</c:v>
                </c:pt>
                <c:pt idx="2850">
                  <c:v>5.8213735765218839</c:v>
                </c:pt>
                <c:pt idx="2851">
                  <c:v>5.8760777058449118</c:v>
                </c:pt>
                <c:pt idx="2852">
                  <c:v>4.9096190045401826</c:v>
                </c:pt>
                <c:pt idx="2853">
                  <c:v>4.9989571736930092</c:v>
                </c:pt>
                <c:pt idx="2854">
                  <c:v>6.1018874072117972</c:v>
                </c:pt>
                <c:pt idx="2855">
                  <c:v>5.954907304431539</c:v>
                </c:pt>
                <c:pt idx="2856">
                  <c:v>5.9842078977183437</c:v>
                </c:pt>
                <c:pt idx="2857">
                  <c:v>5.8948286008358544</c:v>
                </c:pt>
                <c:pt idx="2858">
                  <c:v>4.8145527621091606</c:v>
                </c:pt>
                <c:pt idx="2859">
                  <c:v>4.984340622139233</c:v>
                </c:pt>
                <c:pt idx="2860">
                  <c:v>6.0332240346492183</c:v>
                </c:pt>
                <c:pt idx="2861">
                  <c:v>7.1475247844747578</c:v>
                </c:pt>
                <c:pt idx="2862">
                  <c:v>5.9964774606390847</c:v>
                </c:pt>
                <c:pt idx="2863">
                  <c:v>5.0080339420433777</c:v>
                </c:pt>
                <c:pt idx="2864">
                  <c:v>6.1081097819818879</c:v>
                </c:pt>
                <c:pt idx="2865">
                  <c:v>6.0434386399048794</c:v>
                </c:pt>
                <c:pt idx="2866">
                  <c:v>5.888154693152134</c:v>
                </c:pt>
                <c:pt idx="2867">
                  <c:v>5.0232077532361581</c:v>
                </c:pt>
                <c:pt idx="2868">
                  <c:v>4.873421600832593</c:v>
                </c:pt>
                <c:pt idx="2869">
                  <c:v>5.9325094367185844</c:v>
                </c:pt>
                <c:pt idx="2870">
                  <c:v>4.9014595754155446</c:v>
                </c:pt>
                <c:pt idx="2871">
                  <c:v>6.9637479509646596</c:v>
                </c:pt>
                <c:pt idx="2872">
                  <c:v>4.9231327576228026</c:v>
                </c:pt>
                <c:pt idx="2873">
                  <c:v>6.0077958599872803</c:v>
                </c:pt>
                <c:pt idx="2874">
                  <c:v>6.1017998546466901</c:v>
                </c:pt>
                <c:pt idx="2875">
                  <c:v>5.008947591066268</c:v>
                </c:pt>
                <c:pt idx="2876">
                  <c:v>5.9728885259541116</c:v>
                </c:pt>
                <c:pt idx="2877">
                  <c:v>5.1552439782164914</c:v>
                </c:pt>
                <c:pt idx="2878">
                  <c:v>4.8304206219878489</c:v>
                </c:pt>
                <c:pt idx="2879">
                  <c:v>6.1397422107711872</c:v>
                </c:pt>
                <c:pt idx="2880">
                  <c:v>6.1116687181186524</c:v>
                </c:pt>
                <c:pt idx="2881">
                  <c:v>5.8097615342968965</c:v>
                </c:pt>
                <c:pt idx="2882">
                  <c:v>5.0459622909538595</c:v>
                </c:pt>
                <c:pt idx="2883">
                  <c:v>5.6017887509581126</c:v>
                </c:pt>
                <c:pt idx="2884">
                  <c:v>6.9056090615372687</c:v>
                </c:pt>
                <c:pt idx="2885">
                  <c:v>4.875649856655472</c:v>
                </c:pt>
                <c:pt idx="2886">
                  <c:v>5.1223383913646225</c:v>
                </c:pt>
                <c:pt idx="2887">
                  <c:v>4.9820488002532617</c:v>
                </c:pt>
                <c:pt idx="2888">
                  <c:v>4.96348275640345</c:v>
                </c:pt>
                <c:pt idx="2889">
                  <c:v>7.0057823202157232</c:v>
                </c:pt>
                <c:pt idx="2890">
                  <c:v>5.1075251082778612</c:v>
                </c:pt>
                <c:pt idx="2891">
                  <c:v>4.9354404529603144</c:v>
                </c:pt>
                <c:pt idx="2892">
                  <c:v>6.148992393805675</c:v>
                </c:pt>
                <c:pt idx="2893">
                  <c:v>5.0249834922026286</c:v>
                </c:pt>
                <c:pt idx="2894">
                  <c:v>5.0056499575928539</c:v>
                </c:pt>
                <c:pt idx="2895">
                  <c:v>4.9829489332641925</c:v>
                </c:pt>
                <c:pt idx="2896">
                  <c:v>4.9030268743007133</c:v>
                </c:pt>
                <c:pt idx="2897">
                  <c:v>6.1967015692036433</c:v>
                </c:pt>
                <c:pt idx="2898">
                  <c:v>6.9381339802947908</c:v>
                </c:pt>
                <c:pt idx="2899">
                  <c:v>6.0619853098002556</c:v>
                </c:pt>
                <c:pt idx="2900">
                  <c:v>4.8619483063095545</c:v>
                </c:pt>
                <c:pt idx="2901">
                  <c:v>4.963517954739407</c:v>
                </c:pt>
                <c:pt idx="2902">
                  <c:v>5.9660399229940611</c:v>
                </c:pt>
                <c:pt idx="2903">
                  <c:v>6.9788986229887966</c:v>
                </c:pt>
                <c:pt idx="2904">
                  <c:v>7.0716555255776949</c:v>
                </c:pt>
                <c:pt idx="2905">
                  <c:v>5.0936499968392219</c:v>
                </c:pt>
                <c:pt idx="2906">
                  <c:v>6.125897014889226</c:v>
                </c:pt>
                <c:pt idx="2907">
                  <c:v>6.9761037796297147</c:v>
                </c:pt>
                <c:pt idx="2908">
                  <c:v>5.0067208670434331</c:v>
                </c:pt>
                <c:pt idx="2909">
                  <c:v>4.9956632407372714</c:v>
                </c:pt>
                <c:pt idx="2910">
                  <c:v>6.0329453589333006</c:v>
                </c:pt>
                <c:pt idx="2911">
                  <c:v>7.0198298641989254</c:v>
                </c:pt>
                <c:pt idx="2912">
                  <c:v>4.905863056912291</c:v>
                </c:pt>
                <c:pt idx="2913">
                  <c:v>5.0404384240951012</c:v>
                </c:pt>
                <c:pt idx="2914">
                  <c:v>5.9492519181822292</c:v>
                </c:pt>
                <c:pt idx="2915">
                  <c:v>5.0817652677880787</c:v>
                </c:pt>
                <c:pt idx="2916">
                  <c:v>5.0180621660288569</c:v>
                </c:pt>
                <c:pt idx="2917">
                  <c:v>6.9560618511466501</c:v>
                </c:pt>
                <c:pt idx="2918">
                  <c:v>5.0245730735936336</c:v>
                </c:pt>
                <c:pt idx="2919">
                  <c:v>5.1383574098352325</c:v>
                </c:pt>
                <c:pt idx="2920">
                  <c:v>6.1232976922532325</c:v>
                </c:pt>
                <c:pt idx="2921">
                  <c:v>5.0192540756905526</c:v>
                </c:pt>
                <c:pt idx="2922">
                  <c:v>5.9301647912924675</c:v>
                </c:pt>
                <c:pt idx="2923">
                  <c:v>5.0596875386437539</c:v>
                </c:pt>
                <c:pt idx="2924">
                  <c:v>5.8386039894531532</c:v>
                </c:pt>
                <c:pt idx="2925">
                  <c:v>6.1979944043807738</c:v>
                </c:pt>
                <c:pt idx="2926">
                  <c:v>5.1413949364584983</c:v>
                </c:pt>
                <c:pt idx="2927">
                  <c:v>5.9674310878643597</c:v>
                </c:pt>
                <c:pt idx="2928">
                  <c:v>5.0241066934888536</c:v>
                </c:pt>
                <c:pt idx="2929">
                  <c:v>5.9760881388882465</c:v>
                </c:pt>
                <c:pt idx="2930">
                  <c:v>5.9097380261017101</c:v>
                </c:pt>
                <c:pt idx="2931">
                  <c:v>4.892008265889757</c:v>
                </c:pt>
                <c:pt idx="2932">
                  <c:v>4.9275825378513538</c:v>
                </c:pt>
                <c:pt idx="2933">
                  <c:v>5.0562802625303469</c:v>
                </c:pt>
                <c:pt idx="2934">
                  <c:v>4.818545182284578</c:v>
                </c:pt>
                <c:pt idx="2935">
                  <c:v>5.0857536536019055</c:v>
                </c:pt>
                <c:pt idx="2936">
                  <c:v>6.0409469551921422</c:v>
                </c:pt>
                <c:pt idx="2937">
                  <c:v>4.8699735788735614</c:v>
                </c:pt>
                <c:pt idx="2938">
                  <c:v>4.9209622066097749</c:v>
                </c:pt>
                <c:pt idx="2939">
                  <c:v>3.9032332907816656</c:v>
                </c:pt>
                <c:pt idx="2940">
                  <c:v>4.9193255389468149</c:v>
                </c:pt>
                <c:pt idx="2941">
                  <c:v>5.9290804733414317</c:v>
                </c:pt>
                <c:pt idx="2942">
                  <c:v>5.9887875854379766</c:v>
                </c:pt>
                <c:pt idx="2943">
                  <c:v>4.8888152539737693</c:v>
                </c:pt>
                <c:pt idx="2944">
                  <c:v>5.0830444060228892</c:v>
                </c:pt>
                <c:pt idx="2945">
                  <c:v>4.8469075911575885</c:v>
                </c:pt>
                <c:pt idx="2946">
                  <c:v>5.8944782920973298</c:v>
                </c:pt>
                <c:pt idx="2947">
                  <c:v>6.0757437402098597</c:v>
                </c:pt>
                <c:pt idx="2948">
                  <c:v>5.8407229695124823</c:v>
                </c:pt>
                <c:pt idx="2949">
                  <c:v>4.9458884114053108</c:v>
                </c:pt>
                <c:pt idx="2950">
                  <c:v>4.9517177091993547</c:v>
                </c:pt>
                <c:pt idx="2951">
                  <c:v>6.2050173175007357</c:v>
                </c:pt>
                <c:pt idx="2952">
                  <c:v>4.8931074474657592</c:v>
                </c:pt>
                <c:pt idx="2953">
                  <c:v>6.1767108265342987</c:v>
                </c:pt>
                <c:pt idx="2954">
                  <c:v>4.8895192286047502</c:v>
                </c:pt>
                <c:pt idx="2955">
                  <c:v>5.9321357659252039</c:v>
                </c:pt>
                <c:pt idx="2956">
                  <c:v>6.0260895440517546</c:v>
                </c:pt>
                <c:pt idx="2957">
                  <c:v>6.0218450216457979</c:v>
                </c:pt>
                <c:pt idx="2958">
                  <c:v>6.0450111511169666</c:v>
                </c:pt>
                <c:pt idx="2959">
                  <c:v>5.9709909477148537</c:v>
                </c:pt>
                <c:pt idx="2960">
                  <c:v>5.9479220267201889</c:v>
                </c:pt>
                <c:pt idx="2961">
                  <c:v>4.9345107042089875</c:v>
                </c:pt>
                <c:pt idx="2962">
                  <c:v>4.8867799825411566</c:v>
                </c:pt>
                <c:pt idx="2963">
                  <c:v>4.9638366318085145</c:v>
                </c:pt>
                <c:pt idx="2964">
                  <c:v>6.1444920552531626</c:v>
                </c:pt>
                <c:pt idx="2965">
                  <c:v>4.9662499538727678</c:v>
                </c:pt>
                <c:pt idx="2966">
                  <c:v>4.8857799875696815</c:v>
                </c:pt>
                <c:pt idx="2967">
                  <c:v>5.0959104390189411</c:v>
                </c:pt>
                <c:pt idx="2968">
                  <c:v>4.9687422386951647</c:v>
                </c:pt>
                <c:pt idx="2969">
                  <c:v>5.7312775628434451</c:v>
                </c:pt>
                <c:pt idx="2970">
                  <c:v>5.9116562012025522</c:v>
                </c:pt>
                <c:pt idx="2971">
                  <c:v>5.0206328060219523</c:v>
                </c:pt>
                <c:pt idx="2972">
                  <c:v>4.8777787602622906</c:v>
                </c:pt>
                <c:pt idx="2973">
                  <c:v>6.0863734297576411</c:v>
                </c:pt>
                <c:pt idx="2974">
                  <c:v>5.874241660513257</c:v>
                </c:pt>
                <c:pt idx="2975">
                  <c:v>5.9861899815068833</c:v>
                </c:pt>
                <c:pt idx="2976">
                  <c:v>5.109243874640276</c:v>
                </c:pt>
                <c:pt idx="2977">
                  <c:v>5.8096743831078319</c:v>
                </c:pt>
                <c:pt idx="2978">
                  <c:v>6.0064917735407093</c:v>
                </c:pt>
                <c:pt idx="2979">
                  <c:v>5.931564205971501</c:v>
                </c:pt>
                <c:pt idx="2980">
                  <c:v>5.0819653782712857</c:v>
                </c:pt>
                <c:pt idx="2981">
                  <c:v>5.0443851650820868</c:v>
                </c:pt>
                <c:pt idx="2982">
                  <c:v>5.193843136586235</c:v>
                </c:pt>
                <c:pt idx="2983">
                  <c:v>6.1677016278124963</c:v>
                </c:pt>
                <c:pt idx="2984">
                  <c:v>4.8539782620645147</c:v>
                </c:pt>
                <c:pt idx="2985">
                  <c:v>4.9517506665105424</c:v>
                </c:pt>
                <c:pt idx="2986">
                  <c:v>5.1150743928150346</c:v>
                </c:pt>
                <c:pt idx="2987">
                  <c:v>4.7574386320052584</c:v>
                </c:pt>
                <c:pt idx="2988">
                  <c:v>5.0913291252602066</c:v>
                </c:pt>
                <c:pt idx="2989">
                  <c:v>6.1357508997813648</c:v>
                </c:pt>
                <c:pt idx="2990">
                  <c:v>4.9964791885364415</c:v>
                </c:pt>
                <c:pt idx="2991">
                  <c:v>6.0487166010749043</c:v>
                </c:pt>
                <c:pt idx="2992">
                  <c:v>5.0532062828564781</c:v>
                </c:pt>
                <c:pt idx="2993">
                  <c:v>5.0433915545234251</c:v>
                </c:pt>
                <c:pt idx="2994">
                  <c:v>6.0502945759139575</c:v>
                </c:pt>
                <c:pt idx="2995">
                  <c:v>6.1173824866224606</c:v>
                </c:pt>
                <c:pt idx="2996">
                  <c:v>6.0373141824889194</c:v>
                </c:pt>
                <c:pt idx="2997">
                  <c:v>5.1736675318943988</c:v>
                </c:pt>
                <c:pt idx="2998">
                  <c:v>5.104219345512603</c:v>
                </c:pt>
                <c:pt idx="2999">
                  <c:v>4.9530183945985309</c:v>
                </c:pt>
                <c:pt idx="3000">
                  <c:v>5.0136228609982494</c:v>
                </c:pt>
                <c:pt idx="3001">
                  <c:v>5.9688464242601977</c:v>
                </c:pt>
                <c:pt idx="3002">
                  <c:v>5.9628702564721632</c:v>
                </c:pt>
                <c:pt idx="3003">
                  <c:v>5.7841462993714412</c:v>
                </c:pt>
                <c:pt idx="3004">
                  <c:v>5.1169793677571702</c:v>
                </c:pt>
                <c:pt idx="3005">
                  <c:v>4.9892799765676203</c:v>
                </c:pt>
                <c:pt idx="3006">
                  <c:v>6.0888098975381926</c:v>
                </c:pt>
                <c:pt idx="3007">
                  <c:v>6.0481156096598276</c:v>
                </c:pt>
                <c:pt idx="3008">
                  <c:v>4.999787561404295</c:v>
                </c:pt>
                <c:pt idx="3009">
                  <c:v>6.0841350901568081</c:v>
                </c:pt>
                <c:pt idx="3010">
                  <c:v>5.9684544888300692</c:v>
                </c:pt>
                <c:pt idx="3011">
                  <c:v>5.0870028359950723</c:v>
                </c:pt>
                <c:pt idx="3012">
                  <c:v>5.9834479528475928</c:v>
                </c:pt>
                <c:pt idx="3013">
                  <c:v>6.1144871787684583</c:v>
                </c:pt>
                <c:pt idx="3014">
                  <c:v>5.9971792222490876</c:v>
                </c:pt>
                <c:pt idx="3015">
                  <c:v>4.8682342557684226</c:v>
                </c:pt>
                <c:pt idx="3016">
                  <c:v>4.8746512354316707</c:v>
                </c:pt>
                <c:pt idx="3017">
                  <c:v>4.8409680602118765</c:v>
                </c:pt>
                <c:pt idx="3018">
                  <c:v>6.0265399970627165</c:v>
                </c:pt>
                <c:pt idx="3019">
                  <c:v>4.9928539830874978</c:v>
                </c:pt>
                <c:pt idx="3020">
                  <c:v>6.089791800071569</c:v>
                </c:pt>
                <c:pt idx="3021">
                  <c:v>6.0174645801363127</c:v>
                </c:pt>
                <c:pt idx="3022">
                  <c:v>4.9234010270288007</c:v>
                </c:pt>
                <c:pt idx="3023">
                  <c:v>5.0826783352618499</c:v>
                </c:pt>
                <c:pt idx="3024">
                  <c:v>5.0559740580380108</c:v>
                </c:pt>
                <c:pt idx="3025">
                  <c:v>6.1112700158625319</c:v>
                </c:pt>
                <c:pt idx="3026">
                  <c:v>5.7752595366751809</c:v>
                </c:pt>
                <c:pt idx="3027">
                  <c:v>5.9665880384078669</c:v>
                </c:pt>
                <c:pt idx="3028">
                  <c:v>4.9895250271598321</c:v>
                </c:pt>
                <c:pt idx="3029">
                  <c:v>4.9784488941624234</c:v>
                </c:pt>
                <c:pt idx="3030">
                  <c:v>4.9815032897103446</c:v>
                </c:pt>
                <c:pt idx="3031">
                  <c:v>4.8785555474562949</c:v>
                </c:pt>
                <c:pt idx="3032">
                  <c:v>6.1427370979617129</c:v>
                </c:pt>
                <c:pt idx="3033">
                  <c:v>5.0294513295842469</c:v>
                </c:pt>
                <c:pt idx="3034">
                  <c:v>5.830853242525281</c:v>
                </c:pt>
                <c:pt idx="3035">
                  <c:v>5.0780389708028038</c:v>
                </c:pt>
                <c:pt idx="3036">
                  <c:v>4.9505081761825016</c:v>
                </c:pt>
                <c:pt idx="3037">
                  <c:v>6.1734209170173466</c:v>
                </c:pt>
                <c:pt idx="3038">
                  <c:v>6.0945572192069548</c:v>
                </c:pt>
                <c:pt idx="3039">
                  <c:v>4.0084647361630248</c:v>
                </c:pt>
                <c:pt idx="3040">
                  <c:v>5.0523016788658612</c:v>
                </c:pt>
                <c:pt idx="3041">
                  <c:v>4.91675697452854</c:v>
                </c:pt>
                <c:pt idx="3042">
                  <c:v>6.0452370329441223</c:v>
                </c:pt>
                <c:pt idx="3043">
                  <c:v>5.072621405645557</c:v>
                </c:pt>
                <c:pt idx="3044">
                  <c:v>4.9283634937607541</c:v>
                </c:pt>
                <c:pt idx="3045">
                  <c:v>5.0551994446588706</c:v>
                </c:pt>
                <c:pt idx="3046">
                  <c:v>5.1311937166072186</c:v>
                </c:pt>
                <c:pt idx="3047">
                  <c:v>6.0315350504810539</c:v>
                </c:pt>
                <c:pt idx="3048">
                  <c:v>6.0042553840580313</c:v>
                </c:pt>
                <c:pt idx="3049">
                  <c:v>4.6495444375815191</c:v>
                </c:pt>
                <c:pt idx="3050">
                  <c:v>5.0164956693811309</c:v>
                </c:pt>
                <c:pt idx="3051">
                  <c:v>5.9455085377012287</c:v>
                </c:pt>
                <c:pt idx="3052">
                  <c:v>5.7812715587096246</c:v>
                </c:pt>
                <c:pt idx="3053">
                  <c:v>5.1678290061982253</c:v>
                </c:pt>
                <c:pt idx="3054">
                  <c:v>5.02973562231288</c:v>
                </c:pt>
                <c:pt idx="3055">
                  <c:v>4.8796010327735813</c:v>
                </c:pt>
                <c:pt idx="3056">
                  <c:v>5.0413804094136285</c:v>
                </c:pt>
                <c:pt idx="3057">
                  <c:v>5.8895297181617874</c:v>
                </c:pt>
                <c:pt idx="3058">
                  <c:v>5.0828374205656672</c:v>
                </c:pt>
                <c:pt idx="3059">
                  <c:v>5.986112219121388</c:v>
                </c:pt>
                <c:pt idx="3060">
                  <c:v>6.1396289750241664</c:v>
                </c:pt>
                <c:pt idx="3061">
                  <c:v>5.7955633897386756</c:v>
                </c:pt>
                <c:pt idx="3062">
                  <c:v>4.9536775016220957</c:v>
                </c:pt>
                <c:pt idx="3063">
                  <c:v>5.9648799135558059</c:v>
                </c:pt>
                <c:pt idx="3064">
                  <c:v>5.0348184657764286</c:v>
                </c:pt>
                <c:pt idx="3065">
                  <c:v>6.0646475832774591</c:v>
                </c:pt>
                <c:pt idx="3066">
                  <c:v>5.0021791288001278</c:v>
                </c:pt>
                <c:pt idx="3067">
                  <c:v>5.9318697540166836</c:v>
                </c:pt>
                <c:pt idx="3068">
                  <c:v>5.0721205435648793</c:v>
                </c:pt>
                <c:pt idx="3069">
                  <c:v>5.1204007673582241</c:v>
                </c:pt>
                <c:pt idx="3070">
                  <c:v>6.1464262242771879</c:v>
                </c:pt>
                <c:pt idx="3071">
                  <c:v>4.9308306519422906</c:v>
                </c:pt>
                <c:pt idx="3072">
                  <c:v>6.1176229716791362</c:v>
                </c:pt>
                <c:pt idx="3073">
                  <c:v>5.0560637921248466</c:v>
                </c:pt>
                <c:pt idx="3074">
                  <c:v>4.8227622579600302</c:v>
                </c:pt>
                <c:pt idx="3075">
                  <c:v>5.8978036321624634</c:v>
                </c:pt>
                <c:pt idx="3076">
                  <c:v>5.8553295479539678</c:v>
                </c:pt>
                <c:pt idx="3077">
                  <c:v>5.1384303538077791</c:v>
                </c:pt>
                <c:pt idx="3078">
                  <c:v>5.0415496488869778</c:v>
                </c:pt>
                <c:pt idx="3079">
                  <c:v>4.8972121373363402</c:v>
                </c:pt>
                <c:pt idx="3080">
                  <c:v>4.9737354331990389</c:v>
                </c:pt>
                <c:pt idx="3081">
                  <c:v>5.1107373651577293</c:v>
                </c:pt>
                <c:pt idx="3082">
                  <c:v>4.8752015090494929</c:v>
                </c:pt>
                <c:pt idx="3083">
                  <c:v>5.0809849092070181</c:v>
                </c:pt>
                <c:pt idx="3084">
                  <c:v>4.933450353971339</c:v>
                </c:pt>
                <c:pt idx="3085">
                  <c:v>6.85809939002338</c:v>
                </c:pt>
                <c:pt idx="3086">
                  <c:v>5.1685460188382697</c:v>
                </c:pt>
                <c:pt idx="3087">
                  <c:v>5.9730710665126407</c:v>
                </c:pt>
                <c:pt idx="3088">
                  <c:v>3.9835324160956116</c:v>
                </c:pt>
                <c:pt idx="3089">
                  <c:v>5.1439258993317551</c:v>
                </c:pt>
                <c:pt idx="3090">
                  <c:v>4.9223128018624935</c:v>
                </c:pt>
                <c:pt idx="3091">
                  <c:v>6.0691681866951868</c:v>
                </c:pt>
                <c:pt idx="3092">
                  <c:v>4.8696740104071656</c:v>
                </c:pt>
                <c:pt idx="3093">
                  <c:v>6.0698451894303496</c:v>
                </c:pt>
                <c:pt idx="3094">
                  <c:v>5.9528397076534265</c:v>
                </c:pt>
                <c:pt idx="3095">
                  <c:v>4.9223428469931507</c:v>
                </c:pt>
                <c:pt idx="3096">
                  <c:v>3.7957362477976408</c:v>
                </c:pt>
                <c:pt idx="3097">
                  <c:v>4.966167961061621</c:v>
                </c:pt>
                <c:pt idx="3098">
                  <c:v>5.0048679905664262</c:v>
                </c:pt>
                <c:pt idx="3099">
                  <c:v>6.0925605946355459</c:v>
                </c:pt>
                <c:pt idx="3100">
                  <c:v>5.0993062276918248</c:v>
                </c:pt>
                <c:pt idx="3101">
                  <c:v>6.0309818080215702</c:v>
                </c:pt>
                <c:pt idx="3102">
                  <c:v>4.9403750766116454</c:v>
                </c:pt>
                <c:pt idx="3103">
                  <c:v>6.1350486330822429</c:v>
                </c:pt>
                <c:pt idx="3104">
                  <c:v>6.9204307649185646</c:v>
                </c:pt>
                <c:pt idx="3105">
                  <c:v>5.0016072431254477</c:v>
                </c:pt>
                <c:pt idx="3106">
                  <c:v>5.0644193554298802</c:v>
                </c:pt>
                <c:pt idx="3107">
                  <c:v>5.9281071269822148</c:v>
                </c:pt>
                <c:pt idx="3108">
                  <c:v>3.044502515767967</c:v>
                </c:pt>
                <c:pt idx="3109">
                  <c:v>6.1487810824817783</c:v>
                </c:pt>
                <c:pt idx="3110">
                  <c:v>5.9837925874843263</c:v>
                </c:pt>
                <c:pt idx="3111">
                  <c:v>7.0247053125195889</c:v>
                </c:pt>
                <c:pt idx="3112">
                  <c:v>6.1110279815590669</c:v>
                </c:pt>
                <c:pt idx="3113">
                  <c:v>2.0120504609962389</c:v>
                </c:pt>
                <c:pt idx="3114">
                  <c:v>4.9690895889441347</c:v>
                </c:pt>
                <c:pt idx="3115">
                  <c:v>5.1429589049825193</c:v>
                </c:pt>
                <c:pt idx="3116">
                  <c:v>1.9501203725964871</c:v>
                </c:pt>
                <c:pt idx="3117">
                  <c:v>5.9643922917608121</c:v>
                </c:pt>
                <c:pt idx="3118">
                  <c:v>5.0482274104189395</c:v>
                </c:pt>
                <c:pt idx="3119">
                  <c:v>5.9493709538986623</c:v>
                </c:pt>
                <c:pt idx="3120">
                  <c:v>5.0682115262702414</c:v>
                </c:pt>
                <c:pt idx="3121">
                  <c:v>2.0151657986977329</c:v>
                </c:pt>
                <c:pt idx="3122">
                  <c:v>5.9736743683580773</c:v>
                </c:pt>
                <c:pt idx="3123">
                  <c:v>6.0246578770310952</c:v>
                </c:pt>
                <c:pt idx="3124">
                  <c:v>7.0893216516547266</c:v>
                </c:pt>
                <c:pt idx="3125">
                  <c:v>5.9771984911801974</c:v>
                </c:pt>
                <c:pt idx="3126">
                  <c:v>5.052119943962496</c:v>
                </c:pt>
                <c:pt idx="3127">
                  <c:v>4.9628247938045718</c:v>
                </c:pt>
                <c:pt idx="3128">
                  <c:v>7.1143531943091807</c:v>
                </c:pt>
                <c:pt idx="3129">
                  <c:v>4.9317393198034578</c:v>
                </c:pt>
                <c:pt idx="3130">
                  <c:v>5.8765071931060655</c:v>
                </c:pt>
                <c:pt idx="3131">
                  <c:v>6.2223388680473724</c:v>
                </c:pt>
                <c:pt idx="3132">
                  <c:v>4.9425660461557666</c:v>
                </c:pt>
                <c:pt idx="3133">
                  <c:v>5.8390731410513705</c:v>
                </c:pt>
                <c:pt idx="3134">
                  <c:v>6.7315754947929447</c:v>
                </c:pt>
                <c:pt idx="3135">
                  <c:v>4.969779865486541</c:v>
                </c:pt>
                <c:pt idx="3136">
                  <c:v>5.8773895293998555</c:v>
                </c:pt>
                <c:pt idx="3137">
                  <c:v>5.0784576891512634</c:v>
                </c:pt>
                <c:pt idx="3138">
                  <c:v>5.9547643362628664</c:v>
                </c:pt>
                <c:pt idx="3139">
                  <c:v>7.0294427613976485</c:v>
                </c:pt>
                <c:pt idx="3140">
                  <c:v>6.8209027353597529</c:v>
                </c:pt>
                <c:pt idx="3141">
                  <c:v>5.0773697406659348</c:v>
                </c:pt>
                <c:pt idx="3142">
                  <c:v>5.004735590826539</c:v>
                </c:pt>
                <c:pt idx="3143">
                  <c:v>5.9415582764780499</c:v>
                </c:pt>
                <c:pt idx="3144">
                  <c:v>6.1247538788857003</c:v>
                </c:pt>
                <c:pt idx="3145">
                  <c:v>6.0006792921565175</c:v>
                </c:pt>
                <c:pt idx="3146">
                  <c:v>5.9270136771546165</c:v>
                </c:pt>
                <c:pt idx="3147">
                  <c:v>4.9294684462451874</c:v>
                </c:pt>
                <c:pt idx="3148">
                  <c:v>6.0317942369888824</c:v>
                </c:pt>
                <c:pt idx="3149">
                  <c:v>7.1268308639443978</c:v>
                </c:pt>
                <c:pt idx="3150">
                  <c:v>5.1981891218126126</c:v>
                </c:pt>
                <c:pt idx="3151">
                  <c:v>6.0745049909906754</c:v>
                </c:pt>
                <c:pt idx="3152">
                  <c:v>5.0082161353620087</c:v>
                </c:pt>
                <c:pt idx="3153">
                  <c:v>5.1711494151552477</c:v>
                </c:pt>
                <c:pt idx="3154">
                  <c:v>5.0254948701616504</c:v>
                </c:pt>
                <c:pt idx="3155">
                  <c:v>5.0789078699107018</c:v>
                </c:pt>
                <c:pt idx="3156">
                  <c:v>4.8775384720723522</c:v>
                </c:pt>
                <c:pt idx="3157">
                  <c:v>6.0318730087856771</c:v>
                </c:pt>
                <c:pt idx="3158">
                  <c:v>4.0004578595790017</c:v>
                </c:pt>
                <c:pt idx="3159">
                  <c:v>7.0894765041473429</c:v>
                </c:pt>
                <c:pt idx="3160">
                  <c:v>3.9123309861812507</c:v>
                </c:pt>
                <c:pt idx="3161">
                  <c:v>4.9069234146238792</c:v>
                </c:pt>
                <c:pt idx="3162">
                  <c:v>5.1569758255884324</c:v>
                </c:pt>
                <c:pt idx="3163">
                  <c:v>5.995740790450272</c:v>
                </c:pt>
                <c:pt idx="3164">
                  <c:v>4.9646321915326475</c:v>
                </c:pt>
                <c:pt idx="3165">
                  <c:v>4.9323367384300409</c:v>
                </c:pt>
                <c:pt idx="3166">
                  <c:v>5.0243879812769654</c:v>
                </c:pt>
                <c:pt idx="3167">
                  <c:v>5.1121796270948794</c:v>
                </c:pt>
                <c:pt idx="3168">
                  <c:v>6.9644571470069883</c:v>
                </c:pt>
                <c:pt idx="3169">
                  <c:v>4.9055322837360515</c:v>
                </c:pt>
                <c:pt idx="3170">
                  <c:v>4.880839157472054</c:v>
                </c:pt>
                <c:pt idx="3171">
                  <c:v>4.7485175775521249</c:v>
                </c:pt>
                <c:pt idx="3172">
                  <c:v>5.2273107223857371</c:v>
                </c:pt>
                <c:pt idx="3173">
                  <c:v>5.0138217737712951</c:v>
                </c:pt>
                <c:pt idx="3174">
                  <c:v>5.9630753942229227</c:v>
                </c:pt>
                <c:pt idx="3175">
                  <c:v>4.8151361712564116</c:v>
                </c:pt>
                <c:pt idx="3176">
                  <c:v>4.9717572401782038</c:v>
                </c:pt>
                <c:pt idx="3177">
                  <c:v>5.0813792834656839</c:v>
                </c:pt>
                <c:pt idx="3178">
                  <c:v>4.9284480661231118</c:v>
                </c:pt>
                <c:pt idx="3179">
                  <c:v>6.1947627481410006</c:v>
                </c:pt>
                <c:pt idx="3180">
                  <c:v>5.9622839704668937</c:v>
                </c:pt>
                <c:pt idx="3181">
                  <c:v>5.0041742004570056</c:v>
                </c:pt>
                <c:pt idx="3182">
                  <c:v>6.9792183348791177</c:v>
                </c:pt>
                <c:pt idx="3183">
                  <c:v>6.0159419337223969</c:v>
                </c:pt>
                <c:pt idx="3184">
                  <c:v>7.0334694640591602</c:v>
                </c:pt>
                <c:pt idx="3185">
                  <c:v>5.1143661605418282</c:v>
                </c:pt>
                <c:pt idx="3186">
                  <c:v>5.1289045163578928</c:v>
                </c:pt>
                <c:pt idx="3187">
                  <c:v>5.9806892129348599</c:v>
                </c:pt>
                <c:pt idx="3188">
                  <c:v>5.0246594507505229</c:v>
                </c:pt>
                <c:pt idx="3189">
                  <c:v>5.8759415565638156</c:v>
                </c:pt>
                <c:pt idx="3190">
                  <c:v>4.9389362497397897</c:v>
                </c:pt>
                <c:pt idx="3191">
                  <c:v>4.9504954538764956</c:v>
                </c:pt>
                <c:pt idx="3192">
                  <c:v>6.0160487451528528</c:v>
                </c:pt>
                <c:pt idx="3193">
                  <c:v>5.9092915315105241</c:v>
                </c:pt>
                <c:pt idx="3194">
                  <c:v>4.8827470912132291</c:v>
                </c:pt>
                <c:pt idx="3195">
                  <c:v>5.0080559803567102</c:v>
                </c:pt>
                <c:pt idx="3196">
                  <c:v>6.7794179863662549</c:v>
                </c:pt>
                <c:pt idx="3197">
                  <c:v>5.0954766991707672</c:v>
                </c:pt>
                <c:pt idx="3198">
                  <c:v>6.0378921324573822</c:v>
                </c:pt>
                <c:pt idx="3199">
                  <c:v>6.9383656811045302</c:v>
                </c:pt>
                <c:pt idx="3200">
                  <c:v>4.9809282489560252</c:v>
                </c:pt>
                <c:pt idx="3201">
                  <c:v>5.1278392411238567</c:v>
                </c:pt>
                <c:pt idx="3202">
                  <c:v>5.8998474380631496</c:v>
                </c:pt>
                <c:pt idx="3203">
                  <c:v>4.8361955433020061</c:v>
                </c:pt>
                <c:pt idx="3204">
                  <c:v>4.8146560294032827</c:v>
                </c:pt>
                <c:pt idx="3205">
                  <c:v>5.0146292960375911</c:v>
                </c:pt>
                <c:pt idx="3206">
                  <c:v>5.0426782758996023</c:v>
                </c:pt>
                <c:pt idx="3207">
                  <c:v>5.9027360998097151</c:v>
                </c:pt>
                <c:pt idx="3208">
                  <c:v>5.7336051344263854</c:v>
                </c:pt>
                <c:pt idx="3209">
                  <c:v>6.0122811937052356</c:v>
                </c:pt>
                <c:pt idx="3210">
                  <c:v>5.9319937730338639</c:v>
                </c:pt>
                <c:pt idx="3211">
                  <c:v>5.07719644203575</c:v>
                </c:pt>
                <c:pt idx="3212">
                  <c:v>5.9204238418083062</c:v>
                </c:pt>
                <c:pt idx="3213">
                  <c:v>5.0194070133407029</c:v>
                </c:pt>
                <c:pt idx="3214">
                  <c:v>4.9545489644941005</c:v>
                </c:pt>
                <c:pt idx="3215">
                  <c:v>5.0137543640225033</c:v>
                </c:pt>
                <c:pt idx="3216">
                  <c:v>4.9208068719151399</c:v>
                </c:pt>
                <c:pt idx="3217">
                  <c:v>5.8724098235081383</c:v>
                </c:pt>
                <c:pt idx="3218">
                  <c:v>6.0395657060564378</c:v>
                </c:pt>
                <c:pt idx="3219">
                  <c:v>5.0454666454252619</c:v>
                </c:pt>
                <c:pt idx="3220">
                  <c:v>4.9197052345020875</c:v>
                </c:pt>
                <c:pt idx="3221">
                  <c:v>5.011888294136587</c:v>
                </c:pt>
                <c:pt idx="3222">
                  <c:v>4.9925523335469615</c:v>
                </c:pt>
                <c:pt idx="3223">
                  <c:v>5.0046380317481063</c:v>
                </c:pt>
                <c:pt idx="3224">
                  <c:v>5.0495076891636792</c:v>
                </c:pt>
                <c:pt idx="3225">
                  <c:v>4.9171593157475</c:v>
                </c:pt>
                <c:pt idx="3226">
                  <c:v>4.7733157332284737</c:v>
                </c:pt>
                <c:pt idx="3227">
                  <c:v>5.0701046947392188</c:v>
                </c:pt>
                <c:pt idx="3228">
                  <c:v>5.9211693587466945</c:v>
                </c:pt>
                <c:pt idx="3229">
                  <c:v>5.9245478912605822</c:v>
                </c:pt>
                <c:pt idx="3230">
                  <c:v>4.926030847292302</c:v>
                </c:pt>
                <c:pt idx="3231">
                  <c:v>4.8396418146813547</c:v>
                </c:pt>
                <c:pt idx="3232">
                  <c:v>5.0847948515285939</c:v>
                </c:pt>
                <c:pt idx="3233">
                  <c:v>5.0829854293317709</c:v>
                </c:pt>
                <c:pt idx="3234">
                  <c:v>4.9297413662631175</c:v>
                </c:pt>
                <c:pt idx="3235">
                  <c:v>5.0532484177936565</c:v>
                </c:pt>
                <c:pt idx="3236">
                  <c:v>5.7779848882831342</c:v>
                </c:pt>
                <c:pt idx="3237">
                  <c:v>6.0068377119969725</c:v>
                </c:pt>
                <c:pt idx="3238">
                  <c:v>6.0641596835949745</c:v>
                </c:pt>
                <c:pt idx="3239">
                  <c:v>5.1459039910132836</c:v>
                </c:pt>
                <c:pt idx="3240">
                  <c:v>4.9827669096602278</c:v>
                </c:pt>
                <c:pt idx="3241">
                  <c:v>6.1521092848467651</c:v>
                </c:pt>
                <c:pt idx="3242">
                  <c:v>5.0887263905087581</c:v>
                </c:pt>
                <c:pt idx="3243">
                  <c:v>5.0421599666686578</c:v>
                </c:pt>
                <c:pt idx="3244">
                  <c:v>4.9890399087475963</c:v>
                </c:pt>
                <c:pt idx="3245">
                  <c:v>6.0057703575299115</c:v>
                </c:pt>
                <c:pt idx="3246">
                  <c:v>4.9941073000951581</c:v>
                </c:pt>
                <c:pt idx="3247">
                  <c:v>4.7704496102120615</c:v>
                </c:pt>
                <c:pt idx="3248">
                  <c:v>5.0601972580178947</c:v>
                </c:pt>
                <c:pt idx="3249">
                  <c:v>6.0678866311397393</c:v>
                </c:pt>
                <c:pt idx="3250">
                  <c:v>5.0569958636713439</c:v>
                </c:pt>
                <c:pt idx="3251">
                  <c:v>5.0174436806610281</c:v>
                </c:pt>
                <c:pt idx="3252">
                  <c:v>5.073853377331079</c:v>
                </c:pt>
                <c:pt idx="3253">
                  <c:v>5.0082690976194151</c:v>
                </c:pt>
                <c:pt idx="3254">
                  <c:v>6.112602344441421</c:v>
                </c:pt>
                <c:pt idx="3255">
                  <c:v>6.0721405943614863</c:v>
                </c:pt>
                <c:pt idx="3256">
                  <c:v>5.9220067888104317</c:v>
                </c:pt>
                <c:pt idx="3257">
                  <c:v>5.0133202927463305</c:v>
                </c:pt>
                <c:pt idx="3258">
                  <c:v>5.0928392497621058</c:v>
                </c:pt>
                <c:pt idx="3259">
                  <c:v>5.9706978924360161</c:v>
                </c:pt>
                <c:pt idx="3260">
                  <c:v>6.1598807359154097</c:v>
                </c:pt>
                <c:pt idx="3261">
                  <c:v>4.9362116746919673</c:v>
                </c:pt>
                <c:pt idx="3262">
                  <c:v>6.086926288083732</c:v>
                </c:pt>
                <c:pt idx="3263">
                  <c:v>7.0727462723487688</c:v>
                </c:pt>
                <c:pt idx="3264">
                  <c:v>5.0402124460231477</c:v>
                </c:pt>
                <c:pt idx="3265">
                  <c:v>5.0584426236875508</c:v>
                </c:pt>
                <c:pt idx="3266">
                  <c:v>5.9758360326710793</c:v>
                </c:pt>
                <c:pt idx="3267">
                  <c:v>4.9014605297018123</c:v>
                </c:pt>
                <c:pt idx="3268">
                  <c:v>4.9198877198744313</c:v>
                </c:pt>
                <c:pt idx="3269">
                  <c:v>6.2142250341082015</c:v>
                </c:pt>
                <c:pt idx="3270">
                  <c:v>7.016849462993723</c:v>
                </c:pt>
                <c:pt idx="3271">
                  <c:v>4.9612617276271012</c:v>
                </c:pt>
                <c:pt idx="3272">
                  <c:v>6.1270422395790334</c:v>
                </c:pt>
                <c:pt idx="3273">
                  <c:v>4.9202338754618316</c:v>
                </c:pt>
                <c:pt idx="3274">
                  <c:v>5.0770370077296914</c:v>
                </c:pt>
                <c:pt idx="3275">
                  <c:v>5.0647160505548836</c:v>
                </c:pt>
                <c:pt idx="3276">
                  <c:v>4.912959959877357</c:v>
                </c:pt>
                <c:pt idx="3277">
                  <c:v>5.9840344514663082</c:v>
                </c:pt>
                <c:pt idx="3278">
                  <c:v>4.9787954316430136</c:v>
                </c:pt>
                <c:pt idx="3279">
                  <c:v>5.0959065036353062</c:v>
                </c:pt>
                <c:pt idx="3280">
                  <c:v>4.9858332569565311</c:v>
                </c:pt>
                <c:pt idx="3281">
                  <c:v>6.1102397290716777</c:v>
                </c:pt>
                <c:pt idx="3282">
                  <c:v>5.0878427450970225</c:v>
                </c:pt>
                <c:pt idx="3283">
                  <c:v>5.935681689005829</c:v>
                </c:pt>
                <c:pt idx="3284">
                  <c:v>6.1062524220405772</c:v>
                </c:pt>
                <c:pt idx="3285">
                  <c:v>5.0680159415917982</c:v>
                </c:pt>
                <c:pt idx="3286">
                  <c:v>5.0457699154527624</c:v>
                </c:pt>
                <c:pt idx="3287">
                  <c:v>6.0062759243854664</c:v>
                </c:pt>
                <c:pt idx="3288">
                  <c:v>5.0595690670647322</c:v>
                </c:pt>
                <c:pt idx="3289">
                  <c:v>5.1584890435460391</c:v>
                </c:pt>
                <c:pt idx="3290">
                  <c:v>5.094462195108366</c:v>
                </c:pt>
                <c:pt idx="3291">
                  <c:v>4.8817052802211451</c:v>
                </c:pt>
                <c:pt idx="3292">
                  <c:v>5.0640200778038036</c:v>
                </c:pt>
                <c:pt idx="3293">
                  <c:v>5.9877007004569283</c:v>
                </c:pt>
                <c:pt idx="3294">
                  <c:v>5.1236922845063715</c:v>
                </c:pt>
                <c:pt idx="3295">
                  <c:v>5.0289938571772659</c:v>
                </c:pt>
                <c:pt idx="3296">
                  <c:v>5.900465557765763</c:v>
                </c:pt>
                <c:pt idx="3297">
                  <c:v>4.8899241404823321</c:v>
                </c:pt>
                <c:pt idx="3298">
                  <c:v>4.8787246439503171</c:v>
                </c:pt>
                <c:pt idx="3299">
                  <c:v>4.8360982759062772</c:v>
                </c:pt>
                <c:pt idx="3300">
                  <c:v>4.9109434449124416</c:v>
                </c:pt>
                <c:pt idx="3301">
                  <c:v>6.1067567242531515</c:v>
                </c:pt>
                <c:pt idx="3302">
                  <c:v>4.9768601226388842</c:v>
                </c:pt>
                <c:pt idx="3303">
                  <c:v>4.9843552779073068</c:v>
                </c:pt>
                <c:pt idx="3304">
                  <c:v>4.991044934248384</c:v>
                </c:pt>
                <c:pt idx="3305">
                  <c:v>4.9802013327852652</c:v>
                </c:pt>
                <c:pt idx="3306">
                  <c:v>6.241554493008187</c:v>
                </c:pt>
                <c:pt idx="3307">
                  <c:v>4.8403866462638545</c:v>
                </c:pt>
                <c:pt idx="3308">
                  <c:v>5.0196913361377735</c:v>
                </c:pt>
                <c:pt idx="3309">
                  <c:v>5.0277352027508444</c:v>
                </c:pt>
                <c:pt idx="3310">
                  <c:v>6.101227512457946</c:v>
                </c:pt>
                <c:pt idx="3311">
                  <c:v>6.1962998100959004</c:v>
                </c:pt>
                <c:pt idx="3312">
                  <c:v>6.0416299789721819</c:v>
                </c:pt>
                <c:pt idx="3313">
                  <c:v>5.0227679078365748</c:v>
                </c:pt>
                <c:pt idx="3314">
                  <c:v>5.0185456775918187</c:v>
                </c:pt>
                <c:pt idx="3315">
                  <c:v>7.1151087972039218</c:v>
                </c:pt>
                <c:pt idx="3316">
                  <c:v>5.1067569670710569</c:v>
                </c:pt>
                <c:pt idx="3317">
                  <c:v>5.1993390718766817</c:v>
                </c:pt>
                <c:pt idx="3318">
                  <c:v>6.0015579943093886</c:v>
                </c:pt>
                <c:pt idx="3319">
                  <c:v>4.8613566950834226</c:v>
                </c:pt>
                <c:pt idx="3320">
                  <c:v>5.9458458710683928</c:v>
                </c:pt>
                <c:pt idx="3321">
                  <c:v>4.9444231144620696</c:v>
                </c:pt>
                <c:pt idx="3322">
                  <c:v>5.9408779673245737</c:v>
                </c:pt>
                <c:pt idx="3323">
                  <c:v>5.0101000602853132</c:v>
                </c:pt>
                <c:pt idx="3324">
                  <c:v>5.0401460526684101</c:v>
                </c:pt>
                <c:pt idx="3325">
                  <c:v>4.9557478594427185</c:v>
                </c:pt>
                <c:pt idx="3326">
                  <c:v>6.0349152527579291</c:v>
                </c:pt>
                <c:pt idx="3327">
                  <c:v>5.9741148514725166</c:v>
                </c:pt>
                <c:pt idx="3328">
                  <c:v>4.8518220406522587</c:v>
                </c:pt>
                <c:pt idx="3329">
                  <c:v>6.0943009073697691</c:v>
                </c:pt>
                <c:pt idx="3330">
                  <c:v>5.9374525387135781</c:v>
                </c:pt>
                <c:pt idx="3331">
                  <c:v>4.948060602694448</c:v>
                </c:pt>
                <c:pt idx="3332">
                  <c:v>6.1676803479470683</c:v>
                </c:pt>
                <c:pt idx="3333">
                  <c:v>5.0485031259486703</c:v>
                </c:pt>
                <c:pt idx="3334">
                  <c:v>4.8796668357453603</c:v>
                </c:pt>
                <c:pt idx="3335">
                  <c:v>5.0667564626265786</c:v>
                </c:pt>
                <c:pt idx="3336">
                  <c:v>5.1124629690054659</c:v>
                </c:pt>
                <c:pt idx="3337">
                  <c:v>5.1433351762136637</c:v>
                </c:pt>
                <c:pt idx="3338">
                  <c:v>4.8356097413729868</c:v>
                </c:pt>
                <c:pt idx="3339">
                  <c:v>5.0120694520417253</c:v>
                </c:pt>
                <c:pt idx="3340">
                  <c:v>4.9474361362265027</c:v>
                </c:pt>
                <c:pt idx="3341">
                  <c:v>5.1425248176913376</c:v>
                </c:pt>
                <c:pt idx="3342">
                  <c:v>5.9502268082747198</c:v>
                </c:pt>
                <c:pt idx="3343">
                  <c:v>5.842853341376367</c:v>
                </c:pt>
                <c:pt idx="3344">
                  <c:v>5.8435387317662322</c:v>
                </c:pt>
                <c:pt idx="3345">
                  <c:v>5.0127538356277253</c:v>
                </c:pt>
                <c:pt idx="3346">
                  <c:v>6.0545655149289743</c:v>
                </c:pt>
                <c:pt idx="3347">
                  <c:v>5.9789698387180703</c:v>
                </c:pt>
                <c:pt idx="3348">
                  <c:v>4.9614720481947225</c:v>
                </c:pt>
                <c:pt idx="3349">
                  <c:v>5.9713580179423937</c:v>
                </c:pt>
                <c:pt idx="3350">
                  <c:v>4.9463542750295009</c:v>
                </c:pt>
                <c:pt idx="3351">
                  <c:v>4.9069349441470491</c:v>
                </c:pt>
                <c:pt idx="3352">
                  <c:v>6.0526601858308515</c:v>
                </c:pt>
                <c:pt idx="3353">
                  <c:v>3.0137917626950004</c:v>
                </c:pt>
                <c:pt idx="3354">
                  <c:v>5.1480449665583059</c:v>
                </c:pt>
                <c:pt idx="3355">
                  <c:v>6.0832633011922681</c:v>
                </c:pt>
                <c:pt idx="3356">
                  <c:v>4.9845152185535309</c:v>
                </c:pt>
                <c:pt idx="3357">
                  <c:v>4.9937903849868208</c:v>
                </c:pt>
                <c:pt idx="3358">
                  <c:v>5.0602246971104794</c:v>
                </c:pt>
                <c:pt idx="3359">
                  <c:v>5.9194226096994011</c:v>
                </c:pt>
                <c:pt idx="3360">
                  <c:v>4.9398980880532868</c:v>
                </c:pt>
                <c:pt idx="3361">
                  <c:v>5.0511356591061949</c:v>
                </c:pt>
                <c:pt idx="3362">
                  <c:v>5.0983999900777164</c:v>
                </c:pt>
                <c:pt idx="3363">
                  <c:v>5.8116227644942882</c:v>
                </c:pt>
                <c:pt idx="3364">
                  <c:v>5.2860288176197274</c:v>
                </c:pt>
                <c:pt idx="3365">
                  <c:v>5.0654527157151339</c:v>
                </c:pt>
                <c:pt idx="3366">
                  <c:v>5.1659574724623223</c:v>
                </c:pt>
                <c:pt idx="3367">
                  <c:v>5.0740723900742157</c:v>
                </c:pt>
                <c:pt idx="3368">
                  <c:v>4.9958377450485267</c:v>
                </c:pt>
                <c:pt idx="3369">
                  <c:v>5.155111351322442</c:v>
                </c:pt>
                <c:pt idx="3370">
                  <c:v>5.0685104055767889</c:v>
                </c:pt>
                <c:pt idx="3371">
                  <c:v>5.045436046729411</c:v>
                </c:pt>
                <c:pt idx="3372">
                  <c:v>4.9954526082115374</c:v>
                </c:pt>
                <c:pt idx="3373">
                  <c:v>4.9241413493928929</c:v>
                </c:pt>
                <c:pt idx="3374">
                  <c:v>5.7932252836849791</c:v>
                </c:pt>
                <c:pt idx="3375">
                  <c:v>5.8327110645984535</c:v>
                </c:pt>
                <c:pt idx="3376">
                  <c:v>5.0616054105357469</c:v>
                </c:pt>
                <c:pt idx="3377">
                  <c:v>5.9063029094624673</c:v>
                </c:pt>
                <c:pt idx="3378">
                  <c:v>5.9376153670588376</c:v>
                </c:pt>
                <c:pt idx="3379">
                  <c:v>4.8343594581334965</c:v>
                </c:pt>
                <c:pt idx="3380">
                  <c:v>5.0684054399985552</c:v>
                </c:pt>
                <c:pt idx="3381">
                  <c:v>5.1211909311264456</c:v>
                </c:pt>
                <c:pt idx="3382">
                  <c:v>5.055809452584203</c:v>
                </c:pt>
                <c:pt idx="3383">
                  <c:v>6.0580638670976468</c:v>
                </c:pt>
                <c:pt idx="3384">
                  <c:v>5.014265749108997</c:v>
                </c:pt>
                <c:pt idx="3385">
                  <c:v>5.1941679481513319</c:v>
                </c:pt>
                <c:pt idx="3386">
                  <c:v>4.9757067178495378</c:v>
                </c:pt>
                <c:pt idx="3387">
                  <c:v>4.9312731905444966</c:v>
                </c:pt>
                <c:pt idx="3388">
                  <c:v>5.7544124394277087</c:v>
                </c:pt>
                <c:pt idx="3389">
                  <c:v>5.0330062893472691</c:v>
                </c:pt>
                <c:pt idx="3390">
                  <c:v>4.9282103130241888</c:v>
                </c:pt>
                <c:pt idx="3391">
                  <c:v>6.0374293578587395</c:v>
                </c:pt>
                <c:pt idx="3392">
                  <c:v>4.9652635538936476</c:v>
                </c:pt>
                <c:pt idx="3393">
                  <c:v>6.0885197551787034</c:v>
                </c:pt>
                <c:pt idx="3394">
                  <c:v>5.0530629935761748</c:v>
                </c:pt>
                <c:pt idx="3395">
                  <c:v>5.0027739059334388</c:v>
                </c:pt>
                <c:pt idx="3396">
                  <c:v>4.917857636030881</c:v>
                </c:pt>
                <c:pt idx="3397">
                  <c:v>4.903517384218457</c:v>
                </c:pt>
                <c:pt idx="3398">
                  <c:v>5.0996423547302143</c:v>
                </c:pt>
                <c:pt idx="3399">
                  <c:v>4.9533512520606129</c:v>
                </c:pt>
                <c:pt idx="3400">
                  <c:v>4.9231202930271962</c:v>
                </c:pt>
                <c:pt idx="3401">
                  <c:v>5.0317039401757206</c:v>
                </c:pt>
                <c:pt idx="3402">
                  <c:v>5.0817555657441833</c:v>
                </c:pt>
                <c:pt idx="3403">
                  <c:v>5.0349317610308661</c:v>
                </c:pt>
                <c:pt idx="3404">
                  <c:v>5.0539861700181161</c:v>
                </c:pt>
                <c:pt idx="3405">
                  <c:v>5.0518084884491934</c:v>
                </c:pt>
                <c:pt idx="3406">
                  <c:v>6.1945155132076994</c:v>
                </c:pt>
                <c:pt idx="3407">
                  <c:v>5.9820520348554131</c:v>
                </c:pt>
                <c:pt idx="3408">
                  <c:v>5.9358418057719273</c:v>
                </c:pt>
                <c:pt idx="3409">
                  <c:v>5.9899057955854147</c:v>
                </c:pt>
                <c:pt idx="3410">
                  <c:v>5.1279632341902559</c:v>
                </c:pt>
                <c:pt idx="3411">
                  <c:v>5.0424394228215483</c:v>
                </c:pt>
                <c:pt idx="3412">
                  <c:v>4.9840780918756078</c:v>
                </c:pt>
                <c:pt idx="3413">
                  <c:v>4.8281353299414622</c:v>
                </c:pt>
                <c:pt idx="3414">
                  <c:v>5.176913800509281</c:v>
                </c:pt>
                <c:pt idx="3415">
                  <c:v>4.9239398142601658</c:v>
                </c:pt>
                <c:pt idx="3416">
                  <c:v>5.9071814801800686</c:v>
                </c:pt>
                <c:pt idx="3417">
                  <c:v>5.0237271025253945</c:v>
                </c:pt>
                <c:pt idx="3418">
                  <c:v>5.0009828100434017</c:v>
                </c:pt>
                <c:pt idx="3419">
                  <c:v>4.9105992894150239</c:v>
                </c:pt>
                <c:pt idx="3420">
                  <c:v>5.9740910814993713</c:v>
                </c:pt>
                <c:pt idx="3421">
                  <c:v>4.8590548652679004</c:v>
                </c:pt>
                <c:pt idx="3422">
                  <c:v>5.0804108620070245</c:v>
                </c:pt>
                <c:pt idx="3423">
                  <c:v>6.2299993989953695</c:v>
                </c:pt>
                <c:pt idx="3424">
                  <c:v>4.8729778334103839</c:v>
                </c:pt>
                <c:pt idx="3425">
                  <c:v>4.9580784582497381</c:v>
                </c:pt>
                <c:pt idx="3426">
                  <c:v>4.9621643657051706</c:v>
                </c:pt>
                <c:pt idx="3427">
                  <c:v>5.0915944160358331</c:v>
                </c:pt>
                <c:pt idx="3428">
                  <c:v>6.2516033571012528</c:v>
                </c:pt>
                <c:pt idx="3429">
                  <c:v>4.9947100773287403</c:v>
                </c:pt>
                <c:pt idx="3430">
                  <c:v>5.0097309857104078</c:v>
                </c:pt>
                <c:pt idx="3431">
                  <c:v>4.9578807513309746</c:v>
                </c:pt>
                <c:pt idx="3432">
                  <c:v>5.138256589211406</c:v>
                </c:pt>
                <c:pt idx="3433">
                  <c:v>4.9025726799813434</c:v>
                </c:pt>
                <c:pt idx="3434">
                  <c:v>5.9328544352118557</c:v>
                </c:pt>
                <c:pt idx="3435">
                  <c:v>4.8887012443904858</c:v>
                </c:pt>
                <c:pt idx="3436">
                  <c:v>4.9976343411434589</c:v>
                </c:pt>
                <c:pt idx="3437">
                  <c:v>5.2760713346855184</c:v>
                </c:pt>
                <c:pt idx="3438">
                  <c:v>4.9234458039225402</c:v>
                </c:pt>
                <c:pt idx="3439">
                  <c:v>7.1686470201596659</c:v>
                </c:pt>
                <c:pt idx="3440">
                  <c:v>6.0831107705601157</c:v>
                </c:pt>
                <c:pt idx="3441">
                  <c:v>5.9227537584304013</c:v>
                </c:pt>
                <c:pt idx="3442">
                  <c:v>5.0155654786880204</c:v>
                </c:pt>
                <c:pt idx="3443">
                  <c:v>5.9281468745672266</c:v>
                </c:pt>
                <c:pt idx="3444">
                  <c:v>5.2269153898867673</c:v>
                </c:pt>
                <c:pt idx="3445">
                  <c:v>5.9297947558416721</c:v>
                </c:pt>
                <c:pt idx="3446">
                  <c:v>5.9243593189215522</c:v>
                </c:pt>
                <c:pt idx="3447">
                  <c:v>5.9047255078885685</c:v>
                </c:pt>
                <c:pt idx="3448">
                  <c:v>5.0558989027199379</c:v>
                </c:pt>
                <c:pt idx="3449">
                  <c:v>6.8648405875368228</c:v>
                </c:pt>
                <c:pt idx="3450">
                  <c:v>5.9330083770643327</c:v>
                </c:pt>
                <c:pt idx="3451">
                  <c:v>4.9883565471356199</c:v>
                </c:pt>
                <c:pt idx="3452">
                  <c:v>5.108631254163476</c:v>
                </c:pt>
                <c:pt idx="3453">
                  <c:v>5.0779510228604714</c:v>
                </c:pt>
                <c:pt idx="3454">
                  <c:v>4.8386246633988428</c:v>
                </c:pt>
                <c:pt idx="3455">
                  <c:v>5.1367521039866322</c:v>
                </c:pt>
                <c:pt idx="3456">
                  <c:v>6.0631309507242941</c:v>
                </c:pt>
                <c:pt idx="3457">
                  <c:v>5.0365459018328416</c:v>
                </c:pt>
                <c:pt idx="3458">
                  <c:v>5.0942469231372964</c:v>
                </c:pt>
                <c:pt idx="3459">
                  <c:v>6.0876237233379191</c:v>
                </c:pt>
                <c:pt idx="3460">
                  <c:v>6.0056818556725675</c:v>
                </c:pt>
                <c:pt idx="3461">
                  <c:v>6.8106164465895178</c:v>
                </c:pt>
                <c:pt idx="3462">
                  <c:v>4.9726950373206344</c:v>
                </c:pt>
                <c:pt idx="3463">
                  <c:v>4.8503453817182969</c:v>
                </c:pt>
                <c:pt idx="3464">
                  <c:v>5.0334425957807785</c:v>
                </c:pt>
                <c:pt idx="3465">
                  <c:v>5.1356463410592212</c:v>
                </c:pt>
                <c:pt idx="3466">
                  <c:v>4.9806606804912397</c:v>
                </c:pt>
                <c:pt idx="3467">
                  <c:v>5.9983352760434254</c:v>
                </c:pt>
                <c:pt idx="3468">
                  <c:v>5.9554545409317585</c:v>
                </c:pt>
                <c:pt idx="3469">
                  <c:v>4.9515883279358262</c:v>
                </c:pt>
                <c:pt idx="3470">
                  <c:v>6.0266517748293005</c:v>
                </c:pt>
                <c:pt idx="3471">
                  <c:v>5.1432026920571632</c:v>
                </c:pt>
                <c:pt idx="3472">
                  <c:v>5.0234089411862914</c:v>
                </c:pt>
                <c:pt idx="3473">
                  <c:v>4.960120398252359</c:v>
                </c:pt>
                <c:pt idx="3474">
                  <c:v>5.9969781898937526</c:v>
                </c:pt>
                <c:pt idx="3475">
                  <c:v>5.0377466295747322</c:v>
                </c:pt>
                <c:pt idx="3476">
                  <c:v>5.0169540442927314</c:v>
                </c:pt>
                <c:pt idx="3477">
                  <c:v>5.9616383109727726</c:v>
                </c:pt>
                <c:pt idx="3478">
                  <c:v>5.0302126827943514</c:v>
                </c:pt>
                <c:pt idx="3479">
                  <c:v>5.0024585433633542</c:v>
                </c:pt>
                <c:pt idx="3480">
                  <c:v>5.8558136865376014</c:v>
                </c:pt>
                <c:pt idx="3481">
                  <c:v>4.8599625181549424</c:v>
                </c:pt>
                <c:pt idx="3482">
                  <c:v>6.0716489493550698</c:v>
                </c:pt>
                <c:pt idx="3483">
                  <c:v>4.8425593036805452</c:v>
                </c:pt>
                <c:pt idx="3484">
                  <c:v>4.864086550772778</c:v>
                </c:pt>
                <c:pt idx="3485">
                  <c:v>5.0647609381732197</c:v>
                </c:pt>
                <c:pt idx="3486">
                  <c:v>4.7665817579781713</c:v>
                </c:pt>
                <c:pt idx="3487">
                  <c:v>4.9423047289852313</c:v>
                </c:pt>
                <c:pt idx="3488">
                  <c:v>4.925738614142122</c:v>
                </c:pt>
                <c:pt idx="3489">
                  <c:v>4.9256436882898695</c:v>
                </c:pt>
                <c:pt idx="3490">
                  <c:v>4.9179212593625508</c:v>
                </c:pt>
                <c:pt idx="3491">
                  <c:v>5.971060535593022</c:v>
                </c:pt>
                <c:pt idx="3492">
                  <c:v>5.8595130059852689</c:v>
                </c:pt>
                <c:pt idx="3493">
                  <c:v>4.9746575817907761</c:v>
                </c:pt>
                <c:pt idx="3494">
                  <c:v>4.8901168011068314</c:v>
                </c:pt>
                <c:pt idx="3495">
                  <c:v>5.0984465866470208</c:v>
                </c:pt>
                <c:pt idx="3496">
                  <c:v>4.9075888062389934</c:v>
                </c:pt>
                <c:pt idx="3497">
                  <c:v>5.055413384032394</c:v>
                </c:pt>
                <c:pt idx="3498">
                  <c:v>7.1242229946166393</c:v>
                </c:pt>
                <c:pt idx="3499">
                  <c:v>5.1489087396608859</c:v>
                </c:pt>
                <c:pt idx="3500">
                  <c:v>6.2180138572777439</c:v>
                </c:pt>
                <c:pt idx="3501">
                  <c:v>6.0371125095543245</c:v>
                </c:pt>
                <c:pt idx="3502">
                  <c:v>5.0450630215899084</c:v>
                </c:pt>
                <c:pt idx="3503">
                  <c:v>5.019545859548237</c:v>
                </c:pt>
                <c:pt idx="3504">
                  <c:v>6.0035491429712504</c:v>
                </c:pt>
                <c:pt idx="3505">
                  <c:v>4.8546330212731696</c:v>
                </c:pt>
                <c:pt idx="3506">
                  <c:v>5.0151314095961004</c:v>
                </c:pt>
                <c:pt idx="3507">
                  <c:v>4.9682323265172394</c:v>
                </c:pt>
                <c:pt idx="3508">
                  <c:v>5.1643944222363656</c:v>
                </c:pt>
                <c:pt idx="3509">
                  <c:v>5.9116287300624393</c:v>
                </c:pt>
                <c:pt idx="3510">
                  <c:v>4.9608049512487495</c:v>
                </c:pt>
                <c:pt idx="3511">
                  <c:v>4.9515176439084181</c:v>
                </c:pt>
                <c:pt idx="3512">
                  <c:v>5.9864442196315242</c:v>
                </c:pt>
                <c:pt idx="3513">
                  <c:v>5.1827599494916408</c:v>
                </c:pt>
                <c:pt idx="3514">
                  <c:v>6.0391361597717674</c:v>
                </c:pt>
                <c:pt idx="3515">
                  <c:v>5.901004240047464</c:v>
                </c:pt>
                <c:pt idx="3516">
                  <c:v>4.9564809305846165</c:v>
                </c:pt>
                <c:pt idx="3517">
                  <c:v>6.081222053083347</c:v>
                </c:pt>
                <c:pt idx="3518">
                  <c:v>6.8910459644913065</c:v>
                </c:pt>
                <c:pt idx="3519">
                  <c:v>5.0579131727821993</c:v>
                </c:pt>
                <c:pt idx="3520">
                  <c:v>5.0509853566263896</c:v>
                </c:pt>
                <c:pt idx="3521">
                  <c:v>4.7481852301240011</c:v>
                </c:pt>
                <c:pt idx="3522">
                  <c:v>4.7995247886221364</c:v>
                </c:pt>
                <c:pt idx="3523">
                  <c:v>4.9869838363301477</c:v>
                </c:pt>
                <c:pt idx="3524">
                  <c:v>5.0589066433394114</c:v>
                </c:pt>
                <c:pt idx="3525">
                  <c:v>4.9759461924201407</c:v>
                </c:pt>
                <c:pt idx="3526">
                  <c:v>5.003108200122127</c:v>
                </c:pt>
                <c:pt idx="3527">
                  <c:v>5.0501744920259517</c:v>
                </c:pt>
                <c:pt idx="3528">
                  <c:v>5.0164368118242768</c:v>
                </c:pt>
                <c:pt idx="3529">
                  <c:v>5.0270221538786899</c:v>
                </c:pt>
                <c:pt idx="3530">
                  <c:v>4.9583070340556175</c:v>
                </c:pt>
                <c:pt idx="3531">
                  <c:v>6.0540341285947852</c:v>
                </c:pt>
                <c:pt idx="3532">
                  <c:v>4.9671977771007212</c:v>
                </c:pt>
                <c:pt idx="3533">
                  <c:v>5.0224983050243637</c:v>
                </c:pt>
                <c:pt idx="3534">
                  <c:v>7.0243721594059467</c:v>
                </c:pt>
                <c:pt idx="3535">
                  <c:v>5.0546283227948878</c:v>
                </c:pt>
                <c:pt idx="3536">
                  <c:v>5.0589149878622379</c:v>
                </c:pt>
                <c:pt idx="3537">
                  <c:v>5.0117334307966477</c:v>
                </c:pt>
                <c:pt idx="3538">
                  <c:v>5.0532342864011666</c:v>
                </c:pt>
                <c:pt idx="3539">
                  <c:v>5.8886200952965906</c:v>
                </c:pt>
                <c:pt idx="3540">
                  <c:v>4.9394067245292277</c:v>
                </c:pt>
                <c:pt idx="3541">
                  <c:v>5.1559449969212396</c:v>
                </c:pt>
                <c:pt idx="3542">
                  <c:v>4.9425987244457472</c:v>
                </c:pt>
                <c:pt idx="3543">
                  <c:v>5.1448086416063878</c:v>
                </c:pt>
                <c:pt idx="3544">
                  <c:v>5.9497860658882802</c:v>
                </c:pt>
                <c:pt idx="3545">
                  <c:v>5.0420024396537002</c:v>
                </c:pt>
                <c:pt idx="3546">
                  <c:v>5.0282312865948899</c:v>
                </c:pt>
                <c:pt idx="3547">
                  <c:v>5.0256214322045256</c:v>
                </c:pt>
                <c:pt idx="3548">
                  <c:v>5.0716007756689807</c:v>
                </c:pt>
                <c:pt idx="3549">
                  <c:v>4.8963887817075209</c:v>
                </c:pt>
                <c:pt idx="3550">
                  <c:v>4.9090543342436881</c:v>
                </c:pt>
                <c:pt idx="3551">
                  <c:v>6.1329260362647489</c:v>
                </c:pt>
                <c:pt idx="3552">
                  <c:v>5.9779194817100132</c:v>
                </c:pt>
                <c:pt idx="3553">
                  <c:v>5.9721011666909991</c:v>
                </c:pt>
                <c:pt idx="3554">
                  <c:v>5.799900483256649</c:v>
                </c:pt>
                <c:pt idx="3555">
                  <c:v>4.8832886407943956</c:v>
                </c:pt>
                <c:pt idx="3556">
                  <c:v>4.9967517220151842</c:v>
                </c:pt>
                <c:pt idx="3557">
                  <c:v>5.034808963911126</c:v>
                </c:pt>
                <c:pt idx="3558">
                  <c:v>5.0546988930767833</c:v>
                </c:pt>
                <c:pt idx="3559">
                  <c:v>5.9576229072672264</c:v>
                </c:pt>
                <c:pt idx="3560">
                  <c:v>5.1354155383270506</c:v>
                </c:pt>
                <c:pt idx="3561">
                  <c:v>5.1051403464226421</c:v>
                </c:pt>
                <c:pt idx="3562">
                  <c:v>5.9359972667845815</c:v>
                </c:pt>
                <c:pt idx="3563">
                  <c:v>4.9431014026503188</c:v>
                </c:pt>
                <c:pt idx="3564">
                  <c:v>6.1238265262053124</c:v>
                </c:pt>
                <c:pt idx="3565">
                  <c:v>4.9218883081741716</c:v>
                </c:pt>
                <c:pt idx="3566">
                  <c:v>5.2497884739473237</c:v>
                </c:pt>
                <c:pt idx="3567">
                  <c:v>5.055701743566595</c:v>
                </c:pt>
                <c:pt idx="3568">
                  <c:v>4.9731883584577643</c:v>
                </c:pt>
                <c:pt idx="3569">
                  <c:v>4.7943951503908977</c:v>
                </c:pt>
                <c:pt idx="3570">
                  <c:v>4.9358770425050524</c:v>
                </c:pt>
                <c:pt idx="3571">
                  <c:v>5.6878149825030535</c:v>
                </c:pt>
                <c:pt idx="3572">
                  <c:v>5.2042713800849905</c:v>
                </c:pt>
                <c:pt idx="3573">
                  <c:v>4.9622003420586598</c:v>
                </c:pt>
                <c:pt idx="3574">
                  <c:v>4.9461864426804087</c:v>
                </c:pt>
                <c:pt idx="3575">
                  <c:v>5.0079286404284602</c:v>
                </c:pt>
                <c:pt idx="3576">
                  <c:v>4.8321083567262875</c:v>
                </c:pt>
                <c:pt idx="3577">
                  <c:v>5.1299056384230859</c:v>
                </c:pt>
                <c:pt idx="3578">
                  <c:v>5.0193115856954185</c:v>
                </c:pt>
                <c:pt idx="3579">
                  <c:v>5.1561186026410484</c:v>
                </c:pt>
                <c:pt idx="3580">
                  <c:v>6.020069803723846</c:v>
                </c:pt>
                <c:pt idx="3581">
                  <c:v>5.0346002901140086</c:v>
                </c:pt>
                <c:pt idx="3582">
                  <c:v>5.0021112033127029</c:v>
                </c:pt>
                <c:pt idx="3583">
                  <c:v>4.8507879451899161</c:v>
                </c:pt>
                <c:pt idx="3584">
                  <c:v>5.0927040272866053</c:v>
                </c:pt>
                <c:pt idx="3585">
                  <c:v>5.0397105884043683</c:v>
                </c:pt>
                <c:pt idx="3586">
                  <c:v>5.1489730890664394</c:v>
                </c:pt>
                <c:pt idx="3587">
                  <c:v>4.8696544766310339</c:v>
                </c:pt>
                <c:pt idx="3588">
                  <c:v>4.9176581152882965</c:v>
                </c:pt>
                <c:pt idx="3589">
                  <c:v>5.1584469149073229</c:v>
                </c:pt>
                <c:pt idx="3590">
                  <c:v>5.0311717012464836</c:v>
                </c:pt>
                <c:pt idx="3591">
                  <c:v>4.9612113428969744</c:v>
                </c:pt>
                <c:pt idx="3592">
                  <c:v>4.9299631899100511</c:v>
                </c:pt>
                <c:pt idx="3593">
                  <c:v>5.9745834131266786</c:v>
                </c:pt>
                <c:pt idx="3594">
                  <c:v>4.9893831941452653</c:v>
                </c:pt>
                <c:pt idx="3595">
                  <c:v>5.0914508246616155</c:v>
                </c:pt>
                <c:pt idx="3596">
                  <c:v>4.994328288328088</c:v>
                </c:pt>
                <c:pt idx="3597">
                  <c:v>5.0400154650223925</c:v>
                </c:pt>
                <c:pt idx="3598">
                  <c:v>4.8393521460457469</c:v>
                </c:pt>
                <c:pt idx="3599">
                  <c:v>4.8902579775715891</c:v>
                </c:pt>
                <c:pt idx="3600">
                  <c:v>4.9960064820158276</c:v>
                </c:pt>
                <c:pt idx="3601">
                  <c:v>5.0206952657313781</c:v>
                </c:pt>
                <c:pt idx="3602">
                  <c:v>4.9699504546416122</c:v>
                </c:pt>
                <c:pt idx="3603">
                  <c:v>5.9196407882042372</c:v>
                </c:pt>
                <c:pt idx="3604">
                  <c:v>6.109687114460014</c:v>
                </c:pt>
                <c:pt idx="3605">
                  <c:v>6.0942469105752055</c:v>
                </c:pt>
                <c:pt idx="3606">
                  <c:v>4.8933131502032579</c:v>
                </c:pt>
                <c:pt idx="3607">
                  <c:v>5.9876962526381892</c:v>
                </c:pt>
                <c:pt idx="3608">
                  <c:v>4.9952339480811263</c:v>
                </c:pt>
                <c:pt idx="3609">
                  <c:v>5.0396435591599005</c:v>
                </c:pt>
                <c:pt idx="3610">
                  <c:v>4.9007866460867548</c:v>
                </c:pt>
                <c:pt idx="3611">
                  <c:v>4.9199583861233975</c:v>
                </c:pt>
                <c:pt idx="3612">
                  <c:v>5.7899820159414226</c:v>
                </c:pt>
                <c:pt idx="3613">
                  <c:v>4.9044137293143333</c:v>
                </c:pt>
                <c:pt idx="3614">
                  <c:v>5.0756274097673222</c:v>
                </c:pt>
                <c:pt idx="3615">
                  <c:v>4.8941088844443081</c:v>
                </c:pt>
                <c:pt idx="3616">
                  <c:v>5.0917102054522969</c:v>
                </c:pt>
                <c:pt idx="3617">
                  <c:v>5.0350493988730687</c:v>
                </c:pt>
                <c:pt idx="3618">
                  <c:v>5.8919327135314603</c:v>
                </c:pt>
                <c:pt idx="3619">
                  <c:v>5.0628316684529588</c:v>
                </c:pt>
                <c:pt idx="3620">
                  <c:v>4.9819069581147479</c:v>
                </c:pt>
                <c:pt idx="3621">
                  <c:v>4.9831812550347845</c:v>
                </c:pt>
                <c:pt idx="3622">
                  <c:v>5.1853958871015546</c:v>
                </c:pt>
                <c:pt idx="3623">
                  <c:v>6.1330951310626407</c:v>
                </c:pt>
                <c:pt idx="3624">
                  <c:v>5.1453646045755175</c:v>
                </c:pt>
                <c:pt idx="3625">
                  <c:v>5.1748869884940305</c:v>
                </c:pt>
                <c:pt idx="3626">
                  <c:v>4.9446531820799402</c:v>
                </c:pt>
                <c:pt idx="3627">
                  <c:v>5.1715788617507652</c:v>
                </c:pt>
                <c:pt idx="3628">
                  <c:v>5.9348137692323801</c:v>
                </c:pt>
                <c:pt idx="3629">
                  <c:v>4.7982050172666337</c:v>
                </c:pt>
                <c:pt idx="3630">
                  <c:v>5.0751341416474096</c:v>
                </c:pt>
                <c:pt idx="3631">
                  <c:v>4.9089586670246472</c:v>
                </c:pt>
                <c:pt idx="3632">
                  <c:v>6.0075918619050457</c:v>
                </c:pt>
                <c:pt idx="3633">
                  <c:v>4.8934301457013003</c:v>
                </c:pt>
                <c:pt idx="3634">
                  <c:v>4.9837502463669416</c:v>
                </c:pt>
                <c:pt idx="3635">
                  <c:v>5.1075042519283631</c:v>
                </c:pt>
                <c:pt idx="3636">
                  <c:v>5.0570412066990311</c:v>
                </c:pt>
                <c:pt idx="3637">
                  <c:v>5.0231693032336864</c:v>
                </c:pt>
                <c:pt idx="3638">
                  <c:v>5.0304101708411313</c:v>
                </c:pt>
                <c:pt idx="3639">
                  <c:v>6.0163809382345965</c:v>
                </c:pt>
                <c:pt idx="3640">
                  <c:v>5.9975190296377452</c:v>
                </c:pt>
                <c:pt idx="3641">
                  <c:v>5.9984211958141405</c:v>
                </c:pt>
                <c:pt idx="3642">
                  <c:v>5.0099229154346938</c:v>
                </c:pt>
                <c:pt idx="3643">
                  <c:v>5.0356436716805328</c:v>
                </c:pt>
                <c:pt idx="3644">
                  <c:v>5.9260757818274739</c:v>
                </c:pt>
                <c:pt idx="3645">
                  <c:v>5.1337939162131683</c:v>
                </c:pt>
                <c:pt idx="3646">
                  <c:v>5.0622029306302307</c:v>
                </c:pt>
                <c:pt idx="3647">
                  <c:v>4.9199443665624898</c:v>
                </c:pt>
                <c:pt idx="3648">
                  <c:v>5.0626330610024315</c:v>
                </c:pt>
                <c:pt idx="3649">
                  <c:v>4.9804879010867937</c:v>
                </c:pt>
                <c:pt idx="3650">
                  <c:v>5.9129421027085893</c:v>
                </c:pt>
                <c:pt idx="3651">
                  <c:v>4.8701865841654355</c:v>
                </c:pt>
                <c:pt idx="3652">
                  <c:v>6.1490032472601293</c:v>
                </c:pt>
                <c:pt idx="3653">
                  <c:v>5.0040860490836154</c:v>
                </c:pt>
                <c:pt idx="3654">
                  <c:v>5.1755531123864902</c:v>
                </c:pt>
                <c:pt idx="3655">
                  <c:v>5.8942061998147013</c:v>
                </c:pt>
                <c:pt idx="3656">
                  <c:v>5.0619072017618922</c:v>
                </c:pt>
                <c:pt idx="3657">
                  <c:v>6.0565720605471984</c:v>
                </c:pt>
                <c:pt idx="3658">
                  <c:v>4.9914688694131444</c:v>
                </c:pt>
                <c:pt idx="3659">
                  <c:v>5.0206154279002142</c:v>
                </c:pt>
                <c:pt idx="3660">
                  <c:v>4.9528284790360999</c:v>
                </c:pt>
                <c:pt idx="3661">
                  <c:v>5.1600848247327553</c:v>
                </c:pt>
                <c:pt idx="3662">
                  <c:v>5.9272316016477724</c:v>
                </c:pt>
                <c:pt idx="3663">
                  <c:v>6.0131488798304682</c:v>
                </c:pt>
                <c:pt idx="3664">
                  <c:v>5.1070239839642415</c:v>
                </c:pt>
                <c:pt idx="3665">
                  <c:v>4.9742927096415555</c:v>
                </c:pt>
                <c:pt idx="3666">
                  <c:v>4.9089206043298299</c:v>
                </c:pt>
                <c:pt idx="3667">
                  <c:v>6.0513814759654405</c:v>
                </c:pt>
                <c:pt idx="3668">
                  <c:v>4.8925689849000076</c:v>
                </c:pt>
                <c:pt idx="3669">
                  <c:v>5.054836681886572</c:v>
                </c:pt>
                <c:pt idx="3670">
                  <c:v>5.1080028235952692</c:v>
                </c:pt>
                <c:pt idx="3671">
                  <c:v>5.0939475333253244</c:v>
                </c:pt>
                <c:pt idx="3672">
                  <c:v>5.1073846483190106</c:v>
                </c:pt>
                <c:pt idx="3673">
                  <c:v>4.9189346641492353</c:v>
                </c:pt>
                <c:pt idx="3674">
                  <c:v>5.0751828125281495</c:v>
                </c:pt>
                <c:pt idx="3675">
                  <c:v>5.9785521239284742</c:v>
                </c:pt>
                <c:pt idx="3676">
                  <c:v>4.9589209968814991</c:v>
                </c:pt>
                <c:pt idx="3677">
                  <c:v>5.0548996607683359</c:v>
                </c:pt>
                <c:pt idx="3678">
                  <c:v>5.9703789433342633</c:v>
                </c:pt>
                <c:pt idx="3679">
                  <c:v>6.1016998904915623</c:v>
                </c:pt>
                <c:pt idx="3680">
                  <c:v>4.9105623530716693</c:v>
                </c:pt>
                <c:pt idx="3681">
                  <c:v>5.9222573848132729</c:v>
                </c:pt>
                <c:pt idx="3682">
                  <c:v>5.9477192047162664</c:v>
                </c:pt>
                <c:pt idx="3683">
                  <c:v>6.1295114875804675</c:v>
                </c:pt>
                <c:pt idx="3684">
                  <c:v>6.0703917730643937</c:v>
                </c:pt>
                <c:pt idx="3685">
                  <c:v>4.9743300871469129</c:v>
                </c:pt>
                <c:pt idx="3686">
                  <c:v>6.0371619023966758</c:v>
                </c:pt>
                <c:pt idx="3687">
                  <c:v>6.0265845471883797</c:v>
                </c:pt>
                <c:pt idx="3688">
                  <c:v>6.9495440425538968</c:v>
                </c:pt>
                <c:pt idx="3689">
                  <c:v>5.0860638229653183</c:v>
                </c:pt>
                <c:pt idx="3690">
                  <c:v>4.95310703035637</c:v>
                </c:pt>
                <c:pt idx="3691">
                  <c:v>5.9842830741770934</c:v>
                </c:pt>
                <c:pt idx="3692">
                  <c:v>6.8930192613259997</c:v>
                </c:pt>
                <c:pt idx="3693">
                  <c:v>4.9937220466490988</c:v>
                </c:pt>
                <c:pt idx="3694">
                  <c:v>4.8863127129533082</c:v>
                </c:pt>
                <c:pt idx="3695">
                  <c:v>4.8365637979484344</c:v>
                </c:pt>
                <c:pt idx="3696">
                  <c:v>5.1246255001976628</c:v>
                </c:pt>
                <c:pt idx="3697">
                  <c:v>4.9222153015795858</c:v>
                </c:pt>
                <c:pt idx="3698">
                  <c:v>4.9351757422499674</c:v>
                </c:pt>
                <c:pt idx="3699">
                  <c:v>5.1736673956825285</c:v>
                </c:pt>
                <c:pt idx="3700">
                  <c:v>4.8684345607464881</c:v>
                </c:pt>
                <c:pt idx="3701">
                  <c:v>4.8726783464715249</c:v>
                </c:pt>
                <c:pt idx="3702">
                  <c:v>6.0638124808339189</c:v>
                </c:pt>
                <c:pt idx="3703">
                  <c:v>6.0945862283443395</c:v>
                </c:pt>
                <c:pt idx="3704">
                  <c:v>7.0063075547995624</c:v>
                </c:pt>
                <c:pt idx="3705">
                  <c:v>6.1091316121936892</c:v>
                </c:pt>
                <c:pt idx="3706">
                  <c:v>6.0092524596069934</c:v>
                </c:pt>
                <c:pt idx="3707">
                  <c:v>5.0046875836449463</c:v>
                </c:pt>
                <c:pt idx="3708">
                  <c:v>5.0243127905909368</c:v>
                </c:pt>
                <c:pt idx="3709">
                  <c:v>5.8882482795299982</c:v>
                </c:pt>
                <c:pt idx="3710">
                  <c:v>4.8741213260132197</c:v>
                </c:pt>
                <c:pt idx="3711">
                  <c:v>5.0611074866792132</c:v>
                </c:pt>
                <c:pt idx="3712">
                  <c:v>5.1874826732858406</c:v>
                </c:pt>
                <c:pt idx="3713">
                  <c:v>6.2075434925156312</c:v>
                </c:pt>
                <c:pt idx="3714">
                  <c:v>5.9977953046786645</c:v>
                </c:pt>
                <c:pt idx="3715">
                  <c:v>5.9252131617741997</c:v>
                </c:pt>
                <c:pt idx="3716">
                  <c:v>5.9303549935326538</c:v>
                </c:pt>
                <c:pt idx="3717">
                  <c:v>6.0172842176797028</c:v>
                </c:pt>
                <c:pt idx="3718">
                  <c:v>4.9709357487304677</c:v>
                </c:pt>
                <c:pt idx="3719">
                  <c:v>5.0624487380197838</c:v>
                </c:pt>
                <c:pt idx="3720">
                  <c:v>5.8449861717630833</c:v>
                </c:pt>
                <c:pt idx="3721">
                  <c:v>4.9193802511630853</c:v>
                </c:pt>
                <c:pt idx="3722">
                  <c:v>4.9399914430780258</c:v>
                </c:pt>
                <c:pt idx="3723">
                  <c:v>4.947883894804078</c:v>
                </c:pt>
                <c:pt idx="3724">
                  <c:v>5.1437212985500356</c:v>
                </c:pt>
                <c:pt idx="3725">
                  <c:v>5.1529023559200242</c:v>
                </c:pt>
                <c:pt idx="3726">
                  <c:v>6.0196152503180507</c:v>
                </c:pt>
                <c:pt idx="3727">
                  <c:v>5.0276996725487031</c:v>
                </c:pt>
                <c:pt idx="3728">
                  <c:v>4.8835658401284592</c:v>
                </c:pt>
                <c:pt idx="3729">
                  <c:v>6.0476216094302462</c:v>
                </c:pt>
                <c:pt idx="3730">
                  <c:v>5.8403158742761212</c:v>
                </c:pt>
                <c:pt idx="3731">
                  <c:v>5.2191237704543987</c:v>
                </c:pt>
                <c:pt idx="3732">
                  <c:v>5.1533357984584445</c:v>
                </c:pt>
                <c:pt idx="3733">
                  <c:v>4.9032043233710407</c:v>
                </c:pt>
                <c:pt idx="3734">
                  <c:v>5.0867583590299903</c:v>
                </c:pt>
                <c:pt idx="3735">
                  <c:v>6.1235226574483361</c:v>
                </c:pt>
                <c:pt idx="3736">
                  <c:v>5.0658359137203863</c:v>
                </c:pt>
                <c:pt idx="3737">
                  <c:v>6.0326755064905742</c:v>
                </c:pt>
                <c:pt idx="3738">
                  <c:v>4.9078775462414628</c:v>
                </c:pt>
                <c:pt idx="3739">
                  <c:v>5.0787344525900071</c:v>
                </c:pt>
                <c:pt idx="3740">
                  <c:v>4.9191309026073009</c:v>
                </c:pt>
                <c:pt idx="3741">
                  <c:v>5.9648098734585693</c:v>
                </c:pt>
                <c:pt idx="3742">
                  <c:v>5.0029906361592165</c:v>
                </c:pt>
                <c:pt idx="3743">
                  <c:v>4.9982125410221752</c:v>
                </c:pt>
                <c:pt idx="3744">
                  <c:v>5.0414706455659113</c:v>
                </c:pt>
                <c:pt idx="3745">
                  <c:v>4.9545346356216946</c:v>
                </c:pt>
                <c:pt idx="3746">
                  <c:v>5.1665729740001645</c:v>
                </c:pt>
                <c:pt idx="3747">
                  <c:v>6.2317246845692749</c:v>
                </c:pt>
                <c:pt idx="3748">
                  <c:v>4.883374972482545</c:v>
                </c:pt>
                <c:pt idx="3749">
                  <c:v>4.932252775498406</c:v>
                </c:pt>
                <c:pt idx="3750">
                  <c:v>4.9897227155000845</c:v>
                </c:pt>
                <c:pt idx="3751">
                  <c:v>5.9779805134004782</c:v>
                </c:pt>
                <c:pt idx="3752">
                  <c:v>4.8646498650782792</c:v>
                </c:pt>
                <c:pt idx="3753">
                  <c:v>5.9615522555765681</c:v>
                </c:pt>
                <c:pt idx="3754">
                  <c:v>6.1029479759428336</c:v>
                </c:pt>
                <c:pt idx="3755">
                  <c:v>5.0946704235295881</c:v>
                </c:pt>
                <c:pt idx="3756">
                  <c:v>5.9525920674458304</c:v>
                </c:pt>
                <c:pt idx="3757">
                  <c:v>4.9632618107782527</c:v>
                </c:pt>
                <c:pt idx="3758">
                  <c:v>6.933680276826192</c:v>
                </c:pt>
                <c:pt idx="3759">
                  <c:v>6.0333553343201416</c:v>
                </c:pt>
                <c:pt idx="3760">
                  <c:v>5.0131262581381097</c:v>
                </c:pt>
                <c:pt idx="3761">
                  <c:v>5.9628191184004695</c:v>
                </c:pt>
                <c:pt idx="3762">
                  <c:v>6.126460808681232</c:v>
                </c:pt>
                <c:pt idx="3763">
                  <c:v>6.0517370698775625</c:v>
                </c:pt>
                <c:pt idx="3764">
                  <c:v>5.0364437744554467</c:v>
                </c:pt>
                <c:pt idx="3765">
                  <c:v>6.0395059575574974</c:v>
                </c:pt>
                <c:pt idx="3766">
                  <c:v>5.0404698908249115</c:v>
                </c:pt>
                <c:pt idx="3767">
                  <c:v>4.9140184154826105</c:v>
                </c:pt>
                <c:pt idx="3768">
                  <c:v>6.0321920637959661</c:v>
                </c:pt>
                <c:pt idx="3769">
                  <c:v>6.1436562954473288</c:v>
                </c:pt>
                <c:pt idx="3770">
                  <c:v>5.0705074356910007</c:v>
                </c:pt>
                <c:pt idx="3771">
                  <c:v>5.9396379648880604</c:v>
                </c:pt>
                <c:pt idx="3772">
                  <c:v>4.9444867690980843</c:v>
                </c:pt>
                <c:pt idx="3773">
                  <c:v>6.0276603890067415</c:v>
                </c:pt>
                <c:pt idx="3774">
                  <c:v>4.9490293391915312</c:v>
                </c:pt>
                <c:pt idx="3775">
                  <c:v>5.8938267548433174</c:v>
                </c:pt>
                <c:pt idx="3776">
                  <c:v>5.0735618551604142</c:v>
                </c:pt>
                <c:pt idx="3777">
                  <c:v>5.1121872367380172</c:v>
                </c:pt>
                <c:pt idx="3778">
                  <c:v>5.825614669074092</c:v>
                </c:pt>
                <c:pt idx="3779">
                  <c:v>5.2318318386078513</c:v>
                </c:pt>
                <c:pt idx="3780">
                  <c:v>4.8567728759028288</c:v>
                </c:pt>
                <c:pt idx="3781">
                  <c:v>5.9580883839005594</c:v>
                </c:pt>
                <c:pt idx="3782">
                  <c:v>5.0354203340699328</c:v>
                </c:pt>
                <c:pt idx="3783">
                  <c:v>6.0006764553796827</c:v>
                </c:pt>
                <c:pt idx="3784">
                  <c:v>4.8678725708153783</c:v>
                </c:pt>
                <c:pt idx="3785">
                  <c:v>4.8144902494156199</c:v>
                </c:pt>
                <c:pt idx="3786">
                  <c:v>6.0244221174428265</c:v>
                </c:pt>
                <c:pt idx="3787">
                  <c:v>6.1112737257240983</c:v>
                </c:pt>
                <c:pt idx="3788">
                  <c:v>4.8253354378161282</c:v>
                </c:pt>
                <c:pt idx="3789">
                  <c:v>5.0300389167446626</c:v>
                </c:pt>
                <c:pt idx="3790">
                  <c:v>5.9575739499038258</c:v>
                </c:pt>
                <c:pt idx="3791">
                  <c:v>6.1151145142275531</c:v>
                </c:pt>
                <c:pt idx="3792">
                  <c:v>6.1513846030478172</c:v>
                </c:pt>
                <c:pt idx="3793">
                  <c:v>4.9938151490601097</c:v>
                </c:pt>
                <c:pt idx="3794">
                  <c:v>4.8164556280098587</c:v>
                </c:pt>
                <c:pt idx="3795">
                  <c:v>4.9367284607157442</c:v>
                </c:pt>
                <c:pt idx="3796">
                  <c:v>5.1115144916093129</c:v>
                </c:pt>
                <c:pt idx="3797">
                  <c:v>5.7473592104673941</c:v>
                </c:pt>
                <c:pt idx="3798">
                  <c:v>5.1730926983644911</c:v>
                </c:pt>
                <c:pt idx="3799">
                  <c:v>4.8830818053913649</c:v>
                </c:pt>
                <c:pt idx="3800">
                  <c:v>6.2423828482970887</c:v>
                </c:pt>
                <c:pt idx="3801">
                  <c:v>4.9639218474209237</c:v>
                </c:pt>
                <c:pt idx="3802">
                  <c:v>5.8145799562762299</c:v>
                </c:pt>
                <c:pt idx="3803">
                  <c:v>5.9404468051231438</c:v>
                </c:pt>
                <c:pt idx="3804">
                  <c:v>5.1018952972448988</c:v>
                </c:pt>
                <c:pt idx="3805">
                  <c:v>4.7852921395073071</c:v>
                </c:pt>
                <c:pt idx="3806">
                  <c:v>5.9338012208514295</c:v>
                </c:pt>
                <c:pt idx="3807">
                  <c:v>5.0484906113328494</c:v>
                </c:pt>
                <c:pt idx="3808">
                  <c:v>4.9262500389111494</c:v>
                </c:pt>
                <c:pt idx="3809">
                  <c:v>4.9627833997181821</c:v>
                </c:pt>
                <c:pt idx="3810">
                  <c:v>4.9638952727532741</c:v>
                </c:pt>
                <c:pt idx="3811">
                  <c:v>5.0041020448045783</c:v>
                </c:pt>
                <c:pt idx="3812">
                  <c:v>5.1186917365778708</c:v>
                </c:pt>
                <c:pt idx="3813">
                  <c:v>5.142570660938139</c:v>
                </c:pt>
                <c:pt idx="3814">
                  <c:v>5.0884637227419933</c:v>
                </c:pt>
                <c:pt idx="3815">
                  <c:v>5.0319356138252713</c:v>
                </c:pt>
                <c:pt idx="3816">
                  <c:v>7.0694194412339506</c:v>
                </c:pt>
                <c:pt idx="3817">
                  <c:v>5.1539176748106428</c:v>
                </c:pt>
                <c:pt idx="3818">
                  <c:v>4.9970786080145952</c:v>
                </c:pt>
                <c:pt idx="3819">
                  <c:v>4.9861193990231438</c:v>
                </c:pt>
                <c:pt idx="3820">
                  <c:v>6.2013286390872988</c:v>
                </c:pt>
                <c:pt idx="3821">
                  <c:v>6.0084323139771252</c:v>
                </c:pt>
                <c:pt idx="3822">
                  <c:v>5.0746833543808778</c:v>
                </c:pt>
                <c:pt idx="3823">
                  <c:v>4.8556043562332096</c:v>
                </c:pt>
                <c:pt idx="3824">
                  <c:v>4.899735758616548</c:v>
                </c:pt>
                <c:pt idx="3825">
                  <c:v>6.0149075778485148</c:v>
                </c:pt>
                <c:pt idx="3826">
                  <c:v>5.8336868372436772</c:v>
                </c:pt>
                <c:pt idx="3827">
                  <c:v>4.9983600244469963</c:v>
                </c:pt>
                <c:pt idx="3828">
                  <c:v>6.0819463619223004</c:v>
                </c:pt>
                <c:pt idx="3829">
                  <c:v>4.9775051374231634</c:v>
                </c:pt>
                <c:pt idx="3830">
                  <c:v>4.940018857945593</c:v>
                </c:pt>
                <c:pt idx="3831">
                  <c:v>6.0485926328236275</c:v>
                </c:pt>
                <c:pt idx="3832">
                  <c:v>6.0293022442270097</c:v>
                </c:pt>
                <c:pt idx="3833">
                  <c:v>4.9187660736978556</c:v>
                </c:pt>
                <c:pt idx="3834">
                  <c:v>5.9605261776785738</c:v>
                </c:pt>
                <c:pt idx="3835">
                  <c:v>5.0544937301616946</c:v>
                </c:pt>
                <c:pt idx="3836">
                  <c:v>4.955057426028497</c:v>
                </c:pt>
                <c:pt idx="3837">
                  <c:v>4.9498581425158283</c:v>
                </c:pt>
                <c:pt idx="3838">
                  <c:v>6.0218880938455808</c:v>
                </c:pt>
                <c:pt idx="3839">
                  <c:v>5.0623893059286775</c:v>
                </c:pt>
                <c:pt idx="3840">
                  <c:v>6.0713572015117583</c:v>
                </c:pt>
                <c:pt idx="3841">
                  <c:v>5.0099351654213766</c:v>
                </c:pt>
                <c:pt idx="3842">
                  <c:v>6.9035909676492695</c:v>
                </c:pt>
                <c:pt idx="3843">
                  <c:v>5.0186737263141881</c:v>
                </c:pt>
                <c:pt idx="3844">
                  <c:v>6.8923909513706318</c:v>
                </c:pt>
                <c:pt idx="3845">
                  <c:v>6.0211021264138971</c:v>
                </c:pt>
                <c:pt idx="3846">
                  <c:v>4.9875989165341936</c:v>
                </c:pt>
                <c:pt idx="3847">
                  <c:v>5.0463071759874172</c:v>
                </c:pt>
                <c:pt idx="3848">
                  <c:v>5.0402406742591328</c:v>
                </c:pt>
                <c:pt idx="3849">
                  <c:v>5.1181200575725043</c:v>
                </c:pt>
                <c:pt idx="3850">
                  <c:v>6.1265884778960755</c:v>
                </c:pt>
                <c:pt idx="3851">
                  <c:v>4.9880887413682506</c:v>
                </c:pt>
                <c:pt idx="3852">
                  <c:v>4.9893615954586954</c:v>
                </c:pt>
                <c:pt idx="3853">
                  <c:v>5.1434890307685937</c:v>
                </c:pt>
                <c:pt idx="3854">
                  <c:v>5.0083705967005114</c:v>
                </c:pt>
                <c:pt idx="3855">
                  <c:v>4.9417213759824783</c:v>
                </c:pt>
                <c:pt idx="3856">
                  <c:v>6.1328176802534831</c:v>
                </c:pt>
                <c:pt idx="3857">
                  <c:v>5.9635343822755189</c:v>
                </c:pt>
                <c:pt idx="3858">
                  <c:v>4.6973758673558432</c:v>
                </c:pt>
                <c:pt idx="3859">
                  <c:v>4.768116013846381</c:v>
                </c:pt>
                <c:pt idx="3860">
                  <c:v>5.9534695505908317</c:v>
                </c:pt>
                <c:pt idx="3861">
                  <c:v>6.0767925658620694</c:v>
                </c:pt>
                <c:pt idx="3862">
                  <c:v>5.076808740012023</c:v>
                </c:pt>
                <c:pt idx="3863">
                  <c:v>4.9629331751657135</c:v>
                </c:pt>
                <c:pt idx="3864">
                  <c:v>4.9843911654639887</c:v>
                </c:pt>
                <c:pt idx="3865">
                  <c:v>4.9021198746322314</c:v>
                </c:pt>
                <c:pt idx="3866">
                  <c:v>5.0386105455289547</c:v>
                </c:pt>
                <c:pt idx="3867">
                  <c:v>5.0816998729115994</c:v>
                </c:pt>
                <c:pt idx="3868">
                  <c:v>4.8404672114446052</c:v>
                </c:pt>
                <c:pt idx="3869">
                  <c:v>5.0418312700645114</c:v>
                </c:pt>
                <c:pt idx="3870">
                  <c:v>5.0749750191180327</c:v>
                </c:pt>
                <c:pt idx="3871">
                  <c:v>5.0936099857040631</c:v>
                </c:pt>
                <c:pt idx="3872">
                  <c:v>5.1576053237886628</c:v>
                </c:pt>
                <c:pt idx="3873">
                  <c:v>5.0049930889379395</c:v>
                </c:pt>
                <c:pt idx="3874">
                  <c:v>4.9205590634286969</c:v>
                </c:pt>
                <c:pt idx="3875">
                  <c:v>5.022311354407198</c:v>
                </c:pt>
                <c:pt idx="3876">
                  <c:v>5.1430413524672351</c:v>
                </c:pt>
                <c:pt idx="3877">
                  <c:v>6.0028482242710091</c:v>
                </c:pt>
                <c:pt idx="3878">
                  <c:v>5.0642095437986736</c:v>
                </c:pt>
                <c:pt idx="3879">
                  <c:v>4.9035343340970989</c:v>
                </c:pt>
                <c:pt idx="3880">
                  <c:v>6.0500594336943259</c:v>
                </c:pt>
                <c:pt idx="3881">
                  <c:v>5.1298403978226625</c:v>
                </c:pt>
                <c:pt idx="3882">
                  <c:v>4.9588723917466409</c:v>
                </c:pt>
                <c:pt idx="3883">
                  <c:v>4.8887896113671827</c:v>
                </c:pt>
                <c:pt idx="3884">
                  <c:v>4.9565792975421008</c:v>
                </c:pt>
                <c:pt idx="3885">
                  <c:v>6.0164816580145217</c:v>
                </c:pt>
                <c:pt idx="3886">
                  <c:v>4.9289419147774538</c:v>
                </c:pt>
                <c:pt idx="3887">
                  <c:v>4.8873414246923419</c:v>
                </c:pt>
                <c:pt idx="3888">
                  <c:v>5.0168609940242028</c:v>
                </c:pt>
                <c:pt idx="3889">
                  <c:v>6.0124215578027655</c:v>
                </c:pt>
                <c:pt idx="3890">
                  <c:v>5.9562936550828738</c:v>
                </c:pt>
                <c:pt idx="3891">
                  <c:v>5.0370822415492711</c:v>
                </c:pt>
                <c:pt idx="3892">
                  <c:v>4.9067502558387917</c:v>
                </c:pt>
                <c:pt idx="3893">
                  <c:v>4.941000885638033</c:v>
                </c:pt>
                <c:pt idx="3894">
                  <c:v>5.9246038415522486</c:v>
                </c:pt>
                <c:pt idx="3895">
                  <c:v>4.9646122583731369</c:v>
                </c:pt>
                <c:pt idx="3896">
                  <c:v>5.0186541680382506</c:v>
                </c:pt>
                <c:pt idx="3897">
                  <c:v>4.9999341602565313</c:v>
                </c:pt>
                <c:pt idx="3898">
                  <c:v>5.0376627566436101</c:v>
                </c:pt>
                <c:pt idx="3899">
                  <c:v>4.9686607315152234</c:v>
                </c:pt>
                <c:pt idx="3900">
                  <c:v>5.0469942775129368</c:v>
                </c:pt>
                <c:pt idx="3901">
                  <c:v>4.9644740808799579</c:v>
                </c:pt>
                <c:pt idx="3902">
                  <c:v>6.0219606110500692</c:v>
                </c:pt>
                <c:pt idx="3903">
                  <c:v>5.9985875992934172</c:v>
                </c:pt>
                <c:pt idx="3904">
                  <c:v>4.9707918881630668</c:v>
                </c:pt>
                <c:pt idx="3905">
                  <c:v>5.191753675082718</c:v>
                </c:pt>
                <c:pt idx="3906">
                  <c:v>4.9039467992800212</c:v>
                </c:pt>
                <c:pt idx="3907">
                  <c:v>5.0015916234784648</c:v>
                </c:pt>
                <c:pt idx="3908">
                  <c:v>4.9976394464038147</c:v>
                </c:pt>
                <c:pt idx="3909">
                  <c:v>5.9476447933905128</c:v>
                </c:pt>
                <c:pt idx="3910">
                  <c:v>5.1572638301911056</c:v>
                </c:pt>
                <c:pt idx="3911">
                  <c:v>6.033982938280082</c:v>
                </c:pt>
                <c:pt idx="3912">
                  <c:v>5.1876980708394926</c:v>
                </c:pt>
                <c:pt idx="3913">
                  <c:v>4.949010613260584</c:v>
                </c:pt>
                <c:pt idx="3914">
                  <c:v>3.8695712749384379</c:v>
                </c:pt>
                <c:pt idx="3915">
                  <c:v>4.9408046387440985</c:v>
                </c:pt>
                <c:pt idx="3916">
                  <c:v>3.9463057054216435</c:v>
                </c:pt>
                <c:pt idx="3917">
                  <c:v>6.998980599338041</c:v>
                </c:pt>
                <c:pt idx="3918">
                  <c:v>6.7972194441897331</c:v>
                </c:pt>
                <c:pt idx="3919">
                  <c:v>6.0356343541459143</c:v>
                </c:pt>
                <c:pt idx="3920">
                  <c:v>5.8044495306427581</c:v>
                </c:pt>
                <c:pt idx="3921">
                  <c:v>5.9633222113700963</c:v>
                </c:pt>
                <c:pt idx="3922">
                  <c:v>5.0660931111983381</c:v>
                </c:pt>
                <c:pt idx="3923">
                  <c:v>4.970279919655912</c:v>
                </c:pt>
                <c:pt idx="3924">
                  <c:v>5.8951310198741966</c:v>
                </c:pt>
                <c:pt idx="3925">
                  <c:v>6.0741019817055015</c:v>
                </c:pt>
                <c:pt idx="3926">
                  <c:v>5.8201156154297378</c:v>
                </c:pt>
                <c:pt idx="3927">
                  <c:v>5.0400125024655242</c:v>
                </c:pt>
                <c:pt idx="3928">
                  <c:v>5.0762007631740049</c:v>
                </c:pt>
                <c:pt idx="3929">
                  <c:v>5.8956115007972896</c:v>
                </c:pt>
                <c:pt idx="3930">
                  <c:v>5.8573235633302057</c:v>
                </c:pt>
                <c:pt idx="3931">
                  <c:v>7.0843660487004412</c:v>
                </c:pt>
                <c:pt idx="3932">
                  <c:v>5.0414620499700566</c:v>
                </c:pt>
                <c:pt idx="3933">
                  <c:v>4.9612410692456672</c:v>
                </c:pt>
                <c:pt idx="3934">
                  <c:v>4.8114032640729683</c:v>
                </c:pt>
                <c:pt idx="3935">
                  <c:v>7.0110495002471902</c:v>
                </c:pt>
                <c:pt idx="3936">
                  <c:v>6.0551294477728828</c:v>
                </c:pt>
                <c:pt idx="3937">
                  <c:v>6.0751753075367612</c:v>
                </c:pt>
                <c:pt idx="3938">
                  <c:v>5.9954987484442892</c:v>
                </c:pt>
                <c:pt idx="3939">
                  <c:v>4.9323693242257711</c:v>
                </c:pt>
                <c:pt idx="3940">
                  <c:v>4.9260640932082191</c:v>
                </c:pt>
                <c:pt idx="3941">
                  <c:v>6.0147391217239639</c:v>
                </c:pt>
                <c:pt idx="3942">
                  <c:v>5.0391908357947841</c:v>
                </c:pt>
                <c:pt idx="3943">
                  <c:v>4.9197403013302523</c:v>
                </c:pt>
                <c:pt idx="3944">
                  <c:v>4.9933080266167371</c:v>
                </c:pt>
                <c:pt idx="3945">
                  <c:v>6.1440328785806733</c:v>
                </c:pt>
                <c:pt idx="3946">
                  <c:v>6.1339713902342803</c:v>
                </c:pt>
                <c:pt idx="3947">
                  <c:v>6.0521509326796181</c:v>
                </c:pt>
                <c:pt idx="3948">
                  <c:v>4.9810349044767097</c:v>
                </c:pt>
                <c:pt idx="3949">
                  <c:v>5.9661787452254442</c:v>
                </c:pt>
                <c:pt idx="3950">
                  <c:v>6.1264318749619582</c:v>
                </c:pt>
                <c:pt idx="3951">
                  <c:v>4.8901262679023398</c:v>
                </c:pt>
                <c:pt idx="3952">
                  <c:v>5.049527832024082</c:v>
                </c:pt>
                <c:pt idx="3953">
                  <c:v>6.0562756100646693</c:v>
                </c:pt>
                <c:pt idx="3954">
                  <c:v>5.0415882385597488</c:v>
                </c:pt>
                <c:pt idx="3955">
                  <c:v>5.1485620651856872</c:v>
                </c:pt>
                <c:pt idx="3956">
                  <c:v>5.8364833427866483</c:v>
                </c:pt>
                <c:pt idx="3957">
                  <c:v>5.9795854629645904</c:v>
                </c:pt>
                <c:pt idx="3958">
                  <c:v>6.9903463275957884</c:v>
                </c:pt>
                <c:pt idx="3959">
                  <c:v>5.0744835444368785</c:v>
                </c:pt>
                <c:pt idx="3960">
                  <c:v>7.0034987028199644</c:v>
                </c:pt>
                <c:pt idx="3961">
                  <c:v>5.8440663706247848</c:v>
                </c:pt>
                <c:pt idx="3962">
                  <c:v>5.8830617446906617</c:v>
                </c:pt>
                <c:pt idx="3963">
                  <c:v>5.9252768667850333</c:v>
                </c:pt>
                <c:pt idx="3964">
                  <c:v>4.8895950743321954</c:v>
                </c:pt>
                <c:pt idx="3965">
                  <c:v>5.0817201524737881</c:v>
                </c:pt>
                <c:pt idx="3966">
                  <c:v>4.9477242420020628</c:v>
                </c:pt>
                <c:pt idx="3967">
                  <c:v>6.0762497795815973</c:v>
                </c:pt>
                <c:pt idx="3968">
                  <c:v>3.9604721961326539</c:v>
                </c:pt>
                <c:pt idx="3969">
                  <c:v>5.0512456635789738</c:v>
                </c:pt>
                <c:pt idx="3970">
                  <c:v>4.7269149414454938</c:v>
                </c:pt>
                <c:pt idx="3971">
                  <c:v>5.1628244430074233</c:v>
                </c:pt>
                <c:pt idx="3972">
                  <c:v>5.9732294846212657</c:v>
                </c:pt>
                <c:pt idx="3973">
                  <c:v>5.1888349294066778</c:v>
                </c:pt>
                <c:pt idx="3974">
                  <c:v>6.9439485471590787</c:v>
                </c:pt>
                <c:pt idx="3975">
                  <c:v>7.0916388548225511</c:v>
                </c:pt>
                <c:pt idx="3976">
                  <c:v>6.1254831643905172</c:v>
                </c:pt>
                <c:pt idx="3977">
                  <c:v>5.7772601540626782</c:v>
                </c:pt>
                <c:pt idx="3978">
                  <c:v>5.9866418410510542</c:v>
                </c:pt>
                <c:pt idx="3979">
                  <c:v>5.1084671607779555</c:v>
                </c:pt>
                <c:pt idx="3980">
                  <c:v>5.0421119276789659</c:v>
                </c:pt>
                <c:pt idx="3981">
                  <c:v>4.9742858897737454</c:v>
                </c:pt>
                <c:pt idx="3982">
                  <c:v>5.9922445959806359</c:v>
                </c:pt>
                <c:pt idx="3983">
                  <c:v>5.0742270582203881</c:v>
                </c:pt>
                <c:pt idx="3984">
                  <c:v>6.0134245141051235</c:v>
                </c:pt>
                <c:pt idx="3985">
                  <c:v>4.9773683186188427</c:v>
                </c:pt>
                <c:pt idx="3986">
                  <c:v>4.8217609195084661</c:v>
                </c:pt>
                <c:pt idx="3987">
                  <c:v>5.9950992337676139</c:v>
                </c:pt>
                <c:pt idx="3988">
                  <c:v>5.0504307260447829</c:v>
                </c:pt>
                <c:pt idx="3989">
                  <c:v>5.0107657118750346</c:v>
                </c:pt>
                <c:pt idx="3990">
                  <c:v>5.1076407086282929</c:v>
                </c:pt>
                <c:pt idx="3991">
                  <c:v>5.0602229767873679</c:v>
                </c:pt>
                <c:pt idx="3992">
                  <c:v>4.9644089803703331</c:v>
                </c:pt>
                <c:pt idx="3993">
                  <c:v>5.0910152779007554</c:v>
                </c:pt>
                <c:pt idx="3994">
                  <c:v>5.0640717167841025</c:v>
                </c:pt>
                <c:pt idx="3995">
                  <c:v>4.7931523193411669</c:v>
                </c:pt>
                <c:pt idx="3996">
                  <c:v>5.9531797726619757</c:v>
                </c:pt>
                <c:pt idx="3997">
                  <c:v>4.8997441675702174</c:v>
                </c:pt>
                <c:pt idx="3998">
                  <c:v>6.096541227283196</c:v>
                </c:pt>
                <c:pt idx="3999">
                  <c:v>4.901534350867637</c:v>
                </c:pt>
                <c:pt idx="4000">
                  <c:v>5.9611337611562494</c:v>
                </c:pt>
                <c:pt idx="4001">
                  <c:v>6.0445188768097013</c:v>
                </c:pt>
                <c:pt idx="4002">
                  <c:v>4.9653458861754212</c:v>
                </c:pt>
                <c:pt idx="4003">
                  <c:v>5.9404137906361054</c:v>
                </c:pt>
                <c:pt idx="4004">
                  <c:v>5.9653080994172019</c:v>
                </c:pt>
                <c:pt idx="4005">
                  <c:v>4.8272382034028603</c:v>
                </c:pt>
                <c:pt idx="4006">
                  <c:v>6.0759994792390319</c:v>
                </c:pt>
                <c:pt idx="4007">
                  <c:v>5.9836379634203878</c:v>
                </c:pt>
                <c:pt idx="4008">
                  <c:v>5.0472173511071752</c:v>
                </c:pt>
                <c:pt idx="4009">
                  <c:v>5.0135065042194986</c:v>
                </c:pt>
                <c:pt idx="4010">
                  <c:v>4.9344184034892917</c:v>
                </c:pt>
                <c:pt idx="4011">
                  <c:v>4.9867777460686673</c:v>
                </c:pt>
                <c:pt idx="4012">
                  <c:v>6.0062734313588289</c:v>
                </c:pt>
                <c:pt idx="4013">
                  <c:v>7.1150379674672708</c:v>
                </c:pt>
                <c:pt idx="4014">
                  <c:v>5.1369547282374368</c:v>
                </c:pt>
                <c:pt idx="4015">
                  <c:v>5.0495308171256825</c:v>
                </c:pt>
                <c:pt idx="4016">
                  <c:v>5.0575881482230409</c:v>
                </c:pt>
                <c:pt idx="4017">
                  <c:v>4.9733616189892649</c:v>
                </c:pt>
                <c:pt idx="4018">
                  <c:v>5.109662293481132</c:v>
                </c:pt>
                <c:pt idx="4019">
                  <c:v>4.7949054487304963</c:v>
                </c:pt>
                <c:pt idx="4020">
                  <c:v>4.9217830269898544</c:v>
                </c:pt>
                <c:pt idx="4021">
                  <c:v>4.957198446443666</c:v>
                </c:pt>
                <c:pt idx="4022">
                  <c:v>5.8046266120735366</c:v>
                </c:pt>
                <c:pt idx="4023">
                  <c:v>5.9534785828701633</c:v>
                </c:pt>
                <c:pt idx="4024">
                  <c:v>4.9552569313220971</c:v>
                </c:pt>
                <c:pt idx="4025">
                  <c:v>5.0610447213437295</c:v>
                </c:pt>
                <c:pt idx="4026">
                  <c:v>5.1259217323702222</c:v>
                </c:pt>
                <c:pt idx="4027">
                  <c:v>5.7906408308810349</c:v>
                </c:pt>
                <c:pt idx="4028">
                  <c:v>5.93688548309742</c:v>
                </c:pt>
                <c:pt idx="4029">
                  <c:v>6.2201041571186364</c:v>
                </c:pt>
                <c:pt idx="4030">
                  <c:v>4.8842224498140432</c:v>
                </c:pt>
                <c:pt idx="4031">
                  <c:v>7.034773252022374</c:v>
                </c:pt>
                <c:pt idx="4032">
                  <c:v>5.9637980044367493</c:v>
                </c:pt>
                <c:pt idx="4033">
                  <c:v>5.0756214145510858</c:v>
                </c:pt>
                <c:pt idx="4034">
                  <c:v>5.0458980342867568</c:v>
                </c:pt>
                <c:pt idx="4035">
                  <c:v>5.0237730093026123</c:v>
                </c:pt>
                <c:pt idx="4036">
                  <c:v>5.7610386755219976</c:v>
                </c:pt>
                <c:pt idx="4037">
                  <c:v>5.7379868839178583</c:v>
                </c:pt>
                <c:pt idx="4038">
                  <c:v>6.0242406111236351</c:v>
                </c:pt>
                <c:pt idx="4039">
                  <c:v>6.0496796146405698</c:v>
                </c:pt>
                <c:pt idx="4040">
                  <c:v>5.0984328228003557</c:v>
                </c:pt>
                <c:pt idx="4041">
                  <c:v>6.1350270035102428</c:v>
                </c:pt>
                <c:pt idx="4042">
                  <c:v>4.8691942608820469</c:v>
                </c:pt>
                <c:pt idx="4043">
                  <c:v>5.1496853388025903</c:v>
                </c:pt>
                <c:pt idx="4044">
                  <c:v>5.9526650222941706</c:v>
                </c:pt>
                <c:pt idx="4045">
                  <c:v>5.902435800432114</c:v>
                </c:pt>
                <c:pt idx="4046">
                  <c:v>5.0005942884679957</c:v>
                </c:pt>
                <c:pt idx="4047">
                  <c:v>5.9509370954632281</c:v>
                </c:pt>
                <c:pt idx="4048">
                  <c:v>5.1050311054347803</c:v>
                </c:pt>
                <c:pt idx="4049">
                  <c:v>5.0269718276093247</c:v>
                </c:pt>
                <c:pt idx="4050">
                  <c:v>6.0113548497670388</c:v>
                </c:pt>
                <c:pt idx="4051">
                  <c:v>4.9734897634390132</c:v>
                </c:pt>
                <c:pt idx="4052">
                  <c:v>5.0323609348160412</c:v>
                </c:pt>
                <c:pt idx="4053">
                  <c:v>6.0148812406540291</c:v>
                </c:pt>
                <c:pt idx="4054">
                  <c:v>6.0427155796833896</c:v>
                </c:pt>
                <c:pt idx="4055">
                  <c:v>5.0089777627719823</c:v>
                </c:pt>
                <c:pt idx="4056">
                  <c:v>5.9725111914354185</c:v>
                </c:pt>
                <c:pt idx="4057">
                  <c:v>6.050270421926121</c:v>
                </c:pt>
                <c:pt idx="4058">
                  <c:v>7.0999589438252695</c:v>
                </c:pt>
                <c:pt idx="4059">
                  <c:v>5.1340364086216033</c:v>
                </c:pt>
                <c:pt idx="4060">
                  <c:v>5.9953001306355613</c:v>
                </c:pt>
                <c:pt idx="4061">
                  <c:v>5.8685530434543658</c:v>
                </c:pt>
                <c:pt idx="4062">
                  <c:v>6.1707316009106297</c:v>
                </c:pt>
                <c:pt idx="4063">
                  <c:v>5.0551493212182104</c:v>
                </c:pt>
                <c:pt idx="4064">
                  <c:v>6.8971093721827295</c:v>
                </c:pt>
                <c:pt idx="4065">
                  <c:v>6.0682492543646394</c:v>
                </c:pt>
                <c:pt idx="4066">
                  <c:v>5.0636394091450248</c:v>
                </c:pt>
                <c:pt idx="4067">
                  <c:v>6.9923514705955405</c:v>
                </c:pt>
                <c:pt idx="4068">
                  <c:v>5.0303154629897602</c:v>
                </c:pt>
                <c:pt idx="4069">
                  <c:v>7.0475938871263883</c:v>
                </c:pt>
                <c:pt idx="4070">
                  <c:v>6.0501303823920392</c:v>
                </c:pt>
                <c:pt idx="4071">
                  <c:v>4.9414958031981469</c:v>
                </c:pt>
                <c:pt idx="4072">
                  <c:v>6.871810362223937</c:v>
                </c:pt>
                <c:pt idx="4073">
                  <c:v>7.0049773491910505</c:v>
                </c:pt>
                <c:pt idx="4074">
                  <c:v>5.9722893395312289</c:v>
                </c:pt>
                <c:pt idx="4075">
                  <c:v>5.0763663164909962</c:v>
                </c:pt>
                <c:pt idx="4076">
                  <c:v>4.0950245083037862</c:v>
                </c:pt>
                <c:pt idx="4077">
                  <c:v>5.0813879013226675</c:v>
                </c:pt>
                <c:pt idx="4078">
                  <c:v>3.8960831876132604</c:v>
                </c:pt>
                <c:pt idx="4079">
                  <c:v>4.9552722591246523</c:v>
                </c:pt>
                <c:pt idx="4080">
                  <c:v>5.8970996750677509</c:v>
                </c:pt>
                <c:pt idx="4081">
                  <c:v>5.0448975151210078</c:v>
                </c:pt>
                <c:pt idx="4082">
                  <c:v>5.9894576823621932</c:v>
                </c:pt>
                <c:pt idx="4083">
                  <c:v>5.0100576441539522</c:v>
                </c:pt>
                <c:pt idx="4084">
                  <c:v>4.8305270802996958</c:v>
                </c:pt>
                <c:pt idx="4085">
                  <c:v>6.0227697289652706</c:v>
                </c:pt>
                <c:pt idx="4086">
                  <c:v>6.0776469108529758</c:v>
                </c:pt>
                <c:pt idx="4087">
                  <c:v>7.0196183663879559</c:v>
                </c:pt>
                <c:pt idx="4088">
                  <c:v>4.9873990827833241</c:v>
                </c:pt>
                <c:pt idx="4089">
                  <c:v>5.0536217225754294</c:v>
                </c:pt>
                <c:pt idx="4090">
                  <c:v>4.9839711213727167</c:v>
                </c:pt>
                <c:pt idx="4091">
                  <c:v>5.0809858437595006</c:v>
                </c:pt>
                <c:pt idx="4092">
                  <c:v>5.0864984503288042</c:v>
                </c:pt>
                <c:pt idx="4093">
                  <c:v>5.8790900148510143</c:v>
                </c:pt>
                <c:pt idx="4094">
                  <c:v>6.0395159643750276</c:v>
                </c:pt>
                <c:pt idx="4095">
                  <c:v>4.9823813173840703</c:v>
                </c:pt>
                <c:pt idx="4096">
                  <c:v>7.0351168782158275</c:v>
                </c:pt>
                <c:pt idx="4097">
                  <c:v>5.0667081478428901</c:v>
                </c:pt>
                <c:pt idx="4098">
                  <c:v>4.9475803315368463</c:v>
                </c:pt>
                <c:pt idx="4099">
                  <c:v>2.9858527516942246</c:v>
                </c:pt>
                <c:pt idx="4100">
                  <c:v>7.1217313055201599</c:v>
                </c:pt>
                <c:pt idx="4101">
                  <c:v>6.0666463427966448</c:v>
                </c:pt>
                <c:pt idx="4102">
                  <c:v>6.204059728254391</c:v>
                </c:pt>
                <c:pt idx="4103">
                  <c:v>6.0436903082615272</c:v>
                </c:pt>
                <c:pt idx="4104">
                  <c:v>5.8654170002334576</c:v>
                </c:pt>
                <c:pt idx="4105">
                  <c:v>5.8908105806382096</c:v>
                </c:pt>
                <c:pt idx="4106">
                  <c:v>4.9149620112420935</c:v>
                </c:pt>
                <c:pt idx="4107">
                  <c:v>5.9234589640474553</c:v>
                </c:pt>
                <c:pt idx="4108">
                  <c:v>5.9406724760605734</c:v>
                </c:pt>
                <c:pt idx="4109">
                  <c:v>5.9051657821816095</c:v>
                </c:pt>
                <c:pt idx="4110">
                  <c:v>5.2457270881376949</c:v>
                </c:pt>
                <c:pt idx="4111">
                  <c:v>5.0372900296404231</c:v>
                </c:pt>
                <c:pt idx="4112">
                  <c:v>4.9283286453870661</c:v>
                </c:pt>
                <c:pt idx="4113">
                  <c:v>5.9981927209936226</c:v>
                </c:pt>
                <c:pt idx="4114">
                  <c:v>4.8431357933351187</c:v>
                </c:pt>
                <c:pt idx="4115">
                  <c:v>5.0405070642741112</c:v>
                </c:pt>
                <c:pt idx="4116">
                  <c:v>6.0674727910519852</c:v>
                </c:pt>
                <c:pt idx="4117">
                  <c:v>6.2372352381349137</c:v>
                </c:pt>
                <c:pt idx="4118">
                  <c:v>4.9840690070352993</c:v>
                </c:pt>
                <c:pt idx="4119">
                  <c:v>6.0736013546764847</c:v>
                </c:pt>
                <c:pt idx="4120">
                  <c:v>5.0266469388181241</c:v>
                </c:pt>
                <c:pt idx="4121">
                  <c:v>5.9423032914582539</c:v>
                </c:pt>
                <c:pt idx="4122">
                  <c:v>4.9450244462720274</c:v>
                </c:pt>
                <c:pt idx="4123">
                  <c:v>7.0955673809816968</c:v>
                </c:pt>
                <c:pt idx="4124">
                  <c:v>4.904906641314839</c:v>
                </c:pt>
                <c:pt idx="4125">
                  <c:v>5.8839770459029799</c:v>
                </c:pt>
                <c:pt idx="4126">
                  <c:v>4.9453494082015013</c:v>
                </c:pt>
                <c:pt idx="4127">
                  <c:v>5.1088836623833398</c:v>
                </c:pt>
                <c:pt idx="4128">
                  <c:v>5.9793234737306991</c:v>
                </c:pt>
                <c:pt idx="4129">
                  <c:v>4.8994675806974879</c:v>
                </c:pt>
                <c:pt idx="4130">
                  <c:v>4.8948902246717658</c:v>
                </c:pt>
                <c:pt idx="4131">
                  <c:v>4.9483863462425539</c:v>
                </c:pt>
                <c:pt idx="4132">
                  <c:v>4.816304734368023</c:v>
                </c:pt>
                <c:pt idx="4133">
                  <c:v>5.9641116287156271</c:v>
                </c:pt>
                <c:pt idx="4134">
                  <c:v>5.0544281514561575</c:v>
                </c:pt>
                <c:pt idx="4135">
                  <c:v>5.1689779300914811</c:v>
                </c:pt>
                <c:pt idx="4136">
                  <c:v>5.0181521143589176</c:v>
                </c:pt>
                <c:pt idx="4137">
                  <c:v>5.9972767501978588</c:v>
                </c:pt>
                <c:pt idx="4138">
                  <c:v>4.9547000327977972</c:v>
                </c:pt>
                <c:pt idx="4139">
                  <c:v>5.1179297721862298</c:v>
                </c:pt>
                <c:pt idx="4140">
                  <c:v>4.7830351467226144</c:v>
                </c:pt>
                <c:pt idx="4141">
                  <c:v>6.0015790385254739</c:v>
                </c:pt>
                <c:pt idx="4142">
                  <c:v>6.0998743166582647</c:v>
                </c:pt>
                <c:pt idx="4143">
                  <c:v>4.9639798217177304</c:v>
                </c:pt>
                <c:pt idx="4144">
                  <c:v>4.9692878383242265</c:v>
                </c:pt>
                <c:pt idx="4145">
                  <c:v>5.0990854611478804</c:v>
                </c:pt>
                <c:pt idx="4146">
                  <c:v>5.9681043855993181</c:v>
                </c:pt>
                <c:pt idx="4147">
                  <c:v>7.1050843731017714</c:v>
                </c:pt>
                <c:pt idx="4148">
                  <c:v>5.0068709656507435</c:v>
                </c:pt>
                <c:pt idx="4149">
                  <c:v>5.9451790847733017</c:v>
                </c:pt>
                <c:pt idx="4150">
                  <c:v>5.0255094519959709</c:v>
                </c:pt>
                <c:pt idx="4151">
                  <c:v>6.0827622868830549</c:v>
                </c:pt>
                <c:pt idx="4152">
                  <c:v>6.9852511164241911</c:v>
                </c:pt>
                <c:pt idx="4153">
                  <c:v>7.0300231794764398</c:v>
                </c:pt>
                <c:pt idx="4154">
                  <c:v>4.9876816584992785</c:v>
                </c:pt>
                <c:pt idx="4155">
                  <c:v>7.0846695007332938</c:v>
                </c:pt>
                <c:pt idx="4156">
                  <c:v>5.9412605599630899</c:v>
                </c:pt>
                <c:pt idx="4157">
                  <c:v>6.0542632734920954</c:v>
                </c:pt>
                <c:pt idx="4158">
                  <c:v>6.9021337463812573</c:v>
                </c:pt>
                <c:pt idx="4159">
                  <c:v>6.8359920332431727</c:v>
                </c:pt>
                <c:pt idx="4160">
                  <c:v>5.0042710897424261</c:v>
                </c:pt>
                <c:pt idx="4161">
                  <c:v>7.0349376929078797</c:v>
                </c:pt>
                <c:pt idx="4162">
                  <c:v>6.95758891337434</c:v>
                </c:pt>
                <c:pt idx="4163">
                  <c:v>7.0638933810207742</c:v>
                </c:pt>
                <c:pt idx="4164">
                  <c:v>6.9729377311048797</c:v>
                </c:pt>
                <c:pt idx="4165">
                  <c:v>5.1774553328357182</c:v>
                </c:pt>
                <c:pt idx="4166">
                  <c:v>5.1034425083149628</c:v>
                </c:pt>
                <c:pt idx="4167">
                  <c:v>6.8353910816923626</c:v>
                </c:pt>
                <c:pt idx="4168">
                  <c:v>5.1685895386687708</c:v>
                </c:pt>
                <c:pt idx="4169">
                  <c:v>6.9555287115909188</c:v>
                </c:pt>
                <c:pt idx="4170">
                  <c:v>5.9468233191474811</c:v>
                </c:pt>
                <c:pt idx="4171">
                  <c:v>4.9584947037997216</c:v>
                </c:pt>
                <c:pt idx="4172">
                  <c:v>5.9708250157113341</c:v>
                </c:pt>
                <c:pt idx="4173">
                  <c:v>5.0151903322428577</c:v>
                </c:pt>
                <c:pt idx="4174">
                  <c:v>4.999301519924531</c:v>
                </c:pt>
                <c:pt idx="4175">
                  <c:v>6.2639142802026626</c:v>
                </c:pt>
                <c:pt idx="4176">
                  <c:v>4.845676869750581</c:v>
                </c:pt>
                <c:pt idx="4177">
                  <c:v>4.9638270451256652</c:v>
                </c:pt>
                <c:pt idx="4178">
                  <c:v>5.938493867635902</c:v>
                </c:pt>
                <c:pt idx="4179">
                  <c:v>5.076317090221738</c:v>
                </c:pt>
                <c:pt idx="4180">
                  <c:v>5.1009443732012052</c:v>
                </c:pt>
                <c:pt idx="4181">
                  <c:v>5.9855841959641625</c:v>
                </c:pt>
                <c:pt idx="4182">
                  <c:v>4.9858395934218063</c:v>
                </c:pt>
                <c:pt idx="4183">
                  <c:v>5.0939396820832821</c:v>
                </c:pt>
                <c:pt idx="4184">
                  <c:v>5.0940516443009383</c:v>
                </c:pt>
                <c:pt idx="4185">
                  <c:v>4.9802398608153116</c:v>
                </c:pt>
                <c:pt idx="4186">
                  <c:v>4.9570743970165445</c:v>
                </c:pt>
                <c:pt idx="4187">
                  <c:v>4.9801661030050095</c:v>
                </c:pt>
                <c:pt idx="4188">
                  <c:v>6.0808983850632989</c:v>
                </c:pt>
                <c:pt idx="4189">
                  <c:v>5.0624186387232974</c:v>
                </c:pt>
                <c:pt idx="4190">
                  <c:v>5.0967858440275018</c:v>
                </c:pt>
                <c:pt idx="4191">
                  <c:v>5.0124754090250105</c:v>
                </c:pt>
                <c:pt idx="4192">
                  <c:v>4.940550430354512</c:v>
                </c:pt>
                <c:pt idx="4193">
                  <c:v>5.0207281347389872</c:v>
                </c:pt>
                <c:pt idx="4194">
                  <c:v>4.796709736630576</c:v>
                </c:pt>
                <c:pt idx="4195">
                  <c:v>5.2421566813666818</c:v>
                </c:pt>
                <c:pt idx="4196">
                  <c:v>4.9646693303753739</c:v>
                </c:pt>
                <c:pt idx="4197">
                  <c:v>6.0533817062977215</c:v>
                </c:pt>
                <c:pt idx="4198">
                  <c:v>4.9996104967819885</c:v>
                </c:pt>
                <c:pt idx="4199">
                  <c:v>5.1080685670502133</c:v>
                </c:pt>
                <c:pt idx="4200">
                  <c:v>4.8495836710543294</c:v>
                </c:pt>
                <c:pt idx="4201">
                  <c:v>5.1439292987220711</c:v>
                </c:pt>
                <c:pt idx="4202">
                  <c:v>5.0131620468278495</c:v>
                </c:pt>
                <c:pt idx="4203">
                  <c:v>6.0069969215233465</c:v>
                </c:pt>
                <c:pt idx="4204">
                  <c:v>5.881495391323452</c:v>
                </c:pt>
                <c:pt idx="4205">
                  <c:v>4.9040017682447248</c:v>
                </c:pt>
                <c:pt idx="4206">
                  <c:v>6.1061869502246084</c:v>
                </c:pt>
                <c:pt idx="4207">
                  <c:v>5.1023393592353807</c:v>
                </c:pt>
                <c:pt idx="4208">
                  <c:v>5.2121969480851629</c:v>
                </c:pt>
                <c:pt idx="4209">
                  <c:v>5.0101988706000329</c:v>
                </c:pt>
                <c:pt idx="4210">
                  <c:v>6.0902990788972442</c:v>
                </c:pt>
                <c:pt idx="4211">
                  <c:v>5.8348237130656431</c:v>
                </c:pt>
                <c:pt idx="4212">
                  <c:v>4.9871845453153654</c:v>
                </c:pt>
                <c:pt idx="4213">
                  <c:v>5.1158533847677852</c:v>
                </c:pt>
                <c:pt idx="4214">
                  <c:v>5.0037863524838206</c:v>
                </c:pt>
                <c:pt idx="4215">
                  <c:v>4.9375397674493247</c:v>
                </c:pt>
                <c:pt idx="4216">
                  <c:v>6.0075643693815568</c:v>
                </c:pt>
                <c:pt idx="4217">
                  <c:v>6.2541813711160801</c:v>
                </c:pt>
                <c:pt idx="4218">
                  <c:v>5.0682547920137306</c:v>
                </c:pt>
                <c:pt idx="4219">
                  <c:v>5.9616824043380099</c:v>
                </c:pt>
                <c:pt idx="4220">
                  <c:v>4.9709264885830002</c:v>
                </c:pt>
                <c:pt idx="4221">
                  <c:v>6.8526353576480172</c:v>
                </c:pt>
                <c:pt idx="4222">
                  <c:v>5.0186457323913505</c:v>
                </c:pt>
                <c:pt idx="4223">
                  <c:v>5.9560673969735571</c:v>
                </c:pt>
                <c:pt idx="4224">
                  <c:v>5.0061484695645682</c:v>
                </c:pt>
                <c:pt idx="4225">
                  <c:v>4.996240113671707</c:v>
                </c:pt>
                <c:pt idx="4226">
                  <c:v>6.203164573123404</c:v>
                </c:pt>
                <c:pt idx="4227">
                  <c:v>6.0444419250822818</c:v>
                </c:pt>
                <c:pt idx="4228">
                  <c:v>5.9685293435859288</c:v>
                </c:pt>
                <c:pt idx="4229">
                  <c:v>6.022884598454973</c:v>
                </c:pt>
                <c:pt idx="4230">
                  <c:v>4.957508191623508</c:v>
                </c:pt>
                <c:pt idx="4231">
                  <c:v>4.9906317689686093</c:v>
                </c:pt>
                <c:pt idx="4232">
                  <c:v>5.1539669833683481</c:v>
                </c:pt>
                <c:pt idx="4233">
                  <c:v>5.0276943246612005</c:v>
                </c:pt>
                <c:pt idx="4234">
                  <c:v>6.0058727994010033</c:v>
                </c:pt>
                <c:pt idx="4235">
                  <c:v>4.9934643738223885</c:v>
                </c:pt>
                <c:pt idx="4236">
                  <c:v>7.0806514830218648</c:v>
                </c:pt>
                <c:pt idx="4237">
                  <c:v>6.1490610094068936</c:v>
                </c:pt>
                <c:pt idx="4238">
                  <c:v>4.8949542418686791</c:v>
                </c:pt>
                <c:pt idx="4239">
                  <c:v>7.0181128736973974</c:v>
                </c:pt>
                <c:pt idx="4240">
                  <c:v>4.8943534369859476</c:v>
                </c:pt>
                <c:pt idx="4241">
                  <c:v>5.1790671608481249</c:v>
                </c:pt>
                <c:pt idx="4242">
                  <c:v>4.9172663373812142</c:v>
                </c:pt>
                <c:pt idx="4243">
                  <c:v>4.9470796207801415</c:v>
                </c:pt>
                <c:pt idx="4244">
                  <c:v>7.1528561955491679</c:v>
                </c:pt>
                <c:pt idx="4245">
                  <c:v>5.082182005906013</c:v>
                </c:pt>
                <c:pt idx="4246">
                  <c:v>4.8608196337160896</c:v>
                </c:pt>
                <c:pt idx="4247">
                  <c:v>5.054267784338915</c:v>
                </c:pt>
                <c:pt idx="4248">
                  <c:v>4.8730188084038124</c:v>
                </c:pt>
                <c:pt idx="4249">
                  <c:v>7.1112782733891411</c:v>
                </c:pt>
                <c:pt idx="4250">
                  <c:v>6.0670046444795567</c:v>
                </c:pt>
                <c:pt idx="4251">
                  <c:v>5.8872623240941024</c:v>
                </c:pt>
                <c:pt idx="4252">
                  <c:v>5.8638665714793898</c:v>
                </c:pt>
                <c:pt idx="4253">
                  <c:v>5.054638854852981</c:v>
                </c:pt>
                <c:pt idx="4254">
                  <c:v>5.067060520031891</c:v>
                </c:pt>
                <c:pt idx="4255">
                  <c:v>5.0976067957522648</c:v>
                </c:pt>
                <c:pt idx="4256">
                  <c:v>6.0638676888185969</c:v>
                </c:pt>
                <c:pt idx="4257">
                  <c:v>5.1005859741225619</c:v>
                </c:pt>
                <c:pt idx="4258">
                  <c:v>4.8672217410461265</c:v>
                </c:pt>
                <c:pt idx="4259">
                  <c:v>5.9952141840946389</c:v>
                </c:pt>
                <c:pt idx="4260">
                  <c:v>5.9709242755722096</c:v>
                </c:pt>
                <c:pt idx="4261">
                  <c:v>4.9519821510157174</c:v>
                </c:pt>
                <c:pt idx="4262">
                  <c:v>5.048076721828135</c:v>
                </c:pt>
                <c:pt idx="4263">
                  <c:v>4.9286067499500437</c:v>
                </c:pt>
                <c:pt idx="4264">
                  <c:v>5.1402578139269322</c:v>
                </c:pt>
                <c:pt idx="4265">
                  <c:v>4.001051704878523</c:v>
                </c:pt>
                <c:pt idx="4266">
                  <c:v>5.0644185562626216</c:v>
                </c:pt>
                <c:pt idx="4267">
                  <c:v>4.8665391111037808</c:v>
                </c:pt>
                <c:pt idx="4268">
                  <c:v>5.0823181867790241</c:v>
                </c:pt>
                <c:pt idx="4269">
                  <c:v>5.0352845017196763</c:v>
                </c:pt>
                <c:pt idx="4270">
                  <c:v>5.1675983201723179</c:v>
                </c:pt>
                <c:pt idx="4271">
                  <c:v>4.9262849338175005</c:v>
                </c:pt>
                <c:pt idx="4272">
                  <c:v>5.0335966597793957</c:v>
                </c:pt>
                <c:pt idx="4273">
                  <c:v>5.0029192518405488</c:v>
                </c:pt>
                <c:pt idx="4274">
                  <c:v>5.1015228573719593</c:v>
                </c:pt>
                <c:pt idx="4275">
                  <c:v>4.9335208045431305</c:v>
                </c:pt>
                <c:pt idx="4276">
                  <c:v>4.8899598407951723</c:v>
                </c:pt>
                <c:pt idx="4277">
                  <c:v>4.9233370701545898</c:v>
                </c:pt>
                <c:pt idx="4278">
                  <c:v>5.7124374656304955</c:v>
                </c:pt>
                <c:pt idx="4279">
                  <c:v>4.816716662051153</c:v>
                </c:pt>
                <c:pt idx="4280">
                  <c:v>5.8534355051522811</c:v>
                </c:pt>
                <c:pt idx="4281">
                  <c:v>6.9889303456971321</c:v>
                </c:pt>
                <c:pt idx="4282">
                  <c:v>6.0584593967564055</c:v>
                </c:pt>
                <c:pt idx="4283">
                  <c:v>6.0455986443636043</c:v>
                </c:pt>
                <c:pt idx="4284">
                  <c:v>4.9970752040470749</c:v>
                </c:pt>
                <c:pt idx="4285">
                  <c:v>5.0354453607152214</c:v>
                </c:pt>
                <c:pt idx="4286">
                  <c:v>4.8580635906206933</c:v>
                </c:pt>
                <c:pt idx="4287">
                  <c:v>5.8213498668139545</c:v>
                </c:pt>
                <c:pt idx="4288">
                  <c:v>5.9040762246902183</c:v>
                </c:pt>
                <c:pt idx="4289">
                  <c:v>7.0462244935927609</c:v>
                </c:pt>
                <c:pt idx="4290">
                  <c:v>4.9808702486954095</c:v>
                </c:pt>
                <c:pt idx="4291">
                  <c:v>6.022757765848298</c:v>
                </c:pt>
                <c:pt idx="4292">
                  <c:v>6.12633890626332</c:v>
                </c:pt>
                <c:pt idx="4293">
                  <c:v>4.9350172564717099</c:v>
                </c:pt>
                <c:pt idx="4294">
                  <c:v>7.1826944257398182</c:v>
                </c:pt>
                <c:pt idx="4295">
                  <c:v>5.9904704379232578</c:v>
                </c:pt>
                <c:pt idx="4296">
                  <c:v>6.0086313262418587</c:v>
                </c:pt>
                <c:pt idx="4297">
                  <c:v>7.1654905327753085</c:v>
                </c:pt>
                <c:pt idx="4298">
                  <c:v>4.8719061240977677</c:v>
                </c:pt>
                <c:pt idx="4299">
                  <c:v>5.1873565700874851</c:v>
                </c:pt>
                <c:pt idx="4300">
                  <c:v>5.95769125587214</c:v>
                </c:pt>
                <c:pt idx="4301">
                  <c:v>5.0148647413630778</c:v>
                </c:pt>
                <c:pt idx="4302">
                  <c:v>5.930826813092696</c:v>
                </c:pt>
                <c:pt idx="4303">
                  <c:v>6.7365037901870526</c:v>
                </c:pt>
                <c:pt idx="4304">
                  <c:v>5.0383512581651253</c:v>
                </c:pt>
                <c:pt idx="4305">
                  <c:v>5.0231168774549584</c:v>
                </c:pt>
                <c:pt idx="4306">
                  <c:v>6.9342681573570006</c:v>
                </c:pt>
                <c:pt idx="4307">
                  <c:v>5.8970699485571174</c:v>
                </c:pt>
                <c:pt idx="4308">
                  <c:v>5.8988291481711208</c:v>
                </c:pt>
                <c:pt idx="4309">
                  <c:v>4.9562653814578983</c:v>
                </c:pt>
                <c:pt idx="4310">
                  <c:v>6.0312412364382864</c:v>
                </c:pt>
                <c:pt idx="4311">
                  <c:v>5.1062760232943969</c:v>
                </c:pt>
                <c:pt idx="4312">
                  <c:v>5.1089588142446578</c:v>
                </c:pt>
                <c:pt idx="4313">
                  <c:v>4.0104242328298305</c:v>
                </c:pt>
                <c:pt idx="4314">
                  <c:v>7.0647931145077747</c:v>
                </c:pt>
                <c:pt idx="4315">
                  <c:v>5.0250303512713632</c:v>
                </c:pt>
                <c:pt idx="4316">
                  <c:v>4.98075799060768</c:v>
                </c:pt>
                <c:pt idx="4317">
                  <c:v>5.8922050296338551</c:v>
                </c:pt>
                <c:pt idx="4318">
                  <c:v>5.0770697222577095</c:v>
                </c:pt>
                <c:pt idx="4319">
                  <c:v>4.9915302499395828</c:v>
                </c:pt>
                <c:pt idx="4320">
                  <c:v>5.021385771033291</c:v>
                </c:pt>
                <c:pt idx="4321">
                  <c:v>5.9051499325790653</c:v>
                </c:pt>
                <c:pt idx="4322">
                  <c:v>5.2192914262392707</c:v>
                </c:pt>
                <c:pt idx="4323">
                  <c:v>5.9127378560679498</c:v>
                </c:pt>
                <c:pt idx="4324">
                  <c:v>4.9989106253741999</c:v>
                </c:pt>
                <c:pt idx="4325">
                  <c:v>6.2320720087940922</c:v>
                </c:pt>
                <c:pt idx="4326">
                  <c:v>6.0406498227701544</c:v>
                </c:pt>
                <c:pt idx="4327">
                  <c:v>4.8265640902047249</c:v>
                </c:pt>
                <c:pt idx="4328">
                  <c:v>4.9172905364027502</c:v>
                </c:pt>
                <c:pt idx="4329">
                  <c:v>5.0672938993402781</c:v>
                </c:pt>
                <c:pt idx="4330">
                  <c:v>5.12638488995833</c:v>
                </c:pt>
                <c:pt idx="4331">
                  <c:v>4.881319188625862</c:v>
                </c:pt>
                <c:pt idx="4332">
                  <c:v>5.0072780504468124</c:v>
                </c:pt>
                <c:pt idx="4333">
                  <c:v>3.9532258124489594</c:v>
                </c:pt>
                <c:pt idx="4334">
                  <c:v>5.8685619479914228</c:v>
                </c:pt>
                <c:pt idx="4335">
                  <c:v>4.9533749010400463</c:v>
                </c:pt>
                <c:pt idx="4336">
                  <c:v>5.9335782455842629</c:v>
                </c:pt>
                <c:pt idx="4337">
                  <c:v>4.940809966335113</c:v>
                </c:pt>
                <c:pt idx="4338">
                  <c:v>5.9135304060300689</c:v>
                </c:pt>
                <c:pt idx="4339">
                  <c:v>4.8950138783734722</c:v>
                </c:pt>
                <c:pt idx="4340">
                  <c:v>6.9261938617824637</c:v>
                </c:pt>
                <c:pt idx="4341">
                  <c:v>5.8074734873857219</c:v>
                </c:pt>
                <c:pt idx="4342">
                  <c:v>5.8606645363485343</c:v>
                </c:pt>
                <c:pt idx="4343">
                  <c:v>5.184677652780314</c:v>
                </c:pt>
                <c:pt idx="4344">
                  <c:v>5.0982591839163991</c:v>
                </c:pt>
                <c:pt idx="4345">
                  <c:v>5.0757304703781569</c:v>
                </c:pt>
                <c:pt idx="4346">
                  <c:v>4.9078298626039389</c:v>
                </c:pt>
                <c:pt idx="4347">
                  <c:v>4.9616392143715435</c:v>
                </c:pt>
                <c:pt idx="4348">
                  <c:v>6.0366235142175499</c:v>
                </c:pt>
                <c:pt idx="4349">
                  <c:v>4.9089619366734034</c:v>
                </c:pt>
                <c:pt idx="4350">
                  <c:v>5.2305171485189765</c:v>
                </c:pt>
                <c:pt idx="4351">
                  <c:v>5.7914741143575954</c:v>
                </c:pt>
                <c:pt idx="4352">
                  <c:v>6.0202545718980334</c:v>
                </c:pt>
                <c:pt idx="4353">
                  <c:v>5.1212090333774869</c:v>
                </c:pt>
                <c:pt idx="4354">
                  <c:v>5.8992712285292468</c:v>
                </c:pt>
                <c:pt idx="4355">
                  <c:v>5.0653259795651833</c:v>
                </c:pt>
                <c:pt idx="4356">
                  <c:v>5.9425318921478603</c:v>
                </c:pt>
                <c:pt idx="4357">
                  <c:v>7.1326119897817533</c:v>
                </c:pt>
                <c:pt idx="4358">
                  <c:v>4.9600075250717719</c:v>
                </c:pt>
                <c:pt idx="4359">
                  <c:v>4.9329346128770535</c:v>
                </c:pt>
                <c:pt idx="4360">
                  <c:v>4.9323708260837735</c:v>
                </c:pt>
                <c:pt idx="4361">
                  <c:v>4.8816622871550646</c:v>
                </c:pt>
                <c:pt idx="4362">
                  <c:v>6.0268582967730993</c:v>
                </c:pt>
                <c:pt idx="4363">
                  <c:v>6.9230645750695938</c:v>
                </c:pt>
                <c:pt idx="4364">
                  <c:v>5.0600515320743522</c:v>
                </c:pt>
                <c:pt idx="4365">
                  <c:v>4.9867877438202379</c:v>
                </c:pt>
                <c:pt idx="4366">
                  <c:v>5.1255253170298971</c:v>
                </c:pt>
                <c:pt idx="4367">
                  <c:v>4.8326919707836122</c:v>
                </c:pt>
                <c:pt idx="4368">
                  <c:v>5.0147927453911647</c:v>
                </c:pt>
                <c:pt idx="4369">
                  <c:v>5.0489568293068485</c:v>
                </c:pt>
                <c:pt idx="4370">
                  <c:v>5.9256638668980308</c:v>
                </c:pt>
                <c:pt idx="4371">
                  <c:v>6.1550627260674062</c:v>
                </c:pt>
                <c:pt idx="4372">
                  <c:v>4.8931620267337497</c:v>
                </c:pt>
                <c:pt idx="4373">
                  <c:v>5.9372161693032588</c:v>
                </c:pt>
                <c:pt idx="4374">
                  <c:v>6.2408843863311638</c:v>
                </c:pt>
                <c:pt idx="4375">
                  <c:v>5.0729594326674352</c:v>
                </c:pt>
                <c:pt idx="4376">
                  <c:v>6.0304339884616613</c:v>
                </c:pt>
                <c:pt idx="4377">
                  <c:v>5.0468347205032922</c:v>
                </c:pt>
                <c:pt idx="4378">
                  <c:v>6.0173969112747185</c:v>
                </c:pt>
                <c:pt idx="4379">
                  <c:v>4.9482203755249641</c:v>
                </c:pt>
                <c:pt idx="4380">
                  <c:v>6.0208030413290752</c:v>
                </c:pt>
                <c:pt idx="4381">
                  <c:v>6.031888318143853</c:v>
                </c:pt>
                <c:pt idx="4382">
                  <c:v>4.9040572713472086</c:v>
                </c:pt>
                <c:pt idx="4383">
                  <c:v>5.9714432335224412</c:v>
                </c:pt>
                <c:pt idx="4384">
                  <c:v>3.9194828788431773</c:v>
                </c:pt>
                <c:pt idx="4385">
                  <c:v>6.018907437381892</c:v>
                </c:pt>
                <c:pt idx="4386">
                  <c:v>6.01260572748199</c:v>
                </c:pt>
                <c:pt idx="4387">
                  <c:v>6.1725326868410377</c:v>
                </c:pt>
                <c:pt idx="4388">
                  <c:v>4.9725071993809999</c:v>
                </c:pt>
                <c:pt idx="4389">
                  <c:v>6.07346432980414</c:v>
                </c:pt>
                <c:pt idx="4390">
                  <c:v>6.0127524814991622</c:v>
                </c:pt>
                <c:pt idx="4391">
                  <c:v>6.0532880826277085</c:v>
                </c:pt>
                <c:pt idx="4392">
                  <c:v>5.2472564792408232</c:v>
                </c:pt>
                <c:pt idx="4393">
                  <c:v>5.040987169282527</c:v>
                </c:pt>
                <c:pt idx="4394">
                  <c:v>5.0517204979314743</c:v>
                </c:pt>
                <c:pt idx="4395">
                  <c:v>5.1228095948705175</c:v>
                </c:pt>
                <c:pt idx="4396">
                  <c:v>4.9589218562201705</c:v>
                </c:pt>
                <c:pt idx="4397">
                  <c:v>6.0532419229516572</c:v>
                </c:pt>
                <c:pt idx="4398">
                  <c:v>5.7710897647848451</c:v>
                </c:pt>
                <c:pt idx="4399">
                  <c:v>6.0644832739141448</c:v>
                </c:pt>
                <c:pt idx="4400">
                  <c:v>6.7976613293641215</c:v>
                </c:pt>
                <c:pt idx="4401">
                  <c:v>6.0467245722116623</c:v>
                </c:pt>
                <c:pt idx="4402">
                  <c:v>5.9295970809296037</c:v>
                </c:pt>
                <c:pt idx="4403">
                  <c:v>4.9536868122626174</c:v>
                </c:pt>
                <c:pt idx="4404">
                  <c:v>6.0238408445145151</c:v>
                </c:pt>
                <c:pt idx="4405">
                  <c:v>4.9895155619139002</c:v>
                </c:pt>
                <c:pt idx="4406">
                  <c:v>5.0000492243247328</c:v>
                </c:pt>
                <c:pt idx="4407">
                  <c:v>5.9240558796837712</c:v>
                </c:pt>
                <c:pt idx="4408">
                  <c:v>5.0741816038360668</c:v>
                </c:pt>
                <c:pt idx="4409">
                  <c:v>7.0637482485241883</c:v>
                </c:pt>
                <c:pt idx="4410">
                  <c:v>5.0159517990226261</c:v>
                </c:pt>
                <c:pt idx="4411">
                  <c:v>4.9510991546549832</c:v>
                </c:pt>
                <c:pt idx="4412">
                  <c:v>6.1973375841573404</c:v>
                </c:pt>
                <c:pt idx="4413">
                  <c:v>5.778807440347542</c:v>
                </c:pt>
                <c:pt idx="4414">
                  <c:v>4.9219790562460952</c:v>
                </c:pt>
                <c:pt idx="4415">
                  <c:v>5.8745180669394479</c:v>
                </c:pt>
                <c:pt idx="4416">
                  <c:v>5.8878336068015598</c:v>
                </c:pt>
                <c:pt idx="4417">
                  <c:v>5.978245889932964</c:v>
                </c:pt>
                <c:pt idx="4418">
                  <c:v>5.0436382344335309</c:v>
                </c:pt>
                <c:pt idx="4419">
                  <c:v>6.0453154587982629</c:v>
                </c:pt>
                <c:pt idx="4420">
                  <c:v>6.0655151430853849</c:v>
                </c:pt>
                <c:pt idx="4421">
                  <c:v>5.1292954068926822</c:v>
                </c:pt>
                <c:pt idx="4422">
                  <c:v>5.0523986888736356</c:v>
                </c:pt>
                <c:pt idx="4423">
                  <c:v>5.0908507299765775</c:v>
                </c:pt>
                <c:pt idx="4424">
                  <c:v>6.0206193974796758</c:v>
                </c:pt>
                <c:pt idx="4425">
                  <c:v>4.9978527682802447</c:v>
                </c:pt>
                <c:pt idx="4426">
                  <c:v>4.8852175577188603</c:v>
                </c:pt>
                <c:pt idx="4427">
                  <c:v>8.0317367771759542</c:v>
                </c:pt>
                <c:pt idx="4428">
                  <c:v>4.0370747812271359</c:v>
                </c:pt>
                <c:pt idx="4429">
                  <c:v>4.9334587520663407</c:v>
                </c:pt>
                <c:pt idx="4430">
                  <c:v>5.2263468579476493</c:v>
                </c:pt>
                <c:pt idx="4431">
                  <c:v>5.9408971687346233</c:v>
                </c:pt>
                <c:pt idx="4432">
                  <c:v>5.1163165832143171</c:v>
                </c:pt>
                <c:pt idx="4433">
                  <c:v>5.0768354344127067</c:v>
                </c:pt>
                <c:pt idx="4434">
                  <c:v>5.0507421571195481</c:v>
                </c:pt>
                <c:pt idx="4435">
                  <c:v>6.0963058359162723</c:v>
                </c:pt>
                <c:pt idx="4436">
                  <c:v>5.9485043071321995</c:v>
                </c:pt>
                <c:pt idx="4437">
                  <c:v>4.0151443755956517</c:v>
                </c:pt>
                <c:pt idx="4438">
                  <c:v>5.1613926877667913</c:v>
                </c:pt>
                <c:pt idx="4439">
                  <c:v>4.8894846589136227</c:v>
                </c:pt>
                <c:pt idx="4440">
                  <c:v>5.9962749196134055</c:v>
                </c:pt>
                <c:pt idx="4441">
                  <c:v>6.1957948576605002</c:v>
                </c:pt>
                <c:pt idx="4442">
                  <c:v>4.947813652811524</c:v>
                </c:pt>
                <c:pt idx="4443">
                  <c:v>5.089408386384239</c:v>
                </c:pt>
                <c:pt idx="4444">
                  <c:v>5.1288795631506749</c:v>
                </c:pt>
                <c:pt idx="4445">
                  <c:v>5.8237314125220072</c:v>
                </c:pt>
                <c:pt idx="4446">
                  <c:v>4.9686409164167804</c:v>
                </c:pt>
                <c:pt idx="4447">
                  <c:v>4.9296324995156144</c:v>
                </c:pt>
                <c:pt idx="4448">
                  <c:v>5.0473012942733906</c:v>
                </c:pt>
                <c:pt idx="4449">
                  <c:v>4.9094090347038506</c:v>
                </c:pt>
                <c:pt idx="4450">
                  <c:v>5.1258121333574644</c:v>
                </c:pt>
                <c:pt idx="4451">
                  <c:v>5.9773368941781175</c:v>
                </c:pt>
                <c:pt idx="4452">
                  <c:v>4.985885688346646</c:v>
                </c:pt>
                <c:pt idx="4453">
                  <c:v>4.9460573489328263</c:v>
                </c:pt>
                <c:pt idx="4454">
                  <c:v>6.0233817045387914</c:v>
                </c:pt>
                <c:pt idx="4455">
                  <c:v>4.9342280363534785</c:v>
                </c:pt>
                <c:pt idx="4456">
                  <c:v>6.0011031747578132</c:v>
                </c:pt>
                <c:pt idx="4457">
                  <c:v>5.9645945394469289</c:v>
                </c:pt>
                <c:pt idx="4458">
                  <c:v>6.1086746618135619</c:v>
                </c:pt>
                <c:pt idx="4459">
                  <c:v>5.9875714139365845</c:v>
                </c:pt>
                <c:pt idx="4460">
                  <c:v>4.02547647041541</c:v>
                </c:pt>
                <c:pt idx="4461">
                  <c:v>4.9845244938278128</c:v>
                </c:pt>
                <c:pt idx="4462">
                  <c:v>6.1388157601178053</c:v>
                </c:pt>
                <c:pt idx="4463">
                  <c:v>6.009744332618526</c:v>
                </c:pt>
                <c:pt idx="4464">
                  <c:v>5.924209244080104</c:v>
                </c:pt>
                <c:pt idx="4465">
                  <c:v>4.9533549304865563</c:v>
                </c:pt>
                <c:pt idx="4466">
                  <c:v>5.9450106576197896</c:v>
                </c:pt>
                <c:pt idx="4467">
                  <c:v>4.9498588570791089</c:v>
                </c:pt>
                <c:pt idx="4468">
                  <c:v>6.0393399903717393</c:v>
                </c:pt>
                <c:pt idx="4469">
                  <c:v>6.0380979401283659</c:v>
                </c:pt>
                <c:pt idx="4470">
                  <c:v>4.9254946527994212</c:v>
                </c:pt>
                <c:pt idx="4471">
                  <c:v>5.0081728873816616</c:v>
                </c:pt>
                <c:pt idx="4472">
                  <c:v>5.0384671474631713</c:v>
                </c:pt>
                <c:pt idx="4473">
                  <c:v>6.1429297779774323</c:v>
                </c:pt>
                <c:pt idx="4474">
                  <c:v>4.8763519556220842</c:v>
                </c:pt>
                <c:pt idx="4475">
                  <c:v>4.9547935756292469</c:v>
                </c:pt>
                <c:pt idx="4476">
                  <c:v>6.1332362986789102</c:v>
                </c:pt>
                <c:pt idx="4477">
                  <c:v>6.0162783005311509</c:v>
                </c:pt>
                <c:pt idx="4478">
                  <c:v>6.0021251321205584</c:v>
                </c:pt>
                <c:pt idx="4479">
                  <c:v>6.0282634577148331</c:v>
                </c:pt>
                <c:pt idx="4480">
                  <c:v>5.9438011834839308</c:v>
                </c:pt>
                <c:pt idx="4481">
                  <c:v>5.9307557279523939</c:v>
                </c:pt>
                <c:pt idx="4482">
                  <c:v>5.956678134922778</c:v>
                </c:pt>
                <c:pt idx="4483">
                  <c:v>5.890405435745758</c:v>
                </c:pt>
                <c:pt idx="4484">
                  <c:v>6.0231710279700241</c:v>
                </c:pt>
                <c:pt idx="4485">
                  <c:v>5.9674630832998341</c:v>
                </c:pt>
                <c:pt idx="4486">
                  <c:v>6.0813366072409663</c:v>
                </c:pt>
                <c:pt idx="4487">
                  <c:v>6.033557579933353</c:v>
                </c:pt>
                <c:pt idx="4488">
                  <c:v>6.0152782187897582</c:v>
                </c:pt>
                <c:pt idx="4489">
                  <c:v>5.903699736674251</c:v>
                </c:pt>
                <c:pt idx="4490">
                  <c:v>5.9846873733158219</c:v>
                </c:pt>
                <c:pt idx="4491">
                  <c:v>6.0962889523619426</c:v>
                </c:pt>
                <c:pt idx="4492">
                  <c:v>6.1307360883036051</c:v>
                </c:pt>
                <c:pt idx="4493">
                  <c:v>5.7689787545653886</c:v>
                </c:pt>
                <c:pt idx="4494">
                  <c:v>5.9522691630265054</c:v>
                </c:pt>
                <c:pt idx="4495">
                  <c:v>5.9294301827296341</c:v>
                </c:pt>
                <c:pt idx="4496">
                  <c:v>5.9256148932843411</c:v>
                </c:pt>
                <c:pt idx="4497">
                  <c:v>5.9212308509033065</c:v>
                </c:pt>
                <c:pt idx="4498">
                  <c:v>6.067994863582971</c:v>
                </c:pt>
                <c:pt idx="4499">
                  <c:v>5.9016880023885072</c:v>
                </c:pt>
                <c:pt idx="4500">
                  <c:v>6.0979470151355297</c:v>
                </c:pt>
                <c:pt idx="4501">
                  <c:v>6.0144701004376913</c:v>
                </c:pt>
                <c:pt idx="4502">
                  <c:v>5.8536861051056306</c:v>
                </c:pt>
                <c:pt idx="4503">
                  <c:v>5.9769463959509199</c:v>
                </c:pt>
                <c:pt idx="4504">
                  <c:v>5.9809233488784166</c:v>
                </c:pt>
                <c:pt idx="4505">
                  <c:v>5.975999335785894</c:v>
                </c:pt>
                <c:pt idx="4506">
                  <c:v>6.0591537286188926</c:v>
                </c:pt>
                <c:pt idx="4507">
                  <c:v>6.0830724455216707</c:v>
                </c:pt>
                <c:pt idx="4508">
                  <c:v>6.1240832044739015</c:v>
                </c:pt>
                <c:pt idx="4509">
                  <c:v>5.9322312212464583</c:v>
                </c:pt>
                <c:pt idx="4510">
                  <c:v>6.0752421408750097</c:v>
                </c:pt>
                <c:pt idx="4511">
                  <c:v>5.9896142645638966</c:v>
                </c:pt>
                <c:pt idx="4512">
                  <c:v>5.9972960913812994</c:v>
                </c:pt>
                <c:pt idx="4513">
                  <c:v>5.8886840668526323</c:v>
                </c:pt>
                <c:pt idx="4514">
                  <c:v>5.8266013513251345</c:v>
                </c:pt>
                <c:pt idx="4515">
                  <c:v>6.0990420057124597</c:v>
                </c:pt>
                <c:pt idx="4516">
                  <c:v>4.9745591808025171</c:v>
                </c:pt>
                <c:pt idx="4517">
                  <c:v>6.0469427430922176</c:v>
                </c:pt>
                <c:pt idx="4518">
                  <c:v>6.0474178385768562</c:v>
                </c:pt>
                <c:pt idx="4519">
                  <c:v>5.9628973219343369</c:v>
                </c:pt>
                <c:pt idx="4520">
                  <c:v>5.886287722288114</c:v>
                </c:pt>
                <c:pt idx="4521">
                  <c:v>5.7467431741679889</c:v>
                </c:pt>
                <c:pt idx="4522">
                  <c:v>5.8105443952452216</c:v>
                </c:pt>
                <c:pt idx="4523">
                  <c:v>5.9272121798424431</c:v>
                </c:pt>
                <c:pt idx="4524">
                  <c:v>5.8879291396578468</c:v>
                </c:pt>
                <c:pt idx="4525">
                  <c:v>6.042857695947438</c:v>
                </c:pt>
                <c:pt idx="4526">
                  <c:v>5.9846430783226685</c:v>
                </c:pt>
                <c:pt idx="4527">
                  <c:v>6.078838627148893</c:v>
                </c:pt>
                <c:pt idx="4528">
                  <c:v>5.8968726542306777</c:v>
                </c:pt>
                <c:pt idx="4529">
                  <c:v>5.9277183785267091</c:v>
                </c:pt>
                <c:pt idx="4530">
                  <c:v>5.0593030680265576</c:v>
                </c:pt>
                <c:pt idx="4531">
                  <c:v>6.0197545796630241</c:v>
                </c:pt>
                <c:pt idx="4532">
                  <c:v>6.0725961468795058</c:v>
                </c:pt>
                <c:pt idx="4533">
                  <c:v>6.0484303822624037</c:v>
                </c:pt>
                <c:pt idx="4534">
                  <c:v>5.919059293146395</c:v>
                </c:pt>
                <c:pt idx="4535">
                  <c:v>6.1203902386272455</c:v>
                </c:pt>
                <c:pt idx="4536">
                  <c:v>5.9540270915312146</c:v>
                </c:pt>
                <c:pt idx="4537">
                  <c:v>6.1262507841959515</c:v>
                </c:pt>
                <c:pt idx="4538">
                  <c:v>6.1477078067356654</c:v>
                </c:pt>
                <c:pt idx="4539">
                  <c:v>5.8430018812538247</c:v>
                </c:pt>
                <c:pt idx="4540">
                  <c:v>6.0447835061844568</c:v>
                </c:pt>
                <c:pt idx="4541">
                  <c:v>6.0871567469709902</c:v>
                </c:pt>
                <c:pt idx="4542">
                  <c:v>5.0657909389867104</c:v>
                </c:pt>
                <c:pt idx="4543">
                  <c:v>4.9675313859927401</c:v>
                </c:pt>
                <c:pt idx="4544">
                  <c:v>5.0354920789579101</c:v>
                </c:pt>
                <c:pt idx="4545">
                  <c:v>5.8608426339376072</c:v>
                </c:pt>
                <c:pt idx="4546">
                  <c:v>6.1687660141919363</c:v>
                </c:pt>
                <c:pt idx="4547">
                  <c:v>5.0122944575556456</c:v>
                </c:pt>
                <c:pt idx="4548">
                  <c:v>4.9784956419825699</c:v>
                </c:pt>
                <c:pt idx="4549">
                  <c:v>4.8228382424170331</c:v>
                </c:pt>
                <c:pt idx="4550">
                  <c:v>5.17091120574631</c:v>
                </c:pt>
                <c:pt idx="4551">
                  <c:v>6.1539239127293603</c:v>
                </c:pt>
                <c:pt idx="4552">
                  <c:v>7.071544136391001</c:v>
                </c:pt>
                <c:pt idx="4553">
                  <c:v>5.1855723734689532</c:v>
                </c:pt>
                <c:pt idx="4554">
                  <c:v>6.1577412767055604</c:v>
                </c:pt>
                <c:pt idx="4555">
                  <c:v>7.0016020904616365</c:v>
                </c:pt>
                <c:pt idx="4556">
                  <c:v>6.2073324857826773</c:v>
                </c:pt>
                <c:pt idx="4557">
                  <c:v>5.9219128338132325</c:v>
                </c:pt>
                <c:pt idx="4558">
                  <c:v>4.9506564058124001</c:v>
                </c:pt>
                <c:pt idx="4559">
                  <c:v>4.9300904593052239</c:v>
                </c:pt>
                <c:pt idx="4560">
                  <c:v>5.0530872093039445</c:v>
                </c:pt>
                <c:pt idx="4561">
                  <c:v>6.0364544669671831</c:v>
                </c:pt>
                <c:pt idx="4562">
                  <c:v>5.9881516193280113</c:v>
                </c:pt>
                <c:pt idx="4563">
                  <c:v>5.0617046447684286</c:v>
                </c:pt>
                <c:pt idx="4564">
                  <c:v>5.8655945839623254</c:v>
                </c:pt>
                <c:pt idx="4565">
                  <c:v>6.0797720875963641</c:v>
                </c:pt>
                <c:pt idx="4566">
                  <c:v>5.9697013292894114</c:v>
                </c:pt>
                <c:pt idx="4567">
                  <c:v>6.0408457839431202</c:v>
                </c:pt>
                <c:pt idx="4568">
                  <c:v>4.8578616648868813</c:v>
                </c:pt>
                <c:pt idx="4569">
                  <c:v>6.0782173251487501</c:v>
                </c:pt>
                <c:pt idx="4570">
                  <c:v>5.7803740394142826</c:v>
                </c:pt>
                <c:pt idx="4571">
                  <c:v>5.134228843373891</c:v>
                </c:pt>
                <c:pt idx="4572">
                  <c:v>4.9290963968243879</c:v>
                </c:pt>
                <c:pt idx="4573">
                  <c:v>5.221952434560885</c:v>
                </c:pt>
                <c:pt idx="4574">
                  <c:v>5.0108914366190387</c:v>
                </c:pt>
                <c:pt idx="4575">
                  <c:v>5.8418033487499823</c:v>
                </c:pt>
                <c:pt idx="4576">
                  <c:v>4.9331701187177286</c:v>
                </c:pt>
                <c:pt idx="4577">
                  <c:v>6.0440278700690175</c:v>
                </c:pt>
                <c:pt idx="4578">
                  <c:v>5.9042625779060529</c:v>
                </c:pt>
                <c:pt idx="4579">
                  <c:v>6.0743383220116991</c:v>
                </c:pt>
                <c:pt idx="4580">
                  <c:v>6.2589044701603598</c:v>
                </c:pt>
                <c:pt idx="4581">
                  <c:v>5.9716399674200114</c:v>
                </c:pt>
                <c:pt idx="4582">
                  <c:v>4.9324909755743462</c:v>
                </c:pt>
                <c:pt idx="4583">
                  <c:v>6.0445902885011025</c:v>
                </c:pt>
                <c:pt idx="4584">
                  <c:v>4.9767391195633603</c:v>
                </c:pt>
                <c:pt idx="4585">
                  <c:v>6.9965020072465283</c:v>
                </c:pt>
                <c:pt idx="4586">
                  <c:v>4.0847108495557887</c:v>
                </c:pt>
                <c:pt idx="4587">
                  <c:v>5.0278824071075841</c:v>
                </c:pt>
                <c:pt idx="4588">
                  <c:v>6.8925373019249978</c:v>
                </c:pt>
                <c:pt idx="4589">
                  <c:v>5.0393065565035453</c:v>
                </c:pt>
                <c:pt idx="4590">
                  <c:v>4.9968361443081601</c:v>
                </c:pt>
                <c:pt idx="4591">
                  <c:v>4.8352419199226535</c:v>
                </c:pt>
                <c:pt idx="4592">
                  <c:v>4.7999532233501139</c:v>
                </c:pt>
                <c:pt idx="4593">
                  <c:v>4.9927473665088087</c:v>
                </c:pt>
                <c:pt idx="4594">
                  <c:v>5.0354282032125628</c:v>
                </c:pt>
                <c:pt idx="4595">
                  <c:v>4.8914920098288448</c:v>
                </c:pt>
                <c:pt idx="4596">
                  <c:v>5.0362101482834989</c:v>
                </c:pt>
                <c:pt idx="4597">
                  <c:v>5.0773398566854278</c:v>
                </c:pt>
                <c:pt idx="4598">
                  <c:v>4.9398898466649328</c:v>
                </c:pt>
                <c:pt idx="4599">
                  <c:v>6.0181309897640443</c:v>
                </c:pt>
                <c:pt idx="4600">
                  <c:v>5.9690771770957722</c:v>
                </c:pt>
                <c:pt idx="4601">
                  <c:v>6.0634102159640708</c:v>
                </c:pt>
                <c:pt idx="4602">
                  <c:v>3.8281120535220845</c:v>
                </c:pt>
                <c:pt idx="4603">
                  <c:v>5.8282702443756218</c:v>
                </c:pt>
                <c:pt idx="4604">
                  <c:v>5.0199564038371456</c:v>
                </c:pt>
                <c:pt idx="4605">
                  <c:v>5.1691764369507229</c:v>
                </c:pt>
                <c:pt idx="4606">
                  <c:v>5.9928654747266972</c:v>
                </c:pt>
                <c:pt idx="4607">
                  <c:v>5.8746758431497001</c:v>
                </c:pt>
                <c:pt idx="4608">
                  <c:v>5.0793304119615961</c:v>
                </c:pt>
                <c:pt idx="4609">
                  <c:v>5.1237183592559115</c:v>
                </c:pt>
                <c:pt idx="4610">
                  <c:v>6.1280023990113799</c:v>
                </c:pt>
                <c:pt idx="4611">
                  <c:v>4.980121093578024</c:v>
                </c:pt>
                <c:pt idx="4612">
                  <c:v>5.1359763769404267</c:v>
                </c:pt>
                <c:pt idx="4613">
                  <c:v>5.9421002660233802</c:v>
                </c:pt>
                <c:pt idx="4614">
                  <c:v>4.0568202330497041</c:v>
                </c:pt>
                <c:pt idx="4615">
                  <c:v>4.9219049874494889</c:v>
                </c:pt>
                <c:pt idx="4616">
                  <c:v>6.9219899068676627</c:v>
                </c:pt>
                <c:pt idx="4617">
                  <c:v>4.8331351931009969</c:v>
                </c:pt>
                <c:pt idx="4618">
                  <c:v>5.9728077093664327</c:v>
                </c:pt>
                <c:pt idx="4619">
                  <c:v>5.0730273272765745</c:v>
                </c:pt>
                <c:pt idx="4620">
                  <c:v>6.0236869179455219</c:v>
                </c:pt>
                <c:pt idx="4621">
                  <c:v>5.9576154780920989</c:v>
                </c:pt>
                <c:pt idx="4622">
                  <c:v>4.8464307234825919</c:v>
                </c:pt>
                <c:pt idx="4623">
                  <c:v>3.0110575929625925</c:v>
                </c:pt>
                <c:pt idx="4624">
                  <c:v>5.9811174289779583</c:v>
                </c:pt>
                <c:pt idx="4625">
                  <c:v>4.0738400176168348</c:v>
                </c:pt>
                <c:pt idx="4626">
                  <c:v>4.854928344764323</c:v>
                </c:pt>
                <c:pt idx="4627">
                  <c:v>5.9395235392996142</c:v>
                </c:pt>
                <c:pt idx="4628">
                  <c:v>4.9014850426133707</c:v>
                </c:pt>
                <c:pt idx="4629">
                  <c:v>5.9023397088334892</c:v>
                </c:pt>
                <c:pt idx="4630">
                  <c:v>4.8599079497575586</c:v>
                </c:pt>
                <c:pt idx="4631">
                  <c:v>6.9588969874991786</c:v>
                </c:pt>
                <c:pt idx="4632">
                  <c:v>5.8137044025651701</c:v>
                </c:pt>
                <c:pt idx="4633">
                  <c:v>4.9359612637557317</c:v>
                </c:pt>
                <c:pt idx="4634">
                  <c:v>6.2847222764694051</c:v>
                </c:pt>
                <c:pt idx="4635">
                  <c:v>5.0626881218107922</c:v>
                </c:pt>
                <c:pt idx="4636">
                  <c:v>4.9634689959066689</c:v>
                </c:pt>
                <c:pt idx="4637">
                  <c:v>4.936990020073214</c:v>
                </c:pt>
                <c:pt idx="4638">
                  <c:v>5.9955514483111854</c:v>
                </c:pt>
                <c:pt idx="4639">
                  <c:v>5.0074125615470937</c:v>
                </c:pt>
                <c:pt idx="4640">
                  <c:v>6.0010511430357614</c:v>
                </c:pt>
                <c:pt idx="4641">
                  <c:v>5.0889404889736713</c:v>
                </c:pt>
                <c:pt idx="4642">
                  <c:v>6.0593206534830797</c:v>
                </c:pt>
                <c:pt idx="4643">
                  <c:v>4.1645748833277167</c:v>
                </c:pt>
                <c:pt idx="4644">
                  <c:v>5.0909997789237993</c:v>
                </c:pt>
                <c:pt idx="4645">
                  <c:v>6.9880138910765375</c:v>
                </c:pt>
                <c:pt idx="4646">
                  <c:v>4.9886475149356437</c:v>
                </c:pt>
                <c:pt idx="4647">
                  <c:v>6.0535168137853548</c:v>
                </c:pt>
                <c:pt idx="4648">
                  <c:v>4.8478871800368006</c:v>
                </c:pt>
                <c:pt idx="4649">
                  <c:v>6.0982912252267667</c:v>
                </c:pt>
                <c:pt idx="4650">
                  <c:v>4.9928799256021819</c:v>
                </c:pt>
                <c:pt idx="4651">
                  <c:v>5.2245651613534374</c:v>
                </c:pt>
                <c:pt idx="4652">
                  <c:v>5.9102384967185655</c:v>
                </c:pt>
                <c:pt idx="4653">
                  <c:v>5.0223789104958554</c:v>
                </c:pt>
                <c:pt idx="4654">
                  <c:v>6.0179770103728174</c:v>
                </c:pt>
                <c:pt idx="4655">
                  <c:v>5.9482324538323956</c:v>
                </c:pt>
                <c:pt idx="4656">
                  <c:v>5.7221088186205931</c:v>
                </c:pt>
                <c:pt idx="4657">
                  <c:v>4.946169038565964</c:v>
                </c:pt>
                <c:pt idx="4658">
                  <c:v>6.1907812342596671</c:v>
                </c:pt>
                <c:pt idx="4659">
                  <c:v>5.86206287327522</c:v>
                </c:pt>
                <c:pt idx="4660">
                  <c:v>5.8660867406517578</c:v>
                </c:pt>
                <c:pt idx="4661">
                  <c:v>5.0071824052265876</c:v>
                </c:pt>
                <c:pt idx="4662">
                  <c:v>4.9386816694086466</c:v>
                </c:pt>
                <c:pt idx="4663">
                  <c:v>5.9584715519688531</c:v>
                </c:pt>
                <c:pt idx="4664">
                  <c:v>5.1125991154836363</c:v>
                </c:pt>
                <c:pt idx="4665">
                  <c:v>5.0620171906644869</c:v>
                </c:pt>
                <c:pt idx="4666">
                  <c:v>3.8726031027464005</c:v>
                </c:pt>
                <c:pt idx="4667">
                  <c:v>5.0502714614475579</c:v>
                </c:pt>
                <c:pt idx="4668">
                  <c:v>6.0166263464269099</c:v>
                </c:pt>
                <c:pt idx="4669">
                  <c:v>5.00740398222921</c:v>
                </c:pt>
                <c:pt idx="4670">
                  <c:v>5.9413075472996431</c:v>
                </c:pt>
                <c:pt idx="4671">
                  <c:v>5.1975433876780608</c:v>
                </c:pt>
                <c:pt idx="4672">
                  <c:v>4.9294244920811492</c:v>
                </c:pt>
                <c:pt idx="4673">
                  <c:v>5.0067538575047807</c:v>
                </c:pt>
                <c:pt idx="4674">
                  <c:v>5.1105928571888857</c:v>
                </c:pt>
                <c:pt idx="4675">
                  <c:v>4.9227790802864444</c:v>
                </c:pt>
                <c:pt idx="4676">
                  <c:v>5.9837018815140537</c:v>
                </c:pt>
                <c:pt idx="4677">
                  <c:v>5.0303525830906128</c:v>
                </c:pt>
                <c:pt idx="4678">
                  <c:v>3.9727834138912965</c:v>
                </c:pt>
                <c:pt idx="4679">
                  <c:v>5.9242104339880326</c:v>
                </c:pt>
                <c:pt idx="4680">
                  <c:v>6.0105578472990455</c:v>
                </c:pt>
                <c:pt idx="4681">
                  <c:v>5.0492063192211685</c:v>
                </c:pt>
                <c:pt idx="4682">
                  <c:v>5.2038856879952027</c:v>
                </c:pt>
                <c:pt idx="4683">
                  <c:v>5.9605456443695966</c:v>
                </c:pt>
                <c:pt idx="4684">
                  <c:v>4.9428684728245385</c:v>
                </c:pt>
                <c:pt idx="4685">
                  <c:v>3.0811602771966777</c:v>
                </c:pt>
                <c:pt idx="4686">
                  <c:v>6.0351829367525065</c:v>
                </c:pt>
                <c:pt idx="4687">
                  <c:v>6.0136874442667745</c:v>
                </c:pt>
                <c:pt idx="4688">
                  <c:v>6.1429133408066736</c:v>
                </c:pt>
                <c:pt idx="4689">
                  <c:v>5.1674659902726647</c:v>
                </c:pt>
                <c:pt idx="4690">
                  <c:v>4.9158169486236361</c:v>
                </c:pt>
                <c:pt idx="4691">
                  <c:v>4.8999250701619133</c:v>
                </c:pt>
                <c:pt idx="4692">
                  <c:v>4.9534093227008835</c:v>
                </c:pt>
                <c:pt idx="4693">
                  <c:v>5.1071241627696118</c:v>
                </c:pt>
                <c:pt idx="4694">
                  <c:v>5.957720991842006</c:v>
                </c:pt>
                <c:pt idx="4695">
                  <c:v>4.1689103303500268</c:v>
                </c:pt>
                <c:pt idx="4696">
                  <c:v>5.7763883763692929</c:v>
                </c:pt>
                <c:pt idx="4697">
                  <c:v>6.005713730581876</c:v>
                </c:pt>
                <c:pt idx="4698">
                  <c:v>4.8507894248103769</c:v>
                </c:pt>
                <c:pt idx="4699">
                  <c:v>5.9605946573665447</c:v>
                </c:pt>
                <c:pt idx="4700">
                  <c:v>4.9745090588320293</c:v>
                </c:pt>
                <c:pt idx="4701">
                  <c:v>6.9759337085575321</c:v>
                </c:pt>
                <c:pt idx="4702">
                  <c:v>6.0272048168660337</c:v>
                </c:pt>
                <c:pt idx="4703">
                  <c:v>5.0780500683854131</c:v>
                </c:pt>
                <c:pt idx="4704">
                  <c:v>6.1873053487627327</c:v>
                </c:pt>
                <c:pt idx="4705">
                  <c:v>5.208483905370203</c:v>
                </c:pt>
                <c:pt idx="4706">
                  <c:v>5.1403915376455007</c:v>
                </c:pt>
                <c:pt idx="4707">
                  <c:v>5.0058090608652028</c:v>
                </c:pt>
                <c:pt idx="4708">
                  <c:v>4.925937340706926</c:v>
                </c:pt>
                <c:pt idx="4709">
                  <c:v>5.0038093236502101</c:v>
                </c:pt>
                <c:pt idx="4710">
                  <c:v>5.9110881702251676</c:v>
                </c:pt>
                <c:pt idx="4711">
                  <c:v>6.0399095640432208</c:v>
                </c:pt>
                <c:pt idx="4712">
                  <c:v>6.1451389695570686</c:v>
                </c:pt>
                <c:pt idx="4713">
                  <c:v>4.9448249004691123</c:v>
                </c:pt>
                <c:pt idx="4714">
                  <c:v>4.8313390700757992</c:v>
                </c:pt>
                <c:pt idx="4715">
                  <c:v>6.1184682849374141</c:v>
                </c:pt>
                <c:pt idx="4716">
                  <c:v>4.996375700659387</c:v>
                </c:pt>
                <c:pt idx="4717">
                  <c:v>6.047906694808999</c:v>
                </c:pt>
                <c:pt idx="4718">
                  <c:v>6.9925683284645173</c:v>
                </c:pt>
                <c:pt idx="4719">
                  <c:v>5.0969773405965908</c:v>
                </c:pt>
                <c:pt idx="4720">
                  <c:v>6.0064270067018013</c:v>
                </c:pt>
                <c:pt idx="4721">
                  <c:v>2.0475776868443525</c:v>
                </c:pt>
                <c:pt idx="4722">
                  <c:v>4.8396510018065015</c:v>
                </c:pt>
                <c:pt idx="4723">
                  <c:v>4.8740592625883759</c:v>
                </c:pt>
                <c:pt idx="4724">
                  <c:v>5.0290092329852891</c:v>
                </c:pt>
                <c:pt idx="4725">
                  <c:v>5.1615250367175438</c:v>
                </c:pt>
                <c:pt idx="4726">
                  <c:v>5.9916626300226712</c:v>
                </c:pt>
                <c:pt idx="4727">
                  <c:v>4.9707454800195245</c:v>
                </c:pt>
                <c:pt idx="4728">
                  <c:v>6.0089695576348632</c:v>
                </c:pt>
                <c:pt idx="4729">
                  <c:v>4.9806054014602816</c:v>
                </c:pt>
                <c:pt idx="4730">
                  <c:v>4.9558184884529171</c:v>
                </c:pt>
                <c:pt idx="4731">
                  <c:v>5.9056571577269832</c:v>
                </c:pt>
                <c:pt idx="4732">
                  <c:v>6.0108119337735513</c:v>
                </c:pt>
                <c:pt idx="4733">
                  <c:v>5.0155706370113124</c:v>
                </c:pt>
                <c:pt idx="4734">
                  <c:v>4.9947503314879924</c:v>
                </c:pt>
                <c:pt idx="4735">
                  <c:v>5.1289621075152247</c:v>
                </c:pt>
                <c:pt idx="4736">
                  <c:v>4.9533964504686265</c:v>
                </c:pt>
                <c:pt idx="4737">
                  <c:v>6.0462178867833645</c:v>
                </c:pt>
                <c:pt idx="4738">
                  <c:v>5.051507524139792</c:v>
                </c:pt>
                <c:pt idx="4739">
                  <c:v>5.8642773976933738</c:v>
                </c:pt>
                <c:pt idx="4740">
                  <c:v>4.9330773042958347</c:v>
                </c:pt>
                <c:pt idx="4741">
                  <c:v>5.0244158398450525</c:v>
                </c:pt>
                <c:pt idx="4742">
                  <c:v>5.0984287129727477</c:v>
                </c:pt>
                <c:pt idx="4743">
                  <c:v>5.8384210205342315</c:v>
                </c:pt>
                <c:pt idx="4744">
                  <c:v>5.8615906020423481</c:v>
                </c:pt>
                <c:pt idx="4745">
                  <c:v>6.0374410001208663</c:v>
                </c:pt>
                <c:pt idx="4746">
                  <c:v>7.1364037111289838</c:v>
                </c:pt>
                <c:pt idx="4747">
                  <c:v>5.9919810913090412</c:v>
                </c:pt>
                <c:pt idx="4748">
                  <c:v>4.9347636033798778</c:v>
                </c:pt>
                <c:pt idx="4749">
                  <c:v>5.0830996821375392</c:v>
                </c:pt>
                <c:pt idx="4750">
                  <c:v>5.900668594061802</c:v>
                </c:pt>
                <c:pt idx="4751">
                  <c:v>4.8629749816425933</c:v>
                </c:pt>
                <c:pt idx="4752">
                  <c:v>5.9073664105909733</c:v>
                </c:pt>
                <c:pt idx="4753">
                  <c:v>5.8537629302954262</c:v>
                </c:pt>
                <c:pt idx="4754">
                  <c:v>6.8574031011177574</c:v>
                </c:pt>
                <c:pt idx="4755">
                  <c:v>7.092771796918993</c:v>
                </c:pt>
                <c:pt idx="4756">
                  <c:v>6.0495965985140305</c:v>
                </c:pt>
                <c:pt idx="4757">
                  <c:v>4.9008683416815835</c:v>
                </c:pt>
                <c:pt idx="4758">
                  <c:v>4.9598487157606517</c:v>
                </c:pt>
                <c:pt idx="4759">
                  <c:v>3.7861809160641506</c:v>
                </c:pt>
                <c:pt idx="4760">
                  <c:v>6.0256618829814386</c:v>
                </c:pt>
                <c:pt idx="4761">
                  <c:v>5.0644875653213122</c:v>
                </c:pt>
                <c:pt idx="4762">
                  <c:v>6.012229577066754</c:v>
                </c:pt>
                <c:pt idx="4763">
                  <c:v>5.1328074250676421</c:v>
                </c:pt>
                <c:pt idx="4764">
                  <c:v>5.993710458233509</c:v>
                </c:pt>
                <c:pt idx="4765">
                  <c:v>4.8514313468405215</c:v>
                </c:pt>
                <c:pt idx="4766">
                  <c:v>5.0795531544485959</c:v>
                </c:pt>
                <c:pt idx="4767">
                  <c:v>5.0341446680279569</c:v>
                </c:pt>
                <c:pt idx="4768">
                  <c:v>6.0112551174021185</c:v>
                </c:pt>
                <c:pt idx="4769">
                  <c:v>4.0383262059962313</c:v>
                </c:pt>
                <c:pt idx="4770">
                  <c:v>5.0837051383424718</c:v>
                </c:pt>
                <c:pt idx="4771">
                  <c:v>5.0504669423152366</c:v>
                </c:pt>
                <c:pt idx="4772">
                  <c:v>6.0203919433822568</c:v>
                </c:pt>
                <c:pt idx="4773">
                  <c:v>4.8696205840388744</c:v>
                </c:pt>
                <c:pt idx="4774">
                  <c:v>5.0992339149013963</c:v>
                </c:pt>
                <c:pt idx="4775">
                  <c:v>4.9934673103307698</c:v>
                </c:pt>
                <c:pt idx="4776">
                  <c:v>6.1584809304570447</c:v>
                </c:pt>
                <c:pt idx="4777">
                  <c:v>4.0894269516043371</c:v>
                </c:pt>
                <c:pt idx="4778">
                  <c:v>5.7542040723655017</c:v>
                </c:pt>
                <c:pt idx="4779">
                  <c:v>5.0635067294713476</c:v>
                </c:pt>
                <c:pt idx="4780">
                  <c:v>6.1019530721723942</c:v>
                </c:pt>
                <c:pt idx="4781">
                  <c:v>5.0747307473693652</c:v>
                </c:pt>
                <c:pt idx="4782">
                  <c:v>6.1325091321199245</c:v>
                </c:pt>
                <c:pt idx="4783">
                  <c:v>5.035227318218074</c:v>
                </c:pt>
                <c:pt idx="4784">
                  <c:v>5.0357162727225724</c:v>
                </c:pt>
                <c:pt idx="4785">
                  <c:v>5.926202696498617</c:v>
                </c:pt>
                <c:pt idx="4786">
                  <c:v>5.0888707649002889</c:v>
                </c:pt>
                <c:pt idx="4787">
                  <c:v>6.1236918325638259</c:v>
                </c:pt>
                <c:pt idx="4788">
                  <c:v>4.9585743626078012</c:v>
                </c:pt>
                <c:pt idx="4789">
                  <c:v>5.8291905169799154</c:v>
                </c:pt>
                <c:pt idx="4790">
                  <c:v>5.0253042219640411</c:v>
                </c:pt>
                <c:pt idx="4791">
                  <c:v>5.9918087903918824</c:v>
                </c:pt>
                <c:pt idx="4792">
                  <c:v>6.1004807913363912</c:v>
                </c:pt>
                <c:pt idx="4793">
                  <c:v>4.8820337496144397</c:v>
                </c:pt>
                <c:pt idx="4794">
                  <c:v>5.0004818939615987</c:v>
                </c:pt>
                <c:pt idx="4795">
                  <c:v>6.0279798075412323</c:v>
                </c:pt>
                <c:pt idx="4796">
                  <c:v>4.1109272980030758</c:v>
                </c:pt>
                <c:pt idx="4797">
                  <c:v>5.1376517558276262</c:v>
                </c:pt>
                <c:pt idx="4798">
                  <c:v>4.9656861325245503</c:v>
                </c:pt>
                <c:pt idx="4799">
                  <c:v>6.0912765934629176</c:v>
                </c:pt>
                <c:pt idx="4800">
                  <c:v>5.1642615972629144</c:v>
                </c:pt>
                <c:pt idx="4801">
                  <c:v>5.010605236929436</c:v>
                </c:pt>
                <c:pt idx="4802">
                  <c:v>6.8849882585484439</c:v>
                </c:pt>
                <c:pt idx="4803">
                  <c:v>5.0683277954346613</c:v>
                </c:pt>
                <c:pt idx="4804">
                  <c:v>7.0807544300094687</c:v>
                </c:pt>
                <c:pt idx="4805">
                  <c:v>4.9473988727117941</c:v>
                </c:pt>
                <c:pt idx="4806">
                  <c:v>5.8126281835279121</c:v>
                </c:pt>
                <c:pt idx="4807">
                  <c:v>6.0593120034743482</c:v>
                </c:pt>
                <c:pt idx="4808">
                  <c:v>6.0922978649314823</c:v>
                </c:pt>
                <c:pt idx="4809">
                  <c:v>5.9932182020721418</c:v>
                </c:pt>
                <c:pt idx="4810">
                  <c:v>5.8961017114685932</c:v>
                </c:pt>
                <c:pt idx="4811">
                  <c:v>6.0036234149991907</c:v>
                </c:pt>
                <c:pt idx="4812">
                  <c:v>4.8918649980115623</c:v>
                </c:pt>
                <c:pt idx="4813">
                  <c:v>6.1050978726517178</c:v>
                </c:pt>
                <c:pt idx="4814">
                  <c:v>5.8632239855899755</c:v>
                </c:pt>
                <c:pt idx="4815">
                  <c:v>5.9033319678345801</c:v>
                </c:pt>
                <c:pt idx="4816">
                  <c:v>5.9601331027517102</c:v>
                </c:pt>
                <c:pt idx="4817">
                  <c:v>4.9117036655531594</c:v>
                </c:pt>
                <c:pt idx="4818">
                  <c:v>4.9690165154601837</c:v>
                </c:pt>
                <c:pt idx="4819">
                  <c:v>5.0769355722684493</c:v>
                </c:pt>
                <c:pt idx="4820">
                  <c:v>7.0485868540482262</c:v>
                </c:pt>
                <c:pt idx="4821">
                  <c:v>7.0012667835904123</c:v>
                </c:pt>
                <c:pt idx="4822">
                  <c:v>5.1107516391469821</c:v>
                </c:pt>
                <c:pt idx="4823">
                  <c:v>5.04740438577414</c:v>
                </c:pt>
                <c:pt idx="4824">
                  <c:v>5.9310505286108244</c:v>
                </c:pt>
                <c:pt idx="4825">
                  <c:v>4.8688383240798636</c:v>
                </c:pt>
                <c:pt idx="4826">
                  <c:v>5.0054591697999644</c:v>
                </c:pt>
                <c:pt idx="4827">
                  <c:v>6.28325372009588</c:v>
                </c:pt>
                <c:pt idx="4828">
                  <c:v>6.0168807864841733</c:v>
                </c:pt>
                <c:pt idx="4829">
                  <c:v>4.9150170005060989</c:v>
                </c:pt>
                <c:pt idx="4830">
                  <c:v>6.0513444254888089</c:v>
                </c:pt>
                <c:pt idx="4831">
                  <c:v>4.9108347975771114</c:v>
                </c:pt>
                <c:pt idx="4832">
                  <c:v>5.9023781379923292</c:v>
                </c:pt>
                <c:pt idx="4833">
                  <c:v>5.0682401169138283</c:v>
                </c:pt>
                <c:pt idx="4834">
                  <c:v>5.9431380264515896</c:v>
                </c:pt>
                <c:pt idx="4835">
                  <c:v>5.9541327708482887</c:v>
                </c:pt>
                <c:pt idx="4836">
                  <c:v>4.0403295810831494</c:v>
                </c:pt>
                <c:pt idx="4837">
                  <c:v>5.0940779609305471</c:v>
                </c:pt>
                <c:pt idx="4838">
                  <c:v>4.9810082621649689</c:v>
                </c:pt>
                <c:pt idx="4839">
                  <c:v>4.9403917588098594</c:v>
                </c:pt>
                <c:pt idx="4840">
                  <c:v>5.9254167714328823</c:v>
                </c:pt>
                <c:pt idx="4841">
                  <c:v>5.0221656742596705</c:v>
                </c:pt>
                <c:pt idx="4842">
                  <c:v>5.9471181657269643</c:v>
                </c:pt>
                <c:pt idx="4843">
                  <c:v>5.2367064022204994</c:v>
                </c:pt>
                <c:pt idx="4844">
                  <c:v>5.9044433608778757</c:v>
                </c:pt>
                <c:pt idx="4845">
                  <c:v>5.0080030047203987</c:v>
                </c:pt>
                <c:pt idx="4846">
                  <c:v>7.0050933976671201</c:v>
                </c:pt>
                <c:pt idx="4847">
                  <c:v>3.8090424766872872</c:v>
                </c:pt>
                <c:pt idx="4848">
                  <c:v>3.8925906431000445</c:v>
                </c:pt>
                <c:pt idx="4849">
                  <c:v>3.9132672098840127</c:v>
                </c:pt>
                <c:pt idx="4850">
                  <c:v>3.9600078963142744</c:v>
                </c:pt>
                <c:pt idx="4851">
                  <c:v>3.9395082333853799</c:v>
                </c:pt>
                <c:pt idx="4852">
                  <c:v>4.1855695969566034</c:v>
                </c:pt>
                <c:pt idx="4853">
                  <c:v>4.0238897920135184</c:v>
                </c:pt>
                <c:pt idx="4854">
                  <c:v>4.1544836135091243</c:v>
                </c:pt>
                <c:pt idx="4855">
                  <c:v>4.0947245036027704</c:v>
                </c:pt>
                <c:pt idx="4856">
                  <c:v>3.8550364527655527</c:v>
                </c:pt>
                <c:pt idx="4857">
                  <c:v>5.8396633617012217</c:v>
                </c:pt>
                <c:pt idx="4858">
                  <c:v>4.9327396343613303</c:v>
                </c:pt>
                <c:pt idx="4859">
                  <c:v>5.008399117092484</c:v>
                </c:pt>
                <c:pt idx="4860">
                  <c:v>4.9081039637646811</c:v>
                </c:pt>
                <c:pt idx="4861">
                  <c:v>4.8234567092316736</c:v>
                </c:pt>
                <c:pt idx="4862">
                  <c:v>5.8497366048149955</c:v>
                </c:pt>
                <c:pt idx="4863">
                  <c:v>6.001339654508044</c:v>
                </c:pt>
                <c:pt idx="4864">
                  <c:v>5.0370171831695485</c:v>
                </c:pt>
                <c:pt idx="4865">
                  <c:v>4.9002890040985765</c:v>
                </c:pt>
                <c:pt idx="4866">
                  <c:v>4.9105248389943981</c:v>
                </c:pt>
                <c:pt idx="4867">
                  <c:v>5.8857774089816584</c:v>
                </c:pt>
                <c:pt idx="4868">
                  <c:v>7.0460948818630555</c:v>
                </c:pt>
                <c:pt idx="4869">
                  <c:v>4.9098175988800072</c:v>
                </c:pt>
                <c:pt idx="4870">
                  <c:v>4.9491891116039817</c:v>
                </c:pt>
                <c:pt idx="4871">
                  <c:v>5.99276709975803</c:v>
                </c:pt>
                <c:pt idx="4872">
                  <c:v>5.9384142823992025</c:v>
                </c:pt>
                <c:pt idx="4873">
                  <c:v>5.8542995259491697</c:v>
                </c:pt>
                <c:pt idx="4874">
                  <c:v>4.9104007136908274</c:v>
                </c:pt>
                <c:pt idx="4875">
                  <c:v>5.06725413078461</c:v>
                </c:pt>
                <c:pt idx="4876">
                  <c:v>6.1615771142154117</c:v>
                </c:pt>
                <c:pt idx="4877">
                  <c:v>4.9581963758894876</c:v>
                </c:pt>
                <c:pt idx="4878">
                  <c:v>4.8051001117007077</c:v>
                </c:pt>
                <c:pt idx="4879">
                  <c:v>4.6814781603275675</c:v>
                </c:pt>
                <c:pt idx="4880">
                  <c:v>3.9400223252959083</c:v>
                </c:pt>
                <c:pt idx="4881">
                  <c:v>6.0112289369128522</c:v>
                </c:pt>
                <c:pt idx="4882">
                  <c:v>4.9418282779829061</c:v>
                </c:pt>
                <c:pt idx="4883">
                  <c:v>5.924999531479556</c:v>
                </c:pt>
                <c:pt idx="4884">
                  <c:v>4.9562258806367465</c:v>
                </c:pt>
                <c:pt idx="4885">
                  <c:v>4.9297455245148534</c:v>
                </c:pt>
                <c:pt idx="4886">
                  <c:v>4.981233315175138</c:v>
                </c:pt>
                <c:pt idx="4887">
                  <c:v>3.9940940159272791</c:v>
                </c:pt>
                <c:pt idx="4888">
                  <c:v>5.8854029799368046</c:v>
                </c:pt>
                <c:pt idx="4889">
                  <c:v>6.0257172076340151</c:v>
                </c:pt>
                <c:pt idx="4890">
                  <c:v>4.8575668806564662</c:v>
                </c:pt>
                <c:pt idx="4891">
                  <c:v>4.9323326226265118</c:v>
                </c:pt>
                <c:pt idx="4892">
                  <c:v>4.9986312443085268</c:v>
                </c:pt>
                <c:pt idx="4893">
                  <c:v>5.2053249422406473</c:v>
                </c:pt>
                <c:pt idx="4894">
                  <c:v>5.9029036172151956</c:v>
                </c:pt>
                <c:pt idx="4895">
                  <c:v>4.8566413436828437</c:v>
                </c:pt>
                <c:pt idx="4896">
                  <c:v>5.098620213188287</c:v>
                </c:pt>
                <c:pt idx="4897">
                  <c:v>5.0206033545961581</c:v>
                </c:pt>
                <c:pt idx="4898">
                  <c:v>5.1117301155809809</c:v>
                </c:pt>
                <c:pt idx="4899">
                  <c:v>4.8761867520321962</c:v>
                </c:pt>
                <c:pt idx="4900">
                  <c:v>4.8940190605800371</c:v>
                </c:pt>
                <c:pt idx="4901">
                  <c:v>4.9517803624183268</c:v>
                </c:pt>
                <c:pt idx="4902">
                  <c:v>4.9971737917251691</c:v>
                </c:pt>
                <c:pt idx="4903">
                  <c:v>5.775671886986018</c:v>
                </c:pt>
                <c:pt idx="4904">
                  <c:v>5.0274182625618362</c:v>
                </c:pt>
                <c:pt idx="4905">
                  <c:v>5.2409062729559199</c:v>
                </c:pt>
                <c:pt idx="4906">
                  <c:v>7.1203772052773342</c:v>
                </c:pt>
                <c:pt idx="4907">
                  <c:v>7.1618207681544508</c:v>
                </c:pt>
                <c:pt idx="4908">
                  <c:v>5.0890874236356272</c:v>
                </c:pt>
                <c:pt idx="4909">
                  <c:v>5.1359917239546524</c:v>
                </c:pt>
                <c:pt idx="4910">
                  <c:v>6.8776437409297735</c:v>
                </c:pt>
                <c:pt idx="4911">
                  <c:v>5.0026620012758727</c:v>
                </c:pt>
                <c:pt idx="4912">
                  <c:v>6.8501098035981594</c:v>
                </c:pt>
                <c:pt idx="4913">
                  <c:v>6.9825881821777473</c:v>
                </c:pt>
                <c:pt idx="4914">
                  <c:v>4.9961147468467537</c:v>
                </c:pt>
                <c:pt idx="4915">
                  <c:v>5.1360971367484574</c:v>
                </c:pt>
                <c:pt idx="4916">
                  <c:v>7.0021881082186015</c:v>
                </c:pt>
                <c:pt idx="4917">
                  <c:v>7.1239904485459675</c:v>
                </c:pt>
                <c:pt idx="4918">
                  <c:v>5.1867291500258679</c:v>
                </c:pt>
                <c:pt idx="4919">
                  <c:v>7.0846459922260054</c:v>
                </c:pt>
                <c:pt idx="4920">
                  <c:v>6.9733899891254154</c:v>
                </c:pt>
                <c:pt idx="4921">
                  <c:v>7.1069277447918626</c:v>
                </c:pt>
                <c:pt idx="4922">
                  <c:v>4.9544045749616616</c:v>
                </c:pt>
                <c:pt idx="4923">
                  <c:v>6.9746170066564863</c:v>
                </c:pt>
                <c:pt idx="4924">
                  <c:v>4.8744403001346903</c:v>
                </c:pt>
                <c:pt idx="4925">
                  <c:v>7.1923735127019714</c:v>
                </c:pt>
                <c:pt idx="4926">
                  <c:v>4.9132486306401804</c:v>
                </c:pt>
                <c:pt idx="4927">
                  <c:v>5.0129196248476644</c:v>
                </c:pt>
                <c:pt idx="4928">
                  <c:v>5.0578194985364373</c:v>
                </c:pt>
                <c:pt idx="4929">
                  <c:v>7.0167338201798861</c:v>
                </c:pt>
                <c:pt idx="4930">
                  <c:v>6.1051710799684571</c:v>
                </c:pt>
                <c:pt idx="4931">
                  <c:v>5.0726431475399014</c:v>
                </c:pt>
                <c:pt idx="4932">
                  <c:v>6.1070785054559344</c:v>
                </c:pt>
                <c:pt idx="4933">
                  <c:v>6.1342247574966304</c:v>
                </c:pt>
                <c:pt idx="4934">
                  <c:v>6.0304875600014904</c:v>
                </c:pt>
                <c:pt idx="4935">
                  <c:v>5.9714237269532022</c:v>
                </c:pt>
                <c:pt idx="4936">
                  <c:v>5.9911766111256819</c:v>
                </c:pt>
                <c:pt idx="4937">
                  <c:v>6.068484098436806</c:v>
                </c:pt>
                <c:pt idx="4938">
                  <c:v>6.0440052511656139</c:v>
                </c:pt>
                <c:pt idx="4939">
                  <c:v>6.2484127562169967</c:v>
                </c:pt>
                <c:pt idx="4940">
                  <c:v>2.9956115445707994</c:v>
                </c:pt>
                <c:pt idx="4941">
                  <c:v>5.0490530030599023</c:v>
                </c:pt>
                <c:pt idx="4942">
                  <c:v>5.9214368591059605</c:v>
                </c:pt>
                <c:pt idx="4943">
                  <c:v>4.9829211504808564</c:v>
                </c:pt>
                <c:pt idx="4944">
                  <c:v>4.9733764254809643</c:v>
                </c:pt>
                <c:pt idx="4945">
                  <c:v>4.897401769793178</c:v>
                </c:pt>
                <c:pt idx="4946">
                  <c:v>6.0109331246191937</c:v>
                </c:pt>
                <c:pt idx="4947">
                  <c:v>4.9374987409347053</c:v>
                </c:pt>
                <c:pt idx="4948">
                  <c:v>4.8897929063285526</c:v>
                </c:pt>
                <c:pt idx="4949">
                  <c:v>5.9200144867667825</c:v>
                </c:pt>
                <c:pt idx="4950">
                  <c:v>4.9709230853889483</c:v>
                </c:pt>
                <c:pt idx="4951">
                  <c:v>6.0395322145610564</c:v>
                </c:pt>
                <c:pt idx="4952">
                  <c:v>5.947014749341915</c:v>
                </c:pt>
                <c:pt idx="4953">
                  <c:v>6.2108330150961528</c:v>
                </c:pt>
                <c:pt idx="4954">
                  <c:v>3.9363179513313145</c:v>
                </c:pt>
                <c:pt idx="4955">
                  <c:v>6.1521669055326944</c:v>
                </c:pt>
                <c:pt idx="4956">
                  <c:v>4.0556803931193848</c:v>
                </c:pt>
                <c:pt idx="4957">
                  <c:v>6.0331573368889009</c:v>
                </c:pt>
                <c:pt idx="4958">
                  <c:v>6.1096134591035147</c:v>
                </c:pt>
                <c:pt idx="4959">
                  <c:v>6.0520049687075375</c:v>
                </c:pt>
                <c:pt idx="4960">
                  <c:v>5.0602625019116303</c:v>
                </c:pt>
                <c:pt idx="4961">
                  <c:v>5.0449449309169978</c:v>
                </c:pt>
                <c:pt idx="4962">
                  <c:v>6.0783886969793626</c:v>
                </c:pt>
                <c:pt idx="4963">
                  <c:v>5.9480200200516222</c:v>
                </c:pt>
                <c:pt idx="4964">
                  <c:v>5.104176145375356</c:v>
                </c:pt>
                <c:pt idx="4965">
                  <c:v>4.9687570607046334</c:v>
                </c:pt>
                <c:pt idx="4966">
                  <c:v>5.1078203707442249</c:v>
                </c:pt>
                <c:pt idx="4967">
                  <c:v>6.1332995631905005</c:v>
                </c:pt>
                <c:pt idx="4968">
                  <c:v>5.0147712039340924</c:v>
                </c:pt>
                <c:pt idx="4969">
                  <c:v>7.1084734979424882</c:v>
                </c:pt>
                <c:pt idx="4970">
                  <c:v>5.9298224194350402</c:v>
                </c:pt>
                <c:pt idx="4971">
                  <c:v>6.04119553849746</c:v>
                </c:pt>
                <c:pt idx="4972">
                  <c:v>6.2047947795964413</c:v>
                </c:pt>
                <c:pt idx="4973">
                  <c:v>6.0668458325827146</c:v>
                </c:pt>
                <c:pt idx="4974">
                  <c:v>5.0480089822551957</c:v>
                </c:pt>
                <c:pt idx="4975">
                  <c:v>5.0069799528089742</c:v>
                </c:pt>
                <c:pt idx="4976">
                  <c:v>5.9178193222249105</c:v>
                </c:pt>
                <c:pt idx="4977">
                  <c:v>6.0687380368629302</c:v>
                </c:pt>
                <c:pt idx="4978">
                  <c:v>5.0196346800800331</c:v>
                </c:pt>
                <c:pt idx="4979">
                  <c:v>5.949392015025972</c:v>
                </c:pt>
                <c:pt idx="4980">
                  <c:v>6.0742287024083543</c:v>
                </c:pt>
                <c:pt idx="4981">
                  <c:v>6.0198111933180751</c:v>
                </c:pt>
                <c:pt idx="4982">
                  <c:v>4.9385315337034283</c:v>
                </c:pt>
                <c:pt idx="4983">
                  <c:v>6.0012190571661943</c:v>
                </c:pt>
                <c:pt idx="4984">
                  <c:v>5.0660141249195405</c:v>
                </c:pt>
                <c:pt idx="4985">
                  <c:v>6.0466642786930045</c:v>
                </c:pt>
                <c:pt idx="4986">
                  <c:v>5.8081879601445081</c:v>
                </c:pt>
                <c:pt idx="4987">
                  <c:v>5.7938534454397947</c:v>
                </c:pt>
                <c:pt idx="4988">
                  <c:v>6.1028960911498595</c:v>
                </c:pt>
                <c:pt idx="4989">
                  <c:v>5.993373595116636</c:v>
                </c:pt>
                <c:pt idx="4990">
                  <c:v>5.0818514243959072</c:v>
                </c:pt>
                <c:pt idx="4991">
                  <c:v>4.9407883843325529</c:v>
                </c:pt>
                <c:pt idx="4992">
                  <c:v>5.0404661019290504</c:v>
                </c:pt>
                <c:pt idx="4993">
                  <c:v>5.1084198280314439</c:v>
                </c:pt>
                <c:pt idx="4994">
                  <c:v>7.089676982685571</c:v>
                </c:pt>
                <c:pt idx="4995">
                  <c:v>6.1157804501538422</c:v>
                </c:pt>
                <c:pt idx="4996">
                  <c:v>4.9729840491265342</c:v>
                </c:pt>
                <c:pt idx="4997">
                  <c:v>5.134856975456116</c:v>
                </c:pt>
                <c:pt idx="4998">
                  <c:v>6.0119280802206045</c:v>
                </c:pt>
                <c:pt idx="4999">
                  <c:v>5.9910910414379366</c:v>
                </c:pt>
                <c:pt idx="5000">
                  <c:v>4.9545596400861305</c:v>
                </c:pt>
                <c:pt idx="5001">
                  <c:v>5.8651430845996551</c:v>
                </c:pt>
                <c:pt idx="5002">
                  <c:v>5.011249876337768</c:v>
                </c:pt>
                <c:pt idx="5003">
                  <c:v>6.0293446243366597</c:v>
                </c:pt>
                <c:pt idx="5004">
                  <c:v>5.9457184313325433</c:v>
                </c:pt>
                <c:pt idx="5005">
                  <c:v>5.0539993686834679</c:v>
                </c:pt>
                <c:pt idx="5006">
                  <c:v>4.9148020141253923</c:v>
                </c:pt>
                <c:pt idx="5007">
                  <c:v>6.9609395163065866</c:v>
                </c:pt>
                <c:pt idx="5008">
                  <c:v>6.0683318365021313</c:v>
                </c:pt>
                <c:pt idx="5009">
                  <c:v>5.0328386876135385</c:v>
                </c:pt>
                <c:pt idx="5010">
                  <c:v>6.0406635022997515</c:v>
                </c:pt>
                <c:pt idx="5011">
                  <c:v>6.0686979083783612</c:v>
                </c:pt>
                <c:pt idx="5012">
                  <c:v>6.0978993511118276</c:v>
                </c:pt>
                <c:pt idx="5013">
                  <c:v>3.8581762440208278</c:v>
                </c:pt>
                <c:pt idx="5014">
                  <c:v>5.9120115930726493</c:v>
                </c:pt>
                <c:pt idx="5015">
                  <c:v>5.9308429031283074</c:v>
                </c:pt>
                <c:pt idx="5016">
                  <c:v>5.0792510042345649</c:v>
                </c:pt>
                <c:pt idx="5017">
                  <c:v>6.0269228920082432</c:v>
                </c:pt>
                <c:pt idx="5018">
                  <c:v>5.0303823191177708</c:v>
                </c:pt>
                <c:pt idx="5019">
                  <c:v>4.9524370794350334</c:v>
                </c:pt>
                <c:pt idx="5020">
                  <c:v>6.071143199162246</c:v>
                </c:pt>
                <c:pt idx="5021">
                  <c:v>5.0468022959247358</c:v>
                </c:pt>
                <c:pt idx="5022">
                  <c:v>6.1811779681666223</c:v>
                </c:pt>
                <c:pt idx="5023">
                  <c:v>5.8653496159212102</c:v>
                </c:pt>
                <c:pt idx="5024">
                  <c:v>6.1298602470861905</c:v>
                </c:pt>
                <c:pt idx="5025">
                  <c:v>5.9850013650620912</c:v>
                </c:pt>
                <c:pt idx="5026">
                  <c:v>4.8465764400374791</c:v>
                </c:pt>
                <c:pt idx="5027">
                  <c:v>5.9946633144354973</c:v>
                </c:pt>
                <c:pt idx="5028">
                  <c:v>6.0960435182371846</c:v>
                </c:pt>
                <c:pt idx="5029">
                  <c:v>5.9648964344176099</c:v>
                </c:pt>
                <c:pt idx="5030">
                  <c:v>6.1116378857966982</c:v>
                </c:pt>
                <c:pt idx="5031">
                  <c:v>5.7070466395653714</c:v>
                </c:pt>
                <c:pt idx="5032">
                  <c:v>5.0199486436171279</c:v>
                </c:pt>
                <c:pt idx="5033">
                  <c:v>6.0786226353268278</c:v>
                </c:pt>
                <c:pt idx="5034">
                  <c:v>4.009445693148578</c:v>
                </c:pt>
                <c:pt idx="5035">
                  <c:v>5.9587795546441003</c:v>
                </c:pt>
                <c:pt idx="5036">
                  <c:v>5.9926271602356573</c:v>
                </c:pt>
                <c:pt idx="5037">
                  <c:v>6.0055593097644051</c:v>
                </c:pt>
                <c:pt idx="5038">
                  <c:v>6.2457191284954838</c:v>
                </c:pt>
                <c:pt idx="5039">
                  <c:v>5.922775525645136</c:v>
                </c:pt>
                <c:pt idx="5040">
                  <c:v>6.029530543759428</c:v>
                </c:pt>
                <c:pt idx="5041">
                  <c:v>5.0353378471504575</c:v>
                </c:pt>
                <c:pt idx="5042">
                  <c:v>5.9767835657256203</c:v>
                </c:pt>
                <c:pt idx="5043">
                  <c:v>5.9687695921866153</c:v>
                </c:pt>
                <c:pt idx="5044">
                  <c:v>5.9586945790745149</c:v>
                </c:pt>
                <c:pt idx="5045">
                  <c:v>5.0254555914876082</c:v>
                </c:pt>
                <c:pt idx="5046">
                  <c:v>5.7995000735265085</c:v>
                </c:pt>
                <c:pt idx="5047">
                  <c:v>5.9671937138107385</c:v>
                </c:pt>
                <c:pt idx="5048">
                  <c:v>5.9448547825255025</c:v>
                </c:pt>
                <c:pt idx="5049">
                  <c:v>4.9743068558988623</c:v>
                </c:pt>
                <c:pt idx="5050">
                  <c:v>6.066651614989345</c:v>
                </c:pt>
                <c:pt idx="5051">
                  <c:v>6.2610251606965415</c:v>
                </c:pt>
                <c:pt idx="5052">
                  <c:v>5.9403433391045457</c:v>
                </c:pt>
                <c:pt idx="5053">
                  <c:v>5.9155208078203811</c:v>
                </c:pt>
                <c:pt idx="5054">
                  <c:v>5.0462245729909201</c:v>
                </c:pt>
                <c:pt idx="5055">
                  <c:v>6.0123482450790959</c:v>
                </c:pt>
                <c:pt idx="5056">
                  <c:v>6.1946960969361182</c:v>
                </c:pt>
                <c:pt idx="5057">
                  <c:v>5.9730915289890234</c:v>
                </c:pt>
                <c:pt idx="5058">
                  <c:v>5.1150625101268945</c:v>
                </c:pt>
                <c:pt idx="5059">
                  <c:v>7.1754260668771961</c:v>
                </c:pt>
                <c:pt idx="5060">
                  <c:v>6.1068579299054218</c:v>
                </c:pt>
                <c:pt idx="5061">
                  <c:v>6.0216116697679158</c:v>
                </c:pt>
                <c:pt idx="5062">
                  <c:v>4.9005411630220541</c:v>
                </c:pt>
                <c:pt idx="5063">
                  <c:v>6.0334805543666032</c:v>
                </c:pt>
                <c:pt idx="5064">
                  <c:v>5.0938395637805867</c:v>
                </c:pt>
                <c:pt idx="5065">
                  <c:v>6.1112638698907045</c:v>
                </c:pt>
                <c:pt idx="5066">
                  <c:v>4.9996037305463528</c:v>
                </c:pt>
                <c:pt idx="5067">
                  <c:v>6.0088612974706264</c:v>
                </c:pt>
                <c:pt idx="5068">
                  <c:v>4.9947612645633352</c:v>
                </c:pt>
                <c:pt idx="5069">
                  <c:v>5.0334258579452653</c:v>
                </c:pt>
                <c:pt idx="5070">
                  <c:v>5.0317866196551462</c:v>
                </c:pt>
                <c:pt idx="5071">
                  <c:v>6.0341280056389053</c:v>
                </c:pt>
                <c:pt idx="5072">
                  <c:v>5.782085709291902</c:v>
                </c:pt>
                <c:pt idx="5073">
                  <c:v>6.0380662051118517</c:v>
                </c:pt>
                <c:pt idx="5074">
                  <c:v>5.9017333770187363</c:v>
                </c:pt>
                <c:pt idx="5075">
                  <c:v>4.7898342506174068</c:v>
                </c:pt>
                <c:pt idx="5076">
                  <c:v>4.9269076348188428</c:v>
                </c:pt>
                <c:pt idx="5077">
                  <c:v>6.9914972096573651</c:v>
                </c:pt>
                <c:pt idx="5078">
                  <c:v>5.0703580237584243</c:v>
                </c:pt>
                <c:pt idx="5079">
                  <c:v>5.1292516040849723</c:v>
                </c:pt>
                <c:pt idx="5080">
                  <c:v>4.8931463077257726</c:v>
                </c:pt>
                <c:pt idx="5081">
                  <c:v>5.0818820922180343</c:v>
                </c:pt>
                <c:pt idx="5082">
                  <c:v>6.1042319836226859</c:v>
                </c:pt>
                <c:pt idx="5083">
                  <c:v>6.0199152458218368</c:v>
                </c:pt>
                <c:pt idx="5084">
                  <c:v>4.826656477689192</c:v>
                </c:pt>
                <c:pt idx="5085">
                  <c:v>6.066430630762575</c:v>
                </c:pt>
                <c:pt idx="5086">
                  <c:v>5.0549607683646585</c:v>
                </c:pt>
                <c:pt idx="5087">
                  <c:v>4.9733892749220061</c:v>
                </c:pt>
                <c:pt idx="5088">
                  <c:v>6.1117537063086322</c:v>
                </c:pt>
                <c:pt idx="5089">
                  <c:v>4.9472201249815333</c:v>
                </c:pt>
                <c:pt idx="5090">
                  <c:v>5.0460753986650797</c:v>
                </c:pt>
                <c:pt idx="5091">
                  <c:v>5.0239507649505892</c:v>
                </c:pt>
                <c:pt idx="5092">
                  <c:v>6.0274999741101247</c:v>
                </c:pt>
                <c:pt idx="5093">
                  <c:v>6.1300299513877334</c:v>
                </c:pt>
                <c:pt idx="5094">
                  <c:v>5.0412891553466554</c:v>
                </c:pt>
                <c:pt idx="5095">
                  <c:v>6.0170324833944857</c:v>
                </c:pt>
                <c:pt idx="5096">
                  <c:v>5.9939003122523369</c:v>
                </c:pt>
                <c:pt idx="5097">
                  <c:v>7.0038650806501082</c:v>
                </c:pt>
                <c:pt idx="5098">
                  <c:v>5.8632789037366502</c:v>
                </c:pt>
                <c:pt idx="5099">
                  <c:v>5.9917140309642267</c:v>
                </c:pt>
                <c:pt idx="5100">
                  <c:v>5.0473478290165072</c:v>
                </c:pt>
                <c:pt idx="5101">
                  <c:v>6.0162140464903375</c:v>
                </c:pt>
                <c:pt idx="5102">
                  <c:v>6.0933354576975551</c:v>
                </c:pt>
                <c:pt idx="5103">
                  <c:v>4.9466471957646236</c:v>
                </c:pt>
                <c:pt idx="5104">
                  <c:v>6.0465112260220586</c:v>
                </c:pt>
                <c:pt idx="5105">
                  <c:v>5.9079277538397061</c:v>
                </c:pt>
                <c:pt idx="5106">
                  <c:v>3.9538270615622149</c:v>
                </c:pt>
                <c:pt idx="5107">
                  <c:v>5.9896402068368753</c:v>
                </c:pt>
                <c:pt idx="5108">
                  <c:v>5.9387109424058302</c:v>
                </c:pt>
                <c:pt idx="5109">
                  <c:v>5.85248117319082</c:v>
                </c:pt>
                <c:pt idx="5110">
                  <c:v>6.1527771022023749</c:v>
                </c:pt>
                <c:pt idx="5111">
                  <c:v>4.8801254268958401</c:v>
                </c:pt>
                <c:pt idx="5112">
                  <c:v>5.0200356159610529</c:v>
                </c:pt>
                <c:pt idx="5113">
                  <c:v>5.0581672189762816</c:v>
                </c:pt>
                <c:pt idx="5114">
                  <c:v>4.8687698729552613</c:v>
                </c:pt>
                <c:pt idx="5115">
                  <c:v>5.999787971862216</c:v>
                </c:pt>
                <c:pt idx="5116">
                  <c:v>5.9160466342968299</c:v>
                </c:pt>
                <c:pt idx="5117">
                  <c:v>4.7989531038114208</c:v>
                </c:pt>
                <c:pt idx="5118">
                  <c:v>6.0926435833180976</c:v>
                </c:pt>
                <c:pt idx="5119">
                  <c:v>4.9012023563519449</c:v>
                </c:pt>
                <c:pt idx="5120">
                  <c:v>5.8204219973444404</c:v>
                </c:pt>
                <c:pt idx="5121">
                  <c:v>4.9347872419895626</c:v>
                </c:pt>
                <c:pt idx="5122">
                  <c:v>4.8896076492874823</c:v>
                </c:pt>
                <c:pt idx="5123">
                  <c:v>6.006675992768332</c:v>
                </c:pt>
                <c:pt idx="5124">
                  <c:v>4.9369853246413911</c:v>
                </c:pt>
                <c:pt idx="5125">
                  <c:v>6.1718535451091876</c:v>
                </c:pt>
                <c:pt idx="5126">
                  <c:v>6.0757232062572664</c:v>
                </c:pt>
                <c:pt idx="5127">
                  <c:v>4.9228744779434495</c:v>
                </c:pt>
                <c:pt idx="5128">
                  <c:v>6.0277164892246935</c:v>
                </c:pt>
                <c:pt idx="5129">
                  <c:v>5.664308165974016</c:v>
                </c:pt>
                <c:pt idx="5130">
                  <c:v>5.9989362063205451</c:v>
                </c:pt>
                <c:pt idx="5131">
                  <c:v>5.8866111097588014</c:v>
                </c:pt>
                <c:pt idx="5132">
                  <c:v>5.9239664206985587</c:v>
                </c:pt>
                <c:pt idx="5133">
                  <c:v>5.9857735410680064</c:v>
                </c:pt>
                <c:pt idx="5134">
                  <c:v>6.0766917644952576</c:v>
                </c:pt>
                <c:pt idx="5135">
                  <c:v>6.8779320562401089</c:v>
                </c:pt>
                <c:pt idx="5136">
                  <c:v>6.0176334056244478</c:v>
                </c:pt>
                <c:pt idx="5137">
                  <c:v>4.9496323403470051</c:v>
                </c:pt>
                <c:pt idx="5138">
                  <c:v>5.9917926065346885</c:v>
                </c:pt>
                <c:pt idx="5139">
                  <c:v>5.9808122991383845</c:v>
                </c:pt>
                <c:pt idx="5140">
                  <c:v>6.0618480531901477</c:v>
                </c:pt>
                <c:pt idx="5141">
                  <c:v>6.239614251351731</c:v>
                </c:pt>
                <c:pt idx="5142">
                  <c:v>6.0134738867071631</c:v>
                </c:pt>
                <c:pt idx="5143">
                  <c:v>5.9903057897638288</c:v>
                </c:pt>
                <c:pt idx="5144">
                  <c:v>4.8571185814301909</c:v>
                </c:pt>
                <c:pt idx="5145">
                  <c:v>5.0602466201798659</c:v>
                </c:pt>
                <c:pt idx="5146">
                  <c:v>4.9291872161706554</c:v>
                </c:pt>
                <c:pt idx="5147">
                  <c:v>5.8902391176643283</c:v>
                </c:pt>
                <c:pt idx="5148">
                  <c:v>6.0848336253282636</c:v>
                </c:pt>
                <c:pt idx="5149">
                  <c:v>5.8999962530216656</c:v>
                </c:pt>
                <c:pt idx="5150">
                  <c:v>5.1230218998664547</c:v>
                </c:pt>
                <c:pt idx="5151">
                  <c:v>4.8956096339504844</c:v>
                </c:pt>
                <c:pt idx="5152">
                  <c:v>4.8672026121898524</c:v>
                </c:pt>
                <c:pt idx="5153">
                  <c:v>4.9132623765095742</c:v>
                </c:pt>
                <c:pt idx="5154">
                  <c:v>4.9584299658109225</c:v>
                </c:pt>
                <c:pt idx="5155">
                  <c:v>7.130795089282028</c:v>
                </c:pt>
                <c:pt idx="5156">
                  <c:v>5.8641807635881777</c:v>
                </c:pt>
                <c:pt idx="5157">
                  <c:v>7.1996113907797126</c:v>
                </c:pt>
                <c:pt idx="5158">
                  <c:v>6.0675442958716488</c:v>
                </c:pt>
                <c:pt idx="5159">
                  <c:v>4.8687530976572555</c:v>
                </c:pt>
                <c:pt idx="5160">
                  <c:v>5.0139161644279868</c:v>
                </c:pt>
                <c:pt idx="5161">
                  <c:v>7.1740097067463111</c:v>
                </c:pt>
                <c:pt idx="5162">
                  <c:v>5.8964871062099924</c:v>
                </c:pt>
                <c:pt idx="5163">
                  <c:v>5.9635854364075129</c:v>
                </c:pt>
                <c:pt idx="5164">
                  <c:v>5.9704150224467831</c:v>
                </c:pt>
                <c:pt idx="5165">
                  <c:v>5.1275015061909857</c:v>
                </c:pt>
                <c:pt idx="5166">
                  <c:v>5.9200326283155409</c:v>
                </c:pt>
                <c:pt idx="5167">
                  <c:v>5.0904006174463809</c:v>
                </c:pt>
                <c:pt idx="5168">
                  <c:v>5.0792353909760672</c:v>
                </c:pt>
                <c:pt idx="5169">
                  <c:v>5.9052558722250366</c:v>
                </c:pt>
                <c:pt idx="5170">
                  <c:v>6.0136956363715255</c:v>
                </c:pt>
                <c:pt idx="5171">
                  <c:v>6.0158106209435029</c:v>
                </c:pt>
                <c:pt idx="5172">
                  <c:v>4.973098919683677</c:v>
                </c:pt>
                <c:pt idx="5173">
                  <c:v>5.9114213061052707</c:v>
                </c:pt>
                <c:pt idx="5174">
                  <c:v>5.9440970855963284</c:v>
                </c:pt>
                <c:pt idx="5175">
                  <c:v>6.0349728196214389</c:v>
                </c:pt>
                <c:pt idx="5176">
                  <c:v>4.773845939079493</c:v>
                </c:pt>
                <c:pt idx="5177">
                  <c:v>5.0782429069832755</c:v>
                </c:pt>
                <c:pt idx="5178">
                  <c:v>7.1084116294002051</c:v>
                </c:pt>
                <c:pt idx="5179">
                  <c:v>6.0144316333672192</c:v>
                </c:pt>
                <c:pt idx="5180">
                  <c:v>5.880127585446794</c:v>
                </c:pt>
                <c:pt idx="5181">
                  <c:v>5.9766414053443517</c:v>
                </c:pt>
                <c:pt idx="5182">
                  <c:v>5.1481591340517419</c:v>
                </c:pt>
                <c:pt idx="5183">
                  <c:v>6.0348372674140451</c:v>
                </c:pt>
                <c:pt idx="5184">
                  <c:v>5.0587720693623668</c:v>
                </c:pt>
                <c:pt idx="5185">
                  <c:v>7.0463654103104201</c:v>
                </c:pt>
                <c:pt idx="5186">
                  <c:v>4.9335906739981699</c:v>
                </c:pt>
                <c:pt idx="5187">
                  <c:v>5.0937700239776564</c:v>
                </c:pt>
                <c:pt idx="5188">
                  <c:v>6.138180588132867</c:v>
                </c:pt>
                <c:pt idx="5189">
                  <c:v>6.0536367704915399</c:v>
                </c:pt>
                <c:pt idx="5190">
                  <c:v>5.0743062368042242</c:v>
                </c:pt>
                <c:pt idx="5191">
                  <c:v>5.7854911666910951</c:v>
                </c:pt>
                <c:pt idx="5192">
                  <c:v>5.9702884334705448</c:v>
                </c:pt>
                <c:pt idx="5193">
                  <c:v>6.0777189127895808</c:v>
                </c:pt>
                <c:pt idx="5194">
                  <c:v>4.0030294768847279</c:v>
                </c:pt>
                <c:pt idx="5195">
                  <c:v>5.0405785345729672</c:v>
                </c:pt>
                <c:pt idx="5196">
                  <c:v>4.947903662529904</c:v>
                </c:pt>
                <c:pt idx="5197">
                  <c:v>4.9130170070084178</c:v>
                </c:pt>
                <c:pt idx="5198">
                  <c:v>5.8947950314331514</c:v>
                </c:pt>
                <c:pt idx="5199">
                  <c:v>3.9380231014281724</c:v>
                </c:pt>
                <c:pt idx="5200">
                  <c:v>6.0603231202367596</c:v>
                </c:pt>
                <c:pt idx="5201">
                  <c:v>5.9234444459539679</c:v>
                </c:pt>
                <c:pt idx="5202">
                  <c:v>6.2970891259816328</c:v>
                </c:pt>
                <c:pt idx="5203">
                  <c:v>5.9388066202076661</c:v>
                </c:pt>
                <c:pt idx="5204">
                  <c:v>4.9388787106923457</c:v>
                </c:pt>
                <c:pt idx="5205">
                  <c:v>6.9342120765196924</c:v>
                </c:pt>
                <c:pt idx="5206">
                  <c:v>6.8287678241424734</c:v>
                </c:pt>
                <c:pt idx="5207">
                  <c:v>4.8729735209632938</c:v>
                </c:pt>
                <c:pt idx="5208">
                  <c:v>4.9227006546062491</c:v>
                </c:pt>
                <c:pt idx="5209">
                  <c:v>5.8318952028412152</c:v>
                </c:pt>
                <c:pt idx="5210">
                  <c:v>5.1301549607690227</c:v>
                </c:pt>
                <c:pt idx="5211">
                  <c:v>7.0914720928345423</c:v>
                </c:pt>
                <c:pt idx="5212">
                  <c:v>4.8370558974651274</c:v>
                </c:pt>
                <c:pt idx="5213">
                  <c:v>4.7477949236548538</c:v>
                </c:pt>
                <c:pt idx="5214">
                  <c:v>6.0719312492804542</c:v>
                </c:pt>
                <c:pt idx="5215">
                  <c:v>4.9862639172644787</c:v>
                </c:pt>
                <c:pt idx="5216">
                  <c:v>5.1517605266049387</c:v>
                </c:pt>
                <c:pt idx="5217">
                  <c:v>5.0625443591390047</c:v>
                </c:pt>
                <c:pt idx="5218">
                  <c:v>5.8589751611836238</c:v>
                </c:pt>
                <c:pt idx="5219">
                  <c:v>5.075707500149047</c:v>
                </c:pt>
                <c:pt idx="5220">
                  <c:v>5.9857411362610016</c:v>
                </c:pt>
                <c:pt idx="5221">
                  <c:v>5.0371369504301038</c:v>
                </c:pt>
                <c:pt idx="5222">
                  <c:v>6.2700115484357068</c:v>
                </c:pt>
                <c:pt idx="5223">
                  <c:v>5.9751024982147412</c:v>
                </c:pt>
                <c:pt idx="5224">
                  <c:v>5.9177390668868428</c:v>
                </c:pt>
                <c:pt idx="5225">
                  <c:v>4.9365143073001247</c:v>
                </c:pt>
                <c:pt idx="5226">
                  <c:v>3.8892702827380257</c:v>
                </c:pt>
                <c:pt idx="5227">
                  <c:v>5.0379013641784853</c:v>
                </c:pt>
                <c:pt idx="5228">
                  <c:v>4.8491301567015981</c:v>
                </c:pt>
                <c:pt idx="5229">
                  <c:v>7.0181827642634955</c:v>
                </c:pt>
                <c:pt idx="5230">
                  <c:v>5.8419430468054232</c:v>
                </c:pt>
                <c:pt idx="5231">
                  <c:v>6.0113222294631905</c:v>
                </c:pt>
                <c:pt idx="5232">
                  <c:v>5.9316522946597843</c:v>
                </c:pt>
                <c:pt idx="5233">
                  <c:v>4.9371900304106671</c:v>
                </c:pt>
                <c:pt idx="5234">
                  <c:v>4.9517437181291086</c:v>
                </c:pt>
                <c:pt idx="5235">
                  <c:v>6.8165998253512647</c:v>
                </c:pt>
                <c:pt idx="5236">
                  <c:v>5.8764986807469439</c:v>
                </c:pt>
                <c:pt idx="5237">
                  <c:v>5.0955313116468597</c:v>
                </c:pt>
                <c:pt idx="5238">
                  <c:v>4.0325038335422452</c:v>
                </c:pt>
                <c:pt idx="5239">
                  <c:v>5.9741467885034671</c:v>
                </c:pt>
                <c:pt idx="5240">
                  <c:v>4.820336681760188</c:v>
                </c:pt>
                <c:pt idx="5241">
                  <c:v>4.9692670772465446</c:v>
                </c:pt>
                <c:pt idx="5242">
                  <c:v>6.0828842402079477</c:v>
                </c:pt>
                <c:pt idx="5243">
                  <c:v>5.9431129049066476</c:v>
                </c:pt>
                <c:pt idx="5244">
                  <c:v>4.9478682031875083</c:v>
                </c:pt>
                <c:pt idx="5245">
                  <c:v>5.9875843342228601</c:v>
                </c:pt>
                <c:pt idx="5246">
                  <c:v>4.8380043203735852</c:v>
                </c:pt>
                <c:pt idx="5247">
                  <c:v>5.9353962346664524</c:v>
                </c:pt>
                <c:pt idx="5248">
                  <c:v>6.218913777489627</c:v>
                </c:pt>
                <c:pt idx="5249">
                  <c:v>4.9345986883722102</c:v>
                </c:pt>
                <c:pt idx="5250">
                  <c:v>6.1240646135835854</c:v>
                </c:pt>
                <c:pt idx="5251">
                  <c:v>7.042229608891013</c:v>
                </c:pt>
                <c:pt idx="5252">
                  <c:v>7.0008674930015706</c:v>
                </c:pt>
                <c:pt idx="5253">
                  <c:v>5.047447323546618</c:v>
                </c:pt>
                <c:pt idx="5254">
                  <c:v>4.9681001343189282</c:v>
                </c:pt>
                <c:pt idx="5255">
                  <c:v>6.9526674449822172</c:v>
                </c:pt>
                <c:pt idx="5256">
                  <c:v>5.7379902486278</c:v>
                </c:pt>
                <c:pt idx="5257">
                  <c:v>5.9962288801225716</c:v>
                </c:pt>
                <c:pt idx="5258">
                  <c:v>6.0323188386361659</c:v>
                </c:pt>
                <c:pt idx="5259">
                  <c:v>5.9186621059773454</c:v>
                </c:pt>
                <c:pt idx="5260">
                  <c:v>4.9148875595481876</c:v>
                </c:pt>
                <c:pt idx="5261">
                  <c:v>6.0194385254936043</c:v>
                </c:pt>
                <c:pt idx="5262">
                  <c:v>6.0285772762216698</c:v>
                </c:pt>
                <c:pt idx="5263">
                  <c:v>5.9798013096923919</c:v>
                </c:pt>
                <c:pt idx="5264">
                  <c:v>5.8156633073068207</c:v>
                </c:pt>
                <c:pt idx="5265">
                  <c:v>6.0065607457527488</c:v>
                </c:pt>
                <c:pt idx="5266">
                  <c:v>5.9959071485411641</c:v>
                </c:pt>
                <c:pt idx="5267">
                  <c:v>5.9985430576723395</c:v>
                </c:pt>
                <c:pt idx="5268">
                  <c:v>5.1173934853310437</c:v>
                </c:pt>
                <c:pt idx="5269">
                  <c:v>5.9249299039117922</c:v>
                </c:pt>
                <c:pt idx="5270">
                  <c:v>6.0439348171396494</c:v>
                </c:pt>
                <c:pt idx="5271">
                  <c:v>6.0258771133824203</c:v>
                </c:pt>
                <c:pt idx="5272">
                  <c:v>5.8895666784202136</c:v>
                </c:pt>
                <c:pt idx="5273">
                  <c:v>6.1088533166340904</c:v>
                </c:pt>
                <c:pt idx="5274">
                  <c:v>5.964337926174343</c:v>
                </c:pt>
                <c:pt idx="5275">
                  <c:v>6.9428298388517806</c:v>
                </c:pt>
                <c:pt idx="5276">
                  <c:v>5.0315391844030897</c:v>
                </c:pt>
                <c:pt idx="5277">
                  <c:v>4.8541252016955507</c:v>
                </c:pt>
                <c:pt idx="5278">
                  <c:v>5.8410835861028527</c:v>
                </c:pt>
                <c:pt idx="5279">
                  <c:v>5.8566046086370225</c:v>
                </c:pt>
                <c:pt idx="5280">
                  <c:v>5.1806883605131446</c:v>
                </c:pt>
                <c:pt idx="5281">
                  <c:v>6.0771954110583568</c:v>
                </c:pt>
                <c:pt idx="5282">
                  <c:v>5.0490977240680666</c:v>
                </c:pt>
                <c:pt idx="5283">
                  <c:v>4.9485142376711533</c:v>
                </c:pt>
                <c:pt idx="5284">
                  <c:v>3.949410526180174</c:v>
                </c:pt>
                <c:pt idx="5285">
                  <c:v>6.1094834011966999</c:v>
                </c:pt>
                <c:pt idx="5286">
                  <c:v>3.856612665488298</c:v>
                </c:pt>
                <c:pt idx="5287">
                  <c:v>5.0977555404269825</c:v>
                </c:pt>
                <c:pt idx="5288">
                  <c:v>5.8153765814496072</c:v>
                </c:pt>
                <c:pt idx="5289">
                  <c:v>4.8281448692005178</c:v>
                </c:pt>
                <c:pt idx="5290">
                  <c:v>6.9615634197140448</c:v>
                </c:pt>
                <c:pt idx="5291">
                  <c:v>4.9461831062472497</c:v>
                </c:pt>
                <c:pt idx="5292">
                  <c:v>4.8891523060889162</c:v>
                </c:pt>
                <c:pt idx="5293">
                  <c:v>5.0992469560163114</c:v>
                </c:pt>
                <c:pt idx="5294">
                  <c:v>4.9651272082521025</c:v>
                </c:pt>
                <c:pt idx="5295">
                  <c:v>5.8721203771357571</c:v>
                </c:pt>
                <c:pt idx="5296">
                  <c:v>4.8480627932121036</c:v>
                </c:pt>
                <c:pt idx="5297">
                  <c:v>6.0770748420084075</c:v>
                </c:pt>
                <c:pt idx="5298">
                  <c:v>6.8678147501605631</c:v>
                </c:pt>
                <c:pt idx="5299">
                  <c:v>6.2365673973886846</c:v>
                </c:pt>
                <c:pt idx="5300">
                  <c:v>6.097263166897628</c:v>
                </c:pt>
                <c:pt idx="5301">
                  <c:v>6.7128353520690291</c:v>
                </c:pt>
                <c:pt idx="5302">
                  <c:v>4.9965692530939245</c:v>
                </c:pt>
                <c:pt idx="5303">
                  <c:v>5.8783181553111685</c:v>
                </c:pt>
                <c:pt idx="5304">
                  <c:v>4.8282912640252915</c:v>
                </c:pt>
                <c:pt idx="5305">
                  <c:v>6.0126040102497207</c:v>
                </c:pt>
                <c:pt idx="5306">
                  <c:v>4.9491172005829789</c:v>
                </c:pt>
                <c:pt idx="5307">
                  <c:v>4.9563283125475142</c:v>
                </c:pt>
                <c:pt idx="5308">
                  <c:v>4.1725134141157394</c:v>
                </c:pt>
                <c:pt idx="5309">
                  <c:v>6.2288420913936564</c:v>
                </c:pt>
                <c:pt idx="5310">
                  <c:v>5.0477045824546432</c:v>
                </c:pt>
                <c:pt idx="5311">
                  <c:v>5.9105169272189979</c:v>
                </c:pt>
                <c:pt idx="5312">
                  <c:v>5.9768743948338949</c:v>
                </c:pt>
                <c:pt idx="5313">
                  <c:v>5.0729373821745467</c:v>
                </c:pt>
                <c:pt idx="5314">
                  <c:v>5.0657717316976134</c:v>
                </c:pt>
                <c:pt idx="5315">
                  <c:v>5.1413172895173949</c:v>
                </c:pt>
                <c:pt idx="5316">
                  <c:v>5.9094726975424248</c:v>
                </c:pt>
                <c:pt idx="5317">
                  <c:v>4.9318942577078611</c:v>
                </c:pt>
                <c:pt idx="5318">
                  <c:v>6.9545696227781519</c:v>
                </c:pt>
                <c:pt idx="5319">
                  <c:v>6.1405406985815789</c:v>
                </c:pt>
                <c:pt idx="5320">
                  <c:v>6.9199412110665177</c:v>
                </c:pt>
                <c:pt idx="5321">
                  <c:v>7.0213145892053994</c:v>
                </c:pt>
                <c:pt idx="5322">
                  <c:v>6.8879164145677247</c:v>
                </c:pt>
                <c:pt idx="5323">
                  <c:v>5.0090408745390134</c:v>
                </c:pt>
                <c:pt idx="5324">
                  <c:v>5.8505564896286213</c:v>
                </c:pt>
                <c:pt idx="5325">
                  <c:v>5.9885655975067875</c:v>
                </c:pt>
                <c:pt idx="5326">
                  <c:v>5.0007436131276588</c:v>
                </c:pt>
                <c:pt idx="5327">
                  <c:v>6.1650654377136691</c:v>
                </c:pt>
                <c:pt idx="5328">
                  <c:v>5.9614303841907148</c:v>
                </c:pt>
                <c:pt idx="5329">
                  <c:v>6.0888010610565333</c:v>
                </c:pt>
                <c:pt idx="5330">
                  <c:v>5.0221046675568735</c:v>
                </c:pt>
                <c:pt idx="5331">
                  <c:v>5.95619512488478</c:v>
                </c:pt>
                <c:pt idx="5332">
                  <c:v>5.9013187672926239</c:v>
                </c:pt>
                <c:pt idx="5333">
                  <c:v>5.867949752646747</c:v>
                </c:pt>
                <c:pt idx="5334">
                  <c:v>7.016411705981155</c:v>
                </c:pt>
                <c:pt idx="5335">
                  <c:v>6.3001182254213983</c:v>
                </c:pt>
                <c:pt idx="5336">
                  <c:v>5.8844425816874244</c:v>
                </c:pt>
                <c:pt idx="5337">
                  <c:v>5.0330582625823403</c:v>
                </c:pt>
                <c:pt idx="5338">
                  <c:v>7.0546116747822296</c:v>
                </c:pt>
                <c:pt idx="5339">
                  <c:v>6.0163484006126104</c:v>
                </c:pt>
                <c:pt idx="5340">
                  <c:v>4.9714123389785376</c:v>
                </c:pt>
                <c:pt idx="5341">
                  <c:v>5.055751812468503</c:v>
                </c:pt>
                <c:pt idx="5342">
                  <c:v>5.0069153438085685</c:v>
                </c:pt>
                <c:pt idx="5343">
                  <c:v>4.9560710835074691</c:v>
                </c:pt>
                <c:pt idx="5344">
                  <c:v>5.836499203523088</c:v>
                </c:pt>
                <c:pt idx="5345">
                  <c:v>5.064960880024473</c:v>
                </c:pt>
                <c:pt idx="5346">
                  <c:v>6.1331699533819224</c:v>
                </c:pt>
                <c:pt idx="5347">
                  <c:v>7.0581975164629984</c:v>
                </c:pt>
                <c:pt idx="5348">
                  <c:v>4.7911123766151613</c:v>
                </c:pt>
                <c:pt idx="5349">
                  <c:v>4.9168662334686148</c:v>
                </c:pt>
                <c:pt idx="5350">
                  <c:v>6.0340704033340149</c:v>
                </c:pt>
                <c:pt idx="5351">
                  <c:v>5.8929438045983122</c:v>
                </c:pt>
                <c:pt idx="5352">
                  <c:v>6.0383588594026723</c:v>
                </c:pt>
                <c:pt idx="5353">
                  <c:v>5.035192287588492</c:v>
                </c:pt>
                <c:pt idx="5354">
                  <c:v>4.991672592660386</c:v>
                </c:pt>
                <c:pt idx="5355">
                  <c:v>5.1156115111984173</c:v>
                </c:pt>
                <c:pt idx="5356">
                  <c:v>5.1605430865737425</c:v>
                </c:pt>
                <c:pt idx="5357">
                  <c:v>5.9180732475537177</c:v>
                </c:pt>
                <c:pt idx="5358">
                  <c:v>4.9955981289833131</c:v>
                </c:pt>
                <c:pt idx="5359">
                  <c:v>5.9662919027216379</c:v>
                </c:pt>
                <c:pt idx="5360">
                  <c:v>5.9636488212716943</c:v>
                </c:pt>
                <c:pt idx="5361">
                  <c:v>5.8540166467345278</c:v>
                </c:pt>
                <c:pt idx="5362">
                  <c:v>5.0116451159002837</c:v>
                </c:pt>
                <c:pt idx="5363">
                  <c:v>4.8813847120096376</c:v>
                </c:pt>
                <c:pt idx="5364">
                  <c:v>5.8481891101906589</c:v>
                </c:pt>
                <c:pt idx="5365">
                  <c:v>5.1864232819198302</c:v>
                </c:pt>
                <c:pt idx="5366">
                  <c:v>5.8917017089091477</c:v>
                </c:pt>
                <c:pt idx="5367">
                  <c:v>4.9875985283371067</c:v>
                </c:pt>
                <c:pt idx="5368">
                  <c:v>6.1835267613854201</c:v>
                </c:pt>
                <c:pt idx="5369">
                  <c:v>4.9450231809816678</c:v>
                </c:pt>
                <c:pt idx="5370">
                  <c:v>5.0474475307113265</c:v>
                </c:pt>
                <c:pt idx="5371">
                  <c:v>4.9855270293773666</c:v>
                </c:pt>
                <c:pt idx="5372">
                  <c:v>6.0103145347673239</c:v>
                </c:pt>
                <c:pt idx="5373">
                  <c:v>6.1306844428321812</c:v>
                </c:pt>
                <c:pt idx="5374">
                  <c:v>5.9377617096283553</c:v>
                </c:pt>
                <c:pt idx="5375">
                  <c:v>6.9336784881254765</c:v>
                </c:pt>
                <c:pt idx="5376">
                  <c:v>4.8543486504310289</c:v>
                </c:pt>
                <c:pt idx="5377">
                  <c:v>5.9745048318994476</c:v>
                </c:pt>
                <c:pt idx="5378">
                  <c:v>7.0843942484691729</c:v>
                </c:pt>
                <c:pt idx="5379">
                  <c:v>6.1138406867561077</c:v>
                </c:pt>
                <c:pt idx="5380">
                  <c:v>5.9321577165039496</c:v>
                </c:pt>
                <c:pt idx="5381">
                  <c:v>4.8901667399504376</c:v>
                </c:pt>
                <c:pt idx="5382">
                  <c:v>6.197984066048047</c:v>
                </c:pt>
                <c:pt idx="5383">
                  <c:v>6.0707346895007213</c:v>
                </c:pt>
                <c:pt idx="5384">
                  <c:v>6.1567074692034716</c:v>
                </c:pt>
                <c:pt idx="5385">
                  <c:v>6.0690642527614083</c:v>
                </c:pt>
                <c:pt idx="5386">
                  <c:v>6.2410486448122455</c:v>
                </c:pt>
                <c:pt idx="5387">
                  <c:v>5.9083003300716044</c:v>
                </c:pt>
                <c:pt idx="5388">
                  <c:v>4.9422560444275883</c:v>
                </c:pt>
                <c:pt idx="5389">
                  <c:v>4.9985475688279424</c:v>
                </c:pt>
                <c:pt idx="5390">
                  <c:v>5.0529402288456859</c:v>
                </c:pt>
                <c:pt idx="5391">
                  <c:v>6.083120600456601</c:v>
                </c:pt>
                <c:pt idx="5392">
                  <c:v>5.0686904314678047</c:v>
                </c:pt>
                <c:pt idx="5393">
                  <c:v>4.865473906579294</c:v>
                </c:pt>
                <c:pt idx="5394">
                  <c:v>6.1105433512768483</c:v>
                </c:pt>
                <c:pt idx="5395">
                  <c:v>5.7546325020666105</c:v>
                </c:pt>
                <c:pt idx="5396">
                  <c:v>6.0812679789206543</c:v>
                </c:pt>
                <c:pt idx="5397">
                  <c:v>5.983416379340162</c:v>
                </c:pt>
                <c:pt idx="5398">
                  <c:v>7.0269723144374501</c:v>
                </c:pt>
                <c:pt idx="5399">
                  <c:v>6.1197088502872541</c:v>
                </c:pt>
                <c:pt idx="5400">
                  <c:v>6.1737358667792028</c:v>
                </c:pt>
                <c:pt idx="5401">
                  <c:v>5.9045141743959828</c:v>
                </c:pt>
                <c:pt idx="5402">
                  <c:v>6.0659657350687324</c:v>
                </c:pt>
                <c:pt idx="5403">
                  <c:v>6.0149489075175762</c:v>
                </c:pt>
                <c:pt idx="5404">
                  <c:v>5.1208186528118738</c:v>
                </c:pt>
                <c:pt idx="5405">
                  <c:v>4.9815584265090447</c:v>
                </c:pt>
                <c:pt idx="5406">
                  <c:v>4.9863656314685443</c:v>
                </c:pt>
                <c:pt idx="5407">
                  <c:v>6.0966201306939789</c:v>
                </c:pt>
                <c:pt idx="5408">
                  <c:v>6.146936063348071</c:v>
                </c:pt>
                <c:pt idx="5409">
                  <c:v>6.0491144479605623</c:v>
                </c:pt>
                <c:pt idx="5410">
                  <c:v>6.1598366109444287</c:v>
                </c:pt>
                <c:pt idx="5411">
                  <c:v>4.9275698454986454</c:v>
                </c:pt>
                <c:pt idx="5412">
                  <c:v>6.0242586190481386</c:v>
                </c:pt>
                <c:pt idx="5413">
                  <c:v>6.0479383644996592</c:v>
                </c:pt>
                <c:pt idx="5414">
                  <c:v>5.985837725334842</c:v>
                </c:pt>
                <c:pt idx="5415">
                  <c:v>5.8562424091221885</c:v>
                </c:pt>
                <c:pt idx="5416">
                  <c:v>5.8305101245773807</c:v>
                </c:pt>
                <c:pt idx="5417">
                  <c:v>4.9981667294287071</c:v>
                </c:pt>
                <c:pt idx="5418">
                  <c:v>5.9797079149978511</c:v>
                </c:pt>
                <c:pt idx="5419">
                  <c:v>5.0595787076360601</c:v>
                </c:pt>
                <c:pt idx="5420">
                  <c:v>5.8849118230028612</c:v>
                </c:pt>
                <c:pt idx="5421">
                  <c:v>5.973557866136689</c:v>
                </c:pt>
                <c:pt idx="5422">
                  <c:v>6.0819651209454726</c:v>
                </c:pt>
                <c:pt idx="5423">
                  <c:v>6.026084479735041</c:v>
                </c:pt>
                <c:pt idx="5424">
                  <c:v>5.8396079573970416</c:v>
                </c:pt>
                <c:pt idx="5425">
                  <c:v>6.0693024991320739</c:v>
                </c:pt>
                <c:pt idx="5426">
                  <c:v>6.1749820856232418</c:v>
                </c:pt>
                <c:pt idx="5427">
                  <c:v>5.9992145578033336</c:v>
                </c:pt>
                <c:pt idx="5428">
                  <c:v>4.0210223347819234</c:v>
                </c:pt>
                <c:pt idx="5429">
                  <c:v>6.0281044027185766</c:v>
                </c:pt>
                <c:pt idx="5430">
                  <c:v>5.029319323094195</c:v>
                </c:pt>
                <c:pt idx="5431">
                  <c:v>5.9089447677373679</c:v>
                </c:pt>
                <c:pt idx="5432">
                  <c:v>6.8390882789395304</c:v>
                </c:pt>
                <c:pt idx="5433">
                  <c:v>5.92893139699044</c:v>
                </c:pt>
                <c:pt idx="5434">
                  <c:v>6.1674851872218017</c:v>
                </c:pt>
                <c:pt idx="5435">
                  <c:v>5.9070646749915863</c:v>
                </c:pt>
                <c:pt idx="5436">
                  <c:v>5.8773419010973873</c:v>
                </c:pt>
                <c:pt idx="5437">
                  <c:v>5.0321646375368232</c:v>
                </c:pt>
                <c:pt idx="5438">
                  <c:v>4.9117696393870593</c:v>
                </c:pt>
                <c:pt idx="5439">
                  <c:v>6.0698773608175864</c:v>
                </c:pt>
                <c:pt idx="5440">
                  <c:v>5.8573570610011787</c:v>
                </c:pt>
                <c:pt idx="5441">
                  <c:v>5.1657287220231565</c:v>
                </c:pt>
                <c:pt idx="5442">
                  <c:v>4.9584856937519222</c:v>
                </c:pt>
                <c:pt idx="5443">
                  <c:v>5.9700002070321831</c:v>
                </c:pt>
                <c:pt idx="5444">
                  <c:v>6.0873884475257238</c:v>
                </c:pt>
                <c:pt idx="5445">
                  <c:v>4.9541402851891458</c:v>
                </c:pt>
                <c:pt idx="5446">
                  <c:v>6.1109262819548364</c:v>
                </c:pt>
                <c:pt idx="5447">
                  <c:v>4.8647157045714646</c:v>
                </c:pt>
                <c:pt idx="5448">
                  <c:v>6.110748312349453</c:v>
                </c:pt>
                <c:pt idx="5449">
                  <c:v>6.0151377926626397</c:v>
                </c:pt>
                <c:pt idx="5450">
                  <c:v>4.9851215961858744</c:v>
                </c:pt>
                <c:pt idx="5451">
                  <c:v>6.067563182708926</c:v>
                </c:pt>
                <c:pt idx="5452">
                  <c:v>4.9752549009829989</c:v>
                </c:pt>
                <c:pt idx="5453">
                  <c:v>4.8977213088430203</c:v>
                </c:pt>
                <c:pt idx="5454">
                  <c:v>6.095914537334103</c:v>
                </c:pt>
                <c:pt idx="5455">
                  <c:v>4.9322168434090665</c:v>
                </c:pt>
                <c:pt idx="5456">
                  <c:v>5.9376019272185347</c:v>
                </c:pt>
                <c:pt idx="5457">
                  <c:v>6.0383223719023658</c:v>
                </c:pt>
                <c:pt idx="5458">
                  <c:v>5.8231605381482794</c:v>
                </c:pt>
                <c:pt idx="5459">
                  <c:v>5.937356374154044</c:v>
                </c:pt>
                <c:pt idx="5460">
                  <c:v>6.0469688760969706</c:v>
                </c:pt>
                <c:pt idx="5461">
                  <c:v>6.1509453053986034</c:v>
                </c:pt>
                <c:pt idx="5462">
                  <c:v>4.9676683936490411</c:v>
                </c:pt>
                <c:pt idx="5463">
                  <c:v>6.0089378437918199</c:v>
                </c:pt>
                <c:pt idx="5464">
                  <c:v>6.0597063381939682</c:v>
                </c:pt>
                <c:pt idx="5465">
                  <c:v>6.0479718878118289</c:v>
                </c:pt>
                <c:pt idx="5466">
                  <c:v>6.1113260366305404</c:v>
                </c:pt>
                <c:pt idx="5467">
                  <c:v>4.7481359355011348</c:v>
                </c:pt>
                <c:pt idx="5468">
                  <c:v>5.9897393588975616</c:v>
                </c:pt>
                <c:pt idx="5469">
                  <c:v>4.8965214281307876</c:v>
                </c:pt>
                <c:pt idx="5470">
                  <c:v>6.0900706610961137</c:v>
                </c:pt>
                <c:pt idx="5471">
                  <c:v>6.0552166679233723</c:v>
                </c:pt>
                <c:pt idx="5472">
                  <c:v>6.0332942394574998</c:v>
                </c:pt>
                <c:pt idx="5473">
                  <c:v>6.1060176972008806</c:v>
                </c:pt>
                <c:pt idx="5474">
                  <c:v>5.9718137913967899</c:v>
                </c:pt>
                <c:pt idx="5475">
                  <c:v>5.8661754544618168</c:v>
                </c:pt>
                <c:pt idx="5476">
                  <c:v>5.9875799383350703</c:v>
                </c:pt>
                <c:pt idx="5477">
                  <c:v>4.9483951991706183</c:v>
                </c:pt>
                <c:pt idx="5478">
                  <c:v>5.8410159012996443</c:v>
                </c:pt>
                <c:pt idx="5479">
                  <c:v>5.9773622053655329</c:v>
                </c:pt>
                <c:pt idx="5480">
                  <c:v>6.0268862127514424</c:v>
                </c:pt>
                <c:pt idx="5481">
                  <c:v>5.9931139909770765</c:v>
                </c:pt>
                <c:pt idx="5482">
                  <c:v>5.9760892809477459</c:v>
                </c:pt>
                <c:pt idx="5483">
                  <c:v>4.9247554322065179</c:v>
                </c:pt>
                <c:pt idx="5484">
                  <c:v>6.1061395493101065</c:v>
                </c:pt>
                <c:pt idx="5485">
                  <c:v>6.0116317986366026</c:v>
                </c:pt>
                <c:pt idx="5486">
                  <c:v>6.0830262838543891</c:v>
                </c:pt>
                <c:pt idx="5487">
                  <c:v>5.9184260026743178</c:v>
                </c:pt>
                <c:pt idx="5488">
                  <c:v>5.024028983842987</c:v>
                </c:pt>
                <c:pt idx="5489">
                  <c:v>5.9395479180400068</c:v>
                </c:pt>
                <c:pt idx="5490">
                  <c:v>6.1028302212514323</c:v>
                </c:pt>
                <c:pt idx="5491">
                  <c:v>6.0646760408150309</c:v>
                </c:pt>
                <c:pt idx="5492">
                  <c:v>6.028787655712474</c:v>
                </c:pt>
                <c:pt idx="5493">
                  <c:v>6.1132266924416827</c:v>
                </c:pt>
                <c:pt idx="5494">
                  <c:v>5.9450438615635424</c:v>
                </c:pt>
                <c:pt idx="5495">
                  <c:v>6.1494464361109333</c:v>
                </c:pt>
                <c:pt idx="5496">
                  <c:v>4.9127393225901876</c:v>
                </c:pt>
                <c:pt idx="5497">
                  <c:v>6.0775395539417749</c:v>
                </c:pt>
                <c:pt idx="5498">
                  <c:v>6.1026398483614006</c:v>
                </c:pt>
                <c:pt idx="5499">
                  <c:v>5.0805501863851079</c:v>
                </c:pt>
                <c:pt idx="5500">
                  <c:v>5.0605438465101544</c:v>
                </c:pt>
                <c:pt idx="5501">
                  <c:v>6.017708040040624</c:v>
                </c:pt>
                <c:pt idx="5502">
                  <c:v>6.1700722295591524</c:v>
                </c:pt>
                <c:pt idx="5503">
                  <c:v>5.1010839124379919</c:v>
                </c:pt>
                <c:pt idx="5504">
                  <c:v>6.0240416718655299</c:v>
                </c:pt>
                <c:pt idx="5505">
                  <c:v>4.8923834060261235</c:v>
                </c:pt>
                <c:pt idx="5506">
                  <c:v>4.9101624231448397</c:v>
                </c:pt>
                <c:pt idx="5507">
                  <c:v>5.8946827063704621</c:v>
                </c:pt>
                <c:pt idx="5508">
                  <c:v>6.1519770458758725</c:v>
                </c:pt>
                <c:pt idx="5509">
                  <c:v>6.1618457222612895</c:v>
                </c:pt>
                <c:pt idx="5510">
                  <c:v>5.0227504835077958</c:v>
                </c:pt>
                <c:pt idx="5511">
                  <c:v>5.1492077937066085</c:v>
                </c:pt>
                <c:pt idx="5512">
                  <c:v>5.8912278603952926</c:v>
                </c:pt>
                <c:pt idx="5513">
                  <c:v>5.0035950744940045</c:v>
                </c:pt>
                <c:pt idx="5514">
                  <c:v>5.9516419453612031</c:v>
                </c:pt>
                <c:pt idx="5515">
                  <c:v>5.9634776376679701</c:v>
                </c:pt>
                <c:pt idx="5516">
                  <c:v>6.0616543234033697</c:v>
                </c:pt>
                <c:pt idx="5517">
                  <c:v>6.0437683602465588</c:v>
                </c:pt>
                <c:pt idx="5518">
                  <c:v>5.9293920556318298</c:v>
                </c:pt>
                <c:pt idx="5519">
                  <c:v>5.8830285686256483</c:v>
                </c:pt>
                <c:pt idx="5520">
                  <c:v>5.0485486592824316</c:v>
                </c:pt>
                <c:pt idx="5521">
                  <c:v>6.0326479475387442</c:v>
                </c:pt>
                <c:pt idx="5522">
                  <c:v>6.1497670420261432</c:v>
                </c:pt>
                <c:pt idx="5523">
                  <c:v>6.2068201901051312</c:v>
                </c:pt>
                <c:pt idx="5524">
                  <c:v>6.0139009180014549</c:v>
                </c:pt>
                <c:pt idx="5525">
                  <c:v>5.8786785915800257</c:v>
                </c:pt>
                <c:pt idx="5526">
                  <c:v>4.9197975781458032</c:v>
                </c:pt>
                <c:pt idx="5527">
                  <c:v>5.0883031173702369</c:v>
                </c:pt>
                <c:pt idx="5528">
                  <c:v>5.9873526674113657</c:v>
                </c:pt>
                <c:pt idx="5529">
                  <c:v>6.1039803715873866</c:v>
                </c:pt>
                <c:pt idx="5530">
                  <c:v>5.1078437534877734</c:v>
                </c:pt>
                <c:pt idx="5531">
                  <c:v>5.9478960135098218</c:v>
                </c:pt>
                <c:pt idx="5532">
                  <c:v>5.9519463099001948</c:v>
                </c:pt>
                <c:pt idx="5533">
                  <c:v>6.0441752839202794</c:v>
                </c:pt>
                <c:pt idx="5534">
                  <c:v>4.9736071366133032</c:v>
                </c:pt>
                <c:pt idx="5535">
                  <c:v>5.9838992935093938</c:v>
                </c:pt>
                <c:pt idx="5536">
                  <c:v>5.0137483283879325</c:v>
                </c:pt>
                <c:pt idx="5537">
                  <c:v>4.9350815906498946</c:v>
                </c:pt>
                <c:pt idx="5538">
                  <c:v>6.0489761159104578</c:v>
                </c:pt>
                <c:pt idx="5539">
                  <c:v>5.853155735973071</c:v>
                </c:pt>
                <c:pt idx="5540">
                  <c:v>5.9105106703183488</c:v>
                </c:pt>
                <c:pt idx="5541">
                  <c:v>6.0040139218115298</c:v>
                </c:pt>
                <c:pt idx="5542">
                  <c:v>5.973309076509616</c:v>
                </c:pt>
                <c:pt idx="5543">
                  <c:v>5.9552014119177255</c:v>
                </c:pt>
                <c:pt idx="5544">
                  <c:v>6.0886230442168365</c:v>
                </c:pt>
                <c:pt idx="5545">
                  <c:v>5.9456222098267553</c:v>
                </c:pt>
                <c:pt idx="5546">
                  <c:v>4.7538752451241466</c:v>
                </c:pt>
                <c:pt idx="5547">
                  <c:v>5.0134165936420603</c:v>
                </c:pt>
                <c:pt idx="5548">
                  <c:v>5.0686931200219254</c:v>
                </c:pt>
                <c:pt idx="5549">
                  <c:v>6.8575696575373764</c:v>
                </c:pt>
                <c:pt idx="5550">
                  <c:v>6.0622296498225658</c:v>
                </c:pt>
                <c:pt idx="5551">
                  <c:v>4.9023909062843281</c:v>
                </c:pt>
                <c:pt idx="5552">
                  <c:v>6.1401741444404161</c:v>
                </c:pt>
                <c:pt idx="5553">
                  <c:v>6.1248925457643839</c:v>
                </c:pt>
                <c:pt idx="5554">
                  <c:v>5.8459361759228701</c:v>
                </c:pt>
                <c:pt idx="5555">
                  <c:v>5.1097095321861827</c:v>
                </c:pt>
                <c:pt idx="5556">
                  <c:v>7.1292678647545014</c:v>
                </c:pt>
                <c:pt idx="5557">
                  <c:v>5.9478846995045584</c:v>
                </c:pt>
                <c:pt idx="5558">
                  <c:v>5.8311256683597374</c:v>
                </c:pt>
                <c:pt idx="5559">
                  <c:v>4.8625983511605213</c:v>
                </c:pt>
                <c:pt idx="5560">
                  <c:v>5.9749336498405636</c:v>
                </c:pt>
                <c:pt idx="5561">
                  <c:v>7.0328222797708841</c:v>
                </c:pt>
                <c:pt idx="5562">
                  <c:v>5.0557443455852171</c:v>
                </c:pt>
                <c:pt idx="5563">
                  <c:v>4.9629859884599306</c:v>
                </c:pt>
                <c:pt idx="5564">
                  <c:v>6.8834312495455352</c:v>
                </c:pt>
                <c:pt idx="5565">
                  <c:v>4.9244566758709025</c:v>
                </c:pt>
                <c:pt idx="5566">
                  <c:v>5.0119215548537239</c:v>
                </c:pt>
                <c:pt idx="5567">
                  <c:v>4.9672696791449962</c:v>
                </c:pt>
                <c:pt idx="5568">
                  <c:v>4.9027273856792251</c:v>
                </c:pt>
                <c:pt idx="5569">
                  <c:v>5.9131354777629115</c:v>
                </c:pt>
                <c:pt idx="5570">
                  <c:v>5.993704146150785</c:v>
                </c:pt>
                <c:pt idx="5571">
                  <c:v>6.0984070022233752</c:v>
                </c:pt>
                <c:pt idx="5572">
                  <c:v>4.0615269329510237</c:v>
                </c:pt>
                <c:pt idx="5573">
                  <c:v>4.892917645686488</c:v>
                </c:pt>
                <c:pt idx="5574">
                  <c:v>5.872179762292868</c:v>
                </c:pt>
                <c:pt idx="5575">
                  <c:v>6.0424021994758537</c:v>
                </c:pt>
                <c:pt idx="5576">
                  <c:v>6.0052121451087048</c:v>
                </c:pt>
                <c:pt idx="5577">
                  <c:v>6.0525741743410926</c:v>
                </c:pt>
                <c:pt idx="5578">
                  <c:v>4.9326175603529601</c:v>
                </c:pt>
                <c:pt idx="5579">
                  <c:v>5.8498500699621419</c:v>
                </c:pt>
                <c:pt idx="5580">
                  <c:v>4.7578490890957879</c:v>
                </c:pt>
                <c:pt idx="5581">
                  <c:v>5.1559802601829885</c:v>
                </c:pt>
                <c:pt idx="5582">
                  <c:v>5.1041695339835158</c:v>
                </c:pt>
                <c:pt idx="5583">
                  <c:v>6.1703890180051095</c:v>
                </c:pt>
                <c:pt idx="5584">
                  <c:v>5.9818362665729641</c:v>
                </c:pt>
                <c:pt idx="5585">
                  <c:v>5.9979448915816826</c:v>
                </c:pt>
                <c:pt idx="5586">
                  <c:v>5.0420572012304179</c:v>
                </c:pt>
                <c:pt idx="5587">
                  <c:v>5.0596113347179354</c:v>
                </c:pt>
                <c:pt idx="5588">
                  <c:v>5.9901606287721609</c:v>
                </c:pt>
                <c:pt idx="5589">
                  <c:v>5.9198231475205851</c:v>
                </c:pt>
                <c:pt idx="5590">
                  <c:v>5.99661482772576</c:v>
                </c:pt>
                <c:pt idx="5591">
                  <c:v>6.0041171788978431</c:v>
                </c:pt>
                <c:pt idx="5592">
                  <c:v>5.9361924280968745</c:v>
                </c:pt>
                <c:pt idx="5593">
                  <c:v>5.0340141728303891</c:v>
                </c:pt>
                <c:pt idx="5594">
                  <c:v>6.102294110831477</c:v>
                </c:pt>
                <c:pt idx="5595">
                  <c:v>5.7899949823314234</c:v>
                </c:pt>
                <c:pt idx="5596">
                  <c:v>5.7222611549298339</c:v>
                </c:pt>
                <c:pt idx="5597">
                  <c:v>6.0164797044829292</c:v>
                </c:pt>
                <c:pt idx="5598">
                  <c:v>5.0458926361966734</c:v>
                </c:pt>
                <c:pt idx="5599">
                  <c:v>6.9794097789236984</c:v>
                </c:pt>
                <c:pt idx="5600">
                  <c:v>4.9043376414129218</c:v>
                </c:pt>
                <c:pt idx="5601">
                  <c:v>5.0203232754239044</c:v>
                </c:pt>
                <c:pt idx="5602">
                  <c:v>4.9223567304842888</c:v>
                </c:pt>
                <c:pt idx="5603">
                  <c:v>6.0654892911436598</c:v>
                </c:pt>
                <c:pt idx="5604">
                  <c:v>6.1254868119578463</c:v>
                </c:pt>
                <c:pt idx="5605">
                  <c:v>5.0070873245670215</c:v>
                </c:pt>
                <c:pt idx="5606">
                  <c:v>5.0245730609640118</c:v>
                </c:pt>
                <c:pt idx="5607">
                  <c:v>5.8894810440015721</c:v>
                </c:pt>
                <c:pt idx="5608">
                  <c:v>4.9523135326596774</c:v>
                </c:pt>
                <c:pt idx="5609">
                  <c:v>6.1185632466559543</c:v>
                </c:pt>
                <c:pt idx="5610">
                  <c:v>4.8025311200520155</c:v>
                </c:pt>
                <c:pt idx="5611">
                  <c:v>5.8492147088432329</c:v>
                </c:pt>
                <c:pt idx="5612">
                  <c:v>6.8963680233148592</c:v>
                </c:pt>
                <c:pt idx="5613">
                  <c:v>5.995184744823769</c:v>
                </c:pt>
                <c:pt idx="5614">
                  <c:v>4.89971070514913</c:v>
                </c:pt>
                <c:pt idx="5615">
                  <c:v>6.162815892619836</c:v>
                </c:pt>
                <c:pt idx="5616">
                  <c:v>6.0900153998787836</c:v>
                </c:pt>
                <c:pt idx="5617">
                  <c:v>6.9615384025868634</c:v>
                </c:pt>
                <c:pt idx="5618">
                  <c:v>7.219078313219522</c:v>
                </c:pt>
                <c:pt idx="5619">
                  <c:v>5.8936541564882656</c:v>
                </c:pt>
                <c:pt idx="5620">
                  <c:v>5.9889055221173262</c:v>
                </c:pt>
                <c:pt idx="5621">
                  <c:v>6.0092250180886282</c:v>
                </c:pt>
                <c:pt idx="5622">
                  <c:v>5.8829398577082239</c:v>
                </c:pt>
                <c:pt idx="5623">
                  <c:v>7.0151933488848481</c:v>
                </c:pt>
                <c:pt idx="5624">
                  <c:v>6.0679804770466284</c:v>
                </c:pt>
                <c:pt idx="5625">
                  <c:v>5.8659515770043926</c:v>
                </c:pt>
                <c:pt idx="5626">
                  <c:v>6.0791602219343215</c:v>
                </c:pt>
                <c:pt idx="5627">
                  <c:v>5.9750316819585549</c:v>
                </c:pt>
                <c:pt idx="5628">
                  <c:v>6.0147635502212085</c:v>
                </c:pt>
                <c:pt idx="5629">
                  <c:v>6.1943433987637615</c:v>
                </c:pt>
                <c:pt idx="5630">
                  <c:v>5.0312158812224057</c:v>
                </c:pt>
                <c:pt idx="5631">
                  <c:v>6.0328751020596627</c:v>
                </c:pt>
                <c:pt idx="5632">
                  <c:v>5.1251499329090802</c:v>
                </c:pt>
                <c:pt idx="5633">
                  <c:v>5.8989221708765873</c:v>
                </c:pt>
                <c:pt idx="5634">
                  <c:v>6.9469199019240886</c:v>
                </c:pt>
                <c:pt idx="5635">
                  <c:v>4.9048990998214022</c:v>
                </c:pt>
                <c:pt idx="5636">
                  <c:v>5.06972730670108</c:v>
                </c:pt>
                <c:pt idx="5637">
                  <c:v>5.84966039631753</c:v>
                </c:pt>
                <c:pt idx="5638">
                  <c:v>5.0422400778664764</c:v>
                </c:pt>
                <c:pt idx="5639">
                  <c:v>3.0175703574209796</c:v>
                </c:pt>
                <c:pt idx="5640">
                  <c:v>5.0026121795344443</c:v>
                </c:pt>
                <c:pt idx="5641">
                  <c:v>5.9200788711064956</c:v>
                </c:pt>
                <c:pt idx="5642">
                  <c:v>5.1531870433899902</c:v>
                </c:pt>
                <c:pt idx="5643">
                  <c:v>5.0617969239956455</c:v>
                </c:pt>
                <c:pt idx="5644">
                  <c:v>5.9917022726768128</c:v>
                </c:pt>
                <c:pt idx="5645">
                  <c:v>5.9499658291173168</c:v>
                </c:pt>
                <c:pt idx="5646">
                  <c:v>5.0107290879045197</c:v>
                </c:pt>
                <c:pt idx="5647">
                  <c:v>6.8640830706757026</c:v>
                </c:pt>
                <c:pt idx="5648">
                  <c:v>4.9885848558884556</c:v>
                </c:pt>
                <c:pt idx="5649">
                  <c:v>6.0217299370350315</c:v>
                </c:pt>
                <c:pt idx="5650">
                  <c:v>5.9705137531587935</c:v>
                </c:pt>
                <c:pt idx="5651">
                  <c:v>4.893715123119077</c:v>
                </c:pt>
                <c:pt idx="5652">
                  <c:v>7.1064289827383957</c:v>
                </c:pt>
                <c:pt idx="5653">
                  <c:v>5.0438969625882093</c:v>
                </c:pt>
                <c:pt idx="5654">
                  <c:v>6.9743070798408091</c:v>
                </c:pt>
                <c:pt idx="5655">
                  <c:v>4.9955500587194415</c:v>
                </c:pt>
                <c:pt idx="5656">
                  <c:v>5.0612670924030878</c:v>
                </c:pt>
                <c:pt idx="5657">
                  <c:v>6.0954710832605628</c:v>
                </c:pt>
                <c:pt idx="5658">
                  <c:v>6.0356007137053362</c:v>
                </c:pt>
                <c:pt idx="5659">
                  <c:v>6.8524452807194951</c:v>
                </c:pt>
                <c:pt idx="5660">
                  <c:v>7.1839254015376701</c:v>
                </c:pt>
                <c:pt idx="5661">
                  <c:v>5.9839173536892325</c:v>
                </c:pt>
                <c:pt idx="5662">
                  <c:v>5.2606687683219624</c:v>
                </c:pt>
                <c:pt idx="5663">
                  <c:v>5.2061785543739472</c:v>
                </c:pt>
                <c:pt idx="5664">
                  <c:v>6.0620599839296476</c:v>
                </c:pt>
                <c:pt idx="5665">
                  <c:v>5.9810435978576066</c:v>
                </c:pt>
                <c:pt idx="5666">
                  <c:v>7.1629915354775431</c:v>
                </c:pt>
                <c:pt idx="5667">
                  <c:v>5.9426519572710115</c:v>
                </c:pt>
                <c:pt idx="5668">
                  <c:v>4.9666205581149301</c:v>
                </c:pt>
                <c:pt idx="5669">
                  <c:v>5.2540758614563208</c:v>
                </c:pt>
                <c:pt idx="5670">
                  <c:v>5.8772318234097272</c:v>
                </c:pt>
                <c:pt idx="5671">
                  <c:v>5.9084005232021832</c:v>
                </c:pt>
                <c:pt idx="5672">
                  <c:v>6.1572897106634308</c:v>
                </c:pt>
                <c:pt idx="5673">
                  <c:v>6.8830341347676596</c:v>
                </c:pt>
                <c:pt idx="5674">
                  <c:v>6.0004323400522193</c:v>
                </c:pt>
                <c:pt idx="5675">
                  <c:v>5.0102661373188058</c:v>
                </c:pt>
                <c:pt idx="5676">
                  <c:v>5.0232184057586169</c:v>
                </c:pt>
                <c:pt idx="5677">
                  <c:v>5.9347542719745991</c:v>
                </c:pt>
                <c:pt idx="5678">
                  <c:v>7.009452975441163</c:v>
                </c:pt>
                <c:pt idx="5679">
                  <c:v>4.891067111203963</c:v>
                </c:pt>
                <c:pt idx="5680">
                  <c:v>6.0598963604989482</c:v>
                </c:pt>
                <c:pt idx="5681">
                  <c:v>6.1203879168370827</c:v>
                </c:pt>
                <c:pt idx="5682">
                  <c:v>6.0012189330366468</c:v>
                </c:pt>
                <c:pt idx="5683">
                  <c:v>5.982554619563782</c:v>
                </c:pt>
                <c:pt idx="5684">
                  <c:v>6.0044336557499918</c:v>
                </c:pt>
                <c:pt idx="5685">
                  <c:v>4.8817204654003161</c:v>
                </c:pt>
                <c:pt idx="5686">
                  <c:v>6.1273487991051629</c:v>
                </c:pt>
                <c:pt idx="5687">
                  <c:v>5.0975507589078264</c:v>
                </c:pt>
                <c:pt idx="5688">
                  <c:v>5.8926478998775833</c:v>
                </c:pt>
                <c:pt idx="5689">
                  <c:v>4.9416685532140949</c:v>
                </c:pt>
                <c:pt idx="5690">
                  <c:v>5.1011201634604495</c:v>
                </c:pt>
                <c:pt idx="5691">
                  <c:v>6.1076212356661808</c:v>
                </c:pt>
                <c:pt idx="5692">
                  <c:v>6.0968239842630796</c:v>
                </c:pt>
                <c:pt idx="5693">
                  <c:v>6.0281583754097259</c:v>
                </c:pt>
                <c:pt idx="5694">
                  <c:v>4.9286155754872105</c:v>
                </c:pt>
                <c:pt idx="5695">
                  <c:v>6.0200706597737286</c:v>
                </c:pt>
                <c:pt idx="5696">
                  <c:v>4.0155007614491804</c:v>
                </c:pt>
                <c:pt idx="5697">
                  <c:v>6.0635443072508517</c:v>
                </c:pt>
                <c:pt idx="5698">
                  <c:v>6.0270107170444422</c:v>
                </c:pt>
                <c:pt idx="5699">
                  <c:v>5.9615189615018593</c:v>
                </c:pt>
                <c:pt idx="5700">
                  <c:v>6.0388107073425044</c:v>
                </c:pt>
                <c:pt idx="5701">
                  <c:v>5.9886733295088561</c:v>
                </c:pt>
                <c:pt idx="5702">
                  <c:v>5.9399486250124438</c:v>
                </c:pt>
                <c:pt idx="5703">
                  <c:v>6.008360295295021</c:v>
                </c:pt>
                <c:pt idx="5704">
                  <c:v>4.9065106360008279</c:v>
                </c:pt>
                <c:pt idx="5705">
                  <c:v>4.9492091689825015</c:v>
                </c:pt>
                <c:pt idx="5706">
                  <c:v>5.8192642073452703</c:v>
                </c:pt>
                <c:pt idx="5707">
                  <c:v>4.9275261111759043</c:v>
                </c:pt>
                <c:pt idx="5708">
                  <c:v>6.0011872460416011</c:v>
                </c:pt>
                <c:pt idx="5709">
                  <c:v>6.0662742410787915</c:v>
                </c:pt>
                <c:pt idx="5710">
                  <c:v>4.9636817141146086</c:v>
                </c:pt>
                <c:pt idx="5711">
                  <c:v>5.8915019210302493</c:v>
                </c:pt>
                <c:pt idx="5712">
                  <c:v>6.0867480507498524</c:v>
                </c:pt>
                <c:pt idx="5713">
                  <c:v>5.0592543405723696</c:v>
                </c:pt>
                <c:pt idx="5714">
                  <c:v>6.042423318155266</c:v>
                </c:pt>
                <c:pt idx="5715">
                  <c:v>5.8869978519636401</c:v>
                </c:pt>
                <c:pt idx="5716">
                  <c:v>5.9898394251994658</c:v>
                </c:pt>
                <c:pt idx="5717">
                  <c:v>5.92140640090257</c:v>
                </c:pt>
                <c:pt idx="5718">
                  <c:v>6.1641728940766534</c:v>
                </c:pt>
                <c:pt idx="5719">
                  <c:v>4.8849363928859768</c:v>
                </c:pt>
                <c:pt idx="5720">
                  <c:v>5.8530849015889821</c:v>
                </c:pt>
                <c:pt idx="5721">
                  <c:v>5.8809163866226948</c:v>
                </c:pt>
                <c:pt idx="5722">
                  <c:v>4.9566764669844172</c:v>
                </c:pt>
                <c:pt idx="5723">
                  <c:v>6.0086730735082625</c:v>
                </c:pt>
                <c:pt idx="5724">
                  <c:v>6.0238612382353063</c:v>
                </c:pt>
                <c:pt idx="5725">
                  <c:v>5.0501546854347099</c:v>
                </c:pt>
                <c:pt idx="5726">
                  <c:v>4.9724413382432404</c:v>
                </c:pt>
                <c:pt idx="5727">
                  <c:v>6.0105348171152642</c:v>
                </c:pt>
                <c:pt idx="5728">
                  <c:v>6.0644785152158009</c:v>
                </c:pt>
                <c:pt idx="5729">
                  <c:v>6.0041802783091622</c:v>
                </c:pt>
                <c:pt idx="5730">
                  <c:v>5.9532938869663807</c:v>
                </c:pt>
                <c:pt idx="5731">
                  <c:v>5.8655962615860329</c:v>
                </c:pt>
                <c:pt idx="5732">
                  <c:v>6.9949716515596565</c:v>
                </c:pt>
                <c:pt idx="5733">
                  <c:v>6.927388602743525</c:v>
                </c:pt>
                <c:pt idx="5734">
                  <c:v>5.1666740685928652</c:v>
                </c:pt>
                <c:pt idx="5735">
                  <c:v>6.2729758511668861</c:v>
                </c:pt>
                <c:pt idx="5736">
                  <c:v>4.9856786470461589</c:v>
                </c:pt>
                <c:pt idx="5737">
                  <c:v>6.0372213889377777</c:v>
                </c:pt>
                <c:pt idx="5738">
                  <c:v>6.1761386181907731</c:v>
                </c:pt>
                <c:pt idx="5739">
                  <c:v>4.9836968506245203</c:v>
                </c:pt>
                <c:pt idx="5740">
                  <c:v>5.0139540153456572</c:v>
                </c:pt>
                <c:pt idx="5741">
                  <c:v>6.0469267618629452</c:v>
                </c:pt>
                <c:pt idx="5742">
                  <c:v>6.1948038737385458</c:v>
                </c:pt>
                <c:pt idx="5743">
                  <c:v>5.9996121854021025</c:v>
                </c:pt>
                <c:pt idx="5744">
                  <c:v>4.9001829268665977</c:v>
                </c:pt>
                <c:pt idx="5745">
                  <c:v>6.1161328310041805</c:v>
                </c:pt>
                <c:pt idx="5746">
                  <c:v>7.2085128009206256</c:v>
                </c:pt>
                <c:pt idx="5747">
                  <c:v>5.9806078884292511</c:v>
                </c:pt>
                <c:pt idx="5748">
                  <c:v>4.9280867963619626</c:v>
                </c:pt>
                <c:pt idx="5749">
                  <c:v>6.8547223303907163</c:v>
                </c:pt>
                <c:pt idx="5750">
                  <c:v>6.1108586408762866</c:v>
                </c:pt>
                <c:pt idx="5751">
                  <c:v>6.2210539306062316</c:v>
                </c:pt>
                <c:pt idx="5752">
                  <c:v>5.9863490842810343</c:v>
                </c:pt>
                <c:pt idx="5753">
                  <c:v>7.0936393176611308</c:v>
                </c:pt>
                <c:pt idx="5754">
                  <c:v>5.850501667451292</c:v>
                </c:pt>
                <c:pt idx="5755">
                  <c:v>6.0394620825123413</c:v>
                </c:pt>
                <c:pt idx="5756">
                  <c:v>4.9834965882636855</c:v>
                </c:pt>
                <c:pt idx="5757">
                  <c:v>5.0493900607464255</c:v>
                </c:pt>
                <c:pt idx="5758">
                  <c:v>6.9197409128662937</c:v>
                </c:pt>
                <c:pt idx="5759">
                  <c:v>4.9880889432431692</c:v>
                </c:pt>
                <c:pt idx="5760">
                  <c:v>4.9798849963614877</c:v>
                </c:pt>
                <c:pt idx="5761">
                  <c:v>5.9038338422937153</c:v>
                </c:pt>
                <c:pt idx="5762">
                  <c:v>4.9743799161651134</c:v>
                </c:pt>
                <c:pt idx="5763">
                  <c:v>4.9446874687970821</c:v>
                </c:pt>
                <c:pt idx="5764">
                  <c:v>6.0987798500547283</c:v>
                </c:pt>
                <c:pt idx="5765">
                  <c:v>6.077912872062873</c:v>
                </c:pt>
                <c:pt idx="5766">
                  <c:v>5.6869858282154198</c:v>
                </c:pt>
                <c:pt idx="5767">
                  <c:v>5.8912642378261157</c:v>
                </c:pt>
                <c:pt idx="5768">
                  <c:v>5.9682037285061558</c:v>
                </c:pt>
                <c:pt idx="5769">
                  <c:v>5.8535879075646902</c:v>
                </c:pt>
                <c:pt idx="5770">
                  <c:v>6.0405416879960931</c:v>
                </c:pt>
                <c:pt idx="5771">
                  <c:v>4.9032763482300066</c:v>
                </c:pt>
                <c:pt idx="5772">
                  <c:v>5.9882109630477185</c:v>
                </c:pt>
                <c:pt idx="5773">
                  <c:v>4.9342146772181197</c:v>
                </c:pt>
                <c:pt idx="5774">
                  <c:v>5.0475259700600317</c:v>
                </c:pt>
                <c:pt idx="5775">
                  <c:v>6.1960665835988218</c:v>
                </c:pt>
                <c:pt idx="5776">
                  <c:v>6.0839612961310676</c:v>
                </c:pt>
                <c:pt idx="5777">
                  <c:v>5.9751847740235888</c:v>
                </c:pt>
                <c:pt idx="5778">
                  <c:v>5.9958473570572579</c:v>
                </c:pt>
                <c:pt idx="5779">
                  <c:v>6.0476387922308401</c:v>
                </c:pt>
                <c:pt idx="5780">
                  <c:v>6.1065960093289871</c:v>
                </c:pt>
                <c:pt idx="5781">
                  <c:v>5.1082173683401741</c:v>
                </c:pt>
                <c:pt idx="5782">
                  <c:v>4.9594961623017992</c:v>
                </c:pt>
                <c:pt idx="5783">
                  <c:v>5.8770478478992842</c:v>
                </c:pt>
                <c:pt idx="5784">
                  <c:v>4.9595328860403471</c:v>
                </c:pt>
                <c:pt idx="5785">
                  <c:v>4.8719559816384406</c:v>
                </c:pt>
                <c:pt idx="5786">
                  <c:v>4.1582435324211025</c:v>
                </c:pt>
                <c:pt idx="5787">
                  <c:v>6.9442179069987384</c:v>
                </c:pt>
                <c:pt idx="5788">
                  <c:v>6.8714768441255174</c:v>
                </c:pt>
                <c:pt idx="5789">
                  <c:v>7.0545212589639945</c:v>
                </c:pt>
                <c:pt idx="5790">
                  <c:v>5.9542347291066644</c:v>
                </c:pt>
                <c:pt idx="5791">
                  <c:v>6.0862127675639632</c:v>
                </c:pt>
                <c:pt idx="5792">
                  <c:v>4.9652019054496117</c:v>
                </c:pt>
                <c:pt idx="5793">
                  <c:v>6.0618734917958026</c:v>
                </c:pt>
                <c:pt idx="5794">
                  <c:v>7.1607051178820242</c:v>
                </c:pt>
                <c:pt idx="5795">
                  <c:v>5.9285187257297842</c:v>
                </c:pt>
                <c:pt idx="5796">
                  <c:v>4.9820510835506386</c:v>
                </c:pt>
                <c:pt idx="5797">
                  <c:v>6.0380889233858461</c:v>
                </c:pt>
                <c:pt idx="5798">
                  <c:v>4.8615869887187584</c:v>
                </c:pt>
                <c:pt idx="5799">
                  <c:v>5.8822961233894491</c:v>
                </c:pt>
                <c:pt idx="5800">
                  <c:v>6.9639573941179167</c:v>
                </c:pt>
                <c:pt idx="5801">
                  <c:v>5.0233465828118931</c:v>
                </c:pt>
                <c:pt idx="5802">
                  <c:v>7.0191602871682877</c:v>
                </c:pt>
                <c:pt idx="5803">
                  <c:v>5.0098736702998607</c:v>
                </c:pt>
                <c:pt idx="5804">
                  <c:v>7.0883564847577007</c:v>
                </c:pt>
                <c:pt idx="5805">
                  <c:v>4.967457313444303</c:v>
                </c:pt>
                <c:pt idx="5806">
                  <c:v>4.8393307044827241</c:v>
                </c:pt>
                <c:pt idx="5807">
                  <c:v>5.8722745757800894</c:v>
                </c:pt>
                <c:pt idx="5808">
                  <c:v>5.9400125151387106</c:v>
                </c:pt>
                <c:pt idx="5809">
                  <c:v>4.8824724865913041</c:v>
                </c:pt>
                <c:pt idx="5810">
                  <c:v>5.9165881794963679</c:v>
                </c:pt>
                <c:pt idx="5811">
                  <c:v>6.0490197993063006</c:v>
                </c:pt>
                <c:pt idx="5812">
                  <c:v>4.9270879291538652</c:v>
                </c:pt>
                <c:pt idx="5813">
                  <c:v>5.0532613160518283</c:v>
                </c:pt>
                <c:pt idx="5814">
                  <c:v>6.1394504950059359</c:v>
                </c:pt>
                <c:pt idx="5815">
                  <c:v>5.0555871553989435</c:v>
                </c:pt>
                <c:pt idx="5816">
                  <c:v>5.8703345197724914</c:v>
                </c:pt>
                <c:pt idx="5817">
                  <c:v>5.997719362533565</c:v>
                </c:pt>
                <c:pt idx="5818">
                  <c:v>5.8887405839248528</c:v>
                </c:pt>
                <c:pt idx="5819">
                  <c:v>5.9808764980755678</c:v>
                </c:pt>
                <c:pt idx="5820">
                  <c:v>5.8904736406782003</c:v>
                </c:pt>
                <c:pt idx="5821">
                  <c:v>4.9923694462453936</c:v>
                </c:pt>
                <c:pt idx="5822">
                  <c:v>6.0852397541475041</c:v>
                </c:pt>
                <c:pt idx="5823">
                  <c:v>4.9556798320766156</c:v>
                </c:pt>
                <c:pt idx="5824">
                  <c:v>4.9873127366995522</c:v>
                </c:pt>
                <c:pt idx="5825">
                  <c:v>5.0242890678148351</c:v>
                </c:pt>
                <c:pt idx="5826">
                  <c:v>4.8179491301909811</c:v>
                </c:pt>
                <c:pt idx="5827">
                  <c:v>6.1413024422858555</c:v>
                </c:pt>
                <c:pt idx="5828">
                  <c:v>5.9811798104514686</c:v>
                </c:pt>
                <c:pt idx="5829">
                  <c:v>4.9128250049996076</c:v>
                </c:pt>
                <c:pt idx="5830">
                  <c:v>6.0659683809102711</c:v>
                </c:pt>
                <c:pt idx="5831">
                  <c:v>4.9022589113400903</c:v>
                </c:pt>
                <c:pt idx="5832">
                  <c:v>6.2139270631973131</c:v>
                </c:pt>
                <c:pt idx="5833">
                  <c:v>7.096576340930679</c:v>
                </c:pt>
                <c:pt idx="5834">
                  <c:v>5.9216681657407992</c:v>
                </c:pt>
                <c:pt idx="5835">
                  <c:v>6.0830749023396802</c:v>
                </c:pt>
                <c:pt idx="5836">
                  <c:v>5.88134950596677</c:v>
                </c:pt>
                <c:pt idx="5837">
                  <c:v>5.9545955199348821</c:v>
                </c:pt>
                <c:pt idx="5838">
                  <c:v>6.0413672060798733</c:v>
                </c:pt>
                <c:pt idx="5839">
                  <c:v>5.9016541599601409</c:v>
                </c:pt>
                <c:pt idx="5840">
                  <c:v>6.0176032335290133</c:v>
                </c:pt>
                <c:pt idx="5841">
                  <c:v>5.0906902401058858</c:v>
                </c:pt>
                <c:pt idx="5842">
                  <c:v>4.9326353132978848</c:v>
                </c:pt>
                <c:pt idx="5843">
                  <c:v>5.9644828336949409</c:v>
                </c:pt>
                <c:pt idx="5844">
                  <c:v>6.0578741926520836</c:v>
                </c:pt>
                <c:pt idx="5845">
                  <c:v>5.170961029897156</c:v>
                </c:pt>
                <c:pt idx="5846">
                  <c:v>4.9322380708867088</c:v>
                </c:pt>
                <c:pt idx="5847">
                  <c:v>5.0363927383604228</c:v>
                </c:pt>
                <c:pt idx="5848">
                  <c:v>6.1642176275078571</c:v>
                </c:pt>
                <c:pt idx="5849">
                  <c:v>5.0938389204866548</c:v>
                </c:pt>
                <c:pt idx="5850">
                  <c:v>6.0346959345105011</c:v>
                </c:pt>
                <c:pt idx="5851">
                  <c:v>5.1812971745902239</c:v>
                </c:pt>
                <c:pt idx="5852">
                  <c:v>5.1075065648958873</c:v>
                </c:pt>
                <c:pt idx="5853">
                  <c:v>6.0014172835695723</c:v>
                </c:pt>
                <c:pt idx="5854">
                  <c:v>5.0212670931338854</c:v>
                </c:pt>
                <c:pt idx="5855">
                  <c:v>4.9817625550536464</c:v>
                </c:pt>
                <c:pt idx="5856">
                  <c:v>4.855985063423228</c:v>
                </c:pt>
                <c:pt idx="5857">
                  <c:v>6.0474129496089022</c:v>
                </c:pt>
                <c:pt idx="5858">
                  <c:v>4.9216825011173624</c:v>
                </c:pt>
                <c:pt idx="5859">
                  <c:v>5.1911536342320446</c:v>
                </c:pt>
                <c:pt idx="5860">
                  <c:v>5.1106375109125679</c:v>
                </c:pt>
                <c:pt idx="5861">
                  <c:v>6.1076833270247191</c:v>
                </c:pt>
                <c:pt idx="5862">
                  <c:v>5.012807162358289</c:v>
                </c:pt>
                <c:pt idx="5863">
                  <c:v>5.0936060635098395</c:v>
                </c:pt>
                <c:pt idx="5864">
                  <c:v>6.149357633323981</c:v>
                </c:pt>
                <c:pt idx="5865">
                  <c:v>6.0835505855387879</c:v>
                </c:pt>
                <c:pt idx="5866">
                  <c:v>7.1327655794094529</c:v>
                </c:pt>
                <c:pt idx="5867">
                  <c:v>5.9429588643171547</c:v>
                </c:pt>
                <c:pt idx="5868">
                  <c:v>5.0309859786583901</c:v>
                </c:pt>
                <c:pt idx="5869">
                  <c:v>5.0375287637335049</c:v>
                </c:pt>
                <c:pt idx="5870">
                  <c:v>7.2606052056494645</c:v>
                </c:pt>
                <c:pt idx="5871">
                  <c:v>5.015992636593066</c:v>
                </c:pt>
                <c:pt idx="5872">
                  <c:v>4.8140027795585203</c:v>
                </c:pt>
                <c:pt idx="5873">
                  <c:v>6.0753570862487063</c:v>
                </c:pt>
                <c:pt idx="5874">
                  <c:v>4.9001305925295213</c:v>
                </c:pt>
                <c:pt idx="5875">
                  <c:v>6.0072726620754571</c:v>
                </c:pt>
                <c:pt idx="5876">
                  <c:v>6.0384375338234388</c:v>
                </c:pt>
                <c:pt idx="5877">
                  <c:v>5.0663304296821945</c:v>
                </c:pt>
                <c:pt idx="5878">
                  <c:v>5.8458418977774302</c:v>
                </c:pt>
                <c:pt idx="5879">
                  <c:v>5.9157779799163031</c:v>
                </c:pt>
                <c:pt idx="5880">
                  <c:v>6.0181139326708291</c:v>
                </c:pt>
                <c:pt idx="5881">
                  <c:v>5.1001353682217685</c:v>
                </c:pt>
                <c:pt idx="5882">
                  <c:v>4.9040164714233017</c:v>
                </c:pt>
                <c:pt idx="5883">
                  <c:v>5.0818686079781497</c:v>
                </c:pt>
                <c:pt idx="5884">
                  <c:v>5.9271009971323556</c:v>
                </c:pt>
                <c:pt idx="5885">
                  <c:v>4.9019817225156359</c:v>
                </c:pt>
                <c:pt idx="5886">
                  <c:v>6.9225371586633777</c:v>
                </c:pt>
                <c:pt idx="5887">
                  <c:v>5.077342920076326</c:v>
                </c:pt>
                <c:pt idx="5888">
                  <c:v>5.0466542332285469</c:v>
                </c:pt>
                <c:pt idx="5889">
                  <c:v>4.8871569397669168</c:v>
                </c:pt>
                <c:pt idx="5890">
                  <c:v>5.0906182520413257</c:v>
                </c:pt>
                <c:pt idx="5891">
                  <c:v>4.8953218597107213</c:v>
                </c:pt>
                <c:pt idx="5892">
                  <c:v>5.9418925360905828</c:v>
                </c:pt>
                <c:pt idx="5893">
                  <c:v>5.2369494478617806</c:v>
                </c:pt>
                <c:pt idx="5894">
                  <c:v>5.9793300923950987</c:v>
                </c:pt>
                <c:pt idx="5895">
                  <c:v>4.9948349461480586</c:v>
                </c:pt>
                <c:pt idx="5896">
                  <c:v>4.8828273286495323</c:v>
                </c:pt>
                <c:pt idx="5897">
                  <c:v>5.8240330270710725</c:v>
                </c:pt>
                <c:pt idx="5898">
                  <c:v>5.9711006819119889</c:v>
                </c:pt>
                <c:pt idx="5899">
                  <c:v>5.054619730624224</c:v>
                </c:pt>
                <c:pt idx="5900">
                  <c:v>5.9006270573430015</c:v>
                </c:pt>
                <c:pt idx="5901">
                  <c:v>5.181929713247964</c:v>
                </c:pt>
                <c:pt idx="5902">
                  <c:v>5.1065079639370961</c:v>
                </c:pt>
                <c:pt idx="5903">
                  <c:v>5.1499231154230527</c:v>
                </c:pt>
                <c:pt idx="5904">
                  <c:v>5.0526219492975954</c:v>
                </c:pt>
                <c:pt idx="5905">
                  <c:v>5.9571026580280391</c:v>
                </c:pt>
                <c:pt idx="5906">
                  <c:v>5.9362037076585503</c:v>
                </c:pt>
                <c:pt idx="5907">
                  <c:v>4.9497334022792359</c:v>
                </c:pt>
                <c:pt idx="5908">
                  <c:v>5.9158051717744096</c:v>
                </c:pt>
                <c:pt idx="5909">
                  <c:v>5.0057959941301844</c:v>
                </c:pt>
                <c:pt idx="5910">
                  <c:v>4.9524405514283139</c:v>
                </c:pt>
                <c:pt idx="5911">
                  <c:v>6.1538022984544334</c:v>
                </c:pt>
                <c:pt idx="5912">
                  <c:v>5.0581016540045702</c:v>
                </c:pt>
                <c:pt idx="5913">
                  <c:v>6.1361617731397438</c:v>
                </c:pt>
                <c:pt idx="5914">
                  <c:v>5.1040146944046274</c:v>
                </c:pt>
                <c:pt idx="5915">
                  <c:v>5.0979099881917938</c:v>
                </c:pt>
                <c:pt idx="5916">
                  <c:v>6.060135474264924</c:v>
                </c:pt>
                <c:pt idx="5917">
                  <c:v>5.126888766183253</c:v>
                </c:pt>
                <c:pt idx="5918">
                  <c:v>5.9535150369739309</c:v>
                </c:pt>
                <c:pt idx="5919">
                  <c:v>5.9923820615031342</c:v>
                </c:pt>
                <c:pt idx="5920">
                  <c:v>5.9969666163475024</c:v>
                </c:pt>
                <c:pt idx="5921">
                  <c:v>4.9954800989043067</c:v>
                </c:pt>
                <c:pt idx="5922">
                  <c:v>3.9705893270316492</c:v>
                </c:pt>
                <c:pt idx="5923">
                  <c:v>4.888434982575343</c:v>
                </c:pt>
                <c:pt idx="5924">
                  <c:v>4.9036325825607667</c:v>
                </c:pt>
                <c:pt idx="5925">
                  <c:v>6.0940434043371141</c:v>
                </c:pt>
                <c:pt idx="5926">
                  <c:v>5.0791710701368933</c:v>
                </c:pt>
                <c:pt idx="5927">
                  <c:v>6.0411756255557556</c:v>
                </c:pt>
                <c:pt idx="5928">
                  <c:v>6.1331008348633995</c:v>
                </c:pt>
                <c:pt idx="5929">
                  <c:v>6.2679350444192252</c:v>
                </c:pt>
                <c:pt idx="5930">
                  <c:v>3.0340737877839086</c:v>
                </c:pt>
                <c:pt idx="5931">
                  <c:v>5.1147983775140569</c:v>
                </c:pt>
                <c:pt idx="5932">
                  <c:v>5.84841881414967</c:v>
                </c:pt>
                <c:pt idx="5933">
                  <c:v>5.0363934000429973</c:v>
                </c:pt>
                <c:pt idx="5934">
                  <c:v>5.108217111249755</c:v>
                </c:pt>
                <c:pt idx="5935">
                  <c:v>5.9228823227321135</c:v>
                </c:pt>
                <c:pt idx="5936">
                  <c:v>4.972172692509063</c:v>
                </c:pt>
                <c:pt idx="5937">
                  <c:v>6.0892487797818449</c:v>
                </c:pt>
                <c:pt idx="5938">
                  <c:v>5.981524842671881</c:v>
                </c:pt>
                <c:pt idx="5939">
                  <c:v>5.8432838189187226</c:v>
                </c:pt>
                <c:pt idx="5940">
                  <c:v>5.0826773168127115</c:v>
                </c:pt>
                <c:pt idx="5941">
                  <c:v>5.150999361817826</c:v>
                </c:pt>
                <c:pt idx="5942">
                  <c:v>6.1265502797441886</c:v>
                </c:pt>
                <c:pt idx="5943">
                  <c:v>6.0862470560854813</c:v>
                </c:pt>
                <c:pt idx="5944">
                  <c:v>5.0471215474082962</c:v>
                </c:pt>
                <c:pt idx="5945">
                  <c:v>4.9505806354430657</c:v>
                </c:pt>
                <c:pt idx="5946">
                  <c:v>6.0904555781752192</c:v>
                </c:pt>
                <c:pt idx="5947">
                  <c:v>4.8747461880464948</c:v>
                </c:pt>
                <c:pt idx="5948">
                  <c:v>5.0381885064721672</c:v>
                </c:pt>
                <c:pt idx="5949">
                  <c:v>5.8717134973971108</c:v>
                </c:pt>
                <c:pt idx="5950">
                  <c:v>5.7747505961644219</c:v>
                </c:pt>
                <c:pt idx="5951">
                  <c:v>5.9155902455795495</c:v>
                </c:pt>
                <c:pt idx="5952">
                  <c:v>6.1864587667370987</c:v>
                </c:pt>
                <c:pt idx="5953">
                  <c:v>5.9821623409150702</c:v>
                </c:pt>
                <c:pt idx="5954">
                  <c:v>6.0116129726912666</c:v>
                </c:pt>
                <c:pt idx="5955">
                  <c:v>6.1167423669917333</c:v>
                </c:pt>
                <c:pt idx="5956">
                  <c:v>5.0530650513902264</c:v>
                </c:pt>
                <c:pt idx="5957">
                  <c:v>6.2734318417322212</c:v>
                </c:pt>
                <c:pt idx="5958">
                  <c:v>5.116751873410295</c:v>
                </c:pt>
                <c:pt idx="5959">
                  <c:v>6.018596638540104</c:v>
                </c:pt>
                <c:pt idx="5960">
                  <c:v>5.8727165462584106</c:v>
                </c:pt>
                <c:pt idx="5961">
                  <c:v>5.1080778912240143</c:v>
                </c:pt>
                <c:pt idx="5962">
                  <c:v>4.9609066836537092</c:v>
                </c:pt>
                <c:pt idx="5963">
                  <c:v>5.9723899121335844</c:v>
                </c:pt>
                <c:pt idx="5964">
                  <c:v>4.8705480773059211</c:v>
                </c:pt>
                <c:pt idx="5965">
                  <c:v>5.9504944816563716</c:v>
                </c:pt>
                <c:pt idx="5966">
                  <c:v>4.9630955519889204</c:v>
                </c:pt>
                <c:pt idx="5967">
                  <c:v>5.7885814464726391</c:v>
                </c:pt>
                <c:pt idx="5968">
                  <c:v>4.9938829965407319</c:v>
                </c:pt>
                <c:pt idx="5969">
                  <c:v>6.12167642223163</c:v>
                </c:pt>
                <c:pt idx="5970">
                  <c:v>5.0704329747903225</c:v>
                </c:pt>
                <c:pt idx="5971">
                  <c:v>6.0652333224548096</c:v>
                </c:pt>
                <c:pt idx="5972">
                  <c:v>5.9710838513148161</c:v>
                </c:pt>
                <c:pt idx="5973">
                  <c:v>5.8753901054246285</c:v>
                </c:pt>
                <c:pt idx="5974">
                  <c:v>6.0832465983788877</c:v>
                </c:pt>
                <c:pt idx="5975">
                  <c:v>5.9055794725594746</c:v>
                </c:pt>
                <c:pt idx="5976">
                  <c:v>5.1550927085006615</c:v>
                </c:pt>
                <c:pt idx="5977">
                  <c:v>4.9844826295915663</c:v>
                </c:pt>
                <c:pt idx="5978">
                  <c:v>5.9056673523765495</c:v>
                </c:pt>
                <c:pt idx="5979">
                  <c:v>5.0407237776735867</c:v>
                </c:pt>
                <c:pt idx="5980">
                  <c:v>5.1616177194306889</c:v>
                </c:pt>
                <c:pt idx="5981">
                  <c:v>5.9378410678149649</c:v>
                </c:pt>
                <c:pt idx="5982">
                  <c:v>5.9486948067098053</c:v>
                </c:pt>
                <c:pt idx="5983">
                  <c:v>6.1263997455304704</c:v>
                </c:pt>
                <c:pt idx="5984">
                  <c:v>4.8934009734528381</c:v>
                </c:pt>
                <c:pt idx="5985">
                  <c:v>5.0342534872675966</c:v>
                </c:pt>
                <c:pt idx="5986">
                  <c:v>4.9643626324704986</c:v>
                </c:pt>
                <c:pt idx="5987">
                  <c:v>4.88128027979878</c:v>
                </c:pt>
                <c:pt idx="5988">
                  <c:v>5.883182663738773</c:v>
                </c:pt>
                <c:pt idx="5989">
                  <c:v>6.1140232628248539</c:v>
                </c:pt>
                <c:pt idx="5990">
                  <c:v>6.0153952161881152</c:v>
                </c:pt>
                <c:pt idx="5991">
                  <c:v>4.9110151483676052</c:v>
                </c:pt>
                <c:pt idx="5992">
                  <c:v>6.0988474188281305</c:v>
                </c:pt>
                <c:pt idx="5993">
                  <c:v>5.0025231739855478</c:v>
                </c:pt>
                <c:pt idx="5994">
                  <c:v>6.0463618667994936</c:v>
                </c:pt>
                <c:pt idx="5995">
                  <c:v>6.0999062117870517</c:v>
                </c:pt>
                <c:pt idx="5996">
                  <c:v>5.0976580278379435</c:v>
                </c:pt>
                <c:pt idx="5997">
                  <c:v>5.9023155341411364</c:v>
                </c:pt>
                <c:pt idx="5998">
                  <c:v>5.091452561420386</c:v>
                </c:pt>
                <c:pt idx="5999">
                  <c:v>5.9236775027311008</c:v>
                </c:pt>
                <c:pt idx="6000">
                  <c:v>7.0702086144194762</c:v>
                </c:pt>
                <c:pt idx="6001">
                  <c:v>5.9090689003270018</c:v>
                </c:pt>
                <c:pt idx="6002">
                  <c:v>5.219422346918396</c:v>
                </c:pt>
                <c:pt idx="6003">
                  <c:v>5.9495228737808636</c:v>
                </c:pt>
                <c:pt idx="6004">
                  <c:v>4.9396257770304208</c:v>
                </c:pt>
                <c:pt idx="6005">
                  <c:v>5.1274676757753967</c:v>
                </c:pt>
                <c:pt idx="6006">
                  <c:v>6.045575281692015</c:v>
                </c:pt>
                <c:pt idx="6007">
                  <c:v>6.1794958804313209</c:v>
                </c:pt>
                <c:pt idx="6008">
                  <c:v>4.9288662789971776</c:v>
                </c:pt>
                <c:pt idx="6009">
                  <c:v>6.0266343381132907</c:v>
                </c:pt>
                <c:pt idx="6010">
                  <c:v>5.0491870648885344</c:v>
                </c:pt>
                <c:pt idx="6011">
                  <c:v>5.1017586665710972</c:v>
                </c:pt>
                <c:pt idx="6012">
                  <c:v>5.963258281021913</c:v>
                </c:pt>
                <c:pt idx="6013">
                  <c:v>5.1083231346518865</c:v>
                </c:pt>
                <c:pt idx="6014">
                  <c:v>5.0401540163709546</c:v>
                </c:pt>
                <c:pt idx="6015">
                  <c:v>5.9718062281307116</c:v>
                </c:pt>
                <c:pt idx="6016">
                  <c:v>5.1050276038387041</c:v>
                </c:pt>
                <c:pt idx="6017">
                  <c:v>6.0481677958733098</c:v>
                </c:pt>
                <c:pt idx="6018">
                  <c:v>6.066355837763254</c:v>
                </c:pt>
                <c:pt idx="6019">
                  <c:v>5.971395233934313</c:v>
                </c:pt>
                <c:pt idx="6020">
                  <c:v>5.9812483473483757</c:v>
                </c:pt>
                <c:pt idx="6021">
                  <c:v>4.9257060935047408</c:v>
                </c:pt>
                <c:pt idx="6022">
                  <c:v>5.1281637354048604</c:v>
                </c:pt>
                <c:pt idx="6023">
                  <c:v>6.0954283082594998</c:v>
                </c:pt>
                <c:pt idx="6024">
                  <c:v>6.117697475336219</c:v>
                </c:pt>
                <c:pt idx="6025">
                  <c:v>5.0095141462207833</c:v>
                </c:pt>
                <c:pt idx="6026">
                  <c:v>4.9999593185610482</c:v>
                </c:pt>
                <c:pt idx="6027">
                  <c:v>5.0321992502316846</c:v>
                </c:pt>
                <c:pt idx="6028">
                  <c:v>4.8566287563343788</c:v>
                </c:pt>
                <c:pt idx="6029">
                  <c:v>5.857613292200039</c:v>
                </c:pt>
                <c:pt idx="6030">
                  <c:v>6.010150210068792</c:v>
                </c:pt>
                <c:pt idx="6031">
                  <c:v>4.9244952268236268</c:v>
                </c:pt>
                <c:pt idx="6032">
                  <c:v>5.9422265475526723</c:v>
                </c:pt>
                <c:pt idx="6033">
                  <c:v>5.9679115812436132</c:v>
                </c:pt>
                <c:pt idx="6034">
                  <c:v>3.9383214708636562</c:v>
                </c:pt>
                <c:pt idx="6035">
                  <c:v>4.8034862448130324</c:v>
                </c:pt>
                <c:pt idx="6036">
                  <c:v>5.9207180623988469</c:v>
                </c:pt>
                <c:pt idx="6037">
                  <c:v>5.9184027944880775</c:v>
                </c:pt>
                <c:pt idx="6038">
                  <c:v>5.0598193270132255</c:v>
                </c:pt>
                <c:pt idx="6039">
                  <c:v>5.0821561189922884</c:v>
                </c:pt>
                <c:pt idx="6040">
                  <c:v>4.96861355528792</c:v>
                </c:pt>
                <c:pt idx="6041">
                  <c:v>6.9553751327616355</c:v>
                </c:pt>
                <c:pt idx="6042">
                  <c:v>4.1249300095322488</c:v>
                </c:pt>
                <c:pt idx="6043">
                  <c:v>7.0757704670974153</c:v>
                </c:pt>
                <c:pt idx="6044">
                  <c:v>7.0376212871673136</c:v>
                </c:pt>
                <c:pt idx="6045">
                  <c:v>5.0115134514662083</c:v>
                </c:pt>
                <c:pt idx="6046">
                  <c:v>5.0271905768423393</c:v>
                </c:pt>
                <c:pt idx="6047">
                  <c:v>6.0636173936582018</c:v>
                </c:pt>
                <c:pt idx="6048">
                  <c:v>5.1188971552009637</c:v>
                </c:pt>
                <c:pt idx="6049">
                  <c:v>4.8351631751985078</c:v>
                </c:pt>
                <c:pt idx="6050">
                  <c:v>6.0581884236368326</c:v>
                </c:pt>
                <c:pt idx="6051">
                  <c:v>6.0908735542849062</c:v>
                </c:pt>
                <c:pt idx="6052">
                  <c:v>5.9852327369990634</c:v>
                </c:pt>
                <c:pt idx="6053">
                  <c:v>5.1655788131961149</c:v>
                </c:pt>
                <c:pt idx="6054">
                  <c:v>5.9508370040227616</c:v>
                </c:pt>
                <c:pt idx="6055">
                  <c:v>4.981402448765837</c:v>
                </c:pt>
                <c:pt idx="6056">
                  <c:v>5.9538960368240126</c:v>
                </c:pt>
                <c:pt idx="6057">
                  <c:v>6.2680053523161074</c:v>
                </c:pt>
                <c:pt idx="6058">
                  <c:v>5.9618147488136728</c:v>
                </c:pt>
                <c:pt idx="6059">
                  <c:v>5.9220392266327497</c:v>
                </c:pt>
                <c:pt idx="6060">
                  <c:v>6.1124624854683391</c:v>
                </c:pt>
                <c:pt idx="6061">
                  <c:v>5.7685805453183052</c:v>
                </c:pt>
                <c:pt idx="6062">
                  <c:v>6.0758252167957068</c:v>
                </c:pt>
                <c:pt idx="6063">
                  <c:v>4.922451616744242</c:v>
                </c:pt>
                <c:pt idx="6064">
                  <c:v>6.0687708132296505</c:v>
                </c:pt>
                <c:pt idx="6065">
                  <c:v>5.1040797907875817</c:v>
                </c:pt>
                <c:pt idx="6066">
                  <c:v>5.9550970799621847</c:v>
                </c:pt>
                <c:pt idx="6067">
                  <c:v>6.146711035969779</c:v>
                </c:pt>
                <c:pt idx="6068">
                  <c:v>4.9673102195063938</c:v>
                </c:pt>
                <c:pt idx="6069">
                  <c:v>6.0586416231360571</c:v>
                </c:pt>
                <c:pt idx="6070">
                  <c:v>5.077020143972522</c:v>
                </c:pt>
                <c:pt idx="6071">
                  <c:v>5.0935521576078298</c:v>
                </c:pt>
                <c:pt idx="6072">
                  <c:v>5.8770465736397206</c:v>
                </c:pt>
                <c:pt idx="6073">
                  <c:v>4.9328209936431451</c:v>
                </c:pt>
                <c:pt idx="6074">
                  <c:v>4.9696589153946809</c:v>
                </c:pt>
                <c:pt idx="6075">
                  <c:v>7.0487307603688576</c:v>
                </c:pt>
                <c:pt idx="6076">
                  <c:v>4.7468030726164381</c:v>
                </c:pt>
                <c:pt idx="6077">
                  <c:v>5.9295633914333941</c:v>
                </c:pt>
                <c:pt idx="6078">
                  <c:v>5.9002315483842471</c:v>
                </c:pt>
                <c:pt idx="6079">
                  <c:v>6.0621434615107583</c:v>
                </c:pt>
                <c:pt idx="6080">
                  <c:v>6.1111488227670936</c:v>
                </c:pt>
                <c:pt idx="6081">
                  <c:v>4.9138159348919324</c:v>
                </c:pt>
                <c:pt idx="6082">
                  <c:v>5.9448119546951874</c:v>
                </c:pt>
                <c:pt idx="6083">
                  <c:v>4.9420798900471814</c:v>
                </c:pt>
                <c:pt idx="6084">
                  <c:v>5.053970842353686</c:v>
                </c:pt>
                <c:pt idx="6085">
                  <c:v>6.143424232746777</c:v>
                </c:pt>
                <c:pt idx="6086">
                  <c:v>6.033063624683372</c:v>
                </c:pt>
                <c:pt idx="6087">
                  <c:v>5.0309266357626896</c:v>
                </c:pt>
                <c:pt idx="6088">
                  <c:v>5.1018737222010362</c:v>
                </c:pt>
                <c:pt idx="6089">
                  <c:v>4.9760115600419121</c:v>
                </c:pt>
                <c:pt idx="6090">
                  <c:v>6.0590316173160605</c:v>
                </c:pt>
                <c:pt idx="6091">
                  <c:v>6.0939062796360215</c:v>
                </c:pt>
                <c:pt idx="6092">
                  <c:v>6.1015699743182807</c:v>
                </c:pt>
                <c:pt idx="6093">
                  <c:v>6.0627833770671673</c:v>
                </c:pt>
                <c:pt idx="6094">
                  <c:v>5.0500406649985337</c:v>
                </c:pt>
                <c:pt idx="6095">
                  <c:v>6.027946823737838</c:v>
                </c:pt>
                <c:pt idx="6096">
                  <c:v>4.7975317204533336</c:v>
                </c:pt>
                <c:pt idx="6097">
                  <c:v>5.0440446393471907</c:v>
                </c:pt>
                <c:pt idx="6098">
                  <c:v>5.8849520845780807</c:v>
                </c:pt>
                <c:pt idx="6099">
                  <c:v>6.1158029259058511</c:v>
                </c:pt>
                <c:pt idx="6100">
                  <c:v>5.9094299502614911</c:v>
                </c:pt>
                <c:pt idx="6101">
                  <c:v>4.8677487962849133</c:v>
                </c:pt>
                <c:pt idx="6102">
                  <c:v>4.9023967738560996</c:v>
                </c:pt>
                <c:pt idx="6103">
                  <c:v>5.0571592799239697</c:v>
                </c:pt>
                <c:pt idx="6104">
                  <c:v>4.8937814616281763</c:v>
                </c:pt>
                <c:pt idx="6105">
                  <c:v>6.0150231981307831</c:v>
                </c:pt>
                <c:pt idx="6106">
                  <c:v>4.958756003494261</c:v>
                </c:pt>
                <c:pt idx="6107">
                  <c:v>5.2225878254533882</c:v>
                </c:pt>
                <c:pt idx="6108">
                  <c:v>5.9213468340242388</c:v>
                </c:pt>
                <c:pt idx="6109">
                  <c:v>5.019513383033936</c:v>
                </c:pt>
                <c:pt idx="6110">
                  <c:v>5.1268229150228821</c:v>
                </c:pt>
                <c:pt idx="6111">
                  <c:v>5.1902272164136471</c:v>
                </c:pt>
                <c:pt idx="6112">
                  <c:v>5.9678419773520242</c:v>
                </c:pt>
                <c:pt idx="6113">
                  <c:v>4.9256789095060132</c:v>
                </c:pt>
                <c:pt idx="6114">
                  <c:v>5.9388586291694443</c:v>
                </c:pt>
                <c:pt idx="6115">
                  <c:v>7.063469774529513</c:v>
                </c:pt>
                <c:pt idx="6116">
                  <c:v>4.1330655998994814</c:v>
                </c:pt>
                <c:pt idx="6117">
                  <c:v>7.0570242458860211</c:v>
                </c:pt>
                <c:pt idx="6118">
                  <c:v>5.0519260853673744</c:v>
                </c:pt>
                <c:pt idx="6119">
                  <c:v>5.0976715984517602</c:v>
                </c:pt>
                <c:pt idx="6120">
                  <c:v>3.8801931557204341</c:v>
                </c:pt>
                <c:pt idx="6121">
                  <c:v>6.0998515661512753</c:v>
                </c:pt>
                <c:pt idx="6122">
                  <c:v>5.9517136443524663</c:v>
                </c:pt>
                <c:pt idx="6123">
                  <c:v>6.0498629130028876</c:v>
                </c:pt>
                <c:pt idx="6124">
                  <c:v>6.0251462019258044</c:v>
                </c:pt>
                <c:pt idx="6125">
                  <c:v>4.8477601103379815</c:v>
                </c:pt>
                <c:pt idx="6126">
                  <c:v>5.8668448712404553</c:v>
                </c:pt>
                <c:pt idx="6127">
                  <c:v>6.9330624459163177</c:v>
                </c:pt>
                <c:pt idx="6128">
                  <c:v>6.1955260239602916</c:v>
                </c:pt>
                <c:pt idx="6129">
                  <c:v>4.8017220494071697</c:v>
                </c:pt>
                <c:pt idx="6130">
                  <c:v>5.1283207453322817</c:v>
                </c:pt>
                <c:pt idx="6131">
                  <c:v>5.0328578843084504</c:v>
                </c:pt>
                <c:pt idx="6132">
                  <c:v>5.0509626149509383</c:v>
                </c:pt>
                <c:pt idx="6133">
                  <c:v>6.129889311717152</c:v>
                </c:pt>
                <c:pt idx="6134">
                  <c:v>5.115828614923009</c:v>
                </c:pt>
                <c:pt idx="6135">
                  <c:v>5.637432873390833</c:v>
                </c:pt>
                <c:pt idx="6136">
                  <c:v>4.9222861580085491</c:v>
                </c:pt>
                <c:pt idx="6137">
                  <c:v>5.9845863438070772</c:v>
                </c:pt>
                <c:pt idx="6138">
                  <c:v>5.0271198621907214</c:v>
                </c:pt>
                <c:pt idx="6139">
                  <c:v>4.9997248662482789</c:v>
                </c:pt>
                <c:pt idx="6140">
                  <c:v>5.1726490988273435</c:v>
                </c:pt>
                <c:pt idx="6141">
                  <c:v>4.9747943394275875</c:v>
                </c:pt>
                <c:pt idx="6142">
                  <c:v>4.8284373546013795</c:v>
                </c:pt>
                <c:pt idx="6143">
                  <c:v>5.0632626440735775</c:v>
                </c:pt>
                <c:pt idx="6144">
                  <c:v>5.8670608009145919</c:v>
                </c:pt>
                <c:pt idx="6145">
                  <c:v>5.1164520957690938</c:v>
                </c:pt>
                <c:pt idx="6146">
                  <c:v>5.9106434707223672</c:v>
                </c:pt>
                <c:pt idx="6147">
                  <c:v>5.0101301906734061</c:v>
                </c:pt>
                <c:pt idx="6148">
                  <c:v>5.9178082905911404</c:v>
                </c:pt>
                <c:pt idx="6149">
                  <c:v>5.9058236732681024</c:v>
                </c:pt>
                <c:pt idx="6150">
                  <c:v>6.9806321190926521</c:v>
                </c:pt>
                <c:pt idx="6151">
                  <c:v>5.891207553417102</c:v>
                </c:pt>
                <c:pt idx="6152">
                  <c:v>4.9002998532633173</c:v>
                </c:pt>
                <c:pt idx="6153">
                  <c:v>6.1126936979425563</c:v>
                </c:pt>
                <c:pt idx="6154">
                  <c:v>4.7952804640587532</c:v>
                </c:pt>
                <c:pt idx="6155">
                  <c:v>5.0421114953191841</c:v>
                </c:pt>
                <c:pt idx="6156">
                  <c:v>4.9495358645740302</c:v>
                </c:pt>
                <c:pt idx="6157">
                  <c:v>6.1440586699671789</c:v>
                </c:pt>
                <c:pt idx="6158">
                  <c:v>4.9676560771964065</c:v>
                </c:pt>
                <c:pt idx="6159">
                  <c:v>6.1159412329321716</c:v>
                </c:pt>
                <c:pt idx="6160">
                  <c:v>6.1012931909430428</c:v>
                </c:pt>
                <c:pt idx="6161">
                  <c:v>6.0030860517061662</c:v>
                </c:pt>
                <c:pt idx="6162">
                  <c:v>3.8684681056490473</c:v>
                </c:pt>
                <c:pt idx="6163">
                  <c:v>4.2073736056571498</c:v>
                </c:pt>
                <c:pt idx="6164">
                  <c:v>4.026706650340107</c:v>
                </c:pt>
                <c:pt idx="6165">
                  <c:v>3.9989636245729021</c:v>
                </c:pt>
                <c:pt idx="6166">
                  <c:v>4.2226648534822919</c:v>
                </c:pt>
                <c:pt idx="6167">
                  <c:v>3.9609821432971355</c:v>
                </c:pt>
                <c:pt idx="6168">
                  <c:v>4.0653711930672563</c:v>
                </c:pt>
                <c:pt idx="6169">
                  <c:v>4.0206366658446715</c:v>
                </c:pt>
                <c:pt idx="6170">
                  <c:v>4.0337487074522391</c:v>
                </c:pt>
                <c:pt idx="6171">
                  <c:v>5.9195759637923482</c:v>
                </c:pt>
                <c:pt idx="6172">
                  <c:v>4.9842248725485039</c:v>
                </c:pt>
                <c:pt idx="6173">
                  <c:v>4.9072332771557097</c:v>
                </c:pt>
                <c:pt idx="6174">
                  <c:v>6.1334527708271445</c:v>
                </c:pt>
                <c:pt idx="6175">
                  <c:v>4.9088073559503398</c:v>
                </c:pt>
                <c:pt idx="6176">
                  <c:v>5.9991818040221556</c:v>
                </c:pt>
                <c:pt idx="6177">
                  <c:v>6.012449658511791</c:v>
                </c:pt>
                <c:pt idx="6178">
                  <c:v>4.9054879187363589</c:v>
                </c:pt>
                <c:pt idx="6179">
                  <c:v>6.0233488046755017</c:v>
                </c:pt>
                <c:pt idx="6180">
                  <c:v>5.1015781567893139</c:v>
                </c:pt>
                <c:pt idx="6181">
                  <c:v>5.024396127190931</c:v>
                </c:pt>
                <c:pt idx="6182">
                  <c:v>4.9897254367728179</c:v>
                </c:pt>
                <c:pt idx="6183">
                  <c:v>4.0373280336677846</c:v>
                </c:pt>
                <c:pt idx="6184">
                  <c:v>7.2118648804306122</c:v>
                </c:pt>
                <c:pt idx="6185">
                  <c:v>5.1262274491286437</c:v>
                </c:pt>
                <c:pt idx="6186">
                  <c:v>3.7630555150273999</c:v>
                </c:pt>
                <c:pt idx="6187">
                  <c:v>5.0639770095021088</c:v>
                </c:pt>
                <c:pt idx="6188">
                  <c:v>5.0721177668812043</c:v>
                </c:pt>
                <c:pt idx="6189">
                  <c:v>6.9714242936424275</c:v>
                </c:pt>
                <c:pt idx="6190">
                  <c:v>4.9417988565292843</c:v>
                </c:pt>
                <c:pt idx="6191">
                  <c:v>5.0233958269208561</c:v>
                </c:pt>
                <c:pt idx="6192">
                  <c:v>4.9735033556275043</c:v>
                </c:pt>
                <c:pt idx="6193">
                  <c:v>4.815114257663117</c:v>
                </c:pt>
                <c:pt idx="6194">
                  <c:v>6.2000642552965415</c:v>
                </c:pt>
                <c:pt idx="6195">
                  <c:v>5.9251334147330015</c:v>
                </c:pt>
                <c:pt idx="6196">
                  <c:v>5.0145591127983478</c:v>
                </c:pt>
                <c:pt idx="6197">
                  <c:v>4.9249686244417452</c:v>
                </c:pt>
                <c:pt idx="6198">
                  <c:v>5.9895786518323364</c:v>
                </c:pt>
                <c:pt idx="6199">
                  <c:v>4.1532441317745095</c:v>
                </c:pt>
                <c:pt idx="6200">
                  <c:v>3.8530346076440432</c:v>
                </c:pt>
                <c:pt idx="6201">
                  <c:v>3.9677200535033874</c:v>
                </c:pt>
                <c:pt idx="6202">
                  <c:v>4.1956043817936406</c:v>
                </c:pt>
                <c:pt idx="6203">
                  <c:v>4.0816965191788688</c:v>
                </c:pt>
                <c:pt idx="6204">
                  <c:v>3.9751327219900201</c:v>
                </c:pt>
                <c:pt idx="6205">
                  <c:v>4.0420592606378758</c:v>
                </c:pt>
                <c:pt idx="6206">
                  <c:v>5.8351784829907229</c:v>
                </c:pt>
                <c:pt idx="6207">
                  <c:v>5.9442536724144315</c:v>
                </c:pt>
                <c:pt idx="6208">
                  <c:v>5.9337154887282306</c:v>
                </c:pt>
                <c:pt idx="6209">
                  <c:v>6.0943324425833003</c:v>
                </c:pt>
                <c:pt idx="6210">
                  <c:v>5.9345899848778751</c:v>
                </c:pt>
                <c:pt idx="6211">
                  <c:v>6.0244108457448382</c:v>
                </c:pt>
                <c:pt idx="6212">
                  <c:v>5.1258775370467635</c:v>
                </c:pt>
                <c:pt idx="6213">
                  <c:v>5.8433057570516986</c:v>
                </c:pt>
                <c:pt idx="6214">
                  <c:v>6.0901633133173672</c:v>
                </c:pt>
                <c:pt idx="6215">
                  <c:v>6.0539569159292217</c:v>
                </c:pt>
                <c:pt idx="6216">
                  <c:v>5.9888748063304504</c:v>
                </c:pt>
                <c:pt idx="6217">
                  <c:v>6.025882876837132</c:v>
                </c:pt>
                <c:pt idx="6218">
                  <c:v>5.9494208452629085</c:v>
                </c:pt>
                <c:pt idx="6219">
                  <c:v>4.0825141458911309</c:v>
                </c:pt>
                <c:pt idx="6220">
                  <c:v>5.9902725392759493</c:v>
                </c:pt>
                <c:pt idx="6221">
                  <c:v>5.9067642436875252</c:v>
                </c:pt>
                <c:pt idx="6222">
                  <c:v>4.9509101892153469</c:v>
                </c:pt>
                <c:pt idx="6223">
                  <c:v>4.9539368347233141</c:v>
                </c:pt>
                <c:pt idx="6224">
                  <c:v>4.0758542121907135</c:v>
                </c:pt>
                <c:pt idx="6225">
                  <c:v>5.9889076556776555</c:v>
                </c:pt>
                <c:pt idx="6226">
                  <c:v>4.9586505913114927</c:v>
                </c:pt>
                <c:pt idx="6227">
                  <c:v>6.016570111875378</c:v>
                </c:pt>
                <c:pt idx="6228">
                  <c:v>5.0567317311069573</c:v>
                </c:pt>
                <c:pt idx="6229">
                  <c:v>4.9903860912148268</c:v>
                </c:pt>
                <c:pt idx="6230">
                  <c:v>4.9294910793510587</c:v>
                </c:pt>
                <c:pt idx="6231">
                  <c:v>5.1068116195582913</c:v>
                </c:pt>
                <c:pt idx="6232">
                  <c:v>5.0214717180432631</c:v>
                </c:pt>
                <c:pt idx="6233">
                  <c:v>5.8663181298587963</c:v>
                </c:pt>
                <c:pt idx="6234">
                  <c:v>5.1004966606993234</c:v>
                </c:pt>
                <c:pt idx="6235">
                  <c:v>6.0115571848997664</c:v>
                </c:pt>
                <c:pt idx="6236">
                  <c:v>4.9536221177897035</c:v>
                </c:pt>
                <c:pt idx="6237">
                  <c:v>3.9821179527077342</c:v>
                </c:pt>
                <c:pt idx="6238">
                  <c:v>6.1225676967549703</c:v>
                </c:pt>
                <c:pt idx="6239">
                  <c:v>5.023716232334853</c:v>
                </c:pt>
                <c:pt idx="6240">
                  <c:v>4.9704841984303023</c:v>
                </c:pt>
                <c:pt idx="6241">
                  <c:v>6.0646643980102422</c:v>
                </c:pt>
                <c:pt idx="6242">
                  <c:v>5.0193555838656687</c:v>
                </c:pt>
                <c:pt idx="6243">
                  <c:v>4.9631017763417109</c:v>
                </c:pt>
                <c:pt idx="6244">
                  <c:v>4.9768688624224309</c:v>
                </c:pt>
                <c:pt idx="6245">
                  <c:v>4.8724347940980257</c:v>
                </c:pt>
                <c:pt idx="6246">
                  <c:v>5.8146674762285242</c:v>
                </c:pt>
                <c:pt idx="6247">
                  <c:v>6.1861407186380148</c:v>
                </c:pt>
                <c:pt idx="6248">
                  <c:v>4.7589744117221802</c:v>
                </c:pt>
                <c:pt idx="6249">
                  <c:v>4.988116723388198</c:v>
                </c:pt>
                <c:pt idx="6250">
                  <c:v>6.0434215889929259</c:v>
                </c:pt>
                <c:pt idx="6251">
                  <c:v>6.0429095453125967</c:v>
                </c:pt>
                <c:pt idx="6252">
                  <c:v>6.1521561978657546</c:v>
                </c:pt>
                <c:pt idx="6253">
                  <c:v>6.1538636084769571</c:v>
                </c:pt>
                <c:pt idx="6254">
                  <c:v>5.1552035330164365</c:v>
                </c:pt>
                <c:pt idx="6255">
                  <c:v>6.0171408116906493</c:v>
                </c:pt>
                <c:pt idx="6256">
                  <c:v>4.942561604545558</c:v>
                </c:pt>
                <c:pt idx="6257">
                  <c:v>5.9730620032351789</c:v>
                </c:pt>
                <c:pt idx="6258">
                  <c:v>5.8885261540559233</c:v>
                </c:pt>
                <c:pt idx="6259">
                  <c:v>5.9357504204321172</c:v>
                </c:pt>
                <c:pt idx="6260">
                  <c:v>4.804909926247853</c:v>
                </c:pt>
                <c:pt idx="6261">
                  <c:v>6.0094682184802526</c:v>
                </c:pt>
                <c:pt idx="6262">
                  <c:v>4.1083747777319255</c:v>
                </c:pt>
                <c:pt idx="6263">
                  <c:v>5.9336776837688294</c:v>
                </c:pt>
                <c:pt idx="6264">
                  <c:v>5.1637640024605442</c:v>
                </c:pt>
                <c:pt idx="6265">
                  <c:v>4.8161927955338832</c:v>
                </c:pt>
                <c:pt idx="6266">
                  <c:v>5.8455126638836763</c:v>
                </c:pt>
                <c:pt idx="6267">
                  <c:v>5.9538416618554324</c:v>
                </c:pt>
                <c:pt idx="6268">
                  <c:v>5.8649039614616587</c:v>
                </c:pt>
                <c:pt idx="6269">
                  <c:v>5.0120025972537521</c:v>
                </c:pt>
                <c:pt idx="6270">
                  <c:v>5.0867706036999945</c:v>
                </c:pt>
                <c:pt idx="6271">
                  <c:v>5.9384247682287477</c:v>
                </c:pt>
                <c:pt idx="6272">
                  <c:v>4.8266638471172385</c:v>
                </c:pt>
                <c:pt idx="6273">
                  <c:v>5.0595826311868688</c:v>
                </c:pt>
                <c:pt idx="6274">
                  <c:v>5.1280749700481225</c:v>
                </c:pt>
                <c:pt idx="6275">
                  <c:v>4.9662181795458062</c:v>
                </c:pt>
                <c:pt idx="6276">
                  <c:v>4.9002261012617501</c:v>
                </c:pt>
                <c:pt idx="6277">
                  <c:v>6.072456466011027</c:v>
                </c:pt>
                <c:pt idx="6278">
                  <c:v>5.9635710179896293</c:v>
                </c:pt>
                <c:pt idx="6279">
                  <c:v>6.0076814703479657</c:v>
                </c:pt>
                <c:pt idx="6280">
                  <c:v>5.8720119408371927</c:v>
                </c:pt>
                <c:pt idx="6281">
                  <c:v>5.9890697192480271</c:v>
                </c:pt>
                <c:pt idx="6282">
                  <c:v>5.8436496618763218</c:v>
                </c:pt>
                <c:pt idx="6283">
                  <c:v>5.9397960750669361</c:v>
                </c:pt>
                <c:pt idx="6284">
                  <c:v>6.0063838255138862</c:v>
                </c:pt>
                <c:pt idx="6285">
                  <c:v>6.0286610544700352</c:v>
                </c:pt>
                <c:pt idx="6286">
                  <c:v>6.0791215300974706</c:v>
                </c:pt>
                <c:pt idx="6287">
                  <c:v>5.8032901667697363</c:v>
                </c:pt>
                <c:pt idx="6288">
                  <c:v>5.9024758757551981</c:v>
                </c:pt>
                <c:pt idx="6289">
                  <c:v>6.0374555936240055</c:v>
                </c:pt>
                <c:pt idx="6290">
                  <c:v>6.0162278703420933</c:v>
                </c:pt>
                <c:pt idx="6291">
                  <c:v>5.9057246794966565</c:v>
                </c:pt>
                <c:pt idx="6292">
                  <c:v>6.8537226166537364</c:v>
                </c:pt>
                <c:pt idx="6293">
                  <c:v>5.9726659860971063</c:v>
                </c:pt>
                <c:pt idx="6294">
                  <c:v>5.9500511069713529</c:v>
                </c:pt>
                <c:pt idx="6295">
                  <c:v>4.0707245657932516</c:v>
                </c:pt>
                <c:pt idx="6296">
                  <c:v>4.018900031692116</c:v>
                </c:pt>
                <c:pt idx="6297">
                  <c:v>6.0820211291771393</c:v>
                </c:pt>
                <c:pt idx="6298">
                  <c:v>2.915693626310325</c:v>
                </c:pt>
                <c:pt idx="6299">
                  <c:v>6.0811680854894279</c:v>
                </c:pt>
                <c:pt idx="6300">
                  <c:v>5.9973394341795352</c:v>
                </c:pt>
                <c:pt idx="6301">
                  <c:v>4.9507154780239206</c:v>
                </c:pt>
                <c:pt idx="6302">
                  <c:v>5.9555607135623356</c:v>
                </c:pt>
                <c:pt idx="6303">
                  <c:v>6.0232418751220269</c:v>
                </c:pt>
                <c:pt idx="6304">
                  <c:v>4.9902701726696019</c:v>
                </c:pt>
                <c:pt idx="6305">
                  <c:v>2.7875662036916244</c:v>
                </c:pt>
                <c:pt idx="6306">
                  <c:v>6.0094458783516211</c:v>
                </c:pt>
                <c:pt idx="6307">
                  <c:v>6.232765298937756</c:v>
                </c:pt>
                <c:pt idx="6308">
                  <c:v>5.8652166244760586</c:v>
                </c:pt>
                <c:pt idx="6309">
                  <c:v>5.0537414483582284</c:v>
                </c:pt>
                <c:pt idx="6310">
                  <c:v>3.9907606551608468</c:v>
                </c:pt>
                <c:pt idx="6311">
                  <c:v>3.9445165453331472</c:v>
                </c:pt>
                <c:pt idx="6312">
                  <c:v>4.7595373010130722</c:v>
                </c:pt>
                <c:pt idx="6313">
                  <c:v>5.0942095757205124</c:v>
                </c:pt>
                <c:pt idx="6314">
                  <c:v>6.044465828148291</c:v>
                </c:pt>
                <c:pt idx="6315">
                  <c:v>6.06557789072499</c:v>
                </c:pt>
                <c:pt idx="6316">
                  <c:v>5.0857624471502803</c:v>
                </c:pt>
                <c:pt idx="6317">
                  <c:v>5.8604307574205139</c:v>
                </c:pt>
                <c:pt idx="6318">
                  <c:v>4.9741823875498019</c:v>
                </c:pt>
                <c:pt idx="6319">
                  <c:v>5.9615828976721126</c:v>
                </c:pt>
                <c:pt idx="6320">
                  <c:v>6.2220482108339219</c:v>
                </c:pt>
                <c:pt idx="6321">
                  <c:v>4.9530644929405803</c:v>
                </c:pt>
                <c:pt idx="6322">
                  <c:v>6.0582144657558503</c:v>
                </c:pt>
                <c:pt idx="6323">
                  <c:v>5.9354038764369168</c:v>
                </c:pt>
                <c:pt idx="6324">
                  <c:v>5.9702236159750646</c:v>
                </c:pt>
                <c:pt idx="6325">
                  <c:v>5.1012031828995141</c:v>
                </c:pt>
                <c:pt idx="6326">
                  <c:v>6.0846877590157264</c:v>
                </c:pt>
                <c:pt idx="6327">
                  <c:v>6.1682022743617662</c:v>
                </c:pt>
                <c:pt idx="6328">
                  <c:v>7.0468937331368542</c:v>
                </c:pt>
                <c:pt idx="6329">
                  <c:v>7.0054500586577122</c:v>
                </c:pt>
                <c:pt idx="6330">
                  <c:v>6.0066833339357855</c:v>
                </c:pt>
                <c:pt idx="6331">
                  <c:v>5.9958465455666268</c:v>
                </c:pt>
                <c:pt idx="6332">
                  <c:v>5.7868946821432763</c:v>
                </c:pt>
                <c:pt idx="6333">
                  <c:v>5.8451833239321047</c:v>
                </c:pt>
                <c:pt idx="6334">
                  <c:v>6.0850836021391048</c:v>
                </c:pt>
                <c:pt idx="6335">
                  <c:v>5.0769091371051545</c:v>
                </c:pt>
                <c:pt idx="6336">
                  <c:v>6.0087835187363092</c:v>
                </c:pt>
                <c:pt idx="6337">
                  <c:v>6.1100574963464025</c:v>
                </c:pt>
                <c:pt idx="6338">
                  <c:v>6.0769712699578537</c:v>
                </c:pt>
                <c:pt idx="6339">
                  <c:v>5.8716145283201104</c:v>
                </c:pt>
                <c:pt idx="6340">
                  <c:v>4.0050373541383237</c:v>
                </c:pt>
                <c:pt idx="6341">
                  <c:v>4.2008691106502072</c:v>
                </c:pt>
                <c:pt idx="6342">
                  <c:v>4.1618209934058124</c:v>
                </c:pt>
                <c:pt idx="6343">
                  <c:v>5.9817327476748492</c:v>
                </c:pt>
                <c:pt idx="6344">
                  <c:v>4.0188699745915466</c:v>
                </c:pt>
                <c:pt idx="6345">
                  <c:v>4.9117500175183251</c:v>
                </c:pt>
                <c:pt idx="6346">
                  <c:v>5.9851527815536443</c:v>
                </c:pt>
                <c:pt idx="6347">
                  <c:v>5.8444132140364902</c:v>
                </c:pt>
                <c:pt idx="6348">
                  <c:v>4.9701824444892715</c:v>
                </c:pt>
                <c:pt idx="6349">
                  <c:v>6.2092060043164707</c:v>
                </c:pt>
                <c:pt idx="6350">
                  <c:v>5.8808823122231777</c:v>
                </c:pt>
                <c:pt idx="6351">
                  <c:v>4.9583635434027737</c:v>
                </c:pt>
                <c:pt idx="6352">
                  <c:v>4.9868634656943778</c:v>
                </c:pt>
                <c:pt idx="6353">
                  <c:v>5.9422976301454487</c:v>
                </c:pt>
                <c:pt idx="6354">
                  <c:v>4.9980530798328555</c:v>
                </c:pt>
                <c:pt idx="6355">
                  <c:v>6.0839720353025903</c:v>
                </c:pt>
                <c:pt idx="6356">
                  <c:v>4.8791270914138503</c:v>
                </c:pt>
                <c:pt idx="6357">
                  <c:v>6.0080064458950435</c:v>
                </c:pt>
                <c:pt idx="6358">
                  <c:v>5.9640710755186106</c:v>
                </c:pt>
                <c:pt idx="6359">
                  <c:v>4.9243736147793351</c:v>
                </c:pt>
                <c:pt idx="6360">
                  <c:v>6.0777840121321933</c:v>
                </c:pt>
                <c:pt idx="6361">
                  <c:v>4.886345855807865</c:v>
                </c:pt>
                <c:pt idx="6362">
                  <c:v>5.1168096522460456</c:v>
                </c:pt>
                <c:pt idx="6363">
                  <c:v>5.0838962622546946</c:v>
                </c:pt>
                <c:pt idx="6364">
                  <c:v>4.9376553820125872</c:v>
                </c:pt>
                <c:pt idx="6365">
                  <c:v>4.9798137335741011</c:v>
                </c:pt>
                <c:pt idx="6366">
                  <c:v>4.9305624292534347</c:v>
                </c:pt>
                <c:pt idx="6367">
                  <c:v>5.9780163149726837</c:v>
                </c:pt>
                <c:pt idx="6368">
                  <c:v>5.7525670887336791</c:v>
                </c:pt>
                <c:pt idx="6369">
                  <c:v>4.053844564658732</c:v>
                </c:pt>
                <c:pt idx="6370">
                  <c:v>5.9913785549634158</c:v>
                </c:pt>
                <c:pt idx="6371">
                  <c:v>4.8223944398997025</c:v>
                </c:pt>
                <c:pt idx="6372">
                  <c:v>5.9684014316287888</c:v>
                </c:pt>
                <c:pt idx="6373">
                  <c:v>5.9117975034769144</c:v>
                </c:pt>
                <c:pt idx="6374">
                  <c:v>5.018732581930883</c:v>
                </c:pt>
                <c:pt idx="6375">
                  <c:v>6.1183793126396067</c:v>
                </c:pt>
                <c:pt idx="6376">
                  <c:v>6.9839873562745023</c:v>
                </c:pt>
                <c:pt idx="6377">
                  <c:v>6.0050868714428249</c:v>
                </c:pt>
                <c:pt idx="6378">
                  <c:v>5.1111507800720943</c:v>
                </c:pt>
                <c:pt idx="6379">
                  <c:v>6.166806345095714</c:v>
                </c:pt>
                <c:pt idx="6380">
                  <c:v>5.9051291557606405</c:v>
                </c:pt>
                <c:pt idx="6381">
                  <c:v>4.9098430649534777</c:v>
                </c:pt>
                <c:pt idx="6382">
                  <c:v>5.0203316918471153</c:v>
                </c:pt>
                <c:pt idx="6383">
                  <c:v>6.0815224554338769</c:v>
                </c:pt>
                <c:pt idx="6384">
                  <c:v>5.1170259256104131</c:v>
                </c:pt>
                <c:pt idx="6385">
                  <c:v>4.9618237678444892</c:v>
                </c:pt>
                <c:pt idx="6386">
                  <c:v>6.0747333178732656</c:v>
                </c:pt>
                <c:pt idx="6387">
                  <c:v>5.0396376555741034</c:v>
                </c:pt>
                <c:pt idx="6388">
                  <c:v>6.0376121224614376</c:v>
                </c:pt>
                <c:pt idx="6389">
                  <c:v>4.8958197090036331</c:v>
                </c:pt>
                <c:pt idx="6390">
                  <c:v>6.0010663375524533</c:v>
                </c:pt>
                <c:pt idx="6391">
                  <c:v>4.744648548829522</c:v>
                </c:pt>
                <c:pt idx="6392">
                  <c:v>4.9441478263800098</c:v>
                </c:pt>
                <c:pt idx="6393">
                  <c:v>6.0112337836545819</c:v>
                </c:pt>
                <c:pt idx="6394">
                  <c:v>4.860108834106331</c:v>
                </c:pt>
                <c:pt idx="6395">
                  <c:v>5.1852357715037733</c:v>
                </c:pt>
                <c:pt idx="6396">
                  <c:v>4.9813457088954864</c:v>
                </c:pt>
                <c:pt idx="6397">
                  <c:v>5.91896169903145</c:v>
                </c:pt>
                <c:pt idx="6398">
                  <c:v>5.0198224754858751</c:v>
                </c:pt>
                <c:pt idx="6399">
                  <c:v>5.0310069146053467</c:v>
                </c:pt>
                <c:pt idx="6400">
                  <c:v>5.9837422345888722</c:v>
                </c:pt>
                <c:pt idx="6401">
                  <c:v>5.9780304104196977</c:v>
                </c:pt>
                <c:pt idx="6402">
                  <c:v>6.0536111494359295</c:v>
                </c:pt>
                <c:pt idx="6403">
                  <c:v>5.0453378897128731</c:v>
                </c:pt>
                <c:pt idx="6404">
                  <c:v>4.9431444974109588</c:v>
                </c:pt>
                <c:pt idx="6405">
                  <c:v>4.9794205624868537</c:v>
                </c:pt>
                <c:pt idx="6406">
                  <c:v>6.1447658272447772</c:v>
                </c:pt>
                <c:pt idx="6407">
                  <c:v>5.8974603796936087</c:v>
                </c:pt>
                <c:pt idx="6408">
                  <c:v>5.8073023923528879</c:v>
                </c:pt>
                <c:pt idx="6409">
                  <c:v>5.9975904974883951</c:v>
                </c:pt>
                <c:pt idx="6410">
                  <c:v>6.0355829228541245</c:v>
                </c:pt>
                <c:pt idx="6411">
                  <c:v>6.1112563649264029</c:v>
                </c:pt>
                <c:pt idx="6412">
                  <c:v>5.0369467480516761</c:v>
                </c:pt>
                <c:pt idx="6413">
                  <c:v>5.0407612068964163</c:v>
                </c:pt>
                <c:pt idx="6414">
                  <c:v>4.9390966017618592</c:v>
                </c:pt>
                <c:pt idx="6415">
                  <c:v>6.099227759585875</c:v>
                </c:pt>
                <c:pt idx="6416">
                  <c:v>5.040872298021136</c:v>
                </c:pt>
                <c:pt idx="6417">
                  <c:v>4.941601264378467</c:v>
                </c:pt>
                <c:pt idx="6418">
                  <c:v>5.1447560191530579</c:v>
                </c:pt>
                <c:pt idx="6419">
                  <c:v>4.8883451599533725</c:v>
                </c:pt>
                <c:pt idx="6420">
                  <c:v>6.2719283664692451</c:v>
                </c:pt>
                <c:pt idx="6421">
                  <c:v>4.8766210711971807</c:v>
                </c:pt>
                <c:pt idx="6422">
                  <c:v>6.1236870993154255</c:v>
                </c:pt>
                <c:pt idx="6423">
                  <c:v>6.0323572778596741</c:v>
                </c:pt>
                <c:pt idx="6424">
                  <c:v>5.8989952825310095</c:v>
                </c:pt>
                <c:pt idx="6425">
                  <c:v>5.8170912983932936</c:v>
                </c:pt>
                <c:pt idx="6426">
                  <c:v>5.8668493913411446</c:v>
                </c:pt>
                <c:pt idx="6427">
                  <c:v>6.0267934081670136</c:v>
                </c:pt>
                <c:pt idx="6428">
                  <c:v>4.9430253311886752</c:v>
                </c:pt>
                <c:pt idx="6429">
                  <c:v>4.9424805398166596</c:v>
                </c:pt>
                <c:pt idx="6430">
                  <c:v>5.0909778062505602</c:v>
                </c:pt>
                <c:pt idx="6431">
                  <c:v>5.0369523742966331</c:v>
                </c:pt>
                <c:pt idx="6432">
                  <c:v>5.0704295508668373</c:v>
                </c:pt>
                <c:pt idx="6433">
                  <c:v>5.9677307653624698</c:v>
                </c:pt>
                <c:pt idx="6434">
                  <c:v>4.9155806918593656</c:v>
                </c:pt>
                <c:pt idx="6435">
                  <c:v>5.0126609649789566</c:v>
                </c:pt>
                <c:pt idx="6436">
                  <c:v>4.9727315006460202</c:v>
                </c:pt>
                <c:pt idx="6437">
                  <c:v>6.1002185482235118</c:v>
                </c:pt>
                <c:pt idx="6438">
                  <c:v>6.171819998149938</c:v>
                </c:pt>
                <c:pt idx="6439">
                  <c:v>4.8267760149512169</c:v>
                </c:pt>
                <c:pt idx="6440">
                  <c:v>4.9497720524952511</c:v>
                </c:pt>
                <c:pt idx="6441">
                  <c:v>5.9431874743960167</c:v>
                </c:pt>
                <c:pt idx="6442">
                  <c:v>6.0538052802799998</c:v>
                </c:pt>
                <c:pt idx="6443">
                  <c:v>5.1104550010650476</c:v>
                </c:pt>
                <c:pt idx="6444">
                  <c:v>5.06440718325047</c:v>
                </c:pt>
                <c:pt idx="6445">
                  <c:v>6.0247443221635795</c:v>
                </c:pt>
                <c:pt idx="6446">
                  <c:v>4.8147668992536907</c:v>
                </c:pt>
                <c:pt idx="6447">
                  <c:v>5.9191753379182961</c:v>
                </c:pt>
                <c:pt idx="6448">
                  <c:v>6.0453819854556121</c:v>
                </c:pt>
                <c:pt idx="6449">
                  <c:v>5.1586703078914606</c:v>
                </c:pt>
                <c:pt idx="6450">
                  <c:v>4.8696812678818846</c:v>
                </c:pt>
                <c:pt idx="6451">
                  <c:v>6.0157089141491333</c:v>
                </c:pt>
                <c:pt idx="6452">
                  <c:v>4.7882898444979034</c:v>
                </c:pt>
                <c:pt idx="6453">
                  <c:v>5.7080180870990764</c:v>
                </c:pt>
                <c:pt idx="6454">
                  <c:v>5.1678936182027151</c:v>
                </c:pt>
                <c:pt idx="6455">
                  <c:v>5.0673839812020098</c:v>
                </c:pt>
                <c:pt idx="6456">
                  <c:v>4.9579690717037019</c:v>
                </c:pt>
                <c:pt idx="6457">
                  <c:v>5.9172897645891682</c:v>
                </c:pt>
                <c:pt idx="6458">
                  <c:v>5.1287296769898951</c:v>
                </c:pt>
                <c:pt idx="6459">
                  <c:v>5.0411358073423145</c:v>
                </c:pt>
                <c:pt idx="6460">
                  <c:v>4.8594282667973827</c:v>
                </c:pt>
                <c:pt idx="6461">
                  <c:v>5.0049999238075387</c:v>
                </c:pt>
                <c:pt idx="6462">
                  <c:v>5.0894375229033253</c:v>
                </c:pt>
                <c:pt idx="6463">
                  <c:v>5.0461868343865746</c:v>
                </c:pt>
                <c:pt idx="6464">
                  <c:v>5.9392123878494738</c:v>
                </c:pt>
                <c:pt idx="6465">
                  <c:v>5.0363500236833554</c:v>
                </c:pt>
                <c:pt idx="6466">
                  <c:v>5.1022960283207777</c:v>
                </c:pt>
                <c:pt idx="6467">
                  <c:v>6.0308308094914613</c:v>
                </c:pt>
                <c:pt idx="6468">
                  <c:v>4.8752396384310765</c:v>
                </c:pt>
                <c:pt idx="6469">
                  <c:v>4.8787232497269644</c:v>
                </c:pt>
                <c:pt idx="6470">
                  <c:v>6.1155955503793535</c:v>
                </c:pt>
                <c:pt idx="6471">
                  <c:v>5.0294605059905191</c:v>
                </c:pt>
                <c:pt idx="6472">
                  <c:v>4.9050040975237668</c:v>
                </c:pt>
                <c:pt idx="6473">
                  <c:v>4.9067787172015134</c:v>
                </c:pt>
                <c:pt idx="6474">
                  <c:v>5.929261602113157</c:v>
                </c:pt>
                <c:pt idx="6475">
                  <c:v>6.9388593667392229</c:v>
                </c:pt>
                <c:pt idx="6476">
                  <c:v>7.1198251710421605</c:v>
                </c:pt>
                <c:pt idx="6477">
                  <c:v>5.8729750631081385</c:v>
                </c:pt>
                <c:pt idx="6478">
                  <c:v>6.0408368146100413</c:v>
                </c:pt>
                <c:pt idx="6479">
                  <c:v>4.9502486700657045</c:v>
                </c:pt>
                <c:pt idx="6480">
                  <c:v>6.9269531439357337</c:v>
                </c:pt>
                <c:pt idx="6481">
                  <c:v>6.8229402751348465</c:v>
                </c:pt>
                <c:pt idx="6482">
                  <c:v>5.9489658006602113</c:v>
                </c:pt>
                <c:pt idx="6483">
                  <c:v>6.1591153564608847</c:v>
                </c:pt>
                <c:pt idx="6484">
                  <c:v>5.0676382834491358</c:v>
                </c:pt>
                <c:pt idx="6485">
                  <c:v>4.9140884110133447</c:v>
                </c:pt>
                <c:pt idx="6486">
                  <c:v>6.168970021724963</c:v>
                </c:pt>
                <c:pt idx="6487">
                  <c:v>4.8993162526923451</c:v>
                </c:pt>
                <c:pt idx="6488">
                  <c:v>6.0007410712318974</c:v>
                </c:pt>
                <c:pt idx="6489">
                  <c:v>6.1023218188925519</c:v>
                </c:pt>
                <c:pt idx="6490">
                  <c:v>6.118399238105523</c:v>
                </c:pt>
                <c:pt idx="6491">
                  <c:v>5.9422356452669058</c:v>
                </c:pt>
                <c:pt idx="6492">
                  <c:v>4.9512964557234271</c:v>
                </c:pt>
                <c:pt idx="6493">
                  <c:v>5.851301559405778</c:v>
                </c:pt>
                <c:pt idx="6494">
                  <c:v>6.9962566500827323</c:v>
                </c:pt>
                <c:pt idx="6495">
                  <c:v>6.0252492005469982</c:v>
                </c:pt>
                <c:pt idx="6496">
                  <c:v>6.0187985872866783</c:v>
                </c:pt>
                <c:pt idx="6497">
                  <c:v>6.0397632815687201</c:v>
                </c:pt>
                <c:pt idx="6498">
                  <c:v>5.9166217583007246</c:v>
                </c:pt>
                <c:pt idx="6499">
                  <c:v>5.0768042320398417</c:v>
                </c:pt>
                <c:pt idx="6500">
                  <c:v>5.0338539252514272</c:v>
                </c:pt>
                <c:pt idx="6501">
                  <c:v>5.7135527938423438</c:v>
                </c:pt>
                <c:pt idx="6502">
                  <c:v>5.8427393398825203</c:v>
                </c:pt>
                <c:pt idx="6503">
                  <c:v>5.0152090328098309</c:v>
                </c:pt>
                <c:pt idx="6504">
                  <c:v>6.0480944685380411</c:v>
                </c:pt>
                <c:pt idx="6505">
                  <c:v>4.9437798079366617</c:v>
                </c:pt>
                <c:pt idx="6506">
                  <c:v>5.9670316631475639</c:v>
                </c:pt>
                <c:pt idx="6507">
                  <c:v>5.9153549598562076</c:v>
                </c:pt>
                <c:pt idx="6508">
                  <c:v>4.9415055845628233</c:v>
                </c:pt>
                <c:pt idx="6509">
                  <c:v>5.0437420271046687</c:v>
                </c:pt>
                <c:pt idx="6510">
                  <c:v>4.9657027729761918</c:v>
                </c:pt>
                <c:pt idx="6511">
                  <c:v>5.0951955842702796</c:v>
                </c:pt>
                <c:pt idx="6512">
                  <c:v>5.1404527074338597</c:v>
                </c:pt>
                <c:pt idx="6513">
                  <c:v>6.0125652459915697</c:v>
                </c:pt>
                <c:pt idx="6514">
                  <c:v>6.1301930535855931</c:v>
                </c:pt>
                <c:pt idx="6515">
                  <c:v>4.9476410608390955</c:v>
                </c:pt>
                <c:pt idx="6516">
                  <c:v>5.0127411425974602</c:v>
                </c:pt>
                <c:pt idx="6517">
                  <c:v>5.9734287463995113</c:v>
                </c:pt>
                <c:pt idx="6518">
                  <c:v>5.0502583161943422</c:v>
                </c:pt>
                <c:pt idx="6519">
                  <c:v>5.9464980647775354</c:v>
                </c:pt>
                <c:pt idx="6520">
                  <c:v>6.1570878958358666</c:v>
                </c:pt>
                <c:pt idx="6521">
                  <c:v>6.0476559278305748</c:v>
                </c:pt>
                <c:pt idx="6522">
                  <c:v>4.9547645835935743</c:v>
                </c:pt>
                <c:pt idx="6523">
                  <c:v>5.8809407457209293</c:v>
                </c:pt>
                <c:pt idx="6524">
                  <c:v>5.0294666690049503</c:v>
                </c:pt>
                <c:pt idx="6525">
                  <c:v>4.8998264578079631</c:v>
                </c:pt>
                <c:pt idx="6526">
                  <c:v>4.9904776733413421</c:v>
                </c:pt>
                <c:pt idx="6527">
                  <c:v>4.9471333091332168</c:v>
                </c:pt>
                <c:pt idx="6528">
                  <c:v>4.9932955506888064</c:v>
                </c:pt>
                <c:pt idx="6529">
                  <c:v>6.1145416177304828</c:v>
                </c:pt>
                <c:pt idx="6530">
                  <c:v>5.9673738976555155</c:v>
                </c:pt>
                <c:pt idx="6531">
                  <c:v>6.0506082183972918</c:v>
                </c:pt>
                <c:pt idx="6532">
                  <c:v>5.9857916385338958</c:v>
                </c:pt>
                <c:pt idx="6533">
                  <c:v>5.8857317697371059</c:v>
                </c:pt>
                <c:pt idx="6534">
                  <c:v>6.0965464612462315</c:v>
                </c:pt>
                <c:pt idx="6535">
                  <c:v>6.0089905595452784</c:v>
                </c:pt>
                <c:pt idx="6536">
                  <c:v>6.0895781537241556</c:v>
                </c:pt>
                <c:pt idx="6537">
                  <c:v>6.1293763698208599</c:v>
                </c:pt>
                <c:pt idx="6538">
                  <c:v>6.0530184939674712</c:v>
                </c:pt>
                <c:pt idx="6539">
                  <c:v>5.1133236467161076</c:v>
                </c:pt>
                <c:pt idx="6540">
                  <c:v>4.8148281094384178</c:v>
                </c:pt>
                <c:pt idx="6541">
                  <c:v>1.9958085607967389</c:v>
                </c:pt>
                <c:pt idx="6542">
                  <c:v>6.0443938200552481</c:v>
                </c:pt>
                <c:pt idx="6543">
                  <c:v>4.9444721409393182</c:v>
                </c:pt>
                <c:pt idx="6544">
                  <c:v>5.1324413704598602</c:v>
                </c:pt>
                <c:pt idx="6545">
                  <c:v>4.8682546791432912</c:v>
                </c:pt>
                <c:pt idx="6546">
                  <c:v>4.884980095293785</c:v>
                </c:pt>
                <c:pt idx="6547">
                  <c:v>5.0640324862388644</c:v>
                </c:pt>
                <c:pt idx="6548">
                  <c:v>4.9744527915673666</c:v>
                </c:pt>
                <c:pt idx="6549">
                  <c:v>5.0478771783450442</c:v>
                </c:pt>
                <c:pt idx="6550">
                  <c:v>5.9304782608756152</c:v>
                </c:pt>
                <c:pt idx="6551">
                  <c:v>4.8712738616494073</c:v>
                </c:pt>
                <c:pt idx="6552">
                  <c:v>6.0620832971289804</c:v>
                </c:pt>
                <c:pt idx="6553">
                  <c:v>6.0068059050906291</c:v>
                </c:pt>
                <c:pt idx="6554">
                  <c:v>6.1184542320748143</c:v>
                </c:pt>
                <c:pt idx="6555">
                  <c:v>4.8806680940803204</c:v>
                </c:pt>
                <c:pt idx="6556">
                  <c:v>6.0547635808049645</c:v>
                </c:pt>
                <c:pt idx="6557">
                  <c:v>5.0134097990649567</c:v>
                </c:pt>
                <c:pt idx="6558">
                  <c:v>5.0235535498307344</c:v>
                </c:pt>
                <c:pt idx="6559">
                  <c:v>4.7956626525019459</c:v>
                </c:pt>
                <c:pt idx="6560">
                  <c:v>6.0339388089685384</c:v>
                </c:pt>
                <c:pt idx="6561">
                  <c:v>5.8123555238286855</c:v>
                </c:pt>
                <c:pt idx="6562">
                  <c:v>6.1386834685090159</c:v>
                </c:pt>
                <c:pt idx="6563">
                  <c:v>4.9835622276889477</c:v>
                </c:pt>
                <c:pt idx="6564">
                  <c:v>5.0651956248151899</c:v>
                </c:pt>
                <c:pt idx="6565">
                  <c:v>5.0918341911753568</c:v>
                </c:pt>
                <c:pt idx="6566">
                  <c:v>4.9467148179184752</c:v>
                </c:pt>
                <c:pt idx="6567">
                  <c:v>5.159364330404653</c:v>
                </c:pt>
                <c:pt idx="6568">
                  <c:v>4.8626386143857063</c:v>
                </c:pt>
                <c:pt idx="6569">
                  <c:v>5.9081200066605382</c:v>
                </c:pt>
                <c:pt idx="6570">
                  <c:v>5.966630468749532</c:v>
                </c:pt>
                <c:pt idx="6571">
                  <c:v>4.9891409220143261</c:v>
                </c:pt>
                <c:pt idx="6572">
                  <c:v>4.8889154034140168</c:v>
                </c:pt>
                <c:pt idx="6573">
                  <c:v>5.846836110803066</c:v>
                </c:pt>
                <c:pt idx="6574">
                  <c:v>6.22938241427065</c:v>
                </c:pt>
                <c:pt idx="6575">
                  <c:v>5.9420649381572632</c:v>
                </c:pt>
                <c:pt idx="6576">
                  <c:v>5.993721814467535</c:v>
                </c:pt>
                <c:pt idx="6577">
                  <c:v>5.0589145097342909</c:v>
                </c:pt>
                <c:pt idx="6578">
                  <c:v>4.9813306636681851</c:v>
                </c:pt>
                <c:pt idx="6579">
                  <c:v>6.8852109073235059</c:v>
                </c:pt>
                <c:pt idx="6580">
                  <c:v>5.8380266544721042</c:v>
                </c:pt>
                <c:pt idx="6581">
                  <c:v>5.939274818954611</c:v>
                </c:pt>
                <c:pt idx="6582">
                  <c:v>4.8882486844166735</c:v>
                </c:pt>
                <c:pt idx="6583">
                  <c:v>5.1320585217637182</c:v>
                </c:pt>
                <c:pt idx="6584">
                  <c:v>6.0168046803528608</c:v>
                </c:pt>
                <c:pt idx="6585">
                  <c:v>5.0940746122721592</c:v>
                </c:pt>
                <c:pt idx="6586">
                  <c:v>5.1593387550880649</c:v>
                </c:pt>
                <c:pt idx="6587">
                  <c:v>6.8473032899083304</c:v>
                </c:pt>
                <c:pt idx="6588">
                  <c:v>6.8206137585727253</c:v>
                </c:pt>
                <c:pt idx="6589">
                  <c:v>5.9086784453649042</c:v>
                </c:pt>
                <c:pt idx="6590">
                  <c:v>3.9796925903691336</c:v>
                </c:pt>
                <c:pt idx="6591">
                  <c:v>5.0680327605886708</c:v>
                </c:pt>
                <c:pt idx="6592">
                  <c:v>6.0377413422192161</c:v>
                </c:pt>
                <c:pt idx="6593">
                  <c:v>4.8910375940696893</c:v>
                </c:pt>
                <c:pt idx="6594">
                  <c:v>5.9486634995755248</c:v>
                </c:pt>
                <c:pt idx="6595">
                  <c:v>4.8805354174257678</c:v>
                </c:pt>
                <c:pt idx="6596">
                  <c:v>5.0019519211877448</c:v>
                </c:pt>
                <c:pt idx="6597">
                  <c:v>5.0636168720052988</c:v>
                </c:pt>
                <c:pt idx="6598">
                  <c:v>5.0074216754367304</c:v>
                </c:pt>
                <c:pt idx="6599">
                  <c:v>4.8705473713325418</c:v>
                </c:pt>
                <c:pt idx="6600">
                  <c:v>7.0368484998723888</c:v>
                </c:pt>
                <c:pt idx="6601">
                  <c:v>5.8609473765569762</c:v>
                </c:pt>
                <c:pt idx="6602">
                  <c:v>5.1189008027829628</c:v>
                </c:pt>
                <c:pt idx="6603">
                  <c:v>6.1511010416788166</c:v>
                </c:pt>
                <c:pt idx="6604">
                  <c:v>4.9652750272050632</c:v>
                </c:pt>
                <c:pt idx="6605">
                  <c:v>5.9530086830674822</c:v>
                </c:pt>
                <c:pt idx="6606">
                  <c:v>4.9340306250771606</c:v>
                </c:pt>
                <c:pt idx="6607">
                  <c:v>5.0942818388345907</c:v>
                </c:pt>
                <c:pt idx="6608">
                  <c:v>4.8361062603200393</c:v>
                </c:pt>
                <c:pt idx="6609">
                  <c:v>5.1035079245938384</c:v>
                </c:pt>
                <c:pt idx="6610">
                  <c:v>5.7580782351050361</c:v>
                </c:pt>
                <c:pt idx="6611">
                  <c:v>5.015366658526581</c:v>
                </c:pt>
                <c:pt idx="6612">
                  <c:v>5.9402011438188582</c:v>
                </c:pt>
                <c:pt idx="6613">
                  <c:v>5.9443314199959207</c:v>
                </c:pt>
                <c:pt idx="6614">
                  <c:v>6.0306767288174967</c:v>
                </c:pt>
                <c:pt idx="6615">
                  <c:v>5.9891600443094317</c:v>
                </c:pt>
                <c:pt idx="6616">
                  <c:v>4.7592063007647045</c:v>
                </c:pt>
                <c:pt idx="6617">
                  <c:v>4.9459566279430849</c:v>
                </c:pt>
                <c:pt idx="6618">
                  <c:v>4.965493496310887</c:v>
                </c:pt>
                <c:pt idx="6619">
                  <c:v>5.0395618602556205</c:v>
                </c:pt>
                <c:pt idx="6620">
                  <c:v>6.0607441747263557</c:v>
                </c:pt>
                <c:pt idx="6621">
                  <c:v>4.8339959906189094</c:v>
                </c:pt>
                <c:pt idx="6622">
                  <c:v>5.9357609227921362</c:v>
                </c:pt>
                <c:pt idx="6623">
                  <c:v>5.9457072405764677</c:v>
                </c:pt>
                <c:pt idx="6624">
                  <c:v>4.8223713761667284</c:v>
                </c:pt>
                <c:pt idx="6625">
                  <c:v>5.0990935210529518</c:v>
                </c:pt>
                <c:pt idx="6626">
                  <c:v>7.0513723975431173</c:v>
                </c:pt>
                <c:pt idx="6627">
                  <c:v>5.9667728022942264</c:v>
                </c:pt>
                <c:pt idx="6628">
                  <c:v>5.8407871255230983</c:v>
                </c:pt>
                <c:pt idx="6629">
                  <c:v>5.0245162615554433</c:v>
                </c:pt>
                <c:pt idx="6630">
                  <c:v>5.2519942617544126</c:v>
                </c:pt>
                <c:pt idx="6631">
                  <c:v>6.0131678996554383</c:v>
                </c:pt>
                <c:pt idx="6632">
                  <c:v>5.9878739372862713</c:v>
                </c:pt>
                <c:pt idx="6633">
                  <c:v>7.0223614170562696</c:v>
                </c:pt>
                <c:pt idx="6634">
                  <c:v>4.9726660242186389</c:v>
                </c:pt>
                <c:pt idx="6635">
                  <c:v>5.9258982179161084</c:v>
                </c:pt>
                <c:pt idx="6636">
                  <c:v>3.9773787382832801</c:v>
                </c:pt>
                <c:pt idx="6637">
                  <c:v>6.0375886699846566</c:v>
                </c:pt>
                <c:pt idx="6638">
                  <c:v>6.1062005431804049</c:v>
                </c:pt>
                <c:pt idx="6639">
                  <c:v>5.0663580228257459</c:v>
                </c:pt>
                <c:pt idx="6640">
                  <c:v>5.0295930769941268</c:v>
                </c:pt>
                <c:pt idx="6641">
                  <c:v>6.0742223664043706</c:v>
                </c:pt>
                <c:pt idx="6642">
                  <c:v>6.0071552386170337</c:v>
                </c:pt>
                <c:pt idx="6643">
                  <c:v>6.0647081144690587</c:v>
                </c:pt>
                <c:pt idx="6644">
                  <c:v>7.2110902422445813</c:v>
                </c:pt>
                <c:pt idx="6645">
                  <c:v>6.1583325512989227</c:v>
                </c:pt>
                <c:pt idx="6646">
                  <c:v>5.9511876649527258</c:v>
                </c:pt>
                <c:pt idx="6647">
                  <c:v>4.8363226138281243</c:v>
                </c:pt>
                <c:pt idx="6648">
                  <c:v>4.9632028541910307</c:v>
                </c:pt>
                <c:pt idx="6649">
                  <c:v>5.9678485019091347</c:v>
                </c:pt>
                <c:pt idx="6650">
                  <c:v>5.1430415409894259</c:v>
                </c:pt>
                <c:pt idx="6651">
                  <c:v>6.0319186435290097</c:v>
                </c:pt>
                <c:pt idx="6652">
                  <c:v>5.8787460093953472</c:v>
                </c:pt>
                <c:pt idx="6653">
                  <c:v>4.9687659802847746</c:v>
                </c:pt>
                <c:pt idx="6654">
                  <c:v>4.9860543729895923</c:v>
                </c:pt>
                <c:pt idx="6655">
                  <c:v>5.9273652031841078</c:v>
                </c:pt>
                <c:pt idx="6656">
                  <c:v>5.0749432088833704</c:v>
                </c:pt>
                <c:pt idx="6657">
                  <c:v>4.9823748905810694</c:v>
                </c:pt>
                <c:pt idx="6658">
                  <c:v>5.9047449047128202</c:v>
                </c:pt>
                <c:pt idx="6659">
                  <c:v>5.9251539664878399</c:v>
                </c:pt>
                <c:pt idx="6660">
                  <c:v>5.9707190296358013</c:v>
                </c:pt>
                <c:pt idx="6661">
                  <c:v>7.0230090818938846</c:v>
                </c:pt>
                <c:pt idx="6662">
                  <c:v>8.898524100268725</c:v>
                </c:pt>
                <c:pt idx="6663">
                  <c:v>5.9845440782214689</c:v>
                </c:pt>
                <c:pt idx="6664">
                  <c:v>4.7806833404053304</c:v>
                </c:pt>
                <c:pt idx="6665">
                  <c:v>4.9982760398234936</c:v>
                </c:pt>
                <c:pt idx="6666">
                  <c:v>6.0842935611680398</c:v>
                </c:pt>
                <c:pt idx="6667">
                  <c:v>5.9776374655443538</c:v>
                </c:pt>
                <c:pt idx="6668">
                  <c:v>6.1070999786454481</c:v>
                </c:pt>
                <c:pt idx="6669">
                  <c:v>5.8841610173891494</c:v>
                </c:pt>
                <c:pt idx="6670">
                  <c:v>6.0706094567947346</c:v>
                </c:pt>
                <c:pt idx="6671">
                  <c:v>6.078375634466588</c:v>
                </c:pt>
                <c:pt idx="6672">
                  <c:v>5.8953740150956904</c:v>
                </c:pt>
                <c:pt idx="6673">
                  <c:v>4.8846115071910781</c:v>
                </c:pt>
                <c:pt idx="6674">
                  <c:v>5.8286371339088223</c:v>
                </c:pt>
                <c:pt idx="6675">
                  <c:v>5.8777633690777824</c:v>
                </c:pt>
                <c:pt idx="6676">
                  <c:v>5.8416161424964557</c:v>
                </c:pt>
                <c:pt idx="6677">
                  <c:v>4.9790118435975135</c:v>
                </c:pt>
                <c:pt idx="6678">
                  <c:v>3.8730405925483256</c:v>
                </c:pt>
                <c:pt idx="6679">
                  <c:v>6.0135040196458478</c:v>
                </c:pt>
                <c:pt idx="6680">
                  <c:v>5.2228277420126883</c:v>
                </c:pt>
                <c:pt idx="6681">
                  <c:v>6.1047259021786671</c:v>
                </c:pt>
                <c:pt idx="6682">
                  <c:v>5.1201952764953562</c:v>
                </c:pt>
                <c:pt idx="6683">
                  <c:v>5.0470775795696365</c:v>
                </c:pt>
                <c:pt idx="6684">
                  <c:v>4.8570584518881983</c:v>
                </c:pt>
                <c:pt idx="6685">
                  <c:v>6.1506712664730703</c:v>
                </c:pt>
                <c:pt idx="6686">
                  <c:v>5.9101748532239933</c:v>
                </c:pt>
                <c:pt idx="6687">
                  <c:v>4.9507252243310731</c:v>
                </c:pt>
                <c:pt idx="6688">
                  <c:v>6.157427147690786</c:v>
                </c:pt>
                <c:pt idx="6689">
                  <c:v>4.882875953661042</c:v>
                </c:pt>
                <c:pt idx="6690">
                  <c:v>4.8969966188790561</c:v>
                </c:pt>
                <c:pt idx="6691">
                  <c:v>4.8439968707308418</c:v>
                </c:pt>
                <c:pt idx="6692">
                  <c:v>5.9602037980659848</c:v>
                </c:pt>
                <c:pt idx="6693">
                  <c:v>5.9675960227628302</c:v>
                </c:pt>
                <c:pt idx="6694">
                  <c:v>6.0955380514020581</c:v>
                </c:pt>
                <c:pt idx="6695">
                  <c:v>6.0276709193532083</c:v>
                </c:pt>
                <c:pt idx="6696">
                  <c:v>5.0299121789210028</c:v>
                </c:pt>
                <c:pt idx="6697">
                  <c:v>5.0298738784295889</c:v>
                </c:pt>
                <c:pt idx="6698">
                  <c:v>5.0272067323040526</c:v>
                </c:pt>
                <c:pt idx="6699">
                  <c:v>4.920808142432687</c:v>
                </c:pt>
                <c:pt idx="6700">
                  <c:v>5.9633162009978538</c:v>
                </c:pt>
                <c:pt idx="6701">
                  <c:v>5.0828685820006427</c:v>
                </c:pt>
                <c:pt idx="6702">
                  <c:v>5.1426702581243919</c:v>
                </c:pt>
                <c:pt idx="6703">
                  <c:v>5.0592935951208666</c:v>
                </c:pt>
                <c:pt idx="6704">
                  <c:v>5.0997137988561141</c:v>
                </c:pt>
                <c:pt idx="6705">
                  <c:v>6.2110408720401491</c:v>
                </c:pt>
                <c:pt idx="6706">
                  <c:v>4.8505810288190734</c:v>
                </c:pt>
                <c:pt idx="6707">
                  <c:v>5.0106120720260678</c:v>
                </c:pt>
                <c:pt idx="6708">
                  <c:v>4.963809359524368</c:v>
                </c:pt>
                <c:pt idx="6709">
                  <c:v>4.7545731090775645</c:v>
                </c:pt>
                <c:pt idx="6710">
                  <c:v>6.0605954516950034</c:v>
                </c:pt>
                <c:pt idx="6711">
                  <c:v>6.066116813182008</c:v>
                </c:pt>
                <c:pt idx="6712">
                  <c:v>5.077012696551737</c:v>
                </c:pt>
                <c:pt idx="6713">
                  <c:v>5.0243341946068796</c:v>
                </c:pt>
                <c:pt idx="6714">
                  <c:v>4.9555763607224517</c:v>
                </c:pt>
                <c:pt idx="6715">
                  <c:v>4.9699894537116416</c:v>
                </c:pt>
                <c:pt idx="6716">
                  <c:v>5.0747437409443314</c:v>
                </c:pt>
                <c:pt idx="6717">
                  <c:v>5.8593770501547633</c:v>
                </c:pt>
                <c:pt idx="6718">
                  <c:v>5.9640184257500488</c:v>
                </c:pt>
                <c:pt idx="6719">
                  <c:v>7.0391966174293019</c:v>
                </c:pt>
                <c:pt idx="6720">
                  <c:v>5.9810152843539219</c:v>
                </c:pt>
                <c:pt idx="6721">
                  <c:v>5.9828149123098902</c:v>
                </c:pt>
                <c:pt idx="6722">
                  <c:v>4.956029453743124</c:v>
                </c:pt>
                <c:pt idx="6723">
                  <c:v>5.8295826043444787</c:v>
                </c:pt>
                <c:pt idx="6724">
                  <c:v>6.1074669538993103</c:v>
                </c:pt>
                <c:pt idx="6725">
                  <c:v>6.0213083604898294</c:v>
                </c:pt>
                <c:pt idx="6726">
                  <c:v>5.9697349712987577</c:v>
                </c:pt>
                <c:pt idx="6727">
                  <c:v>5.8505236820482063</c:v>
                </c:pt>
                <c:pt idx="6728">
                  <c:v>5.9326183244131157</c:v>
                </c:pt>
                <c:pt idx="6729">
                  <c:v>5.9228884978569507</c:v>
                </c:pt>
                <c:pt idx="6730">
                  <c:v>6.0089743796231163</c:v>
                </c:pt>
                <c:pt idx="6731">
                  <c:v>5.8841119245937987</c:v>
                </c:pt>
                <c:pt idx="6732">
                  <c:v>6.1112332058864993</c:v>
                </c:pt>
                <c:pt idx="6733">
                  <c:v>7.0356342895613917</c:v>
                </c:pt>
                <c:pt idx="6734">
                  <c:v>5.8524213124533784</c:v>
                </c:pt>
                <c:pt idx="6735">
                  <c:v>5.1051057218055185</c:v>
                </c:pt>
                <c:pt idx="6736">
                  <c:v>6.9473516626096634</c:v>
                </c:pt>
                <c:pt idx="6737">
                  <c:v>5.8787838169845736</c:v>
                </c:pt>
                <c:pt idx="6738">
                  <c:v>5.8637580402602625</c:v>
                </c:pt>
                <c:pt idx="6739">
                  <c:v>6.2533692537818384</c:v>
                </c:pt>
                <c:pt idx="6740">
                  <c:v>5.9995556603865134</c:v>
                </c:pt>
                <c:pt idx="6741">
                  <c:v>5.8352034410682689</c:v>
                </c:pt>
                <c:pt idx="6742">
                  <c:v>6.8901220862810781</c:v>
                </c:pt>
                <c:pt idx="6743">
                  <c:v>6.8932533131689055</c:v>
                </c:pt>
                <c:pt idx="6744">
                  <c:v>7.1108696817555543</c:v>
                </c:pt>
                <c:pt idx="6745">
                  <c:v>5.0952915676541375</c:v>
                </c:pt>
                <c:pt idx="6746">
                  <c:v>5.9475548453448983</c:v>
                </c:pt>
                <c:pt idx="6747">
                  <c:v>6.0680786957822281</c:v>
                </c:pt>
                <c:pt idx="6748">
                  <c:v>6.1566259802548347</c:v>
                </c:pt>
                <c:pt idx="6749">
                  <c:v>4.970481831929547</c:v>
                </c:pt>
                <c:pt idx="6750">
                  <c:v>4.9178789724683671</c:v>
                </c:pt>
                <c:pt idx="6751">
                  <c:v>6.056096012153561</c:v>
                </c:pt>
                <c:pt idx="6752">
                  <c:v>6.0431590904055525</c:v>
                </c:pt>
                <c:pt idx="6753">
                  <c:v>7.0720119132502113</c:v>
                </c:pt>
                <c:pt idx="6754">
                  <c:v>5.9810773507062933</c:v>
                </c:pt>
                <c:pt idx="6755">
                  <c:v>5.9497671440362456</c:v>
                </c:pt>
                <c:pt idx="6756">
                  <c:v>6.8305840761204264</c:v>
                </c:pt>
                <c:pt idx="6757">
                  <c:v>5.0296802850319029</c:v>
                </c:pt>
                <c:pt idx="6758">
                  <c:v>6.8549328967040468</c:v>
                </c:pt>
                <c:pt idx="6759">
                  <c:v>5.8931336440363458</c:v>
                </c:pt>
                <c:pt idx="6760">
                  <c:v>5.9902472500666288</c:v>
                </c:pt>
                <c:pt idx="6761">
                  <c:v>6.0869111708169656</c:v>
                </c:pt>
                <c:pt idx="6762">
                  <c:v>4.7981047175742964</c:v>
                </c:pt>
                <c:pt idx="6763">
                  <c:v>5.0075989294520076</c:v>
                </c:pt>
                <c:pt idx="6764">
                  <c:v>7.0209892465280888</c:v>
                </c:pt>
                <c:pt idx="6765">
                  <c:v>5.9870271594577282</c:v>
                </c:pt>
                <c:pt idx="6766">
                  <c:v>5.3175540759253881</c:v>
                </c:pt>
                <c:pt idx="6767">
                  <c:v>6.0950474619552644</c:v>
                </c:pt>
                <c:pt idx="6768">
                  <c:v>7.0937098220344401</c:v>
                </c:pt>
                <c:pt idx="6769">
                  <c:v>4.9003592530387641</c:v>
                </c:pt>
                <c:pt idx="6770">
                  <c:v>4.9888255590065693</c:v>
                </c:pt>
                <c:pt idx="6771">
                  <c:v>4.855062413246908</c:v>
                </c:pt>
                <c:pt idx="6772">
                  <c:v>4.9447176552909422</c:v>
                </c:pt>
                <c:pt idx="6773">
                  <c:v>4.8999203726746234</c:v>
                </c:pt>
                <c:pt idx="6774">
                  <c:v>4.8707732314772807</c:v>
                </c:pt>
                <c:pt idx="6775">
                  <c:v>5.9183973728850399</c:v>
                </c:pt>
                <c:pt idx="6776">
                  <c:v>4.8332563226818017</c:v>
                </c:pt>
                <c:pt idx="6777">
                  <c:v>4.8131249445064235</c:v>
                </c:pt>
                <c:pt idx="6778">
                  <c:v>5.9315191466869051</c:v>
                </c:pt>
                <c:pt idx="6779">
                  <c:v>6.9744784826003547</c:v>
                </c:pt>
                <c:pt idx="6780">
                  <c:v>4.8867435297148472</c:v>
                </c:pt>
                <c:pt idx="6781">
                  <c:v>5.0503954471298176</c:v>
                </c:pt>
                <c:pt idx="6782">
                  <c:v>6.1584212713337649</c:v>
                </c:pt>
                <c:pt idx="6783">
                  <c:v>4.9620695900387179</c:v>
                </c:pt>
                <c:pt idx="6784">
                  <c:v>4.9158999143243172</c:v>
                </c:pt>
                <c:pt idx="6785">
                  <c:v>4.91534346792122</c:v>
                </c:pt>
                <c:pt idx="6786">
                  <c:v>5.1840251277278711</c:v>
                </c:pt>
                <c:pt idx="6787">
                  <c:v>6.018297407948447</c:v>
                </c:pt>
                <c:pt idx="6788">
                  <c:v>5.0319596672658395</c:v>
                </c:pt>
                <c:pt idx="6789">
                  <c:v>5.0245935596723292</c:v>
                </c:pt>
                <c:pt idx="6790">
                  <c:v>5.1927329369215514</c:v>
                </c:pt>
                <c:pt idx="6791">
                  <c:v>6.031953080721566</c:v>
                </c:pt>
                <c:pt idx="6792">
                  <c:v>6.0320991690592436</c:v>
                </c:pt>
                <c:pt idx="6793">
                  <c:v>7.0844150844251459</c:v>
                </c:pt>
                <c:pt idx="6794">
                  <c:v>5.233030510155654</c:v>
                </c:pt>
                <c:pt idx="6795">
                  <c:v>5.9492054762171627</c:v>
                </c:pt>
                <c:pt idx="6796">
                  <c:v>5.0497561198979808</c:v>
                </c:pt>
                <c:pt idx="6797">
                  <c:v>5.9483390241036371</c:v>
                </c:pt>
                <c:pt idx="6798">
                  <c:v>6.1869081606317922</c:v>
                </c:pt>
                <c:pt idx="6799">
                  <c:v>6.0198840047762872</c:v>
                </c:pt>
                <c:pt idx="6800">
                  <c:v>6.038900049025326</c:v>
                </c:pt>
                <c:pt idx="6801">
                  <c:v>4.9559304407455302</c:v>
                </c:pt>
                <c:pt idx="6802">
                  <c:v>4.990559975021359</c:v>
                </c:pt>
                <c:pt idx="6803">
                  <c:v>5.9220762926997743</c:v>
                </c:pt>
                <c:pt idx="6804">
                  <c:v>5.0161868995691643</c:v>
                </c:pt>
                <c:pt idx="6805">
                  <c:v>4.9099958476027954</c:v>
                </c:pt>
                <c:pt idx="6806">
                  <c:v>6.2216863553008395</c:v>
                </c:pt>
                <c:pt idx="6807">
                  <c:v>5.9665950147335289</c:v>
                </c:pt>
                <c:pt idx="6808">
                  <c:v>6.0781934803167594</c:v>
                </c:pt>
                <c:pt idx="6809">
                  <c:v>6.9616986362954902</c:v>
                </c:pt>
                <c:pt idx="6810">
                  <c:v>5.9934214970051709</c:v>
                </c:pt>
                <c:pt idx="6811">
                  <c:v>5.1122205766889079</c:v>
                </c:pt>
                <c:pt idx="6812">
                  <c:v>4.933250564367202</c:v>
                </c:pt>
                <c:pt idx="6813">
                  <c:v>5.1664554508573692</c:v>
                </c:pt>
                <c:pt idx="6814">
                  <c:v>5.8426192812968258</c:v>
                </c:pt>
                <c:pt idx="6815">
                  <c:v>4.185691685592813</c:v>
                </c:pt>
                <c:pt idx="6816">
                  <c:v>5.1435360396348049</c:v>
                </c:pt>
                <c:pt idx="6817">
                  <c:v>4.9926781324324496</c:v>
                </c:pt>
                <c:pt idx="6818">
                  <c:v>4.8628037704852245</c:v>
                </c:pt>
                <c:pt idx="6819">
                  <c:v>4.8861782091126367</c:v>
                </c:pt>
                <c:pt idx="6820">
                  <c:v>6.0360127843720379</c:v>
                </c:pt>
                <c:pt idx="6821">
                  <c:v>5.0484905874749408</c:v>
                </c:pt>
                <c:pt idx="6822">
                  <c:v>5.1461606466388705</c:v>
                </c:pt>
                <c:pt idx="6823">
                  <c:v>5.1135479667273724</c:v>
                </c:pt>
                <c:pt idx="6824">
                  <c:v>6.111373906589578</c:v>
                </c:pt>
                <c:pt idx="6825">
                  <c:v>7.1480052994243</c:v>
                </c:pt>
                <c:pt idx="6826">
                  <c:v>5.1106251928571851</c:v>
                </c:pt>
                <c:pt idx="6827">
                  <c:v>5.0191017591632967</c:v>
                </c:pt>
                <c:pt idx="6828">
                  <c:v>7.0626132248137869</c:v>
                </c:pt>
                <c:pt idx="6829">
                  <c:v>5.9407685717724812</c:v>
                </c:pt>
                <c:pt idx="6830">
                  <c:v>5.1457978866633542</c:v>
                </c:pt>
                <c:pt idx="6831">
                  <c:v>6.1261127328142067</c:v>
                </c:pt>
                <c:pt idx="6832">
                  <c:v>6.1347237099876004</c:v>
                </c:pt>
                <c:pt idx="6833">
                  <c:v>4.9199225175237302</c:v>
                </c:pt>
                <c:pt idx="6834">
                  <c:v>5.0403114392315587</c:v>
                </c:pt>
                <c:pt idx="6835">
                  <c:v>6.0053206796871654</c:v>
                </c:pt>
                <c:pt idx="6836">
                  <c:v>6.0458091083437147</c:v>
                </c:pt>
                <c:pt idx="6837">
                  <c:v>6.1671593026878284</c:v>
                </c:pt>
                <c:pt idx="6838">
                  <c:v>5.1284827199106804</c:v>
                </c:pt>
                <c:pt idx="6839">
                  <c:v>4.9095260299039705</c:v>
                </c:pt>
                <c:pt idx="6840">
                  <c:v>4.8786526982685459</c:v>
                </c:pt>
                <c:pt idx="6841">
                  <c:v>4.9144256106634208</c:v>
                </c:pt>
                <c:pt idx="6842">
                  <c:v>6.1248408605964046</c:v>
                </c:pt>
                <c:pt idx="6843">
                  <c:v>4.7809113118848767</c:v>
                </c:pt>
                <c:pt idx="6844">
                  <c:v>5.0023128902777385</c:v>
                </c:pt>
                <c:pt idx="6845">
                  <c:v>6.8483766717986816</c:v>
                </c:pt>
                <c:pt idx="6846">
                  <c:v>6.0021620223097045</c:v>
                </c:pt>
                <c:pt idx="6847">
                  <c:v>5.0083530393267433</c:v>
                </c:pt>
                <c:pt idx="6848">
                  <c:v>4.8675850006360353</c:v>
                </c:pt>
                <c:pt idx="6849">
                  <c:v>5.0707442914879515</c:v>
                </c:pt>
                <c:pt idx="6850">
                  <c:v>5.9483922866659524</c:v>
                </c:pt>
                <c:pt idx="6851">
                  <c:v>6.0015190503524813</c:v>
                </c:pt>
                <c:pt idx="6852">
                  <c:v>6.0249399785238476</c:v>
                </c:pt>
                <c:pt idx="6853">
                  <c:v>6.0051979302415841</c:v>
                </c:pt>
                <c:pt idx="6854">
                  <c:v>4.9565750729091125</c:v>
                </c:pt>
                <c:pt idx="6855">
                  <c:v>4.8543583857689061</c:v>
                </c:pt>
                <c:pt idx="6856">
                  <c:v>5.9679396933368167</c:v>
                </c:pt>
                <c:pt idx="6857">
                  <c:v>6.9368382410995713</c:v>
                </c:pt>
                <c:pt idx="6858">
                  <c:v>5.9364690849420487</c:v>
                </c:pt>
                <c:pt idx="6859">
                  <c:v>6.0288174344651448</c:v>
                </c:pt>
                <c:pt idx="6860">
                  <c:v>5.9498270669234472</c:v>
                </c:pt>
                <c:pt idx="6861">
                  <c:v>5.0585324177576192</c:v>
                </c:pt>
                <c:pt idx="6862">
                  <c:v>4.9586085605219221</c:v>
                </c:pt>
                <c:pt idx="6863">
                  <c:v>5.9432180277915139</c:v>
                </c:pt>
                <c:pt idx="6864">
                  <c:v>6.0564275350388357</c:v>
                </c:pt>
                <c:pt idx="6865">
                  <c:v>5.9945448529601455</c:v>
                </c:pt>
                <c:pt idx="6866">
                  <c:v>5.0985412005492705</c:v>
                </c:pt>
                <c:pt idx="6867">
                  <c:v>5.053112140880196</c:v>
                </c:pt>
                <c:pt idx="6868">
                  <c:v>5.8727382922108227</c:v>
                </c:pt>
                <c:pt idx="6869">
                  <c:v>5.8782671956289425</c:v>
                </c:pt>
                <c:pt idx="6870">
                  <c:v>5.0488703518826687</c:v>
                </c:pt>
                <c:pt idx="6871">
                  <c:v>5.0447649785582831</c:v>
                </c:pt>
                <c:pt idx="6872">
                  <c:v>5.0496932932469258</c:v>
                </c:pt>
                <c:pt idx="6873">
                  <c:v>5.0207341984799259</c:v>
                </c:pt>
                <c:pt idx="6874">
                  <c:v>7.1029830264928311</c:v>
                </c:pt>
                <c:pt idx="6875">
                  <c:v>7.1507158904775538</c:v>
                </c:pt>
                <c:pt idx="6876">
                  <c:v>7.0524510210958553</c:v>
                </c:pt>
                <c:pt idx="6877">
                  <c:v>6.074639551378552</c:v>
                </c:pt>
                <c:pt idx="6878">
                  <c:v>4.9027090991899271</c:v>
                </c:pt>
                <c:pt idx="6879">
                  <c:v>4.8329135933532088</c:v>
                </c:pt>
                <c:pt idx="6880">
                  <c:v>5.1514935733856131</c:v>
                </c:pt>
                <c:pt idx="6881">
                  <c:v>6.0143372280259575</c:v>
                </c:pt>
                <c:pt idx="6882">
                  <c:v>5.8245252020494931</c:v>
                </c:pt>
                <c:pt idx="6883">
                  <c:v>6.9807070577274892</c:v>
                </c:pt>
                <c:pt idx="6884">
                  <c:v>4.9298103574654135</c:v>
                </c:pt>
                <c:pt idx="6885">
                  <c:v>6.8728518245639689</c:v>
                </c:pt>
                <c:pt idx="6886">
                  <c:v>4.9580426741732904</c:v>
                </c:pt>
                <c:pt idx="6887">
                  <c:v>6.0579184249701488</c:v>
                </c:pt>
                <c:pt idx="6888">
                  <c:v>5.1896422062345602</c:v>
                </c:pt>
                <c:pt idx="6889">
                  <c:v>5.9085275216369855</c:v>
                </c:pt>
                <c:pt idx="6890">
                  <c:v>6.0244266446879227</c:v>
                </c:pt>
                <c:pt idx="6891">
                  <c:v>6.08060728253965</c:v>
                </c:pt>
                <c:pt idx="6892">
                  <c:v>6.0101580760619209</c:v>
                </c:pt>
                <c:pt idx="6893">
                  <c:v>5.8527176058207635</c:v>
                </c:pt>
                <c:pt idx="6894">
                  <c:v>4.989858411486777</c:v>
                </c:pt>
                <c:pt idx="6895">
                  <c:v>5.1214449705628944</c:v>
                </c:pt>
                <c:pt idx="6896">
                  <c:v>6.023976408020439</c:v>
                </c:pt>
                <c:pt idx="6897">
                  <c:v>4.8651592238422161</c:v>
                </c:pt>
                <c:pt idx="6898">
                  <c:v>5.9813648101793877</c:v>
                </c:pt>
                <c:pt idx="6899">
                  <c:v>5.0833123369349407</c:v>
                </c:pt>
                <c:pt idx="6900">
                  <c:v>5.9551327553632856</c:v>
                </c:pt>
                <c:pt idx="6901">
                  <c:v>4.9068642652547156</c:v>
                </c:pt>
                <c:pt idx="6902">
                  <c:v>5.9533734616742038</c:v>
                </c:pt>
                <c:pt idx="6903">
                  <c:v>4.8382839997234726</c:v>
                </c:pt>
                <c:pt idx="6904">
                  <c:v>6.0092128019368731</c:v>
                </c:pt>
                <c:pt idx="6905">
                  <c:v>7.0779161510090987</c:v>
                </c:pt>
                <c:pt idx="6906">
                  <c:v>5.9745303368865406</c:v>
                </c:pt>
                <c:pt idx="6907">
                  <c:v>4.8819638943758932</c:v>
                </c:pt>
                <c:pt idx="6908">
                  <c:v>4.93547651518102</c:v>
                </c:pt>
                <c:pt idx="6909">
                  <c:v>5.1263066537160507</c:v>
                </c:pt>
                <c:pt idx="6910">
                  <c:v>6.1411738738956618</c:v>
                </c:pt>
                <c:pt idx="6911">
                  <c:v>5.0825128259723913</c:v>
                </c:pt>
                <c:pt idx="6912">
                  <c:v>4.9134428330458393</c:v>
                </c:pt>
                <c:pt idx="6913">
                  <c:v>5.9840005467926813</c:v>
                </c:pt>
                <c:pt idx="6914">
                  <c:v>6.179264687020674</c:v>
                </c:pt>
                <c:pt idx="6915">
                  <c:v>4.8879360048594025</c:v>
                </c:pt>
                <c:pt idx="6916">
                  <c:v>4.9165747382444271</c:v>
                </c:pt>
                <c:pt idx="6917">
                  <c:v>5.1383257665924456</c:v>
                </c:pt>
                <c:pt idx="6918">
                  <c:v>5.0481715121686701</c:v>
                </c:pt>
                <c:pt idx="6919">
                  <c:v>4.8848733664071773</c:v>
                </c:pt>
                <c:pt idx="6920">
                  <c:v>7.1560735061949767</c:v>
                </c:pt>
                <c:pt idx="6921">
                  <c:v>5.0192373099850807</c:v>
                </c:pt>
                <c:pt idx="6922">
                  <c:v>5.1810265051991129</c:v>
                </c:pt>
                <c:pt idx="6923">
                  <c:v>6.0034799162590682</c:v>
                </c:pt>
                <c:pt idx="6924">
                  <c:v>4.9356955667487235</c:v>
                </c:pt>
                <c:pt idx="6925">
                  <c:v>5.8972596024491866</c:v>
                </c:pt>
                <c:pt idx="6926">
                  <c:v>5.1279369406524973</c:v>
                </c:pt>
                <c:pt idx="6927">
                  <c:v>6.9972316119365781</c:v>
                </c:pt>
                <c:pt idx="6928">
                  <c:v>3.8433539455957595</c:v>
                </c:pt>
                <c:pt idx="6929">
                  <c:v>4.9972326642235316</c:v>
                </c:pt>
                <c:pt idx="6930">
                  <c:v>6.8952349181472439</c:v>
                </c:pt>
                <c:pt idx="6931">
                  <c:v>7.0126664993686916</c:v>
                </c:pt>
                <c:pt idx="6932">
                  <c:v>4.9696573628129528</c:v>
                </c:pt>
                <c:pt idx="6933">
                  <c:v>5.0326309855606368</c:v>
                </c:pt>
                <c:pt idx="6934">
                  <c:v>5.212833279049045</c:v>
                </c:pt>
                <c:pt idx="6935">
                  <c:v>4.972491409295265</c:v>
                </c:pt>
                <c:pt idx="6936">
                  <c:v>5.8658296863034138</c:v>
                </c:pt>
                <c:pt idx="6937">
                  <c:v>5.955368306635628</c:v>
                </c:pt>
                <c:pt idx="6938">
                  <c:v>5.034637157248306</c:v>
                </c:pt>
                <c:pt idx="6939">
                  <c:v>5.9591549151099317</c:v>
                </c:pt>
                <c:pt idx="6940">
                  <c:v>5.1148970513713188</c:v>
                </c:pt>
                <c:pt idx="6941">
                  <c:v>5.7805015348976001</c:v>
                </c:pt>
                <c:pt idx="6942">
                  <c:v>5.0457274842802278</c:v>
                </c:pt>
                <c:pt idx="6943">
                  <c:v>6.2549838287270623</c:v>
                </c:pt>
                <c:pt idx="6944">
                  <c:v>5.9619666199824932</c:v>
                </c:pt>
                <c:pt idx="6945">
                  <c:v>4.9186735019999581</c:v>
                </c:pt>
                <c:pt idx="6946">
                  <c:v>5.9066068650340044</c:v>
                </c:pt>
                <c:pt idx="6947">
                  <c:v>5.086850226291908</c:v>
                </c:pt>
                <c:pt idx="6948">
                  <c:v>5.9999185958601249</c:v>
                </c:pt>
                <c:pt idx="6949">
                  <c:v>4.9774552844511604</c:v>
                </c:pt>
                <c:pt idx="6950">
                  <c:v>5.9628391239928709</c:v>
                </c:pt>
                <c:pt idx="6951">
                  <c:v>4.9730835034771559</c:v>
                </c:pt>
                <c:pt idx="6952">
                  <c:v>4.9709859121475635</c:v>
                </c:pt>
                <c:pt idx="6953">
                  <c:v>4.9855866613192088</c:v>
                </c:pt>
                <c:pt idx="6954">
                  <c:v>4.8039916025189955</c:v>
                </c:pt>
                <c:pt idx="6955">
                  <c:v>5.894894046365863</c:v>
                </c:pt>
                <c:pt idx="6956">
                  <c:v>4.9229343806819639</c:v>
                </c:pt>
                <c:pt idx="6957">
                  <c:v>6.0503109493585985</c:v>
                </c:pt>
                <c:pt idx="6958">
                  <c:v>5.0075618525094185</c:v>
                </c:pt>
                <c:pt idx="6959">
                  <c:v>5.051139833908711</c:v>
                </c:pt>
                <c:pt idx="6960">
                  <c:v>6.1032082770429525</c:v>
                </c:pt>
                <c:pt idx="6961">
                  <c:v>6.0662516695164292</c:v>
                </c:pt>
                <c:pt idx="6962">
                  <c:v>4.8402266864972079</c:v>
                </c:pt>
                <c:pt idx="6963">
                  <c:v>5.8824277507078291</c:v>
                </c:pt>
                <c:pt idx="6964">
                  <c:v>5.8786395589879543</c:v>
                </c:pt>
                <c:pt idx="6965">
                  <c:v>5.9976051791158858</c:v>
                </c:pt>
                <c:pt idx="6966">
                  <c:v>6.2171287124122676</c:v>
                </c:pt>
                <c:pt idx="6967">
                  <c:v>5.04638988143072</c:v>
                </c:pt>
                <c:pt idx="6968">
                  <c:v>5.0606876626605262</c:v>
                </c:pt>
                <c:pt idx="6969">
                  <c:v>5.0797441594048216</c:v>
                </c:pt>
                <c:pt idx="6970">
                  <c:v>5.1203986547011802</c:v>
                </c:pt>
                <c:pt idx="6971">
                  <c:v>5.889911683434371</c:v>
                </c:pt>
                <c:pt idx="6972">
                  <c:v>4.8542289341993392</c:v>
                </c:pt>
                <c:pt idx="6973">
                  <c:v>4.7797798014772477</c:v>
                </c:pt>
                <c:pt idx="6974">
                  <c:v>5.131146854177552</c:v>
                </c:pt>
                <c:pt idx="6975">
                  <c:v>6.099873593910667</c:v>
                </c:pt>
                <c:pt idx="6976">
                  <c:v>5.0769482626972806</c:v>
                </c:pt>
                <c:pt idx="6977">
                  <c:v>5.14624466126849</c:v>
                </c:pt>
                <c:pt idx="6978">
                  <c:v>6.0957823505121862</c:v>
                </c:pt>
                <c:pt idx="6979">
                  <c:v>5.0018312637575058</c:v>
                </c:pt>
                <c:pt idx="6980">
                  <c:v>5.1450655270876355</c:v>
                </c:pt>
                <c:pt idx="6981">
                  <c:v>5.9711795754217407</c:v>
                </c:pt>
                <c:pt idx="6982">
                  <c:v>5.093665817826369</c:v>
                </c:pt>
                <c:pt idx="6983">
                  <c:v>5.0461378159522301</c:v>
                </c:pt>
                <c:pt idx="6984">
                  <c:v>6.0783777897337767</c:v>
                </c:pt>
                <c:pt idx="6985">
                  <c:v>4.8866922141564393</c:v>
                </c:pt>
                <c:pt idx="6986">
                  <c:v>6.0335807689082808</c:v>
                </c:pt>
                <c:pt idx="6987">
                  <c:v>7.1136925929440018</c:v>
                </c:pt>
                <c:pt idx="6988">
                  <c:v>4.9657408919383981</c:v>
                </c:pt>
                <c:pt idx="6989">
                  <c:v>4.9367589673153285</c:v>
                </c:pt>
                <c:pt idx="6990">
                  <c:v>4.9647361137116661</c:v>
                </c:pt>
                <c:pt idx="6991">
                  <c:v>4.8166203891265074</c:v>
                </c:pt>
                <c:pt idx="6992">
                  <c:v>6.2448718105539509</c:v>
                </c:pt>
                <c:pt idx="6993">
                  <c:v>5.169462378960147</c:v>
                </c:pt>
                <c:pt idx="6994">
                  <c:v>6.05375912052655</c:v>
                </c:pt>
                <c:pt idx="6995">
                  <c:v>5.9021266071587766</c:v>
                </c:pt>
                <c:pt idx="6996">
                  <c:v>6.0285159116563909</c:v>
                </c:pt>
                <c:pt idx="6997">
                  <c:v>5.8204116732949718</c:v>
                </c:pt>
                <c:pt idx="6998">
                  <c:v>5.0875975405963461</c:v>
                </c:pt>
                <c:pt idx="6999">
                  <c:v>5.8467471632763717</c:v>
                </c:pt>
                <c:pt idx="7000">
                  <c:v>5.1305958600261059</c:v>
                </c:pt>
                <c:pt idx="7001">
                  <c:v>5.0566425953527849</c:v>
                </c:pt>
                <c:pt idx="7002">
                  <c:v>6.1244155082368419</c:v>
                </c:pt>
                <c:pt idx="7003">
                  <c:v>6.0856811185534676</c:v>
                </c:pt>
                <c:pt idx="7004">
                  <c:v>6.0663583420365672</c:v>
                </c:pt>
                <c:pt idx="7005">
                  <c:v>5.8955592802533188</c:v>
                </c:pt>
                <c:pt idx="7006">
                  <c:v>5.9855985220442731</c:v>
                </c:pt>
                <c:pt idx="7007">
                  <c:v>5.9903098279848157</c:v>
                </c:pt>
                <c:pt idx="7008">
                  <c:v>5.9783584180310729</c:v>
                </c:pt>
                <c:pt idx="7009">
                  <c:v>4.9942399155096169</c:v>
                </c:pt>
                <c:pt idx="7010">
                  <c:v>4.9943124438988002</c:v>
                </c:pt>
                <c:pt idx="7011">
                  <c:v>5.0560216765398902</c:v>
                </c:pt>
                <c:pt idx="7012">
                  <c:v>4.9660698558073788</c:v>
                </c:pt>
                <c:pt idx="7013">
                  <c:v>5.7772765428091226</c:v>
                </c:pt>
                <c:pt idx="7014">
                  <c:v>6.1007976288438295</c:v>
                </c:pt>
                <c:pt idx="7015">
                  <c:v>6.0767047594900907</c:v>
                </c:pt>
                <c:pt idx="7016">
                  <c:v>6.0081555492431553</c:v>
                </c:pt>
                <c:pt idx="7017">
                  <c:v>4.9147222471292418</c:v>
                </c:pt>
                <c:pt idx="7018">
                  <c:v>4.8500888538130758</c:v>
                </c:pt>
                <c:pt idx="7019">
                  <c:v>5.0284902293957749</c:v>
                </c:pt>
                <c:pt idx="7020">
                  <c:v>5.0293377956478631</c:v>
                </c:pt>
                <c:pt idx="7021">
                  <c:v>5.9282207102835232</c:v>
                </c:pt>
                <c:pt idx="7022">
                  <c:v>6.0810765322991154</c:v>
                </c:pt>
                <c:pt idx="7023">
                  <c:v>4.8776815526985944</c:v>
                </c:pt>
                <c:pt idx="7024">
                  <c:v>5.0740216560617917</c:v>
                </c:pt>
                <c:pt idx="7025">
                  <c:v>5.95614295606733</c:v>
                </c:pt>
                <c:pt idx="7026">
                  <c:v>4.9835485857344128</c:v>
                </c:pt>
                <c:pt idx="7027">
                  <c:v>5.8778590117694955</c:v>
                </c:pt>
                <c:pt idx="7028">
                  <c:v>5.2771692601589741</c:v>
                </c:pt>
                <c:pt idx="7029">
                  <c:v>4.8574014932543088</c:v>
                </c:pt>
                <c:pt idx="7030">
                  <c:v>5.1386152339795776</c:v>
                </c:pt>
                <c:pt idx="7031">
                  <c:v>4.894977930022999</c:v>
                </c:pt>
                <c:pt idx="7032">
                  <c:v>5.9891444551319335</c:v>
                </c:pt>
                <c:pt idx="7033">
                  <c:v>5.973473461733434</c:v>
                </c:pt>
                <c:pt idx="7034">
                  <c:v>5.085328894891429</c:v>
                </c:pt>
                <c:pt idx="7035">
                  <c:v>5.9408257973220602</c:v>
                </c:pt>
                <c:pt idx="7036">
                  <c:v>6.9722861146436221</c:v>
                </c:pt>
                <c:pt idx="7037">
                  <c:v>4.988115455112287</c:v>
                </c:pt>
                <c:pt idx="7038">
                  <c:v>7.2484905792327261</c:v>
                </c:pt>
                <c:pt idx="7039">
                  <c:v>5.9268463660323718</c:v>
                </c:pt>
                <c:pt idx="7040">
                  <c:v>4.9703552751990738</c:v>
                </c:pt>
                <c:pt idx="7041">
                  <c:v>6.1027870584139299</c:v>
                </c:pt>
                <c:pt idx="7042">
                  <c:v>6.1777394092369056</c:v>
                </c:pt>
                <c:pt idx="7043">
                  <c:v>5.0046163155544043</c:v>
                </c:pt>
                <c:pt idx="7044">
                  <c:v>4.8816833982664285</c:v>
                </c:pt>
                <c:pt idx="7045">
                  <c:v>5.0049530323905946</c:v>
                </c:pt>
                <c:pt idx="7046">
                  <c:v>5.1033364808933177</c:v>
                </c:pt>
                <c:pt idx="7047">
                  <c:v>5.1509830013613884</c:v>
                </c:pt>
                <c:pt idx="7048">
                  <c:v>6.0606722243344429</c:v>
                </c:pt>
                <c:pt idx="7049">
                  <c:v>5.9973722447154776</c:v>
                </c:pt>
                <c:pt idx="7050">
                  <c:v>4.9904034327482032</c:v>
                </c:pt>
                <c:pt idx="7051">
                  <c:v>6.0324100447937061</c:v>
                </c:pt>
                <c:pt idx="7052">
                  <c:v>5.1351184515012216</c:v>
                </c:pt>
                <c:pt idx="7053">
                  <c:v>6.0761950688644122</c:v>
                </c:pt>
                <c:pt idx="7054">
                  <c:v>6.9862973005092597</c:v>
                </c:pt>
                <c:pt idx="7055">
                  <c:v>4.7606812128419467</c:v>
                </c:pt>
                <c:pt idx="7056">
                  <c:v>4.1215275396002324</c:v>
                </c:pt>
                <c:pt idx="7057">
                  <c:v>4.9290953692158359</c:v>
                </c:pt>
                <c:pt idx="7058">
                  <c:v>4.7133279422711896</c:v>
                </c:pt>
                <c:pt idx="7059">
                  <c:v>5.0490938879955811</c:v>
                </c:pt>
                <c:pt idx="7060">
                  <c:v>5.9789701823947787</c:v>
                </c:pt>
                <c:pt idx="7061">
                  <c:v>6.2093945347740247</c:v>
                </c:pt>
                <c:pt idx="7062">
                  <c:v>5.9553512136804709</c:v>
                </c:pt>
                <c:pt idx="7063">
                  <c:v>5.8560288051636542</c:v>
                </c:pt>
                <c:pt idx="7064">
                  <c:v>5.8559350594151995</c:v>
                </c:pt>
                <c:pt idx="7065">
                  <c:v>5.0295741234177989</c:v>
                </c:pt>
                <c:pt idx="7066">
                  <c:v>4.8460852900082054</c:v>
                </c:pt>
                <c:pt idx="7067">
                  <c:v>5.8955818992861957</c:v>
                </c:pt>
                <c:pt idx="7068">
                  <c:v>5.015952055079838</c:v>
                </c:pt>
                <c:pt idx="7069">
                  <c:v>5.0094267355835882</c:v>
                </c:pt>
                <c:pt idx="7070">
                  <c:v>5.8857649596113717</c:v>
                </c:pt>
                <c:pt idx="7071">
                  <c:v>5.1314730284102392</c:v>
                </c:pt>
                <c:pt idx="7072">
                  <c:v>5.0335291218235367</c:v>
                </c:pt>
                <c:pt idx="7073">
                  <c:v>4.9206170130846516</c:v>
                </c:pt>
                <c:pt idx="7074">
                  <c:v>5.8806341103125339</c:v>
                </c:pt>
                <c:pt idx="7075">
                  <c:v>4.9835609778582306</c:v>
                </c:pt>
                <c:pt idx="7076">
                  <c:v>6.148330771196524</c:v>
                </c:pt>
                <c:pt idx="7077">
                  <c:v>6.0308064441778599</c:v>
                </c:pt>
                <c:pt idx="7078">
                  <c:v>4.8985747387945162</c:v>
                </c:pt>
                <c:pt idx="7079">
                  <c:v>5.0115409417723953</c:v>
                </c:pt>
                <c:pt idx="7080">
                  <c:v>6.0340073887388739</c:v>
                </c:pt>
                <c:pt idx="7081">
                  <c:v>5.1487150408125277</c:v>
                </c:pt>
                <c:pt idx="7082">
                  <c:v>6.1296940752034521</c:v>
                </c:pt>
                <c:pt idx="7083">
                  <c:v>5.0876781890413785</c:v>
                </c:pt>
                <c:pt idx="7084">
                  <c:v>4.8938628797090038</c:v>
                </c:pt>
                <c:pt idx="7085">
                  <c:v>5.1693315481755446</c:v>
                </c:pt>
                <c:pt idx="7086">
                  <c:v>6.0140782508640154</c:v>
                </c:pt>
                <c:pt idx="7087">
                  <c:v>5.9730853836491544</c:v>
                </c:pt>
                <c:pt idx="7088">
                  <c:v>6.9663740161814953</c:v>
                </c:pt>
                <c:pt idx="7089">
                  <c:v>4.9248453212176173</c:v>
                </c:pt>
                <c:pt idx="7090">
                  <c:v>4.9810261192129808</c:v>
                </c:pt>
                <c:pt idx="7091">
                  <c:v>6.1071808313340723</c:v>
                </c:pt>
                <c:pt idx="7092">
                  <c:v>5.1229076964471378</c:v>
                </c:pt>
                <c:pt idx="7093">
                  <c:v>4.8332281876182552</c:v>
                </c:pt>
                <c:pt idx="7094">
                  <c:v>5.9740617237886529</c:v>
                </c:pt>
                <c:pt idx="7095">
                  <c:v>5.9573912397522193</c:v>
                </c:pt>
                <c:pt idx="7096">
                  <c:v>4.957567622275703</c:v>
                </c:pt>
                <c:pt idx="7097">
                  <c:v>6.0200801228264238</c:v>
                </c:pt>
                <c:pt idx="7098">
                  <c:v>6.0852588266106302</c:v>
                </c:pt>
                <c:pt idx="7099">
                  <c:v>6.1760057692913515</c:v>
                </c:pt>
                <c:pt idx="7100">
                  <c:v>4.9314637585488228</c:v>
                </c:pt>
                <c:pt idx="7101">
                  <c:v>5.7924399916087683</c:v>
                </c:pt>
                <c:pt idx="7102">
                  <c:v>5.1294670841874721</c:v>
                </c:pt>
                <c:pt idx="7103">
                  <c:v>4.8623779153843083</c:v>
                </c:pt>
                <c:pt idx="7104">
                  <c:v>5.9898160055304173</c:v>
                </c:pt>
                <c:pt idx="7105">
                  <c:v>5.198779459035797</c:v>
                </c:pt>
                <c:pt idx="7106">
                  <c:v>7.1816652446321845</c:v>
                </c:pt>
                <c:pt idx="7107">
                  <c:v>6.0987214077506611</c:v>
                </c:pt>
                <c:pt idx="7108">
                  <c:v>4.8489833457172642</c:v>
                </c:pt>
                <c:pt idx="7109">
                  <c:v>5.9414076950754495</c:v>
                </c:pt>
                <c:pt idx="7110">
                  <c:v>5.0869112239183414</c:v>
                </c:pt>
                <c:pt idx="7111">
                  <c:v>5.8926731621515724</c:v>
                </c:pt>
                <c:pt idx="7112">
                  <c:v>6.0019414107951246</c:v>
                </c:pt>
                <c:pt idx="7113">
                  <c:v>5.0133837319245309</c:v>
                </c:pt>
                <c:pt idx="7114">
                  <c:v>5.980495999092545</c:v>
                </c:pt>
                <c:pt idx="7115">
                  <c:v>4.888379120108028</c:v>
                </c:pt>
                <c:pt idx="7116">
                  <c:v>5.2502127117492909</c:v>
                </c:pt>
                <c:pt idx="7117">
                  <c:v>5.136976235179552</c:v>
                </c:pt>
                <c:pt idx="7118">
                  <c:v>6.1777907129740282</c:v>
                </c:pt>
                <c:pt idx="7119">
                  <c:v>5.9333630655325527</c:v>
                </c:pt>
                <c:pt idx="7120">
                  <c:v>4.9782295212706744</c:v>
                </c:pt>
                <c:pt idx="7121">
                  <c:v>5.9706003680023043</c:v>
                </c:pt>
                <c:pt idx="7122">
                  <c:v>4.8827923735318537</c:v>
                </c:pt>
                <c:pt idx="7123">
                  <c:v>5.9745520383327584</c:v>
                </c:pt>
                <c:pt idx="7124">
                  <c:v>5.1147193760289396</c:v>
                </c:pt>
                <c:pt idx="7125">
                  <c:v>4.7684561826809633</c:v>
                </c:pt>
                <c:pt idx="7126">
                  <c:v>4.8707458218867457</c:v>
                </c:pt>
                <c:pt idx="7127">
                  <c:v>4.8834263594244263</c:v>
                </c:pt>
                <c:pt idx="7128">
                  <c:v>4.9439623715838099</c:v>
                </c:pt>
                <c:pt idx="7129">
                  <c:v>5.1029806536957674</c:v>
                </c:pt>
                <c:pt idx="7130">
                  <c:v>5.1209675424406509</c:v>
                </c:pt>
                <c:pt idx="7131">
                  <c:v>5.937849727465327</c:v>
                </c:pt>
                <c:pt idx="7132">
                  <c:v>5.0479915493838767</c:v>
                </c:pt>
                <c:pt idx="7133">
                  <c:v>5.179825446677758</c:v>
                </c:pt>
                <c:pt idx="7134">
                  <c:v>4.9374517925551968</c:v>
                </c:pt>
                <c:pt idx="7135">
                  <c:v>6.1060830962473212</c:v>
                </c:pt>
                <c:pt idx="7136">
                  <c:v>5.9035952568519896</c:v>
                </c:pt>
                <c:pt idx="7137">
                  <c:v>5.0549204663938907</c:v>
                </c:pt>
                <c:pt idx="7138">
                  <c:v>5.9892935446079374</c:v>
                </c:pt>
                <c:pt idx="7139">
                  <c:v>6.0164889533350703</c:v>
                </c:pt>
                <c:pt idx="7140">
                  <c:v>6.0643114131572062</c:v>
                </c:pt>
                <c:pt idx="7141">
                  <c:v>6.0158981490805647</c:v>
                </c:pt>
                <c:pt idx="7142">
                  <c:v>5.0184827709394488</c:v>
                </c:pt>
                <c:pt idx="7143">
                  <c:v>5.0942921077013654</c:v>
                </c:pt>
                <c:pt idx="7144">
                  <c:v>5.9466741242332359</c:v>
                </c:pt>
                <c:pt idx="7145">
                  <c:v>6.0533851547884066</c:v>
                </c:pt>
                <c:pt idx="7146">
                  <c:v>5.9855942901029229</c:v>
                </c:pt>
                <c:pt idx="7147">
                  <c:v>4.8156036729096492</c:v>
                </c:pt>
                <c:pt idx="7148">
                  <c:v>5.1689517591036171</c:v>
                </c:pt>
                <c:pt idx="7149">
                  <c:v>6.0385581973813647</c:v>
                </c:pt>
                <c:pt idx="7150">
                  <c:v>6.0271091982815337</c:v>
                </c:pt>
                <c:pt idx="7151">
                  <c:v>5.021277698408614</c:v>
                </c:pt>
                <c:pt idx="7152">
                  <c:v>6.0455721286493116</c:v>
                </c:pt>
                <c:pt idx="7153">
                  <c:v>6.0394689786261084</c:v>
                </c:pt>
                <c:pt idx="7154">
                  <c:v>5.8704729636719808</c:v>
                </c:pt>
                <c:pt idx="7155">
                  <c:v>6.0162111221512671</c:v>
                </c:pt>
                <c:pt idx="7156">
                  <c:v>5.9808688955217235</c:v>
                </c:pt>
                <c:pt idx="7157">
                  <c:v>5.0081708056654897</c:v>
                </c:pt>
                <c:pt idx="7158">
                  <c:v>5.9522633757510555</c:v>
                </c:pt>
                <c:pt idx="7159">
                  <c:v>5.8866180123174354</c:v>
                </c:pt>
                <c:pt idx="7160">
                  <c:v>5.897895194230375</c:v>
                </c:pt>
                <c:pt idx="7161">
                  <c:v>5.067192426149445</c:v>
                </c:pt>
                <c:pt idx="7162">
                  <c:v>6.030011702619408</c:v>
                </c:pt>
                <c:pt idx="7163">
                  <c:v>6.0713207346789293</c:v>
                </c:pt>
                <c:pt idx="7164">
                  <c:v>5.1145373996129795</c:v>
                </c:pt>
                <c:pt idx="7165">
                  <c:v>5.1466710515666181</c:v>
                </c:pt>
                <c:pt idx="7166">
                  <c:v>4.9412508893516121</c:v>
                </c:pt>
                <c:pt idx="7167">
                  <c:v>5.0379520425363618</c:v>
                </c:pt>
                <c:pt idx="7168">
                  <c:v>5.0868141050110847</c:v>
                </c:pt>
                <c:pt idx="7169">
                  <c:v>6.1566529625535837</c:v>
                </c:pt>
                <c:pt idx="7170">
                  <c:v>5.1115976036177182</c:v>
                </c:pt>
                <c:pt idx="7171">
                  <c:v>4.9739569486408675</c:v>
                </c:pt>
                <c:pt idx="7172">
                  <c:v>6.1334070742309947</c:v>
                </c:pt>
                <c:pt idx="7173">
                  <c:v>5.9602650552129273</c:v>
                </c:pt>
                <c:pt idx="7174">
                  <c:v>6.1602035922723184</c:v>
                </c:pt>
                <c:pt idx="7175">
                  <c:v>6.2303508402984802</c:v>
                </c:pt>
                <c:pt idx="7176">
                  <c:v>5.9286559366907028</c:v>
                </c:pt>
                <c:pt idx="7177">
                  <c:v>5.9309375380439375</c:v>
                </c:pt>
                <c:pt idx="7178">
                  <c:v>6.1860930100198441</c:v>
                </c:pt>
                <c:pt idx="7179">
                  <c:v>6.0582835573147928</c:v>
                </c:pt>
                <c:pt idx="7180">
                  <c:v>6.0662927606220443</c:v>
                </c:pt>
                <c:pt idx="7181">
                  <c:v>5.97273497864406</c:v>
                </c:pt>
                <c:pt idx="7182">
                  <c:v>5.9177562792795158</c:v>
                </c:pt>
                <c:pt idx="7183">
                  <c:v>5.9803227464161184</c:v>
                </c:pt>
                <c:pt idx="7184">
                  <c:v>5.918893044401405</c:v>
                </c:pt>
                <c:pt idx="7185">
                  <c:v>5.8491641256844975</c:v>
                </c:pt>
                <c:pt idx="7186">
                  <c:v>6.0676728416292951</c:v>
                </c:pt>
                <c:pt idx="7187">
                  <c:v>6.0019783326266261</c:v>
                </c:pt>
                <c:pt idx="7188">
                  <c:v>6.0010239751324672</c:v>
                </c:pt>
                <c:pt idx="7189">
                  <c:v>6.1188205726204519</c:v>
                </c:pt>
                <c:pt idx="7190">
                  <c:v>6.0373385112678193</c:v>
                </c:pt>
                <c:pt idx="7191">
                  <c:v>5.8692256672763481</c:v>
                </c:pt>
                <c:pt idx="7192">
                  <c:v>5.995630953602098</c:v>
                </c:pt>
                <c:pt idx="7193">
                  <c:v>5.8505704604930493</c:v>
                </c:pt>
                <c:pt idx="7194">
                  <c:v>6.0298473115953746</c:v>
                </c:pt>
                <c:pt idx="7195">
                  <c:v>5.0958545115780307</c:v>
                </c:pt>
                <c:pt idx="7196">
                  <c:v>5.0600046832350829</c:v>
                </c:pt>
                <c:pt idx="7197">
                  <c:v>6.027141424929197</c:v>
                </c:pt>
                <c:pt idx="7198">
                  <c:v>6.0485960304782056</c:v>
                </c:pt>
                <c:pt idx="7199">
                  <c:v>4.8434122080291111</c:v>
                </c:pt>
                <c:pt idx="7200">
                  <c:v>6.0497886598347064</c:v>
                </c:pt>
                <c:pt idx="7201">
                  <c:v>4.8618487381520898</c:v>
                </c:pt>
                <c:pt idx="7202">
                  <c:v>4.9875713046419046</c:v>
                </c:pt>
                <c:pt idx="7203">
                  <c:v>4.9214073240911125</c:v>
                </c:pt>
                <c:pt idx="7204">
                  <c:v>4.923807586701197</c:v>
                </c:pt>
                <c:pt idx="7205">
                  <c:v>6.070074761189078</c:v>
                </c:pt>
                <c:pt idx="7206">
                  <c:v>5.0014519953775975</c:v>
                </c:pt>
                <c:pt idx="7207">
                  <c:v>4.9881849686132727</c:v>
                </c:pt>
                <c:pt idx="7208">
                  <c:v>6.0123809527299432</c:v>
                </c:pt>
                <c:pt idx="7209">
                  <c:v>5.0203472950136216</c:v>
                </c:pt>
                <c:pt idx="7210">
                  <c:v>4.9945606766219521</c:v>
                </c:pt>
                <c:pt idx="7211">
                  <c:v>6.1212912595085704</c:v>
                </c:pt>
                <c:pt idx="7212">
                  <c:v>6.2284057806197382</c:v>
                </c:pt>
                <c:pt idx="7213">
                  <c:v>4.9740766525256204</c:v>
                </c:pt>
                <c:pt idx="7214">
                  <c:v>4.9932610789627612</c:v>
                </c:pt>
                <c:pt idx="7215">
                  <c:v>6.0843059683672944</c:v>
                </c:pt>
                <c:pt idx="7216">
                  <c:v>5.0712945857359095</c:v>
                </c:pt>
                <c:pt idx="7217">
                  <c:v>6.0552554400189456</c:v>
                </c:pt>
                <c:pt idx="7218">
                  <c:v>6.1421805091260282</c:v>
                </c:pt>
                <c:pt idx="7219">
                  <c:v>5.0340677421397446</c:v>
                </c:pt>
                <c:pt idx="7220">
                  <c:v>5.8820215485065779</c:v>
                </c:pt>
                <c:pt idx="7221">
                  <c:v>5.0109046147729686</c:v>
                </c:pt>
                <c:pt idx="7222">
                  <c:v>4.9217503218272798</c:v>
                </c:pt>
                <c:pt idx="7223">
                  <c:v>4.8618595198231533</c:v>
                </c:pt>
                <c:pt idx="7224">
                  <c:v>4.9248109578833787</c:v>
                </c:pt>
                <c:pt idx="7225">
                  <c:v>6.0577212667650988</c:v>
                </c:pt>
                <c:pt idx="7226">
                  <c:v>6.0496215495019969</c:v>
                </c:pt>
                <c:pt idx="7227">
                  <c:v>4.9189420472543475</c:v>
                </c:pt>
                <c:pt idx="7228">
                  <c:v>5.1207755895429488</c:v>
                </c:pt>
                <c:pt idx="7229">
                  <c:v>5.9478317008333699</c:v>
                </c:pt>
                <c:pt idx="7230">
                  <c:v>6.0291519523486379</c:v>
                </c:pt>
                <c:pt idx="7231">
                  <c:v>4.9495874628689078</c:v>
                </c:pt>
                <c:pt idx="7232">
                  <c:v>6.0743648778023402</c:v>
                </c:pt>
                <c:pt idx="7233">
                  <c:v>5.0729403710891372</c:v>
                </c:pt>
                <c:pt idx="7234">
                  <c:v>5.1950787375571359</c:v>
                </c:pt>
                <c:pt idx="7235">
                  <c:v>4.8962805038627</c:v>
                </c:pt>
                <c:pt idx="7236">
                  <c:v>5.0941070903497883</c:v>
                </c:pt>
                <c:pt idx="7237">
                  <c:v>5.015721395891517</c:v>
                </c:pt>
                <c:pt idx="7238">
                  <c:v>5.9549696147353748</c:v>
                </c:pt>
                <c:pt idx="7239">
                  <c:v>5.9831103771846799</c:v>
                </c:pt>
                <c:pt idx="7240">
                  <c:v>5.0011135790459136</c:v>
                </c:pt>
                <c:pt idx="7241">
                  <c:v>4.8974976741593794</c:v>
                </c:pt>
                <c:pt idx="7242">
                  <c:v>5.993875066740082</c:v>
                </c:pt>
                <c:pt idx="7243">
                  <c:v>4.8996146515696575</c:v>
                </c:pt>
                <c:pt idx="7244">
                  <c:v>6.0674423451217399</c:v>
                </c:pt>
                <c:pt idx="7245">
                  <c:v>5.8295572895129091</c:v>
                </c:pt>
                <c:pt idx="7246">
                  <c:v>5.0142615925393352</c:v>
                </c:pt>
                <c:pt idx="7247">
                  <c:v>6.0091571716009629</c:v>
                </c:pt>
                <c:pt idx="7248">
                  <c:v>5.0156424421172527</c:v>
                </c:pt>
                <c:pt idx="7249">
                  <c:v>6.0870777301809547</c:v>
                </c:pt>
                <c:pt idx="7250">
                  <c:v>6.0818434568359194</c:v>
                </c:pt>
                <c:pt idx="7251">
                  <c:v>5.0679237835085891</c:v>
                </c:pt>
                <c:pt idx="7252">
                  <c:v>5.0401310691946613</c:v>
                </c:pt>
                <c:pt idx="7253">
                  <c:v>6.136368304586048</c:v>
                </c:pt>
                <c:pt idx="7254">
                  <c:v>6.0678936158953585</c:v>
                </c:pt>
                <c:pt idx="7255">
                  <c:v>4.9968063373614857</c:v>
                </c:pt>
                <c:pt idx="7256">
                  <c:v>4.9183007134223864</c:v>
                </c:pt>
                <c:pt idx="7257">
                  <c:v>4.9555186538315938</c:v>
                </c:pt>
                <c:pt idx="7258">
                  <c:v>4.9212725479080159</c:v>
                </c:pt>
                <c:pt idx="7259">
                  <c:v>4.9148386259936228</c:v>
                </c:pt>
                <c:pt idx="7260">
                  <c:v>5.134906053062072</c:v>
                </c:pt>
                <c:pt idx="7261">
                  <c:v>4.0913579774224571</c:v>
                </c:pt>
                <c:pt idx="7262">
                  <c:v>5.9741322260985212</c:v>
                </c:pt>
                <c:pt idx="7263">
                  <c:v>3.095693915263499</c:v>
                </c:pt>
                <c:pt idx="7264">
                  <c:v>6.0601862890570395</c:v>
                </c:pt>
                <c:pt idx="7265">
                  <c:v>4.9812999943946492</c:v>
                </c:pt>
                <c:pt idx="7266">
                  <c:v>5.8296871604660936</c:v>
                </c:pt>
                <c:pt idx="7267">
                  <c:v>4.909225884171736</c:v>
                </c:pt>
                <c:pt idx="7268">
                  <c:v>6.1736794574905112</c:v>
                </c:pt>
                <c:pt idx="7269">
                  <c:v>5.9014744674417479</c:v>
                </c:pt>
                <c:pt idx="7270">
                  <c:v>5.9157028687940301</c:v>
                </c:pt>
                <c:pt idx="7271">
                  <c:v>5.8890867649760104</c:v>
                </c:pt>
                <c:pt idx="7272">
                  <c:v>5.1235857540777152</c:v>
                </c:pt>
                <c:pt idx="7273">
                  <c:v>4.9863820141965505</c:v>
                </c:pt>
                <c:pt idx="7274">
                  <c:v>6.0476851209007565</c:v>
                </c:pt>
                <c:pt idx="7275">
                  <c:v>5.0796628075517587</c:v>
                </c:pt>
                <c:pt idx="7276">
                  <c:v>6.0493874829561864</c:v>
                </c:pt>
                <c:pt idx="7277">
                  <c:v>5.9342835158154204</c:v>
                </c:pt>
                <c:pt idx="7278">
                  <c:v>6.0600089325187563</c:v>
                </c:pt>
                <c:pt idx="7279">
                  <c:v>6.1193779347290089</c:v>
                </c:pt>
                <c:pt idx="7280">
                  <c:v>4.9758862584746595</c:v>
                </c:pt>
                <c:pt idx="7281">
                  <c:v>6.9200085541005425</c:v>
                </c:pt>
                <c:pt idx="7282">
                  <c:v>4.8276014155224614</c:v>
                </c:pt>
                <c:pt idx="7283">
                  <c:v>6.074042607177975</c:v>
                </c:pt>
                <c:pt idx="7284">
                  <c:v>4.9339881799255298</c:v>
                </c:pt>
                <c:pt idx="7285">
                  <c:v>6.1021627676570169</c:v>
                </c:pt>
                <c:pt idx="7286">
                  <c:v>6.039369070479653</c:v>
                </c:pt>
                <c:pt idx="7287">
                  <c:v>6.0262694358343492</c:v>
                </c:pt>
                <c:pt idx="7288">
                  <c:v>4.9644315145173197</c:v>
                </c:pt>
                <c:pt idx="7289">
                  <c:v>6.2166131910407962</c:v>
                </c:pt>
                <c:pt idx="7290">
                  <c:v>4.9836609094052502</c:v>
                </c:pt>
                <c:pt idx="7291">
                  <c:v>4.9181149285374932</c:v>
                </c:pt>
                <c:pt idx="7292">
                  <c:v>7.0771656673236185</c:v>
                </c:pt>
                <c:pt idx="7293">
                  <c:v>5.1168338916499465</c:v>
                </c:pt>
                <c:pt idx="7294">
                  <c:v>5.8641466881263788</c:v>
                </c:pt>
                <c:pt idx="7295">
                  <c:v>3.8692542376245123</c:v>
                </c:pt>
                <c:pt idx="7296">
                  <c:v>5.0465756566017062</c:v>
                </c:pt>
                <c:pt idx="7297">
                  <c:v>4.9164821221432931</c:v>
                </c:pt>
                <c:pt idx="7298">
                  <c:v>7.0211597424129621</c:v>
                </c:pt>
                <c:pt idx="7299">
                  <c:v>5.9361870832047128</c:v>
                </c:pt>
                <c:pt idx="7300">
                  <c:v>6.1107532888482625</c:v>
                </c:pt>
                <c:pt idx="7301">
                  <c:v>6.9657023209743816</c:v>
                </c:pt>
                <c:pt idx="7302">
                  <c:v>5.1053040901290361</c:v>
                </c:pt>
                <c:pt idx="7303">
                  <c:v>4.9574622108923183</c:v>
                </c:pt>
                <c:pt idx="7304">
                  <c:v>4.9913872837834132</c:v>
                </c:pt>
                <c:pt idx="7305">
                  <c:v>5.994472046680416</c:v>
                </c:pt>
                <c:pt idx="7306">
                  <c:v>5.9824531788305899</c:v>
                </c:pt>
                <c:pt idx="7307">
                  <c:v>4.9233780872965811</c:v>
                </c:pt>
                <c:pt idx="7308">
                  <c:v>6.0818058568405364</c:v>
                </c:pt>
                <c:pt idx="7309">
                  <c:v>5.0492915285109872</c:v>
                </c:pt>
                <c:pt idx="7310">
                  <c:v>5.0288217418957259</c:v>
                </c:pt>
                <c:pt idx="7311">
                  <c:v>4.7718408965745382</c:v>
                </c:pt>
                <c:pt idx="7312">
                  <c:v>5.8312786546495241</c:v>
                </c:pt>
                <c:pt idx="7313">
                  <c:v>5.001780403611928</c:v>
                </c:pt>
                <c:pt idx="7314">
                  <c:v>5.9138084161832829</c:v>
                </c:pt>
                <c:pt idx="7315">
                  <c:v>5.1441142713725041</c:v>
                </c:pt>
                <c:pt idx="7316">
                  <c:v>4.9953524059960781</c:v>
                </c:pt>
                <c:pt idx="7317">
                  <c:v>5.0550382743794788</c:v>
                </c:pt>
                <c:pt idx="7318">
                  <c:v>4.9929001910774682</c:v>
                </c:pt>
                <c:pt idx="7319">
                  <c:v>6.1683846170288055</c:v>
                </c:pt>
                <c:pt idx="7320">
                  <c:v>4.9381534430970264</c:v>
                </c:pt>
                <c:pt idx="7321">
                  <c:v>6.0167572625193104</c:v>
                </c:pt>
                <c:pt idx="7322">
                  <c:v>4.946154483835957</c:v>
                </c:pt>
                <c:pt idx="7323">
                  <c:v>5.8817727031777611</c:v>
                </c:pt>
                <c:pt idx="7324">
                  <c:v>6.0918346349848775</c:v>
                </c:pt>
                <c:pt idx="7325">
                  <c:v>5.1178212374890615</c:v>
                </c:pt>
                <c:pt idx="7326">
                  <c:v>5.1228323241071108</c:v>
                </c:pt>
                <c:pt idx="7327">
                  <c:v>5.9339979272349161</c:v>
                </c:pt>
                <c:pt idx="7328">
                  <c:v>6.0929622789569295</c:v>
                </c:pt>
                <c:pt idx="7329">
                  <c:v>4.9193906868449657</c:v>
                </c:pt>
                <c:pt idx="7330">
                  <c:v>6.0296291443654741</c:v>
                </c:pt>
                <c:pt idx="7331">
                  <c:v>6.1172401267177712</c:v>
                </c:pt>
                <c:pt idx="7332">
                  <c:v>6.1549091846020243</c:v>
                </c:pt>
                <c:pt idx="7333">
                  <c:v>5.1533724443572417</c:v>
                </c:pt>
                <c:pt idx="7334">
                  <c:v>4.92025726708283</c:v>
                </c:pt>
                <c:pt idx="7335">
                  <c:v>5.0919920394960059</c:v>
                </c:pt>
                <c:pt idx="7336">
                  <c:v>6.0323380736579209</c:v>
                </c:pt>
                <c:pt idx="7337">
                  <c:v>5.0307890212343924</c:v>
                </c:pt>
                <c:pt idx="7338">
                  <c:v>5.1081982142017797</c:v>
                </c:pt>
                <c:pt idx="7339">
                  <c:v>5.1581039994997679</c:v>
                </c:pt>
                <c:pt idx="7340">
                  <c:v>7.2101357975094906</c:v>
                </c:pt>
                <c:pt idx="7341">
                  <c:v>6.0286055852284726</c:v>
                </c:pt>
                <c:pt idx="7342">
                  <c:v>5.9339546246833494</c:v>
                </c:pt>
                <c:pt idx="7343">
                  <c:v>6.0347579708064911</c:v>
                </c:pt>
                <c:pt idx="7344">
                  <c:v>5.9822118922691825</c:v>
                </c:pt>
                <c:pt idx="7345">
                  <c:v>5.0467560538943461</c:v>
                </c:pt>
                <c:pt idx="7346">
                  <c:v>6.0750189477432706</c:v>
                </c:pt>
                <c:pt idx="7347">
                  <c:v>5.0852233723562428</c:v>
                </c:pt>
                <c:pt idx="7348">
                  <c:v>5.0628959008927978</c:v>
                </c:pt>
                <c:pt idx="7349">
                  <c:v>5.0024932416812362</c:v>
                </c:pt>
                <c:pt idx="7350">
                  <c:v>5.1048056654315879</c:v>
                </c:pt>
                <c:pt idx="7351">
                  <c:v>6.1075094568733546</c:v>
                </c:pt>
                <c:pt idx="7352">
                  <c:v>5.9998020867031938</c:v>
                </c:pt>
                <c:pt idx="7353">
                  <c:v>6.0535373666530523</c:v>
                </c:pt>
                <c:pt idx="7354">
                  <c:v>6.095176491684497</c:v>
                </c:pt>
                <c:pt idx="7355">
                  <c:v>5.0633274205422181</c:v>
                </c:pt>
                <c:pt idx="7356">
                  <c:v>5.9131151468944756</c:v>
                </c:pt>
                <c:pt idx="7357">
                  <c:v>4.8643633929700494</c:v>
                </c:pt>
                <c:pt idx="7358">
                  <c:v>6.0055981615132481</c:v>
                </c:pt>
                <c:pt idx="7359">
                  <c:v>4.9486083491206383</c:v>
                </c:pt>
                <c:pt idx="7360">
                  <c:v>5.9778121861159814</c:v>
                </c:pt>
                <c:pt idx="7361">
                  <c:v>5.0968987928285516</c:v>
                </c:pt>
                <c:pt idx="7362">
                  <c:v>4.9269958747698119</c:v>
                </c:pt>
                <c:pt idx="7363">
                  <c:v>6.0387068671629258</c:v>
                </c:pt>
                <c:pt idx="7364">
                  <c:v>4.9630098100906315</c:v>
                </c:pt>
                <c:pt idx="7365">
                  <c:v>4.9449746447384726</c:v>
                </c:pt>
                <c:pt idx="7366">
                  <c:v>5.9601408178277815</c:v>
                </c:pt>
                <c:pt idx="7367">
                  <c:v>5.8901101897090058</c:v>
                </c:pt>
                <c:pt idx="7368">
                  <c:v>5.000444262786961</c:v>
                </c:pt>
                <c:pt idx="7369">
                  <c:v>5.947754863799612</c:v>
                </c:pt>
                <c:pt idx="7370">
                  <c:v>5.900116999755161</c:v>
                </c:pt>
                <c:pt idx="7371">
                  <c:v>4.9368362155366112</c:v>
                </c:pt>
                <c:pt idx="7372">
                  <c:v>5.0208079847773828</c:v>
                </c:pt>
                <c:pt idx="7373">
                  <c:v>5.0749333453542667</c:v>
                </c:pt>
                <c:pt idx="7374">
                  <c:v>5.1386669578439292</c:v>
                </c:pt>
                <c:pt idx="7375">
                  <c:v>6.0756114030651753</c:v>
                </c:pt>
                <c:pt idx="7376">
                  <c:v>6.8450199469774047</c:v>
                </c:pt>
                <c:pt idx="7377">
                  <c:v>6.9456970250331382</c:v>
                </c:pt>
                <c:pt idx="7378">
                  <c:v>4.9785956885910316</c:v>
                </c:pt>
                <c:pt idx="7379">
                  <c:v>5.9906120395325582</c:v>
                </c:pt>
                <c:pt idx="7380">
                  <c:v>5.0099174426401207</c:v>
                </c:pt>
                <c:pt idx="7381">
                  <c:v>5.8650922522522748</c:v>
                </c:pt>
                <c:pt idx="7382">
                  <c:v>5.9838204068668741</c:v>
                </c:pt>
                <c:pt idx="7383">
                  <c:v>5.9017332299604135</c:v>
                </c:pt>
                <c:pt idx="7384">
                  <c:v>6.0552996912917338</c:v>
                </c:pt>
                <c:pt idx="7385">
                  <c:v>5.0514096618252031</c:v>
                </c:pt>
                <c:pt idx="7386">
                  <c:v>5.0734539641920673</c:v>
                </c:pt>
                <c:pt idx="7387">
                  <c:v>5.978819526896312</c:v>
                </c:pt>
                <c:pt idx="7388">
                  <c:v>7.0902673749241067</c:v>
                </c:pt>
                <c:pt idx="7389">
                  <c:v>7.036526800805996</c:v>
                </c:pt>
                <c:pt idx="7390">
                  <c:v>6.9858749049596094</c:v>
                </c:pt>
                <c:pt idx="7391">
                  <c:v>5.9492557193225171</c:v>
                </c:pt>
                <c:pt idx="7392">
                  <c:v>5.9681168482184201</c:v>
                </c:pt>
                <c:pt idx="7393">
                  <c:v>4.9416743583626443</c:v>
                </c:pt>
                <c:pt idx="7394">
                  <c:v>5.917945416979669</c:v>
                </c:pt>
                <c:pt idx="7395">
                  <c:v>5.0089787502965279</c:v>
                </c:pt>
                <c:pt idx="7396">
                  <c:v>5.9527701089469085</c:v>
                </c:pt>
                <c:pt idx="7397">
                  <c:v>6.1411088098446101</c:v>
                </c:pt>
                <c:pt idx="7398">
                  <c:v>5.8950702419383587</c:v>
                </c:pt>
                <c:pt idx="7399">
                  <c:v>5.883532839950254</c:v>
                </c:pt>
                <c:pt idx="7400">
                  <c:v>6.0386405162026247</c:v>
                </c:pt>
                <c:pt idx="7401">
                  <c:v>4.9644363667351747</c:v>
                </c:pt>
                <c:pt idx="7402">
                  <c:v>2.0148752027307926</c:v>
                </c:pt>
                <c:pt idx="7403">
                  <c:v>2.14393111083462</c:v>
                </c:pt>
                <c:pt idx="7404">
                  <c:v>6.0791219100464335</c:v>
                </c:pt>
                <c:pt idx="7405">
                  <c:v>5.1606749513478727</c:v>
                </c:pt>
                <c:pt idx="7406">
                  <c:v>5.0511916402700265</c:v>
                </c:pt>
                <c:pt idx="7407">
                  <c:v>4.9857821898441026</c:v>
                </c:pt>
                <c:pt idx="7408">
                  <c:v>6.1051026837728868</c:v>
                </c:pt>
                <c:pt idx="7409">
                  <c:v>5.1522197040911966</c:v>
                </c:pt>
                <c:pt idx="7410">
                  <c:v>4.8053347445549166</c:v>
                </c:pt>
                <c:pt idx="7411">
                  <c:v>5.0230164265245643</c:v>
                </c:pt>
                <c:pt idx="7412">
                  <c:v>5.9078241439070469</c:v>
                </c:pt>
                <c:pt idx="7413">
                  <c:v>6.868591304121515</c:v>
                </c:pt>
                <c:pt idx="7414">
                  <c:v>6.0478221110939954</c:v>
                </c:pt>
                <c:pt idx="7415">
                  <c:v>4.9431207697951294</c:v>
                </c:pt>
                <c:pt idx="7416">
                  <c:v>5.1337827509012275</c:v>
                </c:pt>
                <c:pt idx="7417">
                  <c:v>4.964205136656596</c:v>
                </c:pt>
                <c:pt idx="7418">
                  <c:v>5.1358095642854433</c:v>
                </c:pt>
                <c:pt idx="7419">
                  <c:v>4.9998990185192431</c:v>
                </c:pt>
                <c:pt idx="7420">
                  <c:v>6.0000983103135246</c:v>
                </c:pt>
                <c:pt idx="7421">
                  <c:v>4.9693878927523665</c:v>
                </c:pt>
                <c:pt idx="7422">
                  <c:v>5.9165762401400723</c:v>
                </c:pt>
                <c:pt idx="7423">
                  <c:v>5.1340974239070132</c:v>
                </c:pt>
                <c:pt idx="7424">
                  <c:v>4.942790138362672</c:v>
                </c:pt>
                <c:pt idx="7425">
                  <c:v>6.086133242280658</c:v>
                </c:pt>
                <c:pt idx="7426">
                  <c:v>6.0127965537790811</c:v>
                </c:pt>
                <c:pt idx="7427">
                  <c:v>6.9778932366066346</c:v>
                </c:pt>
                <c:pt idx="7428">
                  <c:v>5.9114794296437392</c:v>
                </c:pt>
                <c:pt idx="7429">
                  <c:v>5.8803641465250758</c:v>
                </c:pt>
                <c:pt idx="7430">
                  <c:v>1.8615805769193043</c:v>
                </c:pt>
                <c:pt idx="7431">
                  <c:v>4.0636306949692091</c:v>
                </c:pt>
                <c:pt idx="7432">
                  <c:v>4.9728594175456671</c:v>
                </c:pt>
                <c:pt idx="7433">
                  <c:v>4.8624564303098579</c:v>
                </c:pt>
                <c:pt idx="7434">
                  <c:v>6.1721734416767813</c:v>
                </c:pt>
                <c:pt idx="7435">
                  <c:v>4.9750411612200338</c:v>
                </c:pt>
                <c:pt idx="7436">
                  <c:v>5.8859841522441778</c:v>
                </c:pt>
                <c:pt idx="7437">
                  <c:v>5.9449072785481292</c:v>
                </c:pt>
                <c:pt idx="7438">
                  <c:v>6.0792748694407415</c:v>
                </c:pt>
                <c:pt idx="7439">
                  <c:v>6.0124927986042831</c:v>
                </c:pt>
                <c:pt idx="7440">
                  <c:v>5.0520219255325571</c:v>
                </c:pt>
                <c:pt idx="7441">
                  <c:v>5.0015098513399394</c:v>
                </c:pt>
                <c:pt idx="7442">
                  <c:v>4.8724468714060611</c:v>
                </c:pt>
                <c:pt idx="7443">
                  <c:v>5.9695124437441356</c:v>
                </c:pt>
                <c:pt idx="7444">
                  <c:v>5.7896921277709685</c:v>
                </c:pt>
                <c:pt idx="7445">
                  <c:v>5.0699282858586443</c:v>
                </c:pt>
                <c:pt idx="7446">
                  <c:v>5.9706295883426028</c:v>
                </c:pt>
                <c:pt idx="7447">
                  <c:v>5.8981436179345774</c:v>
                </c:pt>
                <c:pt idx="7448">
                  <c:v>5.0593646429652219</c:v>
                </c:pt>
                <c:pt idx="7449">
                  <c:v>5.1101652442102861</c:v>
                </c:pt>
                <c:pt idx="7450">
                  <c:v>5.1721650585511378</c:v>
                </c:pt>
                <c:pt idx="7451">
                  <c:v>5.0839708327622333</c:v>
                </c:pt>
                <c:pt idx="7452">
                  <c:v>6.0186499742773449</c:v>
                </c:pt>
                <c:pt idx="7453">
                  <c:v>4.9899898758749073</c:v>
                </c:pt>
                <c:pt idx="7454">
                  <c:v>6.0495041048969318</c:v>
                </c:pt>
                <c:pt idx="7455">
                  <c:v>5.9279253102874634</c:v>
                </c:pt>
                <c:pt idx="7456">
                  <c:v>4.9404360757922134</c:v>
                </c:pt>
                <c:pt idx="7457">
                  <c:v>4.7780764406999188</c:v>
                </c:pt>
                <c:pt idx="7458">
                  <c:v>5.0531968522333308</c:v>
                </c:pt>
                <c:pt idx="7459">
                  <c:v>5.1191084668217721</c:v>
                </c:pt>
                <c:pt idx="7460">
                  <c:v>5.0607068992203033</c:v>
                </c:pt>
                <c:pt idx="7461">
                  <c:v>5.014082662380015</c:v>
                </c:pt>
                <c:pt idx="7462">
                  <c:v>4.9591733070436348</c:v>
                </c:pt>
                <c:pt idx="7463">
                  <c:v>5.9903422425930763</c:v>
                </c:pt>
                <c:pt idx="7464">
                  <c:v>4.934327361169494</c:v>
                </c:pt>
                <c:pt idx="7465">
                  <c:v>3.9942240670242852</c:v>
                </c:pt>
                <c:pt idx="7466">
                  <c:v>4.1051835998653496</c:v>
                </c:pt>
                <c:pt idx="7467">
                  <c:v>3.9810780813122975</c:v>
                </c:pt>
                <c:pt idx="7468">
                  <c:v>4.9455292098689521</c:v>
                </c:pt>
                <c:pt idx="7469">
                  <c:v>5.1409692006815284</c:v>
                </c:pt>
                <c:pt idx="7470">
                  <c:v>5.9101421705226702</c:v>
                </c:pt>
                <c:pt idx="7471">
                  <c:v>6.129808018127231</c:v>
                </c:pt>
                <c:pt idx="7472">
                  <c:v>5.9965909729323537</c:v>
                </c:pt>
                <c:pt idx="7473">
                  <c:v>5.1295878795957162</c:v>
                </c:pt>
                <c:pt idx="7474">
                  <c:v>5.019612843700954</c:v>
                </c:pt>
                <c:pt idx="7475">
                  <c:v>6.0906230790191662</c:v>
                </c:pt>
                <c:pt idx="7476">
                  <c:v>6.0961506116085795</c:v>
                </c:pt>
                <c:pt idx="7477">
                  <c:v>6.0475157323457172</c:v>
                </c:pt>
                <c:pt idx="7478">
                  <c:v>4.9132942681767346</c:v>
                </c:pt>
                <c:pt idx="7479">
                  <c:v>5.9496304296085318</c:v>
                </c:pt>
                <c:pt idx="7480">
                  <c:v>4.9127059402164868</c:v>
                </c:pt>
                <c:pt idx="7481">
                  <c:v>6.8786094409070468</c:v>
                </c:pt>
                <c:pt idx="7482">
                  <c:v>4.0317422642313971</c:v>
                </c:pt>
                <c:pt idx="7483">
                  <c:v>6.0400921645591836</c:v>
                </c:pt>
                <c:pt idx="7484">
                  <c:v>5.9272342960087361</c:v>
                </c:pt>
                <c:pt idx="7485">
                  <c:v>4.9638001906715354</c:v>
                </c:pt>
                <c:pt idx="7486">
                  <c:v>5.0315494646580952</c:v>
                </c:pt>
                <c:pt idx="7487">
                  <c:v>4.8766738937505298</c:v>
                </c:pt>
                <c:pt idx="7488">
                  <c:v>4.7522004505824391</c:v>
                </c:pt>
                <c:pt idx="7489">
                  <c:v>6.0647668415688054</c:v>
                </c:pt>
                <c:pt idx="7490">
                  <c:v>4.1379582575138638</c:v>
                </c:pt>
                <c:pt idx="7491">
                  <c:v>1.998186738753071</c:v>
                </c:pt>
                <c:pt idx="7492">
                  <c:v>5.9697319800787927</c:v>
                </c:pt>
                <c:pt idx="7493">
                  <c:v>6.0736586643482511</c:v>
                </c:pt>
                <c:pt idx="7494">
                  <c:v>4.9738408169689823</c:v>
                </c:pt>
                <c:pt idx="7495">
                  <c:v>4.8933577795235319</c:v>
                </c:pt>
                <c:pt idx="7496">
                  <c:v>6.0800686126216537</c:v>
                </c:pt>
                <c:pt idx="7497">
                  <c:v>4.8021571169750441</c:v>
                </c:pt>
                <c:pt idx="7498">
                  <c:v>4.9459944544630279</c:v>
                </c:pt>
                <c:pt idx="7499">
                  <c:v>6.0214002705591465</c:v>
                </c:pt>
                <c:pt idx="7500">
                  <c:v>6.808107513680735</c:v>
                </c:pt>
                <c:pt idx="7501">
                  <c:v>5.9837908854131419</c:v>
                </c:pt>
                <c:pt idx="7502">
                  <c:v>4.9348636547531193</c:v>
                </c:pt>
                <c:pt idx="7503">
                  <c:v>5.0545116907831833</c:v>
                </c:pt>
                <c:pt idx="7504">
                  <c:v>6.1188361564370046</c:v>
                </c:pt>
                <c:pt idx="7505">
                  <c:v>5.8671917252632575</c:v>
                </c:pt>
                <c:pt idx="7506">
                  <c:v>6.1213341984496354</c:v>
                </c:pt>
                <c:pt idx="7507">
                  <c:v>5.9515766397076115</c:v>
                </c:pt>
                <c:pt idx="7508">
                  <c:v>6.1162437146025477</c:v>
                </c:pt>
                <c:pt idx="7509">
                  <c:v>5.7405611833695565</c:v>
                </c:pt>
                <c:pt idx="7510">
                  <c:v>5.0023363802823759</c:v>
                </c:pt>
                <c:pt idx="7511">
                  <c:v>5.0444970814132439</c:v>
                </c:pt>
                <c:pt idx="7512">
                  <c:v>5.8537630143240298</c:v>
                </c:pt>
                <c:pt idx="7513">
                  <c:v>6.0636807356758649</c:v>
                </c:pt>
                <c:pt idx="7514">
                  <c:v>5.0558049968333574</c:v>
                </c:pt>
                <c:pt idx="7515">
                  <c:v>6.9556835483741697</c:v>
                </c:pt>
                <c:pt idx="7516">
                  <c:v>6.0452176752808029</c:v>
                </c:pt>
                <c:pt idx="7517">
                  <c:v>5.9383304848969347</c:v>
                </c:pt>
                <c:pt idx="7518">
                  <c:v>4.9392443777526616</c:v>
                </c:pt>
                <c:pt idx="7519">
                  <c:v>6.0629583303506989</c:v>
                </c:pt>
                <c:pt idx="7520">
                  <c:v>5.0325979575963391</c:v>
                </c:pt>
                <c:pt idx="7521">
                  <c:v>4.993521620349533</c:v>
                </c:pt>
                <c:pt idx="7522">
                  <c:v>5.9944769717017294</c:v>
                </c:pt>
                <c:pt idx="7523">
                  <c:v>4.8606033801894855</c:v>
                </c:pt>
                <c:pt idx="7524">
                  <c:v>6.0365828399543089</c:v>
                </c:pt>
                <c:pt idx="7525">
                  <c:v>5.8225686653217634</c:v>
                </c:pt>
                <c:pt idx="7526">
                  <c:v>6.2121047703901331</c:v>
                </c:pt>
                <c:pt idx="7527">
                  <c:v>5.9040033562247549</c:v>
                </c:pt>
                <c:pt idx="7528">
                  <c:v>4.958316490037542</c:v>
                </c:pt>
                <c:pt idx="7529">
                  <c:v>6.0234871935169414</c:v>
                </c:pt>
                <c:pt idx="7530">
                  <c:v>6.1321111646063056</c:v>
                </c:pt>
                <c:pt idx="7531">
                  <c:v>5.9280891334073624</c:v>
                </c:pt>
                <c:pt idx="7532">
                  <c:v>6.1317816465051811</c:v>
                </c:pt>
                <c:pt idx="7533">
                  <c:v>5.9089517168201926</c:v>
                </c:pt>
                <c:pt idx="7534">
                  <c:v>4.9893931835240313</c:v>
                </c:pt>
                <c:pt idx="7535">
                  <c:v>7.079774785724636</c:v>
                </c:pt>
                <c:pt idx="7536">
                  <c:v>6.1237041580271745</c:v>
                </c:pt>
                <c:pt idx="7537">
                  <c:v>5.9062307462128683</c:v>
                </c:pt>
                <c:pt idx="7538">
                  <c:v>6.967992450628846</c:v>
                </c:pt>
                <c:pt idx="7539">
                  <c:v>6.0532798294657235</c:v>
                </c:pt>
                <c:pt idx="7540">
                  <c:v>5.1356110424983328</c:v>
                </c:pt>
                <c:pt idx="7541">
                  <c:v>5.9682524585422234</c:v>
                </c:pt>
                <c:pt idx="7542">
                  <c:v>6.0430605218905162</c:v>
                </c:pt>
                <c:pt idx="7543">
                  <c:v>4.8621479794151172</c:v>
                </c:pt>
                <c:pt idx="7544">
                  <c:v>5.0885558417599226</c:v>
                </c:pt>
                <c:pt idx="7545">
                  <c:v>5.8814780525836978</c:v>
                </c:pt>
                <c:pt idx="7546">
                  <c:v>6.0140287004211279</c:v>
                </c:pt>
                <c:pt idx="7547">
                  <c:v>6.0166904299423907</c:v>
                </c:pt>
                <c:pt idx="7548">
                  <c:v>5.7184363840463632</c:v>
                </c:pt>
                <c:pt idx="7549">
                  <c:v>5.0224318817378348</c:v>
                </c:pt>
                <c:pt idx="7550">
                  <c:v>5.8332467053390573</c:v>
                </c:pt>
                <c:pt idx="7551">
                  <c:v>6.0877638563220255</c:v>
                </c:pt>
                <c:pt idx="7552">
                  <c:v>4.9601188906130806</c:v>
                </c:pt>
                <c:pt idx="7553">
                  <c:v>6.0107199818438639</c:v>
                </c:pt>
                <c:pt idx="7554">
                  <c:v>5.9495077795859288</c:v>
                </c:pt>
                <c:pt idx="7555">
                  <c:v>5.7554710846768771</c:v>
                </c:pt>
                <c:pt idx="7556">
                  <c:v>5.1529356771549164</c:v>
                </c:pt>
                <c:pt idx="7557">
                  <c:v>5.9148267263634882</c:v>
                </c:pt>
                <c:pt idx="7558">
                  <c:v>5.9880694392785667</c:v>
                </c:pt>
                <c:pt idx="7559">
                  <c:v>6.258950275942853</c:v>
                </c:pt>
                <c:pt idx="7560">
                  <c:v>4.9689658990842611</c:v>
                </c:pt>
                <c:pt idx="7561">
                  <c:v>6.090019935435885</c:v>
                </c:pt>
                <c:pt idx="7562">
                  <c:v>6.0046524223514064</c:v>
                </c:pt>
                <c:pt idx="7563">
                  <c:v>6.0154667285839238</c:v>
                </c:pt>
                <c:pt idx="7564">
                  <c:v>5.8520159575547019</c:v>
                </c:pt>
                <c:pt idx="7565">
                  <c:v>6.1387188055662438</c:v>
                </c:pt>
                <c:pt idx="7566">
                  <c:v>5.9377632039964929</c:v>
                </c:pt>
                <c:pt idx="7567">
                  <c:v>5.9503832090209743</c:v>
                </c:pt>
                <c:pt idx="7568">
                  <c:v>6.0092212615647895</c:v>
                </c:pt>
                <c:pt idx="7569">
                  <c:v>4.9447470082188216</c:v>
                </c:pt>
                <c:pt idx="7570">
                  <c:v>6.8407532292554052</c:v>
                </c:pt>
                <c:pt idx="7571">
                  <c:v>7.1778729970879214</c:v>
                </c:pt>
                <c:pt idx="7572">
                  <c:v>7.0291022813246329</c:v>
                </c:pt>
                <c:pt idx="7573">
                  <c:v>7.0443756879439761</c:v>
                </c:pt>
                <c:pt idx="7574">
                  <c:v>5.0929859656827769</c:v>
                </c:pt>
                <c:pt idx="7575">
                  <c:v>6.142457910557547</c:v>
                </c:pt>
                <c:pt idx="7576">
                  <c:v>7.0017184778799084</c:v>
                </c:pt>
                <c:pt idx="7577">
                  <c:v>7.2167170928440711</c:v>
                </c:pt>
                <c:pt idx="7578">
                  <c:v>3.8744471043825546</c:v>
                </c:pt>
                <c:pt idx="7579">
                  <c:v>4.031733832378114</c:v>
                </c:pt>
                <c:pt idx="7580">
                  <c:v>4.927928596337285</c:v>
                </c:pt>
                <c:pt idx="7581">
                  <c:v>5.9024035686092651</c:v>
                </c:pt>
                <c:pt idx="7582">
                  <c:v>6.1096575925290137</c:v>
                </c:pt>
                <c:pt idx="7583">
                  <c:v>4.8744314725103841</c:v>
                </c:pt>
                <c:pt idx="7584">
                  <c:v>5.0073598871690708</c:v>
                </c:pt>
                <c:pt idx="7585">
                  <c:v>5.0483899009176989</c:v>
                </c:pt>
                <c:pt idx="7586">
                  <c:v>5.0717588329933783</c:v>
                </c:pt>
                <c:pt idx="7587">
                  <c:v>5.8247674504263749</c:v>
                </c:pt>
                <c:pt idx="7588">
                  <c:v>5.9820568185261145</c:v>
                </c:pt>
                <c:pt idx="7589">
                  <c:v>5.9552197487427359</c:v>
                </c:pt>
                <c:pt idx="7590">
                  <c:v>4.2409352529791615</c:v>
                </c:pt>
                <c:pt idx="7591">
                  <c:v>6.0509909427366386</c:v>
                </c:pt>
                <c:pt idx="7592">
                  <c:v>6.0959775144521666</c:v>
                </c:pt>
                <c:pt idx="7593">
                  <c:v>5.0079979960109791</c:v>
                </c:pt>
                <c:pt idx="7594">
                  <c:v>6.0114683014371018</c:v>
                </c:pt>
                <c:pt idx="7595">
                  <c:v>5.9692562579624031</c:v>
                </c:pt>
                <c:pt idx="7596">
                  <c:v>6.1345175451145453</c:v>
                </c:pt>
                <c:pt idx="7597">
                  <c:v>5.0488893867475708</c:v>
                </c:pt>
                <c:pt idx="7598">
                  <c:v>4.9912908388905448</c:v>
                </c:pt>
                <c:pt idx="7599">
                  <c:v>4.9048449185067913</c:v>
                </c:pt>
                <c:pt idx="7600">
                  <c:v>4.9568226917940912</c:v>
                </c:pt>
                <c:pt idx="7601">
                  <c:v>5.9501097126971745</c:v>
                </c:pt>
                <c:pt idx="7602">
                  <c:v>5.9671726236193692</c:v>
                </c:pt>
                <c:pt idx="7603">
                  <c:v>5.9323877917393446</c:v>
                </c:pt>
                <c:pt idx="7604">
                  <c:v>6.0133871436159438</c:v>
                </c:pt>
                <c:pt idx="7605">
                  <c:v>4.9706641314868154</c:v>
                </c:pt>
                <c:pt idx="7606">
                  <c:v>7.1139000152181522</c:v>
                </c:pt>
                <c:pt idx="7607">
                  <c:v>5.0950936179011332</c:v>
                </c:pt>
                <c:pt idx="7608">
                  <c:v>4.0264488075431162</c:v>
                </c:pt>
                <c:pt idx="7609">
                  <c:v>5.1839244094961572</c:v>
                </c:pt>
                <c:pt idx="7610">
                  <c:v>5.9701478604985505</c:v>
                </c:pt>
                <c:pt idx="7611">
                  <c:v>5.8385556860112269</c:v>
                </c:pt>
                <c:pt idx="7612">
                  <c:v>4.872927762075296</c:v>
                </c:pt>
                <c:pt idx="7613">
                  <c:v>5.0725087984838622</c:v>
                </c:pt>
                <c:pt idx="7614">
                  <c:v>5.8530386294352548</c:v>
                </c:pt>
                <c:pt idx="7615">
                  <c:v>4.8700820252239128</c:v>
                </c:pt>
                <c:pt idx="7616">
                  <c:v>4.8784323736538484</c:v>
                </c:pt>
                <c:pt idx="7617">
                  <c:v>4.9397682003642283</c:v>
                </c:pt>
                <c:pt idx="7618">
                  <c:v>7.0854798200889579</c:v>
                </c:pt>
                <c:pt idx="7619">
                  <c:v>5.8139662846841897</c:v>
                </c:pt>
                <c:pt idx="7620">
                  <c:v>6.1332356783381288</c:v>
                </c:pt>
                <c:pt idx="7621">
                  <c:v>5.9264275706862319</c:v>
                </c:pt>
                <c:pt idx="7622">
                  <c:v>5.8571924540066762</c:v>
                </c:pt>
                <c:pt idx="7623">
                  <c:v>6.0653503373584075</c:v>
                </c:pt>
                <c:pt idx="7624">
                  <c:v>5.8812415804293927</c:v>
                </c:pt>
                <c:pt idx="7625">
                  <c:v>5.0956795377021411</c:v>
                </c:pt>
                <c:pt idx="7626">
                  <c:v>5.0005567411010876</c:v>
                </c:pt>
                <c:pt idx="7627">
                  <c:v>6.0937375413660462</c:v>
                </c:pt>
                <c:pt idx="7628">
                  <c:v>4.9504586408807834</c:v>
                </c:pt>
                <c:pt idx="7629">
                  <c:v>5.7537544295744771</c:v>
                </c:pt>
                <c:pt idx="7630">
                  <c:v>6.201592533537025</c:v>
                </c:pt>
                <c:pt idx="7631">
                  <c:v>4.9208834100033867</c:v>
                </c:pt>
                <c:pt idx="7632">
                  <c:v>6.2418936662112179</c:v>
                </c:pt>
                <c:pt idx="7633">
                  <c:v>4.0259722270059939</c:v>
                </c:pt>
                <c:pt idx="7634">
                  <c:v>5.9175837142475567</c:v>
                </c:pt>
                <c:pt idx="7635">
                  <c:v>4.8415565440687125</c:v>
                </c:pt>
                <c:pt idx="7636">
                  <c:v>4.8655678043236499</c:v>
                </c:pt>
                <c:pt idx="7637">
                  <c:v>5.0204952811006915</c:v>
                </c:pt>
                <c:pt idx="7638">
                  <c:v>6.8170683144558399</c:v>
                </c:pt>
                <c:pt idx="7639">
                  <c:v>5.045429876704068</c:v>
                </c:pt>
                <c:pt idx="7640">
                  <c:v>5.095437059292478</c:v>
                </c:pt>
                <c:pt idx="7641">
                  <c:v>5.0073634255440291</c:v>
                </c:pt>
                <c:pt idx="7642">
                  <c:v>4.889116131977608</c:v>
                </c:pt>
                <c:pt idx="7643">
                  <c:v>3.984121395515035</c:v>
                </c:pt>
                <c:pt idx="7644">
                  <c:v>5.8918512329753243</c:v>
                </c:pt>
                <c:pt idx="7645">
                  <c:v>5.095784195585102</c:v>
                </c:pt>
                <c:pt idx="7646">
                  <c:v>4.8771020737221704</c:v>
                </c:pt>
                <c:pt idx="7647">
                  <c:v>5.9111927249770622</c:v>
                </c:pt>
                <c:pt idx="7648">
                  <c:v>5.9058177669267469</c:v>
                </c:pt>
                <c:pt idx="7649">
                  <c:v>3.9799012856611116</c:v>
                </c:pt>
                <c:pt idx="7650">
                  <c:v>5.1095289811819198</c:v>
                </c:pt>
                <c:pt idx="7651">
                  <c:v>6.0162750346345995</c:v>
                </c:pt>
                <c:pt idx="7652">
                  <c:v>5.9084918114648985</c:v>
                </c:pt>
                <c:pt idx="7653">
                  <c:v>4.986671908534734</c:v>
                </c:pt>
                <c:pt idx="7654">
                  <c:v>5.0658110590709162</c:v>
                </c:pt>
                <c:pt idx="7655">
                  <c:v>5.9094683984112049</c:v>
                </c:pt>
                <c:pt idx="7656">
                  <c:v>5.9016025635879013</c:v>
                </c:pt>
                <c:pt idx="7657">
                  <c:v>5.0491521429391364</c:v>
                </c:pt>
                <c:pt idx="7658">
                  <c:v>5.9709256117346303</c:v>
                </c:pt>
                <c:pt idx="7659">
                  <c:v>5.9552741825024622</c:v>
                </c:pt>
                <c:pt idx="7660">
                  <c:v>4.9287368269922807</c:v>
                </c:pt>
                <c:pt idx="7661">
                  <c:v>4.9003491986871808</c:v>
                </c:pt>
                <c:pt idx="7662">
                  <c:v>6.1326410222710477</c:v>
                </c:pt>
                <c:pt idx="7663">
                  <c:v>5.9644426178357577</c:v>
                </c:pt>
                <c:pt idx="7664">
                  <c:v>5.8914003572917881</c:v>
                </c:pt>
                <c:pt idx="7665">
                  <c:v>7.0688711474688892</c:v>
                </c:pt>
                <c:pt idx="7666">
                  <c:v>5.0277440333380961</c:v>
                </c:pt>
                <c:pt idx="7667">
                  <c:v>6.0284379217207427</c:v>
                </c:pt>
                <c:pt idx="7668">
                  <c:v>5.1367129335952075</c:v>
                </c:pt>
                <c:pt idx="7669">
                  <c:v>5.040873461297676</c:v>
                </c:pt>
                <c:pt idx="7670">
                  <c:v>5.8805781255790901</c:v>
                </c:pt>
                <c:pt idx="7671">
                  <c:v>4.9510561802192523</c:v>
                </c:pt>
                <c:pt idx="7672">
                  <c:v>6.1132744141376909</c:v>
                </c:pt>
                <c:pt idx="7673">
                  <c:v>4.9532585222829173</c:v>
                </c:pt>
                <c:pt idx="7674">
                  <c:v>4.9724727469356393</c:v>
                </c:pt>
                <c:pt idx="7675">
                  <c:v>6.207434071971047</c:v>
                </c:pt>
                <c:pt idx="7676">
                  <c:v>5.8828999526872803</c:v>
                </c:pt>
                <c:pt idx="7677">
                  <c:v>4.8058724154559425</c:v>
                </c:pt>
                <c:pt idx="7678">
                  <c:v>5.8572691906917305</c:v>
                </c:pt>
                <c:pt idx="7679">
                  <c:v>5.9114118378539313</c:v>
                </c:pt>
                <c:pt idx="7680">
                  <c:v>5.1154618736484716</c:v>
                </c:pt>
                <c:pt idx="7681">
                  <c:v>5.0764939715171504</c:v>
                </c:pt>
                <c:pt idx="7682">
                  <c:v>4.9916859672064433</c:v>
                </c:pt>
                <c:pt idx="7683">
                  <c:v>5.0980027853408805</c:v>
                </c:pt>
                <c:pt idx="7684">
                  <c:v>5.9870755349780822</c:v>
                </c:pt>
                <c:pt idx="7685">
                  <c:v>4.9847901826355967</c:v>
                </c:pt>
                <c:pt idx="7686">
                  <c:v>4.9252001102591079</c:v>
                </c:pt>
                <c:pt idx="7687">
                  <c:v>5.9980928780484799</c:v>
                </c:pt>
                <c:pt idx="7688">
                  <c:v>5.8609999306578713</c:v>
                </c:pt>
                <c:pt idx="7689">
                  <c:v>5.0252775560478335</c:v>
                </c:pt>
                <c:pt idx="7690">
                  <c:v>5.7889421455534791</c:v>
                </c:pt>
                <c:pt idx="7691">
                  <c:v>6.009664870398332</c:v>
                </c:pt>
                <c:pt idx="7692">
                  <c:v>4.8518983626533236</c:v>
                </c:pt>
                <c:pt idx="7693">
                  <c:v>5.074930337834628</c:v>
                </c:pt>
                <c:pt idx="7694">
                  <c:v>6.0565001970398997</c:v>
                </c:pt>
                <c:pt idx="7695">
                  <c:v>5.2724064266918766</c:v>
                </c:pt>
                <c:pt idx="7696">
                  <c:v>5.0208689330399388</c:v>
                </c:pt>
                <c:pt idx="7697">
                  <c:v>6.003667421494038</c:v>
                </c:pt>
                <c:pt idx="7698">
                  <c:v>5.228893189030333</c:v>
                </c:pt>
                <c:pt idx="7699">
                  <c:v>5.0333637353126868</c:v>
                </c:pt>
                <c:pt idx="7700">
                  <c:v>4.9852477179748975</c:v>
                </c:pt>
                <c:pt idx="7701">
                  <c:v>5.947464319075741</c:v>
                </c:pt>
                <c:pt idx="7702">
                  <c:v>4.9495270947472543</c:v>
                </c:pt>
                <c:pt idx="7703">
                  <c:v>4.9700726039326097</c:v>
                </c:pt>
                <c:pt idx="7704">
                  <c:v>6.041817282685086</c:v>
                </c:pt>
                <c:pt idx="7705">
                  <c:v>5.8523406952182286</c:v>
                </c:pt>
                <c:pt idx="7706">
                  <c:v>6.0064373713881203</c:v>
                </c:pt>
                <c:pt idx="7707">
                  <c:v>5.068888692279705</c:v>
                </c:pt>
                <c:pt idx="7708">
                  <c:v>6.0768915222117217</c:v>
                </c:pt>
                <c:pt idx="7709">
                  <c:v>5.0353373596156628</c:v>
                </c:pt>
                <c:pt idx="7710">
                  <c:v>4.8884925442222711</c:v>
                </c:pt>
                <c:pt idx="7711">
                  <c:v>5.8292339688850561</c:v>
                </c:pt>
                <c:pt idx="7712">
                  <c:v>6.0092405970066771</c:v>
                </c:pt>
                <c:pt idx="7713">
                  <c:v>5.027337961259188</c:v>
                </c:pt>
                <c:pt idx="7714">
                  <c:v>5.9883073979551931</c:v>
                </c:pt>
                <c:pt idx="7715">
                  <c:v>7.0760141818243651</c:v>
                </c:pt>
                <c:pt idx="7716">
                  <c:v>6.0601086005655365</c:v>
                </c:pt>
                <c:pt idx="7717">
                  <c:v>5.9364489501344009</c:v>
                </c:pt>
                <c:pt idx="7718">
                  <c:v>4.8040448752016021</c:v>
                </c:pt>
                <c:pt idx="7719">
                  <c:v>5.9076107834656097</c:v>
                </c:pt>
                <c:pt idx="7720">
                  <c:v>5.9440167328679712</c:v>
                </c:pt>
                <c:pt idx="7721">
                  <c:v>6.0164139301768502</c:v>
                </c:pt>
                <c:pt idx="7722">
                  <c:v>7.0390169683434642</c:v>
                </c:pt>
                <c:pt idx="7723">
                  <c:v>6.1285871668803358</c:v>
                </c:pt>
                <c:pt idx="7724">
                  <c:v>5.1463853361031084</c:v>
                </c:pt>
                <c:pt idx="7725">
                  <c:v>6.0113633168728899</c:v>
                </c:pt>
                <c:pt idx="7726">
                  <c:v>6.9766748319780394</c:v>
                </c:pt>
                <c:pt idx="7727">
                  <c:v>5.8436685139524851</c:v>
                </c:pt>
                <c:pt idx="7728">
                  <c:v>4.93224627272782</c:v>
                </c:pt>
                <c:pt idx="7729">
                  <c:v>6.1598839880522984</c:v>
                </c:pt>
                <c:pt idx="7730">
                  <c:v>6.0003756680603946</c:v>
                </c:pt>
                <c:pt idx="7731">
                  <c:v>4.1626373459756065</c:v>
                </c:pt>
                <c:pt idx="7732">
                  <c:v>7.0771092325505922</c:v>
                </c:pt>
                <c:pt idx="7733">
                  <c:v>3.8513860785924487</c:v>
                </c:pt>
                <c:pt idx="7734">
                  <c:v>3.9424707300451032</c:v>
                </c:pt>
                <c:pt idx="7735">
                  <c:v>5.0759831083047731</c:v>
                </c:pt>
                <c:pt idx="7736">
                  <c:v>5.1566390159296134</c:v>
                </c:pt>
                <c:pt idx="7737">
                  <c:v>4.9933370509196342</c:v>
                </c:pt>
                <c:pt idx="7738">
                  <c:v>5.0464382679218387</c:v>
                </c:pt>
                <c:pt idx="7739">
                  <c:v>6.0016678825908656</c:v>
                </c:pt>
                <c:pt idx="7740">
                  <c:v>6.028552408725905</c:v>
                </c:pt>
                <c:pt idx="7741">
                  <c:v>5.9264919484079117</c:v>
                </c:pt>
                <c:pt idx="7742">
                  <c:v>5.0729624896661498</c:v>
                </c:pt>
                <c:pt idx="7743">
                  <c:v>5.9943340357045631</c:v>
                </c:pt>
                <c:pt idx="7744">
                  <c:v>5.1156865405315397</c:v>
                </c:pt>
                <c:pt idx="7745">
                  <c:v>4.9164265578950035</c:v>
                </c:pt>
                <c:pt idx="7746">
                  <c:v>4.8575792187971887</c:v>
                </c:pt>
                <c:pt idx="7747">
                  <c:v>6.0013620633284797</c:v>
                </c:pt>
                <c:pt idx="7748">
                  <c:v>5.901115252837636</c:v>
                </c:pt>
                <c:pt idx="7749">
                  <c:v>5.8639806037469677</c:v>
                </c:pt>
                <c:pt idx="7750">
                  <c:v>4.9688870275928698</c:v>
                </c:pt>
                <c:pt idx="7751">
                  <c:v>5.8931925854263429</c:v>
                </c:pt>
                <c:pt idx="7752">
                  <c:v>5.9122812120514245</c:v>
                </c:pt>
                <c:pt idx="7753">
                  <c:v>5.9114671008525121</c:v>
                </c:pt>
                <c:pt idx="7754">
                  <c:v>6.1288248083715056</c:v>
                </c:pt>
                <c:pt idx="7755">
                  <c:v>4.1661232976625051</c:v>
                </c:pt>
                <c:pt idx="7756">
                  <c:v>6.0028460469137279</c:v>
                </c:pt>
                <c:pt idx="7757">
                  <c:v>4.890097596198907</c:v>
                </c:pt>
                <c:pt idx="7758">
                  <c:v>5.9611207614895587</c:v>
                </c:pt>
                <c:pt idx="7759">
                  <c:v>5.1414333111731061</c:v>
                </c:pt>
                <c:pt idx="7760">
                  <c:v>6.1083191310473115</c:v>
                </c:pt>
                <c:pt idx="7761">
                  <c:v>6.9947498963362644</c:v>
                </c:pt>
                <c:pt idx="7762">
                  <c:v>6.1078805427850833</c:v>
                </c:pt>
                <c:pt idx="7763">
                  <c:v>5.8108457281659236</c:v>
                </c:pt>
                <c:pt idx="7764">
                  <c:v>5.901250539409939</c:v>
                </c:pt>
                <c:pt idx="7765">
                  <c:v>4.9363439581039206</c:v>
                </c:pt>
                <c:pt idx="7766">
                  <c:v>6.0341060897604653</c:v>
                </c:pt>
                <c:pt idx="7767">
                  <c:v>5.9093974327132859</c:v>
                </c:pt>
                <c:pt idx="7768">
                  <c:v>5.0225449208220683</c:v>
                </c:pt>
                <c:pt idx="7769">
                  <c:v>4.987795878228547</c:v>
                </c:pt>
                <c:pt idx="7770">
                  <c:v>4.97900211204011</c:v>
                </c:pt>
                <c:pt idx="7771">
                  <c:v>4.95580505534934</c:v>
                </c:pt>
                <c:pt idx="7772">
                  <c:v>4.9225488558429769</c:v>
                </c:pt>
                <c:pt idx="7773">
                  <c:v>6.0446472038721195</c:v>
                </c:pt>
                <c:pt idx="7774">
                  <c:v>5.0489638973687017</c:v>
                </c:pt>
                <c:pt idx="7775">
                  <c:v>4.9001027147389662</c:v>
                </c:pt>
                <c:pt idx="7776">
                  <c:v>6.0100651634736071</c:v>
                </c:pt>
                <c:pt idx="7777">
                  <c:v>4.9177473576618658</c:v>
                </c:pt>
                <c:pt idx="7778">
                  <c:v>5.044808341576414</c:v>
                </c:pt>
                <c:pt idx="7779">
                  <c:v>5.1405423297199313</c:v>
                </c:pt>
                <c:pt idx="7780">
                  <c:v>5.1122316944996058</c:v>
                </c:pt>
                <c:pt idx="7781">
                  <c:v>4.8913334740236838</c:v>
                </c:pt>
                <c:pt idx="7782">
                  <c:v>5.972136279906989</c:v>
                </c:pt>
                <c:pt idx="7783">
                  <c:v>5.9996083573464292</c:v>
                </c:pt>
                <c:pt idx="7784">
                  <c:v>6.0501643251374277</c:v>
                </c:pt>
                <c:pt idx="7785">
                  <c:v>5.8603167793422628</c:v>
                </c:pt>
                <c:pt idx="7786">
                  <c:v>6.0617909931963911</c:v>
                </c:pt>
                <c:pt idx="7787">
                  <c:v>4.9166196073287347</c:v>
                </c:pt>
                <c:pt idx="7788">
                  <c:v>4.8623954219276238</c:v>
                </c:pt>
                <c:pt idx="7789">
                  <c:v>5.8514970968055815</c:v>
                </c:pt>
                <c:pt idx="7790">
                  <c:v>4.9901840544092071</c:v>
                </c:pt>
                <c:pt idx="7791">
                  <c:v>4.9064871054627819</c:v>
                </c:pt>
                <c:pt idx="7792">
                  <c:v>4.9613782586000452</c:v>
                </c:pt>
                <c:pt idx="7793">
                  <c:v>4.9860615150056926</c:v>
                </c:pt>
                <c:pt idx="7794">
                  <c:v>5.9755851644263966</c:v>
                </c:pt>
                <c:pt idx="7795">
                  <c:v>6.057699538676971</c:v>
                </c:pt>
                <c:pt idx="7796">
                  <c:v>5.0662985922086081</c:v>
                </c:pt>
                <c:pt idx="7797">
                  <c:v>5.0695179282497538</c:v>
                </c:pt>
                <c:pt idx="7798">
                  <c:v>5.9809374506957935</c:v>
                </c:pt>
                <c:pt idx="7799">
                  <c:v>4.944020527600741</c:v>
                </c:pt>
                <c:pt idx="7800">
                  <c:v>6.0122536926212824</c:v>
                </c:pt>
                <c:pt idx="7801">
                  <c:v>5.0159297901997189</c:v>
                </c:pt>
                <c:pt idx="7802">
                  <c:v>5.0894239709553686</c:v>
                </c:pt>
                <c:pt idx="7803">
                  <c:v>5.1000807958882888</c:v>
                </c:pt>
                <c:pt idx="7804">
                  <c:v>4.9788714458178047</c:v>
                </c:pt>
                <c:pt idx="7805">
                  <c:v>4.9700785902754365</c:v>
                </c:pt>
                <c:pt idx="7806">
                  <c:v>6.0606346727049454</c:v>
                </c:pt>
                <c:pt idx="7807">
                  <c:v>5.0893339774629975</c:v>
                </c:pt>
                <c:pt idx="7808">
                  <c:v>6.0917755720071751</c:v>
                </c:pt>
                <c:pt idx="7809">
                  <c:v>5.0536762029887567</c:v>
                </c:pt>
                <c:pt idx="7810">
                  <c:v>2.1887949865674656</c:v>
                </c:pt>
                <c:pt idx="7811">
                  <c:v>2.02648953155034</c:v>
                </c:pt>
                <c:pt idx="7812">
                  <c:v>5.0660094507316131</c:v>
                </c:pt>
                <c:pt idx="7813">
                  <c:v>6.0709491469659911</c:v>
                </c:pt>
                <c:pt idx="7814">
                  <c:v>6.0043794128538455</c:v>
                </c:pt>
                <c:pt idx="7815">
                  <c:v>5.0530668462587176</c:v>
                </c:pt>
                <c:pt idx="7816">
                  <c:v>7.0924914339178962</c:v>
                </c:pt>
                <c:pt idx="7817">
                  <c:v>4.9658265942900472</c:v>
                </c:pt>
                <c:pt idx="7818">
                  <c:v>3.946919024102518</c:v>
                </c:pt>
                <c:pt idx="7819">
                  <c:v>6.7200833989037072</c:v>
                </c:pt>
                <c:pt idx="7820">
                  <c:v>4.994200089831474</c:v>
                </c:pt>
                <c:pt idx="7821">
                  <c:v>5.0984864295849865</c:v>
                </c:pt>
                <c:pt idx="7822">
                  <c:v>6.039208474008511</c:v>
                </c:pt>
                <c:pt idx="7823">
                  <c:v>5.9318813587270585</c:v>
                </c:pt>
                <c:pt idx="7824">
                  <c:v>5.0575303790284867</c:v>
                </c:pt>
                <c:pt idx="7825">
                  <c:v>4.876621119547127</c:v>
                </c:pt>
                <c:pt idx="7826">
                  <c:v>6.1124507731648716</c:v>
                </c:pt>
                <c:pt idx="7827">
                  <c:v>6.0528804817148831</c:v>
                </c:pt>
                <c:pt idx="7828">
                  <c:v>5.0196286747548573</c:v>
                </c:pt>
                <c:pt idx="7829">
                  <c:v>4.8659147783225913</c:v>
                </c:pt>
                <c:pt idx="7830">
                  <c:v>6.0229136764550351</c:v>
                </c:pt>
                <c:pt idx="7831">
                  <c:v>5.0263751543857849</c:v>
                </c:pt>
                <c:pt idx="7832">
                  <c:v>6.1438727054426243</c:v>
                </c:pt>
                <c:pt idx="7833">
                  <c:v>5.0698984521867079</c:v>
                </c:pt>
                <c:pt idx="7834">
                  <c:v>5.9220181551029132</c:v>
                </c:pt>
                <c:pt idx="7835">
                  <c:v>5.9105493365181161</c:v>
                </c:pt>
                <c:pt idx="7836">
                  <c:v>5.8803211077693796</c:v>
                </c:pt>
                <c:pt idx="7837">
                  <c:v>6.0350432822772389</c:v>
                </c:pt>
                <c:pt idx="7838">
                  <c:v>5.9392435763297158</c:v>
                </c:pt>
                <c:pt idx="7839">
                  <c:v>5.9326056091804293</c:v>
                </c:pt>
                <c:pt idx="7840">
                  <c:v>6.0659573417088914</c:v>
                </c:pt>
                <c:pt idx="7841">
                  <c:v>6.0469811346501823</c:v>
                </c:pt>
                <c:pt idx="7842">
                  <c:v>5.8940859946372157</c:v>
                </c:pt>
                <c:pt idx="7843">
                  <c:v>5.9754602734928568</c:v>
                </c:pt>
                <c:pt idx="7844">
                  <c:v>5.2474674818829596</c:v>
                </c:pt>
                <c:pt idx="7845">
                  <c:v>5.1205288380963747</c:v>
                </c:pt>
                <c:pt idx="7846">
                  <c:v>6.0891392587765401</c:v>
                </c:pt>
                <c:pt idx="7847">
                  <c:v>5.0503084206452904</c:v>
                </c:pt>
                <c:pt idx="7848">
                  <c:v>5.9688329988891846</c:v>
                </c:pt>
                <c:pt idx="7849">
                  <c:v>5.0324535917543054</c:v>
                </c:pt>
                <c:pt idx="7850">
                  <c:v>6.0309324952205801</c:v>
                </c:pt>
                <c:pt idx="7851">
                  <c:v>4.9797749569351666</c:v>
                </c:pt>
                <c:pt idx="7852">
                  <c:v>5.9355681215368614</c:v>
                </c:pt>
                <c:pt idx="7853">
                  <c:v>5.9769262981736357</c:v>
                </c:pt>
                <c:pt idx="7854">
                  <c:v>5.0266203109251117</c:v>
                </c:pt>
                <c:pt idx="7855">
                  <c:v>6.031282735654778</c:v>
                </c:pt>
                <c:pt idx="7856">
                  <c:v>6.0866874406090874</c:v>
                </c:pt>
                <c:pt idx="7857">
                  <c:v>5.017219335378666</c:v>
                </c:pt>
                <c:pt idx="7858">
                  <c:v>4.9729332866859401</c:v>
                </c:pt>
                <c:pt idx="7859">
                  <c:v>6.0337190106332876</c:v>
                </c:pt>
                <c:pt idx="7860">
                  <c:v>4.9553291549970746</c:v>
                </c:pt>
                <c:pt idx="7861">
                  <c:v>4.955416502063982</c:v>
                </c:pt>
                <c:pt idx="7862">
                  <c:v>5.0328001698674418</c:v>
                </c:pt>
                <c:pt idx="7863">
                  <c:v>5.0392011960883609</c:v>
                </c:pt>
                <c:pt idx="7864">
                  <c:v>5.8895169112062495</c:v>
                </c:pt>
                <c:pt idx="7865">
                  <c:v>5.1504729233244317</c:v>
                </c:pt>
                <c:pt idx="7866">
                  <c:v>4.9575218435058694</c:v>
                </c:pt>
                <c:pt idx="7867">
                  <c:v>5.0301642638777162</c:v>
                </c:pt>
                <c:pt idx="7868">
                  <c:v>5.8931425022263388</c:v>
                </c:pt>
                <c:pt idx="7869">
                  <c:v>4.8729136394364509</c:v>
                </c:pt>
                <c:pt idx="7870">
                  <c:v>5.0031886042273346</c:v>
                </c:pt>
                <c:pt idx="7871">
                  <c:v>6.0094728331347067</c:v>
                </c:pt>
                <c:pt idx="7872">
                  <c:v>5.8234410332366906</c:v>
                </c:pt>
                <c:pt idx="7873">
                  <c:v>5.9546749409832724</c:v>
                </c:pt>
                <c:pt idx="7874">
                  <c:v>6.1532467053381259</c:v>
                </c:pt>
                <c:pt idx="7875">
                  <c:v>5.9376951505512796</c:v>
                </c:pt>
                <c:pt idx="7876">
                  <c:v>5.0157088254717479</c:v>
                </c:pt>
                <c:pt idx="7877">
                  <c:v>7.2070802371702785</c:v>
                </c:pt>
                <c:pt idx="7878">
                  <c:v>6.0064579491480439</c:v>
                </c:pt>
                <c:pt idx="7879">
                  <c:v>4.8918511927941948</c:v>
                </c:pt>
                <c:pt idx="7880">
                  <c:v>6.1852909536184608</c:v>
                </c:pt>
                <c:pt idx="7881">
                  <c:v>5.0787311301863136</c:v>
                </c:pt>
                <c:pt idx="7882">
                  <c:v>4.3025892268431774</c:v>
                </c:pt>
                <c:pt idx="7883">
                  <c:v>6.0792011422963057</c:v>
                </c:pt>
                <c:pt idx="7884">
                  <c:v>4.9267250537889158</c:v>
                </c:pt>
                <c:pt idx="7885">
                  <c:v>6.046229748999127</c:v>
                </c:pt>
                <c:pt idx="7886">
                  <c:v>4.8522047802192336</c:v>
                </c:pt>
                <c:pt idx="7887">
                  <c:v>5.931988743212675</c:v>
                </c:pt>
                <c:pt idx="7888">
                  <c:v>6.0525668052441128</c:v>
                </c:pt>
                <c:pt idx="7889">
                  <c:v>6.1641192784839998</c:v>
                </c:pt>
                <c:pt idx="7890">
                  <c:v>5.0668354728955398</c:v>
                </c:pt>
                <c:pt idx="7891">
                  <c:v>4.82255501078187</c:v>
                </c:pt>
                <c:pt idx="7892">
                  <c:v>5.9196802040371548</c:v>
                </c:pt>
                <c:pt idx="7893">
                  <c:v>6.9997622155394659</c:v>
                </c:pt>
                <c:pt idx="7894">
                  <c:v>6.0920121772449445</c:v>
                </c:pt>
                <c:pt idx="7895">
                  <c:v>6.1578136188712183</c:v>
                </c:pt>
                <c:pt idx="7896">
                  <c:v>4.8239476505692416</c:v>
                </c:pt>
                <c:pt idx="7897">
                  <c:v>6.2010051872697307</c:v>
                </c:pt>
                <c:pt idx="7898">
                  <c:v>5.0307604834223643</c:v>
                </c:pt>
                <c:pt idx="7899">
                  <c:v>5.9122386557064877</c:v>
                </c:pt>
                <c:pt idx="7900">
                  <c:v>5.9240212093870275</c:v>
                </c:pt>
                <c:pt idx="7901">
                  <c:v>6.1219165239397366</c:v>
                </c:pt>
                <c:pt idx="7902">
                  <c:v>4.9253642739561556</c:v>
                </c:pt>
                <c:pt idx="7903">
                  <c:v>6.0561085044643583</c:v>
                </c:pt>
                <c:pt idx="7904">
                  <c:v>5.1839217575013086</c:v>
                </c:pt>
                <c:pt idx="7905">
                  <c:v>5.9353125938197646</c:v>
                </c:pt>
                <c:pt idx="7906">
                  <c:v>5.8908894693835911</c:v>
                </c:pt>
                <c:pt idx="7907">
                  <c:v>5.8658826338157786</c:v>
                </c:pt>
                <c:pt idx="7908">
                  <c:v>5.9141595836505996</c:v>
                </c:pt>
                <c:pt idx="7909">
                  <c:v>5.0514275707983707</c:v>
                </c:pt>
                <c:pt idx="7910">
                  <c:v>4.7526147056469341</c:v>
                </c:pt>
                <c:pt idx="7911">
                  <c:v>5.0930196939406391</c:v>
                </c:pt>
                <c:pt idx="7912">
                  <c:v>5.0972533707469578</c:v>
                </c:pt>
                <c:pt idx="7913">
                  <c:v>6.0305641211513308</c:v>
                </c:pt>
                <c:pt idx="7914">
                  <c:v>6.0084712967257241</c:v>
                </c:pt>
                <c:pt idx="7915">
                  <c:v>6.0954197614983539</c:v>
                </c:pt>
                <c:pt idx="7916">
                  <c:v>4.9236710711547804</c:v>
                </c:pt>
                <c:pt idx="7917">
                  <c:v>5.1262994990666009</c:v>
                </c:pt>
                <c:pt idx="7918">
                  <c:v>5.984417692461018</c:v>
                </c:pt>
                <c:pt idx="7919">
                  <c:v>6.009866205307862</c:v>
                </c:pt>
                <c:pt idx="7920">
                  <c:v>6.0678361988988296</c:v>
                </c:pt>
                <c:pt idx="7921">
                  <c:v>5.9948440024179606</c:v>
                </c:pt>
                <c:pt idx="7922">
                  <c:v>6.002667132740247</c:v>
                </c:pt>
                <c:pt idx="7923">
                  <c:v>5.0235236937576762</c:v>
                </c:pt>
                <c:pt idx="7924">
                  <c:v>5.9465567859366546</c:v>
                </c:pt>
                <c:pt idx="7925">
                  <c:v>5.1001798209270346</c:v>
                </c:pt>
                <c:pt idx="7926">
                  <c:v>5.8541835300262415</c:v>
                </c:pt>
                <c:pt idx="7927">
                  <c:v>6.0279416119347911</c:v>
                </c:pt>
                <c:pt idx="7928">
                  <c:v>5.9296745270702944</c:v>
                </c:pt>
                <c:pt idx="7929">
                  <c:v>5.8901513896809838</c:v>
                </c:pt>
                <c:pt idx="7930">
                  <c:v>4.994591818501088</c:v>
                </c:pt>
                <c:pt idx="7931">
                  <c:v>5.0868617348172318</c:v>
                </c:pt>
                <c:pt idx="7932">
                  <c:v>5.9786987748692884</c:v>
                </c:pt>
                <c:pt idx="7933">
                  <c:v>5.021526870870165</c:v>
                </c:pt>
                <c:pt idx="7934">
                  <c:v>6.0336358970588568</c:v>
                </c:pt>
                <c:pt idx="7935">
                  <c:v>5.8905031478424217</c:v>
                </c:pt>
                <c:pt idx="7936">
                  <c:v>5.0721383351487068</c:v>
                </c:pt>
                <c:pt idx="7937">
                  <c:v>5.9664763844255386</c:v>
                </c:pt>
                <c:pt idx="7938">
                  <c:v>5.1211768335781551</c:v>
                </c:pt>
                <c:pt idx="7939">
                  <c:v>5.8259894686571077</c:v>
                </c:pt>
                <c:pt idx="7940">
                  <c:v>3.9917334237292441</c:v>
                </c:pt>
                <c:pt idx="7941">
                  <c:v>7.0483358839324239</c:v>
                </c:pt>
                <c:pt idx="7942">
                  <c:v>5.8656890086288147</c:v>
                </c:pt>
                <c:pt idx="7943">
                  <c:v>5.9375951932068789</c:v>
                </c:pt>
                <c:pt idx="7944">
                  <c:v>4.9824617394696213</c:v>
                </c:pt>
                <c:pt idx="7945">
                  <c:v>6.1733865199471758</c:v>
                </c:pt>
                <c:pt idx="7946">
                  <c:v>4.9934238778666842</c:v>
                </c:pt>
                <c:pt idx="7947">
                  <c:v>6.086120663145107</c:v>
                </c:pt>
                <c:pt idx="7948">
                  <c:v>5.8956445426312349</c:v>
                </c:pt>
                <c:pt idx="7949">
                  <c:v>5.0815225312706032</c:v>
                </c:pt>
                <c:pt idx="7950">
                  <c:v>4.8751372687247807</c:v>
                </c:pt>
                <c:pt idx="7951">
                  <c:v>6.1220457340021204</c:v>
                </c:pt>
                <c:pt idx="7952">
                  <c:v>4.9294038025915352</c:v>
                </c:pt>
                <c:pt idx="7953">
                  <c:v>5.1244096518005566</c:v>
                </c:pt>
                <c:pt idx="7954">
                  <c:v>5.9968579264865705</c:v>
                </c:pt>
                <c:pt idx="7955">
                  <c:v>6.0846849777218548</c:v>
                </c:pt>
                <c:pt idx="7956">
                  <c:v>5.9393444613072548</c:v>
                </c:pt>
                <c:pt idx="7957">
                  <c:v>5.9046493601658696</c:v>
                </c:pt>
                <c:pt idx="7958">
                  <c:v>5.9898027667718328</c:v>
                </c:pt>
                <c:pt idx="7959">
                  <c:v>6.055856930172415</c:v>
                </c:pt>
                <c:pt idx="7960">
                  <c:v>5.9956939484517546</c:v>
                </c:pt>
                <c:pt idx="7961">
                  <c:v>6.066821159055177</c:v>
                </c:pt>
                <c:pt idx="7962">
                  <c:v>5.0829316774933551</c:v>
                </c:pt>
                <c:pt idx="7963">
                  <c:v>5.9356556622815333</c:v>
                </c:pt>
                <c:pt idx="7964">
                  <c:v>4.9246902618746295</c:v>
                </c:pt>
                <c:pt idx="7965">
                  <c:v>5.8881295358624941</c:v>
                </c:pt>
                <c:pt idx="7966">
                  <c:v>5.9200455075118645</c:v>
                </c:pt>
                <c:pt idx="7967">
                  <c:v>5.8452011647928614</c:v>
                </c:pt>
                <c:pt idx="7968">
                  <c:v>6.021930646150917</c:v>
                </c:pt>
                <c:pt idx="7969">
                  <c:v>5.0233710389508754</c:v>
                </c:pt>
                <c:pt idx="7970">
                  <c:v>5.0225014407359136</c:v>
                </c:pt>
                <c:pt idx="7971">
                  <c:v>4.8868859567002927</c:v>
                </c:pt>
                <c:pt idx="7972">
                  <c:v>5.0235708758732098</c:v>
                </c:pt>
                <c:pt idx="7973">
                  <c:v>4.9718081304605084</c:v>
                </c:pt>
                <c:pt idx="7974">
                  <c:v>6.0016820866808338</c:v>
                </c:pt>
                <c:pt idx="7975">
                  <c:v>5.8061418420198265</c:v>
                </c:pt>
                <c:pt idx="7976">
                  <c:v>5.017812658895501</c:v>
                </c:pt>
                <c:pt idx="7977">
                  <c:v>6.0197395707629031</c:v>
                </c:pt>
                <c:pt idx="7978">
                  <c:v>5.8137140871631825</c:v>
                </c:pt>
                <c:pt idx="7979">
                  <c:v>5.0570378265327509</c:v>
                </c:pt>
                <c:pt idx="7980">
                  <c:v>4.8970479437452896</c:v>
                </c:pt>
                <c:pt idx="7981">
                  <c:v>4.9382452563340795</c:v>
                </c:pt>
                <c:pt idx="7982">
                  <c:v>4.9061342007580153</c:v>
                </c:pt>
                <c:pt idx="7983">
                  <c:v>4.9099168389694583</c:v>
                </c:pt>
                <c:pt idx="7984">
                  <c:v>5.9532334360248731</c:v>
                </c:pt>
                <c:pt idx="7985">
                  <c:v>6.0351679973722376</c:v>
                </c:pt>
                <c:pt idx="7986">
                  <c:v>6.0114420407913105</c:v>
                </c:pt>
                <c:pt idx="7987">
                  <c:v>5.862964588296002</c:v>
                </c:pt>
                <c:pt idx="7988">
                  <c:v>5.1579531002086991</c:v>
                </c:pt>
                <c:pt idx="7989">
                  <c:v>6.8696869870450685</c:v>
                </c:pt>
                <c:pt idx="7990">
                  <c:v>6.0323187624523333</c:v>
                </c:pt>
                <c:pt idx="7991">
                  <c:v>4.9705162384714887</c:v>
                </c:pt>
                <c:pt idx="7992">
                  <c:v>5.1080290167979507</c:v>
                </c:pt>
                <c:pt idx="7993">
                  <c:v>6.0125484162848304</c:v>
                </c:pt>
                <c:pt idx="7994">
                  <c:v>5.9920175289599573</c:v>
                </c:pt>
                <c:pt idx="7995">
                  <c:v>4.961480067409819</c:v>
                </c:pt>
                <c:pt idx="7996">
                  <c:v>4.7516068699934983</c:v>
                </c:pt>
                <c:pt idx="7997">
                  <c:v>5.0346298374668503</c:v>
                </c:pt>
                <c:pt idx="7998">
                  <c:v>4.7800294441976776</c:v>
                </c:pt>
                <c:pt idx="7999">
                  <c:v>5.024756249230844</c:v>
                </c:pt>
                <c:pt idx="8000">
                  <c:v>6.1316276751035748</c:v>
                </c:pt>
                <c:pt idx="8001">
                  <c:v>6.1268966424937146</c:v>
                </c:pt>
                <c:pt idx="8002">
                  <c:v>6.0078557544548117</c:v>
                </c:pt>
                <c:pt idx="8003">
                  <c:v>5.9652726944625138</c:v>
                </c:pt>
                <c:pt idx="8004">
                  <c:v>5.9651469522149601</c:v>
                </c:pt>
                <c:pt idx="8005">
                  <c:v>6.1002362830672308</c:v>
                </c:pt>
                <c:pt idx="8006">
                  <c:v>4.9769249589397022</c:v>
                </c:pt>
                <c:pt idx="8007">
                  <c:v>5.1848074867902403</c:v>
                </c:pt>
                <c:pt idx="8008">
                  <c:v>4.8501860619148376</c:v>
                </c:pt>
                <c:pt idx="8009">
                  <c:v>6.0850449181532253</c:v>
                </c:pt>
                <c:pt idx="8010">
                  <c:v>5.8354167816580365</c:v>
                </c:pt>
                <c:pt idx="8011">
                  <c:v>5.7632133302665798</c:v>
                </c:pt>
                <c:pt idx="8012">
                  <c:v>7.0039449396856348</c:v>
                </c:pt>
                <c:pt idx="8013">
                  <c:v>6.084332069437103</c:v>
                </c:pt>
                <c:pt idx="8014">
                  <c:v>5.103079844865146</c:v>
                </c:pt>
                <c:pt idx="8015">
                  <c:v>5.0584267144275152</c:v>
                </c:pt>
                <c:pt idx="8016">
                  <c:v>5.9692234350089697</c:v>
                </c:pt>
                <c:pt idx="8017">
                  <c:v>6.0716418965534151</c:v>
                </c:pt>
                <c:pt idx="8018">
                  <c:v>6.1083118590034067</c:v>
                </c:pt>
                <c:pt idx="8019">
                  <c:v>4.8828580073796299</c:v>
                </c:pt>
                <c:pt idx="8020">
                  <c:v>6.0646372463743283</c:v>
                </c:pt>
                <c:pt idx="8021">
                  <c:v>4.8413885241858736</c:v>
                </c:pt>
                <c:pt idx="8022">
                  <c:v>5.0843819039669986</c:v>
                </c:pt>
                <c:pt idx="8023">
                  <c:v>6.911538352173614</c:v>
                </c:pt>
                <c:pt idx="8024">
                  <c:v>6.0559805385839445</c:v>
                </c:pt>
                <c:pt idx="8025">
                  <c:v>5.091388213873687</c:v>
                </c:pt>
                <c:pt idx="8026">
                  <c:v>4.9864954751274322</c:v>
                </c:pt>
                <c:pt idx="8027">
                  <c:v>4.8562324768585974</c:v>
                </c:pt>
                <c:pt idx="8028">
                  <c:v>5.981932531698603</c:v>
                </c:pt>
                <c:pt idx="8029">
                  <c:v>5.7625797394375802</c:v>
                </c:pt>
                <c:pt idx="8030">
                  <c:v>6.056845064679365</c:v>
                </c:pt>
                <c:pt idx="8031">
                  <c:v>5.0874121237491217</c:v>
                </c:pt>
                <c:pt idx="8032">
                  <c:v>6.0551988651474904</c:v>
                </c:pt>
                <c:pt idx="8033">
                  <c:v>5.9390900191893419</c:v>
                </c:pt>
                <c:pt idx="8034">
                  <c:v>5.0698016868831735</c:v>
                </c:pt>
                <c:pt idx="8035">
                  <c:v>5.8731415040170774</c:v>
                </c:pt>
                <c:pt idx="8036">
                  <c:v>6.0805403078172064</c:v>
                </c:pt>
                <c:pt idx="8037">
                  <c:v>4.9802781187714489</c:v>
                </c:pt>
                <c:pt idx="8038">
                  <c:v>6.0736922617109022</c:v>
                </c:pt>
                <c:pt idx="8039">
                  <c:v>5.8981549232038279</c:v>
                </c:pt>
                <c:pt idx="8040">
                  <c:v>5.0662177212583401</c:v>
                </c:pt>
                <c:pt idx="8041">
                  <c:v>5.9006229044531846</c:v>
                </c:pt>
                <c:pt idx="8042">
                  <c:v>4.9476364149060439</c:v>
                </c:pt>
                <c:pt idx="8043">
                  <c:v>5.785019123785462</c:v>
                </c:pt>
                <c:pt idx="8044">
                  <c:v>6.1104813208576827</c:v>
                </c:pt>
                <c:pt idx="8045">
                  <c:v>5.1811687193346927</c:v>
                </c:pt>
                <c:pt idx="8046">
                  <c:v>5.9510789460950502</c:v>
                </c:pt>
                <c:pt idx="8047">
                  <c:v>5.873995963423841</c:v>
                </c:pt>
                <c:pt idx="8048">
                  <c:v>5.9433055650780426</c:v>
                </c:pt>
                <c:pt idx="8049">
                  <c:v>4.9790931170013097</c:v>
                </c:pt>
                <c:pt idx="8050">
                  <c:v>4.9627291955421855</c:v>
                </c:pt>
                <c:pt idx="8051">
                  <c:v>4.9290979969623505</c:v>
                </c:pt>
                <c:pt idx="8052">
                  <c:v>6.1829462956778309</c:v>
                </c:pt>
                <c:pt idx="8053">
                  <c:v>4.9970079259859643</c:v>
                </c:pt>
                <c:pt idx="8054">
                  <c:v>5.1736804121794115</c:v>
                </c:pt>
                <c:pt idx="8055">
                  <c:v>5.1653552512760621</c:v>
                </c:pt>
                <c:pt idx="8056">
                  <c:v>5.0697763168164593</c:v>
                </c:pt>
                <c:pt idx="8057">
                  <c:v>5.9525683683929387</c:v>
                </c:pt>
                <c:pt idx="8058">
                  <c:v>6.8900974337558321</c:v>
                </c:pt>
                <c:pt idx="8059">
                  <c:v>5.9306299168225127</c:v>
                </c:pt>
                <c:pt idx="8060">
                  <c:v>6.0526223510515109</c:v>
                </c:pt>
                <c:pt idx="8061">
                  <c:v>5.0174303364502268</c:v>
                </c:pt>
                <c:pt idx="8062">
                  <c:v>5.0440988715577628</c:v>
                </c:pt>
                <c:pt idx="8063">
                  <c:v>6.0561735986028076</c:v>
                </c:pt>
                <c:pt idx="8064">
                  <c:v>4.8686501780878499</c:v>
                </c:pt>
                <c:pt idx="8065">
                  <c:v>4.9210230170246323</c:v>
                </c:pt>
                <c:pt idx="8066">
                  <c:v>5.0262890985785553</c:v>
                </c:pt>
                <c:pt idx="8067">
                  <c:v>6.0231903296519489</c:v>
                </c:pt>
                <c:pt idx="8068">
                  <c:v>4.9869320468067855</c:v>
                </c:pt>
                <c:pt idx="8069">
                  <c:v>5.943971605678338</c:v>
                </c:pt>
                <c:pt idx="8070">
                  <c:v>5.0277701680220721</c:v>
                </c:pt>
                <c:pt idx="8071">
                  <c:v>4.7482727571163865</c:v>
                </c:pt>
                <c:pt idx="8072">
                  <c:v>5.7929895867802008</c:v>
                </c:pt>
                <c:pt idx="8073">
                  <c:v>5.0366173458810257</c:v>
                </c:pt>
                <c:pt idx="8074">
                  <c:v>4.9879780130788332</c:v>
                </c:pt>
                <c:pt idx="8075">
                  <c:v>4.9225597203933047</c:v>
                </c:pt>
                <c:pt idx="8076">
                  <c:v>5.0693232082882007</c:v>
                </c:pt>
                <c:pt idx="8077">
                  <c:v>6.1740943276171745</c:v>
                </c:pt>
                <c:pt idx="8078">
                  <c:v>5.1261202531162562</c:v>
                </c:pt>
                <c:pt idx="8079">
                  <c:v>5.901836035806034</c:v>
                </c:pt>
                <c:pt idx="8080">
                  <c:v>6.0774966254836089</c:v>
                </c:pt>
                <c:pt idx="8081">
                  <c:v>7.0074786639644238</c:v>
                </c:pt>
                <c:pt idx="8082">
                  <c:v>7.0583725781668569</c:v>
                </c:pt>
                <c:pt idx="8083">
                  <c:v>6.169812463768177</c:v>
                </c:pt>
                <c:pt idx="8084">
                  <c:v>6.1004739527649212</c:v>
                </c:pt>
                <c:pt idx="8085">
                  <c:v>6.0120122759066259</c:v>
                </c:pt>
                <c:pt idx="8086">
                  <c:v>6.1080845340961174</c:v>
                </c:pt>
                <c:pt idx="8087">
                  <c:v>6.0753458747503393</c:v>
                </c:pt>
                <c:pt idx="8088">
                  <c:v>5.0471592797503106</c:v>
                </c:pt>
                <c:pt idx="8089">
                  <c:v>4.9485833335980987</c:v>
                </c:pt>
                <c:pt idx="8090">
                  <c:v>6.1456700509337896</c:v>
                </c:pt>
                <c:pt idx="8091">
                  <c:v>5.925162598222478</c:v>
                </c:pt>
                <c:pt idx="8092">
                  <c:v>5.9316546185297101</c:v>
                </c:pt>
                <c:pt idx="8093">
                  <c:v>6.1246443613558803</c:v>
                </c:pt>
                <c:pt idx="8094">
                  <c:v>4.9722992757868631</c:v>
                </c:pt>
                <c:pt idx="8095">
                  <c:v>5.9608353315988598</c:v>
                </c:pt>
                <c:pt idx="8096">
                  <c:v>5.0365366517412395</c:v>
                </c:pt>
                <c:pt idx="8097">
                  <c:v>6.1253411966496216</c:v>
                </c:pt>
                <c:pt idx="8098">
                  <c:v>5.9890675002965006</c:v>
                </c:pt>
                <c:pt idx="8099">
                  <c:v>4.9615628225583102</c:v>
                </c:pt>
                <c:pt idx="8100">
                  <c:v>4.9465637586108366</c:v>
                </c:pt>
                <c:pt idx="8101">
                  <c:v>5.9877696698738587</c:v>
                </c:pt>
                <c:pt idx="8102">
                  <c:v>4.9851130597323419</c:v>
                </c:pt>
                <c:pt idx="8103">
                  <c:v>6.0620584887312523</c:v>
                </c:pt>
                <c:pt idx="8104">
                  <c:v>5.051013576053041</c:v>
                </c:pt>
                <c:pt idx="8105">
                  <c:v>5.7126026906509777</c:v>
                </c:pt>
                <c:pt idx="8106">
                  <c:v>5.0473035426048467</c:v>
                </c:pt>
                <c:pt idx="8107">
                  <c:v>6.9535113071973429</c:v>
                </c:pt>
                <c:pt idx="8108">
                  <c:v>5.9995186564980854</c:v>
                </c:pt>
                <c:pt idx="8109">
                  <c:v>5.1486394820688721</c:v>
                </c:pt>
                <c:pt idx="8110">
                  <c:v>6.004047427206995</c:v>
                </c:pt>
                <c:pt idx="8111">
                  <c:v>6.138553871564012</c:v>
                </c:pt>
                <c:pt idx="8112">
                  <c:v>6.0289678916492031</c:v>
                </c:pt>
                <c:pt idx="8113">
                  <c:v>4.9288858408629643</c:v>
                </c:pt>
                <c:pt idx="8114">
                  <c:v>6.0855949328983225</c:v>
                </c:pt>
                <c:pt idx="8115">
                  <c:v>6.1485486165247742</c:v>
                </c:pt>
                <c:pt idx="8116">
                  <c:v>6.0264656834752728</c:v>
                </c:pt>
                <c:pt idx="8117">
                  <c:v>6.0393311458646552</c:v>
                </c:pt>
                <c:pt idx="8118">
                  <c:v>5.8392683459424273</c:v>
                </c:pt>
                <c:pt idx="8119">
                  <c:v>4.9894650299025329</c:v>
                </c:pt>
                <c:pt idx="8120">
                  <c:v>6.1845316694779253</c:v>
                </c:pt>
                <c:pt idx="8121">
                  <c:v>6.014181155220359</c:v>
                </c:pt>
                <c:pt idx="8122">
                  <c:v>5.9595810692921987</c:v>
                </c:pt>
                <c:pt idx="8123">
                  <c:v>6.0508560676038146</c:v>
                </c:pt>
                <c:pt idx="8124">
                  <c:v>4.895732420216957</c:v>
                </c:pt>
                <c:pt idx="8125">
                  <c:v>5.9485453219604487</c:v>
                </c:pt>
                <c:pt idx="8126">
                  <c:v>4.9438978128928657</c:v>
                </c:pt>
                <c:pt idx="8127">
                  <c:v>5.9921581484006454</c:v>
                </c:pt>
                <c:pt idx="8128">
                  <c:v>5.8881775272504653</c:v>
                </c:pt>
                <c:pt idx="8129">
                  <c:v>5.7565987517722279</c:v>
                </c:pt>
                <c:pt idx="8130">
                  <c:v>5.9687435914089386</c:v>
                </c:pt>
                <c:pt idx="8131">
                  <c:v>6.0718310053774518</c:v>
                </c:pt>
                <c:pt idx="8132">
                  <c:v>6.1280884696196347</c:v>
                </c:pt>
                <c:pt idx="8133">
                  <c:v>6.1263775885283565</c:v>
                </c:pt>
                <c:pt idx="8134">
                  <c:v>6.0703187879096872</c:v>
                </c:pt>
                <c:pt idx="8135">
                  <c:v>6.1093937425442348</c:v>
                </c:pt>
                <c:pt idx="8136">
                  <c:v>6.9956888426024015</c:v>
                </c:pt>
                <c:pt idx="8137">
                  <c:v>4.9430146136187716</c:v>
                </c:pt>
                <c:pt idx="8138">
                  <c:v>5.9198378514994099</c:v>
                </c:pt>
                <c:pt idx="8139">
                  <c:v>4.8348883280200896</c:v>
                </c:pt>
                <c:pt idx="8140">
                  <c:v>4.9186771936798532</c:v>
                </c:pt>
                <c:pt idx="8141">
                  <c:v>5.9067330835475831</c:v>
                </c:pt>
                <c:pt idx="8142">
                  <c:v>5.9049656070770986</c:v>
                </c:pt>
                <c:pt idx="8143">
                  <c:v>6.106505499174844</c:v>
                </c:pt>
                <c:pt idx="8144">
                  <c:v>6.0992517848939922</c:v>
                </c:pt>
                <c:pt idx="8145">
                  <c:v>6.0061718248136833</c:v>
                </c:pt>
                <c:pt idx="8146">
                  <c:v>5.9786157391724197</c:v>
                </c:pt>
                <c:pt idx="8147">
                  <c:v>5.9906645249681132</c:v>
                </c:pt>
                <c:pt idx="8148">
                  <c:v>5.0460826980643931</c:v>
                </c:pt>
                <c:pt idx="8149">
                  <c:v>6.0829030847923917</c:v>
                </c:pt>
                <c:pt idx="8150">
                  <c:v>5.0006710585377512</c:v>
                </c:pt>
                <c:pt idx="8151">
                  <c:v>4.8269524801647874</c:v>
                </c:pt>
                <c:pt idx="8152">
                  <c:v>6.0321329107615291</c:v>
                </c:pt>
                <c:pt idx="8153">
                  <c:v>5.7547946016476033</c:v>
                </c:pt>
                <c:pt idx="8154">
                  <c:v>5.9598777331451753</c:v>
                </c:pt>
                <c:pt idx="8155">
                  <c:v>6.0083822047915083</c:v>
                </c:pt>
                <c:pt idx="8156">
                  <c:v>5.910227215066044</c:v>
                </c:pt>
                <c:pt idx="8157">
                  <c:v>6.0454450471810981</c:v>
                </c:pt>
                <c:pt idx="8158">
                  <c:v>5.9603582364644749</c:v>
                </c:pt>
                <c:pt idx="8159">
                  <c:v>5.0569843804955763</c:v>
                </c:pt>
                <c:pt idx="8160">
                  <c:v>5.9530248636761849</c:v>
                </c:pt>
                <c:pt idx="8161">
                  <c:v>5.9720746868879102</c:v>
                </c:pt>
                <c:pt idx="8162">
                  <c:v>5.8698050804659259</c:v>
                </c:pt>
                <c:pt idx="8163">
                  <c:v>6.0597227678078989</c:v>
                </c:pt>
                <c:pt idx="8164">
                  <c:v>5.8153738915140876</c:v>
                </c:pt>
                <c:pt idx="8165">
                  <c:v>4.9397735425159697</c:v>
                </c:pt>
                <c:pt idx="8166">
                  <c:v>4.8878707166319018</c:v>
                </c:pt>
                <c:pt idx="8167">
                  <c:v>6.2405933162851728</c:v>
                </c:pt>
                <c:pt idx="8168">
                  <c:v>5.9981596022624011</c:v>
                </c:pt>
                <c:pt idx="8169">
                  <c:v>4.8685066696453614</c:v>
                </c:pt>
                <c:pt idx="8170">
                  <c:v>6.0942565976855088</c:v>
                </c:pt>
                <c:pt idx="8171">
                  <c:v>5.8792153205149038</c:v>
                </c:pt>
                <c:pt idx="8172">
                  <c:v>4.9146353842264476</c:v>
                </c:pt>
                <c:pt idx="8173">
                  <c:v>5.9448421448270805</c:v>
                </c:pt>
                <c:pt idx="8174">
                  <c:v>5.8030432408994015</c:v>
                </c:pt>
                <c:pt idx="8175">
                  <c:v>5.032682683394512</c:v>
                </c:pt>
                <c:pt idx="8176">
                  <c:v>5.9124389741512688</c:v>
                </c:pt>
                <c:pt idx="8177">
                  <c:v>5.9391811530197938</c:v>
                </c:pt>
                <c:pt idx="8178">
                  <c:v>5.0860693967635848</c:v>
                </c:pt>
                <c:pt idx="8179">
                  <c:v>6.0398992304898655</c:v>
                </c:pt>
                <c:pt idx="8180">
                  <c:v>4.904608129289473</c:v>
                </c:pt>
                <c:pt idx="8181">
                  <c:v>4.764256673428318</c:v>
                </c:pt>
                <c:pt idx="8182">
                  <c:v>5.9100961959753597</c:v>
                </c:pt>
                <c:pt idx="8183">
                  <c:v>5.1220194517134949</c:v>
                </c:pt>
                <c:pt idx="8184">
                  <c:v>4.9909965544247381</c:v>
                </c:pt>
                <c:pt idx="8185">
                  <c:v>4.9295633798305065</c:v>
                </c:pt>
                <c:pt idx="8186">
                  <c:v>4.9907820531071216</c:v>
                </c:pt>
                <c:pt idx="8187">
                  <c:v>6.0325880747518177</c:v>
                </c:pt>
                <c:pt idx="8188">
                  <c:v>7.2179486944092215</c:v>
                </c:pt>
                <c:pt idx="8189">
                  <c:v>4.9740249075810459</c:v>
                </c:pt>
                <c:pt idx="8190">
                  <c:v>4.9662682628268273</c:v>
                </c:pt>
                <c:pt idx="8191">
                  <c:v>6.0098869349748911</c:v>
                </c:pt>
                <c:pt idx="8192">
                  <c:v>4.9865627725461943</c:v>
                </c:pt>
                <c:pt idx="8193">
                  <c:v>6.0467166554666933</c:v>
                </c:pt>
                <c:pt idx="8194">
                  <c:v>5.8968680098165107</c:v>
                </c:pt>
                <c:pt idx="8195">
                  <c:v>5.040402956007517</c:v>
                </c:pt>
                <c:pt idx="8196">
                  <c:v>6.0192905753027039</c:v>
                </c:pt>
                <c:pt idx="8197">
                  <c:v>5.097263537664479</c:v>
                </c:pt>
                <c:pt idx="8198">
                  <c:v>6.0690630351618378</c:v>
                </c:pt>
                <c:pt idx="8199">
                  <c:v>5.9812481415622161</c:v>
                </c:pt>
                <c:pt idx="8200">
                  <c:v>5.0781770557585011</c:v>
                </c:pt>
                <c:pt idx="8201">
                  <c:v>5.0495737649288062</c:v>
                </c:pt>
                <c:pt idx="8202">
                  <c:v>4.9907449616405017</c:v>
                </c:pt>
                <c:pt idx="8203">
                  <c:v>5.1507110521358399</c:v>
                </c:pt>
                <c:pt idx="8204">
                  <c:v>6.054537375681349</c:v>
                </c:pt>
                <c:pt idx="8205">
                  <c:v>5.9476702267007298</c:v>
                </c:pt>
                <c:pt idx="8206">
                  <c:v>5.100329931350597</c:v>
                </c:pt>
                <c:pt idx="8207">
                  <c:v>6.2328641441076353</c:v>
                </c:pt>
                <c:pt idx="8208">
                  <c:v>6.1263379078968789</c:v>
                </c:pt>
                <c:pt idx="8209">
                  <c:v>6.094725728786889</c:v>
                </c:pt>
                <c:pt idx="8210">
                  <c:v>6.0360472190682586</c:v>
                </c:pt>
                <c:pt idx="8211">
                  <c:v>5.0157754672527686</c:v>
                </c:pt>
                <c:pt idx="8212">
                  <c:v>5.9463681327948015</c:v>
                </c:pt>
                <c:pt idx="8213">
                  <c:v>6.1156956673155527</c:v>
                </c:pt>
                <c:pt idx="8214">
                  <c:v>5.1944726725525836</c:v>
                </c:pt>
                <c:pt idx="8215">
                  <c:v>5.0790797571933295</c:v>
                </c:pt>
                <c:pt idx="8216">
                  <c:v>4.9293368945884648</c:v>
                </c:pt>
                <c:pt idx="8217">
                  <c:v>5.9311707622414858</c:v>
                </c:pt>
                <c:pt idx="8218">
                  <c:v>5.0188787923512894</c:v>
                </c:pt>
                <c:pt idx="8219">
                  <c:v>6.0461678928232114</c:v>
                </c:pt>
                <c:pt idx="8220">
                  <c:v>5.9901284844169727</c:v>
                </c:pt>
                <c:pt idx="8221">
                  <c:v>4.9284237696646835</c:v>
                </c:pt>
                <c:pt idx="8222">
                  <c:v>6.0946572272494857</c:v>
                </c:pt>
                <c:pt idx="8223">
                  <c:v>6.0483821877249273</c:v>
                </c:pt>
                <c:pt idx="8224">
                  <c:v>5.9851741826499669</c:v>
                </c:pt>
                <c:pt idx="8225">
                  <c:v>5.9165015326469836</c:v>
                </c:pt>
                <c:pt idx="8226">
                  <c:v>6.0842123598315778</c:v>
                </c:pt>
                <c:pt idx="8227">
                  <c:v>6.0430405886248142</c:v>
                </c:pt>
                <c:pt idx="8228">
                  <c:v>4.911026440026629</c:v>
                </c:pt>
                <c:pt idx="8229">
                  <c:v>5.958895627314539</c:v>
                </c:pt>
                <c:pt idx="8230">
                  <c:v>5.1864645820328432</c:v>
                </c:pt>
                <c:pt idx="8231">
                  <c:v>6.0034487497914242</c:v>
                </c:pt>
                <c:pt idx="8232">
                  <c:v>6.0631553408018233</c:v>
                </c:pt>
                <c:pt idx="8233">
                  <c:v>5.8628831277313846</c:v>
                </c:pt>
                <c:pt idx="8234">
                  <c:v>5.0634113707084918</c:v>
                </c:pt>
                <c:pt idx="8235">
                  <c:v>5.0310102038034374</c:v>
                </c:pt>
                <c:pt idx="8236">
                  <c:v>6.1918128142829723</c:v>
                </c:pt>
                <c:pt idx="8237">
                  <c:v>4.8917310659648106</c:v>
                </c:pt>
                <c:pt idx="8238">
                  <c:v>6.0480474972863894</c:v>
                </c:pt>
                <c:pt idx="8239">
                  <c:v>5.946405341835467</c:v>
                </c:pt>
                <c:pt idx="8240">
                  <c:v>5.876500525274535</c:v>
                </c:pt>
                <c:pt idx="8241">
                  <c:v>5.9201680616259686</c:v>
                </c:pt>
                <c:pt idx="8242">
                  <c:v>5.0488812257157107</c:v>
                </c:pt>
                <c:pt idx="8243">
                  <c:v>4.7266201043418139</c:v>
                </c:pt>
                <c:pt idx="8244">
                  <c:v>5.8111155664205008</c:v>
                </c:pt>
                <c:pt idx="8245">
                  <c:v>4.1482514212975055</c:v>
                </c:pt>
                <c:pt idx="8246">
                  <c:v>4.0122261433336641</c:v>
                </c:pt>
                <c:pt idx="8247">
                  <c:v>6.003148236492355</c:v>
                </c:pt>
                <c:pt idx="8248">
                  <c:v>5.9691457972555533</c:v>
                </c:pt>
                <c:pt idx="8249">
                  <c:v>5.0501641303270093</c:v>
                </c:pt>
                <c:pt idx="8250">
                  <c:v>5.9520158963642986</c:v>
                </c:pt>
                <c:pt idx="8251">
                  <c:v>5.1849790241906062</c:v>
                </c:pt>
                <c:pt idx="8252">
                  <c:v>5.0115783071063618</c:v>
                </c:pt>
                <c:pt idx="8253">
                  <c:v>5.8678694281858039</c:v>
                </c:pt>
                <c:pt idx="8254">
                  <c:v>5.8720064276839814</c:v>
                </c:pt>
                <c:pt idx="8255">
                  <c:v>5.2137908156677826</c:v>
                </c:pt>
                <c:pt idx="8256">
                  <c:v>5.0350829384199942</c:v>
                </c:pt>
                <c:pt idx="8257">
                  <c:v>5.8636652601549653</c:v>
                </c:pt>
                <c:pt idx="8258">
                  <c:v>5.818695341745574</c:v>
                </c:pt>
                <c:pt idx="8259">
                  <c:v>4.9033782786807736</c:v>
                </c:pt>
                <c:pt idx="8260">
                  <c:v>4.0393971943777967</c:v>
                </c:pt>
                <c:pt idx="8261">
                  <c:v>6.0644225132040379</c:v>
                </c:pt>
                <c:pt idx="8262">
                  <c:v>6.1438933647748222</c:v>
                </c:pt>
                <c:pt idx="8263">
                  <c:v>6.0463823725751267</c:v>
                </c:pt>
                <c:pt idx="8264">
                  <c:v>5.8830659571901966</c:v>
                </c:pt>
                <c:pt idx="8265">
                  <c:v>5.8410328924676325</c:v>
                </c:pt>
                <c:pt idx="8266">
                  <c:v>5.96130281973526</c:v>
                </c:pt>
                <c:pt idx="8267">
                  <c:v>5.0415619082817633</c:v>
                </c:pt>
                <c:pt idx="8268">
                  <c:v>6.0494498827466971</c:v>
                </c:pt>
                <c:pt idx="8269">
                  <c:v>6.1677685535614559</c:v>
                </c:pt>
                <c:pt idx="8270">
                  <c:v>5.8535702375880794</c:v>
                </c:pt>
                <c:pt idx="8271">
                  <c:v>4.9673988421211019</c:v>
                </c:pt>
                <c:pt idx="8272">
                  <c:v>4.97133233384295</c:v>
                </c:pt>
                <c:pt idx="8273">
                  <c:v>6.1002739073194894</c:v>
                </c:pt>
                <c:pt idx="8274">
                  <c:v>5.0316711268377787</c:v>
                </c:pt>
                <c:pt idx="8275">
                  <c:v>6.1068385069814548</c:v>
                </c:pt>
                <c:pt idx="8276">
                  <c:v>5.9848925757840039</c:v>
                </c:pt>
                <c:pt idx="8277">
                  <c:v>5.0135651355036224</c:v>
                </c:pt>
                <c:pt idx="8278">
                  <c:v>5.024766194592841</c:v>
                </c:pt>
                <c:pt idx="8279">
                  <c:v>5.1050734958804513</c:v>
                </c:pt>
                <c:pt idx="8280">
                  <c:v>5.1609417593945359</c:v>
                </c:pt>
                <c:pt idx="8281">
                  <c:v>6.1166310828816224</c:v>
                </c:pt>
                <c:pt idx="8282">
                  <c:v>4.8626522355762463</c:v>
                </c:pt>
                <c:pt idx="8283">
                  <c:v>5.0715067121670909</c:v>
                </c:pt>
                <c:pt idx="8284">
                  <c:v>5.7789965030666961</c:v>
                </c:pt>
                <c:pt idx="8285">
                  <c:v>5.0989052283168448</c:v>
                </c:pt>
                <c:pt idx="8286">
                  <c:v>4.9170142902864304</c:v>
                </c:pt>
                <c:pt idx="8287">
                  <c:v>4.9577807065437698</c:v>
                </c:pt>
                <c:pt idx="8288">
                  <c:v>5.0242006413757743</c:v>
                </c:pt>
                <c:pt idx="8289">
                  <c:v>6.0213224184235425</c:v>
                </c:pt>
                <c:pt idx="8290">
                  <c:v>4.8825302067582372</c:v>
                </c:pt>
                <c:pt idx="8291">
                  <c:v>5.9030545433257684</c:v>
                </c:pt>
                <c:pt idx="8292">
                  <c:v>6.1234618066004822</c:v>
                </c:pt>
                <c:pt idx="8293">
                  <c:v>5.1799468447858414</c:v>
                </c:pt>
                <c:pt idx="8294">
                  <c:v>5.9844061091931913</c:v>
                </c:pt>
                <c:pt idx="8295">
                  <c:v>5.9582434234595372</c:v>
                </c:pt>
                <c:pt idx="8296">
                  <c:v>6.0015556070329552</c:v>
                </c:pt>
                <c:pt idx="8297">
                  <c:v>5.051658498888445</c:v>
                </c:pt>
                <c:pt idx="8298">
                  <c:v>6.0551983495171227</c:v>
                </c:pt>
                <c:pt idx="8299">
                  <c:v>5.9084901086752044</c:v>
                </c:pt>
                <c:pt idx="8300">
                  <c:v>6.013264889790146</c:v>
                </c:pt>
                <c:pt idx="8301">
                  <c:v>4.9672084245554924</c:v>
                </c:pt>
                <c:pt idx="8302">
                  <c:v>6.105318656117185</c:v>
                </c:pt>
                <c:pt idx="8303">
                  <c:v>4.8299799287929819</c:v>
                </c:pt>
                <c:pt idx="8304">
                  <c:v>5.9539672335043923</c:v>
                </c:pt>
                <c:pt idx="8305">
                  <c:v>5.9407180713997771</c:v>
                </c:pt>
                <c:pt idx="8306">
                  <c:v>5.967362267512474</c:v>
                </c:pt>
                <c:pt idx="8307">
                  <c:v>6.1073168377391482</c:v>
                </c:pt>
                <c:pt idx="8308">
                  <c:v>6.0439293800480671</c:v>
                </c:pt>
                <c:pt idx="8309">
                  <c:v>5.0856822302436955</c:v>
                </c:pt>
                <c:pt idx="8310">
                  <c:v>6.117597844525787</c:v>
                </c:pt>
                <c:pt idx="8311">
                  <c:v>6.0164310011198632</c:v>
                </c:pt>
                <c:pt idx="8312">
                  <c:v>5.8508676929645187</c:v>
                </c:pt>
                <c:pt idx="8313">
                  <c:v>5.8022920076577478</c:v>
                </c:pt>
                <c:pt idx="8314">
                  <c:v>5.931631699864389</c:v>
                </c:pt>
                <c:pt idx="8315">
                  <c:v>5.949405970956259</c:v>
                </c:pt>
                <c:pt idx="8316">
                  <c:v>5.9088711276544839</c:v>
                </c:pt>
                <c:pt idx="8317">
                  <c:v>6.0890816909857994</c:v>
                </c:pt>
                <c:pt idx="8318">
                  <c:v>5.9191895994764208</c:v>
                </c:pt>
                <c:pt idx="8319">
                  <c:v>6.0360569296687689</c:v>
                </c:pt>
                <c:pt idx="8320">
                  <c:v>5.1274816528701637</c:v>
                </c:pt>
                <c:pt idx="8321">
                  <c:v>6.1150311934382913</c:v>
                </c:pt>
                <c:pt idx="8322">
                  <c:v>5.9721212366262506</c:v>
                </c:pt>
                <c:pt idx="8323">
                  <c:v>6.0057748080642686</c:v>
                </c:pt>
                <c:pt idx="8324">
                  <c:v>4.9975830533018764</c:v>
                </c:pt>
                <c:pt idx="8325">
                  <c:v>6.0439514867112818</c:v>
                </c:pt>
                <c:pt idx="8326">
                  <c:v>5.0254827994075741</c:v>
                </c:pt>
                <c:pt idx="8327">
                  <c:v>4.956823509775349</c:v>
                </c:pt>
                <c:pt idx="8328">
                  <c:v>6.0628524548768352</c:v>
                </c:pt>
                <c:pt idx="8329">
                  <c:v>6.0775040631188748</c:v>
                </c:pt>
                <c:pt idx="8330">
                  <c:v>5.9807209211017591</c:v>
                </c:pt>
                <c:pt idx="8331">
                  <c:v>5.9421818775043906</c:v>
                </c:pt>
                <c:pt idx="8332">
                  <c:v>5.0383285633740353</c:v>
                </c:pt>
                <c:pt idx="8333">
                  <c:v>6.0695997423545762</c:v>
                </c:pt>
                <c:pt idx="8334">
                  <c:v>4.8745859031639442</c:v>
                </c:pt>
                <c:pt idx="8335">
                  <c:v>6.0604479351890008</c:v>
                </c:pt>
                <c:pt idx="8336">
                  <c:v>5.9977071601793321</c:v>
                </c:pt>
                <c:pt idx="8337">
                  <c:v>5.9722255779114812</c:v>
                </c:pt>
                <c:pt idx="8338">
                  <c:v>6.9024080080011263</c:v>
                </c:pt>
                <c:pt idx="8339">
                  <c:v>6.9969282137367692</c:v>
                </c:pt>
                <c:pt idx="8340">
                  <c:v>5.0854687191025079</c:v>
                </c:pt>
                <c:pt idx="8341">
                  <c:v>5.0836999098375966</c:v>
                </c:pt>
                <c:pt idx="8342">
                  <c:v>4.969528669710396</c:v>
                </c:pt>
                <c:pt idx="8343">
                  <c:v>6.0352003377394166</c:v>
                </c:pt>
                <c:pt idx="8344">
                  <c:v>6.0824570544468948</c:v>
                </c:pt>
                <c:pt idx="8345">
                  <c:v>5.8829840238564213</c:v>
                </c:pt>
                <c:pt idx="8346">
                  <c:v>4.9574405744097474</c:v>
                </c:pt>
                <c:pt idx="8347">
                  <c:v>5.0755658515817936</c:v>
                </c:pt>
                <c:pt idx="8348">
                  <c:v>4.855259562307503</c:v>
                </c:pt>
                <c:pt idx="8349">
                  <c:v>6.0217987549128207</c:v>
                </c:pt>
                <c:pt idx="8350">
                  <c:v>5.9988297856030526</c:v>
                </c:pt>
                <c:pt idx="8351">
                  <c:v>5.1563048799378297</c:v>
                </c:pt>
                <c:pt idx="8352">
                  <c:v>5.9433938649393978</c:v>
                </c:pt>
                <c:pt idx="8353">
                  <c:v>6.9076510770513284</c:v>
                </c:pt>
                <c:pt idx="8354">
                  <c:v>5.8075171840040998</c:v>
                </c:pt>
                <c:pt idx="8355">
                  <c:v>6.0315544958587406</c:v>
                </c:pt>
                <c:pt idx="8356">
                  <c:v>5.0145011329794205</c:v>
                </c:pt>
                <c:pt idx="8357">
                  <c:v>6.9039166881478806</c:v>
                </c:pt>
                <c:pt idx="8358">
                  <c:v>6.0250203006964869</c:v>
                </c:pt>
                <c:pt idx="8359">
                  <c:v>8.0161164405713379</c:v>
                </c:pt>
                <c:pt idx="8360">
                  <c:v>6.0818031036852167</c:v>
                </c:pt>
                <c:pt idx="8361">
                  <c:v>4.887499664302025</c:v>
                </c:pt>
                <c:pt idx="8362">
                  <c:v>6.9313795523005615</c:v>
                </c:pt>
                <c:pt idx="8363">
                  <c:v>6.0170371838727208</c:v>
                </c:pt>
                <c:pt idx="8364">
                  <c:v>7.0802126012999738</c:v>
                </c:pt>
                <c:pt idx="8365">
                  <c:v>6.9951577281652995</c:v>
                </c:pt>
                <c:pt idx="8366">
                  <c:v>6.071619013429034</c:v>
                </c:pt>
                <c:pt idx="8367">
                  <c:v>4.9997021008144129</c:v>
                </c:pt>
                <c:pt idx="8368">
                  <c:v>4.9358564833773855</c:v>
                </c:pt>
                <c:pt idx="8369">
                  <c:v>5.0085878066907243</c:v>
                </c:pt>
                <c:pt idx="8370">
                  <c:v>6.0573320435501712</c:v>
                </c:pt>
                <c:pt idx="8371">
                  <c:v>7.1684966737004334</c:v>
                </c:pt>
                <c:pt idx="8372">
                  <c:v>5.0361709448734029</c:v>
                </c:pt>
                <c:pt idx="8373">
                  <c:v>4.9571715278883284</c:v>
                </c:pt>
                <c:pt idx="8374">
                  <c:v>5.1010918992442944</c:v>
                </c:pt>
                <c:pt idx="8375">
                  <c:v>6.0700602808607513</c:v>
                </c:pt>
                <c:pt idx="8376">
                  <c:v>4.9655565332498925</c:v>
                </c:pt>
                <c:pt idx="8377">
                  <c:v>6.0193835910008016</c:v>
                </c:pt>
                <c:pt idx="8378">
                  <c:v>5.0684851902165144</c:v>
                </c:pt>
                <c:pt idx="8379">
                  <c:v>4.8966370182114938</c:v>
                </c:pt>
                <c:pt idx="8380">
                  <c:v>6.0697033374230216</c:v>
                </c:pt>
                <c:pt idx="8381">
                  <c:v>5.0883686542445483</c:v>
                </c:pt>
                <c:pt idx="8382">
                  <c:v>6.1399870846551057</c:v>
                </c:pt>
                <c:pt idx="8383">
                  <c:v>6.1251094145456584</c:v>
                </c:pt>
                <c:pt idx="8384">
                  <c:v>4.9048432884000013</c:v>
                </c:pt>
                <c:pt idx="8385">
                  <c:v>4.8555876780388694</c:v>
                </c:pt>
                <c:pt idx="8386">
                  <c:v>4.9647016245847926</c:v>
                </c:pt>
                <c:pt idx="8387">
                  <c:v>5.9248180438453373</c:v>
                </c:pt>
                <c:pt idx="8388">
                  <c:v>6.0888091189287605</c:v>
                </c:pt>
                <c:pt idx="8389">
                  <c:v>5.0133356290977638</c:v>
                </c:pt>
                <c:pt idx="8390">
                  <c:v>6.9417349596007876</c:v>
                </c:pt>
                <c:pt idx="8391">
                  <c:v>4.8515676300715755</c:v>
                </c:pt>
                <c:pt idx="8392">
                  <c:v>5.9272430818461261</c:v>
                </c:pt>
                <c:pt idx="8393">
                  <c:v>6.168473760751513</c:v>
                </c:pt>
                <c:pt idx="8394">
                  <c:v>6.0719374331200013</c:v>
                </c:pt>
                <c:pt idx="8395">
                  <c:v>4.8745712287886676</c:v>
                </c:pt>
                <c:pt idx="8396">
                  <c:v>6.0519987591805231</c:v>
                </c:pt>
                <c:pt idx="8397">
                  <c:v>5.8966476579568363</c:v>
                </c:pt>
                <c:pt idx="8398">
                  <c:v>5.0537601494910449</c:v>
                </c:pt>
                <c:pt idx="8399">
                  <c:v>5.869660044806853</c:v>
                </c:pt>
                <c:pt idx="8400">
                  <c:v>5.0476927604804533</c:v>
                </c:pt>
                <c:pt idx="8401">
                  <c:v>4.8925944082996526</c:v>
                </c:pt>
                <c:pt idx="8402">
                  <c:v>5.0608333113695778</c:v>
                </c:pt>
                <c:pt idx="8403">
                  <c:v>5.0720184712918002</c:v>
                </c:pt>
                <c:pt idx="8404">
                  <c:v>5.135206977691154</c:v>
                </c:pt>
                <c:pt idx="8405">
                  <c:v>4.8679321091712149</c:v>
                </c:pt>
                <c:pt idx="8406">
                  <c:v>5.9523994092156709</c:v>
                </c:pt>
                <c:pt idx="8407">
                  <c:v>6.9399706974514688</c:v>
                </c:pt>
                <c:pt idx="8408">
                  <c:v>4.8810406388235243</c:v>
                </c:pt>
                <c:pt idx="8409">
                  <c:v>4.0835238100977529</c:v>
                </c:pt>
                <c:pt idx="8410">
                  <c:v>6.1266137160839236</c:v>
                </c:pt>
                <c:pt idx="8411">
                  <c:v>4.8689226380245181</c:v>
                </c:pt>
                <c:pt idx="8412">
                  <c:v>5.1828659883277526</c:v>
                </c:pt>
                <c:pt idx="8413">
                  <c:v>6.0145644683084649</c:v>
                </c:pt>
                <c:pt idx="8414">
                  <c:v>4.950551457549258</c:v>
                </c:pt>
                <c:pt idx="8415">
                  <c:v>6.1397933507809963</c:v>
                </c:pt>
                <c:pt idx="8416">
                  <c:v>6.2964407290617856</c:v>
                </c:pt>
                <c:pt idx="8417">
                  <c:v>4.7992066709613272</c:v>
                </c:pt>
                <c:pt idx="8418">
                  <c:v>3.8900535100390088</c:v>
                </c:pt>
                <c:pt idx="8419">
                  <c:v>6.0262754214102596</c:v>
                </c:pt>
                <c:pt idx="8420">
                  <c:v>5.1181390666565934</c:v>
                </c:pt>
                <c:pt idx="8421">
                  <c:v>7.0463807044342603</c:v>
                </c:pt>
                <c:pt idx="8422">
                  <c:v>5.7584213857241373</c:v>
                </c:pt>
                <c:pt idx="8423">
                  <c:v>6.1694250196514204</c:v>
                </c:pt>
                <c:pt idx="8424">
                  <c:v>4.8148200524877822</c:v>
                </c:pt>
                <c:pt idx="8425">
                  <c:v>6.1179431868459977</c:v>
                </c:pt>
                <c:pt idx="8426">
                  <c:v>5.9915284794755772</c:v>
                </c:pt>
                <c:pt idx="8427">
                  <c:v>5.0375538454487296</c:v>
                </c:pt>
                <c:pt idx="8428">
                  <c:v>5.9969964335425425</c:v>
                </c:pt>
                <c:pt idx="8429">
                  <c:v>5.0200375829902484</c:v>
                </c:pt>
                <c:pt idx="8430">
                  <c:v>4.8271393110258751</c:v>
                </c:pt>
                <c:pt idx="8431">
                  <c:v>5.9000294575267445</c:v>
                </c:pt>
                <c:pt idx="8432">
                  <c:v>6.7260455885067945</c:v>
                </c:pt>
                <c:pt idx="8433">
                  <c:v>5.8692210628372976</c:v>
                </c:pt>
                <c:pt idx="8434">
                  <c:v>5.8629277314924177</c:v>
                </c:pt>
                <c:pt idx="8435">
                  <c:v>5.0863783258574067</c:v>
                </c:pt>
                <c:pt idx="8436">
                  <c:v>5.1573212273245135</c:v>
                </c:pt>
                <c:pt idx="8437">
                  <c:v>4.9844936186214701</c:v>
                </c:pt>
                <c:pt idx="8438">
                  <c:v>4.7816578483354952</c:v>
                </c:pt>
                <c:pt idx="8439">
                  <c:v>5.9539730228955516</c:v>
                </c:pt>
                <c:pt idx="8440">
                  <c:v>7.0280855185936204</c:v>
                </c:pt>
                <c:pt idx="8441">
                  <c:v>5.0759769188738488</c:v>
                </c:pt>
                <c:pt idx="8442">
                  <c:v>4.947753908883727</c:v>
                </c:pt>
                <c:pt idx="8443">
                  <c:v>5.9164175743795191</c:v>
                </c:pt>
                <c:pt idx="8444">
                  <c:v>7.199007151072661</c:v>
                </c:pt>
                <c:pt idx="8445">
                  <c:v>6.1028715367883128</c:v>
                </c:pt>
                <c:pt idx="8446">
                  <c:v>4.9955977220519605</c:v>
                </c:pt>
                <c:pt idx="8447">
                  <c:v>5.0222017825431138</c:v>
                </c:pt>
                <c:pt idx="8448">
                  <c:v>4.9746747784339789</c:v>
                </c:pt>
                <c:pt idx="8449">
                  <c:v>6.8755659079461298</c:v>
                </c:pt>
                <c:pt idx="8450">
                  <c:v>4.9794241876066163</c:v>
                </c:pt>
                <c:pt idx="8451">
                  <c:v>4.9478154039826565</c:v>
                </c:pt>
                <c:pt idx="8452">
                  <c:v>6.0380318387086884</c:v>
                </c:pt>
                <c:pt idx="8453">
                  <c:v>5.9862745519037572</c:v>
                </c:pt>
                <c:pt idx="8454">
                  <c:v>4.9972658301704822</c:v>
                </c:pt>
                <c:pt idx="8455">
                  <c:v>7.089927392172056</c:v>
                </c:pt>
                <c:pt idx="8456">
                  <c:v>6.0247190277757534</c:v>
                </c:pt>
                <c:pt idx="8457">
                  <c:v>4.9986548256221939</c:v>
                </c:pt>
                <c:pt idx="8458">
                  <c:v>4.8390491097120689</c:v>
                </c:pt>
                <c:pt idx="8459">
                  <c:v>6.035716122251011</c:v>
                </c:pt>
                <c:pt idx="8460">
                  <c:v>5.0861412904923373</c:v>
                </c:pt>
                <c:pt idx="8461">
                  <c:v>5.9174921500095747</c:v>
                </c:pt>
                <c:pt idx="8462">
                  <c:v>5.9056484856872711</c:v>
                </c:pt>
                <c:pt idx="8463">
                  <c:v>5.0112023051003574</c:v>
                </c:pt>
                <c:pt idx="8464">
                  <c:v>5.9220935369785703</c:v>
                </c:pt>
                <c:pt idx="8465">
                  <c:v>5.9411351653439173</c:v>
                </c:pt>
                <c:pt idx="8466">
                  <c:v>6.0728718591076642</c:v>
                </c:pt>
                <c:pt idx="8467">
                  <c:v>6.0901143526020851</c:v>
                </c:pt>
                <c:pt idx="8468">
                  <c:v>4.99477461420806</c:v>
                </c:pt>
                <c:pt idx="8469">
                  <c:v>6.9704571303990672</c:v>
                </c:pt>
                <c:pt idx="8470">
                  <c:v>4.8916165522427457</c:v>
                </c:pt>
                <c:pt idx="8471">
                  <c:v>5.957532193915867</c:v>
                </c:pt>
                <c:pt idx="8472">
                  <c:v>5.0945851061254164</c:v>
                </c:pt>
                <c:pt idx="8473">
                  <c:v>4.8957330816301399</c:v>
                </c:pt>
                <c:pt idx="8474">
                  <c:v>7.2480247429899567</c:v>
                </c:pt>
                <c:pt idx="8475">
                  <c:v>5.0032820114672205</c:v>
                </c:pt>
                <c:pt idx="8476">
                  <c:v>5.1760114915091036</c:v>
                </c:pt>
                <c:pt idx="8477">
                  <c:v>4.8531420505292697</c:v>
                </c:pt>
                <c:pt idx="8478">
                  <c:v>5.9059235605526563</c:v>
                </c:pt>
                <c:pt idx="8479">
                  <c:v>6.8915612739229202</c:v>
                </c:pt>
                <c:pt idx="8480">
                  <c:v>6.057426405132956</c:v>
                </c:pt>
                <c:pt idx="8481">
                  <c:v>5.9952644698700759</c:v>
                </c:pt>
                <c:pt idx="8482">
                  <c:v>6.0542105534794421</c:v>
                </c:pt>
                <c:pt idx="8483">
                  <c:v>5.0348997772733091</c:v>
                </c:pt>
                <c:pt idx="8484">
                  <c:v>5.0052852567145969</c:v>
                </c:pt>
                <c:pt idx="8485">
                  <c:v>4.955046867032725</c:v>
                </c:pt>
                <c:pt idx="8486">
                  <c:v>5.1044850954708707</c:v>
                </c:pt>
                <c:pt idx="8487">
                  <c:v>7.0354745272928536</c:v>
                </c:pt>
                <c:pt idx="8488">
                  <c:v>4.9882410729916522</c:v>
                </c:pt>
                <c:pt idx="8489">
                  <c:v>6.1301897235737721</c:v>
                </c:pt>
                <c:pt idx="8490">
                  <c:v>6.1321000812719682</c:v>
                </c:pt>
                <c:pt idx="8491">
                  <c:v>7.0631491197493759</c:v>
                </c:pt>
                <c:pt idx="8492">
                  <c:v>5.0071907716956581</c:v>
                </c:pt>
                <c:pt idx="8493">
                  <c:v>6.9550331322446617</c:v>
                </c:pt>
                <c:pt idx="8494">
                  <c:v>5.9509086869235883</c:v>
                </c:pt>
                <c:pt idx="8495">
                  <c:v>6.0276186071042925</c:v>
                </c:pt>
                <c:pt idx="8496">
                  <c:v>4.8626922835793449</c:v>
                </c:pt>
                <c:pt idx="8497">
                  <c:v>4.9196893040611211</c:v>
                </c:pt>
                <c:pt idx="8498">
                  <c:v>5.869682086466713</c:v>
                </c:pt>
                <c:pt idx="8499">
                  <c:v>5.8621610564127682</c:v>
                </c:pt>
                <c:pt idx="8500">
                  <c:v>6.065741953203756</c:v>
                </c:pt>
                <c:pt idx="8501">
                  <c:v>5.0894101952771997</c:v>
                </c:pt>
                <c:pt idx="8502">
                  <c:v>6.0100293631448665</c:v>
                </c:pt>
                <c:pt idx="8503">
                  <c:v>5.9338840230283223</c:v>
                </c:pt>
                <c:pt idx="8504">
                  <c:v>5.9480451451567413</c:v>
                </c:pt>
                <c:pt idx="8505">
                  <c:v>5.0253019955808664</c:v>
                </c:pt>
                <c:pt idx="8506">
                  <c:v>6.0494572754017053</c:v>
                </c:pt>
                <c:pt idx="8507">
                  <c:v>7.1222097946486871</c:v>
                </c:pt>
                <c:pt idx="8508">
                  <c:v>5.9829561160198166</c:v>
                </c:pt>
                <c:pt idx="8509">
                  <c:v>5.1580939563460904</c:v>
                </c:pt>
                <c:pt idx="8510">
                  <c:v>5.9887823372651461</c:v>
                </c:pt>
                <c:pt idx="8511">
                  <c:v>4.8725516509146294</c:v>
                </c:pt>
                <c:pt idx="8512">
                  <c:v>4.9569866934828175</c:v>
                </c:pt>
                <c:pt idx="8513">
                  <c:v>5.1396920501312273</c:v>
                </c:pt>
                <c:pt idx="8514">
                  <c:v>5.7491350238568799</c:v>
                </c:pt>
                <c:pt idx="8515">
                  <c:v>5.8316753543084872</c:v>
                </c:pt>
                <c:pt idx="8516">
                  <c:v>5.0139568398412244</c:v>
                </c:pt>
                <c:pt idx="8517">
                  <c:v>5.9483319156801349</c:v>
                </c:pt>
                <c:pt idx="8518">
                  <c:v>5.0520403027584102</c:v>
                </c:pt>
                <c:pt idx="8519">
                  <c:v>5.9394605026246916</c:v>
                </c:pt>
                <c:pt idx="8520">
                  <c:v>5.8122286082138315</c:v>
                </c:pt>
                <c:pt idx="8521">
                  <c:v>5.1053903529855784</c:v>
                </c:pt>
                <c:pt idx="8522">
                  <c:v>5.88093680910346</c:v>
                </c:pt>
                <c:pt idx="8523">
                  <c:v>5.9436708520492232</c:v>
                </c:pt>
                <c:pt idx="8524">
                  <c:v>5.0166028619299121</c:v>
                </c:pt>
                <c:pt idx="8525">
                  <c:v>6.0750062573110943</c:v>
                </c:pt>
                <c:pt idx="8526">
                  <c:v>6.2196592686157999</c:v>
                </c:pt>
                <c:pt idx="8527">
                  <c:v>4.9125818249519391</c:v>
                </c:pt>
                <c:pt idx="8528">
                  <c:v>5.7757698626418783</c:v>
                </c:pt>
                <c:pt idx="8529">
                  <c:v>6.0608404896367079</c:v>
                </c:pt>
                <c:pt idx="8530">
                  <c:v>4.7927533100535715</c:v>
                </c:pt>
                <c:pt idx="8531">
                  <c:v>5.9031604303762384</c:v>
                </c:pt>
                <c:pt idx="8532">
                  <c:v>5.9574479208324247</c:v>
                </c:pt>
                <c:pt idx="8533">
                  <c:v>6.1574503379014285</c:v>
                </c:pt>
                <c:pt idx="8534">
                  <c:v>6.0606048711841209</c:v>
                </c:pt>
                <c:pt idx="8535">
                  <c:v>4.9533925321028613</c:v>
                </c:pt>
                <c:pt idx="8536">
                  <c:v>6.1022201325218486</c:v>
                </c:pt>
                <c:pt idx="8537">
                  <c:v>5.9449770259181278</c:v>
                </c:pt>
                <c:pt idx="8538">
                  <c:v>5.9560696057632425</c:v>
                </c:pt>
                <c:pt idx="8539">
                  <c:v>6.0123837565117757</c:v>
                </c:pt>
                <c:pt idx="8540">
                  <c:v>6.0404503470295925</c:v>
                </c:pt>
                <c:pt idx="8541">
                  <c:v>5.0311850150327979</c:v>
                </c:pt>
                <c:pt idx="8542">
                  <c:v>4.8491887394080715</c:v>
                </c:pt>
                <c:pt idx="8543">
                  <c:v>4.8641093543547393</c:v>
                </c:pt>
                <c:pt idx="8544">
                  <c:v>5.0680399102313398</c:v>
                </c:pt>
                <c:pt idx="8545">
                  <c:v>5.0205058813279742</c:v>
                </c:pt>
                <c:pt idx="8546">
                  <c:v>5.1412044160518153</c:v>
                </c:pt>
                <c:pt idx="8547">
                  <c:v>6.9891059872612127</c:v>
                </c:pt>
                <c:pt idx="8548">
                  <c:v>4.7801500537714041</c:v>
                </c:pt>
                <c:pt idx="8549">
                  <c:v>5.9210586381306953</c:v>
                </c:pt>
                <c:pt idx="8550">
                  <c:v>4.8638144609490226</c:v>
                </c:pt>
                <c:pt idx="8551">
                  <c:v>6.0002482985687422</c:v>
                </c:pt>
                <c:pt idx="8552">
                  <c:v>4.8210883674399492</c:v>
                </c:pt>
                <c:pt idx="8553">
                  <c:v>5.9901104151713014</c:v>
                </c:pt>
                <c:pt idx="8554">
                  <c:v>5.9613952605016634</c:v>
                </c:pt>
                <c:pt idx="8555">
                  <c:v>5.9388808969937132</c:v>
                </c:pt>
                <c:pt idx="8556">
                  <c:v>6.0982607688891086</c:v>
                </c:pt>
                <c:pt idx="8557">
                  <c:v>5.0449442335643857</c:v>
                </c:pt>
                <c:pt idx="8558">
                  <c:v>6.0180041620698255</c:v>
                </c:pt>
                <c:pt idx="8559">
                  <c:v>6.929556398547299</c:v>
                </c:pt>
                <c:pt idx="8560">
                  <c:v>6.8875017197644999</c:v>
                </c:pt>
                <c:pt idx="8561">
                  <c:v>5.9047900510768034</c:v>
                </c:pt>
                <c:pt idx="8562">
                  <c:v>5.9487223407979677</c:v>
                </c:pt>
                <c:pt idx="8563">
                  <c:v>5.7826124510860231</c:v>
                </c:pt>
                <c:pt idx="8564">
                  <c:v>6.0989019644425948</c:v>
                </c:pt>
                <c:pt idx="8565">
                  <c:v>5.7743466377492929</c:v>
                </c:pt>
                <c:pt idx="8566">
                  <c:v>5.1585015571284378</c:v>
                </c:pt>
                <c:pt idx="8567">
                  <c:v>7.0375009328504845</c:v>
                </c:pt>
                <c:pt idx="8568">
                  <c:v>6.0289355628872823</c:v>
                </c:pt>
                <c:pt idx="8569">
                  <c:v>5.017452815858797</c:v>
                </c:pt>
                <c:pt idx="8570">
                  <c:v>6.9290530411709792</c:v>
                </c:pt>
                <c:pt idx="8571">
                  <c:v>5.8184739555928324</c:v>
                </c:pt>
                <c:pt idx="8572">
                  <c:v>5.9809417238868141</c:v>
                </c:pt>
                <c:pt idx="8573">
                  <c:v>6.992131138200353</c:v>
                </c:pt>
                <c:pt idx="8574">
                  <c:v>6.9407033552503181</c:v>
                </c:pt>
                <c:pt idx="8575">
                  <c:v>4.8624676122513586</c:v>
                </c:pt>
                <c:pt idx="8576">
                  <c:v>5.9378672015740301</c:v>
                </c:pt>
                <c:pt idx="8577">
                  <c:v>4.9511479679543617</c:v>
                </c:pt>
                <c:pt idx="8578">
                  <c:v>5.9286127924321299</c:v>
                </c:pt>
                <c:pt idx="8579">
                  <c:v>5.9710268131083311</c:v>
                </c:pt>
                <c:pt idx="8580">
                  <c:v>6.0184441062303442</c:v>
                </c:pt>
                <c:pt idx="8581">
                  <c:v>4.9185985105511421</c:v>
                </c:pt>
                <c:pt idx="8582">
                  <c:v>5.0014592926313179</c:v>
                </c:pt>
                <c:pt idx="8583">
                  <c:v>5.9964212121604978</c:v>
                </c:pt>
                <c:pt idx="8584">
                  <c:v>5.1077308589513892</c:v>
                </c:pt>
                <c:pt idx="8585">
                  <c:v>4.900700139080798</c:v>
                </c:pt>
                <c:pt idx="8586">
                  <c:v>5.9230946453366222</c:v>
                </c:pt>
                <c:pt idx="8587">
                  <c:v>4.9326291169248186</c:v>
                </c:pt>
                <c:pt idx="8588">
                  <c:v>5.9503585484285137</c:v>
                </c:pt>
                <c:pt idx="8589">
                  <c:v>4.9339476640000699</c:v>
                </c:pt>
                <c:pt idx="8590">
                  <c:v>4.8793195426325209</c:v>
                </c:pt>
                <c:pt idx="8591">
                  <c:v>4.8313362975865504</c:v>
                </c:pt>
                <c:pt idx="8592">
                  <c:v>6.0233387591728356</c:v>
                </c:pt>
                <c:pt idx="8593">
                  <c:v>5.9771513796506435</c:v>
                </c:pt>
                <c:pt idx="8594">
                  <c:v>6.1422134121900349</c:v>
                </c:pt>
                <c:pt idx="8595">
                  <c:v>6.0671391626813991</c:v>
                </c:pt>
                <c:pt idx="8596">
                  <c:v>5.8238988564443597</c:v>
                </c:pt>
                <c:pt idx="8597">
                  <c:v>5.9535872782915407</c:v>
                </c:pt>
                <c:pt idx="8598">
                  <c:v>4.8916242614744094</c:v>
                </c:pt>
                <c:pt idx="8599">
                  <c:v>5.0683839218903897</c:v>
                </c:pt>
                <c:pt idx="8600">
                  <c:v>5.0886610095048415</c:v>
                </c:pt>
                <c:pt idx="8601">
                  <c:v>5.868133008005251</c:v>
                </c:pt>
                <c:pt idx="8602">
                  <c:v>4.8752089656322797</c:v>
                </c:pt>
                <c:pt idx="8603">
                  <c:v>4.9801703881267514</c:v>
                </c:pt>
                <c:pt idx="8604">
                  <c:v>5.047379651504845</c:v>
                </c:pt>
                <c:pt idx="8605">
                  <c:v>5.9541885259007961</c:v>
                </c:pt>
                <c:pt idx="8606">
                  <c:v>6.0847925033940298</c:v>
                </c:pt>
                <c:pt idx="8607">
                  <c:v>6.1556174026480823</c:v>
                </c:pt>
                <c:pt idx="8608">
                  <c:v>5.9962602955619992</c:v>
                </c:pt>
                <c:pt idx="8609">
                  <c:v>4.7409337947665042</c:v>
                </c:pt>
                <c:pt idx="8610">
                  <c:v>5.0173343509421207</c:v>
                </c:pt>
                <c:pt idx="8611">
                  <c:v>5.9509534591893782</c:v>
                </c:pt>
                <c:pt idx="8612">
                  <c:v>6.0307781490331331</c:v>
                </c:pt>
                <c:pt idx="8613">
                  <c:v>6.1385520830172489</c:v>
                </c:pt>
                <c:pt idx="8614">
                  <c:v>6.0843995555632828</c:v>
                </c:pt>
                <c:pt idx="8615">
                  <c:v>4.9893033416304355</c:v>
                </c:pt>
                <c:pt idx="8616">
                  <c:v>5.993210090426266</c:v>
                </c:pt>
                <c:pt idx="8617">
                  <c:v>5.8275630116927291</c:v>
                </c:pt>
                <c:pt idx="8618">
                  <c:v>6.0822023407569867</c:v>
                </c:pt>
                <c:pt idx="8619">
                  <c:v>6.2093786217615614</c:v>
                </c:pt>
                <c:pt idx="8620">
                  <c:v>6.0873942007253579</c:v>
                </c:pt>
                <c:pt idx="8621">
                  <c:v>5.958363090853493</c:v>
                </c:pt>
                <c:pt idx="8622">
                  <c:v>6.1819297956984451</c:v>
                </c:pt>
                <c:pt idx="8623">
                  <c:v>5.1545246526787514</c:v>
                </c:pt>
                <c:pt idx="8624">
                  <c:v>6.1228947717505156</c:v>
                </c:pt>
                <c:pt idx="8625">
                  <c:v>3.8705533601701667</c:v>
                </c:pt>
                <c:pt idx="8626">
                  <c:v>5.8907487949490349</c:v>
                </c:pt>
                <c:pt idx="8627">
                  <c:v>3.9581518476929074</c:v>
                </c:pt>
                <c:pt idx="8628">
                  <c:v>4.9973305855970596</c:v>
                </c:pt>
                <c:pt idx="8629">
                  <c:v>4.8562839530065007</c:v>
                </c:pt>
                <c:pt idx="8630">
                  <c:v>6.0342497392589376</c:v>
                </c:pt>
                <c:pt idx="8631">
                  <c:v>5.1444344364263968</c:v>
                </c:pt>
                <c:pt idx="8632">
                  <c:v>5.0135507553576337</c:v>
                </c:pt>
                <c:pt idx="8633">
                  <c:v>5.0184820779842703</c:v>
                </c:pt>
                <c:pt idx="8634">
                  <c:v>5.95528005533897</c:v>
                </c:pt>
                <c:pt idx="8635">
                  <c:v>5.1872344375186108</c:v>
                </c:pt>
                <c:pt idx="8636">
                  <c:v>5.95584709534839</c:v>
                </c:pt>
                <c:pt idx="8637">
                  <c:v>5.9773375249643577</c:v>
                </c:pt>
                <c:pt idx="8638">
                  <c:v>4.9987895675907552</c:v>
                </c:pt>
                <c:pt idx="8639">
                  <c:v>5.0554859135195276</c:v>
                </c:pt>
                <c:pt idx="8640">
                  <c:v>5.1284486106839378</c:v>
                </c:pt>
                <c:pt idx="8641">
                  <c:v>5.9187635528354097</c:v>
                </c:pt>
                <c:pt idx="8642">
                  <c:v>6.0401102575647414</c:v>
                </c:pt>
                <c:pt idx="8643">
                  <c:v>6.2382700098573434</c:v>
                </c:pt>
                <c:pt idx="8644">
                  <c:v>5.9483781355933045</c:v>
                </c:pt>
                <c:pt idx="8645">
                  <c:v>5.92315099886223</c:v>
                </c:pt>
                <c:pt idx="8646">
                  <c:v>6.0536298071858869</c:v>
                </c:pt>
                <c:pt idx="8647">
                  <c:v>4.925184013996037</c:v>
                </c:pt>
                <c:pt idx="8648">
                  <c:v>6.1382335739421396</c:v>
                </c:pt>
                <c:pt idx="8649">
                  <c:v>5.9769882454314143</c:v>
                </c:pt>
                <c:pt idx="8650">
                  <c:v>5.2120347337745265</c:v>
                </c:pt>
                <c:pt idx="8651">
                  <c:v>5.7997625271751474</c:v>
                </c:pt>
                <c:pt idx="8652">
                  <c:v>6.1054279427430345</c:v>
                </c:pt>
                <c:pt idx="8653">
                  <c:v>5.9907758332111962</c:v>
                </c:pt>
                <c:pt idx="8654">
                  <c:v>5.019051008754766</c:v>
                </c:pt>
                <c:pt idx="8655">
                  <c:v>5.0440730930592315</c:v>
                </c:pt>
                <c:pt idx="8656">
                  <c:v>4.9065353737814483</c:v>
                </c:pt>
                <c:pt idx="8657">
                  <c:v>6.0416410880671947</c:v>
                </c:pt>
                <c:pt idx="8658">
                  <c:v>6.0350703922922149</c:v>
                </c:pt>
                <c:pt idx="8659">
                  <c:v>4.9333776203696651</c:v>
                </c:pt>
                <c:pt idx="8660">
                  <c:v>6.2218547562967386</c:v>
                </c:pt>
                <c:pt idx="8661">
                  <c:v>6.0414465260995218</c:v>
                </c:pt>
                <c:pt idx="8662">
                  <c:v>6.0488575517084575</c:v>
                </c:pt>
                <c:pt idx="8663">
                  <c:v>6.0075321424498371</c:v>
                </c:pt>
                <c:pt idx="8664">
                  <c:v>4.9850299860935241</c:v>
                </c:pt>
                <c:pt idx="8665">
                  <c:v>7.07876628249217</c:v>
                </c:pt>
                <c:pt idx="8666">
                  <c:v>5.8820148425571208</c:v>
                </c:pt>
                <c:pt idx="8667">
                  <c:v>6.0431323023552652</c:v>
                </c:pt>
                <c:pt idx="8668">
                  <c:v>5.9143244638126538</c:v>
                </c:pt>
                <c:pt idx="8669">
                  <c:v>6.9478175409705658</c:v>
                </c:pt>
                <c:pt idx="8670">
                  <c:v>6.0543076176858506</c:v>
                </c:pt>
                <c:pt idx="8671">
                  <c:v>5.8653789420236375</c:v>
                </c:pt>
                <c:pt idx="8672">
                  <c:v>5.0893853893104053</c:v>
                </c:pt>
                <c:pt idx="8673">
                  <c:v>5.9073699102402371</c:v>
                </c:pt>
                <c:pt idx="8674">
                  <c:v>4.953087101344833</c:v>
                </c:pt>
                <c:pt idx="8675">
                  <c:v>5.8887192381777806</c:v>
                </c:pt>
                <c:pt idx="8676">
                  <c:v>5.8742626206037682</c:v>
                </c:pt>
                <c:pt idx="8677">
                  <c:v>6.0596234434833969</c:v>
                </c:pt>
                <c:pt idx="8678">
                  <c:v>6.0926463908066228</c:v>
                </c:pt>
                <c:pt idx="8679">
                  <c:v>4.9139183759319272</c:v>
                </c:pt>
                <c:pt idx="8680">
                  <c:v>4.8092725837128043</c:v>
                </c:pt>
                <c:pt idx="8681">
                  <c:v>5.9250031964894827</c:v>
                </c:pt>
                <c:pt idx="8682">
                  <c:v>7.2536942339240156</c:v>
                </c:pt>
                <c:pt idx="8683">
                  <c:v>5.8946551710303803</c:v>
                </c:pt>
                <c:pt idx="8684">
                  <c:v>6.0057955267584582</c:v>
                </c:pt>
                <c:pt idx="8685">
                  <c:v>6.0374484794512151</c:v>
                </c:pt>
                <c:pt idx="8686">
                  <c:v>5.0164125271849951</c:v>
                </c:pt>
                <c:pt idx="8687">
                  <c:v>4.8747725650489082</c:v>
                </c:pt>
                <c:pt idx="8688">
                  <c:v>5.0111548548642428</c:v>
                </c:pt>
                <c:pt idx="8689">
                  <c:v>6.0677613747007477</c:v>
                </c:pt>
                <c:pt idx="8690">
                  <c:v>6.0849809899102691</c:v>
                </c:pt>
                <c:pt idx="8691">
                  <c:v>6.0138145481798766</c:v>
                </c:pt>
                <c:pt idx="8692">
                  <c:v>5.0262065874220339</c:v>
                </c:pt>
                <c:pt idx="8693">
                  <c:v>6.0483182215904439</c:v>
                </c:pt>
                <c:pt idx="8694">
                  <c:v>5.8648152414103825</c:v>
                </c:pt>
                <c:pt idx="8695">
                  <c:v>6.0426848768789707</c:v>
                </c:pt>
                <c:pt idx="8696">
                  <c:v>5.9911409596000977</c:v>
                </c:pt>
                <c:pt idx="8697">
                  <c:v>4.8909034080435969</c:v>
                </c:pt>
                <c:pt idx="8698">
                  <c:v>5.9474943011356602</c:v>
                </c:pt>
                <c:pt idx="8699">
                  <c:v>4.9930257470703516</c:v>
                </c:pt>
                <c:pt idx="8700">
                  <c:v>6.0156267277643183</c:v>
                </c:pt>
                <c:pt idx="8701">
                  <c:v>4.8875072912373918</c:v>
                </c:pt>
                <c:pt idx="8702">
                  <c:v>5.9779436582639915</c:v>
                </c:pt>
                <c:pt idx="8703">
                  <c:v>5.8418072274701096</c:v>
                </c:pt>
                <c:pt idx="8704">
                  <c:v>5.0669583857191967</c:v>
                </c:pt>
                <c:pt idx="8705">
                  <c:v>4.9924745732745981</c:v>
                </c:pt>
                <c:pt idx="8706">
                  <c:v>6.0969154508043495</c:v>
                </c:pt>
                <c:pt idx="8707">
                  <c:v>5.0988492490616215</c:v>
                </c:pt>
                <c:pt idx="8708">
                  <c:v>5.8918431829983273</c:v>
                </c:pt>
                <c:pt idx="8709">
                  <c:v>5.8337357658711886</c:v>
                </c:pt>
                <c:pt idx="8710">
                  <c:v>5.9424382532099731</c:v>
                </c:pt>
                <c:pt idx="8711">
                  <c:v>5.8910263641353255</c:v>
                </c:pt>
                <c:pt idx="8712">
                  <c:v>6.8254504818670556</c:v>
                </c:pt>
                <c:pt idx="8713">
                  <c:v>7.0788322979188747</c:v>
                </c:pt>
                <c:pt idx="8714">
                  <c:v>4.8840959805100219</c:v>
                </c:pt>
                <c:pt idx="8715">
                  <c:v>4.8771433669937148</c:v>
                </c:pt>
                <c:pt idx="8716">
                  <c:v>5.1111986753938536</c:v>
                </c:pt>
                <c:pt idx="8717">
                  <c:v>4.8296682959213983</c:v>
                </c:pt>
                <c:pt idx="8718">
                  <c:v>5.019887631716152</c:v>
                </c:pt>
                <c:pt idx="8719">
                  <c:v>5.862446686844585</c:v>
                </c:pt>
                <c:pt idx="8720">
                  <c:v>5.2247968901342245</c:v>
                </c:pt>
                <c:pt idx="8721">
                  <c:v>5.9803025499358462</c:v>
                </c:pt>
                <c:pt idx="8722">
                  <c:v>5.9979240286093365</c:v>
                </c:pt>
                <c:pt idx="8723">
                  <c:v>5.0025799080902074</c:v>
                </c:pt>
                <c:pt idx="8724">
                  <c:v>5.0287215180118991</c:v>
                </c:pt>
                <c:pt idx="8725">
                  <c:v>6.0740758187940278</c:v>
                </c:pt>
                <c:pt idx="8726">
                  <c:v>5.9899739486462433</c:v>
                </c:pt>
                <c:pt idx="8727">
                  <c:v>6.0811982517110525</c:v>
                </c:pt>
                <c:pt idx="8728">
                  <c:v>6.0828060194702402</c:v>
                </c:pt>
                <c:pt idx="8729">
                  <c:v>4.9520715600068401</c:v>
                </c:pt>
                <c:pt idx="8730">
                  <c:v>5.0866395580895656</c:v>
                </c:pt>
                <c:pt idx="8731">
                  <c:v>4.7938340760952682</c:v>
                </c:pt>
                <c:pt idx="8732">
                  <c:v>5.2833510162991093</c:v>
                </c:pt>
                <c:pt idx="8733">
                  <c:v>4.9470115734526239</c:v>
                </c:pt>
                <c:pt idx="8734">
                  <c:v>6.7908593530327686</c:v>
                </c:pt>
                <c:pt idx="8735">
                  <c:v>5.9405080109278892</c:v>
                </c:pt>
                <c:pt idx="8736">
                  <c:v>5.089007320914579</c:v>
                </c:pt>
                <c:pt idx="8737">
                  <c:v>6.0019491325629222</c:v>
                </c:pt>
                <c:pt idx="8738">
                  <c:v>4.989596858800553</c:v>
                </c:pt>
                <c:pt idx="8739">
                  <c:v>5.0301678715493656</c:v>
                </c:pt>
                <c:pt idx="8740">
                  <c:v>4.9767511993538145</c:v>
                </c:pt>
                <c:pt idx="8741">
                  <c:v>6.0474088616342714</c:v>
                </c:pt>
                <c:pt idx="8742">
                  <c:v>6.042191388702947</c:v>
                </c:pt>
                <c:pt idx="8743">
                  <c:v>5.9217643426612669</c:v>
                </c:pt>
                <c:pt idx="8744">
                  <c:v>6.1419457391407812</c:v>
                </c:pt>
                <c:pt idx="8745">
                  <c:v>5.0444963002974266</c:v>
                </c:pt>
                <c:pt idx="8746">
                  <c:v>5.9306631129215663</c:v>
                </c:pt>
                <c:pt idx="8747">
                  <c:v>5.9132623569798906</c:v>
                </c:pt>
                <c:pt idx="8748">
                  <c:v>4.9852756042166204</c:v>
                </c:pt>
                <c:pt idx="8749">
                  <c:v>5.8714622415564017</c:v>
                </c:pt>
                <c:pt idx="8750">
                  <c:v>6.2289211797650363</c:v>
                </c:pt>
                <c:pt idx="8751">
                  <c:v>5.9844654473586605</c:v>
                </c:pt>
                <c:pt idx="8752">
                  <c:v>5.9291255170167769</c:v>
                </c:pt>
                <c:pt idx="8753">
                  <c:v>5.8813900876621865</c:v>
                </c:pt>
                <c:pt idx="8754">
                  <c:v>5.1219609232308816</c:v>
                </c:pt>
                <c:pt idx="8755">
                  <c:v>4.9453285543364212</c:v>
                </c:pt>
                <c:pt idx="8756">
                  <c:v>6.0189080672336663</c:v>
                </c:pt>
                <c:pt idx="8757">
                  <c:v>5.9421789078271683</c:v>
                </c:pt>
                <c:pt idx="8758">
                  <c:v>4.8970356979421732</c:v>
                </c:pt>
                <c:pt idx="8759">
                  <c:v>6.8773255983059194</c:v>
                </c:pt>
                <c:pt idx="8760">
                  <c:v>5.9695040710112135</c:v>
                </c:pt>
                <c:pt idx="8761">
                  <c:v>6.14962817211428</c:v>
                </c:pt>
                <c:pt idx="8762">
                  <c:v>4.9819399076926256</c:v>
                </c:pt>
                <c:pt idx="8763">
                  <c:v>5.9652062325366852</c:v>
                </c:pt>
                <c:pt idx="8764">
                  <c:v>5.1624853106710216</c:v>
                </c:pt>
                <c:pt idx="8765">
                  <c:v>4.8096400088246662</c:v>
                </c:pt>
                <c:pt idx="8766">
                  <c:v>3.9514521768821487</c:v>
                </c:pt>
                <c:pt idx="8767">
                  <c:v>5.9764553667764062</c:v>
                </c:pt>
                <c:pt idx="8768">
                  <c:v>4.8735824614327798</c:v>
                </c:pt>
                <c:pt idx="8769">
                  <c:v>4.9811409956019279</c:v>
                </c:pt>
                <c:pt idx="8770">
                  <c:v>6.1105470334615504</c:v>
                </c:pt>
                <c:pt idx="8771">
                  <c:v>3.9865194874625054</c:v>
                </c:pt>
                <c:pt idx="8772">
                  <c:v>6.0771009281107959</c:v>
                </c:pt>
                <c:pt idx="8773">
                  <c:v>5.9516119829768446</c:v>
                </c:pt>
                <c:pt idx="8774">
                  <c:v>5.9055736914106527</c:v>
                </c:pt>
                <c:pt idx="8775">
                  <c:v>4.8780950864683756</c:v>
                </c:pt>
                <c:pt idx="8776">
                  <c:v>5.9083301562604822</c:v>
                </c:pt>
                <c:pt idx="8777">
                  <c:v>4.9785285323346633</c:v>
                </c:pt>
                <c:pt idx="8778">
                  <c:v>6.0024123375132055</c:v>
                </c:pt>
                <c:pt idx="8779">
                  <c:v>5.0007987432760297</c:v>
                </c:pt>
                <c:pt idx="8780">
                  <c:v>5.0235542967704463</c:v>
                </c:pt>
                <c:pt idx="8781">
                  <c:v>5.0163850502131515</c:v>
                </c:pt>
                <c:pt idx="8782">
                  <c:v>4.9655277212367244</c:v>
                </c:pt>
                <c:pt idx="8783">
                  <c:v>4.9767737484589576</c:v>
                </c:pt>
                <c:pt idx="8784">
                  <c:v>5.0433075986582923</c:v>
                </c:pt>
                <c:pt idx="8785">
                  <c:v>5.8762778967960312</c:v>
                </c:pt>
                <c:pt idx="8786">
                  <c:v>5.9488403023061478</c:v>
                </c:pt>
                <c:pt idx="8787">
                  <c:v>5.9338354125328818</c:v>
                </c:pt>
                <c:pt idx="8788">
                  <c:v>4.8764244429576964</c:v>
                </c:pt>
                <c:pt idx="8789">
                  <c:v>6.0174951945037423</c:v>
                </c:pt>
                <c:pt idx="8790">
                  <c:v>5.0000816012209848</c:v>
                </c:pt>
                <c:pt idx="8791">
                  <c:v>4.9472260941439004</c:v>
                </c:pt>
                <c:pt idx="8792">
                  <c:v>4.9847135017627426</c:v>
                </c:pt>
                <c:pt idx="8793">
                  <c:v>5.9794540487672752</c:v>
                </c:pt>
                <c:pt idx="8794">
                  <c:v>4.9555663833733785</c:v>
                </c:pt>
                <c:pt idx="8795">
                  <c:v>5.1570674385942503</c:v>
                </c:pt>
                <c:pt idx="8796">
                  <c:v>5.9055361495689134</c:v>
                </c:pt>
                <c:pt idx="8797">
                  <c:v>5.9442846102463056</c:v>
                </c:pt>
                <c:pt idx="8798">
                  <c:v>6.9097718034336326</c:v>
                </c:pt>
                <c:pt idx="8799">
                  <c:v>4.9738850458537387</c:v>
                </c:pt>
                <c:pt idx="8800">
                  <c:v>7.1488123260203196</c:v>
                </c:pt>
                <c:pt idx="8801">
                  <c:v>5.0148110286032859</c:v>
                </c:pt>
                <c:pt idx="8802">
                  <c:v>4.7627589891861382</c:v>
                </c:pt>
                <c:pt idx="8803">
                  <c:v>5.9389342226757691</c:v>
                </c:pt>
                <c:pt idx="8804">
                  <c:v>4.8427389233569231</c:v>
                </c:pt>
                <c:pt idx="8805">
                  <c:v>4.9874695707112124</c:v>
                </c:pt>
                <c:pt idx="8806">
                  <c:v>5.9324702887995802</c:v>
                </c:pt>
                <c:pt idx="8807">
                  <c:v>5.0338899394662651</c:v>
                </c:pt>
                <c:pt idx="8808">
                  <c:v>5.9986535814607365</c:v>
                </c:pt>
                <c:pt idx="8809">
                  <c:v>6.1318777859512812</c:v>
                </c:pt>
                <c:pt idx="8810">
                  <c:v>5.9113853998333861</c:v>
                </c:pt>
                <c:pt idx="8811">
                  <c:v>5.9756755897666007</c:v>
                </c:pt>
                <c:pt idx="8812">
                  <c:v>5.0792780832426736</c:v>
                </c:pt>
                <c:pt idx="8813">
                  <c:v>6.0417599916649998</c:v>
                </c:pt>
                <c:pt idx="8814">
                  <c:v>5.9030703183784317</c:v>
                </c:pt>
                <c:pt idx="8815">
                  <c:v>5.9503422492765594</c:v>
                </c:pt>
                <c:pt idx="8816">
                  <c:v>5.9384910991733841</c:v>
                </c:pt>
                <c:pt idx="8817">
                  <c:v>5.9851732681532752</c:v>
                </c:pt>
                <c:pt idx="8818">
                  <c:v>5.8637308186117476</c:v>
                </c:pt>
                <c:pt idx="8819">
                  <c:v>4.922462289270964</c:v>
                </c:pt>
                <c:pt idx="8820">
                  <c:v>5.9461232716342538</c:v>
                </c:pt>
                <c:pt idx="8821">
                  <c:v>5.9451500578962282</c:v>
                </c:pt>
                <c:pt idx="8822">
                  <c:v>5.7756854112952611</c:v>
                </c:pt>
                <c:pt idx="8823">
                  <c:v>6.0291624010067375</c:v>
                </c:pt>
                <c:pt idx="8824">
                  <c:v>4.9488761957890652</c:v>
                </c:pt>
                <c:pt idx="8825">
                  <c:v>5.0855262493617781</c:v>
                </c:pt>
                <c:pt idx="8826">
                  <c:v>5.0451390423789997</c:v>
                </c:pt>
                <c:pt idx="8827">
                  <c:v>6.0047467570540194</c:v>
                </c:pt>
                <c:pt idx="8828">
                  <c:v>6.9903749377734536</c:v>
                </c:pt>
                <c:pt idx="8829">
                  <c:v>5.8148885545374212</c:v>
                </c:pt>
                <c:pt idx="8830">
                  <c:v>6.0845163487578064</c:v>
                </c:pt>
                <c:pt idx="8831">
                  <c:v>7.1001252439315081</c:v>
                </c:pt>
                <c:pt idx="8832">
                  <c:v>6.0516677752430432</c:v>
                </c:pt>
                <c:pt idx="8833">
                  <c:v>6.1290077042783286</c:v>
                </c:pt>
                <c:pt idx="8834">
                  <c:v>4.9170744596975871</c:v>
                </c:pt>
                <c:pt idx="8835">
                  <c:v>6.9003431249069545</c:v>
                </c:pt>
                <c:pt idx="8836">
                  <c:v>6.1169456663574486</c:v>
                </c:pt>
                <c:pt idx="8837">
                  <c:v>6.1249253306071383</c:v>
                </c:pt>
                <c:pt idx="8838">
                  <c:v>7.0413649460190939</c:v>
                </c:pt>
                <c:pt idx="8839">
                  <c:v>5.9176359818301174</c:v>
                </c:pt>
                <c:pt idx="8840">
                  <c:v>6.089222413825742</c:v>
                </c:pt>
                <c:pt idx="8841">
                  <c:v>5.8516917490334928</c:v>
                </c:pt>
                <c:pt idx="8842">
                  <c:v>6.0952017437767987</c:v>
                </c:pt>
                <c:pt idx="8843">
                  <c:v>5.1423333258721833</c:v>
                </c:pt>
                <c:pt idx="8844">
                  <c:v>5.8512696556928345</c:v>
                </c:pt>
                <c:pt idx="8845">
                  <c:v>5.882040853108915</c:v>
                </c:pt>
                <c:pt idx="8846">
                  <c:v>6.0113743019529791</c:v>
                </c:pt>
                <c:pt idx="8847">
                  <c:v>7.1677972693278003</c:v>
                </c:pt>
                <c:pt idx="8848">
                  <c:v>6.0858193514792021</c:v>
                </c:pt>
                <c:pt idx="8849">
                  <c:v>5.9959371319028687</c:v>
                </c:pt>
                <c:pt idx="8850">
                  <c:v>6.1362992403759202</c:v>
                </c:pt>
                <c:pt idx="8851">
                  <c:v>6.0727792889163057</c:v>
                </c:pt>
                <c:pt idx="8852">
                  <c:v>6.0340127166132822</c:v>
                </c:pt>
                <c:pt idx="8853">
                  <c:v>5.0145953690920022</c:v>
                </c:pt>
                <c:pt idx="8854">
                  <c:v>5.9196259243851905</c:v>
                </c:pt>
                <c:pt idx="8855">
                  <c:v>6.0544734907731277</c:v>
                </c:pt>
                <c:pt idx="8856">
                  <c:v>5.124451745858984</c:v>
                </c:pt>
                <c:pt idx="8857">
                  <c:v>6.014734416683674</c:v>
                </c:pt>
                <c:pt idx="8858">
                  <c:v>4.9173580279498914</c:v>
                </c:pt>
                <c:pt idx="8859">
                  <c:v>6.0415012241262946</c:v>
                </c:pt>
                <c:pt idx="8860">
                  <c:v>4.9768691952928492</c:v>
                </c:pt>
                <c:pt idx="8861">
                  <c:v>7.1094124461742298</c:v>
                </c:pt>
                <c:pt idx="8862">
                  <c:v>6.0115464950537891</c:v>
                </c:pt>
                <c:pt idx="8863">
                  <c:v>5.9488530065759528</c:v>
                </c:pt>
                <c:pt idx="8864">
                  <c:v>5.9719063917193056</c:v>
                </c:pt>
                <c:pt idx="8865">
                  <c:v>6.0007478693205263</c:v>
                </c:pt>
                <c:pt idx="8866">
                  <c:v>6.0748896904432792</c:v>
                </c:pt>
                <c:pt idx="8867">
                  <c:v>5.0222456969876017</c:v>
                </c:pt>
                <c:pt idx="8868">
                  <c:v>6.8259541991913437</c:v>
                </c:pt>
                <c:pt idx="8869">
                  <c:v>6.0773187723593116</c:v>
                </c:pt>
                <c:pt idx="8870">
                  <c:v>4.9841907464099071</c:v>
                </c:pt>
                <c:pt idx="8871">
                  <c:v>6.0557252123173209</c:v>
                </c:pt>
                <c:pt idx="8872">
                  <c:v>6.1143733224437753</c:v>
                </c:pt>
                <c:pt idx="8873">
                  <c:v>4.8852015096540535</c:v>
                </c:pt>
                <c:pt idx="8874">
                  <c:v>4.9744113984696527</c:v>
                </c:pt>
                <c:pt idx="8875">
                  <c:v>5.0247380749300392</c:v>
                </c:pt>
                <c:pt idx="8876">
                  <c:v>5.9536660448212482</c:v>
                </c:pt>
                <c:pt idx="8877">
                  <c:v>3.7731593052021335</c:v>
                </c:pt>
                <c:pt idx="8878">
                  <c:v>4.9492856658062232</c:v>
                </c:pt>
                <c:pt idx="8879">
                  <c:v>5.884511727460505</c:v>
                </c:pt>
                <c:pt idx="8880">
                  <c:v>4.7732695634732556</c:v>
                </c:pt>
                <c:pt idx="8881">
                  <c:v>4.9495460049118289</c:v>
                </c:pt>
                <c:pt idx="8882">
                  <c:v>5.814169670771097</c:v>
                </c:pt>
                <c:pt idx="8883">
                  <c:v>5.9851635269746177</c:v>
                </c:pt>
                <c:pt idx="8884">
                  <c:v>4.970005070806347</c:v>
                </c:pt>
                <c:pt idx="8885">
                  <c:v>5.9119887568425469</c:v>
                </c:pt>
                <c:pt idx="8886">
                  <c:v>4.9879619844308252</c:v>
                </c:pt>
                <c:pt idx="8887">
                  <c:v>6.0527584674740016</c:v>
                </c:pt>
                <c:pt idx="8888">
                  <c:v>4.9205074383091683</c:v>
                </c:pt>
                <c:pt idx="8889">
                  <c:v>4.9759109246056052</c:v>
                </c:pt>
                <c:pt idx="8890">
                  <c:v>5.8594945212769058</c:v>
                </c:pt>
                <c:pt idx="8891">
                  <c:v>5.9117052231665994</c:v>
                </c:pt>
                <c:pt idx="8892">
                  <c:v>5.2553529260331162</c:v>
                </c:pt>
                <c:pt idx="8893">
                  <c:v>4.9295466371667898</c:v>
                </c:pt>
                <c:pt idx="8894">
                  <c:v>5.9730704102502115</c:v>
                </c:pt>
                <c:pt idx="8895">
                  <c:v>5.9826044478001572</c:v>
                </c:pt>
                <c:pt idx="8896">
                  <c:v>5.9517455366520293</c:v>
                </c:pt>
                <c:pt idx="8897">
                  <c:v>4.925274551524085</c:v>
                </c:pt>
                <c:pt idx="8898">
                  <c:v>4.9215410302816576</c:v>
                </c:pt>
                <c:pt idx="8899">
                  <c:v>4.9782052922835902</c:v>
                </c:pt>
                <c:pt idx="8900">
                  <c:v>4.9896483017292157</c:v>
                </c:pt>
                <c:pt idx="8901">
                  <c:v>5.9592144528115885</c:v>
                </c:pt>
                <c:pt idx="8902">
                  <c:v>6.035931663320584</c:v>
                </c:pt>
                <c:pt idx="8903">
                  <c:v>5.0228795905736101</c:v>
                </c:pt>
                <c:pt idx="8904">
                  <c:v>5.8966881716815447</c:v>
                </c:pt>
                <c:pt idx="8905">
                  <c:v>5.0178998583234646</c:v>
                </c:pt>
                <c:pt idx="8906">
                  <c:v>5.0627986192284027</c:v>
                </c:pt>
                <c:pt idx="8907">
                  <c:v>5.1012396160681384</c:v>
                </c:pt>
                <c:pt idx="8908">
                  <c:v>5.0463285239472269</c:v>
                </c:pt>
                <c:pt idx="8909">
                  <c:v>5.0445349397702639</c:v>
                </c:pt>
                <c:pt idx="8910">
                  <c:v>5.8944307538211484</c:v>
                </c:pt>
                <c:pt idx="8911">
                  <c:v>6.1581320380736431</c:v>
                </c:pt>
                <c:pt idx="8912">
                  <c:v>5.2511537652572819</c:v>
                </c:pt>
                <c:pt idx="8913">
                  <c:v>4.8242575522521296</c:v>
                </c:pt>
                <c:pt idx="8914">
                  <c:v>5.8844403282262912</c:v>
                </c:pt>
                <c:pt idx="8915">
                  <c:v>6.0948884255675333</c:v>
                </c:pt>
                <c:pt idx="8916">
                  <c:v>5.7591658185665198</c:v>
                </c:pt>
                <c:pt idx="8917">
                  <c:v>4.8849090525621168</c:v>
                </c:pt>
                <c:pt idx="8918">
                  <c:v>3.0417316075435705</c:v>
                </c:pt>
                <c:pt idx="8919">
                  <c:v>5.9155937964026037</c:v>
                </c:pt>
                <c:pt idx="8920">
                  <c:v>7.0560297629184454</c:v>
                </c:pt>
                <c:pt idx="8921">
                  <c:v>6.006894109819461</c:v>
                </c:pt>
                <c:pt idx="8922">
                  <c:v>5.9991079180186855</c:v>
                </c:pt>
                <c:pt idx="8923">
                  <c:v>6.8546107272963903</c:v>
                </c:pt>
                <c:pt idx="8924">
                  <c:v>5.9567277552288882</c:v>
                </c:pt>
                <c:pt idx="8925">
                  <c:v>4.9636753677941634</c:v>
                </c:pt>
                <c:pt idx="8926">
                  <c:v>4.953499612636624</c:v>
                </c:pt>
                <c:pt idx="8927">
                  <c:v>4.9335018957274865</c:v>
                </c:pt>
                <c:pt idx="8928">
                  <c:v>5.0489298055190321</c:v>
                </c:pt>
                <c:pt idx="8929">
                  <c:v>5.9308697973986915</c:v>
                </c:pt>
                <c:pt idx="8930">
                  <c:v>5.0141776845996597</c:v>
                </c:pt>
                <c:pt idx="8931">
                  <c:v>4.8832758697018877</c:v>
                </c:pt>
                <c:pt idx="8932">
                  <c:v>5.9573317958476819</c:v>
                </c:pt>
                <c:pt idx="8933">
                  <c:v>5.0916821519332673</c:v>
                </c:pt>
                <c:pt idx="8934">
                  <c:v>6.077790826378223</c:v>
                </c:pt>
                <c:pt idx="8935">
                  <c:v>6.088469353147727</c:v>
                </c:pt>
                <c:pt idx="8936">
                  <c:v>5.1312443981569595</c:v>
                </c:pt>
                <c:pt idx="8937">
                  <c:v>6.908360984075931</c:v>
                </c:pt>
                <c:pt idx="8938">
                  <c:v>6.9531523397983506</c:v>
                </c:pt>
                <c:pt idx="8939">
                  <c:v>7.031109680654378</c:v>
                </c:pt>
                <c:pt idx="8940">
                  <c:v>4.970705741918235</c:v>
                </c:pt>
                <c:pt idx="8941">
                  <c:v>5.925304502303673</c:v>
                </c:pt>
                <c:pt idx="8942">
                  <c:v>7.1378900332705477</c:v>
                </c:pt>
                <c:pt idx="8943">
                  <c:v>4.871879160956599</c:v>
                </c:pt>
                <c:pt idx="8944">
                  <c:v>5.7625875140566398</c:v>
                </c:pt>
                <c:pt idx="8945">
                  <c:v>5.0070813390570255</c:v>
                </c:pt>
                <c:pt idx="8946">
                  <c:v>6.0725648131232042</c:v>
                </c:pt>
                <c:pt idx="8947">
                  <c:v>6.1183700265981154</c:v>
                </c:pt>
                <c:pt idx="8948">
                  <c:v>5.9322675028883234</c:v>
                </c:pt>
                <c:pt idx="8949">
                  <c:v>4.9907387755483468</c:v>
                </c:pt>
                <c:pt idx="8950">
                  <c:v>4.9770265191051344</c:v>
                </c:pt>
                <c:pt idx="8951">
                  <c:v>4.9599199481932157</c:v>
                </c:pt>
                <c:pt idx="8952">
                  <c:v>6.0781585824865072</c:v>
                </c:pt>
                <c:pt idx="8953">
                  <c:v>5.9886525263207773</c:v>
                </c:pt>
                <c:pt idx="8954">
                  <c:v>5.0054920277589812</c:v>
                </c:pt>
                <c:pt idx="8955">
                  <c:v>4.9281136613426462</c:v>
                </c:pt>
                <c:pt idx="8956">
                  <c:v>7.0821504197658163</c:v>
                </c:pt>
                <c:pt idx="8957">
                  <c:v>4.966216283814199</c:v>
                </c:pt>
                <c:pt idx="8958">
                  <c:v>6.0128557944968781</c:v>
                </c:pt>
                <c:pt idx="8959">
                  <c:v>6.0674141852877455</c:v>
                </c:pt>
                <c:pt idx="8960">
                  <c:v>6.0513251425568271</c:v>
                </c:pt>
                <c:pt idx="8961">
                  <c:v>4.8671015293472628</c:v>
                </c:pt>
                <c:pt idx="8962">
                  <c:v>5.9464276931719198</c:v>
                </c:pt>
                <c:pt idx="8963">
                  <c:v>6.0368601487682714</c:v>
                </c:pt>
                <c:pt idx="8964">
                  <c:v>6.8832039055174983</c:v>
                </c:pt>
                <c:pt idx="8965">
                  <c:v>6.0159543404029563</c:v>
                </c:pt>
                <c:pt idx="8966">
                  <c:v>6.0140475133775464</c:v>
                </c:pt>
                <c:pt idx="8967">
                  <c:v>5.9888633133187623</c:v>
                </c:pt>
                <c:pt idx="8968">
                  <c:v>5.0715904250828094</c:v>
                </c:pt>
                <c:pt idx="8969">
                  <c:v>4.7838591717886541</c:v>
                </c:pt>
                <c:pt idx="8970">
                  <c:v>4.9851545340666847</c:v>
                </c:pt>
                <c:pt idx="8971">
                  <c:v>6.1115158433812891</c:v>
                </c:pt>
                <c:pt idx="8972">
                  <c:v>4.9679927744243342</c:v>
                </c:pt>
                <c:pt idx="8973">
                  <c:v>5.0658166108632496</c:v>
                </c:pt>
                <c:pt idx="8974">
                  <c:v>6.0549210265657107</c:v>
                </c:pt>
                <c:pt idx="8975">
                  <c:v>5.2183820477416072</c:v>
                </c:pt>
                <c:pt idx="8976">
                  <c:v>4.9688148387822553</c:v>
                </c:pt>
                <c:pt idx="8977">
                  <c:v>5.0146088687342187</c:v>
                </c:pt>
                <c:pt idx="8978">
                  <c:v>4.9268473372481898</c:v>
                </c:pt>
                <c:pt idx="8979">
                  <c:v>5.1842334780188404</c:v>
                </c:pt>
                <c:pt idx="8980">
                  <c:v>5.1669405561357902</c:v>
                </c:pt>
                <c:pt idx="8981">
                  <c:v>5.9047229703102442</c:v>
                </c:pt>
                <c:pt idx="8982">
                  <c:v>5.0368588159101018</c:v>
                </c:pt>
                <c:pt idx="8983">
                  <c:v>4.866310833770715</c:v>
                </c:pt>
                <c:pt idx="8984">
                  <c:v>4.9372099392479072</c:v>
                </c:pt>
                <c:pt idx="8985">
                  <c:v>5.9365202584549257</c:v>
                </c:pt>
                <c:pt idx="8986">
                  <c:v>4.9714217584653326</c:v>
                </c:pt>
                <c:pt idx="8987">
                  <c:v>5.8505629590717536</c:v>
                </c:pt>
                <c:pt idx="8988">
                  <c:v>5.7993490591359187</c:v>
                </c:pt>
                <c:pt idx="8989">
                  <c:v>5.0344144154934822</c:v>
                </c:pt>
                <c:pt idx="8990">
                  <c:v>5.1957573503055823</c:v>
                </c:pt>
                <c:pt idx="8991">
                  <c:v>4.9399661670928481</c:v>
                </c:pt>
                <c:pt idx="8992">
                  <c:v>4.8953702538380561</c:v>
                </c:pt>
                <c:pt idx="8993">
                  <c:v>4.6775585619286071</c:v>
                </c:pt>
                <c:pt idx="8994">
                  <c:v>4.9320172951500529</c:v>
                </c:pt>
                <c:pt idx="8995">
                  <c:v>4.802303891449915</c:v>
                </c:pt>
                <c:pt idx="8996">
                  <c:v>6.8009559177307848</c:v>
                </c:pt>
                <c:pt idx="8997">
                  <c:v>5.0163778197024298</c:v>
                </c:pt>
                <c:pt idx="8998">
                  <c:v>5.1460270807241573</c:v>
                </c:pt>
                <c:pt idx="8999">
                  <c:v>5.0056660372278987</c:v>
                </c:pt>
                <c:pt idx="9000">
                  <c:v>4.9334224068064279</c:v>
                </c:pt>
                <c:pt idx="9001">
                  <c:v>6.0135375786594389</c:v>
                </c:pt>
                <c:pt idx="9002">
                  <c:v>5.1038324170688378</c:v>
                </c:pt>
                <c:pt idx="9003">
                  <c:v>5.843749744533242</c:v>
                </c:pt>
                <c:pt idx="9004">
                  <c:v>5.0593684138652772</c:v>
                </c:pt>
                <c:pt idx="9005">
                  <c:v>5.0138448025433684</c:v>
                </c:pt>
                <c:pt idx="9006">
                  <c:v>5.0222467990364361</c:v>
                </c:pt>
                <c:pt idx="9007">
                  <c:v>5.0278446683251401</c:v>
                </c:pt>
                <c:pt idx="9008">
                  <c:v>4.8642642547152368</c:v>
                </c:pt>
                <c:pt idx="9009">
                  <c:v>5.126455350658973</c:v>
                </c:pt>
                <c:pt idx="9010">
                  <c:v>6.1348318419311143</c:v>
                </c:pt>
                <c:pt idx="9011">
                  <c:v>4.9308025172380754</c:v>
                </c:pt>
                <c:pt idx="9012">
                  <c:v>6.8756577081345363</c:v>
                </c:pt>
                <c:pt idx="9013">
                  <c:v>5.1872827418810195</c:v>
                </c:pt>
                <c:pt idx="9014">
                  <c:v>6.0149443642299003</c:v>
                </c:pt>
                <c:pt idx="9015">
                  <c:v>5.0438475982134987</c:v>
                </c:pt>
                <c:pt idx="9016">
                  <c:v>5.0538219235693722</c:v>
                </c:pt>
                <c:pt idx="9017">
                  <c:v>4.972951820749242</c:v>
                </c:pt>
                <c:pt idx="9018">
                  <c:v>5.0531168595450948</c:v>
                </c:pt>
                <c:pt idx="9019">
                  <c:v>5.113972343779519</c:v>
                </c:pt>
                <c:pt idx="9020">
                  <c:v>4.9418308381639724</c:v>
                </c:pt>
                <c:pt idx="9021">
                  <c:v>5.0444206134694003</c:v>
                </c:pt>
                <c:pt idx="9022">
                  <c:v>5.2286875612549863</c:v>
                </c:pt>
                <c:pt idx="9023">
                  <c:v>4.9662796145772559</c:v>
                </c:pt>
                <c:pt idx="9024">
                  <c:v>5.0700505712137804</c:v>
                </c:pt>
                <c:pt idx="9025">
                  <c:v>5.0740813838675054</c:v>
                </c:pt>
                <c:pt idx="9026">
                  <c:v>5.9120551457661854</c:v>
                </c:pt>
                <c:pt idx="9027">
                  <c:v>5.0125742331782179</c:v>
                </c:pt>
                <c:pt idx="9028">
                  <c:v>4.7846506853315818</c:v>
                </c:pt>
                <c:pt idx="9029">
                  <c:v>4.9877166534443615</c:v>
                </c:pt>
                <c:pt idx="9030">
                  <c:v>4.995518972837405</c:v>
                </c:pt>
                <c:pt idx="9031">
                  <c:v>4.8762032765782557</c:v>
                </c:pt>
                <c:pt idx="9032">
                  <c:v>5.985164294584882</c:v>
                </c:pt>
                <c:pt idx="9033">
                  <c:v>5.0062172228331763</c:v>
                </c:pt>
                <c:pt idx="9034">
                  <c:v>5.0913322377432761</c:v>
                </c:pt>
                <c:pt idx="9035">
                  <c:v>6.2546835679391179</c:v>
                </c:pt>
                <c:pt idx="9036">
                  <c:v>6.1320827950556671</c:v>
                </c:pt>
                <c:pt idx="9037">
                  <c:v>6.0648055256201712</c:v>
                </c:pt>
                <c:pt idx="9038">
                  <c:v>5.0011358926228304</c:v>
                </c:pt>
                <c:pt idx="9039">
                  <c:v>5.090930156361698</c:v>
                </c:pt>
                <c:pt idx="9040">
                  <c:v>5.8141814271804275</c:v>
                </c:pt>
                <c:pt idx="9041">
                  <c:v>5.9627561989716709</c:v>
                </c:pt>
                <c:pt idx="9042">
                  <c:v>4.9434419848715896</c:v>
                </c:pt>
                <c:pt idx="9043">
                  <c:v>4.9494354692197566</c:v>
                </c:pt>
                <c:pt idx="9044">
                  <c:v>5.1122014574526817</c:v>
                </c:pt>
                <c:pt idx="9045">
                  <c:v>4.8444645521952658</c:v>
                </c:pt>
                <c:pt idx="9046">
                  <c:v>4.82308773173565</c:v>
                </c:pt>
                <c:pt idx="9047">
                  <c:v>5.1114208028368591</c:v>
                </c:pt>
                <c:pt idx="9048">
                  <c:v>4.9512571886083059</c:v>
                </c:pt>
                <c:pt idx="9049">
                  <c:v>4.9708532253387991</c:v>
                </c:pt>
                <c:pt idx="9050">
                  <c:v>4.9186155783103587</c:v>
                </c:pt>
                <c:pt idx="9051">
                  <c:v>5.0621793921328049</c:v>
                </c:pt>
                <c:pt idx="9052">
                  <c:v>4.8449230744175598</c:v>
                </c:pt>
                <c:pt idx="9053">
                  <c:v>6.9863987734773056</c:v>
                </c:pt>
                <c:pt idx="9054">
                  <c:v>5.9107260202850815</c:v>
                </c:pt>
                <c:pt idx="9055">
                  <c:v>5.0504381579523514</c:v>
                </c:pt>
                <c:pt idx="9056">
                  <c:v>5.9370638802187283</c:v>
                </c:pt>
                <c:pt idx="9057">
                  <c:v>5.8175574540674493</c:v>
                </c:pt>
                <c:pt idx="9058">
                  <c:v>5.056170894139048</c:v>
                </c:pt>
                <c:pt idx="9059">
                  <c:v>6.1520483186118753</c:v>
                </c:pt>
                <c:pt idx="9060">
                  <c:v>4.952193307054638</c:v>
                </c:pt>
                <c:pt idx="9061">
                  <c:v>5.0775135616007798</c:v>
                </c:pt>
                <c:pt idx="9062">
                  <c:v>4.9708561112120249</c:v>
                </c:pt>
                <c:pt idx="9063">
                  <c:v>6.0553434519526981</c:v>
                </c:pt>
                <c:pt idx="9064">
                  <c:v>5.1421498147087759</c:v>
                </c:pt>
                <c:pt idx="9065">
                  <c:v>6.0127188651160184</c:v>
                </c:pt>
                <c:pt idx="9066">
                  <c:v>5.0310793888232412</c:v>
                </c:pt>
                <c:pt idx="9067">
                  <c:v>4.8932323340180996</c:v>
                </c:pt>
                <c:pt idx="9068">
                  <c:v>5.0085968412863613</c:v>
                </c:pt>
                <c:pt idx="9069">
                  <c:v>5.9812771971881453</c:v>
                </c:pt>
                <c:pt idx="9070">
                  <c:v>4.9923524632232805</c:v>
                </c:pt>
                <c:pt idx="9071">
                  <c:v>4.96072218856634</c:v>
                </c:pt>
                <c:pt idx="9072">
                  <c:v>4.914160248334797</c:v>
                </c:pt>
                <c:pt idx="9073">
                  <c:v>4.9534865665024173</c:v>
                </c:pt>
                <c:pt idx="9074">
                  <c:v>5.8048641592293695</c:v>
                </c:pt>
                <c:pt idx="9075">
                  <c:v>5.0309259672310791</c:v>
                </c:pt>
                <c:pt idx="9076">
                  <c:v>4.9833753179317908</c:v>
                </c:pt>
                <c:pt idx="9077">
                  <c:v>5.0799698937812723</c:v>
                </c:pt>
                <c:pt idx="9078">
                  <c:v>5.0734148681805431</c:v>
                </c:pt>
                <c:pt idx="9079">
                  <c:v>6.0132168659631438</c:v>
                </c:pt>
                <c:pt idx="9080">
                  <c:v>6.1210316809146574</c:v>
                </c:pt>
                <c:pt idx="9081">
                  <c:v>5.0015280122231136</c:v>
                </c:pt>
                <c:pt idx="9082">
                  <c:v>5.0506538132393546</c:v>
                </c:pt>
                <c:pt idx="9083">
                  <c:v>5.1641262276463573</c:v>
                </c:pt>
                <c:pt idx="9084">
                  <c:v>5.8292945680320836</c:v>
                </c:pt>
                <c:pt idx="9085">
                  <c:v>5.1780246043882894</c:v>
                </c:pt>
                <c:pt idx="9086">
                  <c:v>5.8533717881315726</c:v>
                </c:pt>
                <c:pt idx="9087">
                  <c:v>5.0902328997372397</c:v>
                </c:pt>
                <c:pt idx="9088">
                  <c:v>5.0045804096432009</c:v>
                </c:pt>
                <c:pt idx="9089">
                  <c:v>4.935289204451224</c:v>
                </c:pt>
                <c:pt idx="9090">
                  <c:v>5.0846843161435427</c:v>
                </c:pt>
                <c:pt idx="9091">
                  <c:v>4.8942804559051369</c:v>
                </c:pt>
                <c:pt idx="9092">
                  <c:v>7.0327068253092602</c:v>
                </c:pt>
                <c:pt idx="9093">
                  <c:v>4.7734727163345019</c:v>
                </c:pt>
                <c:pt idx="9094">
                  <c:v>5.0604883374296028</c:v>
                </c:pt>
                <c:pt idx="9095">
                  <c:v>5.0574523655353607</c:v>
                </c:pt>
                <c:pt idx="9096">
                  <c:v>4.9990918877053447</c:v>
                </c:pt>
                <c:pt idx="9097">
                  <c:v>6.0894869564088951</c:v>
                </c:pt>
                <c:pt idx="9098">
                  <c:v>4.9707311072177269</c:v>
                </c:pt>
                <c:pt idx="9099">
                  <c:v>5.0884044981790906</c:v>
                </c:pt>
                <c:pt idx="9100">
                  <c:v>5.0013721861734464</c:v>
                </c:pt>
                <c:pt idx="9101">
                  <c:v>4.9359515392109792</c:v>
                </c:pt>
                <c:pt idx="9102">
                  <c:v>4.9602377567926519</c:v>
                </c:pt>
                <c:pt idx="9103">
                  <c:v>1.9652324905492513</c:v>
                </c:pt>
                <c:pt idx="9104">
                  <c:v>5.1492463928666972</c:v>
                </c:pt>
                <c:pt idx="9105">
                  <c:v>4.8965504043605268</c:v>
                </c:pt>
                <c:pt idx="9106">
                  <c:v>4.841921163900305</c:v>
                </c:pt>
                <c:pt idx="9107">
                  <c:v>5.0523765311961881</c:v>
                </c:pt>
                <c:pt idx="9108">
                  <c:v>6.0069974876502883</c:v>
                </c:pt>
                <c:pt idx="9109">
                  <c:v>6.0897969628800865</c:v>
                </c:pt>
                <c:pt idx="9110">
                  <c:v>4.8954345403447048</c:v>
                </c:pt>
                <c:pt idx="9111">
                  <c:v>5.0281560771016212</c:v>
                </c:pt>
                <c:pt idx="9112">
                  <c:v>4.9753767388466228</c:v>
                </c:pt>
                <c:pt idx="9113">
                  <c:v>4.9207892369803767</c:v>
                </c:pt>
                <c:pt idx="9114">
                  <c:v>5.074798942273909</c:v>
                </c:pt>
                <c:pt idx="9115">
                  <c:v>5.0060972133688209</c:v>
                </c:pt>
                <c:pt idx="9116">
                  <c:v>6.977639197093449</c:v>
                </c:pt>
                <c:pt idx="9117">
                  <c:v>4.8575126087877631</c:v>
                </c:pt>
                <c:pt idx="9118">
                  <c:v>4.9052867594186056</c:v>
                </c:pt>
                <c:pt idx="9119">
                  <c:v>5.1983405559553111</c:v>
                </c:pt>
                <c:pt idx="9120">
                  <c:v>6.0502863015253983</c:v>
                </c:pt>
                <c:pt idx="9121">
                  <c:v>5.944601635701793</c:v>
                </c:pt>
                <c:pt idx="9122">
                  <c:v>5.0579272497359469</c:v>
                </c:pt>
                <c:pt idx="9123">
                  <c:v>5.0933023876333516</c:v>
                </c:pt>
                <c:pt idx="9124">
                  <c:v>5.8157698364019668</c:v>
                </c:pt>
                <c:pt idx="9125">
                  <c:v>5.8673176689382176</c:v>
                </c:pt>
                <c:pt idx="9126">
                  <c:v>6.0654129035411515</c:v>
                </c:pt>
                <c:pt idx="9127">
                  <c:v>4.9413663250039912</c:v>
                </c:pt>
                <c:pt idx="9128">
                  <c:v>5.760665379055796</c:v>
                </c:pt>
                <c:pt idx="9129">
                  <c:v>5.1137298849021207</c:v>
                </c:pt>
                <c:pt idx="9130">
                  <c:v>5.0264623851151002</c:v>
                </c:pt>
                <c:pt idx="9131">
                  <c:v>4.8083903968351889</c:v>
                </c:pt>
                <c:pt idx="9132">
                  <c:v>4.8286850546943674</c:v>
                </c:pt>
                <c:pt idx="9133">
                  <c:v>5.1116872800569535</c:v>
                </c:pt>
                <c:pt idx="9134">
                  <c:v>5.1846179459948738</c:v>
                </c:pt>
                <c:pt idx="9135">
                  <c:v>4.979039547728477</c:v>
                </c:pt>
                <c:pt idx="9136">
                  <c:v>5.0463275338221729</c:v>
                </c:pt>
                <c:pt idx="9137">
                  <c:v>4.8864945143453342</c:v>
                </c:pt>
                <c:pt idx="9138">
                  <c:v>4.9197428142090409</c:v>
                </c:pt>
                <c:pt idx="9139">
                  <c:v>4.907203483343678</c:v>
                </c:pt>
                <c:pt idx="9140">
                  <c:v>5.92474083414454</c:v>
                </c:pt>
                <c:pt idx="9141">
                  <c:v>4.8827660657244225</c:v>
                </c:pt>
                <c:pt idx="9142">
                  <c:v>5.0257380647780865</c:v>
                </c:pt>
                <c:pt idx="9143">
                  <c:v>5.0543116663814445</c:v>
                </c:pt>
                <c:pt idx="9144">
                  <c:v>4.9336444719230128</c:v>
                </c:pt>
                <c:pt idx="9145">
                  <c:v>5.0409888858238041</c:v>
                </c:pt>
                <c:pt idx="9146">
                  <c:v>5.0181683811498603</c:v>
                </c:pt>
                <c:pt idx="9147">
                  <c:v>4.9881011456871169</c:v>
                </c:pt>
                <c:pt idx="9148">
                  <c:v>5.84338472061917</c:v>
                </c:pt>
                <c:pt idx="9149">
                  <c:v>6.9053624408949004</c:v>
                </c:pt>
                <c:pt idx="9150">
                  <c:v>5.1521105505146565</c:v>
                </c:pt>
                <c:pt idx="9151">
                  <c:v>4.9743464365385472</c:v>
                </c:pt>
                <c:pt idx="9152">
                  <c:v>5.1758905144281577</c:v>
                </c:pt>
                <c:pt idx="9153">
                  <c:v>5.8768191125167961</c:v>
                </c:pt>
                <c:pt idx="9154">
                  <c:v>5.0629539412248885</c:v>
                </c:pt>
                <c:pt idx="9155">
                  <c:v>5.9201216911733523</c:v>
                </c:pt>
                <c:pt idx="9156">
                  <c:v>4.8696771751663874</c:v>
                </c:pt>
                <c:pt idx="9157">
                  <c:v>5.0352212334509927</c:v>
                </c:pt>
                <c:pt idx="9158">
                  <c:v>5.0132644302007563</c:v>
                </c:pt>
                <c:pt idx="9159">
                  <c:v>6.1984064753421535</c:v>
                </c:pt>
                <c:pt idx="9160">
                  <c:v>4.879153099411818</c:v>
                </c:pt>
                <c:pt idx="9161">
                  <c:v>6.0035390011039631</c:v>
                </c:pt>
                <c:pt idx="9162">
                  <c:v>4.9515427052223551</c:v>
                </c:pt>
                <c:pt idx="9163">
                  <c:v>5.9990862108375849</c:v>
                </c:pt>
                <c:pt idx="9164">
                  <c:v>5.2007991399967572</c:v>
                </c:pt>
                <c:pt idx="9165">
                  <c:v>5.9074067937875636</c:v>
                </c:pt>
                <c:pt idx="9166">
                  <c:v>4.9851560298913205</c:v>
                </c:pt>
                <c:pt idx="9167">
                  <c:v>4.94726079576317</c:v>
                </c:pt>
                <c:pt idx="9168">
                  <c:v>4.8950929397927521</c:v>
                </c:pt>
                <c:pt idx="9169">
                  <c:v>6.1149383055710604</c:v>
                </c:pt>
                <c:pt idx="9170">
                  <c:v>4.8913588059881867</c:v>
                </c:pt>
                <c:pt idx="9171">
                  <c:v>6.1748124125736359</c:v>
                </c:pt>
                <c:pt idx="9172">
                  <c:v>6.062689892108188</c:v>
                </c:pt>
                <c:pt idx="9173">
                  <c:v>5.0114209979104647</c:v>
                </c:pt>
                <c:pt idx="9174">
                  <c:v>5.0704786609995338</c:v>
                </c:pt>
                <c:pt idx="9175">
                  <c:v>4.9060871799719221</c:v>
                </c:pt>
                <c:pt idx="9176">
                  <c:v>5.9384727398874571</c:v>
                </c:pt>
                <c:pt idx="9177">
                  <c:v>5.0754239647808594</c:v>
                </c:pt>
                <c:pt idx="9178">
                  <c:v>5.0243823576799782</c:v>
                </c:pt>
                <c:pt idx="9179">
                  <c:v>6.0346073214375675</c:v>
                </c:pt>
                <c:pt idx="9180">
                  <c:v>4.7615624388540461</c:v>
                </c:pt>
                <c:pt idx="9181">
                  <c:v>5.0290265160631789</c:v>
                </c:pt>
                <c:pt idx="9182">
                  <c:v>5.1339793659797808</c:v>
                </c:pt>
                <c:pt idx="9183">
                  <c:v>4.7651943548694424</c:v>
                </c:pt>
                <c:pt idx="9184">
                  <c:v>5.1022664215451599</c:v>
                </c:pt>
                <c:pt idx="9185">
                  <c:v>4.9982969107851432</c:v>
                </c:pt>
                <c:pt idx="9186">
                  <c:v>4.9312089789805604</c:v>
                </c:pt>
                <c:pt idx="9187">
                  <c:v>4.9830559722730587</c:v>
                </c:pt>
                <c:pt idx="9188">
                  <c:v>5.9744943196736946</c:v>
                </c:pt>
                <c:pt idx="9189">
                  <c:v>5.0559170998016745</c:v>
                </c:pt>
                <c:pt idx="9190">
                  <c:v>5.0421694339940926</c:v>
                </c:pt>
                <c:pt idx="9191">
                  <c:v>5.9317977086735452</c:v>
                </c:pt>
                <c:pt idx="9192">
                  <c:v>5.126891680598761</c:v>
                </c:pt>
                <c:pt idx="9193">
                  <c:v>4.9558255811045244</c:v>
                </c:pt>
                <c:pt idx="9194">
                  <c:v>4.9534695957059149</c:v>
                </c:pt>
                <c:pt idx="9195">
                  <c:v>5.113319833569463</c:v>
                </c:pt>
                <c:pt idx="9196">
                  <c:v>5.0095782607350348</c:v>
                </c:pt>
                <c:pt idx="9197">
                  <c:v>5.1512414851574073</c:v>
                </c:pt>
                <c:pt idx="9198">
                  <c:v>5.8936674514187635</c:v>
                </c:pt>
                <c:pt idx="9199">
                  <c:v>4.8226268317207035</c:v>
                </c:pt>
                <c:pt idx="9200">
                  <c:v>6.0877862815040764</c:v>
                </c:pt>
                <c:pt idx="9201">
                  <c:v>5.0267086265376433</c:v>
                </c:pt>
                <c:pt idx="9202">
                  <c:v>5.9003344195845431</c:v>
                </c:pt>
                <c:pt idx="9203">
                  <c:v>5.1518422722197244</c:v>
                </c:pt>
                <c:pt idx="9204">
                  <c:v>4.9044825743566056</c:v>
                </c:pt>
                <c:pt idx="9205">
                  <c:v>5.0534883502141996</c:v>
                </c:pt>
                <c:pt idx="9206">
                  <c:v>4.9952376099281137</c:v>
                </c:pt>
                <c:pt idx="9207">
                  <c:v>4.8278242128620139</c:v>
                </c:pt>
                <c:pt idx="9208">
                  <c:v>5.9904413116034423</c:v>
                </c:pt>
                <c:pt idx="9209">
                  <c:v>5.9523237396859416</c:v>
                </c:pt>
                <c:pt idx="9210">
                  <c:v>4.9202484952031851</c:v>
                </c:pt>
                <c:pt idx="9211">
                  <c:v>4.9098074214841532</c:v>
                </c:pt>
                <c:pt idx="9212">
                  <c:v>4.995320640586951</c:v>
                </c:pt>
                <c:pt idx="9213">
                  <c:v>5.1953761932819473</c:v>
                </c:pt>
                <c:pt idx="9214">
                  <c:v>4.9551814937108647</c:v>
                </c:pt>
                <c:pt idx="9215">
                  <c:v>6.0959400523193095</c:v>
                </c:pt>
                <c:pt idx="9216">
                  <c:v>5.0505126156424298</c:v>
                </c:pt>
                <c:pt idx="9217">
                  <c:v>6.7982535747578767</c:v>
                </c:pt>
                <c:pt idx="9218">
                  <c:v>4.936130507289489</c:v>
                </c:pt>
                <c:pt idx="9219">
                  <c:v>4.9711533956331424</c:v>
                </c:pt>
                <c:pt idx="9220">
                  <c:v>5.8913825521629635</c:v>
                </c:pt>
                <c:pt idx="9221">
                  <c:v>6.123990644657197</c:v>
                </c:pt>
                <c:pt idx="9222">
                  <c:v>5.9430967567856507</c:v>
                </c:pt>
                <c:pt idx="9223">
                  <c:v>4.9159177774891889</c:v>
                </c:pt>
                <c:pt idx="9224">
                  <c:v>6.9783491697306932</c:v>
                </c:pt>
                <c:pt idx="9225">
                  <c:v>6.819923528556636</c:v>
                </c:pt>
                <c:pt idx="9226">
                  <c:v>7.0264837542498224</c:v>
                </c:pt>
                <c:pt idx="9227">
                  <c:v>7.2212306922641485</c:v>
                </c:pt>
                <c:pt idx="9228">
                  <c:v>7.1322964877669977</c:v>
                </c:pt>
                <c:pt idx="9229">
                  <c:v>4.8988286640818606</c:v>
                </c:pt>
                <c:pt idx="9230">
                  <c:v>5.965990876840519</c:v>
                </c:pt>
                <c:pt idx="9231">
                  <c:v>6.0824284241729822</c:v>
                </c:pt>
                <c:pt idx="9232">
                  <c:v>5.9609466760512833</c:v>
                </c:pt>
                <c:pt idx="9233">
                  <c:v>4.9358463559301686</c:v>
                </c:pt>
                <c:pt idx="9234">
                  <c:v>4.9217866956964205</c:v>
                </c:pt>
                <c:pt idx="9235">
                  <c:v>4.9910345686094129</c:v>
                </c:pt>
                <c:pt idx="9236">
                  <c:v>4.9351293307671256</c:v>
                </c:pt>
                <c:pt idx="9237">
                  <c:v>6.0525613689525581</c:v>
                </c:pt>
                <c:pt idx="9238">
                  <c:v>5.013396047052562</c:v>
                </c:pt>
                <c:pt idx="9239">
                  <c:v>5.9534417781258133</c:v>
                </c:pt>
                <c:pt idx="9240">
                  <c:v>6.0782418826407891</c:v>
                </c:pt>
                <c:pt idx="9241">
                  <c:v>7.0098061898427888</c:v>
                </c:pt>
                <c:pt idx="9242">
                  <c:v>5.0931413774104639</c:v>
                </c:pt>
                <c:pt idx="9243">
                  <c:v>5.9916275678218067</c:v>
                </c:pt>
                <c:pt idx="9244">
                  <c:v>5.8558648692676467</c:v>
                </c:pt>
                <c:pt idx="9245">
                  <c:v>6.9118542929523468</c:v>
                </c:pt>
                <c:pt idx="9246">
                  <c:v>6.9151547689088293</c:v>
                </c:pt>
                <c:pt idx="9247">
                  <c:v>5.9070295668716364</c:v>
                </c:pt>
                <c:pt idx="9248">
                  <c:v>5.0124381250185097</c:v>
                </c:pt>
                <c:pt idx="9249">
                  <c:v>4.9680217720442208</c:v>
                </c:pt>
                <c:pt idx="9250">
                  <c:v>6.0253115372761048</c:v>
                </c:pt>
                <c:pt idx="9251">
                  <c:v>4.8629252302789272</c:v>
                </c:pt>
                <c:pt idx="9252">
                  <c:v>6.0356097553294363</c:v>
                </c:pt>
                <c:pt idx="9253">
                  <c:v>5.0908928267038069</c:v>
                </c:pt>
                <c:pt idx="9254">
                  <c:v>6.072088852437366</c:v>
                </c:pt>
                <c:pt idx="9255">
                  <c:v>5.9960255142441632</c:v>
                </c:pt>
                <c:pt idx="9256">
                  <c:v>5.0631769648584868</c:v>
                </c:pt>
                <c:pt idx="9257">
                  <c:v>5.9947852361991023</c:v>
                </c:pt>
                <c:pt idx="9258">
                  <c:v>4.963343986983217</c:v>
                </c:pt>
                <c:pt idx="9259">
                  <c:v>5.9781614497780691</c:v>
                </c:pt>
                <c:pt idx="9260">
                  <c:v>5.9599792322023806</c:v>
                </c:pt>
                <c:pt idx="9261">
                  <c:v>5.0916873136110246</c:v>
                </c:pt>
                <c:pt idx="9262">
                  <c:v>6.0592801844267186</c:v>
                </c:pt>
                <c:pt idx="9263">
                  <c:v>4.9795048786606344</c:v>
                </c:pt>
                <c:pt idx="9264">
                  <c:v>4.936060745339506</c:v>
                </c:pt>
                <c:pt idx="9265">
                  <c:v>5.9842640098709321</c:v>
                </c:pt>
                <c:pt idx="9266">
                  <c:v>4.9561866085004649</c:v>
                </c:pt>
                <c:pt idx="9267">
                  <c:v>5.0068345151649769</c:v>
                </c:pt>
                <c:pt idx="9268">
                  <c:v>5.0698343379115398</c:v>
                </c:pt>
                <c:pt idx="9269">
                  <c:v>6.0475735499901253</c:v>
                </c:pt>
                <c:pt idx="9270">
                  <c:v>5.9195521539601765</c:v>
                </c:pt>
                <c:pt idx="9271">
                  <c:v>6.0678515603030245</c:v>
                </c:pt>
                <c:pt idx="9272">
                  <c:v>5.9659507944502748</c:v>
                </c:pt>
                <c:pt idx="9273">
                  <c:v>5.8113259909408503</c:v>
                </c:pt>
                <c:pt idx="9274">
                  <c:v>6.16223996310001</c:v>
                </c:pt>
                <c:pt idx="9275">
                  <c:v>6.1303773471199818</c:v>
                </c:pt>
                <c:pt idx="9276">
                  <c:v>4.8988540399343492</c:v>
                </c:pt>
                <c:pt idx="9277">
                  <c:v>6.0126380948792963</c:v>
                </c:pt>
                <c:pt idx="9278">
                  <c:v>5.9775322815971892</c:v>
                </c:pt>
                <c:pt idx="9279">
                  <c:v>6.0189517776498791</c:v>
                </c:pt>
                <c:pt idx="9280">
                  <c:v>6.0001003367741044</c:v>
                </c:pt>
                <c:pt idx="9281">
                  <c:v>6.091878978186763</c:v>
                </c:pt>
                <c:pt idx="9282">
                  <c:v>5.966725334998773</c:v>
                </c:pt>
                <c:pt idx="9283">
                  <c:v>5.8922503633546492</c:v>
                </c:pt>
                <c:pt idx="9284">
                  <c:v>5.1142940431340733</c:v>
                </c:pt>
                <c:pt idx="9285">
                  <c:v>5.9708040850066677</c:v>
                </c:pt>
                <c:pt idx="9286">
                  <c:v>5.932390177549383</c:v>
                </c:pt>
                <c:pt idx="9287">
                  <c:v>5.0478620677842221</c:v>
                </c:pt>
                <c:pt idx="9288">
                  <c:v>4.911727142565633</c:v>
                </c:pt>
                <c:pt idx="9289">
                  <c:v>4.7877877261274264</c:v>
                </c:pt>
                <c:pt idx="9290">
                  <c:v>3.0443314972664393</c:v>
                </c:pt>
                <c:pt idx="9291">
                  <c:v>4.9588591502023647</c:v>
                </c:pt>
                <c:pt idx="9292">
                  <c:v>6.0835641850051818</c:v>
                </c:pt>
                <c:pt idx="9293">
                  <c:v>6.0096906112777724</c:v>
                </c:pt>
                <c:pt idx="9294">
                  <c:v>5.0121563897600403</c:v>
                </c:pt>
                <c:pt idx="9295">
                  <c:v>5.0145371174536519</c:v>
                </c:pt>
                <c:pt idx="9296">
                  <c:v>4.9699383488170223</c:v>
                </c:pt>
                <c:pt idx="9297">
                  <c:v>5.9919446152186477</c:v>
                </c:pt>
                <c:pt idx="9298">
                  <c:v>5.0206349491492386</c:v>
                </c:pt>
                <c:pt idx="9299">
                  <c:v>6.16518012835727</c:v>
                </c:pt>
                <c:pt idx="9300">
                  <c:v>5.0438277438935604</c:v>
                </c:pt>
                <c:pt idx="9301">
                  <c:v>6.0467713359918793</c:v>
                </c:pt>
                <c:pt idx="9302">
                  <c:v>5.9937724442437128</c:v>
                </c:pt>
                <c:pt idx="9303">
                  <c:v>6.1409783950244954</c:v>
                </c:pt>
                <c:pt idx="9304">
                  <c:v>5.6491192386771996</c:v>
                </c:pt>
                <c:pt idx="9305">
                  <c:v>4.9796963064816291</c:v>
                </c:pt>
                <c:pt idx="9306">
                  <c:v>4.9712182293008924</c:v>
                </c:pt>
                <c:pt idx="9307">
                  <c:v>6.1097622266031415</c:v>
                </c:pt>
                <c:pt idx="9308">
                  <c:v>4.9880672713242848</c:v>
                </c:pt>
                <c:pt idx="9309">
                  <c:v>6.066688142145618</c:v>
                </c:pt>
                <c:pt idx="9310">
                  <c:v>6.0155734585662097</c:v>
                </c:pt>
                <c:pt idx="9311">
                  <c:v>4.974341323964528</c:v>
                </c:pt>
                <c:pt idx="9312">
                  <c:v>5.1110488558643299</c:v>
                </c:pt>
                <c:pt idx="9313">
                  <c:v>5.8734960506337037</c:v>
                </c:pt>
                <c:pt idx="9314">
                  <c:v>6.0590733059181536</c:v>
                </c:pt>
                <c:pt idx="9315">
                  <c:v>5.8781416755201166</c:v>
                </c:pt>
                <c:pt idx="9316">
                  <c:v>6.0775595411943337</c:v>
                </c:pt>
                <c:pt idx="9317">
                  <c:v>4.9817427254534259</c:v>
                </c:pt>
                <c:pt idx="9318">
                  <c:v>6.0850642948938019</c:v>
                </c:pt>
                <c:pt idx="9319">
                  <c:v>6.0222462006700068</c:v>
                </c:pt>
                <c:pt idx="9320">
                  <c:v>7.1687699124276172</c:v>
                </c:pt>
                <c:pt idx="9321">
                  <c:v>5.0180026259660941</c:v>
                </c:pt>
                <c:pt idx="9322">
                  <c:v>5.8997947166241573</c:v>
                </c:pt>
                <c:pt idx="9323">
                  <c:v>5.1592475641045077</c:v>
                </c:pt>
                <c:pt idx="9324">
                  <c:v>5.727322212867838</c:v>
                </c:pt>
                <c:pt idx="9325">
                  <c:v>5.8266527225218541</c:v>
                </c:pt>
                <c:pt idx="9326">
                  <c:v>5.962107935359402</c:v>
                </c:pt>
                <c:pt idx="9327">
                  <c:v>6.0301380242274298</c:v>
                </c:pt>
                <c:pt idx="9328">
                  <c:v>5.0383019303533771</c:v>
                </c:pt>
                <c:pt idx="9329">
                  <c:v>6.0006152040786045</c:v>
                </c:pt>
                <c:pt idx="9330">
                  <c:v>5.1640539197581772</c:v>
                </c:pt>
                <c:pt idx="9331">
                  <c:v>6.1230434043385014</c:v>
                </c:pt>
                <c:pt idx="9332">
                  <c:v>4.859172498576819</c:v>
                </c:pt>
                <c:pt idx="9333">
                  <c:v>5.043285583949638</c:v>
                </c:pt>
                <c:pt idx="9334">
                  <c:v>5.0609657403461457</c:v>
                </c:pt>
                <c:pt idx="9335">
                  <c:v>6.0029110910060881</c:v>
                </c:pt>
                <c:pt idx="9336">
                  <c:v>6.0484794124253849</c:v>
                </c:pt>
                <c:pt idx="9337">
                  <c:v>5.0251730416899161</c:v>
                </c:pt>
                <c:pt idx="9338">
                  <c:v>6.1497489374420784</c:v>
                </c:pt>
                <c:pt idx="9339">
                  <c:v>4.9762685987647854</c:v>
                </c:pt>
                <c:pt idx="9340">
                  <c:v>5.0460297381213683</c:v>
                </c:pt>
                <c:pt idx="9341">
                  <c:v>4.8542853845834495</c:v>
                </c:pt>
                <c:pt idx="9342">
                  <c:v>5.9186971137192748</c:v>
                </c:pt>
                <c:pt idx="9343">
                  <c:v>7.1483610124072907</c:v>
                </c:pt>
                <c:pt idx="9344">
                  <c:v>5.017957366621749</c:v>
                </c:pt>
                <c:pt idx="9345">
                  <c:v>4.7582987384084054</c:v>
                </c:pt>
                <c:pt idx="9346">
                  <c:v>6.0295654235924658</c:v>
                </c:pt>
                <c:pt idx="9347">
                  <c:v>5.7924074729920614</c:v>
                </c:pt>
                <c:pt idx="9348">
                  <c:v>5.9927749906925296</c:v>
                </c:pt>
                <c:pt idx="9349">
                  <c:v>5.8865165230790906</c:v>
                </c:pt>
                <c:pt idx="9350">
                  <c:v>4.94992660829468</c:v>
                </c:pt>
                <c:pt idx="9351">
                  <c:v>5.1197853878263286</c:v>
                </c:pt>
                <c:pt idx="9352">
                  <c:v>4.998841033835248</c:v>
                </c:pt>
                <c:pt idx="9353">
                  <c:v>5.0086743802374549</c:v>
                </c:pt>
                <c:pt idx="9354">
                  <c:v>6.1244157789363234</c:v>
                </c:pt>
                <c:pt idx="9355">
                  <c:v>5.1619185383863364</c:v>
                </c:pt>
                <c:pt idx="9356">
                  <c:v>5.9748696037015314</c:v>
                </c:pt>
                <c:pt idx="9357">
                  <c:v>4.8319114053278902</c:v>
                </c:pt>
                <c:pt idx="9358">
                  <c:v>5.9032899980647784</c:v>
                </c:pt>
                <c:pt idx="9359">
                  <c:v>5.8093534641060636</c:v>
                </c:pt>
                <c:pt idx="9360">
                  <c:v>4.944420542490926</c:v>
                </c:pt>
                <c:pt idx="9361">
                  <c:v>4.974677621236741</c:v>
                </c:pt>
                <c:pt idx="9362">
                  <c:v>4.8860908503037326</c:v>
                </c:pt>
                <c:pt idx="9363">
                  <c:v>6.0462331014621133</c:v>
                </c:pt>
                <c:pt idx="9364">
                  <c:v>5.0131079295283403</c:v>
                </c:pt>
                <c:pt idx="9365">
                  <c:v>6.0472718834396648</c:v>
                </c:pt>
                <c:pt idx="9366">
                  <c:v>6.0178916151250714</c:v>
                </c:pt>
                <c:pt idx="9367">
                  <c:v>6.0985532431870997</c:v>
                </c:pt>
                <c:pt idx="9368">
                  <c:v>4.8497371364222293</c:v>
                </c:pt>
                <c:pt idx="9369">
                  <c:v>6.0306701118930741</c:v>
                </c:pt>
                <c:pt idx="9370">
                  <c:v>5.9628739728676772</c:v>
                </c:pt>
                <c:pt idx="9371">
                  <c:v>6.0866893236125019</c:v>
                </c:pt>
                <c:pt idx="9372">
                  <c:v>5.9849181822143542</c:v>
                </c:pt>
                <c:pt idx="9373">
                  <c:v>4.9432408516162099</c:v>
                </c:pt>
                <c:pt idx="9374">
                  <c:v>6.0073377403504562</c:v>
                </c:pt>
                <c:pt idx="9375">
                  <c:v>6.0795396587704325</c:v>
                </c:pt>
                <c:pt idx="9376">
                  <c:v>6.1988770399375381</c:v>
                </c:pt>
                <c:pt idx="9377">
                  <c:v>6.0936963421642165</c:v>
                </c:pt>
                <c:pt idx="9378">
                  <c:v>4.8766912464783259</c:v>
                </c:pt>
                <c:pt idx="9379">
                  <c:v>5.9210685562259293</c:v>
                </c:pt>
                <c:pt idx="9380">
                  <c:v>5.1468580075658856</c:v>
                </c:pt>
                <c:pt idx="9381">
                  <c:v>5.965437065317408</c:v>
                </c:pt>
                <c:pt idx="9382">
                  <c:v>5.8618327808661093</c:v>
                </c:pt>
                <c:pt idx="9383">
                  <c:v>6.0497089474108074</c:v>
                </c:pt>
                <c:pt idx="9384">
                  <c:v>5.8650465033693004</c:v>
                </c:pt>
                <c:pt idx="9385">
                  <c:v>4.9683421827614431</c:v>
                </c:pt>
                <c:pt idx="9386">
                  <c:v>6.0728867447576418</c:v>
                </c:pt>
                <c:pt idx="9387">
                  <c:v>5.9356576243735297</c:v>
                </c:pt>
                <c:pt idx="9388">
                  <c:v>5.892678259132917</c:v>
                </c:pt>
                <c:pt idx="9389">
                  <c:v>5.8870703990364346</c:v>
                </c:pt>
                <c:pt idx="9390">
                  <c:v>5.9812977516656813</c:v>
                </c:pt>
                <c:pt idx="9391">
                  <c:v>5.901371914502092</c:v>
                </c:pt>
                <c:pt idx="9392">
                  <c:v>5.9681184937314509</c:v>
                </c:pt>
                <c:pt idx="9393">
                  <c:v>5.1186195165358841</c:v>
                </c:pt>
                <c:pt idx="9394">
                  <c:v>6.13898026270373</c:v>
                </c:pt>
                <c:pt idx="9395">
                  <c:v>4.7873028217763958</c:v>
                </c:pt>
                <c:pt idx="9396">
                  <c:v>6.2240051873877942</c:v>
                </c:pt>
                <c:pt idx="9397">
                  <c:v>5.8730968818372613</c:v>
                </c:pt>
                <c:pt idx="9398">
                  <c:v>5.0951585610164836</c:v>
                </c:pt>
                <c:pt idx="9399">
                  <c:v>5.8445149400155625</c:v>
                </c:pt>
                <c:pt idx="9400">
                  <c:v>6.0672876701054239</c:v>
                </c:pt>
                <c:pt idx="9401">
                  <c:v>5.0025126943448619</c:v>
                </c:pt>
                <c:pt idx="9402">
                  <c:v>4.9275183963600995</c:v>
                </c:pt>
                <c:pt idx="9403">
                  <c:v>4.8414837230563572</c:v>
                </c:pt>
                <c:pt idx="9404">
                  <c:v>6.0354399938147134</c:v>
                </c:pt>
                <c:pt idx="9405">
                  <c:v>4.9242730873797687</c:v>
                </c:pt>
                <c:pt idx="9406">
                  <c:v>5.9692869501716102</c:v>
                </c:pt>
                <c:pt idx="9407">
                  <c:v>5.9081937323020357</c:v>
                </c:pt>
                <c:pt idx="9408">
                  <c:v>5.9881026818480887</c:v>
                </c:pt>
                <c:pt idx="9409">
                  <c:v>5.8626028930436629</c:v>
                </c:pt>
                <c:pt idx="9410">
                  <c:v>6.0726634212009776</c:v>
                </c:pt>
                <c:pt idx="9411">
                  <c:v>6.1008279470899494</c:v>
                </c:pt>
                <c:pt idx="9412">
                  <c:v>4.0983157321662453</c:v>
                </c:pt>
                <c:pt idx="9413">
                  <c:v>5.9241351602033134</c:v>
                </c:pt>
                <c:pt idx="9414">
                  <c:v>5.8522406191495548</c:v>
                </c:pt>
                <c:pt idx="9415">
                  <c:v>5.9292274945862697</c:v>
                </c:pt>
                <c:pt idx="9416">
                  <c:v>6.02459365493156</c:v>
                </c:pt>
                <c:pt idx="9417">
                  <c:v>4.9998318882748789</c:v>
                </c:pt>
                <c:pt idx="9418">
                  <c:v>5.9548801623229517</c:v>
                </c:pt>
                <c:pt idx="9419">
                  <c:v>5.0523177803060886</c:v>
                </c:pt>
                <c:pt idx="9420">
                  <c:v>5.9862928999208602</c:v>
                </c:pt>
                <c:pt idx="9421">
                  <c:v>6.1331476221448185</c:v>
                </c:pt>
                <c:pt idx="9422">
                  <c:v>6.1735851685575733</c:v>
                </c:pt>
                <c:pt idx="9423">
                  <c:v>6.0271286245625406</c:v>
                </c:pt>
                <c:pt idx="9424">
                  <c:v>6.0155762882011059</c:v>
                </c:pt>
                <c:pt idx="9425">
                  <c:v>6.1017216095410927</c:v>
                </c:pt>
                <c:pt idx="9426">
                  <c:v>6.188951324438662</c:v>
                </c:pt>
                <c:pt idx="9427">
                  <c:v>6.0239966096851738</c:v>
                </c:pt>
                <c:pt idx="9428">
                  <c:v>5.9555689637590232</c:v>
                </c:pt>
                <c:pt idx="9429">
                  <c:v>5.8562496868889387</c:v>
                </c:pt>
                <c:pt idx="9430">
                  <c:v>6.0483466838639339</c:v>
                </c:pt>
                <c:pt idx="9431">
                  <c:v>6.0192772795212939</c:v>
                </c:pt>
                <c:pt idx="9432">
                  <c:v>4.9777883743836515</c:v>
                </c:pt>
                <c:pt idx="9433">
                  <c:v>5.9586354891367979</c:v>
                </c:pt>
                <c:pt idx="9434">
                  <c:v>4.8361223390696884</c:v>
                </c:pt>
                <c:pt idx="9435">
                  <c:v>6.084970608438236</c:v>
                </c:pt>
                <c:pt idx="9436">
                  <c:v>5.8865146361122456</c:v>
                </c:pt>
                <c:pt idx="9437">
                  <c:v>6.1051929144906421</c:v>
                </c:pt>
                <c:pt idx="9438">
                  <c:v>5.9919165395456293</c:v>
                </c:pt>
                <c:pt idx="9439">
                  <c:v>4.9418020001555263</c:v>
                </c:pt>
                <c:pt idx="9440">
                  <c:v>4.9934960320644031</c:v>
                </c:pt>
                <c:pt idx="9441">
                  <c:v>4.8294048293705547</c:v>
                </c:pt>
                <c:pt idx="9442">
                  <c:v>5.9986397389417094</c:v>
                </c:pt>
                <c:pt idx="9443">
                  <c:v>4.9224710384517003</c:v>
                </c:pt>
                <c:pt idx="9444">
                  <c:v>4.983526642317563</c:v>
                </c:pt>
                <c:pt idx="9445">
                  <c:v>5.9023068263653631</c:v>
                </c:pt>
                <c:pt idx="9446">
                  <c:v>4.9509595686726096</c:v>
                </c:pt>
                <c:pt idx="9447">
                  <c:v>5.0406878847988121</c:v>
                </c:pt>
                <c:pt idx="9448">
                  <c:v>3.944428474241636</c:v>
                </c:pt>
                <c:pt idx="9449">
                  <c:v>4.8772675652542263</c:v>
                </c:pt>
                <c:pt idx="9450">
                  <c:v>5.0295985202303886</c:v>
                </c:pt>
                <c:pt idx="9451">
                  <c:v>5.991222960522026</c:v>
                </c:pt>
                <c:pt idx="9452">
                  <c:v>5.0238572087070175</c:v>
                </c:pt>
                <c:pt idx="9453">
                  <c:v>5.0039022052323521</c:v>
                </c:pt>
                <c:pt idx="9454">
                  <c:v>4.9105575625197364</c:v>
                </c:pt>
                <c:pt idx="9455">
                  <c:v>5.8844446975979068</c:v>
                </c:pt>
                <c:pt idx="9456">
                  <c:v>4.8682911275439258</c:v>
                </c:pt>
                <c:pt idx="9457">
                  <c:v>5.9168272364416641</c:v>
                </c:pt>
                <c:pt idx="9458">
                  <c:v>4.9781474785323772</c:v>
                </c:pt>
                <c:pt idx="9459">
                  <c:v>5.9187901304447603</c:v>
                </c:pt>
                <c:pt idx="9460">
                  <c:v>6.0824664752011763</c:v>
                </c:pt>
                <c:pt idx="9461">
                  <c:v>5.9701615462900461</c:v>
                </c:pt>
                <c:pt idx="9462">
                  <c:v>5.0633526791567514</c:v>
                </c:pt>
                <c:pt idx="9463">
                  <c:v>5.9859817763603003</c:v>
                </c:pt>
                <c:pt idx="9464">
                  <c:v>5.9327644301687847</c:v>
                </c:pt>
                <c:pt idx="9465">
                  <c:v>6.0193959178871701</c:v>
                </c:pt>
                <c:pt idx="9466">
                  <c:v>6.0480152408495238</c:v>
                </c:pt>
                <c:pt idx="9467">
                  <c:v>5.892620758566526</c:v>
                </c:pt>
                <c:pt idx="9468">
                  <c:v>4.9593261160462561</c:v>
                </c:pt>
                <c:pt idx="9469">
                  <c:v>5.0339024383377788</c:v>
                </c:pt>
                <c:pt idx="9470">
                  <c:v>6.9747470096034236</c:v>
                </c:pt>
                <c:pt idx="9471">
                  <c:v>6.1797834135758647</c:v>
                </c:pt>
                <c:pt idx="9472">
                  <c:v>6.055744862128547</c:v>
                </c:pt>
                <c:pt idx="9473">
                  <c:v>6.0702325482102601</c:v>
                </c:pt>
                <c:pt idx="9474">
                  <c:v>5.8720201799542799</c:v>
                </c:pt>
                <c:pt idx="9475">
                  <c:v>4.9212887463236585</c:v>
                </c:pt>
                <c:pt idx="9476">
                  <c:v>6.017745833084013</c:v>
                </c:pt>
                <c:pt idx="9477">
                  <c:v>5.8728716965703809</c:v>
                </c:pt>
                <c:pt idx="9478">
                  <c:v>4.9279353180752077</c:v>
                </c:pt>
                <c:pt idx="9479">
                  <c:v>5.896823810916457</c:v>
                </c:pt>
                <c:pt idx="9480">
                  <c:v>6.0209592050873892</c:v>
                </c:pt>
                <c:pt idx="9481">
                  <c:v>5.9425130241092994</c:v>
                </c:pt>
                <c:pt idx="9482">
                  <c:v>5.9970219417556097</c:v>
                </c:pt>
                <c:pt idx="9483">
                  <c:v>5.902975406976962</c:v>
                </c:pt>
                <c:pt idx="9484">
                  <c:v>6.0990103927841703</c:v>
                </c:pt>
                <c:pt idx="9485">
                  <c:v>5.9441090785823079</c:v>
                </c:pt>
                <c:pt idx="9486">
                  <c:v>4.8407165206106928</c:v>
                </c:pt>
                <c:pt idx="9487">
                  <c:v>5.8464847263406474</c:v>
                </c:pt>
                <c:pt idx="9488">
                  <c:v>6.0594434816779108</c:v>
                </c:pt>
                <c:pt idx="9489">
                  <c:v>5.8783215463549947</c:v>
                </c:pt>
                <c:pt idx="9490">
                  <c:v>4.8961706261176055</c:v>
                </c:pt>
                <c:pt idx="9491">
                  <c:v>5.9057774491675739</c:v>
                </c:pt>
                <c:pt idx="9492">
                  <c:v>4.8025896814363724</c:v>
                </c:pt>
                <c:pt idx="9493">
                  <c:v>4.9605271352716533</c:v>
                </c:pt>
                <c:pt idx="9494">
                  <c:v>5.0511146312201767</c:v>
                </c:pt>
                <c:pt idx="9495">
                  <c:v>4.9346550413121095</c:v>
                </c:pt>
                <c:pt idx="9496">
                  <c:v>4.9327605489555388</c:v>
                </c:pt>
                <c:pt idx="9497">
                  <c:v>5.995718074989469</c:v>
                </c:pt>
                <c:pt idx="9498">
                  <c:v>4.8849067093701732</c:v>
                </c:pt>
                <c:pt idx="9499">
                  <c:v>6.0365754923650128</c:v>
                </c:pt>
                <c:pt idx="9500">
                  <c:v>6.036800925990633</c:v>
                </c:pt>
                <c:pt idx="9501">
                  <c:v>4.8747267807066983</c:v>
                </c:pt>
                <c:pt idx="9502">
                  <c:v>4.9687127977523851</c:v>
                </c:pt>
                <c:pt idx="9503">
                  <c:v>5.0656815788410166</c:v>
                </c:pt>
                <c:pt idx="9504">
                  <c:v>6.0707220437024736</c:v>
                </c:pt>
                <c:pt idx="9505">
                  <c:v>5.9145971954181391</c:v>
                </c:pt>
                <c:pt idx="9506">
                  <c:v>5.0557517526136913</c:v>
                </c:pt>
                <c:pt idx="9507">
                  <c:v>5.959431969825232</c:v>
                </c:pt>
                <c:pt idx="9508">
                  <c:v>6.1848700086664126</c:v>
                </c:pt>
                <c:pt idx="9509">
                  <c:v>5.8667082503699151</c:v>
                </c:pt>
                <c:pt idx="9510">
                  <c:v>5.9181852003688293</c:v>
                </c:pt>
                <c:pt idx="9511">
                  <c:v>6.029076446819098</c:v>
                </c:pt>
                <c:pt idx="9512">
                  <c:v>6.1525325908279527</c:v>
                </c:pt>
                <c:pt idx="9513">
                  <c:v>5.8120550246068374</c:v>
                </c:pt>
                <c:pt idx="9514">
                  <c:v>4.8883970020390972</c:v>
                </c:pt>
                <c:pt idx="9515">
                  <c:v>6.0520354051160901</c:v>
                </c:pt>
                <c:pt idx="9516">
                  <c:v>4.9525113715187654</c:v>
                </c:pt>
                <c:pt idx="9517">
                  <c:v>6.0195973518185513</c:v>
                </c:pt>
                <c:pt idx="9518">
                  <c:v>5.9278846115272668</c:v>
                </c:pt>
                <c:pt idx="9519">
                  <c:v>5.1073301320138889</c:v>
                </c:pt>
                <c:pt idx="9520">
                  <c:v>4.9514607373193558</c:v>
                </c:pt>
                <c:pt idx="9521">
                  <c:v>5.7958484302220246</c:v>
                </c:pt>
                <c:pt idx="9522">
                  <c:v>5.045074540983264</c:v>
                </c:pt>
                <c:pt idx="9523">
                  <c:v>5.9652220770019806</c:v>
                </c:pt>
                <c:pt idx="9524">
                  <c:v>6.8501535741504789</c:v>
                </c:pt>
                <c:pt idx="9525">
                  <c:v>4.9898074275078157</c:v>
                </c:pt>
                <c:pt idx="9526">
                  <c:v>5.7628364470026261</c:v>
                </c:pt>
                <c:pt idx="9527">
                  <c:v>6.1535345874946374</c:v>
                </c:pt>
                <c:pt idx="9528">
                  <c:v>6.0573829297901893</c:v>
                </c:pt>
                <c:pt idx="9529">
                  <c:v>4.9881826378371406</c:v>
                </c:pt>
                <c:pt idx="9530">
                  <c:v>5.8905518022422259</c:v>
                </c:pt>
                <c:pt idx="9531">
                  <c:v>5.0367077371156883</c:v>
                </c:pt>
                <c:pt idx="9532">
                  <c:v>7.0388162323667567</c:v>
                </c:pt>
                <c:pt idx="9533">
                  <c:v>5.0281821866617369</c:v>
                </c:pt>
                <c:pt idx="9534">
                  <c:v>5.9448166602648591</c:v>
                </c:pt>
                <c:pt idx="9535">
                  <c:v>5.9798737756582199</c:v>
                </c:pt>
                <c:pt idx="9536">
                  <c:v>5.9033784679259913</c:v>
                </c:pt>
                <c:pt idx="9537">
                  <c:v>5.096351254112875</c:v>
                </c:pt>
                <c:pt idx="9538">
                  <c:v>6.0933889978036397</c:v>
                </c:pt>
                <c:pt idx="9539">
                  <c:v>6.0084276076294509</c:v>
                </c:pt>
                <c:pt idx="9540">
                  <c:v>6.1027717353372566</c:v>
                </c:pt>
                <c:pt idx="9541">
                  <c:v>5.9182599619453331</c:v>
                </c:pt>
                <c:pt idx="9542">
                  <c:v>6.0926164225820596</c:v>
                </c:pt>
                <c:pt idx="9543">
                  <c:v>6.0553965528202784</c:v>
                </c:pt>
                <c:pt idx="9544">
                  <c:v>4.9478018430459301</c:v>
                </c:pt>
                <c:pt idx="9545">
                  <c:v>4.958013815038858</c:v>
                </c:pt>
                <c:pt idx="9546">
                  <c:v>6.0062655402069467</c:v>
                </c:pt>
                <c:pt idx="9547">
                  <c:v>5.0830315078096611</c:v>
                </c:pt>
                <c:pt idx="9548">
                  <c:v>5.0241491775903544</c:v>
                </c:pt>
                <c:pt idx="9549">
                  <c:v>5.1764396542500366</c:v>
                </c:pt>
                <c:pt idx="9550">
                  <c:v>4.9761973238424728</c:v>
                </c:pt>
                <c:pt idx="9551">
                  <c:v>5.9069100976152944</c:v>
                </c:pt>
                <c:pt idx="9552">
                  <c:v>5.9872119891897846</c:v>
                </c:pt>
                <c:pt idx="9553">
                  <c:v>5.9545142207918174</c:v>
                </c:pt>
                <c:pt idx="9554">
                  <c:v>4.9129931260762216</c:v>
                </c:pt>
                <c:pt idx="9555">
                  <c:v>6.1074368603974589</c:v>
                </c:pt>
                <c:pt idx="9556">
                  <c:v>5.9868174790355839</c:v>
                </c:pt>
                <c:pt idx="9557">
                  <c:v>5.0625852847246193</c:v>
                </c:pt>
                <c:pt idx="9558">
                  <c:v>5.7997029589732678</c:v>
                </c:pt>
                <c:pt idx="9559">
                  <c:v>6.2164413936191032</c:v>
                </c:pt>
                <c:pt idx="9560">
                  <c:v>5.9769658218791397</c:v>
                </c:pt>
                <c:pt idx="9561">
                  <c:v>5.9307619361838153</c:v>
                </c:pt>
                <c:pt idx="9562">
                  <c:v>4.9730491138721389</c:v>
                </c:pt>
                <c:pt idx="9563">
                  <c:v>4.9367022279817441</c:v>
                </c:pt>
                <c:pt idx="9564">
                  <c:v>5.0604217405147311</c:v>
                </c:pt>
                <c:pt idx="9565">
                  <c:v>5.0752902489179421</c:v>
                </c:pt>
                <c:pt idx="9566">
                  <c:v>5.1079800478202282</c:v>
                </c:pt>
                <c:pt idx="9567">
                  <c:v>5.89585502920177</c:v>
                </c:pt>
                <c:pt idx="9568">
                  <c:v>5.9695042476128801</c:v>
                </c:pt>
                <c:pt idx="9569">
                  <c:v>4.8964764606295352</c:v>
                </c:pt>
                <c:pt idx="9570">
                  <c:v>5.8916186481867463</c:v>
                </c:pt>
                <c:pt idx="9571">
                  <c:v>5.1131915397386347</c:v>
                </c:pt>
                <c:pt idx="9572">
                  <c:v>7.2229033074165399</c:v>
                </c:pt>
                <c:pt idx="9573">
                  <c:v>4.9106854274989482</c:v>
                </c:pt>
                <c:pt idx="9574">
                  <c:v>5.959324814907494</c:v>
                </c:pt>
                <c:pt idx="9575">
                  <c:v>4.9173301765921025</c:v>
                </c:pt>
                <c:pt idx="9576">
                  <c:v>4.9281158798215232</c:v>
                </c:pt>
                <c:pt idx="9577">
                  <c:v>4.909810509952</c:v>
                </c:pt>
                <c:pt idx="9578">
                  <c:v>7.0499919844381411</c:v>
                </c:pt>
                <c:pt idx="9579">
                  <c:v>5.0346564740789335</c:v>
                </c:pt>
                <c:pt idx="9580">
                  <c:v>6.1680101060219474</c:v>
                </c:pt>
                <c:pt idx="9581">
                  <c:v>5.9869562134549374</c:v>
                </c:pt>
                <c:pt idx="9582">
                  <c:v>6.0944634497838654</c:v>
                </c:pt>
                <c:pt idx="9583">
                  <c:v>6.9416236674722462</c:v>
                </c:pt>
                <c:pt idx="9584">
                  <c:v>4.97809365948733</c:v>
                </c:pt>
                <c:pt idx="9585">
                  <c:v>6.0954520406739379</c:v>
                </c:pt>
                <c:pt idx="9586">
                  <c:v>5.1100323107031294</c:v>
                </c:pt>
                <c:pt idx="9587">
                  <c:v>4.875755286559782</c:v>
                </c:pt>
                <c:pt idx="9588">
                  <c:v>5.8645507332857765</c:v>
                </c:pt>
                <c:pt idx="9589">
                  <c:v>5.01134876832859</c:v>
                </c:pt>
                <c:pt idx="9590">
                  <c:v>4.9742169755061223</c:v>
                </c:pt>
                <c:pt idx="9591">
                  <c:v>4.9620506980466565</c:v>
                </c:pt>
                <c:pt idx="9592">
                  <c:v>4.8840745922839881</c:v>
                </c:pt>
                <c:pt idx="9593">
                  <c:v>4.8623253758850637</c:v>
                </c:pt>
                <c:pt idx="9594">
                  <c:v>5.9833208523981991</c:v>
                </c:pt>
                <c:pt idx="9595">
                  <c:v>4.8695541658142636</c:v>
                </c:pt>
                <c:pt idx="9596">
                  <c:v>4.9914489563769466</c:v>
                </c:pt>
                <c:pt idx="9597">
                  <c:v>5.9811449277498223</c:v>
                </c:pt>
                <c:pt idx="9598">
                  <c:v>5.9081567296161142</c:v>
                </c:pt>
                <c:pt idx="9599">
                  <c:v>6.0175823616327779</c:v>
                </c:pt>
                <c:pt idx="9600">
                  <c:v>5.198288968779508</c:v>
                </c:pt>
                <c:pt idx="9601">
                  <c:v>5.9712063654737317</c:v>
                </c:pt>
                <c:pt idx="9602">
                  <c:v>4.874666919640207</c:v>
                </c:pt>
                <c:pt idx="9603">
                  <c:v>5.0032475080935175</c:v>
                </c:pt>
                <c:pt idx="9604">
                  <c:v>5.191302973350588</c:v>
                </c:pt>
                <c:pt idx="9605">
                  <c:v>5.0671235851823093</c:v>
                </c:pt>
                <c:pt idx="9606">
                  <c:v>4.9608257349717055</c:v>
                </c:pt>
                <c:pt idx="9607">
                  <c:v>5.0771694301651884</c:v>
                </c:pt>
                <c:pt idx="9608">
                  <c:v>4.8773849698088254</c:v>
                </c:pt>
                <c:pt idx="9609">
                  <c:v>4.9341681318047375</c:v>
                </c:pt>
                <c:pt idx="9610">
                  <c:v>5.0470357347558075</c:v>
                </c:pt>
                <c:pt idx="9611">
                  <c:v>4.8803171246007571</c:v>
                </c:pt>
                <c:pt idx="9612">
                  <c:v>5.112508657072194</c:v>
                </c:pt>
                <c:pt idx="9613">
                  <c:v>6.0291298731421072</c:v>
                </c:pt>
                <c:pt idx="9614">
                  <c:v>6.0241011098763098</c:v>
                </c:pt>
                <c:pt idx="9615">
                  <c:v>4.8495104004409519</c:v>
                </c:pt>
                <c:pt idx="9616">
                  <c:v>4.8871614835024308</c:v>
                </c:pt>
                <c:pt idx="9617">
                  <c:v>5.1776936437651377</c:v>
                </c:pt>
                <c:pt idx="9618">
                  <c:v>6.037606003225978</c:v>
                </c:pt>
                <c:pt idx="9619">
                  <c:v>4.8898458086883165</c:v>
                </c:pt>
                <c:pt idx="9620">
                  <c:v>4.9679402881939128</c:v>
                </c:pt>
                <c:pt idx="9621">
                  <c:v>5.0942904879141482</c:v>
                </c:pt>
                <c:pt idx="9622">
                  <c:v>4.9860132981996319</c:v>
                </c:pt>
                <c:pt idx="9623">
                  <c:v>5.0565758450491884</c:v>
                </c:pt>
                <c:pt idx="9624">
                  <c:v>6.1440686774613367</c:v>
                </c:pt>
                <c:pt idx="9625">
                  <c:v>5.1052179101774673</c:v>
                </c:pt>
                <c:pt idx="9626">
                  <c:v>5.0491589518300533</c:v>
                </c:pt>
                <c:pt idx="9627">
                  <c:v>6.0123750036703036</c:v>
                </c:pt>
                <c:pt idx="9628">
                  <c:v>5.9902753861395981</c:v>
                </c:pt>
                <c:pt idx="9629">
                  <c:v>5.0886321256411993</c:v>
                </c:pt>
                <c:pt idx="9630">
                  <c:v>5.0313347782381364</c:v>
                </c:pt>
                <c:pt idx="9631">
                  <c:v>4.9124803058950981</c:v>
                </c:pt>
                <c:pt idx="9632">
                  <c:v>5.8976866242423487</c:v>
                </c:pt>
                <c:pt idx="9633">
                  <c:v>4.84761627809341</c:v>
                </c:pt>
                <c:pt idx="9634">
                  <c:v>4.8368340005499189</c:v>
                </c:pt>
                <c:pt idx="9635">
                  <c:v>5.984731997634622</c:v>
                </c:pt>
                <c:pt idx="9636">
                  <c:v>5.027724739599571</c:v>
                </c:pt>
                <c:pt idx="9637">
                  <c:v>4.1744310563943348</c:v>
                </c:pt>
                <c:pt idx="9638">
                  <c:v>3.9577292662010719</c:v>
                </c:pt>
                <c:pt idx="9639">
                  <c:v>6.0538970922257382</c:v>
                </c:pt>
                <c:pt idx="9640">
                  <c:v>4.903450830490339</c:v>
                </c:pt>
                <c:pt idx="9641">
                  <c:v>4.994189037171644</c:v>
                </c:pt>
                <c:pt idx="9642">
                  <c:v>5.0419981816805945</c:v>
                </c:pt>
                <c:pt idx="9643">
                  <c:v>6.0184929020275142</c:v>
                </c:pt>
                <c:pt idx="9644">
                  <c:v>6.0637274459309394</c:v>
                </c:pt>
                <c:pt idx="9645">
                  <c:v>5.0896405031641239</c:v>
                </c:pt>
                <c:pt idx="9646">
                  <c:v>6.0233967340870986</c:v>
                </c:pt>
                <c:pt idx="9647">
                  <c:v>5.1479324297306404</c:v>
                </c:pt>
                <c:pt idx="9648">
                  <c:v>4.9212749323737688</c:v>
                </c:pt>
                <c:pt idx="9649">
                  <c:v>4.9469616738614901</c:v>
                </c:pt>
                <c:pt idx="9650">
                  <c:v>4.9782707544500981</c:v>
                </c:pt>
                <c:pt idx="9651">
                  <c:v>5.2141645271826125</c:v>
                </c:pt>
                <c:pt idx="9652">
                  <c:v>6.9150795760375052</c:v>
                </c:pt>
                <c:pt idx="9653">
                  <c:v>5.9233506948836965</c:v>
                </c:pt>
                <c:pt idx="9654">
                  <c:v>4.8308054961409264</c:v>
                </c:pt>
                <c:pt idx="9655">
                  <c:v>6.112296889014071</c:v>
                </c:pt>
                <c:pt idx="9656">
                  <c:v>5.1404447643174871</c:v>
                </c:pt>
                <c:pt idx="9657">
                  <c:v>5.9721518245532135</c:v>
                </c:pt>
                <c:pt idx="9658">
                  <c:v>6.0877577865688375</c:v>
                </c:pt>
                <c:pt idx="9659">
                  <c:v>4.9153412271179153</c:v>
                </c:pt>
                <c:pt idx="9660">
                  <c:v>5.9907629328919318</c:v>
                </c:pt>
                <c:pt idx="9661">
                  <c:v>6.1488159384079548</c:v>
                </c:pt>
                <c:pt idx="9662">
                  <c:v>5.1659263377292293</c:v>
                </c:pt>
                <c:pt idx="9663">
                  <c:v>6.0667229014591664</c:v>
                </c:pt>
                <c:pt idx="9664">
                  <c:v>6.0836614166439951</c:v>
                </c:pt>
                <c:pt idx="9665">
                  <c:v>4.9253316826150408</c:v>
                </c:pt>
                <c:pt idx="9666">
                  <c:v>5.0768624288872024</c:v>
                </c:pt>
                <c:pt idx="9667">
                  <c:v>5.0346494847623173</c:v>
                </c:pt>
                <c:pt idx="9668">
                  <c:v>5.9704368783994832</c:v>
                </c:pt>
                <c:pt idx="9669">
                  <c:v>4.8174365782958191</c:v>
                </c:pt>
                <c:pt idx="9670">
                  <c:v>5.212637437375089</c:v>
                </c:pt>
                <c:pt idx="9671">
                  <c:v>5.9046818436135906</c:v>
                </c:pt>
                <c:pt idx="9672">
                  <c:v>4.9884676219646504</c:v>
                </c:pt>
                <c:pt idx="9673">
                  <c:v>6.0268604177681304</c:v>
                </c:pt>
                <c:pt idx="9674">
                  <c:v>5.8700013399919868</c:v>
                </c:pt>
                <c:pt idx="9675">
                  <c:v>6.1494510769544801</c:v>
                </c:pt>
                <c:pt idx="9676">
                  <c:v>6.0549535218244337</c:v>
                </c:pt>
                <c:pt idx="9677">
                  <c:v>5.9608687769394839</c:v>
                </c:pt>
                <c:pt idx="9678">
                  <c:v>5.948865511527166</c:v>
                </c:pt>
                <c:pt idx="9679">
                  <c:v>6.0563991640296857</c:v>
                </c:pt>
                <c:pt idx="9680">
                  <c:v>5.0618195095464946</c:v>
                </c:pt>
                <c:pt idx="9681">
                  <c:v>5.895462981265621</c:v>
                </c:pt>
                <c:pt idx="9682">
                  <c:v>4.0023356133864905</c:v>
                </c:pt>
                <c:pt idx="9683">
                  <c:v>4.0195888370899899</c:v>
                </c:pt>
                <c:pt idx="9684">
                  <c:v>6.8932439663567182</c:v>
                </c:pt>
                <c:pt idx="9685">
                  <c:v>5.9319840812289222</c:v>
                </c:pt>
                <c:pt idx="9686">
                  <c:v>6.0106733027640455</c:v>
                </c:pt>
                <c:pt idx="9687">
                  <c:v>5.9732357913415415</c:v>
                </c:pt>
                <c:pt idx="9688">
                  <c:v>6.1314103404013949</c:v>
                </c:pt>
                <c:pt idx="9689">
                  <c:v>5.9153728966973906</c:v>
                </c:pt>
                <c:pt idx="9690">
                  <c:v>6.2025711188714698</c:v>
                </c:pt>
                <c:pt idx="9691">
                  <c:v>5.8519443906149879</c:v>
                </c:pt>
                <c:pt idx="9692">
                  <c:v>6.1657510797163253</c:v>
                </c:pt>
                <c:pt idx="9693">
                  <c:v>5.1447120220490348</c:v>
                </c:pt>
                <c:pt idx="9694">
                  <c:v>5.0017707735617076</c:v>
                </c:pt>
                <c:pt idx="9695">
                  <c:v>5.1266142085281796</c:v>
                </c:pt>
                <c:pt idx="9696">
                  <c:v>4.9671457049824514</c:v>
                </c:pt>
                <c:pt idx="9697">
                  <c:v>5.0594448625168651</c:v>
                </c:pt>
                <c:pt idx="9698">
                  <c:v>4.8632927151421601</c:v>
                </c:pt>
                <c:pt idx="9699">
                  <c:v>5.9010825379645961</c:v>
                </c:pt>
                <c:pt idx="9700">
                  <c:v>5.001750966358073</c:v>
                </c:pt>
                <c:pt idx="9701">
                  <c:v>6.0402284179155439</c:v>
                </c:pt>
                <c:pt idx="9702">
                  <c:v>5.9830160766646543</c:v>
                </c:pt>
                <c:pt idx="9703">
                  <c:v>5.8424753190606129</c:v>
                </c:pt>
                <c:pt idx="9704">
                  <c:v>6.069950807879736</c:v>
                </c:pt>
                <c:pt idx="9705">
                  <c:v>6.0391263157196171</c:v>
                </c:pt>
                <c:pt idx="9706">
                  <c:v>6.0564201690562127</c:v>
                </c:pt>
                <c:pt idx="9707">
                  <c:v>5.0321259255561213</c:v>
                </c:pt>
                <c:pt idx="9708">
                  <c:v>4.0307375105215568</c:v>
                </c:pt>
                <c:pt idx="9709">
                  <c:v>4.8137673704146149</c:v>
                </c:pt>
                <c:pt idx="9710">
                  <c:v>5.9062480380493172</c:v>
                </c:pt>
                <c:pt idx="9711">
                  <c:v>5.1590251931376132</c:v>
                </c:pt>
                <c:pt idx="9712">
                  <c:v>5.9915768043177611</c:v>
                </c:pt>
                <c:pt idx="9713">
                  <c:v>5.9535546918861106</c:v>
                </c:pt>
                <c:pt idx="9714">
                  <c:v>5.9741507033697818</c:v>
                </c:pt>
                <c:pt idx="9715">
                  <c:v>6.0071455592914047</c:v>
                </c:pt>
                <c:pt idx="9716">
                  <c:v>2.910928797674746</c:v>
                </c:pt>
                <c:pt idx="9717">
                  <c:v>5.8545744685034675</c:v>
                </c:pt>
                <c:pt idx="9718">
                  <c:v>5.9939939577005674</c:v>
                </c:pt>
                <c:pt idx="9719">
                  <c:v>2.9094285139093632</c:v>
                </c:pt>
                <c:pt idx="9720">
                  <c:v>5.1022514293502459</c:v>
                </c:pt>
                <c:pt idx="9721">
                  <c:v>2.9703911315938614</c:v>
                </c:pt>
                <c:pt idx="9722">
                  <c:v>5.0450301965538467</c:v>
                </c:pt>
                <c:pt idx="9723">
                  <c:v>5.9875685542552928</c:v>
                </c:pt>
                <c:pt idx="9724">
                  <c:v>5.9322766514047212</c:v>
                </c:pt>
                <c:pt idx="9725">
                  <c:v>5.9382197137468946</c:v>
                </c:pt>
                <c:pt idx="9726">
                  <c:v>4.9375824157219146</c:v>
                </c:pt>
                <c:pt idx="9727">
                  <c:v>4.8856599388567332</c:v>
                </c:pt>
                <c:pt idx="9728">
                  <c:v>5.9735814021808373</c:v>
                </c:pt>
                <c:pt idx="9729">
                  <c:v>6.0663845087494552</c:v>
                </c:pt>
                <c:pt idx="9730">
                  <c:v>6.9092863659930241</c:v>
                </c:pt>
                <c:pt idx="9731">
                  <c:v>5.9505231250166597</c:v>
                </c:pt>
                <c:pt idx="9732">
                  <c:v>5.9630228614957552</c:v>
                </c:pt>
                <c:pt idx="9733">
                  <c:v>4.9484497463167596</c:v>
                </c:pt>
                <c:pt idx="9734">
                  <c:v>5.1166721484342945</c:v>
                </c:pt>
                <c:pt idx="9735">
                  <c:v>6.24630205695372</c:v>
                </c:pt>
                <c:pt idx="9736">
                  <c:v>4.9571740434828504</c:v>
                </c:pt>
                <c:pt idx="9737">
                  <c:v>5.9670102431938732</c:v>
                </c:pt>
                <c:pt idx="9738">
                  <c:v>6.0629113960026375</c:v>
                </c:pt>
                <c:pt idx="9739">
                  <c:v>6.0154910043138257</c:v>
                </c:pt>
                <c:pt idx="9740">
                  <c:v>6.0621850351185094</c:v>
                </c:pt>
                <c:pt idx="9741">
                  <c:v>5.9293206374421992</c:v>
                </c:pt>
                <c:pt idx="9742">
                  <c:v>5.9942309630383832</c:v>
                </c:pt>
                <c:pt idx="9743">
                  <c:v>6.8795675695445606</c:v>
                </c:pt>
                <c:pt idx="9744">
                  <c:v>6.0254596542420078</c:v>
                </c:pt>
                <c:pt idx="9745">
                  <c:v>6.0277643444637219</c:v>
                </c:pt>
                <c:pt idx="9746">
                  <c:v>5.9505226522633841</c:v>
                </c:pt>
                <c:pt idx="9747">
                  <c:v>6.0401224733741383</c:v>
                </c:pt>
                <c:pt idx="9748">
                  <c:v>5.0256835848171102</c:v>
                </c:pt>
                <c:pt idx="9749">
                  <c:v>4.9072874591944631</c:v>
                </c:pt>
                <c:pt idx="9750">
                  <c:v>4.8281322478726798</c:v>
                </c:pt>
                <c:pt idx="9751">
                  <c:v>6.1047456188203046</c:v>
                </c:pt>
                <c:pt idx="9752">
                  <c:v>5.0662739683800462</c:v>
                </c:pt>
                <c:pt idx="9753">
                  <c:v>5.087634730296803</c:v>
                </c:pt>
                <c:pt idx="9754">
                  <c:v>1.9318062446772142</c:v>
                </c:pt>
                <c:pt idx="9755">
                  <c:v>1.9606230070228625</c:v>
                </c:pt>
                <c:pt idx="9756">
                  <c:v>6.0218019749832177</c:v>
                </c:pt>
                <c:pt idx="9757">
                  <c:v>5.0144398548965166</c:v>
                </c:pt>
                <c:pt idx="9758">
                  <c:v>5.0871416233646904</c:v>
                </c:pt>
                <c:pt idx="9759">
                  <c:v>5.0024939107788811</c:v>
                </c:pt>
                <c:pt idx="9760">
                  <c:v>5.0325478315521313</c:v>
                </c:pt>
                <c:pt idx="9761">
                  <c:v>6.1428066109479307</c:v>
                </c:pt>
                <c:pt idx="9762">
                  <c:v>5.8764656030808284</c:v>
                </c:pt>
                <c:pt idx="9763">
                  <c:v>4.8256747870335932</c:v>
                </c:pt>
                <c:pt idx="9764">
                  <c:v>5.8732703808195392</c:v>
                </c:pt>
                <c:pt idx="9765">
                  <c:v>6.0765664350321851</c:v>
                </c:pt>
                <c:pt idx="9766">
                  <c:v>6.9280002187633194</c:v>
                </c:pt>
                <c:pt idx="9767">
                  <c:v>5.9583949927576425</c:v>
                </c:pt>
                <c:pt idx="9768">
                  <c:v>5.0469478070828515</c:v>
                </c:pt>
                <c:pt idx="9769">
                  <c:v>6.0455423603405762</c:v>
                </c:pt>
                <c:pt idx="9770">
                  <c:v>5.931844452027188</c:v>
                </c:pt>
                <c:pt idx="9771">
                  <c:v>6.0635631804431753</c:v>
                </c:pt>
                <c:pt idx="9772">
                  <c:v>6.0921419761633739</c:v>
                </c:pt>
                <c:pt idx="9773">
                  <c:v>5.9314542139130557</c:v>
                </c:pt>
                <c:pt idx="9774">
                  <c:v>6.0511470707270858</c:v>
                </c:pt>
                <c:pt idx="9775">
                  <c:v>5.980303433427606</c:v>
                </c:pt>
                <c:pt idx="9776">
                  <c:v>6.2146487476230359</c:v>
                </c:pt>
                <c:pt idx="9777">
                  <c:v>5.9994325056539299</c:v>
                </c:pt>
                <c:pt idx="9778">
                  <c:v>4.8369598595527599</c:v>
                </c:pt>
                <c:pt idx="9779">
                  <c:v>3.0798320571685172</c:v>
                </c:pt>
                <c:pt idx="9780">
                  <c:v>6.1223342654138149</c:v>
                </c:pt>
                <c:pt idx="9781">
                  <c:v>6.0319020264165752</c:v>
                </c:pt>
                <c:pt idx="9782">
                  <c:v>5.9828905367394878</c:v>
                </c:pt>
                <c:pt idx="9783">
                  <c:v>5.0001101872250047</c:v>
                </c:pt>
                <c:pt idx="9784">
                  <c:v>5.023035920134828</c:v>
                </c:pt>
                <c:pt idx="9785">
                  <c:v>5.9090265810320286</c:v>
                </c:pt>
                <c:pt idx="9786">
                  <c:v>6.1523296822791345</c:v>
                </c:pt>
                <c:pt idx="9787">
                  <c:v>6.0188021656956554</c:v>
                </c:pt>
                <c:pt idx="9788">
                  <c:v>5.9596734903953781</c:v>
                </c:pt>
                <c:pt idx="9789">
                  <c:v>5.8996267807317402</c:v>
                </c:pt>
                <c:pt idx="9790">
                  <c:v>5.1008272776409074</c:v>
                </c:pt>
                <c:pt idx="9791">
                  <c:v>5.9922937094435316</c:v>
                </c:pt>
                <c:pt idx="9792">
                  <c:v>5.9749488014842767</c:v>
                </c:pt>
                <c:pt idx="9793">
                  <c:v>5.6959144752045718</c:v>
                </c:pt>
                <c:pt idx="9794">
                  <c:v>5.8755152082816249</c:v>
                </c:pt>
                <c:pt idx="9795">
                  <c:v>6.1311238247973012</c:v>
                </c:pt>
                <c:pt idx="9796">
                  <c:v>6.1733875071755699</c:v>
                </c:pt>
                <c:pt idx="9797">
                  <c:v>6.0888786413494458</c:v>
                </c:pt>
                <c:pt idx="9798">
                  <c:v>5.9360178171359212</c:v>
                </c:pt>
                <c:pt idx="9799">
                  <c:v>5.9857854339549865</c:v>
                </c:pt>
                <c:pt idx="9800">
                  <c:v>5.8215118859532851</c:v>
                </c:pt>
                <c:pt idx="9801">
                  <c:v>4.8976600751388748</c:v>
                </c:pt>
                <c:pt idx="9802">
                  <c:v>6.0775666525805008</c:v>
                </c:pt>
                <c:pt idx="9803">
                  <c:v>5.8794327093285021</c:v>
                </c:pt>
                <c:pt idx="9804">
                  <c:v>6.1230797876485319</c:v>
                </c:pt>
                <c:pt idx="9805">
                  <c:v>6.0898244579866381</c:v>
                </c:pt>
                <c:pt idx="9806">
                  <c:v>6.1292865334461153</c:v>
                </c:pt>
                <c:pt idx="9807">
                  <c:v>6.8912665204084602</c:v>
                </c:pt>
                <c:pt idx="9808">
                  <c:v>4.9953563705557782</c:v>
                </c:pt>
                <c:pt idx="9809">
                  <c:v>6.1182209975938511</c:v>
                </c:pt>
                <c:pt idx="9810">
                  <c:v>4.9081860045229933</c:v>
                </c:pt>
                <c:pt idx="9811">
                  <c:v>5.9255479884870734</c:v>
                </c:pt>
                <c:pt idx="9812">
                  <c:v>6.1390118427808602</c:v>
                </c:pt>
                <c:pt idx="9813">
                  <c:v>2.9826318074555243</c:v>
                </c:pt>
                <c:pt idx="9814">
                  <c:v>6.0547081412299466</c:v>
                </c:pt>
                <c:pt idx="9815">
                  <c:v>4.9572762579147689</c:v>
                </c:pt>
                <c:pt idx="9816">
                  <c:v>5.9239390985265521</c:v>
                </c:pt>
                <c:pt idx="9817">
                  <c:v>5.7519619650314375</c:v>
                </c:pt>
                <c:pt idx="9818">
                  <c:v>6.2028820949355854</c:v>
                </c:pt>
                <c:pt idx="9819">
                  <c:v>5.0341353079234468</c:v>
                </c:pt>
                <c:pt idx="9820">
                  <c:v>6.1165638239583835</c:v>
                </c:pt>
                <c:pt idx="9821">
                  <c:v>5.9158527929723279</c:v>
                </c:pt>
                <c:pt idx="9822">
                  <c:v>5.1532778430541644</c:v>
                </c:pt>
                <c:pt idx="9823">
                  <c:v>5.9132037800151194</c:v>
                </c:pt>
                <c:pt idx="9824">
                  <c:v>6.0577015148612752</c:v>
                </c:pt>
                <c:pt idx="9825">
                  <c:v>6.1453218422314411</c:v>
                </c:pt>
                <c:pt idx="9826">
                  <c:v>5.8780441119279692</c:v>
                </c:pt>
                <c:pt idx="9827">
                  <c:v>5.0898211600746697</c:v>
                </c:pt>
                <c:pt idx="9828">
                  <c:v>4.7578697175007987</c:v>
                </c:pt>
                <c:pt idx="9829">
                  <c:v>5.8773914584027871</c:v>
                </c:pt>
                <c:pt idx="9830">
                  <c:v>4.9777544546879096</c:v>
                </c:pt>
                <c:pt idx="9831">
                  <c:v>7.0603775218910076</c:v>
                </c:pt>
                <c:pt idx="9832">
                  <c:v>4.9617571172863748</c:v>
                </c:pt>
                <c:pt idx="9833">
                  <c:v>4.7690818886301356</c:v>
                </c:pt>
                <c:pt idx="9834">
                  <c:v>5.0639666662545793</c:v>
                </c:pt>
                <c:pt idx="9835">
                  <c:v>5.9103073297297062</c:v>
                </c:pt>
                <c:pt idx="9836">
                  <c:v>4.901511774064395</c:v>
                </c:pt>
                <c:pt idx="9837">
                  <c:v>7.0478195845428226</c:v>
                </c:pt>
                <c:pt idx="9838">
                  <c:v>4.930654162940038</c:v>
                </c:pt>
                <c:pt idx="9839">
                  <c:v>6.0668582663435471</c:v>
                </c:pt>
                <c:pt idx="9840">
                  <c:v>5.1105253233302355</c:v>
                </c:pt>
                <c:pt idx="9841">
                  <c:v>4.886845324659534</c:v>
                </c:pt>
                <c:pt idx="9842">
                  <c:v>6.0761143650216303</c:v>
                </c:pt>
                <c:pt idx="9843">
                  <c:v>5.0043806633124257</c:v>
                </c:pt>
                <c:pt idx="9844">
                  <c:v>5.9221493277888788</c:v>
                </c:pt>
                <c:pt idx="9845">
                  <c:v>6.0307008428962954</c:v>
                </c:pt>
                <c:pt idx="9846">
                  <c:v>5.8562687437954972</c:v>
                </c:pt>
                <c:pt idx="9847">
                  <c:v>6.0480594746899259</c:v>
                </c:pt>
                <c:pt idx="9848">
                  <c:v>4.9466330381816705</c:v>
                </c:pt>
                <c:pt idx="9849">
                  <c:v>4.9796149380853851</c:v>
                </c:pt>
                <c:pt idx="9850">
                  <c:v>7.1569132313230632</c:v>
                </c:pt>
                <c:pt idx="9851">
                  <c:v>6.1128923051166444</c:v>
                </c:pt>
                <c:pt idx="9852">
                  <c:v>5.9502125667408468</c:v>
                </c:pt>
                <c:pt idx="9853">
                  <c:v>6.9157423045193456</c:v>
                </c:pt>
                <c:pt idx="9854">
                  <c:v>6.9264494554276048</c:v>
                </c:pt>
                <c:pt idx="9855">
                  <c:v>6.9091649133176594</c:v>
                </c:pt>
                <c:pt idx="9856">
                  <c:v>6.9731635292180085</c:v>
                </c:pt>
                <c:pt idx="9857">
                  <c:v>5.9602560536960709</c:v>
                </c:pt>
                <c:pt idx="9858">
                  <c:v>5.8376070096843327</c:v>
                </c:pt>
                <c:pt idx="9859">
                  <c:v>5.8861478829984346</c:v>
                </c:pt>
                <c:pt idx="9860">
                  <c:v>5.0835980224713211</c:v>
                </c:pt>
                <c:pt idx="9861">
                  <c:v>5.1322022267834848</c:v>
                </c:pt>
                <c:pt idx="9862">
                  <c:v>6.0010725437122074</c:v>
                </c:pt>
                <c:pt idx="9863">
                  <c:v>5.9783307431523101</c:v>
                </c:pt>
                <c:pt idx="9864">
                  <c:v>5.9980960179940821</c:v>
                </c:pt>
                <c:pt idx="9865">
                  <c:v>4.9468422950320692</c:v>
                </c:pt>
                <c:pt idx="9866">
                  <c:v>6.0147770726931267</c:v>
                </c:pt>
                <c:pt idx="9867">
                  <c:v>4.9097460768546517</c:v>
                </c:pt>
                <c:pt idx="9868">
                  <c:v>5.9039257171991046</c:v>
                </c:pt>
                <c:pt idx="9869">
                  <c:v>4.9909912885026273</c:v>
                </c:pt>
                <c:pt idx="9870">
                  <c:v>5.0146535424597509</c:v>
                </c:pt>
                <c:pt idx="9871">
                  <c:v>4.8131717474255886</c:v>
                </c:pt>
                <c:pt idx="9872">
                  <c:v>4.9633790287625539</c:v>
                </c:pt>
                <c:pt idx="9873">
                  <c:v>6.1142431012842033</c:v>
                </c:pt>
                <c:pt idx="9874">
                  <c:v>5.8763244752015567</c:v>
                </c:pt>
                <c:pt idx="9875">
                  <c:v>5.8388364499165624</c:v>
                </c:pt>
                <c:pt idx="9876">
                  <c:v>7.1046301498941418</c:v>
                </c:pt>
                <c:pt idx="9877">
                  <c:v>5.972548886359677</c:v>
                </c:pt>
                <c:pt idx="9878">
                  <c:v>6.048342722955474</c:v>
                </c:pt>
                <c:pt idx="9879">
                  <c:v>4.952522066866865</c:v>
                </c:pt>
                <c:pt idx="9880">
                  <c:v>4.9826683350540755</c:v>
                </c:pt>
                <c:pt idx="9881">
                  <c:v>5.9652673508392766</c:v>
                </c:pt>
                <c:pt idx="9882">
                  <c:v>5.9038698168317065</c:v>
                </c:pt>
                <c:pt idx="9883">
                  <c:v>6.1661174485551102</c:v>
                </c:pt>
                <c:pt idx="9884">
                  <c:v>5.8415401171338734</c:v>
                </c:pt>
                <c:pt idx="9885">
                  <c:v>5.189513837903946</c:v>
                </c:pt>
                <c:pt idx="9886">
                  <c:v>4.9751596529537609</c:v>
                </c:pt>
                <c:pt idx="9887">
                  <c:v>4.9729990429220194</c:v>
                </c:pt>
                <c:pt idx="9888">
                  <c:v>6.033076171140495</c:v>
                </c:pt>
                <c:pt idx="9889">
                  <c:v>5.1867645153668782</c:v>
                </c:pt>
                <c:pt idx="9890">
                  <c:v>6.0933615467137585</c:v>
                </c:pt>
                <c:pt idx="9891">
                  <c:v>6.9854275616051389</c:v>
                </c:pt>
                <c:pt idx="9892">
                  <c:v>4.9292678848736813</c:v>
                </c:pt>
                <c:pt idx="9893">
                  <c:v>5.0570349784204716</c:v>
                </c:pt>
                <c:pt idx="9894">
                  <c:v>5.0815593482239043</c:v>
                </c:pt>
                <c:pt idx="9895">
                  <c:v>4.9745899041734241</c:v>
                </c:pt>
                <c:pt idx="9896">
                  <c:v>5.8484542620734272</c:v>
                </c:pt>
                <c:pt idx="9897">
                  <c:v>5.0704523026256743</c:v>
                </c:pt>
                <c:pt idx="9898">
                  <c:v>5.8501077406930158</c:v>
                </c:pt>
                <c:pt idx="9899">
                  <c:v>5.94381934475597</c:v>
                </c:pt>
                <c:pt idx="9900">
                  <c:v>5.8401427567092767</c:v>
                </c:pt>
                <c:pt idx="9901">
                  <c:v>5.9379981793782184</c:v>
                </c:pt>
                <c:pt idx="9902">
                  <c:v>5.0708863194891443</c:v>
                </c:pt>
                <c:pt idx="9903">
                  <c:v>7.0468587245942826</c:v>
                </c:pt>
                <c:pt idx="9904">
                  <c:v>6.1204474927619978</c:v>
                </c:pt>
                <c:pt idx="9905">
                  <c:v>5.1401935672982422</c:v>
                </c:pt>
                <c:pt idx="9906">
                  <c:v>6.0195897854286899</c:v>
                </c:pt>
                <c:pt idx="9907">
                  <c:v>6.1245479774535339</c:v>
                </c:pt>
                <c:pt idx="9908">
                  <c:v>6.0486172548601651</c:v>
                </c:pt>
                <c:pt idx="9909">
                  <c:v>5.9802819735128514</c:v>
                </c:pt>
                <c:pt idx="9910">
                  <c:v>5.9876721478100725</c:v>
                </c:pt>
                <c:pt idx="9911">
                  <c:v>5.1201448859329064</c:v>
                </c:pt>
                <c:pt idx="9912">
                  <c:v>6.0198362413420554</c:v>
                </c:pt>
                <c:pt idx="9913">
                  <c:v>4.8232398819467361</c:v>
                </c:pt>
                <c:pt idx="9914">
                  <c:v>5.1415626600558548</c:v>
                </c:pt>
                <c:pt idx="9915">
                  <c:v>5.9887194735764631</c:v>
                </c:pt>
                <c:pt idx="9916">
                  <c:v>6.0792648328848351</c:v>
                </c:pt>
                <c:pt idx="9917">
                  <c:v>5.0925233680534925</c:v>
                </c:pt>
                <c:pt idx="9918">
                  <c:v>6.0702390286045373</c:v>
                </c:pt>
                <c:pt idx="9919">
                  <c:v>5.091668885905074</c:v>
                </c:pt>
                <c:pt idx="9920">
                  <c:v>5.0533998866209799</c:v>
                </c:pt>
                <c:pt idx="9921">
                  <c:v>4.9228771326102292</c:v>
                </c:pt>
                <c:pt idx="9922">
                  <c:v>5.0348827184673581</c:v>
                </c:pt>
                <c:pt idx="9923">
                  <c:v>5.2065220017705176</c:v>
                </c:pt>
                <c:pt idx="9924">
                  <c:v>5.9837435915548545</c:v>
                </c:pt>
                <c:pt idx="9925">
                  <c:v>5.9591819017650929</c:v>
                </c:pt>
                <c:pt idx="9926">
                  <c:v>4.9813898059429418</c:v>
                </c:pt>
                <c:pt idx="9927">
                  <c:v>6.7686933016470752</c:v>
                </c:pt>
                <c:pt idx="9928">
                  <c:v>5.9704769121431402</c:v>
                </c:pt>
                <c:pt idx="9929">
                  <c:v>5.9113674201641144</c:v>
                </c:pt>
                <c:pt idx="9930">
                  <c:v>7.009221592286897</c:v>
                </c:pt>
                <c:pt idx="9931">
                  <c:v>5.9280901741758036</c:v>
                </c:pt>
                <c:pt idx="9932">
                  <c:v>5.9184490170138151</c:v>
                </c:pt>
                <c:pt idx="9933">
                  <c:v>2.9649255073497107</c:v>
                </c:pt>
                <c:pt idx="9934">
                  <c:v>4.8453341003813684</c:v>
                </c:pt>
                <c:pt idx="9935">
                  <c:v>7.0495626251881349</c:v>
                </c:pt>
                <c:pt idx="9936">
                  <c:v>6.0988111205618063</c:v>
                </c:pt>
                <c:pt idx="9937">
                  <c:v>5.0043633950320174</c:v>
                </c:pt>
                <c:pt idx="9938">
                  <c:v>6.0134680903197468</c:v>
                </c:pt>
                <c:pt idx="9939">
                  <c:v>6.06222635590371</c:v>
                </c:pt>
                <c:pt idx="9940">
                  <c:v>7.0287566569185556</c:v>
                </c:pt>
                <c:pt idx="9941">
                  <c:v>7.008107956215107</c:v>
                </c:pt>
                <c:pt idx="9942">
                  <c:v>6.0892440918914774</c:v>
                </c:pt>
                <c:pt idx="9943">
                  <c:v>6.9323446248942471</c:v>
                </c:pt>
                <c:pt idx="9944">
                  <c:v>7.0769539138889535</c:v>
                </c:pt>
                <c:pt idx="9945">
                  <c:v>7.0606503132671667</c:v>
                </c:pt>
                <c:pt idx="9946">
                  <c:v>5.8694864719419364</c:v>
                </c:pt>
                <c:pt idx="9947">
                  <c:v>7.0689149509979643</c:v>
                </c:pt>
                <c:pt idx="9948">
                  <c:v>5.9187280736941243</c:v>
                </c:pt>
                <c:pt idx="9949">
                  <c:v>6.2195795508622815</c:v>
                </c:pt>
                <c:pt idx="9950">
                  <c:v>6.1140034589582468</c:v>
                </c:pt>
                <c:pt idx="9951">
                  <c:v>5.9860451192893969</c:v>
                </c:pt>
                <c:pt idx="9952">
                  <c:v>7.2148351896278271</c:v>
                </c:pt>
                <c:pt idx="9953">
                  <c:v>5.9346359860952269</c:v>
                </c:pt>
                <c:pt idx="9954">
                  <c:v>6.0775195380544247</c:v>
                </c:pt>
                <c:pt idx="9955">
                  <c:v>6.0817824321797413</c:v>
                </c:pt>
                <c:pt idx="9956">
                  <c:v>4.985405455999615</c:v>
                </c:pt>
                <c:pt idx="9957">
                  <c:v>6.0558110974774078</c:v>
                </c:pt>
                <c:pt idx="9958">
                  <c:v>6.0640618032481148</c:v>
                </c:pt>
                <c:pt idx="9959">
                  <c:v>5.0327922233456084</c:v>
                </c:pt>
                <c:pt idx="9960">
                  <c:v>4.8799047712171983</c:v>
                </c:pt>
                <c:pt idx="9961">
                  <c:v>5.8827142839585873</c:v>
                </c:pt>
                <c:pt idx="9962">
                  <c:v>7.1667314834160321</c:v>
                </c:pt>
                <c:pt idx="9963">
                  <c:v>6.0379292017036938</c:v>
                </c:pt>
                <c:pt idx="9964">
                  <c:v>3.9866178189481358</c:v>
                </c:pt>
                <c:pt idx="9965">
                  <c:v>6.017945931698522</c:v>
                </c:pt>
                <c:pt idx="9966">
                  <c:v>4.7930521464638041</c:v>
                </c:pt>
                <c:pt idx="9967">
                  <c:v>5.0280860640985532</c:v>
                </c:pt>
                <c:pt idx="9968">
                  <c:v>5.9107031771321301</c:v>
                </c:pt>
                <c:pt idx="9969">
                  <c:v>5.8619317161076561</c:v>
                </c:pt>
                <c:pt idx="9970">
                  <c:v>5.9057238368453744</c:v>
                </c:pt>
                <c:pt idx="9971">
                  <c:v>5.0448960433264762</c:v>
                </c:pt>
                <c:pt idx="9972">
                  <c:v>5.9203921558111841</c:v>
                </c:pt>
                <c:pt idx="9973">
                  <c:v>5.0609740598687054</c:v>
                </c:pt>
                <c:pt idx="9974">
                  <c:v>4.8062870700343794</c:v>
                </c:pt>
                <c:pt idx="9975">
                  <c:v>6.1836530558304617</c:v>
                </c:pt>
                <c:pt idx="9976">
                  <c:v>5.945332464714471</c:v>
                </c:pt>
                <c:pt idx="9977">
                  <c:v>5.9826591401860973</c:v>
                </c:pt>
                <c:pt idx="9978">
                  <c:v>5.8208818503719391</c:v>
                </c:pt>
                <c:pt idx="9979">
                  <c:v>4.7935964672882463</c:v>
                </c:pt>
                <c:pt idx="9980">
                  <c:v>5.0166442628072607</c:v>
                </c:pt>
                <c:pt idx="9981">
                  <c:v>7.1083400936942862</c:v>
                </c:pt>
                <c:pt idx="9982">
                  <c:v>6.0119678026741337</c:v>
                </c:pt>
                <c:pt idx="9983">
                  <c:v>4.9376097970428035</c:v>
                </c:pt>
                <c:pt idx="9984">
                  <c:v>6.0155524599628301</c:v>
                </c:pt>
                <c:pt idx="9985">
                  <c:v>4.8479288065266495</c:v>
                </c:pt>
                <c:pt idx="9986">
                  <c:v>5.8362538804783473</c:v>
                </c:pt>
                <c:pt idx="9987">
                  <c:v>5.0259264632241303</c:v>
                </c:pt>
                <c:pt idx="9988">
                  <c:v>4.799564993284565</c:v>
                </c:pt>
                <c:pt idx="9989">
                  <c:v>6.1198152819650558</c:v>
                </c:pt>
                <c:pt idx="9990">
                  <c:v>5.6169416928589255</c:v>
                </c:pt>
                <c:pt idx="9991">
                  <c:v>5.8898736550241617</c:v>
                </c:pt>
                <c:pt idx="9992">
                  <c:v>6.0667497014022107</c:v>
                </c:pt>
                <c:pt idx="9993">
                  <c:v>6.1337927630409501</c:v>
                </c:pt>
                <c:pt idx="9994">
                  <c:v>6.0855696743894558</c:v>
                </c:pt>
                <c:pt idx="9995">
                  <c:v>3.1908145412575264</c:v>
                </c:pt>
                <c:pt idx="9996">
                  <c:v>6.1772623401370668</c:v>
                </c:pt>
                <c:pt idx="9997">
                  <c:v>5.0780316735745474</c:v>
                </c:pt>
                <c:pt idx="9998">
                  <c:v>5.8781182371865794</c:v>
                </c:pt>
                <c:pt idx="9999">
                  <c:v>5.9363665325225909</c:v>
                </c:pt>
                <c:pt idx="10000">
                  <c:v>5.0808584126229865</c:v>
                </c:pt>
                <c:pt idx="10001">
                  <c:v>7.0900745858192069</c:v>
                </c:pt>
                <c:pt idx="10002">
                  <c:v>5.0909051977990867</c:v>
                </c:pt>
                <c:pt idx="10003">
                  <c:v>4.9664969742296794</c:v>
                </c:pt>
                <c:pt idx="10004">
                  <c:v>4.9657386890544712</c:v>
                </c:pt>
                <c:pt idx="10005">
                  <c:v>5.8663040370734132</c:v>
                </c:pt>
                <c:pt idx="10006">
                  <c:v>5.967652696996316</c:v>
                </c:pt>
                <c:pt idx="10007">
                  <c:v>5.9048239936226539</c:v>
                </c:pt>
                <c:pt idx="10008">
                  <c:v>6.0021809300005247</c:v>
                </c:pt>
                <c:pt idx="10009">
                  <c:v>6.2491629465409284</c:v>
                </c:pt>
                <c:pt idx="10010">
                  <c:v>6.0481894575655071</c:v>
                </c:pt>
                <c:pt idx="10011">
                  <c:v>7.0462024036923241</c:v>
                </c:pt>
                <c:pt idx="10012">
                  <c:v>7.0801742120688074</c:v>
                </c:pt>
                <c:pt idx="10013">
                  <c:v>6.0418515068407137</c:v>
                </c:pt>
                <c:pt idx="10014">
                  <c:v>6.1603466346300229</c:v>
                </c:pt>
                <c:pt idx="10015">
                  <c:v>4.0371857045636466</c:v>
                </c:pt>
                <c:pt idx="10016">
                  <c:v>5.8747183908183418</c:v>
                </c:pt>
                <c:pt idx="10017">
                  <c:v>4.9976802208051305</c:v>
                </c:pt>
                <c:pt idx="10018">
                  <c:v>5.9745786101329825</c:v>
                </c:pt>
                <c:pt idx="10019">
                  <c:v>4.8849136884146462</c:v>
                </c:pt>
                <c:pt idx="10020">
                  <c:v>6.041522988335509</c:v>
                </c:pt>
                <c:pt idx="10021">
                  <c:v>4.9939188175227835</c:v>
                </c:pt>
                <c:pt idx="10022">
                  <c:v>5.9699367689240805</c:v>
                </c:pt>
                <c:pt idx="10023">
                  <c:v>6.1068128676914766</c:v>
                </c:pt>
                <c:pt idx="10024">
                  <c:v>4.9611362718870051</c:v>
                </c:pt>
                <c:pt idx="10025">
                  <c:v>5.9475661868546883</c:v>
                </c:pt>
                <c:pt idx="10026">
                  <c:v>5.0025560353984222</c:v>
                </c:pt>
                <c:pt idx="10027">
                  <c:v>4.9797826387936368</c:v>
                </c:pt>
                <c:pt idx="10028">
                  <c:v>4.8500792269550654</c:v>
                </c:pt>
                <c:pt idx="10029">
                  <c:v>4.9446624622398501</c:v>
                </c:pt>
                <c:pt idx="10030">
                  <c:v>4.961190834764067</c:v>
                </c:pt>
                <c:pt idx="10031">
                  <c:v>4.6982688529750058</c:v>
                </c:pt>
                <c:pt idx="10032">
                  <c:v>5.9288851994724237</c:v>
                </c:pt>
                <c:pt idx="10033">
                  <c:v>6.0346426285074468</c:v>
                </c:pt>
                <c:pt idx="10034">
                  <c:v>5.0123750830661731</c:v>
                </c:pt>
                <c:pt idx="10035">
                  <c:v>6.1360767193862875</c:v>
                </c:pt>
                <c:pt idx="10036">
                  <c:v>5.9108655702214152</c:v>
                </c:pt>
                <c:pt idx="10037">
                  <c:v>4.9299398154828804</c:v>
                </c:pt>
                <c:pt idx="10038">
                  <c:v>5.9767216348388761</c:v>
                </c:pt>
                <c:pt idx="10039">
                  <c:v>6.0568485612141965</c:v>
                </c:pt>
                <c:pt idx="10040">
                  <c:v>4.9968929148418235</c:v>
                </c:pt>
                <c:pt idx="10041">
                  <c:v>6.0298734770212725</c:v>
                </c:pt>
                <c:pt idx="10042">
                  <c:v>4.8902672578702955</c:v>
                </c:pt>
                <c:pt idx="10043">
                  <c:v>5.1149758862392227</c:v>
                </c:pt>
                <c:pt idx="10044">
                  <c:v>4.928225006967268</c:v>
                </c:pt>
                <c:pt idx="10045">
                  <c:v>6.0209236698992861</c:v>
                </c:pt>
                <c:pt idx="10046">
                  <c:v>5.9379944133785063</c:v>
                </c:pt>
                <c:pt idx="10047">
                  <c:v>6.0365841943326988</c:v>
                </c:pt>
                <c:pt idx="10048">
                  <c:v>5.9186748343334967</c:v>
                </c:pt>
                <c:pt idx="10049">
                  <c:v>5.9848749391547598</c:v>
                </c:pt>
                <c:pt idx="10050">
                  <c:v>5.9885297924196284</c:v>
                </c:pt>
                <c:pt idx="10051">
                  <c:v>6.1148583681292115</c:v>
                </c:pt>
                <c:pt idx="10052">
                  <c:v>6.0693591964010558</c:v>
                </c:pt>
                <c:pt idx="10053">
                  <c:v>5.9006643505720788</c:v>
                </c:pt>
                <c:pt idx="10054">
                  <c:v>3.9259055474764768</c:v>
                </c:pt>
                <c:pt idx="10055">
                  <c:v>4.0689298915164231</c:v>
                </c:pt>
                <c:pt idx="10056">
                  <c:v>6.0532288863690455</c:v>
                </c:pt>
                <c:pt idx="10057">
                  <c:v>6.1332404679317154</c:v>
                </c:pt>
                <c:pt idx="10058">
                  <c:v>6.1199311509648346</c:v>
                </c:pt>
                <c:pt idx="10059">
                  <c:v>5.0423651701493473</c:v>
                </c:pt>
                <c:pt idx="10060">
                  <c:v>6.07597657436785</c:v>
                </c:pt>
                <c:pt idx="10061">
                  <c:v>5.0668468002964602</c:v>
                </c:pt>
                <c:pt idx="10062">
                  <c:v>4.9140837931016765</c:v>
                </c:pt>
                <c:pt idx="10063">
                  <c:v>5.9787283185719673</c:v>
                </c:pt>
                <c:pt idx="10064">
                  <c:v>5.0919810068831968</c:v>
                </c:pt>
                <c:pt idx="10065">
                  <c:v>4.9348380251385979</c:v>
                </c:pt>
                <c:pt idx="10066">
                  <c:v>6.0543779076096076</c:v>
                </c:pt>
                <c:pt idx="10067">
                  <c:v>4.972040098009578</c:v>
                </c:pt>
                <c:pt idx="10068">
                  <c:v>5.9207265090099046</c:v>
                </c:pt>
                <c:pt idx="10069">
                  <c:v>5.027879570092721</c:v>
                </c:pt>
                <c:pt idx="10070">
                  <c:v>4.8971491212648326</c:v>
                </c:pt>
                <c:pt idx="10071">
                  <c:v>6.1660673677659013</c:v>
                </c:pt>
                <c:pt idx="10072">
                  <c:v>5.9350071483226206</c:v>
                </c:pt>
                <c:pt idx="10073">
                  <c:v>5.1052442974725931</c:v>
                </c:pt>
                <c:pt idx="10074">
                  <c:v>5.0441848900684052</c:v>
                </c:pt>
                <c:pt idx="10075">
                  <c:v>6.1432107087445393</c:v>
                </c:pt>
                <c:pt idx="10076">
                  <c:v>5.9421360488959971</c:v>
                </c:pt>
                <c:pt idx="10077">
                  <c:v>5.8787387936503563</c:v>
                </c:pt>
                <c:pt idx="10078">
                  <c:v>5.0446123925194097</c:v>
                </c:pt>
                <c:pt idx="10079">
                  <c:v>6.1027135646240289</c:v>
                </c:pt>
                <c:pt idx="10080">
                  <c:v>5.8795420982884261</c:v>
                </c:pt>
                <c:pt idx="10081">
                  <c:v>5.9998690137810424</c:v>
                </c:pt>
                <c:pt idx="10082">
                  <c:v>4.9835528313246042</c:v>
                </c:pt>
                <c:pt idx="10083">
                  <c:v>5.0209097646377066</c:v>
                </c:pt>
                <c:pt idx="10084">
                  <c:v>6.0757183237323691</c:v>
                </c:pt>
                <c:pt idx="10085">
                  <c:v>6.0739533209631151</c:v>
                </c:pt>
                <c:pt idx="10086">
                  <c:v>5.868763212145014</c:v>
                </c:pt>
                <c:pt idx="10087">
                  <c:v>5.068972030697136</c:v>
                </c:pt>
                <c:pt idx="10088">
                  <c:v>5.9211916022915592</c:v>
                </c:pt>
                <c:pt idx="10089">
                  <c:v>6.0761859552141582</c:v>
                </c:pt>
                <c:pt idx="10090">
                  <c:v>4.9992367477290607</c:v>
                </c:pt>
                <c:pt idx="10091">
                  <c:v>5.8278888914487386</c:v>
                </c:pt>
                <c:pt idx="10092">
                  <c:v>6.064147588857784</c:v>
                </c:pt>
                <c:pt idx="10093">
                  <c:v>6.1422954407554373</c:v>
                </c:pt>
                <c:pt idx="10094">
                  <c:v>5.9055344609716274</c:v>
                </c:pt>
                <c:pt idx="10095">
                  <c:v>6.0443335972853784</c:v>
                </c:pt>
                <c:pt idx="10096">
                  <c:v>6.0401693990254843</c:v>
                </c:pt>
                <c:pt idx="10097">
                  <c:v>6.0853397652750223</c:v>
                </c:pt>
                <c:pt idx="10098">
                  <c:v>5.1155617224670502</c:v>
                </c:pt>
                <c:pt idx="10099">
                  <c:v>4.9993178925560438</c:v>
                </c:pt>
                <c:pt idx="10100">
                  <c:v>5.9418381998127954</c:v>
                </c:pt>
                <c:pt idx="10101">
                  <c:v>4.8691569055930559</c:v>
                </c:pt>
                <c:pt idx="10102">
                  <c:v>5.9849547322042573</c:v>
                </c:pt>
                <c:pt idx="10103">
                  <c:v>6.1386142353364708</c:v>
                </c:pt>
                <c:pt idx="10104">
                  <c:v>4.8836180784508985</c:v>
                </c:pt>
                <c:pt idx="10105">
                  <c:v>4.0327561585699545</c:v>
                </c:pt>
                <c:pt idx="10106">
                  <c:v>4.9880608409691618</c:v>
                </c:pt>
                <c:pt idx="10107">
                  <c:v>5.9180698912400933</c:v>
                </c:pt>
                <c:pt idx="10108">
                  <c:v>4.8309438264072773</c:v>
                </c:pt>
                <c:pt idx="10109">
                  <c:v>5.0990927205565812</c:v>
                </c:pt>
                <c:pt idx="10110">
                  <c:v>6.0442465670798686</c:v>
                </c:pt>
                <c:pt idx="10111">
                  <c:v>4.9995841539464516</c:v>
                </c:pt>
                <c:pt idx="10112">
                  <c:v>5.210368752037418</c:v>
                </c:pt>
                <c:pt idx="10113">
                  <c:v>5.6384333350631746</c:v>
                </c:pt>
                <c:pt idx="10114">
                  <c:v>4.8888773609341794</c:v>
                </c:pt>
                <c:pt idx="10115">
                  <c:v>6.0995576478429356</c:v>
                </c:pt>
                <c:pt idx="10116">
                  <c:v>5.9060808610781255</c:v>
                </c:pt>
                <c:pt idx="10117">
                  <c:v>5.8934394399043137</c:v>
                </c:pt>
                <c:pt idx="10118">
                  <c:v>5.0488683989552054</c:v>
                </c:pt>
                <c:pt idx="10119">
                  <c:v>5.2658874384098553</c:v>
                </c:pt>
                <c:pt idx="10120">
                  <c:v>4.9979114000040701</c:v>
                </c:pt>
                <c:pt idx="10121">
                  <c:v>5.9441523592555745</c:v>
                </c:pt>
                <c:pt idx="10122">
                  <c:v>6.1440352572387873</c:v>
                </c:pt>
                <c:pt idx="10123">
                  <c:v>6.1165539147622203</c:v>
                </c:pt>
                <c:pt idx="10124">
                  <c:v>4.941962220291769</c:v>
                </c:pt>
                <c:pt idx="10125">
                  <c:v>6.3244007163582605</c:v>
                </c:pt>
                <c:pt idx="10126">
                  <c:v>5.0215981489326031</c:v>
                </c:pt>
                <c:pt idx="10127">
                  <c:v>6.1224859035968215</c:v>
                </c:pt>
                <c:pt idx="10128">
                  <c:v>5.9802940002695903</c:v>
                </c:pt>
                <c:pt idx="10129">
                  <c:v>5.8014143173258965</c:v>
                </c:pt>
                <c:pt idx="10130">
                  <c:v>5.0256106887663821</c:v>
                </c:pt>
                <c:pt idx="10131">
                  <c:v>6.0531735302495662</c:v>
                </c:pt>
                <c:pt idx="10132">
                  <c:v>5.9158917686411119</c:v>
                </c:pt>
                <c:pt idx="10133">
                  <c:v>6.1337849553678456</c:v>
                </c:pt>
                <c:pt idx="10134">
                  <c:v>5.8935300330179485</c:v>
                </c:pt>
                <c:pt idx="10135">
                  <c:v>5.1160238185528222</c:v>
                </c:pt>
                <c:pt idx="10136">
                  <c:v>5.962045090774347</c:v>
                </c:pt>
                <c:pt idx="10137">
                  <c:v>5.9295622471551344</c:v>
                </c:pt>
                <c:pt idx="10138">
                  <c:v>6.2111500737390859</c:v>
                </c:pt>
                <c:pt idx="10139">
                  <c:v>6.0773862602345901</c:v>
                </c:pt>
                <c:pt idx="10140">
                  <c:v>5.918305641261064</c:v>
                </c:pt>
                <c:pt idx="10141">
                  <c:v>4.8957833020101127</c:v>
                </c:pt>
                <c:pt idx="10142">
                  <c:v>5.958013805071559</c:v>
                </c:pt>
                <c:pt idx="10143">
                  <c:v>5.9620225815309231</c:v>
                </c:pt>
                <c:pt idx="10144">
                  <c:v>5.9054683282802483</c:v>
                </c:pt>
                <c:pt idx="10145">
                  <c:v>6.0652546616665948</c:v>
                </c:pt>
                <c:pt idx="10146">
                  <c:v>5.8996698600809889</c:v>
                </c:pt>
                <c:pt idx="10147">
                  <c:v>6.1212827265745622</c:v>
                </c:pt>
                <c:pt idx="10148">
                  <c:v>6.0562038288241222</c:v>
                </c:pt>
                <c:pt idx="10149">
                  <c:v>4.9659465362898603</c:v>
                </c:pt>
                <c:pt idx="10150">
                  <c:v>6.0496821983571287</c:v>
                </c:pt>
                <c:pt idx="10151">
                  <c:v>5.9385423671956099</c:v>
                </c:pt>
                <c:pt idx="10152">
                  <c:v>6.1573795976789469</c:v>
                </c:pt>
                <c:pt idx="10153">
                  <c:v>6.1445682376186443</c:v>
                </c:pt>
                <c:pt idx="10154">
                  <c:v>6.0002716569403365</c:v>
                </c:pt>
                <c:pt idx="10155">
                  <c:v>4.9710853291414727</c:v>
                </c:pt>
                <c:pt idx="10156">
                  <c:v>5.9314610847512066</c:v>
                </c:pt>
                <c:pt idx="10157">
                  <c:v>5.0184346583364823</c:v>
                </c:pt>
                <c:pt idx="10158">
                  <c:v>5.0987078992085619</c:v>
                </c:pt>
                <c:pt idx="10159">
                  <c:v>5.055862778961604</c:v>
                </c:pt>
                <c:pt idx="10160">
                  <c:v>6.1607777842427041</c:v>
                </c:pt>
                <c:pt idx="10161">
                  <c:v>5.8680124266265432</c:v>
                </c:pt>
                <c:pt idx="10162">
                  <c:v>6.1398683069933506</c:v>
                </c:pt>
                <c:pt idx="10163">
                  <c:v>5.1662092366552326</c:v>
                </c:pt>
                <c:pt idx="10164">
                  <c:v>5.0448941388171278</c:v>
                </c:pt>
                <c:pt idx="10165">
                  <c:v>5.0006592271257686</c:v>
                </c:pt>
                <c:pt idx="10166">
                  <c:v>6.0301260396347667</c:v>
                </c:pt>
                <c:pt idx="10167">
                  <c:v>5.9371318332332343</c:v>
                </c:pt>
                <c:pt idx="10168">
                  <c:v>5.9717171263116224</c:v>
                </c:pt>
                <c:pt idx="10169">
                  <c:v>5.0274691511528751</c:v>
                </c:pt>
                <c:pt idx="10170">
                  <c:v>5.9920671864962847</c:v>
                </c:pt>
                <c:pt idx="10171">
                  <c:v>4.9904828522559992</c:v>
                </c:pt>
                <c:pt idx="10172">
                  <c:v>5.8034074563484399</c:v>
                </c:pt>
                <c:pt idx="10173">
                  <c:v>5.1101708808010295</c:v>
                </c:pt>
                <c:pt idx="10174">
                  <c:v>5.9963627233780326</c:v>
                </c:pt>
                <c:pt idx="10175">
                  <c:v>5.9837595050144659</c:v>
                </c:pt>
                <c:pt idx="10176">
                  <c:v>6.0811610516497208</c:v>
                </c:pt>
                <c:pt idx="10177">
                  <c:v>4.8565088772922387</c:v>
                </c:pt>
                <c:pt idx="10178">
                  <c:v>6.0274145697273065</c:v>
                </c:pt>
                <c:pt idx="10179">
                  <c:v>5.0804442514435308</c:v>
                </c:pt>
                <c:pt idx="10180">
                  <c:v>5.935654983413218</c:v>
                </c:pt>
                <c:pt idx="10181">
                  <c:v>5.7941874828588205</c:v>
                </c:pt>
                <c:pt idx="10182">
                  <c:v>7.0698192426026507</c:v>
                </c:pt>
                <c:pt idx="10183">
                  <c:v>4.8154297932175938</c:v>
                </c:pt>
                <c:pt idx="10184">
                  <c:v>4.6961537118565984</c:v>
                </c:pt>
                <c:pt idx="10185">
                  <c:v>5.9248970021510452</c:v>
                </c:pt>
                <c:pt idx="10186">
                  <c:v>5.9236159621185136</c:v>
                </c:pt>
                <c:pt idx="10187">
                  <c:v>6.9097689617105305</c:v>
                </c:pt>
                <c:pt idx="10188">
                  <c:v>5.0774166238954495</c:v>
                </c:pt>
                <c:pt idx="10189">
                  <c:v>4.9977516506772783</c:v>
                </c:pt>
                <c:pt idx="10190">
                  <c:v>4.0103290929034134</c:v>
                </c:pt>
                <c:pt idx="10191">
                  <c:v>4.9746239165967756</c:v>
                </c:pt>
                <c:pt idx="10192">
                  <c:v>6.0662959307254365</c:v>
                </c:pt>
                <c:pt idx="10193">
                  <c:v>5.8478957258113029</c:v>
                </c:pt>
                <c:pt idx="10194">
                  <c:v>5.9010153404709023</c:v>
                </c:pt>
                <c:pt idx="10195">
                  <c:v>6.1207589262258155</c:v>
                </c:pt>
                <c:pt idx="10196">
                  <c:v>5.1374095274086651</c:v>
                </c:pt>
                <c:pt idx="10197">
                  <c:v>4.989471163755371</c:v>
                </c:pt>
                <c:pt idx="10198">
                  <c:v>6.0688812213537027</c:v>
                </c:pt>
                <c:pt idx="10199">
                  <c:v>5.0056524415571788</c:v>
                </c:pt>
                <c:pt idx="10200">
                  <c:v>5.9124834718967065</c:v>
                </c:pt>
                <c:pt idx="10201">
                  <c:v>4.8900015606792362</c:v>
                </c:pt>
                <c:pt idx="10202">
                  <c:v>5.976890317386947</c:v>
                </c:pt>
                <c:pt idx="10203">
                  <c:v>6.1130804645550674</c:v>
                </c:pt>
                <c:pt idx="10204">
                  <c:v>4.9657748506795372</c:v>
                </c:pt>
                <c:pt idx="10205">
                  <c:v>7.2008410679181223</c:v>
                </c:pt>
                <c:pt idx="10206">
                  <c:v>6.0339271992630508</c:v>
                </c:pt>
                <c:pt idx="10207">
                  <c:v>5.972515874447172</c:v>
                </c:pt>
                <c:pt idx="10208">
                  <c:v>6.187744962276561</c:v>
                </c:pt>
                <c:pt idx="10209">
                  <c:v>6.0271015822479121</c:v>
                </c:pt>
                <c:pt idx="10210">
                  <c:v>6.0463246662702597</c:v>
                </c:pt>
                <c:pt idx="10211">
                  <c:v>6.1458864633291936</c:v>
                </c:pt>
                <c:pt idx="10212">
                  <c:v>5.8023135512237074</c:v>
                </c:pt>
                <c:pt idx="10213">
                  <c:v>6.8707561496933387</c:v>
                </c:pt>
                <c:pt idx="10214">
                  <c:v>5.8397852631015557</c:v>
                </c:pt>
                <c:pt idx="10215">
                  <c:v>6.1349234434746274</c:v>
                </c:pt>
                <c:pt idx="10216">
                  <c:v>6.0187351435097174</c:v>
                </c:pt>
                <c:pt idx="10217">
                  <c:v>5.9110382573539413</c:v>
                </c:pt>
                <c:pt idx="10218">
                  <c:v>3.9827345155077634</c:v>
                </c:pt>
                <c:pt idx="10219">
                  <c:v>6.0054334487267411</c:v>
                </c:pt>
                <c:pt idx="10220">
                  <c:v>6.1070330454806854</c:v>
                </c:pt>
                <c:pt idx="10221">
                  <c:v>5.100749438150368</c:v>
                </c:pt>
                <c:pt idx="10222">
                  <c:v>6.9520114975030625</c:v>
                </c:pt>
                <c:pt idx="10223">
                  <c:v>5.9349986737564393</c:v>
                </c:pt>
                <c:pt idx="10224">
                  <c:v>4.9190802430513445</c:v>
                </c:pt>
                <c:pt idx="10225">
                  <c:v>5.9067757198227655</c:v>
                </c:pt>
                <c:pt idx="10226">
                  <c:v>4.9843450339489825</c:v>
                </c:pt>
                <c:pt idx="10227">
                  <c:v>5.9656274310523125</c:v>
                </c:pt>
                <c:pt idx="10228">
                  <c:v>4.9560425719428967</c:v>
                </c:pt>
                <c:pt idx="10229">
                  <c:v>5.9001390221489149</c:v>
                </c:pt>
                <c:pt idx="10230">
                  <c:v>6.0743573840674516</c:v>
                </c:pt>
                <c:pt idx="10231">
                  <c:v>4.997530314975295</c:v>
                </c:pt>
                <c:pt idx="10232">
                  <c:v>5.9008974804770862</c:v>
                </c:pt>
                <c:pt idx="10233">
                  <c:v>6.1989648477635688</c:v>
                </c:pt>
                <c:pt idx="10234">
                  <c:v>6.0591067211941185</c:v>
                </c:pt>
                <c:pt idx="10235">
                  <c:v>5.9332150254692122</c:v>
                </c:pt>
                <c:pt idx="10236">
                  <c:v>5.0861583237969308</c:v>
                </c:pt>
                <c:pt idx="10237">
                  <c:v>6.1284148883493499</c:v>
                </c:pt>
                <c:pt idx="10238">
                  <c:v>5.9330006567828706</c:v>
                </c:pt>
                <c:pt idx="10239">
                  <c:v>5.9500876516607955</c:v>
                </c:pt>
                <c:pt idx="10240">
                  <c:v>6.2873966502633749</c:v>
                </c:pt>
                <c:pt idx="10241">
                  <c:v>5.9432188613967067</c:v>
                </c:pt>
                <c:pt idx="10242">
                  <c:v>5.0266931197963949</c:v>
                </c:pt>
                <c:pt idx="10243">
                  <c:v>4.8834563549532115</c:v>
                </c:pt>
                <c:pt idx="10244">
                  <c:v>4.7720821696258335</c:v>
                </c:pt>
                <c:pt idx="10245">
                  <c:v>5.1087683900230703</c:v>
                </c:pt>
                <c:pt idx="10246">
                  <c:v>4.9724908887291974</c:v>
                </c:pt>
                <c:pt idx="10247">
                  <c:v>6.0316392069841918</c:v>
                </c:pt>
                <c:pt idx="10248">
                  <c:v>3.9859885773260171</c:v>
                </c:pt>
                <c:pt idx="10249">
                  <c:v>4.8780335806028985</c:v>
                </c:pt>
                <c:pt idx="10250">
                  <c:v>5.0660218222585289</c:v>
                </c:pt>
                <c:pt idx="10251">
                  <c:v>4.8981850802972788</c:v>
                </c:pt>
                <c:pt idx="10252">
                  <c:v>4.8833192969767598</c:v>
                </c:pt>
                <c:pt idx="10253">
                  <c:v>6.1217062249262639</c:v>
                </c:pt>
                <c:pt idx="10254">
                  <c:v>6.0586600883995798</c:v>
                </c:pt>
                <c:pt idx="10255">
                  <c:v>5.0540770129965535</c:v>
                </c:pt>
                <c:pt idx="10256">
                  <c:v>6.0226821743643848</c:v>
                </c:pt>
                <c:pt idx="10257">
                  <c:v>5.9837071891710645</c:v>
                </c:pt>
                <c:pt idx="10258">
                  <c:v>5.1078209702364381</c:v>
                </c:pt>
                <c:pt idx="10259">
                  <c:v>4.9962298029263472</c:v>
                </c:pt>
                <c:pt idx="10260">
                  <c:v>5.191400169893166</c:v>
                </c:pt>
                <c:pt idx="10261">
                  <c:v>7.0790732509587819</c:v>
                </c:pt>
                <c:pt idx="10262">
                  <c:v>6.1102951788814854</c:v>
                </c:pt>
                <c:pt idx="10263">
                  <c:v>6.3954622226750875</c:v>
                </c:pt>
                <c:pt idx="10264">
                  <c:v>5.9531627988705349</c:v>
                </c:pt>
                <c:pt idx="10265">
                  <c:v>4.9467246990184988</c:v>
                </c:pt>
                <c:pt idx="10266">
                  <c:v>4.8799653476445988</c:v>
                </c:pt>
                <c:pt idx="10267">
                  <c:v>4.9291799526117659</c:v>
                </c:pt>
                <c:pt idx="10268">
                  <c:v>4.935932715168005</c:v>
                </c:pt>
                <c:pt idx="10269">
                  <c:v>5.8851293763287309</c:v>
                </c:pt>
                <c:pt idx="10270">
                  <c:v>5.8881206191932733</c:v>
                </c:pt>
                <c:pt idx="10271">
                  <c:v>5.9853142163323954</c:v>
                </c:pt>
                <c:pt idx="10272">
                  <c:v>5.7949774213656031</c:v>
                </c:pt>
                <c:pt idx="10273">
                  <c:v>4.7938095140872958</c:v>
                </c:pt>
                <c:pt idx="10274">
                  <c:v>5.9016606672974108</c:v>
                </c:pt>
                <c:pt idx="10275">
                  <c:v>5.9181984325331687</c:v>
                </c:pt>
                <c:pt idx="10276">
                  <c:v>4.9541132836946611</c:v>
                </c:pt>
                <c:pt idx="10277">
                  <c:v>6.0410258815867488</c:v>
                </c:pt>
                <c:pt idx="10278">
                  <c:v>5.9153518122289555</c:v>
                </c:pt>
                <c:pt idx="10279">
                  <c:v>4.9741759102324936</c:v>
                </c:pt>
                <c:pt idx="10280">
                  <c:v>6.0357100736744682</c:v>
                </c:pt>
                <c:pt idx="10281">
                  <c:v>4.9476387868517957</c:v>
                </c:pt>
                <c:pt idx="10282">
                  <c:v>6.0323671252489435</c:v>
                </c:pt>
                <c:pt idx="10283">
                  <c:v>6.2213664307074206</c:v>
                </c:pt>
                <c:pt idx="10284">
                  <c:v>6.0958851446290083</c:v>
                </c:pt>
                <c:pt idx="10285">
                  <c:v>4.9887258036987392</c:v>
                </c:pt>
                <c:pt idx="10286">
                  <c:v>5.0855812098252891</c:v>
                </c:pt>
                <c:pt idx="10287">
                  <c:v>5.8816302887148844</c:v>
                </c:pt>
                <c:pt idx="10288">
                  <c:v>6.1219798455851642</c:v>
                </c:pt>
                <c:pt idx="10289">
                  <c:v>5.9638185104442671</c:v>
                </c:pt>
                <c:pt idx="10290">
                  <c:v>5.9080682932627884</c:v>
                </c:pt>
                <c:pt idx="10291">
                  <c:v>5.9680892295626942</c:v>
                </c:pt>
                <c:pt idx="10292">
                  <c:v>6.0138838878138019</c:v>
                </c:pt>
                <c:pt idx="10293">
                  <c:v>6.1428684006904417</c:v>
                </c:pt>
                <c:pt idx="10294">
                  <c:v>5.162718629816557</c:v>
                </c:pt>
                <c:pt idx="10295">
                  <c:v>6.082718812890902</c:v>
                </c:pt>
                <c:pt idx="10296">
                  <c:v>5.8829541276069941</c:v>
                </c:pt>
                <c:pt idx="10297">
                  <c:v>5.8666787338890574</c:v>
                </c:pt>
                <c:pt idx="10298">
                  <c:v>5.9887133337436413</c:v>
                </c:pt>
                <c:pt idx="10299">
                  <c:v>3.9708677954420137</c:v>
                </c:pt>
                <c:pt idx="10300">
                  <c:v>6.2409091505132093</c:v>
                </c:pt>
                <c:pt idx="10301">
                  <c:v>5.1909569067847539</c:v>
                </c:pt>
                <c:pt idx="10302">
                  <c:v>6.2880587353844319</c:v>
                </c:pt>
                <c:pt idx="10303">
                  <c:v>6.0400835960273431</c:v>
                </c:pt>
                <c:pt idx="10304">
                  <c:v>5.240898387532007</c:v>
                </c:pt>
                <c:pt idx="10305">
                  <c:v>5.0723751917454498</c:v>
                </c:pt>
                <c:pt idx="10306">
                  <c:v>4.9549087509496497</c:v>
                </c:pt>
                <c:pt idx="10307">
                  <c:v>6.0376964473713466</c:v>
                </c:pt>
                <c:pt idx="10308">
                  <c:v>4.9174513116330019</c:v>
                </c:pt>
                <c:pt idx="10309">
                  <c:v>5.9927882625194293</c:v>
                </c:pt>
                <c:pt idx="10310">
                  <c:v>5.9029027005469787</c:v>
                </c:pt>
                <c:pt idx="10311">
                  <c:v>5.0333448146088315</c:v>
                </c:pt>
                <c:pt idx="10312">
                  <c:v>5.8580084062297209</c:v>
                </c:pt>
                <c:pt idx="10313">
                  <c:v>6.0476240976564739</c:v>
                </c:pt>
                <c:pt idx="10314">
                  <c:v>5.8037952513060107</c:v>
                </c:pt>
                <c:pt idx="10315">
                  <c:v>3.1546531519755061</c:v>
                </c:pt>
                <c:pt idx="10316">
                  <c:v>3.0351372820323337</c:v>
                </c:pt>
                <c:pt idx="10317">
                  <c:v>5.9226737381753258</c:v>
                </c:pt>
                <c:pt idx="10318">
                  <c:v>2.967362238667314</c:v>
                </c:pt>
                <c:pt idx="10319">
                  <c:v>5.0530407340766734</c:v>
                </c:pt>
                <c:pt idx="10320">
                  <c:v>6.0405243773451724</c:v>
                </c:pt>
                <c:pt idx="10321">
                  <c:v>5.8980060144327195</c:v>
                </c:pt>
                <c:pt idx="10322">
                  <c:v>5.1357037191077115</c:v>
                </c:pt>
                <c:pt idx="10323">
                  <c:v>5.9773694703227411</c:v>
                </c:pt>
                <c:pt idx="10324">
                  <c:v>5.9839124862007722</c:v>
                </c:pt>
                <c:pt idx="10325">
                  <c:v>5.0489099198447818</c:v>
                </c:pt>
                <c:pt idx="10326">
                  <c:v>5.2192411853559966</c:v>
                </c:pt>
                <c:pt idx="10327">
                  <c:v>6.0499306038010126</c:v>
                </c:pt>
                <c:pt idx="10328">
                  <c:v>4.8498894376021919</c:v>
                </c:pt>
                <c:pt idx="10329">
                  <c:v>6.0957230187688829</c:v>
                </c:pt>
                <c:pt idx="10330">
                  <c:v>5.0622099033798733</c:v>
                </c:pt>
                <c:pt idx="10331">
                  <c:v>6.1154997518210061</c:v>
                </c:pt>
                <c:pt idx="10332">
                  <c:v>4.8571360421238818</c:v>
                </c:pt>
                <c:pt idx="10333">
                  <c:v>6.061045308305772</c:v>
                </c:pt>
                <c:pt idx="10334">
                  <c:v>6.1046707198439538</c:v>
                </c:pt>
                <c:pt idx="10335">
                  <c:v>6.1212828163103943</c:v>
                </c:pt>
                <c:pt idx="10336">
                  <c:v>5.075525307130123</c:v>
                </c:pt>
                <c:pt idx="10337">
                  <c:v>5.9070618535995632</c:v>
                </c:pt>
                <c:pt idx="10338">
                  <c:v>6.0937857379971563</c:v>
                </c:pt>
                <c:pt idx="10339">
                  <c:v>6.0701715123424602</c:v>
                </c:pt>
                <c:pt idx="10340">
                  <c:v>5.0893662971787439</c:v>
                </c:pt>
                <c:pt idx="10341">
                  <c:v>5.9901094851620993</c:v>
                </c:pt>
                <c:pt idx="10342">
                  <c:v>6.0545141364044941</c:v>
                </c:pt>
                <c:pt idx="10343">
                  <c:v>5.1920198596009763</c:v>
                </c:pt>
                <c:pt idx="10344">
                  <c:v>7.0699668935731861</c:v>
                </c:pt>
                <c:pt idx="10345">
                  <c:v>6.0262435478944392</c:v>
                </c:pt>
                <c:pt idx="10346">
                  <c:v>5.1308710542319345</c:v>
                </c:pt>
                <c:pt idx="10347">
                  <c:v>6.0018498002672267</c:v>
                </c:pt>
                <c:pt idx="10348">
                  <c:v>5.8544450814474613</c:v>
                </c:pt>
                <c:pt idx="10349">
                  <c:v>5.8636207572472996</c:v>
                </c:pt>
                <c:pt idx="10350">
                  <c:v>4.9858334720357158</c:v>
                </c:pt>
                <c:pt idx="10351">
                  <c:v>5.8619951874377199</c:v>
                </c:pt>
                <c:pt idx="10352">
                  <c:v>5.9067425901521329</c:v>
                </c:pt>
                <c:pt idx="10353">
                  <c:v>5.9433196794317027</c:v>
                </c:pt>
                <c:pt idx="10354">
                  <c:v>5.0093759730883081</c:v>
                </c:pt>
                <c:pt idx="10355">
                  <c:v>5.1170243619942806</c:v>
                </c:pt>
                <c:pt idx="10356">
                  <c:v>4.9519673574964207</c:v>
                </c:pt>
                <c:pt idx="10357">
                  <c:v>5.0428550588664809</c:v>
                </c:pt>
                <c:pt idx="10358">
                  <c:v>4.9764087715981518</c:v>
                </c:pt>
                <c:pt idx="10359">
                  <c:v>5.9614120534340032</c:v>
                </c:pt>
                <c:pt idx="10360">
                  <c:v>6.1363401392809713</c:v>
                </c:pt>
                <c:pt idx="10361">
                  <c:v>5.039232219175859</c:v>
                </c:pt>
                <c:pt idx="10362">
                  <c:v>7.1273820349781305</c:v>
                </c:pt>
                <c:pt idx="10363">
                  <c:v>5.0419055118160028</c:v>
                </c:pt>
                <c:pt idx="10364">
                  <c:v>4.8835320305985697</c:v>
                </c:pt>
                <c:pt idx="10365">
                  <c:v>6.0146435112399734</c:v>
                </c:pt>
                <c:pt idx="10366">
                  <c:v>7.1185472701633872</c:v>
                </c:pt>
                <c:pt idx="10367">
                  <c:v>4.9362379962183258</c:v>
                </c:pt>
                <c:pt idx="10368">
                  <c:v>6.0007888897492521</c:v>
                </c:pt>
                <c:pt idx="10369">
                  <c:v>6.1459060866363346</c:v>
                </c:pt>
                <c:pt idx="10370">
                  <c:v>6.0027647283859888</c:v>
                </c:pt>
                <c:pt idx="10371">
                  <c:v>3.9709692327323411</c:v>
                </c:pt>
                <c:pt idx="10372">
                  <c:v>4.001013342853839</c:v>
                </c:pt>
                <c:pt idx="10373">
                  <c:v>6.0452652708686569</c:v>
                </c:pt>
                <c:pt idx="10374">
                  <c:v>3.9174531511422188</c:v>
                </c:pt>
                <c:pt idx="10375">
                  <c:v>3.9726893817722528</c:v>
                </c:pt>
                <c:pt idx="10376">
                  <c:v>6.0635948011433296</c:v>
                </c:pt>
                <c:pt idx="10377">
                  <c:v>1.842097849600475</c:v>
                </c:pt>
                <c:pt idx="10378">
                  <c:v>6.01660735341967</c:v>
                </c:pt>
                <c:pt idx="10379">
                  <c:v>5.0869538039743309</c:v>
                </c:pt>
                <c:pt idx="10380">
                  <c:v>5.8969081777342662</c:v>
                </c:pt>
                <c:pt idx="10381">
                  <c:v>5.9943126800354971</c:v>
                </c:pt>
                <c:pt idx="10382">
                  <c:v>5.9564540208805816</c:v>
                </c:pt>
                <c:pt idx="10383">
                  <c:v>6.0240988302220044</c:v>
                </c:pt>
                <c:pt idx="10384">
                  <c:v>5.9789537190207618</c:v>
                </c:pt>
                <c:pt idx="10385">
                  <c:v>6.0011748841059909</c:v>
                </c:pt>
                <c:pt idx="10386">
                  <c:v>5.8569775198447669</c:v>
                </c:pt>
                <c:pt idx="10387">
                  <c:v>5.9273445014036268</c:v>
                </c:pt>
                <c:pt idx="10388">
                  <c:v>6.1239295791616861</c:v>
                </c:pt>
                <c:pt idx="10389">
                  <c:v>6.0837354918123721</c:v>
                </c:pt>
                <c:pt idx="10390">
                  <c:v>6.0623275508491172</c:v>
                </c:pt>
                <c:pt idx="10391">
                  <c:v>5.0351862301228092</c:v>
                </c:pt>
                <c:pt idx="10392">
                  <c:v>6.1276653953185365</c:v>
                </c:pt>
                <c:pt idx="10393">
                  <c:v>5.9362326729284041</c:v>
                </c:pt>
                <c:pt idx="10394">
                  <c:v>5.833532680553577</c:v>
                </c:pt>
                <c:pt idx="10395">
                  <c:v>5.8579446020835668</c:v>
                </c:pt>
                <c:pt idx="10396">
                  <c:v>5.0878474814776382</c:v>
                </c:pt>
                <c:pt idx="10397">
                  <c:v>6.044309815165243</c:v>
                </c:pt>
                <c:pt idx="10398">
                  <c:v>5.0012245636681065</c:v>
                </c:pt>
                <c:pt idx="10399">
                  <c:v>6.2841551130861895</c:v>
                </c:pt>
                <c:pt idx="10400">
                  <c:v>4.1623970912685557</c:v>
                </c:pt>
                <c:pt idx="10401">
                  <c:v>4.8937368108405668</c:v>
                </c:pt>
                <c:pt idx="10402">
                  <c:v>5.9968883674721249</c:v>
                </c:pt>
                <c:pt idx="10403">
                  <c:v>5.9409044013180434</c:v>
                </c:pt>
                <c:pt idx="10404">
                  <c:v>6.0137768762197874</c:v>
                </c:pt>
                <c:pt idx="10405">
                  <c:v>6.1554093404325414</c:v>
                </c:pt>
                <c:pt idx="10406">
                  <c:v>4.9826231293081173</c:v>
                </c:pt>
                <c:pt idx="10407">
                  <c:v>6.1315476540262166</c:v>
                </c:pt>
                <c:pt idx="10408">
                  <c:v>5.9175436894700075</c:v>
                </c:pt>
                <c:pt idx="10409">
                  <c:v>5.1068629789442967</c:v>
                </c:pt>
                <c:pt idx="10410">
                  <c:v>4.8154953910282963</c:v>
                </c:pt>
                <c:pt idx="10411">
                  <c:v>6.1155766177682054</c:v>
                </c:pt>
                <c:pt idx="10412">
                  <c:v>5.0264130601178403</c:v>
                </c:pt>
                <c:pt idx="10413">
                  <c:v>4.8138835441840211</c:v>
                </c:pt>
                <c:pt idx="10414">
                  <c:v>7.0748699597417328</c:v>
                </c:pt>
                <c:pt idx="10415">
                  <c:v>5.9589303811137659</c:v>
                </c:pt>
                <c:pt idx="10416">
                  <c:v>6.0584521781097793</c:v>
                </c:pt>
                <c:pt idx="10417">
                  <c:v>5.879940937127742</c:v>
                </c:pt>
                <c:pt idx="10418">
                  <c:v>5.9916511302686679</c:v>
                </c:pt>
                <c:pt idx="10419">
                  <c:v>6.9800062156431384</c:v>
                </c:pt>
                <c:pt idx="10420">
                  <c:v>6.0606402541913038</c:v>
                </c:pt>
                <c:pt idx="10421">
                  <c:v>5.0167566407244149</c:v>
                </c:pt>
                <c:pt idx="10422">
                  <c:v>4.9208530453408468</c:v>
                </c:pt>
                <c:pt idx="10423">
                  <c:v>6.1244537712042675</c:v>
                </c:pt>
                <c:pt idx="10424">
                  <c:v>5.9830188475384549</c:v>
                </c:pt>
                <c:pt idx="10425">
                  <c:v>4.9981413832262218</c:v>
                </c:pt>
                <c:pt idx="10426">
                  <c:v>5.9057373913458049</c:v>
                </c:pt>
                <c:pt idx="10427">
                  <c:v>6.0545796941393926</c:v>
                </c:pt>
                <c:pt idx="10428">
                  <c:v>5.9871777896163758</c:v>
                </c:pt>
                <c:pt idx="10429">
                  <c:v>6.1557562796657788</c:v>
                </c:pt>
                <c:pt idx="10430">
                  <c:v>6.0600198642240448</c:v>
                </c:pt>
                <c:pt idx="10431">
                  <c:v>6.1657451158973435</c:v>
                </c:pt>
                <c:pt idx="10432">
                  <c:v>6.0758782496498513</c:v>
                </c:pt>
                <c:pt idx="10433">
                  <c:v>5.0458071426033486</c:v>
                </c:pt>
                <c:pt idx="10434">
                  <c:v>6.1388181314009556</c:v>
                </c:pt>
                <c:pt idx="10435">
                  <c:v>5.9982160012644705</c:v>
                </c:pt>
                <c:pt idx="10436">
                  <c:v>5.9673610634824827</c:v>
                </c:pt>
                <c:pt idx="10437">
                  <c:v>6.0380606496511797</c:v>
                </c:pt>
                <c:pt idx="10438">
                  <c:v>5.1687925990355188</c:v>
                </c:pt>
                <c:pt idx="10439">
                  <c:v>5.9371132218123641</c:v>
                </c:pt>
                <c:pt idx="10440">
                  <c:v>6.0341072702099874</c:v>
                </c:pt>
                <c:pt idx="10441">
                  <c:v>6.9715420035289801</c:v>
                </c:pt>
                <c:pt idx="10442">
                  <c:v>4.9441062351032157</c:v>
                </c:pt>
                <c:pt idx="10443">
                  <c:v>5.9699874995167495</c:v>
                </c:pt>
                <c:pt idx="10444">
                  <c:v>5.1118498316878496</c:v>
                </c:pt>
                <c:pt idx="10445">
                  <c:v>5.0627730450827775</c:v>
                </c:pt>
                <c:pt idx="10446">
                  <c:v>4.961430605831568</c:v>
                </c:pt>
                <c:pt idx="10447">
                  <c:v>5.9976146631836675</c:v>
                </c:pt>
                <c:pt idx="10448">
                  <c:v>5.1352967443579889</c:v>
                </c:pt>
                <c:pt idx="10449">
                  <c:v>4.9331684072082931</c:v>
                </c:pt>
                <c:pt idx="10450">
                  <c:v>5.9196532502632477</c:v>
                </c:pt>
                <c:pt idx="10451">
                  <c:v>5.9881577925013802</c:v>
                </c:pt>
                <c:pt idx="10452">
                  <c:v>6.0197026145514334</c:v>
                </c:pt>
                <c:pt idx="10453">
                  <c:v>6.0566867849388668</c:v>
                </c:pt>
                <c:pt idx="10454">
                  <c:v>6.1230150582598313</c:v>
                </c:pt>
                <c:pt idx="10455">
                  <c:v>5.7555061661725437</c:v>
                </c:pt>
                <c:pt idx="10456">
                  <c:v>5.8687350514542453</c:v>
                </c:pt>
                <c:pt idx="10457">
                  <c:v>6.0132195811463811</c:v>
                </c:pt>
                <c:pt idx="10458">
                  <c:v>6.14248124701958</c:v>
                </c:pt>
                <c:pt idx="10459">
                  <c:v>5.9335615748880528</c:v>
                </c:pt>
                <c:pt idx="10460">
                  <c:v>5.9835357379734733</c:v>
                </c:pt>
                <c:pt idx="10461">
                  <c:v>5.9397542344662035</c:v>
                </c:pt>
                <c:pt idx="10462">
                  <c:v>6.0842756688598216</c:v>
                </c:pt>
                <c:pt idx="10463">
                  <c:v>5.9418391957177503</c:v>
                </c:pt>
                <c:pt idx="10464">
                  <c:v>5.9425444049818328</c:v>
                </c:pt>
                <c:pt idx="10465">
                  <c:v>4.8405389236858722</c:v>
                </c:pt>
                <c:pt idx="10466">
                  <c:v>7.1172580942021595</c:v>
                </c:pt>
                <c:pt idx="10467">
                  <c:v>6.0377211951503993</c:v>
                </c:pt>
                <c:pt idx="10468">
                  <c:v>4.8913321674274464</c:v>
                </c:pt>
                <c:pt idx="10469">
                  <c:v>6.0605966049688975</c:v>
                </c:pt>
                <c:pt idx="10470">
                  <c:v>5.868088443735461</c:v>
                </c:pt>
                <c:pt idx="10471">
                  <c:v>5.9573609283677804</c:v>
                </c:pt>
                <c:pt idx="10472">
                  <c:v>6.0885296219444669</c:v>
                </c:pt>
                <c:pt idx="10473">
                  <c:v>4.9221647789902478</c:v>
                </c:pt>
                <c:pt idx="10474">
                  <c:v>5.0248245523645938</c:v>
                </c:pt>
                <c:pt idx="10475">
                  <c:v>5.0886698329027311</c:v>
                </c:pt>
                <c:pt idx="10476">
                  <c:v>5.8736787931586996</c:v>
                </c:pt>
                <c:pt idx="10477">
                  <c:v>5.0379793810276698</c:v>
                </c:pt>
                <c:pt idx="10478">
                  <c:v>4.7865114781506808</c:v>
                </c:pt>
                <c:pt idx="10479">
                  <c:v>6.0428671056341212</c:v>
                </c:pt>
                <c:pt idx="10480">
                  <c:v>6.0232290726488449</c:v>
                </c:pt>
                <c:pt idx="10481">
                  <c:v>5.9085983373306119</c:v>
                </c:pt>
                <c:pt idx="10482">
                  <c:v>6.0723773496339284</c:v>
                </c:pt>
                <c:pt idx="10483">
                  <c:v>4.9363162968127794</c:v>
                </c:pt>
                <c:pt idx="10484">
                  <c:v>3.9486216246861336</c:v>
                </c:pt>
                <c:pt idx="10485">
                  <c:v>5.0247283716999345</c:v>
                </c:pt>
                <c:pt idx="10486">
                  <c:v>4.9045690172325651</c:v>
                </c:pt>
                <c:pt idx="10487">
                  <c:v>5.0453042186816388</c:v>
                </c:pt>
                <c:pt idx="10488">
                  <c:v>5.0424143137690685</c:v>
                </c:pt>
                <c:pt idx="10489">
                  <c:v>4.9151774897354992</c:v>
                </c:pt>
                <c:pt idx="10490">
                  <c:v>4.8839588260613835</c:v>
                </c:pt>
                <c:pt idx="10491">
                  <c:v>5.0880837680087598</c:v>
                </c:pt>
                <c:pt idx="10492">
                  <c:v>7.0485085728763961</c:v>
                </c:pt>
                <c:pt idx="10493">
                  <c:v>4.9380640632176895</c:v>
                </c:pt>
                <c:pt idx="10494">
                  <c:v>6.0739724150234062</c:v>
                </c:pt>
                <c:pt idx="10495">
                  <c:v>7.1225605232732594</c:v>
                </c:pt>
                <c:pt idx="10496">
                  <c:v>5.9189252846860283</c:v>
                </c:pt>
                <c:pt idx="10497">
                  <c:v>6.105613542937002</c:v>
                </c:pt>
                <c:pt idx="10498">
                  <c:v>6.0411243894897311</c:v>
                </c:pt>
                <c:pt idx="10499">
                  <c:v>5.006579423397608</c:v>
                </c:pt>
                <c:pt idx="10500">
                  <c:v>6.090556504607247</c:v>
                </c:pt>
                <c:pt idx="10501">
                  <c:v>4.9989661059783197</c:v>
                </c:pt>
                <c:pt idx="10502">
                  <c:v>6.0476052829754687</c:v>
                </c:pt>
                <c:pt idx="10503">
                  <c:v>5.2354110287026092</c:v>
                </c:pt>
                <c:pt idx="10504">
                  <c:v>5.9240705663199043</c:v>
                </c:pt>
                <c:pt idx="10505">
                  <c:v>5.1648896374110658</c:v>
                </c:pt>
                <c:pt idx="10506">
                  <c:v>6.0325985072084345</c:v>
                </c:pt>
                <c:pt idx="10507">
                  <c:v>6.0043534683325701</c:v>
                </c:pt>
                <c:pt idx="10508">
                  <c:v>6.2104388222473501</c:v>
                </c:pt>
                <c:pt idx="10509">
                  <c:v>5.0108983205983382</c:v>
                </c:pt>
                <c:pt idx="10510">
                  <c:v>4.9983798257494536</c:v>
                </c:pt>
                <c:pt idx="10511">
                  <c:v>6.1870594589888883</c:v>
                </c:pt>
                <c:pt idx="10512">
                  <c:v>5.2162317996041647</c:v>
                </c:pt>
                <c:pt idx="10513">
                  <c:v>5.9401254859045958</c:v>
                </c:pt>
                <c:pt idx="10514">
                  <c:v>5.0965983740880869</c:v>
                </c:pt>
                <c:pt idx="10515">
                  <c:v>4.9777972615748629</c:v>
                </c:pt>
                <c:pt idx="10516">
                  <c:v>5.1725324921697133</c:v>
                </c:pt>
                <c:pt idx="10517">
                  <c:v>5.953501933995093</c:v>
                </c:pt>
                <c:pt idx="10518">
                  <c:v>6.1042508864131229</c:v>
                </c:pt>
                <c:pt idx="10519">
                  <c:v>6.0479356275100589</c:v>
                </c:pt>
                <c:pt idx="10520">
                  <c:v>5.0426393803464586</c:v>
                </c:pt>
                <c:pt idx="10521">
                  <c:v>7.0699582207617189</c:v>
                </c:pt>
                <c:pt idx="10522">
                  <c:v>6.1123787846071922</c:v>
                </c:pt>
                <c:pt idx="10523">
                  <c:v>6.999536478317375</c:v>
                </c:pt>
                <c:pt idx="10524">
                  <c:v>4.9914616353629624</c:v>
                </c:pt>
                <c:pt idx="10525">
                  <c:v>6.0542949573861931</c:v>
                </c:pt>
                <c:pt idx="10526">
                  <c:v>5.9473189744689767</c:v>
                </c:pt>
                <c:pt idx="10527">
                  <c:v>6.0355550799329833</c:v>
                </c:pt>
                <c:pt idx="10528">
                  <c:v>6.1757598625156289</c:v>
                </c:pt>
                <c:pt idx="10529">
                  <c:v>5.8216658372869112</c:v>
                </c:pt>
                <c:pt idx="10530">
                  <c:v>6.0762564912353625</c:v>
                </c:pt>
                <c:pt idx="10531">
                  <c:v>6.1377156812982978</c:v>
                </c:pt>
                <c:pt idx="10532">
                  <c:v>6.1334315276681464</c:v>
                </c:pt>
                <c:pt idx="10533">
                  <c:v>5.9312051217140374</c:v>
                </c:pt>
                <c:pt idx="10534">
                  <c:v>5.9533003704130349</c:v>
                </c:pt>
                <c:pt idx="10535">
                  <c:v>6.0403646923084811</c:v>
                </c:pt>
                <c:pt idx="10536">
                  <c:v>5.9797093373598695</c:v>
                </c:pt>
                <c:pt idx="10537">
                  <c:v>5.9278799964221749</c:v>
                </c:pt>
                <c:pt idx="10538">
                  <c:v>6.1834191782905723</c:v>
                </c:pt>
                <c:pt idx="10539">
                  <c:v>6.2800139844826335</c:v>
                </c:pt>
                <c:pt idx="10540">
                  <c:v>4.9520013769325093</c:v>
                </c:pt>
                <c:pt idx="10541">
                  <c:v>7.1951437630022737</c:v>
                </c:pt>
                <c:pt idx="10542">
                  <c:v>6.1434192626576056</c:v>
                </c:pt>
                <c:pt idx="10543">
                  <c:v>5.0124907540432577</c:v>
                </c:pt>
                <c:pt idx="10544">
                  <c:v>5.0426252741863244</c:v>
                </c:pt>
                <c:pt idx="10545">
                  <c:v>6.065348819854556</c:v>
                </c:pt>
                <c:pt idx="10546">
                  <c:v>4.9572871274091455</c:v>
                </c:pt>
                <c:pt idx="10547">
                  <c:v>4.9986117991357162</c:v>
                </c:pt>
                <c:pt idx="10548">
                  <c:v>4.0947362339139142</c:v>
                </c:pt>
                <c:pt idx="10549">
                  <c:v>4.961102736520437</c:v>
                </c:pt>
                <c:pt idx="10550">
                  <c:v>6.0556784731047646</c:v>
                </c:pt>
                <c:pt idx="10551">
                  <c:v>5.0717918998425331</c:v>
                </c:pt>
                <c:pt idx="10552">
                  <c:v>4.90162616563632</c:v>
                </c:pt>
                <c:pt idx="10553">
                  <c:v>5.9969062147209975</c:v>
                </c:pt>
                <c:pt idx="10554">
                  <c:v>5.946511469856409</c:v>
                </c:pt>
                <c:pt idx="10555">
                  <c:v>5.1084301556876044</c:v>
                </c:pt>
                <c:pt idx="10556">
                  <c:v>5.9210134029018331</c:v>
                </c:pt>
                <c:pt idx="10557">
                  <c:v>6.1070958270494344</c:v>
                </c:pt>
                <c:pt idx="10558">
                  <c:v>6.9613427760838729</c:v>
                </c:pt>
                <c:pt idx="10559">
                  <c:v>6.0490099518472551</c:v>
                </c:pt>
                <c:pt idx="10560">
                  <c:v>4.9509839665998427</c:v>
                </c:pt>
                <c:pt idx="10561">
                  <c:v>6.0907432853277506</c:v>
                </c:pt>
                <c:pt idx="10562">
                  <c:v>5.9272298051246439</c:v>
                </c:pt>
                <c:pt idx="10563">
                  <c:v>4.9145204015084891</c:v>
                </c:pt>
                <c:pt idx="10564">
                  <c:v>5.1135484687685526</c:v>
                </c:pt>
                <c:pt idx="10565">
                  <c:v>5.9435904935021187</c:v>
                </c:pt>
                <c:pt idx="10566">
                  <c:v>5.9059843828608933</c:v>
                </c:pt>
                <c:pt idx="10567">
                  <c:v>5.1240615786628005</c:v>
                </c:pt>
                <c:pt idx="10568">
                  <c:v>4.9298641159387211</c:v>
                </c:pt>
                <c:pt idx="10569">
                  <c:v>4.9252570453359601</c:v>
                </c:pt>
                <c:pt idx="10570">
                  <c:v>5.9924077013492481</c:v>
                </c:pt>
                <c:pt idx="10571">
                  <c:v>6.9213444724072701</c:v>
                </c:pt>
                <c:pt idx="10572">
                  <c:v>6.0218611543448954</c:v>
                </c:pt>
                <c:pt idx="10573">
                  <c:v>5.9048635009007251</c:v>
                </c:pt>
                <c:pt idx="10574">
                  <c:v>5.9019222243040206</c:v>
                </c:pt>
                <c:pt idx="10575">
                  <c:v>5.9716324055296992</c:v>
                </c:pt>
                <c:pt idx="10576">
                  <c:v>5.9684481577951276</c:v>
                </c:pt>
                <c:pt idx="10577">
                  <c:v>4.9316633105260532</c:v>
                </c:pt>
                <c:pt idx="10578">
                  <c:v>6.1909350642411276</c:v>
                </c:pt>
                <c:pt idx="10579">
                  <c:v>7.0932670005970069</c:v>
                </c:pt>
                <c:pt idx="10580">
                  <c:v>6.2591697004001858</c:v>
                </c:pt>
                <c:pt idx="10581">
                  <c:v>7.0475104648861162</c:v>
                </c:pt>
                <c:pt idx="10582">
                  <c:v>6.9096807129347591</c:v>
                </c:pt>
                <c:pt idx="10583">
                  <c:v>6.1319146281729422</c:v>
                </c:pt>
                <c:pt idx="10584">
                  <c:v>6.8746522106946184</c:v>
                </c:pt>
                <c:pt idx="10585">
                  <c:v>3.8184611846911847</c:v>
                </c:pt>
                <c:pt idx="10586">
                  <c:v>6.0364890786615835</c:v>
                </c:pt>
                <c:pt idx="10587">
                  <c:v>7.210197237728635</c:v>
                </c:pt>
                <c:pt idx="10588">
                  <c:v>6.015816394061356</c:v>
                </c:pt>
                <c:pt idx="10589">
                  <c:v>5.9695549046577376</c:v>
                </c:pt>
                <c:pt idx="10590">
                  <c:v>5.0345129081093472</c:v>
                </c:pt>
                <c:pt idx="10591">
                  <c:v>5.7786856507105897</c:v>
                </c:pt>
                <c:pt idx="10592">
                  <c:v>6.1392907012419622</c:v>
                </c:pt>
                <c:pt idx="10593">
                  <c:v>4.1399151652882082</c:v>
                </c:pt>
                <c:pt idx="10594">
                  <c:v>6.1794577308838017</c:v>
                </c:pt>
                <c:pt idx="10595">
                  <c:v>5.9827460317608798</c:v>
                </c:pt>
                <c:pt idx="10596">
                  <c:v>6.043957131103892</c:v>
                </c:pt>
                <c:pt idx="10597">
                  <c:v>6.086530568717115</c:v>
                </c:pt>
                <c:pt idx="10598">
                  <c:v>6.072212751988558</c:v>
                </c:pt>
                <c:pt idx="10599">
                  <c:v>5.9887702479860945</c:v>
                </c:pt>
                <c:pt idx="10600">
                  <c:v>7.1980863359553826</c:v>
                </c:pt>
                <c:pt idx="10601">
                  <c:v>6.1228490667905859</c:v>
                </c:pt>
                <c:pt idx="10602">
                  <c:v>6.2987597345341264</c:v>
                </c:pt>
                <c:pt idx="10603">
                  <c:v>5.9229243083786596</c:v>
                </c:pt>
                <c:pt idx="10604">
                  <c:v>5.8096933745848229</c:v>
                </c:pt>
                <c:pt idx="10605">
                  <c:v>6.1192050915377809</c:v>
                </c:pt>
                <c:pt idx="10606">
                  <c:v>6.0327703881114596</c:v>
                </c:pt>
                <c:pt idx="10607">
                  <c:v>5.0222280247323825</c:v>
                </c:pt>
                <c:pt idx="10608">
                  <c:v>6.0667199583331319</c:v>
                </c:pt>
                <c:pt idx="10609">
                  <c:v>5.9428204202995767</c:v>
                </c:pt>
                <c:pt idx="10610">
                  <c:v>5.9305783289733114</c:v>
                </c:pt>
                <c:pt idx="10611">
                  <c:v>5.8334320468618444</c:v>
                </c:pt>
                <c:pt idx="10612">
                  <c:v>5.9172633756356099</c:v>
                </c:pt>
                <c:pt idx="10613">
                  <c:v>6.0119504346674919</c:v>
                </c:pt>
                <c:pt idx="10614">
                  <c:v>6.141912412121024</c:v>
                </c:pt>
                <c:pt idx="10615">
                  <c:v>5.9580289145368877</c:v>
                </c:pt>
                <c:pt idx="10616">
                  <c:v>7.0764797161909714</c:v>
                </c:pt>
                <c:pt idx="10617">
                  <c:v>4.9641455176723346</c:v>
                </c:pt>
                <c:pt idx="10618">
                  <c:v>6.1314533274194147</c:v>
                </c:pt>
                <c:pt idx="10619">
                  <c:v>6.0981719196615947</c:v>
                </c:pt>
                <c:pt idx="10620">
                  <c:v>6.1361937976411127</c:v>
                </c:pt>
                <c:pt idx="10621">
                  <c:v>5.8641912033328953</c:v>
                </c:pt>
                <c:pt idx="10622">
                  <c:v>6.112905039366094</c:v>
                </c:pt>
                <c:pt idx="10623">
                  <c:v>4.8858004036587959</c:v>
                </c:pt>
                <c:pt idx="10624">
                  <c:v>6.0071839489043555</c:v>
                </c:pt>
                <c:pt idx="10625">
                  <c:v>6.0744912100022033</c:v>
                </c:pt>
                <c:pt idx="10626">
                  <c:v>6.0353114717138663</c:v>
                </c:pt>
                <c:pt idx="10627">
                  <c:v>5.943288844279655</c:v>
                </c:pt>
                <c:pt idx="10628">
                  <c:v>5.9720031304577308</c:v>
                </c:pt>
                <c:pt idx="10629">
                  <c:v>5.9080299747713276</c:v>
                </c:pt>
                <c:pt idx="10630">
                  <c:v>5.9461737079604973</c:v>
                </c:pt>
                <c:pt idx="10631">
                  <c:v>6.1030113267924522</c:v>
                </c:pt>
                <c:pt idx="10632">
                  <c:v>6.0730477942629566</c:v>
                </c:pt>
                <c:pt idx="10633">
                  <c:v>7.0934938682185633</c:v>
                </c:pt>
                <c:pt idx="10634">
                  <c:v>4.9095724442374955</c:v>
                </c:pt>
                <c:pt idx="10635">
                  <c:v>6.1241561251015693</c:v>
                </c:pt>
                <c:pt idx="10636">
                  <c:v>5.8834161246500916</c:v>
                </c:pt>
                <c:pt idx="10637">
                  <c:v>6.0573048726692216</c:v>
                </c:pt>
                <c:pt idx="10638">
                  <c:v>5.9037643534095858</c:v>
                </c:pt>
                <c:pt idx="10639">
                  <c:v>5.9392713465030447</c:v>
                </c:pt>
                <c:pt idx="10640">
                  <c:v>6.9499185954348235</c:v>
                </c:pt>
                <c:pt idx="10641">
                  <c:v>5.8754828284694245</c:v>
                </c:pt>
                <c:pt idx="10642">
                  <c:v>5.9813044588384523</c:v>
                </c:pt>
                <c:pt idx="10643">
                  <c:v>5.959061281820607</c:v>
                </c:pt>
                <c:pt idx="10644">
                  <c:v>5.9640232455291109</c:v>
                </c:pt>
                <c:pt idx="10645">
                  <c:v>5.9331769209105545</c:v>
                </c:pt>
                <c:pt idx="10646">
                  <c:v>5.9399496807491756</c:v>
                </c:pt>
                <c:pt idx="10647">
                  <c:v>6.1434407407260681</c:v>
                </c:pt>
                <c:pt idx="10648">
                  <c:v>6.0950492792198014</c:v>
                </c:pt>
                <c:pt idx="10649">
                  <c:v>6.057108053595762</c:v>
                </c:pt>
                <c:pt idx="10650">
                  <c:v>5.0305609484533313</c:v>
                </c:pt>
                <c:pt idx="10651">
                  <c:v>6.09916028562506</c:v>
                </c:pt>
                <c:pt idx="10652">
                  <c:v>5.7980216893155179</c:v>
                </c:pt>
                <c:pt idx="10653">
                  <c:v>5.9480408428146765</c:v>
                </c:pt>
                <c:pt idx="10654">
                  <c:v>5.8940931004560868</c:v>
                </c:pt>
                <c:pt idx="10655">
                  <c:v>6.9732310927058982</c:v>
                </c:pt>
                <c:pt idx="10656">
                  <c:v>5.9585038628979383</c:v>
                </c:pt>
                <c:pt idx="10657">
                  <c:v>5.8746931589036988</c:v>
                </c:pt>
                <c:pt idx="10658">
                  <c:v>5.0678404639745507</c:v>
                </c:pt>
                <c:pt idx="10659">
                  <c:v>6.1210693009386858</c:v>
                </c:pt>
                <c:pt idx="10660">
                  <c:v>5.9490328597711812</c:v>
                </c:pt>
                <c:pt idx="10661">
                  <c:v>6.0902318727492055</c:v>
                </c:pt>
                <c:pt idx="10662">
                  <c:v>4.9658519721403138</c:v>
                </c:pt>
                <c:pt idx="10663">
                  <c:v>6.2060248896343282</c:v>
                </c:pt>
                <c:pt idx="10664">
                  <c:v>3.9826272924559514</c:v>
                </c:pt>
                <c:pt idx="10665">
                  <c:v>7.0061381111511123</c:v>
                </c:pt>
                <c:pt idx="10666">
                  <c:v>6.9660047535693437</c:v>
                </c:pt>
                <c:pt idx="10667">
                  <c:v>6.0579906081099884</c:v>
                </c:pt>
                <c:pt idx="10668">
                  <c:v>5.9678275509465335</c:v>
                </c:pt>
                <c:pt idx="10669">
                  <c:v>6.0178196411924469</c:v>
                </c:pt>
                <c:pt idx="10670">
                  <c:v>6.0793862430200285</c:v>
                </c:pt>
                <c:pt idx="10671">
                  <c:v>5.8967682214081405</c:v>
                </c:pt>
                <c:pt idx="10672">
                  <c:v>6.1505574848919782</c:v>
                </c:pt>
                <c:pt idx="10673">
                  <c:v>5.7619453734082633</c:v>
                </c:pt>
                <c:pt idx="10674">
                  <c:v>5.9778989679442756</c:v>
                </c:pt>
                <c:pt idx="10675">
                  <c:v>5.9051974222851138</c:v>
                </c:pt>
                <c:pt idx="10676">
                  <c:v>5.2044578094288756</c:v>
                </c:pt>
                <c:pt idx="10677">
                  <c:v>5.9251664963507178</c:v>
                </c:pt>
                <c:pt idx="10678">
                  <c:v>6.0214503665310337</c:v>
                </c:pt>
                <c:pt idx="10679">
                  <c:v>5.963094731619635</c:v>
                </c:pt>
                <c:pt idx="10680">
                  <c:v>5.9051404310543161</c:v>
                </c:pt>
                <c:pt idx="10681">
                  <c:v>6.1192501840841071</c:v>
                </c:pt>
                <c:pt idx="10682">
                  <c:v>6.0691075849577079</c:v>
                </c:pt>
                <c:pt idx="10683">
                  <c:v>5.8940889020076153</c:v>
                </c:pt>
                <c:pt idx="10684">
                  <c:v>5.2162913768589236</c:v>
                </c:pt>
                <c:pt idx="10685">
                  <c:v>5.9764940258823041</c:v>
                </c:pt>
                <c:pt idx="10686">
                  <c:v>6.0806766530123406</c:v>
                </c:pt>
                <c:pt idx="10687">
                  <c:v>5.9367202254450495</c:v>
                </c:pt>
                <c:pt idx="10688">
                  <c:v>5.7564363839923338</c:v>
                </c:pt>
                <c:pt idx="10689">
                  <c:v>6.1911875496259148</c:v>
                </c:pt>
                <c:pt idx="10690">
                  <c:v>5.7751930015944755</c:v>
                </c:pt>
                <c:pt idx="10691">
                  <c:v>6.0422442727265127</c:v>
                </c:pt>
                <c:pt idx="10692">
                  <c:v>5.8568248551340849</c:v>
                </c:pt>
                <c:pt idx="10693">
                  <c:v>6.0027603419108067</c:v>
                </c:pt>
                <c:pt idx="10694">
                  <c:v>6.0207294235945135</c:v>
                </c:pt>
                <c:pt idx="10695">
                  <c:v>6.0059172789479964</c:v>
                </c:pt>
                <c:pt idx="10696">
                  <c:v>5.9109199416115867</c:v>
                </c:pt>
                <c:pt idx="10697">
                  <c:v>5.9161020894620027</c:v>
                </c:pt>
                <c:pt idx="10698">
                  <c:v>5.9231171651892733</c:v>
                </c:pt>
                <c:pt idx="10699">
                  <c:v>6.1072557021270724</c:v>
                </c:pt>
                <c:pt idx="10700">
                  <c:v>5.0414440137616081</c:v>
                </c:pt>
                <c:pt idx="10701">
                  <c:v>5.911284838047294</c:v>
                </c:pt>
                <c:pt idx="10702">
                  <c:v>6.1133775921334816</c:v>
                </c:pt>
                <c:pt idx="10703">
                  <c:v>5.950883891208135</c:v>
                </c:pt>
                <c:pt idx="10704">
                  <c:v>6.0807812610818273</c:v>
                </c:pt>
                <c:pt idx="10705">
                  <c:v>4.9516644163116563</c:v>
                </c:pt>
                <c:pt idx="10706">
                  <c:v>5.9414961756580498</c:v>
                </c:pt>
                <c:pt idx="10707">
                  <c:v>5.0828192470106801</c:v>
                </c:pt>
                <c:pt idx="10708">
                  <c:v>5.1471920972558074</c:v>
                </c:pt>
                <c:pt idx="10709">
                  <c:v>5.820369093128809</c:v>
                </c:pt>
                <c:pt idx="10710">
                  <c:v>5.9743273178691947</c:v>
                </c:pt>
                <c:pt idx="10711">
                  <c:v>6.1599580851407962</c:v>
                </c:pt>
                <c:pt idx="10712">
                  <c:v>5.8762551973304742</c:v>
                </c:pt>
                <c:pt idx="10713">
                  <c:v>5.1233280782957396</c:v>
                </c:pt>
                <c:pt idx="10714">
                  <c:v>5.0904164108736927</c:v>
                </c:pt>
                <c:pt idx="10715">
                  <c:v>4.8575146434491883</c:v>
                </c:pt>
                <c:pt idx="10716">
                  <c:v>6.0315382939131181</c:v>
                </c:pt>
                <c:pt idx="10717">
                  <c:v>6.2109839730214365</c:v>
                </c:pt>
                <c:pt idx="10718">
                  <c:v>5.9516622285715481</c:v>
                </c:pt>
                <c:pt idx="10719">
                  <c:v>4.8159130177012068</c:v>
                </c:pt>
                <c:pt idx="10720">
                  <c:v>5.8948202367940166</c:v>
                </c:pt>
                <c:pt idx="10721">
                  <c:v>7.144895961794969</c:v>
                </c:pt>
                <c:pt idx="10722">
                  <c:v>5.912537525585611</c:v>
                </c:pt>
                <c:pt idx="10723">
                  <c:v>5.9449550842411636</c:v>
                </c:pt>
                <c:pt idx="10724">
                  <c:v>4.9679226191451464</c:v>
                </c:pt>
                <c:pt idx="10725">
                  <c:v>4.8192399950828388</c:v>
                </c:pt>
                <c:pt idx="10726">
                  <c:v>5.1170303524946537</c:v>
                </c:pt>
                <c:pt idx="10727">
                  <c:v>4.8427527434004833</c:v>
                </c:pt>
                <c:pt idx="10728">
                  <c:v>6.9855788294721339</c:v>
                </c:pt>
                <c:pt idx="10729">
                  <c:v>6.8943660671541904</c:v>
                </c:pt>
                <c:pt idx="10730">
                  <c:v>4.9354756758703591</c:v>
                </c:pt>
                <c:pt idx="10731">
                  <c:v>5.1359765373736899</c:v>
                </c:pt>
                <c:pt idx="10732">
                  <c:v>4.2387691433860777</c:v>
                </c:pt>
                <c:pt idx="10733">
                  <c:v>6.1887099112606592</c:v>
                </c:pt>
                <c:pt idx="10734">
                  <c:v>5.1052211297304595</c:v>
                </c:pt>
                <c:pt idx="10735">
                  <c:v>6.2141497623904716</c:v>
                </c:pt>
                <c:pt idx="10736">
                  <c:v>5.0376532054817327</c:v>
                </c:pt>
                <c:pt idx="10737">
                  <c:v>7.0924040209009585</c:v>
                </c:pt>
                <c:pt idx="10738">
                  <c:v>6.0608410806425166</c:v>
                </c:pt>
                <c:pt idx="10739">
                  <c:v>4.8983240974581967</c:v>
                </c:pt>
                <c:pt idx="10740">
                  <c:v>6.1036297156926906</c:v>
                </c:pt>
                <c:pt idx="10741">
                  <c:v>6.0128599085108112</c:v>
                </c:pt>
                <c:pt idx="10742">
                  <c:v>5.8587368857909583</c:v>
                </c:pt>
                <c:pt idx="10743">
                  <c:v>5.9554892328934894</c:v>
                </c:pt>
                <c:pt idx="10744">
                  <c:v>5.891547716903724</c:v>
                </c:pt>
                <c:pt idx="10745">
                  <c:v>5.9655465572984481</c:v>
                </c:pt>
                <c:pt idx="10746">
                  <c:v>6.1439857519175369</c:v>
                </c:pt>
                <c:pt idx="10747">
                  <c:v>4.9040896220763663</c:v>
                </c:pt>
                <c:pt idx="10748">
                  <c:v>4.9047786261943864</c:v>
                </c:pt>
                <c:pt idx="10749">
                  <c:v>6.0850422194796208</c:v>
                </c:pt>
                <c:pt idx="10750">
                  <c:v>5.8946662296475534</c:v>
                </c:pt>
                <c:pt idx="10751">
                  <c:v>5.8097268048912998</c:v>
                </c:pt>
                <c:pt idx="10752">
                  <c:v>5.2591817013474103</c:v>
                </c:pt>
                <c:pt idx="10753">
                  <c:v>5.8719481110332117</c:v>
                </c:pt>
                <c:pt idx="10754">
                  <c:v>6.1517976704977286</c:v>
                </c:pt>
                <c:pt idx="10755">
                  <c:v>3.8949335234146929</c:v>
                </c:pt>
                <c:pt idx="10756">
                  <c:v>5.9365672854001641</c:v>
                </c:pt>
                <c:pt idx="10757">
                  <c:v>5.0019171259007749</c:v>
                </c:pt>
                <c:pt idx="10758">
                  <c:v>6.0541603917199343</c:v>
                </c:pt>
                <c:pt idx="10759">
                  <c:v>4.9491173551649466</c:v>
                </c:pt>
                <c:pt idx="10760">
                  <c:v>5.0300944142030026</c:v>
                </c:pt>
                <c:pt idx="10761">
                  <c:v>6.0537337042540029</c:v>
                </c:pt>
                <c:pt idx="10762">
                  <c:v>5.9567896469839567</c:v>
                </c:pt>
                <c:pt idx="10763">
                  <c:v>5.8730185491408831</c:v>
                </c:pt>
                <c:pt idx="10764">
                  <c:v>6.1498181445179156</c:v>
                </c:pt>
                <c:pt idx="10765">
                  <c:v>6.0626402771362837</c:v>
                </c:pt>
                <c:pt idx="10766">
                  <c:v>5.1337028860644756</c:v>
                </c:pt>
                <c:pt idx="10767">
                  <c:v>5.0031115012522784</c:v>
                </c:pt>
                <c:pt idx="10768">
                  <c:v>6.1000965512804388</c:v>
                </c:pt>
                <c:pt idx="10769">
                  <c:v>4.9957638650343661</c:v>
                </c:pt>
                <c:pt idx="10770">
                  <c:v>6.0712615577121696</c:v>
                </c:pt>
                <c:pt idx="10771">
                  <c:v>4.0041919356863218</c:v>
                </c:pt>
                <c:pt idx="10772">
                  <c:v>4.1087253507865533</c:v>
                </c:pt>
                <c:pt idx="10773">
                  <c:v>4.9215676231966077</c:v>
                </c:pt>
                <c:pt idx="10774">
                  <c:v>5.8919585789779108</c:v>
                </c:pt>
                <c:pt idx="10775">
                  <c:v>6.062937512398622</c:v>
                </c:pt>
                <c:pt idx="10776">
                  <c:v>4.0665246551211922</c:v>
                </c:pt>
                <c:pt idx="10777">
                  <c:v>5.9604398087155701</c:v>
                </c:pt>
                <c:pt idx="10778">
                  <c:v>6.0715494296352359</c:v>
                </c:pt>
                <c:pt idx="10779">
                  <c:v>4.7939250422549247</c:v>
                </c:pt>
                <c:pt idx="10780">
                  <c:v>4.9749081706423066</c:v>
                </c:pt>
                <c:pt idx="10781">
                  <c:v>3.9201020046978892</c:v>
                </c:pt>
                <c:pt idx="10782">
                  <c:v>5.0775047172573222</c:v>
                </c:pt>
                <c:pt idx="10783">
                  <c:v>4.8735615442041942</c:v>
                </c:pt>
                <c:pt idx="10784">
                  <c:v>5.9852214889929707</c:v>
                </c:pt>
                <c:pt idx="10785">
                  <c:v>5.9123457370320001</c:v>
                </c:pt>
                <c:pt idx="10786">
                  <c:v>4.8274184212549072</c:v>
                </c:pt>
                <c:pt idx="10787">
                  <c:v>5.0268340188611873</c:v>
                </c:pt>
                <c:pt idx="10788">
                  <c:v>5.954347946153316</c:v>
                </c:pt>
                <c:pt idx="10789">
                  <c:v>4.843432627691894</c:v>
                </c:pt>
                <c:pt idx="10790">
                  <c:v>5.9740549664038198</c:v>
                </c:pt>
                <c:pt idx="10791">
                  <c:v>7.0918399366671263</c:v>
                </c:pt>
                <c:pt idx="10792">
                  <c:v>4.95670711263777</c:v>
                </c:pt>
                <c:pt idx="10793">
                  <c:v>7.1493092139444432</c:v>
                </c:pt>
                <c:pt idx="10794">
                  <c:v>7.076675625839921</c:v>
                </c:pt>
                <c:pt idx="10795">
                  <c:v>6.0940019864898431</c:v>
                </c:pt>
                <c:pt idx="10796">
                  <c:v>6.1224278946037405</c:v>
                </c:pt>
                <c:pt idx="10797">
                  <c:v>5.9859441093351426</c:v>
                </c:pt>
                <c:pt idx="10798">
                  <c:v>5.0972306794006057</c:v>
                </c:pt>
                <c:pt idx="10799">
                  <c:v>5.9290353552932338</c:v>
                </c:pt>
                <c:pt idx="10800">
                  <c:v>6.1042992490928611</c:v>
                </c:pt>
                <c:pt idx="10801">
                  <c:v>4.8491738005121015</c:v>
                </c:pt>
                <c:pt idx="10802">
                  <c:v>5.058477963097026</c:v>
                </c:pt>
                <c:pt idx="10803">
                  <c:v>4.8512469869335542</c:v>
                </c:pt>
                <c:pt idx="10804">
                  <c:v>5.9078080503493355</c:v>
                </c:pt>
                <c:pt idx="10805">
                  <c:v>5.961013076162013</c:v>
                </c:pt>
                <c:pt idx="10806">
                  <c:v>5.0464219700671551</c:v>
                </c:pt>
                <c:pt idx="10807">
                  <c:v>5.9101748623585335</c:v>
                </c:pt>
                <c:pt idx="10808">
                  <c:v>5.832002418792487</c:v>
                </c:pt>
                <c:pt idx="10809">
                  <c:v>5.0681394896302887</c:v>
                </c:pt>
                <c:pt idx="10810">
                  <c:v>4.8803715238401324</c:v>
                </c:pt>
                <c:pt idx="10811">
                  <c:v>5.9907289086432565</c:v>
                </c:pt>
                <c:pt idx="10812">
                  <c:v>3.9471634790893875</c:v>
                </c:pt>
                <c:pt idx="10813">
                  <c:v>5.0291510515634146</c:v>
                </c:pt>
                <c:pt idx="10814">
                  <c:v>6.1100959438094318</c:v>
                </c:pt>
                <c:pt idx="10815">
                  <c:v>5.8704908562830971</c:v>
                </c:pt>
                <c:pt idx="10816">
                  <c:v>6.8460412204095569</c:v>
                </c:pt>
                <c:pt idx="10817">
                  <c:v>5.0083143930327294</c:v>
                </c:pt>
                <c:pt idx="10818">
                  <c:v>7.0672561648723065</c:v>
                </c:pt>
                <c:pt idx="10819">
                  <c:v>4.9551955392303837</c:v>
                </c:pt>
                <c:pt idx="10820">
                  <c:v>6.0707897564560183</c:v>
                </c:pt>
                <c:pt idx="10821">
                  <c:v>5.084344049603887</c:v>
                </c:pt>
                <c:pt idx="10822">
                  <c:v>6.1074895664582014</c:v>
                </c:pt>
                <c:pt idx="10823">
                  <c:v>6.0185818257652128</c:v>
                </c:pt>
                <c:pt idx="10824">
                  <c:v>4.974412659013832</c:v>
                </c:pt>
                <c:pt idx="10825">
                  <c:v>5.0355943169983668</c:v>
                </c:pt>
                <c:pt idx="10826">
                  <c:v>5.9948966214843074</c:v>
                </c:pt>
                <c:pt idx="10827">
                  <c:v>6.9730110178379618</c:v>
                </c:pt>
                <c:pt idx="10828">
                  <c:v>5.2049435934799639</c:v>
                </c:pt>
                <c:pt idx="10829">
                  <c:v>5.0376162744865356</c:v>
                </c:pt>
                <c:pt idx="10830">
                  <c:v>4.9931294088286204</c:v>
                </c:pt>
                <c:pt idx="10831">
                  <c:v>4.8886329355568847</c:v>
                </c:pt>
                <c:pt idx="10832">
                  <c:v>6.0026455476462566</c:v>
                </c:pt>
                <c:pt idx="10833">
                  <c:v>5.1045571690279665</c:v>
                </c:pt>
                <c:pt idx="10834">
                  <c:v>5.944935334415101</c:v>
                </c:pt>
                <c:pt idx="10835">
                  <c:v>4.9002575382775895</c:v>
                </c:pt>
                <c:pt idx="10836">
                  <c:v>6.1203176930893397</c:v>
                </c:pt>
                <c:pt idx="10837">
                  <c:v>5.0002860794435735</c:v>
                </c:pt>
                <c:pt idx="10838">
                  <c:v>5.8890787467206174</c:v>
                </c:pt>
                <c:pt idx="10839">
                  <c:v>6.0697851695014782</c:v>
                </c:pt>
                <c:pt idx="10840">
                  <c:v>6.0338830805711785</c:v>
                </c:pt>
                <c:pt idx="10841">
                  <c:v>7.0875762248793972</c:v>
                </c:pt>
                <c:pt idx="10842">
                  <c:v>7.1200374769302615</c:v>
                </c:pt>
                <c:pt idx="10843">
                  <c:v>7.1196741613365662</c:v>
                </c:pt>
                <c:pt idx="10844">
                  <c:v>5.0804734034981172</c:v>
                </c:pt>
                <c:pt idx="10845">
                  <c:v>5.0956549490515695</c:v>
                </c:pt>
                <c:pt idx="10846">
                  <c:v>4.9227488875608918</c:v>
                </c:pt>
                <c:pt idx="10847">
                  <c:v>5.148601657352434</c:v>
                </c:pt>
                <c:pt idx="10848">
                  <c:v>5.0153879592108961</c:v>
                </c:pt>
                <c:pt idx="10849">
                  <c:v>4.6793480769077958</c:v>
                </c:pt>
                <c:pt idx="10850">
                  <c:v>4.8671093305779065</c:v>
                </c:pt>
                <c:pt idx="10851">
                  <c:v>5.1871442457638084</c:v>
                </c:pt>
                <c:pt idx="10852">
                  <c:v>4.9257397240820717</c:v>
                </c:pt>
                <c:pt idx="10853">
                  <c:v>5.0676171782749337</c:v>
                </c:pt>
                <c:pt idx="10854">
                  <c:v>5.9704337087680308</c:v>
                </c:pt>
                <c:pt idx="10855">
                  <c:v>4.8520649227548454</c:v>
                </c:pt>
                <c:pt idx="10856">
                  <c:v>5.0956712753843494</c:v>
                </c:pt>
                <c:pt idx="10857">
                  <c:v>6.9314248817719806</c:v>
                </c:pt>
                <c:pt idx="10858">
                  <c:v>5.9187451489613983</c:v>
                </c:pt>
                <c:pt idx="10859">
                  <c:v>4.8887271649869151</c:v>
                </c:pt>
                <c:pt idx="10860">
                  <c:v>5.0637877258467281</c:v>
                </c:pt>
                <c:pt idx="10861">
                  <c:v>5.0356347714520222</c:v>
                </c:pt>
                <c:pt idx="10862">
                  <c:v>5.9319184129052918</c:v>
                </c:pt>
                <c:pt idx="10863">
                  <c:v>4.965509422835062</c:v>
                </c:pt>
                <c:pt idx="10864">
                  <c:v>4.1579575083068141</c:v>
                </c:pt>
                <c:pt idx="10865">
                  <c:v>5.003728835153038</c:v>
                </c:pt>
                <c:pt idx="10866">
                  <c:v>6.971683125753505</c:v>
                </c:pt>
                <c:pt idx="10867">
                  <c:v>5.0772059403853262</c:v>
                </c:pt>
                <c:pt idx="10868">
                  <c:v>5.9312664308561338</c:v>
                </c:pt>
                <c:pt idx="10869">
                  <c:v>4.912967072844717</c:v>
                </c:pt>
                <c:pt idx="10870">
                  <c:v>5.9721474011569384</c:v>
                </c:pt>
                <c:pt idx="10871">
                  <c:v>4.9120142822135318</c:v>
                </c:pt>
                <c:pt idx="10872">
                  <c:v>4.8833406760582818</c:v>
                </c:pt>
                <c:pt idx="10873">
                  <c:v>4.9519081466733894</c:v>
                </c:pt>
                <c:pt idx="10874">
                  <c:v>5.8922715629527698</c:v>
                </c:pt>
                <c:pt idx="10875">
                  <c:v>5.0622854147388336</c:v>
                </c:pt>
                <c:pt idx="10876">
                  <c:v>5.1937535999523234</c:v>
                </c:pt>
                <c:pt idx="10877">
                  <c:v>4.9622265542545723</c:v>
                </c:pt>
                <c:pt idx="10878">
                  <c:v>7.0805717202273506</c:v>
                </c:pt>
                <c:pt idx="10879">
                  <c:v>5.0188270335075691</c:v>
                </c:pt>
                <c:pt idx="10880">
                  <c:v>5.0007517411429081</c:v>
                </c:pt>
                <c:pt idx="10881">
                  <c:v>6.0318518189279322</c:v>
                </c:pt>
                <c:pt idx="10882">
                  <c:v>6.0288700638380917</c:v>
                </c:pt>
                <c:pt idx="10883">
                  <c:v>6.1259923325440697</c:v>
                </c:pt>
                <c:pt idx="10884">
                  <c:v>4.9184762703544509</c:v>
                </c:pt>
                <c:pt idx="10885">
                  <c:v>5.9578388856339419</c:v>
                </c:pt>
                <c:pt idx="10886">
                  <c:v>5.9131021178346277</c:v>
                </c:pt>
                <c:pt idx="10887">
                  <c:v>4.8302998668265742</c:v>
                </c:pt>
                <c:pt idx="10888">
                  <c:v>6.1276413904201386</c:v>
                </c:pt>
                <c:pt idx="10889">
                  <c:v>4.9990398701243324</c:v>
                </c:pt>
                <c:pt idx="10890">
                  <c:v>4.8301257097097672</c:v>
                </c:pt>
                <c:pt idx="10891">
                  <c:v>5.1600957161188967</c:v>
                </c:pt>
                <c:pt idx="10892">
                  <c:v>6.0916617988251289</c:v>
                </c:pt>
                <c:pt idx="10893">
                  <c:v>6.0617802617226841</c:v>
                </c:pt>
                <c:pt idx="10894">
                  <c:v>4.9173669294420943</c:v>
                </c:pt>
                <c:pt idx="10895">
                  <c:v>6.0385062634450861</c:v>
                </c:pt>
                <c:pt idx="10896">
                  <c:v>6.1179626767254005</c:v>
                </c:pt>
                <c:pt idx="10897">
                  <c:v>5.0333886019025096</c:v>
                </c:pt>
                <c:pt idx="10898">
                  <c:v>5.8690874101068733</c:v>
                </c:pt>
                <c:pt idx="10899">
                  <c:v>5.1204963538487567</c:v>
                </c:pt>
                <c:pt idx="10900">
                  <c:v>6.0016720105286705</c:v>
                </c:pt>
                <c:pt idx="10901">
                  <c:v>5.1692737149678178</c:v>
                </c:pt>
                <c:pt idx="10902">
                  <c:v>5.9140618757220835</c:v>
                </c:pt>
                <c:pt idx="10903">
                  <c:v>5.0060739071989069</c:v>
                </c:pt>
                <c:pt idx="10904">
                  <c:v>5.9996844519911008</c:v>
                </c:pt>
                <c:pt idx="10905">
                  <c:v>5.9294421071846397</c:v>
                </c:pt>
                <c:pt idx="10906">
                  <c:v>5.9990224958337475</c:v>
                </c:pt>
                <c:pt idx="10907">
                  <c:v>6.0368175554371017</c:v>
                </c:pt>
                <c:pt idx="10908">
                  <c:v>5.9622943255450149</c:v>
                </c:pt>
                <c:pt idx="10909">
                  <c:v>4.8854890633020052</c:v>
                </c:pt>
                <c:pt idx="10910">
                  <c:v>5.0077114424402192</c:v>
                </c:pt>
                <c:pt idx="10911">
                  <c:v>5.2026563422022116</c:v>
                </c:pt>
                <c:pt idx="10912">
                  <c:v>6.0495692406507606</c:v>
                </c:pt>
                <c:pt idx="10913">
                  <c:v>6.1253513250142051</c:v>
                </c:pt>
                <c:pt idx="10914">
                  <c:v>5.9886620938858517</c:v>
                </c:pt>
                <c:pt idx="10915">
                  <c:v>6.0820557336281622</c:v>
                </c:pt>
                <c:pt idx="10916">
                  <c:v>4.8970190469725612</c:v>
                </c:pt>
                <c:pt idx="10917">
                  <c:v>5.0562363009425679</c:v>
                </c:pt>
                <c:pt idx="10918">
                  <c:v>5.9927377483311446</c:v>
                </c:pt>
                <c:pt idx="10919">
                  <c:v>5.0044687832800889</c:v>
                </c:pt>
                <c:pt idx="10920">
                  <c:v>5.1481382081015692</c:v>
                </c:pt>
                <c:pt idx="10921">
                  <c:v>6.048620691964409</c:v>
                </c:pt>
                <c:pt idx="10922">
                  <c:v>6.13930375962277</c:v>
                </c:pt>
                <c:pt idx="10923">
                  <c:v>6.0197349180876811</c:v>
                </c:pt>
                <c:pt idx="10924">
                  <c:v>5.9627874826274576</c:v>
                </c:pt>
                <c:pt idx="10925">
                  <c:v>4.9397731326441807</c:v>
                </c:pt>
                <c:pt idx="10926">
                  <c:v>5.1071277529811754</c:v>
                </c:pt>
                <c:pt idx="10927">
                  <c:v>4.8712420811380044</c:v>
                </c:pt>
                <c:pt idx="10928">
                  <c:v>5.9137146099874984</c:v>
                </c:pt>
                <c:pt idx="10929">
                  <c:v>5.9533432430520641</c:v>
                </c:pt>
                <c:pt idx="10930">
                  <c:v>5.9674589284173685</c:v>
                </c:pt>
                <c:pt idx="10931">
                  <c:v>5.0292149405233779</c:v>
                </c:pt>
                <c:pt idx="10932">
                  <c:v>5.9874158320367163</c:v>
                </c:pt>
                <c:pt idx="10933">
                  <c:v>5.1604415721099146</c:v>
                </c:pt>
                <c:pt idx="10934">
                  <c:v>5.0364999002710089</c:v>
                </c:pt>
                <c:pt idx="10935">
                  <c:v>4.9146359713584644</c:v>
                </c:pt>
                <c:pt idx="10936">
                  <c:v>5.0831010496584605</c:v>
                </c:pt>
                <c:pt idx="10937">
                  <c:v>5.8934203609390439</c:v>
                </c:pt>
                <c:pt idx="10938">
                  <c:v>6.0137331609210563</c:v>
                </c:pt>
                <c:pt idx="10939">
                  <c:v>5.0772401468211479</c:v>
                </c:pt>
                <c:pt idx="10940">
                  <c:v>4.8624419571623578</c:v>
                </c:pt>
                <c:pt idx="10941">
                  <c:v>6.0336198400639587</c:v>
                </c:pt>
                <c:pt idx="10942">
                  <c:v>5.0248651381664908</c:v>
                </c:pt>
                <c:pt idx="10943">
                  <c:v>6.1187425914971056</c:v>
                </c:pt>
                <c:pt idx="10944">
                  <c:v>5.9845830585461677</c:v>
                </c:pt>
                <c:pt idx="10945">
                  <c:v>5.0125367933133971</c:v>
                </c:pt>
                <c:pt idx="10946">
                  <c:v>5.9335537121137696</c:v>
                </c:pt>
                <c:pt idx="10947">
                  <c:v>4.9450106486557655</c:v>
                </c:pt>
                <c:pt idx="10948">
                  <c:v>6.0186693340316229</c:v>
                </c:pt>
                <c:pt idx="10949">
                  <c:v>5.8246258896823822</c:v>
                </c:pt>
                <c:pt idx="10950">
                  <c:v>6.0087160544135623</c:v>
                </c:pt>
                <c:pt idx="10951">
                  <c:v>6.0434784196568661</c:v>
                </c:pt>
                <c:pt idx="10952">
                  <c:v>5.8676247276837898</c:v>
                </c:pt>
                <c:pt idx="10953">
                  <c:v>5.9077554290511483</c:v>
                </c:pt>
                <c:pt idx="10954">
                  <c:v>5.9707107391980987</c:v>
                </c:pt>
                <c:pt idx="10955">
                  <c:v>5.0159939497665738</c:v>
                </c:pt>
                <c:pt idx="10956">
                  <c:v>6.1094446476445281</c:v>
                </c:pt>
                <c:pt idx="10957">
                  <c:v>5.8991191476686371</c:v>
                </c:pt>
                <c:pt idx="10958">
                  <c:v>3.9544182596572583</c:v>
                </c:pt>
                <c:pt idx="10959">
                  <c:v>4.9607381227519838</c:v>
                </c:pt>
                <c:pt idx="10960">
                  <c:v>5.8817780289333639</c:v>
                </c:pt>
                <c:pt idx="10961">
                  <c:v>6.0202561311380496</c:v>
                </c:pt>
                <c:pt idx="10962">
                  <c:v>4.988255505435566</c:v>
                </c:pt>
                <c:pt idx="10963">
                  <c:v>6.1677843924951157</c:v>
                </c:pt>
                <c:pt idx="10964">
                  <c:v>5.970436890028628</c:v>
                </c:pt>
                <c:pt idx="10965">
                  <c:v>2.9088993955288043</c:v>
                </c:pt>
                <c:pt idx="10966">
                  <c:v>2.9175281913896454</c:v>
                </c:pt>
                <c:pt idx="10967">
                  <c:v>3.100032174455996</c:v>
                </c:pt>
                <c:pt idx="10968">
                  <c:v>3.0073745956357976</c:v>
                </c:pt>
                <c:pt idx="10969">
                  <c:v>3.0276358807940742</c:v>
                </c:pt>
                <c:pt idx="10970">
                  <c:v>5.1295432475030687</c:v>
                </c:pt>
                <c:pt idx="10971">
                  <c:v>5.1008368079002961</c:v>
                </c:pt>
                <c:pt idx="10972">
                  <c:v>5.1060271759178324</c:v>
                </c:pt>
                <c:pt idx="10973">
                  <c:v>4.955573018375194</c:v>
                </c:pt>
                <c:pt idx="10974">
                  <c:v>4.9303325663065607</c:v>
                </c:pt>
                <c:pt idx="10975">
                  <c:v>4.9780475566909708</c:v>
                </c:pt>
                <c:pt idx="10976">
                  <c:v>5.0251498437826845</c:v>
                </c:pt>
                <c:pt idx="10977">
                  <c:v>6.0508164771304651</c:v>
                </c:pt>
                <c:pt idx="10978">
                  <c:v>5.8686304314954594</c:v>
                </c:pt>
                <c:pt idx="10979">
                  <c:v>6.0468653286490159</c:v>
                </c:pt>
                <c:pt idx="10980">
                  <c:v>6.0427664395687124</c:v>
                </c:pt>
                <c:pt idx="10981">
                  <c:v>6.944042280302904</c:v>
                </c:pt>
                <c:pt idx="10982">
                  <c:v>6.0705665961358273</c:v>
                </c:pt>
                <c:pt idx="10983">
                  <c:v>4.9979985979621047</c:v>
                </c:pt>
                <c:pt idx="10984">
                  <c:v>5.9816451017837524</c:v>
                </c:pt>
                <c:pt idx="10985">
                  <c:v>4.9599226432437034</c:v>
                </c:pt>
                <c:pt idx="10986">
                  <c:v>5.9695472649088188</c:v>
                </c:pt>
                <c:pt idx="10987">
                  <c:v>7.1261601602212057</c:v>
                </c:pt>
                <c:pt idx="10988">
                  <c:v>6.0996830791613972</c:v>
                </c:pt>
                <c:pt idx="10989">
                  <c:v>6.1563045471767959</c:v>
                </c:pt>
                <c:pt idx="10990">
                  <c:v>6.1104026590063878</c:v>
                </c:pt>
                <c:pt idx="10991">
                  <c:v>6.2257786553321459</c:v>
                </c:pt>
                <c:pt idx="10992">
                  <c:v>6.0730471065600105</c:v>
                </c:pt>
                <c:pt idx="10993">
                  <c:v>5.0655890912665118</c:v>
                </c:pt>
                <c:pt idx="10994">
                  <c:v>4.9893282559424765</c:v>
                </c:pt>
                <c:pt idx="10995">
                  <c:v>5.9542477531249514</c:v>
                </c:pt>
                <c:pt idx="10996">
                  <c:v>5.9688998564534002</c:v>
                </c:pt>
                <c:pt idx="10997">
                  <c:v>6.0426915132313175</c:v>
                </c:pt>
                <c:pt idx="10998">
                  <c:v>6.0691915527146092</c:v>
                </c:pt>
                <c:pt idx="10999">
                  <c:v>6.0248876144457784</c:v>
                </c:pt>
                <c:pt idx="11000">
                  <c:v>6.1893366206187563</c:v>
                </c:pt>
                <c:pt idx="11001">
                  <c:v>4.9265000975628848</c:v>
                </c:pt>
                <c:pt idx="11002">
                  <c:v>5.9047212940389286</c:v>
                </c:pt>
                <c:pt idx="11003">
                  <c:v>5.8184813808031262</c:v>
                </c:pt>
                <c:pt idx="11004">
                  <c:v>4.9148390959892891</c:v>
                </c:pt>
                <c:pt idx="11005">
                  <c:v>5.9410175188510532</c:v>
                </c:pt>
                <c:pt idx="11006">
                  <c:v>4.9076011422818286</c:v>
                </c:pt>
                <c:pt idx="11007">
                  <c:v>5.8915578679816258</c:v>
                </c:pt>
                <c:pt idx="11008">
                  <c:v>6.0754214640016118</c:v>
                </c:pt>
                <c:pt idx="11009">
                  <c:v>5.9887954710995341</c:v>
                </c:pt>
                <c:pt idx="11010">
                  <c:v>5.1046554277976988</c:v>
                </c:pt>
                <c:pt idx="11011">
                  <c:v>5.025191327273232</c:v>
                </c:pt>
                <c:pt idx="11012">
                  <c:v>4.9590163814434547</c:v>
                </c:pt>
                <c:pt idx="11013">
                  <c:v>6.0403457695099938</c:v>
                </c:pt>
                <c:pt idx="11014">
                  <c:v>5.0968459081941893</c:v>
                </c:pt>
                <c:pt idx="11015">
                  <c:v>5.9374790818343</c:v>
                </c:pt>
                <c:pt idx="11016">
                  <c:v>5.1239634816586657</c:v>
                </c:pt>
                <c:pt idx="11017">
                  <c:v>6.8529069821370516</c:v>
                </c:pt>
                <c:pt idx="11018">
                  <c:v>5.9935722072487616</c:v>
                </c:pt>
                <c:pt idx="11019">
                  <c:v>5.9379217648316098</c:v>
                </c:pt>
                <c:pt idx="11020">
                  <c:v>5.0879366796511896</c:v>
                </c:pt>
                <c:pt idx="11021">
                  <c:v>4.9738979430412229</c:v>
                </c:pt>
                <c:pt idx="11022">
                  <c:v>6.1479417434281212</c:v>
                </c:pt>
                <c:pt idx="11023">
                  <c:v>5.8559914358592939</c:v>
                </c:pt>
                <c:pt idx="11024">
                  <c:v>5.0344183522763579</c:v>
                </c:pt>
                <c:pt idx="11025">
                  <c:v>5.9424658817763447</c:v>
                </c:pt>
                <c:pt idx="11026">
                  <c:v>6.1245048267050217</c:v>
                </c:pt>
                <c:pt idx="11027">
                  <c:v>5.0792578039536211</c:v>
                </c:pt>
                <c:pt idx="11028">
                  <c:v>5.8825508148380292</c:v>
                </c:pt>
                <c:pt idx="11029">
                  <c:v>5.9326927754654815</c:v>
                </c:pt>
                <c:pt idx="11030">
                  <c:v>4.86680716506085</c:v>
                </c:pt>
                <c:pt idx="11031">
                  <c:v>6.0565897133526123</c:v>
                </c:pt>
                <c:pt idx="11032">
                  <c:v>6.013763171106028</c:v>
                </c:pt>
                <c:pt idx="11033">
                  <c:v>6.1618732206659388</c:v>
                </c:pt>
                <c:pt idx="11034">
                  <c:v>5.9507899631568915</c:v>
                </c:pt>
                <c:pt idx="11035">
                  <c:v>4.9710833934522114</c:v>
                </c:pt>
                <c:pt idx="11036">
                  <c:v>5.9537763173810534</c:v>
                </c:pt>
                <c:pt idx="11037">
                  <c:v>6.009927870144276</c:v>
                </c:pt>
                <c:pt idx="11038">
                  <c:v>5.9718076725246405</c:v>
                </c:pt>
                <c:pt idx="11039">
                  <c:v>6.0536620034666546</c:v>
                </c:pt>
                <c:pt idx="11040">
                  <c:v>5.9612822486270431</c:v>
                </c:pt>
                <c:pt idx="11041">
                  <c:v>5.9610728606100238</c:v>
                </c:pt>
                <c:pt idx="11042">
                  <c:v>5.9634767488744078</c:v>
                </c:pt>
                <c:pt idx="11043">
                  <c:v>5.9727003386730804</c:v>
                </c:pt>
                <c:pt idx="11044">
                  <c:v>6.015922055305496</c:v>
                </c:pt>
                <c:pt idx="11045">
                  <c:v>6.1263172989058301</c:v>
                </c:pt>
                <c:pt idx="11046">
                  <c:v>6.0516616940670547</c:v>
                </c:pt>
                <c:pt idx="11047">
                  <c:v>6.1570201813018866</c:v>
                </c:pt>
                <c:pt idx="11048">
                  <c:v>5.1470373511520044</c:v>
                </c:pt>
                <c:pt idx="11049">
                  <c:v>4.8923048131581526</c:v>
                </c:pt>
                <c:pt idx="11050">
                  <c:v>6.0248442897910151</c:v>
                </c:pt>
                <c:pt idx="11051">
                  <c:v>6.0023749231329875</c:v>
                </c:pt>
                <c:pt idx="11052">
                  <c:v>6.0222741615951403</c:v>
                </c:pt>
                <c:pt idx="11053">
                  <c:v>4.0496776296526162</c:v>
                </c:pt>
                <c:pt idx="11054">
                  <c:v>5.9378358259402884</c:v>
                </c:pt>
                <c:pt idx="11055">
                  <c:v>5.8927864775398344</c:v>
                </c:pt>
                <c:pt idx="11056">
                  <c:v>5.0188110825829977</c:v>
                </c:pt>
                <c:pt idx="11057">
                  <c:v>5.8165284627360059</c:v>
                </c:pt>
                <c:pt idx="11058">
                  <c:v>6.0502220282351038</c:v>
                </c:pt>
                <c:pt idx="11059">
                  <c:v>5.9953976499717285</c:v>
                </c:pt>
                <c:pt idx="11060">
                  <c:v>4.7403522116148578</c:v>
                </c:pt>
                <c:pt idx="11061">
                  <c:v>5.7473500847859942</c:v>
                </c:pt>
                <c:pt idx="11062">
                  <c:v>4.7279340106929899</c:v>
                </c:pt>
                <c:pt idx="11063">
                  <c:v>5.9935753710489621</c:v>
                </c:pt>
                <c:pt idx="11064">
                  <c:v>5.0709389761332693</c:v>
                </c:pt>
                <c:pt idx="11065">
                  <c:v>5.8780059055768472</c:v>
                </c:pt>
                <c:pt idx="11066">
                  <c:v>4.9503696983007472</c:v>
                </c:pt>
                <c:pt idx="11067">
                  <c:v>5.9267011600055577</c:v>
                </c:pt>
                <c:pt idx="11068">
                  <c:v>5.9011774163922226</c:v>
                </c:pt>
                <c:pt idx="11069">
                  <c:v>5.1943466541792978</c:v>
                </c:pt>
                <c:pt idx="11070">
                  <c:v>6.0313233966541233</c:v>
                </c:pt>
                <c:pt idx="11071">
                  <c:v>5.1844514553441181</c:v>
                </c:pt>
                <c:pt idx="11072">
                  <c:v>6.0618886089737627</c:v>
                </c:pt>
                <c:pt idx="11073">
                  <c:v>5.915017610184659</c:v>
                </c:pt>
                <c:pt idx="11074">
                  <c:v>5.1179126737311753</c:v>
                </c:pt>
                <c:pt idx="11075">
                  <c:v>5.8933942231650773</c:v>
                </c:pt>
                <c:pt idx="11076">
                  <c:v>5.9929363037606969</c:v>
                </c:pt>
                <c:pt idx="11077">
                  <c:v>5.7708445771730075</c:v>
                </c:pt>
                <c:pt idx="11078">
                  <c:v>4.9793121165313474</c:v>
                </c:pt>
                <c:pt idx="11079">
                  <c:v>5.9456366821758673</c:v>
                </c:pt>
                <c:pt idx="11080">
                  <c:v>6.2067846378393927</c:v>
                </c:pt>
                <c:pt idx="11081">
                  <c:v>4.8550700858805067</c:v>
                </c:pt>
                <c:pt idx="11082">
                  <c:v>5.9645746569018927</c:v>
                </c:pt>
                <c:pt idx="11083">
                  <c:v>5.1212552527145148</c:v>
                </c:pt>
                <c:pt idx="11084">
                  <c:v>6.0556227439035464</c:v>
                </c:pt>
                <c:pt idx="11085">
                  <c:v>5.9970780453026222</c:v>
                </c:pt>
                <c:pt idx="11086">
                  <c:v>5.0773194409942297</c:v>
                </c:pt>
                <c:pt idx="11087">
                  <c:v>5.8045643147175889</c:v>
                </c:pt>
                <c:pt idx="11088">
                  <c:v>5.9038807364388406</c:v>
                </c:pt>
                <c:pt idx="11089">
                  <c:v>6.0605868065617061</c:v>
                </c:pt>
                <c:pt idx="11090">
                  <c:v>5.8627191176056286</c:v>
                </c:pt>
                <c:pt idx="11091">
                  <c:v>5.9977722835774676</c:v>
                </c:pt>
                <c:pt idx="11092">
                  <c:v>6.051173382821454</c:v>
                </c:pt>
                <c:pt idx="11093">
                  <c:v>6.0488620766390779</c:v>
                </c:pt>
                <c:pt idx="11094">
                  <c:v>7.1568882657113422</c:v>
                </c:pt>
                <c:pt idx="11095">
                  <c:v>6.0046954358869238</c:v>
                </c:pt>
                <c:pt idx="11096">
                  <c:v>6.0959056032169121</c:v>
                </c:pt>
                <c:pt idx="11097">
                  <c:v>6.1506986452258925</c:v>
                </c:pt>
                <c:pt idx="11098">
                  <c:v>6.0016694023997266</c:v>
                </c:pt>
                <c:pt idx="11099">
                  <c:v>6.0444798846922483</c:v>
                </c:pt>
                <c:pt idx="11100">
                  <c:v>5.9423921405927498</c:v>
                </c:pt>
                <c:pt idx="11101">
                  <c:v>6.058687765333862</c:v>
                </c:pt>
                <c:pt idx="11102">
                  <c:v>6.1705790630748449</c:v>
                </c:pt>
                <c:pt idx="11103">
                  <c:v>6.1358548279600598</c:v>
                </c:pt>
                <c:pt idx="11104">
                  <c:v>5.8805079892220995</c:v>
                </c:pt>
                <c:pt idx="11105">
                  <c:v>6.0438623369477549</c:v>
                </c:pt>
                <c:pt idx="11106">
                  <c:v>5.880670968412165</c:v>
                </c:pt>
                <c:pt idx="11107">
                  <c:v>6.0134153392557481</c:v>
                </c:pt>
                <c:pt idx="11108">
                  <c:v>6.2519802089882743</c:v>
                </c:pt>
                <c:pt idx="11109">
                  <c:v>6.1369441793148551</c:v>
                </c:pt>
                <c:pt idx="11110">
                  <c:v>5.9297834548563202</c:v>
                </c:pt>
                <c:pt idx="11111">
                  <c:v>5.9905932928368815</c:v>
                </c:pt>
                <c:pt idx="11112">
                  <c:v>6.0582039852915059</c:v>
                </c:pt>
                <c:pt idx="11113">
                  <c:v>4.0851117410109499</c:v>
                </c:pt>
                <c:pt idx="11114">
                  <c:v>6.1190322981406489</c:v>
                </c:pt>
                <c:pt idx="11115">
                  <c:v>5.8103789934372667</c:v>
                </c:pt>
                <c:pt idx="11116">
                  <c:v>5.8894370388230577</c:v>
                </c:pt>
                <c:pt idx="11117">
                  <c:v>6.1008801749667994</c:v>
                </c:pt>
                <c:pt idx="11118">
                  <c:v>5.9700522875237976</c:v>
                </c:pt>
                <c:pt idx="11119">
                  <c:v>5.1399605698289728</c:v>
                </c:pt>
                <c:pt idx="11120">
                  <c:v>6.0250847401523151</c:v>
                </c:pt>
                <c:pt idx="11121">
                  <c:v>6.0766383969692397</c:v>
                </c:pt>
                <c:pt idx="11122">
                  <c:v>5.0937564367387367</c:v>
                </c:pt>
                <c:pt idx="11123">
                  <c:v>3.9248131211994473</c:v>
                </c:pt>
                <c:pt idx="11124">
                  <c:v>5.9357617038402486</c:v>
                </c:pt>
                <c:pt idx="11125">
                  <c:v>6.1627115224153926</c:v>
                </c:pt>
                <c:pt idx="11126">
                  <c:v>6.0806026410782499</c:v>
                </c:pt>
                <c:pt idx="11127">
                  <c:v>6.073905365544892</c:v>
                </c:pt>
                <c:pt idx="11128">
                  <c:v>5.0663337212722803</c:v>
                </c:pt>
                <c:pt idx="11129">
                  <c:v>5.9882138369100062</c:v>
                </c:pt>
                <c:pt idx="11130">
                  <c:v>6.0392941211558862</c:v>
                </c:pt>
                <c:pt idx="11131">
                  <c:v>6.9582472627432708</c:v>
                </c:pt>
                <c:pt idx="11132">
                  <c:v>6.9826008087131637</c:v>
                </c:pt>
                <c:pt idx="11133">
                  <c:v>6.2324841473118022</c:v>
                </c:pt>
                <c:pt idx="11134">
                  <c:v>5.9408962378866006</c:v>
                </c:pt>
                <c:pt idx="11135">
                  <c:v>6.0635665903695024</c:v>
                </c:pt>
                <c:pt idx="11136">
                  <c:v>6.9408243625404946</c:v>
                </c:pt>
                <c:pt idx="11137">
                  <c:v>6.0258558458307423</c:v>
                </c:pt>
                <c:pt idx="11138">
                  <c:v>1.8247528341917081</c:v>
                </c:pt>
                <c:pt idx="11139">
                  <c:v>2.0065941031787022</c:v>
                </c:pt>
                <c:pt idx="11140">
                  <c:v>6.0488690000426617</c:v>
                </c:pt>
                <c:pt idx="11141">
                  <c:v>1.897755836365451</c:v>
                </c:pt>
                <c:pt idx="11142">
                  <c:v>6.0846925134459271</c:v>
                </c:pt>
                <c:pt idx="11143">
                  <c:v>5.979802095878072</c:v>
                </c:pt>
                <c:pt idx="11144">
                  <c:v>5.9748740415616357</c:v>
                </c:pt>
                <c:pt idx="11145">
                  <c:v>5.9176444064964793</c:v>
                </c:pt>
                <c:pt idx="11146">
                  <c:v>6.0325951515336742</c:v>
                </c:pt>
                <c:pt idx="11147">
                  <c:v>5.8746829952560864</c:v>
                </c:pt>
                <c:pt idx="11148">
                  <c:v>6.2867535132379802</c:v>
                </c:pt>
                <c:pt idx="11149">
                  <c:v>6.0426905060754867</c:v>
                </c:pt>
                <c:pt idx="11150">
                  <c:v>5.9773730463430832</c:v>
                </c:pt>
                <c:pt idx="11151">
                  <c:v>5.9973797103363911</c:v>
                </c:pt>
                <c:pt idx="11152">
                  <c:v>5.95346989355492</c:v>
                </c:pt>
                <c:pt idx="11153">
                  <c:v>5.0310437499599159</c:v>
                </c:pt>
                <c:pt idx="11154">
                  <c:v>5.9432066958368761</c:v>
                </c:pt>
                <c:pt idx="11155">
                  <c:v>7.0229751048044431</c:v>
                </c:pt>
                <c:pt idx="11156">
                  <c:v>5.9869420151811781</c:v>
                </c:pt>
                <c:pt idx="11157">
                  <c:v>6.0535696406992248</c:v>
                </c:pt>
                <c:pt idx="11158">
                  <c:v>5.967825755512175</c:v>
                </c:pt>
                <c:pt idx="11159">
                  <c:v>5.9254979160878962</c:v>
                </c:pt>
                <c:pt idx="11160">
                  <c:v>4.9356012264057201</c:v>
                </c:pt>
                <c:pt idx="11161">
                  <c:v>4.8665565470430119</c:v>
                </c:pt>
                <c:pt idx="11162">
                  <c:v>6.0125073805477811</c:v>
                </c:pt>
                <c:pt idx="11163">
                  <c:v>4.9586263776176152</c:v>
                </c:pt>
                <c:pt idx="11164">
                  <c:v>6.0750828394978145</c:v>
                </c:pt>
                <c:pt idx="11165">
                  <c:v>5.8544647690106002</c:v>
                </c:pt>
                <c:pt idx="11166">
                  <c:v>5.0949828797038359</c:v>
                </c:pt>
                <c:pt idx="11167">
                  <c:v>5.8564756272642722</c:v>
                </c:pt>
                <c:pt idx="11168">
                  <c:v>6.9436191195629835</c:v>
                </c:pt>
                <c:pt idx="11169">
                  <c:v>5.8516846862828791</c:v>
                </c:pt>
                <c:pt idx="11170">
                  <c:v>5.8781760403432779</c:v>
                </c:pt>
                <c:pt idx="11171">
                  <c:v>6.0870410540308626</c:v>
                </c:pt>
                <c:pt idx="11172">
                  <c:v>6.2695637526182386</c:v>
                </c:pt>
                <c:pt idx="11173">
                  <c:v>6.2202258158513795</c:v>
                </c:pt>
                <c:pt idx="11174">
                  <c:v>6.0374835394667086</c:v>
                </c:pt>
                <c:pt idx="11175">
                  <c:v>5.85239938281783</c:v>
                </c:pt>
                <c:pt idx="11176">
                  <c:v>6.9454203728767938</c:v>
                </c:pt>
                <c:pt idx="11177">
                  <c:v>5.8608830692446201</c:v>
                </c:pt>
                <c:pt idx="11178">
                  <c:v>4.8722189594372116</c:v>
                </c:pt>
                <c:pt idx="11179">
                  <c:v>5.9918605223436741</c:v>
                </c:pt>
                <c:pt idx="11180">
                  <c:v>6.0173555856243954</c:v>
                </c:pt>
                <c:pt idx="11181">
                  <c:v>5.8554686681630548</c:v>
                </c:pt>
                <c:pt idx="11182">
                  <c:v>6.0261553117905438</c:v>
                </c:pt>
                <c:pt idx="11183">
                  <c:v>6.0899492981110201</c:v>
                </c:pt>
                <c:pt idx="11184">
                  <c:v>5.9986873561139999</c:v>
                </c:pt>
                <c:pt idx="11185">
                  <c:v>6.0454659640446646</c:v>
                </c:pt>
                <c:pt idx="11186">
                  <c:v>6.0775985832940025</c:v>
                </c:pt>
                <c:pt idx="11187">
                  <c:v>5.9169276553820662</c:v>
                </c:pt>
                <c:pt idx="11188">
                  <c:v>3.1965787535498125</c:v>
                </c:pt>
                <c:pt idx="11189">
                  <c:v>5.8592096721351856</c:v>
                </c:pt>
                <c:pt idx="11190">
                  <c:v>5.8983500432377625</c:v>
                </c:pt>
                <c:pt idx="11191">
                  <c:v>5.8580076212887118</c:v>
                </c:pt>
                <c:pt idx="11192">
                  <c:v>5.1191946003098563</c:v>
                </c:pt>
                <c:pt idx="11193">
                  <c:v>6.2328934988232065</c:v>
                </c:pt>
                <c:pt idx="11194">
                  <c:v>5.9625353361522375</c:v>
                </c:pt>
                <c:pt idx="11195">
                  <c:v>5.9509274603747233</c:v>
                </c:pt>
                <c:pt idx="11196">
                  <c:v>5.9949537933449291</c:v>
                </c:pt>
                <c:pt idx="11197">
                  <c:v>6.0459110878263704</c:v>
                </c:pt>
                <c:pt idx="11198">
                  <c:v>5.7903273600484395</c:v>
                </c:pt>
                <c:pt idx="11199">
                  <c:v>6.0234079850104179</c:v>
                </c:pt>
                <c:pt idx="11200">
                  <c:v>5.931037031608982</c:v>
                </c:pt>
                <c:pt idx="11201">
                  <c:v>5.9676379439787475</c:v>
                </c:pt>
                <c:pt idx="11202">
                  <c:v>6.222943591290111</c:v>
                </c:pt>
                <c:pt idx="11203">
                  <c:v>6.0322524279157728</c:v>
                </c:pt>
                <c:pt idx="11204">
                  <c:v>6.1327447403806135</c:v>
                </c:pt>
                <c:pt idx="11205">
                  <c:v>5.9767163441508702</c:v>
                </c:pt>
                <c:pt idx="11206">
                  <c:v>7.0169109623175414</c:v>
                </c:pt>
                <c:pt idx="11207">
                  <c:v>6.1250489856410395</c:v>
                </c:pt>
                <c:pt idx="11208">
                  <c:v>6.1288461319074035</c:v>
                </c:pt>
                <c:pt idx="11209">
                  <c:v>5.0341787941537683</c:v>
                </c:pt>
                <c:pt idx="11210">
                  <c:v>5.0279428342164403</c:v>
                </c:pt>
                <c:pt idx="11211">
                  <c:v>5.1363926632843677</c:v>
                </c:pt>
                <c:pt idx="11212">
                  <c:v>4.9836270454407572</c:v>
                </c:pt>
                <c:pt idx="11213">
                  <c:v>3.9356400033138574</c:v>
                </c:pt>
                <c:pt idx="11214">
                  <c:v>3.8727526330003634</c:v>
                </c:pt>
                <c:pt idx="11215">
                  <c:v>6.2082531715766658</c:v>
                </c:pt>
                <c:pt idx="11216">
                  <c:v>6.1352763724819139</c:v>
                </c:pt>
                <c:pt idx="11217">
                  <c:v>6.0347449144651382</c:v>
                </c:pt>
                <c:pt idx="11218">
                  <c:v>3.8534934010443673</c:v>
                </c:pt>
                <c:pt idx="11219">
                  <c:v>3.883101788286099</c:v>
                </c:pt>
                <c:pt idx="11220">
                  <c:v>4.1019260112272322</c:v>
                </c:pt>
                <c:pt idx="11221">
                  <c:v>6.00882170073357</c:v>
                </c:pt>
                <c:pt idx="11222">
                  <c:v>5.9688081158291242</c:v>
                </c:pt>
                <c:pt idx="11223">
                  <c:v>4.9799006543744273</c:v>
                </c:pt>
                <c:pt idx="11224">
                  <c:v>6.0178067468526848</c:v>
                </c:pt>
                <c:pt idx="11225">
                  <c:v>5.9916662090750501</c:v>
                </c:pt>
                <c:pt idx="11226">
                  <c:v>6.0094088695981061</c:v>
                </c:pt>
                <c:pt idx="11227">
                  <c:v>6.0389426155992574</c:v>
                </c:pt>
                <c:pt idx="11228">
                  <c:v>5.9868942136299177</c:v>
                </c:pt>
                <c:pt idx="11229">
                  <c:v>3.8580857035667533</c:v>
                </c:pt>
                <c:pt idx="11230">
                  <c:v>4.0006430429597808</c:v>
                </c:pt>
                <c:pt idx="11231">
                  <c:v>4.0026573522947064</c:v>
                </c:pt>
                <c:pt idx="11232">
                  <c:v>3.9887648554752646</c:v>
                </c:pt>
                <c:pt idx="11233">
                  <c:v>3.8925763804134448</c:v>
                </c:pt>
                <c:pt idx="11234">
                  <c:v>6.0108199747400386</c:v>
                </c:pt>
                <c:pt idx="11235">
                  <c:v>6.1688766388338099</c:v>
                </c:pt>
                <c:pt idx="11236">
                  <c:v>2.0375824134319735</c:v>
                </c:pt>
                <c:pt idx="11237">
                  <c:v>5.0609443627037027</c:v>
                </c:pt>
                <c:pt idx="11238">
                  <c:v>5.0775050080428139</c:v>
                </c:pt>
                <c:pt idx="11239">
                  <c:v>6.0324057881407347</c:v>
                </c:pt>
                <c:pt idx="11240">
                  <c:v>5.9279859585123038</c:v>
                </c:pt>
                <c:pt idx="11241">
                  <c:v>5.9233650757420113</c:v>
                </c:pt>
                <c:pt idx="11242">
                  <c:v>5.1089470933378029</c:v>
                </c:pt>
                <c:pt idx="11243">
                  <c:v>5.1423929827647097</c:v>
                </c:pt>
                <c:pt idx="11244">
                  <c:v>5.9235264552887097</c:v>
                </c:pt>
                <c:pt idx="11245">
                  <c:v>6.13231627906202</c:v>
                </c:pt>
                <c:pt idx="11246">
                  <c:v>5.9207363570648219</c:v>
                </c:pt>
                <c:pt idx="11247">
                  <c:v>6.8540074753443632</c:v>
                </c:pt>
                <c:pt idx="11248">
                  <c:v>5.9081949898126886</c:v>
                </c:pt>
                <c:pt idx="11249">
                  <c:v>5.09281754164991</c:v>
                </c:pt>
                <c:pt idx="11250">
                  <c:v>4.9894777122237954</c:v>
                </c:pt>
                <c:pt idx="11251">
                  <c:v>6.0270135475783135</c:v>
                </c:pt>
                <c:pt idx="11252">
                  <c:v>4.9297638180803949</c:v>
                </c:pt>
                <c:pt idx="11253">
                  <c:v>6.0163615908002317</c:v>
                </c:pt>
                <c:pt idx="11254">
                  <c:v>5.0713557909543647</c:v>
                </c:pt>
                <c:pt idx="11255">
                  <c:v>5.9364264983664583</c:v>
                </c:pt>
                <c:pt idx="11256">
                  <c:v>6.0068321403309826</c:v>
                </c:pt>
                <c:pt idx="11257">
                  <c:v>6.0153232298018358</c:v>
                </c:pt>
                <c:pt idx="11258">
                  <c:v>4.9612789862749951</c:v>
                </c:pt>
                <c:pt idx="11259">
                  <c:v>6.0248399411210247</c:v>
                </c:pt>
                <c:pt idx="11260">
                  <c:v>6.0138837653716948</c:v>
                </c:pt>
                <c:pt idx="11261">
                  <c:v>6.0410206460391578</c:v>
                </c:pt>
                <c:pt idx="11262">
                  <c:v>4.9104555691165404</c:v>
                </c:pt>
                <c:pt idx="11263">
                  <c:v>7.108884191419147</c:v>
                </c:pt>
                <c:pt idx="11264">
                  <c:v>5.8384128713165975</c:v>
                </c:pt>
                <c:pt idx="11265">
                  <c:v>4.9471659967916102</c:v>
                </c:pt>
                <c:pt idx="11266">
                  <c:v>5.9907807180979313</c:v>
                </c:pt>
                <c:pt idx="11267">
                  <c:v>4.8330222078268585</c:v>
                </c:pt>
                <c:pt idx="11268">
                  <c:v>5.9038585937272412</c:v>
                </c:pt>
                <c:pt idx="11269">
                  <c:v>5.9360741177339333</c:v>
                </c:pt>
                <c:pt idx="11270">
                  <c:v>6.1325806459039445</c:v>
                </c:pt>
                <c:pt idx="11271">
                  <c:v>5.8385611144080194</c:v>
                </c:pt>
                <c:pt idx="11272">
                  <c:v>5.9575576606921228</c:v>
                </c:pt>
                <c:pt idx="11273">
                  <c:v>5.0162444794377361</c:v>
                </c:pt>
                <c:pt idx="11274">
                  <c:v>5.0674212754148815</c:v>
                </c:pt>
                <c:pt idx="11275">
                  <c:v>5.0662891966861086</c:v>
                </c:pt>
                <c:pt idx="11276">
                  <c:v>4.8572613659248676</c:v>
                </c:pt>
                <c:pt idx="11277">
                  <c:v>6.0609011389087897</c:v>
                </c:pt>
                <c:pt idx="11278">
                  <c:v>4.8161206365992317</c:v>
                </c:pt>
                <c:pt idx="11279">
                  <c:v>5.7781277982619832</c:v>
                </c:pt>
                <c:pt idx="11280">
                  <c:v>6.0033071318896996</c:v>
                </c:pt>
                <c:pt idx="11281">
                  <c:v>6.1186607962474433</c:v>
                </c:pt>
                <c:pt idx="11282">
                  <c:v>5.9573837001886778</c:v>
                </c:pt>
                <c:pt idx="11283">
                  <c:v>6.0276270385645354</c:v>
                </c:pt>
                <c:pt idx="11284">
                  <c:v>6.0337131994912019</c:v>
                </c:pt>
                <c:pt idx="11285">
                  <c:v>6.0967316821726376</c:v>
                </c:pt>
                <c:pt idx="11286">
                  <c:v>4.8646265739298657</c:v>
                </c:pt>
                <c:pt idx="11287">
                  <c:v>5.1881041327507429</c:v>
                </c:pt>
                <c:pt idx="11288">
                  <c:v>5.1424424778771609</c:v>
                </c:pt>
                <c:pt idx="11289">
                  <c:v>5.9656457783207761</c:v>
                </c:pt>
                <c:pt idx="11290">
                  <c:v>4.7971288715426503</c:v>
                </c:pt>
                <c:pt idx="11291">
                  <c:v>6.0334229548921172</c:v>
                </c:pt>
                <c:pt idx="11292">
                  <c:v>6.0517016685062393</c:v>
                </c:pt>
                <c:pt idx="11293">
                  <c:v>5.9807727426684529</c:v>
                </c:pt>
                <c:pt idx="11294">
                  <c:v>5.0863721240743942</c:v>
                </c:pt>
                <c:pt idx="11295">
                  <c:v>5.9521234139243768</c:v>
                </c:pt>
                <c:pt idx="11296">
                  <c:v>6.2191274855971495</c:v>
                </c:pt>
                <c:pt idx="11297">
                  <c:v>6.004853503288933</c:v>
                </c:pt>
                <c:pt idx="11298">
                  <c:v>6.0783860133156749</c:v>
                </c:pt>
                <c:pt idx="11299">
                  <c:v>6.0151206950381733</c:v>
                </c:pt>
                <c:pt idx="11300">
                  <c:v>5.8771753823361923</c:v>
                </c:pt>
                <c:pt idx="11301">
                  <c:v>5.9290741288728119</c:v>
                </c:pt>
                <c:pt idx="11302">
                  <c:v>6.0026462735721182</c:v>
                </c:pt>
                <c:pt idx="11303">
                  <c:v>5.961697027718099</c:v>
                </c:pt>
                <c:pt idx="11304">
                  <c:v>5.008719660948028</c:v>
                </c:pt>
                <c:pt idx="11305">
                  <c:v>5.0107429139534609</c:v>
                </c:pt>
                <c:pt idx="11306">
                  <c:v>5.8952368612422097</c:v>
                </c:pt>
                <c:pt idx="11307">
                  <c:v>4.8649378453050893</c:v>
                </c:pt>
                <c:pt idx="11308">
                  <c:v>5.2267341074732236</c:v>
                </c:pt>
                <c:pt idx="11309">
                  <c:v>4.9760056777301145</c:v>
                </c:pt>
                <c:pt idx="11310">
                  <c:v>5.1330339593868226</c:v>
                </c:pt>
                <c:pt idx="11311">
                  <c:v>5.8021395231295854</c:v>
                </c:pt>
                <c:pt idx="11312">
                  <c:v>5.9189552962361782</c:v>
                </c:pt>
                <c:pt idx="11313">
                  <c:v>5.9416668529187548</c:v>
                </c:pt>
                <c:pt idx="11314">
                  <c:v>4.9941912225523124</c:v>
                </c:pt>
                <c:pt idx="11315">
                  <c:v>4.9681747733462673</c:v>
                </c:pt>
                <c:pt idx="11316">
                  <c:v>6.0253406864444932</c:v>
                </c:pt>
                <c:pt idx="11317">
                  <c:v>5.8936281460963897</c:v>
                </c:pt>
                <c:pt idx="11318">
                  <c:v>5.7931529541285265</c:v>
                </c:pt>
                <c:pt idx="11319">
                  <c:v>5.0671365179603987</c:v>
                </c:pt>
                <c:pt idx="11320">
                  <c:v>4.9414967049650329</c:v>
                </c:pt>
                <c:pt idx="11321">
                  <c:v>5.0262875813813057</c:v>
                </c:pt>
                <c:pt idx="11322">
                  <c:v>4.9866531318582457</c:v>
                </c:pt>
                <c:pt idx="11323">
                  <c:v>6.1053682958239026</c:v>
                </c:pt>
                <c:pt idx="11324">
                  <c:v>5.8179070418145731</c:v>
                </c:pt>
                <c:pt idx="11325">
                  <c:v>6.0947276630156217</c:v>
                </c:pt>
                <c:pt idx="11326">
                  <c:v>5.1363252007178399</c:v>
                </c:pt>
                <c:pt idx="11327">
                  <c:v>4.9682763596492512</c:v>
                </c:pt>
                <c:pt idx="11328">
                  <c:v>5.0471280062908015</c:v>
                </c:pt>
                <c:pt idx="11329">
                  <c:v>6.0315759703822431</c:v>
                </c:pt>
                <c:pt idx="11330">
                  <c:v>5.8926273169250116</c:v>
                </c:pt>
                <c:pt idx="11331">
                  <c:v>5.9772271971175321</c:v>
                </c:pt>
                <c:pt idx="11332">
                  <c:v>5.0917250684261903</c:v>
                </c:pt>
                <c:pt idx="11333">
                  <c:v>5.0077773920559991</c:v>
                </c:pt>
                <c:pt idx="11334">
                  <c:v>6.1061949390772012</c:v>
                </c:pt>
                <c:pt idx="11335">
                  <c:v>4.9755112495880223</c:v>
                </c:pt>
                <c:pt idx="11336">
                  <c:v>5.979652224453865</c:v>
                </c:pt>
                <c:pt idx="11337">
                  <c:v>2.85179803421281</c:v>
                </c:pt>
                <c:pt idx="11338">
                  <c:v>4.8984522458386888</c:v>
                </c:pt>
                <c:pt idx="11339">
                  <c:v>6.0610034717507384</c:v>
                </c:pt>
                <c:pt idx="11340">
                  <c:v>5.0201921776637484</c:v>
                </c:pt>
                <c:pt idx="11341">
                  <c:v>5.8505119488147246</c:v>
                </c:pt>
                <c:pt idx="11342">
                  <c:v>5.7940135438558382</c:v>
                </c:pt>
                <c:pt idx="11343">
                  <c:v>4.8993286992579836</c:v>
                </c:pt>
                <c:pt idx="11344">
                  <c:v>4.9665225010104992</c:v>
                </c:pt>
                <c:pt idx="11345">
                  <c:v>6.0906612626158028</c:v>
                </c:pt>
                <c:pt idx="11346">
                  <c:v>6.1690883361250863</c:v>
                </c:pt>
                <c:pt idx="11347">
                  <c:v>5.9033160669335984</c:v>
                </c:pt>
                <c:pt idx="11348">
                  <c:v>4.8689137872865569</c:v>
                </c:pt>
                <c:pt idx="11349">
                  <c:v>5.0918555614001191</c:v>
                </c:pt>
                <c:pt idx="11350">
                  <c:v>5.9912073556886325</c:v>
                </c:pt>
                <c:pt idx="11351">
                  <c:v>5.8295808978585431</c:v>
                </c:pt>
                <c:pt idx="11352">
                  <c:v>6.1146854320173389</c:v>
                </c:pt>
                <c:pt idx="11353">
                  <c:v>6.2277765737102015</c:v>
                </c:pt>
                <c:pt idx="11354">
                  <c:v>6.0449001478406856</c:v>
                </c:pt>
                <c:pt idx="11355">
                  <c:v>4.9850006017294239</c:v>
                </c:pt>
                <c:pt idx="11356">
                  <c:v>5.915587452957257</c:v>
                </c:pt>
                <c:pt idx="11357">
                  <c:v>5.0457567332550326</c:v>
                </c:pt>
                <c:pt idx="11358">
                  <c:v>6.1382431383586002</c:v>
                </c:pt>
                <c:pt idx="11359">
                  <c:v>6.0259662541290293</c:v>
                </c:pt>
                <c:pt idx="11360">
                  <c:v>6.1788637775147421</c:v>
                </c:pt>
                <c:pt idx="11361">
                  <c:v>3.9849819246345208</c:v>
                </c:pt>
                <c:pt idx="11362">
                  <c:v>4.0566634509001052</c:v>
                </c:pt>
                <c:pt idx="11363">
                  <c:v>4.9780747577794973</c:v>
                </c:pt>
                <c:pt idx="11364">
                  <c:v>5.8404271311878091</c:v>
                </c:pt>
                <c:pt idx="11365">
                  <c:v>6.0142255434640273</c:v>
                </c:pt>
                <c:pt idx="11366">
                  <c:v>6.1037990509460673</c:v>
                </c:pt>
                <c:pt idx="11367">
                  <c:v>5.1349878151088264</c:v>
                </c:pt>
                <c:pt idx="11368">
                  <c:v>6.0495857111385352</c:v>
                </c:pt>
                <c:pt idx="11369">
                  <c:v>6.0813537229103751</c:v>
                </c:pt>
                <c:pt idx="11370">
                  <c:v>6.0448069233767594</c:v>
                </c:pt>
                <c:pt idx="11371">
                  <c:v>6.0234391854941327</c:v>
                </c:pt>
                <c:pt idx="11372">
                  <c:v>4.8243250481615387</c:v>
                </c:pt>
                <c:pt idx="11373">
                  <c:v>5.0427691181696099</c:v>
                </c:pt>
                <c:pt idx="11374">
                  <c:v>5.9942093191773358</c:v>
                </c:pt>
                <c:pt idx="11375">
                  <c:v>6.0404423928649198</c:v>
                </c:pt>
                <c:pt idx="11376">
                  <c:v>5.8565913504114357</c:v>
                </c:pt>
                <c:pt idx="11377">
                  <c:v>6.0850442065905881</c:v>
                </c:pt>
                <c:pt idx="11378">
                  <c:v>5.7546833171635363</c:v>
                </c:pt>
                <c:pt idx="11379">
                  <c:v>6.9014195472276194</c:v>
                </c:pt>
                <c:pt idx="11380">
                  <c:v>5.1324029635427024</c:v>
                </c:pt>
                <c:pt idx="11381">
                  <c:v>6.9337104209365714</c:v>
                </c:pt>
                <c:pt idx="11382">
                  <c:v>5.7715715787923436</c:v>
                </c:pt>
                <c:pt idx="11383">
                  <c:v>6.0898920969382164</c:v>
                </c:pt>
                <c:pt idx="11384">
                  <c:v>5.8969566724229106</c:v>
                </c:pt>
                <c:pt idx="11385">
                  <c:v>5.7835374264981096</c:v>
                </c:pt>
                <c:pt idx="11386">
                  <c:v>6.9809473975315948</c:v>
                </c:pt>
                <c:pt idx="11387">
                  <c:v>6.0118867857363965</c:v>
                </c:pt>
                <c:pt idx="11388">
                  <c:v>7.0300569578226364</c:v>
                </c:pt>
                <c:pt idx="11389">
                  <c:v>7.1609822480270724</c:v>
                </c:pt>
                <c:pt idx="11390">
                  <c:v>6.1595782246967161</c:v>
                </c:pt>
                <c:pt idx="11391">
                  <c:v>5.9495210865104395</c:v>
                </c:pt>
                <c:pt idx="11392">
                  <c:v>4.862754410356616</c:v>
                </c:pt>
                <c:pt idx="11393">
                  <c:v>6.0866392360210551</c:v>
                </c:pt>
                <c:pt idx="11394">
                  <c:v>5.9956387534751316</c:v>
                </c:pt>
                <c:pt idx="11395">
                  <c:v>6.1929776947942647</c:v>
                </c:pt>
                <c:pt idx="11396">
                  <c:v>4.9601757406434261</c:v>
                </c:pt>
                <c:pt idx="11397">
                  <c:v>4.9215026394678958</c:v>
                </c:pt>
                <c:pt idx="11398">
                  <c:v>5.7550289128996166</c:v>
                </c:pt>
                <c:pt idx="11399">
                  <c:v>6.0568041675700668</c:v>
                </c:pt>
                <c:pt idx="11400">
                  <c:v>6.1542785838057839</c:v>
                </c:pt>
                <c:pt idx="11401">
                  <c:v>6.024072513822011</c:v>
                </c:pt>
                <c:pt idx="11402">
                  <c:v>5.1056471056355912</c:v>
                </c:pt>
                <c:pt idx="11403">
                  <c:v>5.8846132065346994</c:v>
                </c:pt>
                <c:pt idx="11404">
                  <c:v>6.0070042539284936</c:v>
                </c:pt>
                <c:pt idx="11405">
                  <c:v>6.0054666794517342</c:v>
                </c:pt>
                <c:pt idx="11406">
                  <c:v>5.036652471601081</c:v>
                </c:pt>
                <c:pt idx="11407">
                  <c:v>5.0575992125294604</c:v>
                </c:pt>
                <c:pt idx="11408">
                  <c:v>5.8808308752694636</c:v>
                </c:pt>
                <c:pt idx="11409">
                  <c:v>6.1062082445614116</c:v>
                </c:pt>
                <c:pt idx="11410">
                  <c:v>5.8291801395844853</c:v>
                </c:pt>
                <c:pt idx="11411">
                  <c:v>6.0246339036365102</c:v>
                </c:pt>
                <c:pt idx="11412">
                  <c:v>5.1137556780073341</c:v>
                </c:pt>
                <c:pt idx="11413">
                  <c:v>5.8460612194199593</c:v>
                </c:pt>
                <c:pt idx="11414">
                  <c:v>4.9864000605049128</c:v>
                </c:pt>
                <c:pt idx="11415">
                  <c:v>5.9643419861995639</c:v>
                </c:pt>
                <c:pt idx="11416">
                  <c:v>7.0485521729279954</c:v>
                </c:pt>
                <c:pt idx="11417">
                  <c:v>5.0618894132682</c:v>
                </c:pt>
                <c:pt idx="11418">
                  <c:v>6.1121622369719786</c:v>
                </c:pt>
                <c:pt idx="11419">
                  <c:v>5.9541570911462092</c:v>
                </c:pt>
                <c:pt idx="11420">
                  <c:v>5.9687931816030613</c:v>
                </c:pt>
                <c:pt idx="11421">
                  <c:v>6.0282191172608375</c:v>
                </c:pt>
                <c:pt idx="11422">
                  <c:v>6.1181376018041913</c:v>
                </c:pt>
                <c:pt idx="11423">
                  <c:v>5.0276177115732086</c:v>
                </c:pt>
                <c:pt idx="11424">
                  <c:v>7.1166395507755809</c:v>
                </c:pt>
                <c:pt idx="11425">
                  <c:v>5.954834887937583</c:v>
                </c:pt>
                <c:pt idx="11426">
                  <c:v>6.2386799338909631</c:v>
                </c:pt>
                <c:pt idx="11427">
                  <c:v>5.0022273852146002</c:v>
                </c:pt>
                <c:pt idx="11428">
                  <c:v>7.0364433507777058</c:v>
                </c:pt>
                <c:pt idx="11429">
                  <c:v>5.8672252692074203</c:v>
                </c:pt>
                <c:pt idx="11430">
                  <c:v>5.7510997237962584</c:v>
                </c:pt>
                <c:pt idx="11431">
                  <c:v>5.0903674194199242</c:v>
                </c:pt>
                <c:pt idx="11432">
                  <c:v>6.9557531082725443</c:v>
                </c:pt>
                <c:pt idx="11433">
                  <c:v>6.8199208317325821</c:v>
                </c:pt>
                <c:pt idx="11434">
                  <c:v>5.940961033154359</c:v>
                </c:pt>
                <c:pt idx="11435">
                  <c:v>7.2162224045766816</c:v>
                </c:pt>
                <c:pt idx="11436">
                  <c:v>7.0104314543823492</c:v>
                </c:pt>
                <c:pt idx="11437">
                  <c:v>5.0098021720874462</c:v>
                </c:pt>
                <c:pt idx="11438">
                  <c:v>5.9056875508225382</c:v>
                </c:pt>
                <c:pt idx="11439">
                  <c:v>5.8584410366061199</c:v>
                </c:pt>
                <c:pt idx="11440">
                  <c:v>5.9031425331936891</c:v>
                </c:pt>
                <c:pt idx="11441">
                  <c:v>5.9645005897390186</c:v>
                </c:pt>
                <c:pt idx="11442">
                  <c:v>5.9211840745291742</c:v>
                </c:pt>
                <c:pt idx="11443">
                  <c:v>5.8938443372735865</c:v>
                </c:pt>
                <c:pt idx="11444">
                  <c:v>5.0871222300186965</c:v>
                </c:pt>
                <c:pt idx="11445">
                  <c:v>6.081471970536672</c:v>
                </c:pt>
                <c:pt idx="11446">
                  <c:v>6.0480796175381837</c:v>
                </c:pt>
                <c:pt idx="11447">
                  <c:v>5.0824710779731594</c:v>
                </c:pt>
                <c:pt idx="11448">
                  <c:v>5.8155546264448992</c:v>
                </c:pt>
                <c:pt idx="11449">
                  <c:v>5.9554660080270683</c:v>
                </c:pt>
                <c:pt idx="11450">
                  <c:v>5.8632378750005154</c:v>
                </c:pt>
                <c:pt idx="11451">
                  <c:v>6.1085342506797957</c:v>
                </c:pt>
                <c:pt idx="11452">
                  <c:v>5.0049822425977002</c:v>
                </c:pt>
                <c:pt idx="11453">
                  <c:v>6.1083438660830129</c:v>
                </c:pt>
                <c:pt idx="11454">
                  <c:v>5.0395263797784215</c:v>
                </c:pt>
                <c:pt idx="11455">
                  <c:v>4.9713648696071964</c:v>
                </c:pt>
                <c:pt idx="11456">
                  <c:v>5.010771743962664</c:v>
                </c:pt>
                <c:pt idx="11457">
                  <c:v>5.8437609057331841</c:v>
                </c:pt>
                <c:pt idx="11458">
                  <c:v>3.8865077689159628</c:v>
                </c:pt>
                <c:pt idx="11459">
                  <c:v>3.9821982049454352</c:v>
                </c:pt>
                <c:pt idx="11460">
                  <c:v>5.9522427362332744</c:v>
                </c:pt>
                <c:pt idx="11461">
                  <c:v>6.7544310473430533</c:v>
                </c:pt>
                <c:pt idx="11462">
                  <c:v>6.8807851618339111</c:v>
                </c:pt>
                <c:pt idx="11463">
                  <c:v>6.9841653228196732</c:v>
                </c:pt>
                <c:pt idx="11464">
                  <c:v>6.0397795282492863</c:v>
                </c:pt>
                <c:pt idx="11465">
                  <c:v>5.8505572272123159</c:v>
                </c:pt>
                <c:pt idx="11466">
                  <c:v>6.0103071240481549</c:v>
                </c:pt>
                <c:pt idx="11467">
                  <c:v>6.0484968142871187</c:v>
                </c:pt>
                <c:pt idx="11468">
                  <c:v>4.9716868612648577</c:v>
                </c:pt>
                <c:pt idx="11469">
                  <c:v>5.1710274153451836</c:v>
                </c:pt>
                <c:pt idx="11470">
                  <c:v>5.88153399605239</c:v>
                </c:pt>
                <c:pt idx="11471">
                  <c:v>6.0422626770568391</c:v>
                </c:pt>
                <c:pt idx="11472">
                  <c:v>4.942307348809301</c:v>
                </c:pt>
                <c:pt idx="11473">
                  <c:v>5.9689822752993287</c:v>
                </c:pt>
                <c:pt idx="11474">
                  <c:v>4.0961652663540802</c:v>
                </c:pt>
                <c:pt idx="11475">
                  <c:v>5.9823678234371203</c:v>
                </c:pt>
                <c:pt idx="11476">
                  <c:v>5.0877351527750045</c:v>
                </c:pt>
                <c:pt idx="11477">
                  <c:v>5.9743415804383471</c:v>
                </c:pt>
                <c:pt idx="11478">
                  <c:v>5.7766832399895272</c:v>
                </c:pt>
                <c:pt idx="11479">
                  <c:v>4.9715614820466776</c:v>
                </c:pt>
                <c:pt idx="11480">
                  <c:v>6.9159454451422189</c:v>
                </c:pt>
                <c:pt idx="11481">
                  <c:v>4.903965990803794</c:v>
                </c:pt>
                <c:pt idx="11482">
                  <c:v>5.8368733981787431</c:v>
                </c:pt>
                <c:pt idx="11483">
                  <c:v>4.9469785464837095</c:v>
                </c:pt>
                <c:pt idx="11484">
                  <c:v>5.1611255610512012</c:v>
                </c:pt>
                <c:pt idx="11485">
                  <c:v>6.0979382751205105</c:v>
                </c:pt>
                <c:pt idx="11486">
                  <c:v>6.0982083164683747</c:v>
                </c:pt>
                <c:pt idx="11487">
                  <c:v>5.1186812313758958</c:v>
                </c:pt>
                <c:pt idx="11488">
                  <c:v>4.9775514791276754</c:v>
                </c:pt>
                <c:pt idx="11489">
                  <c:v>5.9714148296756084</c:v>
                </c:pt>
                <c:pt idx="11490">
                  <c:v>6.0618707532095311</c:v>
                </c:pt>
                <c:pt idx="11491">
                  <c:v>6.0919092980391794</c:v>
                </c:pt>
                <c:pt idx="11492">
                  <c:v>6.0193590945963038</c:v>
                </c:pt>
                <c:pt idx="11493">
                  <c:v>5.921766038555746</c:v>
                </c:pt>
                <c:pt idx="11494">
                  <c:v>5.987524462433135</c:v>
                </c:pt>
                <c:pt idx="11495">
                  <c:v>5.8832821103273503</c:v>
                </c:pt>
                <c:pt idx="11496">
                  <c:v>5.8428313196912107</c:v>
                </c:pt>
                <c:pt idx="11497">
                  <c:v>6.0020817798302879</c:v>
                </c:pt>
                <c:pt idx="11498">
                  <c:v>5.0024090118100268</c:v>
                </c:pt>
                <c:pt idx="11499">
                  <c:v>5.9139638411496804</c:v>
                </c:pt>
                <c:pt idx="11500">
                  <c:v>7.0450348435591117</c:v>
                </c:pt>
                <c:pt idx="11501">
                  <c:v>5.8164065305261632</c:v>
                </c:pt>
                <c:pt idx="11502">
                  <c:v>6.837134050232045</c:v>
                </c:pt>
                <c:pt idx="11503">
                  <c:v>6.0770158361078295</c:v>
                </c:pt>
                <c:pt idx="11504">
                  <c:v>4.8884400699774302</c:v>
                </c:pt>
                <c:pt idx="11505">
                  <c:v>5.9034172458415659</c:v>
                </c:pt>
                <c:pt idx="11506">
                  <c:v>4.907967367838034</c:v>
                </c:pt>
                <c:pt idx="11507">
                  <c:v>5.9032611925079079</c:v>
                </c:pt>
                <c:pt idx="11508">
                  <c:v>6.0283326453340802</c:v>
                </c:pt>
                <c:pt idx="11509">
                  <c:v>5.9665957616617531</c:v>
                </c:pt>
                <c:pt idx="11510">
                  <c:v>5.8360512629653032</c:v>
                </c:pt>
                <c:pt idx="11511">
                  <c:v>4.0551179615859629</c:v>
                </c:pt>
                <c:pt idx="11512">
                  <c:v>4.079556135186114</c:v>
                </c:pt>
                <c:pt idx="11513">
                  <c:v>5.1626137199463145</c:v>
                </c:pt>
                <c:pt idx="11514">
                  <c:v>5.9910011534032206</c:v>
                </c:pt>
                <c:pt idx="11515">
                  <c:v>5.1771000709585238</c:v>
                </c:pt>
                <c:pt idx="11516">
                  <c:v>6.0753505994591732</c:v>
                </c:pt>
                <c:pt idx="11517">
                  <c:v>4.9254909011807539</c:v>
                </c:pt>
                <c:pt idx="11518">
                  <c:v>6.1235055021924216</c:v>
                </c:pt>
                <c:pt idx="11519">
                  <c:v>6.1148654545722954</c:v>
                </c:pt>
                <c:pt idx="11520">
                  <c:v>5.9800604687100609</c:v>
                </c:pt>
                <c:pt idx="11521">
                  <c:v>5.0625568972295252</c:v>
                </c:pt>
                <c:pt idx="11522">
                  <c:v>5.0875857485413762</c:v>
                </c:pt>
                <c:pt idx="11523">
                  <c:v>5.9636362830360827</c:v>
                </c:pt>
                <c:pt idx="11524">
                  <c:v>5.9030348167345847</c:v>
                </c:pt>
                <c:pt idx="11525">
                  <c:v>6.0927203586265701</c:v>
                </c:pt>
                <c:pt idx="11526">
                  <c:v>5.9084569461267735</c:v>
                </c:pt>
                <c:pt idx="11527">
                  <c:v>5.0179915411218667</c:v>
                </c:pt>
                <c:pt idx="11528">
                  <c:v>4.8803949912643105</c:v>
                </c:pt>
                <c:pt idx="11529">
                  <c:v>5.9508678867749234</c:v>
                </c:pt>
                <c:pt idx="11530">
                  <c:v>4.9398054700682339</c:v>
                </c:pt>
                <c:pt idx="11531">
                  <c:v>6.19098811676424</c:v>
                </c:pt>
                <c:pt idx="11532">
                  <c:v>6.0121087411503433</c:v>
                </c:pt>
                <c:pt idx="11533">
                  <c:v>5.9338217457659663</c:v>
                </c:pt>
                <c:pt idx="11534">
                  <c:v>6.1099848320759778</c:v>
                </c:pt>
                <c:pt idx="11535">
                  <c:v>6.1457296238074717</c:v>
                </c:pt>
                <c:pt idx="11536">
                  <c:v>5.8466429391234822</c:v>
                </c:pt>
                <c:pt idx="11537">
                  <c:v>5.8742946187325611</c:v>
                </c:pt>
                <c:pt idx="11538">
                  <c:v>8.0671490381665212</c:v>
                </c:pt>
                <c:pt idx="11539">
                  <c:v>6.2368120651856618</c:v>
                </c:pt>
                <c:pt idx="11540">
                  <c:v>6.0024994402253595</c:v>
                </c:pt>
                <c:pt idx="11541">
                  <c:v>6.099361554944581</c:v>
                </c:pt>
                <c:pt idx="11542">
                  <c:v>6.0234575069366478</c:v>
                </c:pt>
                <c:pt idx="11543">
                  <c:v>6.1148799124800099</c:v>
                </c:pt>
                <c:pt idx="11544">
                  <c:v>5.9096101415297531</c:v>
                </c:pt>
                <c:pt idx="11545">
                  <c:v>5.0338761527177489</c:v>
                </c:pt>
                <c:pt idx="11546">
                  <c:v>5.1427598099884948</c:v>
                </c:pt>
                <c:pt idx="11547">
                  <c:v>5.9277713037250104</c:v>
                </c:pt>
                <c:pt idx="11548">
                  <c:v>6.1494391212189203</c:v>
                </c:pt>
                <c:pt idx="11549">
                  <c:v>7.1025231015718973</c:v>
                </c:pt>
                <c:pt idx="11550">
                  <c:v>6.1380291879897735</c:v>
                </c:pt>
                <c:pt idx="11551">
                  <c:v>5.9680937116729416</c:v>
                </c:pt>
                <c:pt idx="11552">
                  <c:v>5.9699899200498159</c:v>
                </c:pt>
                <c:pt idx="11553">
                  <c:v>7.0341170516461355</c:v>
                </c:pt>
                <c:pt idx="11554">
                  <c:v>4.9950314577155295</c:v>
                </c:pt>
                <c:pt idx="11555">
                  <c:v>6.9263637467098276</c:v>
                </c:pt>
                <c:pt idx="11556">
                  <c:v>4.8739156136099062</c:v>
                </c:pt>
                <c:pt idx="11557">
                  <c:v>7.0012082534932274</c:v>
                </c:pt>
                <c:pt idx="11558">
                  <c:v>6.91656437770515</c:v>
                </c:pt>
                <c:pt idx="11559">
                  <c:v>6.9333788585170826</c:v>
                </c:pt>
                <c:pt idx="11560">
                  <c:v>7.0615502123854768</c:v>
                </c:pt>
                <c:pt idx="11561">
                  <c:v>6.8606770403212884</c:v>
                </c:pt>
                <c:pt idx="11562">
                  <c:v>5.9550840568579568</c:v>
                </c:pt>
                <c:pt idx="11563">
                  <c:v>4.9705194906820145</c:v>
                </c:pt>
                <c:pt idx="11564">
                  <c:v>5.971629171657538</c:v>
                </c:pt>
                <c:pt idx="11565">
                  <c:v>4.8336488087836189</c:v>
                </c:pt>
                <c:pt idx="11566">
                  <c:v>6.2438331760521528</c:v>
                </c:pt>
                <c:pt idx="11567">
                  <c:v>6.0226480626421113</c:v>
                </c:pt>
                <c:pt idx="11568">
                  <c:v>4.871932862736128</c:v>
                </c:pt>
                <c:pt idx="11569">
                  <c:v>5.0049181335023851</c:v>
                </c:pt>
                <c:pt idx="11570">
                  <c:v>5.9938868961564022</c:v>
                </c:pt>
                <c:pt idx="11571">
                  <c:v>6.0313483334258491</c:v>
                </c:pt>
                <c:pt idx="11572">
                  <c:v>5.9290036160229347</c:v>
                </c:pt>
                <c:pt idx="11573">
                  <c:v>5.9708003314469025</c:v>
                </c:pt>
                <c:pt idx="11574">
                  <c:v>5.8425845417899742</c:v>
                </c:pt>
                <c:pt idx="11575">
                  <c:v>5.9769244397609969</c:v>
                </c:pt>
                <c:pt idx="11576">
                  <c:v>6.0526317648870958</c:v>
                </c:pt>
                <c:pt idx="11577">
                  <c:v>7.1575795978619174</c:v>
                </c:pt>
                <c:pt idx="11578">
                  <c:v>5.9043463891489498</c:v>
                </c:pt>
                <c:pt idx="11579">
                  <c:v>5.9066904910768248</c:v>
                </c:pt>
                <c:pt idx="11580">
                  <c:v>5.8470900258690035</c:v>
                </c:pt>
                <c:pt idx="11581">
                  <c:v>5.7990048890768788</c:v>
                </c:pt>
                <c:pt idx="11582">
                  <c:v>5.8081035792494671</c:v>
                </c:pt>
                <c:pt idx="11583">
                  <c:v>6.9676677131520766</c:v>
                </c:pt>
                <c:pt idx="11584">
                  <c:v>5.0322286816737298</c:v>
                </c:pt>
                <c:pt idx="11585">
                  <c:v>6.0366266249508307</c:v>
                </c:pt>
                <c:pt idx="11586">
                  <c:v>6.0034942190016798</c:v>
                </c:pt>
                <c:pt idx="11587">
                  <c:v>6.1972998760972873</c:v>
                </c:pt>
                <c:pt idx="11588">
                  <c:v>6.0107210893026366</c:v>
                </c:pt>
                <c:pt idx="11589">
                  <c:v>5.9552417459818123</c:v>
                </c:pt>
                <c:pt idx="11590">
                  <c:v>6.0169595003365144</c:v>
                </c:pt>
                <c:pt idx="11591">
                  <c:v>5.8645661876867505</c:v>
                </c:pt>
                <c:pt idx="11592">
                  <c:v>6.0404655065782986</c:v>
                </c:pt>
                <c:pt idx="11593">
                  <c:v>5.9441838570188033</c:v>
                </c:pt>
                <c:pt idx="11594">
                  <c:v>5.8816936567833684</c:v>
                </c:pt>
                <c:pt idx="11595">
                  <c:v>4.8438569123253723</c:v>
                </c:pt>
                <c:pt idx="11596">
                  <c:v>5.959397635995729</c:v>
                </c:pt>
                <c:pt idx="11597">
                  <c:v>5.9945068909918282</c:v>
                </c:pt>
                <c:pt idx="11598">
                  <c:v>4.9750725896783905</c:v>
                </c:pt>
                <c:pt idx="11599">
                  <c:v>5.2343511771446414</c:v>
                </c:pt>
                <c:pt idx="11600">
                  <c:v>5.8948964305829987</c:v>
                </c:pt>
                <c:pt idx="11601">
                  <c:v>6.0811958068306451</c:v>
                </c:pt>
                <c:pt idx="11602">
                  <c:v>6.0339110402502483</c:v>
                </c:pt>
                <c:pt idx="11603">
                  <c:v>4.9310437831026501</c:v>
                </c:pt>
                <c:pt idx="11604">
                  <c:v>6.0673699924056272</c:v>
                </c:pt>
                <c:pt idx="11605">
                  <c:v>4.7926934290176488</c:v>
                </c:pt>
                <c:pt idx="11606">
                  <c:v>5.0306991146636388</c:v>
                </c:pt>
                <c:pt idx="11607">
                  <c:v>3.9474748804788837</c:v>
                </c:pt>
                <c:pt idx="11608">
                  <c:v>4.8516605973192819</c:v>
                </c:pt>
                <c:pt idx="11609">
                  <c:v>5.9501376574829337</c:v>
                </c:pt>
                <c:pt idx="11610">
                  <c:v>5.1406797971544194</c:v>
                </c:pt>
                <c:pt idx="11611">
                  <c:v>4.9063647199576064</c:v>
                </c:pt>
                <c:pt idx="11612">
                  <c:v>5.9643473918149548</c:v>
                </c:pt>
                <c:pt idx="11613">
                  <c:v>6.0030758804715116</c:v>
                </c:pt>
                <c:pt idx="11614">
                  <c:v>6.0144188390744411</c:v>
                </c:pt>
                <c:pt idx="11615">
                  <c:v>6.0022002828743304</c:v>
                </c:pt>
                <c:pt idx="11616">
                  <c:v>5.9927345811502004</c:v>
                </c:pt>
                <c:pt idx="11617">
                  <c:v>5.8544236796879137</c:v>
                </c:pt>
                <c:pt idx="11618">
                  <c:v>4.9080374922952856</c:v>
                </c:pt>
                <c:pt idx="11619">
                  <c:v>5.9689669792204612</c:v>
                </c:pt>
                <c:pt idx="11620">
                  <c:v>6.063498431681567</c:v>
                </c:pt>
                <c:pt idx="11621">
                  <c:v>5.0746811804703915</c:v>
                </c:pt>
                <c:pt idx="11622">
                  <c:v>6.0122888106929899</c:v>
                </c:pt>
                <c:pt idx="11623">
                  <c:v>5.1411296141951901</c:v>
                </c:pt>
                <c:pt idx="11624">
                  <c:v>5.0004015473407559</c:v>
                </c:pt>
                <c:pt idx="11625">
                  <c:v>4.9265559849516487</c:v>
                </c:pt>
                <c:pt idx="11626">
                  <c:v>5.9420680778853701</c:v>
                </c:pt>
                <c:pt idx="11627">
                  <c:v>7.0488880518661947</c:v>
                </c:pt>
                <c:pt idx="11628">
                  <c:v>5.097736651582272</c:v>
                </c:pt>
                <c:pt idx="11629">
                  <c:v>5.88573920579391</c:v>
                </c:pt>
                <c:pt idx="11630">
                  <c:v>7.1177986430085003</c:v>
                </c:pt>
                <c:pt idx="11631">
                  <c:v>6.138146740079832</c:v>
                </c:pt>
                <c:pt idx="11632">
                  <c:v>5.0355497050629756</c:v>
                </c:pt>
                <c:pt idx="11633">
                  <c:v>5.0312424038456527</c:v>
                </c:pt>
                <c:pt idx="11634">
                  <c:v>6.0758603269342544</c:v>
                </c:pt>
                <c:pt idx="11635">
                  <c:v>6.1676655428018012</c:v>
                </c:pt>
                <c:pt idx="11636">
                  <c:v>6.0905933590951173</c:v>
                </c:pt>
                <c:pt idx="11637">
                  <c:v>5.8342106020437754</c:v>
                </c:pt>
                <c:pt idx="11638">
                  <c:v>5.0233023330679529</c:v>
                </c:pt>
                <c:pt idx="11639">
                  <c:v>6.0381484370849074</c:v>
                </c:pt>
                <c:pt idx="11640">
                  <c:v>6.0815932435044839</c:v>
                </c:pt>
                <c:pt idx="11641">
                  <c:v>6.0883921509660901</c:v>
                </c:pt>
                <c:pt idx="11642">
                  <c:v>5.0858741436843014</c:v>
                </c:pt>
                <c:pt idx="11643">
                  <c:v>4.9235049077960253</c:v>
                </c:pt>
                <c:pt idx="11644">
                  <c:v>6.0283244619495955</c:v>
                </c:pt>
                <c:pt idx="11645">
                  <c:v>6.1994150378681896</c:v>
                </c:pt>
                <c:pt idx="11646">
                  <c:v>5.985078265288962</c:v>
                </c:pt>
                <c:pt idx="11647">
                  <c:v>5.9132768723833466</c:v>
                </c:pt>
                <c:pt idx="11648">
                  <c:v>6.0935184699602187</c:v>
                </c:pt>
                <c:pt idx="11649">
                  <c:v>5.921979662267316</c:v>
                </c:pt>
                <c:pt idx="11650">
                  <c:v>6.0526727073340512</c:v>
                </c:pt>
                <c:pt idx="11651">
                  <c:v>5.0452731578178271</c:v>
                </c:pt>
                <c:pt idx="11652">
                  <c:v>5.9232864695637586</c:v>
                </c:pt>
                <c:pt idx="11653">
                  <c:v>5.9106933615731307</c:v>
                </c:pt>
                <c:pt idx="11654">
                  <c:v>4.6752069447082141</c:v>
                </c:pt>
                <c:pt idx="11655">
                  <c:v>5.0686532070868919</c:v>
                </c:pt>
                <c:pt idx="11656">
                  <c:v>5.918652535153047</c:v>
                </c:pt>
                <c:pt idx="11657">
                  <c:v>5.8893473577148123</c:v>
                </c:pt>
                <c:pt idx="11658">
                  <c:v>6.1067520426721513</c:v>
                </c:pt>
                <c:pt idx="11659">
                  <c:v>7.0395590517741597</c:v>
                </c:pt>
                <c:pt idx="11660">
                  <c:v>4.9110626561405395</c:v>
                </c:pt>
                <c:pt idx="11661">
                  <c:v>6.0169768319672059</c:v>
                </c:pt>
                <c:pt idx="11662">
                  <c:v>5.00540269418227</c:v>
                </c:pt>
                <c:pt idx="11663">
                  <c:v>5.132106509706575</c:v>
                </c:pt>
                <c:pt idx="11664">
                  <c:v>5.0847900268495128</c:v>
                </c:pt>
                <c:pt idx="11665">
                  <c:v>4.9311211876147567</c:v>
                </c:pt>
                <c:pt idx="11666">
                  <c:v>5.935573339763363</c:v>
                </c:pt>
                <c:pt idx="11667">
                  <c:v>6.0564185475891925</c:v>
                </c:pt>
                <c:pt idx="11668">
                  <c:v>6.0493526651155252</c:v>
                </c:pt>
                <c:pt idx="11669">
                  <c:v>4.8849135532144849</c:v>
                </c:pt>
                <c:pt idx="11670">
                  <c:v>5.8400129483729879</c:v>
                </c:pt>
                <c:pt idx="11671">
                  <c:v>6.0676669804447156</c:v>
                </c:pt>
                <c:pt idx="11672">
                  <c:v>5.0232603609186537</c:v>
                </c:pt>
                <c:pt idx="11673">
                  <c:v>5.9811532717759572</c:v>
                </c:pt>
                <c:pt idx="11674">
                  <c:v>4.8778653769156612</c:v>
                </c:pt>
                <c:pt idx="11675">
                  <c:v>5.961589805803948</c:v>
                </c:pt>
                <c:pt idx="11676">
                  <c:v>6.0387356895596485</c:v>
                </c:pt>
                <c:pt idx="11677">
                  <c:v>5.8977668681432602</c:v>
                </c:pt>
                <c:pt idx="11678">
                  <c:v>7.1029430993006102</c:v>
                </c:pt>
                <c:pt idx="11679">
                  <c:v>5.8702111653156743</c:v>
                </c:pt>
                <c:pt idx="11680">
                  <c:v>6.0009257935944929</c:v>
                </c:pt>
                <c:pt idx="11681">
                  <c:v>6.0080314039235816</c:v>
                </c:pt>
                <c:pt idx="11682">
                  <c:v>5.8103952325879487</c:v>
                </c:pt>
                <c:pt idx="11683">
                  <c:v>6.0237581537772229</c:v>
                </c:pt>
                <c:pt idx="11684">
                  <c:v>6.1004099963191445</c:v>
                </c:pt>
                <c:pt idx="11685">
                  <c:v>4.9200333981708555</c:v>
                </c:pt>
                <c:pt idx="11686">
                  <c:v>5.9333738945618695</c:v>
                </c:pt>
                <c:pt idx="11687">
                  <c:v>6.1461945536658975</c:v>
                </c:pt>
                <c:pt idx="11688">
                  <c:v>6.0534703884257626</c:v>
                </c:pt>
                <c:pt idx="11689">
                  <c:v>6.0025765543822267</c:v>
                </c:pt>
                <c:pt idx="11690">
                  <c:v>6.1323417698094662</c:v>
                </c:pt>
                <c:pt idx="11691">
                  <c:v>7.0960828972569905</c:v>
                </c:pt>
                <c:pt idx="11692">
                  <c:v>6.0609425680776434</c:v>
                </c:pt>
                <c:pt idx="11693">
                  <c:v>6.0199197485055933</c:v>
                </c:pt>
                <c:pt idx="11694">
                  <c:v>5.9640336802447891</c:v>
                </c:pt>
                <c:pt idx="11695">
                  <c:v>5.9512937421522132</c:v>
                </c:pt>
                <c:pt idx="11696">
                  <c:v>6.0539480278966877</c:v>
                </c:pt>
                <c:pt idx="11697">
                  <c:v>5.0524704350076703</c:v>
                </c:pt>
                <c:pt idx="11698">
                  <c:v>6.0169060725468864</c:v>
                </c:pt>
                <c:pt idx="11699">
                  <c:v>6.0486824858459558</c:v>
                </c:pt>
                <c:pt idx="11700">
                  <c:v>5.9939199466646675</c:v>
                </c:pt>
                <c:pt idx="11701">
                  <c:v>5.9602998537823959</c:v>
                </c:pt>
                <c:pt idx="11702">
                  <c:v>5.913195710981733</c:v>
                </c:pt>
                <c:pt idx="11703">
                  <c:v>6.0494843427374416</c:v>
                </c:pt>
                <c:pt idx="11704">
                  <c:v>4.9842264182091984</c:v>
                </c:pt>
                <c:pt idx="11705">
                  <c:v>6.0015826217702228</c:v>
                </c:pt>
                <c:pt idx="11706">
                  <c:v>5.0323755244207513</c:v>
                </c:pt>
                <c:pt idx="11707">
                  <c:v>6.0749895945802308</c:v>
                </c:pt>
                <c:pt idx="11708">
                  <c:v>6.0903450133667114</c:v>
                </c:pt>
                <c:pt idx="11709">
                  <c:v>5.8617648919937961</c:v>
                </c:pt>
                <c:pt idx="11710">
                  <c:v>6.0274757662482212</c:v>
                </c:pt>
                <c:pt idx="11711">
                  <c:v>5.8980713691989175</c:v>
                </c:pt>
                <c:pt idx="11712">
                  <c:v>4.8746140986595377</c:v>
                </c:pt>
                <c:pt idx="11713">
                  <c:v>5.9983558544930053</c:v>
                </c:pt>
                <c:pt idx="11714">
                  <c:v>5.9283092560920023</c:v>
                </c:pt>
                <c:pt idx="11715">
                  <c:v>4.8306087697629039</c:v>
                </c:pt>
                <c:pt idx="11716">
                  <c:v>5.8621898490075219</c:v>
                </c:pt>
                <c:pt idx="11717">
                  <c:v>5.8760118181436081</c:v>
                </c:pt>
                <c:pt idx="11718">
                  <c:v>6.0890355761592438</c:v>
                </c:pt>
                <c:pt idx="11719">
                  <c:v>6.0417538443130452</c:v>
                </c:pt>
                <c:pt idx="11720">
                  <c:v>6.0075811122173004</c:v>
                </c:pt>
                <c:pt idx="11721">
                  <c:v>6.1185367654822151</c:v>
                </c:pt>
                <c:pt idx="11722">
                  <c:v>5.9773407785579611</c:v>
                </c:pt>
                <c:pt idx="11723">
                  <c:v>6.1128591470766835</c:v>
                </c:pt>
                <c:pt idx="11724">
                  <c:v>5.9002899384714933</c:v>
                </c:pt>
                <c:pt idx="11725">
                  <c:v>6.03363749252585</c:v>
                </c:pt>
                <c:pt idx="11726">
                  <c:v>6.0452517991566035</c:v>
                </c:pt>
                <c:pt idx="11727">
                  <c:v>4.0369391271770514</c:v>
                </c:pt>
                <c:pt idx="11728">
                  <c:v>6.016734544393656</c:v>
                </c:pt>
                <c:pt idx="11729">
                  <c:v>6.1357075858394259</c:v>
                </c:pt>
                <c:pt idx="11730">
                  <c:v>5.0440982888165751</c:v>
                </c:pt>
                <c:pt idx="11731">
                  <c:v>5.823721945418983</c:v>
                </c:pt>
                <c:pt idx="11732">
                  <c:v>6.8225580976905551</c:v>
                </c:pt>
                <c:pt idx="11733">
                  <c:v>5.8833305512161944</c:v>
                </c:pt>
                <c:pt idx="11734">
                  <c:v>6.8293695460634307</c:v>
                </c:pt>
                <c:pt idx="11735">
                  <c:v>6.0218570331141699</c:v>
                </c:pt>
                <c:pt idx="11736">
                  <c:v>7.0940080499011353</c:v>
                </c:pt>
                <c:pt idx="11737">
                  <c:v>5.9290637184067645</c:v>
                </c:pt>
                <c:pt idx="11738">
                  <c:v>5.9635318794872436</c:v>
                </c:pt>
                <c:pt idx="11739">
                  <c:v>5.0635677462407989</c:v>
                </c:pt>
                <c:pt idx="11740">
                  <c:v>4.8492897186639388</c:v>
                </c:pt>
                <c:pt idx="11741">
                  <c:v>4.9689432225064785</c:v>
                </c:pt>
                <c:pt idx="11742">
                  <c:v>5.9877212192193792</c:v>
                </c:pt>
                <c:pt idx="11743">
                  <c:v>5.861921647785822</c:v>
                </c:pt>
                <c:pt idx="11744">
                  <c:v>5.1032814436699407</c:v>
                </c:pt>
                <c:pt idx="11745">
                  <c:v>6.9836778404395083</c:v>
                </c:pt>
                <c:pt idx="11746">
                  <c:v>7.0675159176212796</c:v>
                </c:pt>
                <c:pt idx="11747">
                  <c:v>7.0047830930425752</c:v>
                </c:pt>
                <c:pt idx="11748">
                  <c:v>6.0456282114885598</c:v>
                </c:pt>
                <c:pt idx="11749">
                  <c:v>5.9316260593122463</c:v>
                </c:pt>
                <c:pt idx="11750">
                  <c:v>5.9361498796416265</c:v>
                </c:pt>
                <c:pt idx="11751">
                  <c:v>5.9488576210378437</c:v>
                </c:pt>
                <c:pt idx="11752">
                  <c:v>5.9619289463681993</c:v>
                </c:pt>
                <c:pt idx="11753">
                  <c:v>4.9490488747344079</c:v>
                </c:pt>
                <c:pt idx="11754">
                  <c:v>7.0337467307061967</c:v>
                </c:pt>
                <c:pt idx="11755">
                  <c:v>5.9189730631435413</c:v>
                </c:pt>
                <c:pt idx="11756">
                  <c:v>5.9093732516236184</c:v>
                </c:pt>
                <c:pt idx="11757">
                  <c:v>5.933987136680118</c:v>
                </c:pt>
                <c:pt idx="11758">
                  <c:v>5.8851624877856388</c:v>
                </c:pt>
                <c:pt idx="11759">
                  <c:v>6.1013720173907968</c:v>
                </c:pt>
                <c:pt idx="11760">
                  <c:v>6.9754013882631014</c:v>
                </c:pt>
                <c:pt idx="11761">
                  <c:v>6.1048867797480399</c:v>
                </c:pt>
                <c:pt idx="11762">
                  <c:v>4.0951744828579013</c:v>
                </c:pt>
                <c:pt idx="11763">
                  <c:v>5.9858506424292957</c:v>
                </c:pt>
                <c:pt idx="11764">
                  <c:v>7.0395322628906385</c:v>
                </c:pt>
                <c:pt idx="11765">
                  <c:v>5.8832034104166135</c:v>
                </c:pt>
                <c:pt idx="11766">
                  <c:v>5.8915464328212561</c:v>
                </c:pt>
                <c:pt idx="11767">
                  <c:v>3.864761295197773</c:v>
                </c:pt>
                <c:pt idx="11768">
                  <c:v>6.0795786278703678</c:v>
                </c:pt>
                <c:pt idx="11769">
                  <c:v>5.9873840687788489</c:v>
                </c:pt>
                <c:pt idx="11770">
                  <c:v>6.0717293977340834</c:v>
                </c:pt>
                <c:pt idx="11771">
                  <c:v>3.0394526699067814</c:v>
                </c:pt>
                <c:pt idx="11772">
                  <c:v>5.8631776640274378</c:v>
                </c:pt>
                <c:pt idx="11773">
                  <c:v>6.0211326615040335</c:v>
                </c:pt>
                <c:pt idx="11774">
                  <c:v>5.9593817912284752</c:v>
                </c:pt>
                <c:pt idx="11775">
                  <c:v>5.9812355677677331</c:v>
                </c:pt>
                <c:pt idx="11776">
                  <c:v>5.943920759891081</c:v>
                </c:pt>
                <c:pt idx="11777">
                  <c:v>5.9709205104207772</c:v>
                </c:pt>
                <c:pt idx="11778">
                  <c:v>6.1801679413014181</c:v>
                </c:pt>
                <c:pt idx="11779">
                  <c:v>6.2488609942084929</c:v>
                </c:pt>
                <c:pt idx="11780">
                  <c:v>6.2288075289979528</c:v>
                </c:pt>
                <c:pt idx="11781">
                  <c:v>6.0160281738495636</c:v>
                </c:pt>
                <c:pt idx="11782">
                  <c:v>5.1380874537106429</c:v>
                </c:pt>
                <c:pt idx="11783">
                  <c:v>5.900294578149393</c:v>
                </c:pt>
                <c:pt idx="11784">
                  <c:v>4.9044963132413839</c:v>
                </c:pt>
                <c:pt idx="11785">
                  <c:v>5.8102399748891989</c:v>
                </c:pt>
                <c:pt idx="11786">
                  <c:v>5.8778650993304726</c:v>
                </c:pt>
                <c:pt idx="11787">
                  <c:v>6.9057126324550371</c:v>
                </c:pt>
                <c:pt idx="11788">
                  <c:v>5.0416648542077453</c:v>
                </c:pt>
                <c:pt idx="11789">
                  <c:v>5.0169609172649867</c:v>
                </c:pt>
                <c:pt idx="11790">
                  <c:v>4.8754765369874633</c:v>
                </c:pt>
                <c:pt idx="11791">
                  <c:v>6.0768638416031253</c:v>
                </c:pt>
                <c:pt idx="11792">
                  <c:v>6.0821766501879395</c:v>
                </c:pt>
                <c:pt idx="11793">
                  <c:v>5.8642058172550966</c:v>
                </c:pt>
                <c:pt idx="11794">
                  <c:v>6.9370818800050857</c:v>
                </c:pt>
                <c:pt idx="11795">
                  <c:v>6.1169356010702192</c:v>
                </c:pt>
                <c:pt idx="11796">
                  <c:v>5.9448735833180644</c:v>
                </c:pt>
                <c:pt idx="11797">
                  <c:v>3.9644924522792784</c:v>
                </c:pt>
                <c:pt idx="11798">
                  <c:v>4.9051491491585972</c:v>
                </c:pt>
                <c:pt idx="11799">
                  <c:v>4.9944203506390128</c:v>
                </c:pt>
                <c:pt idx="11800">
                  <c:v>3.9879414160667119</c:v>
                </c:pt>
                <c:pt idx="11801">
                  <c:v>4.0772846325811205</c:v>
                </c:pt>
                <c:pt idx="11802">
                  <c:v>6.1627804349425359</c:v>
                </c:pt>
                <c:pt idx="11803">
                  <c:v>4.9638953631423552</c:v>
                </c:pt>
                <c:pt idx="11804">
                  <c:v>6.8062294813483586</c:v>
                </c:pt>
                <c:pt idx="11805">
                  <c:v>6.1113968565130738</c:v>
                </c:pt>
                <c:pt idx="11806">
                  <c:v>6.9337891400156124</c:v>
                </c:pt>
                <c:pt idx="11807">
                  <c:v>5.1906490985326998</c:v>
                </c:pt>
                <c:pt idx="11808">
                  <c:v>4.9428238739645796</c:v>
                </c:pt>
                <c:pt idx="11809">
                  <c:v>6.1242336033744218</c:v>
                </c:pt>
                <c:pt idx="11810">
                  <c:v>5.9937534500813445</c:v>
                </c:pt>
                <c:pt idx="11811">
                  <c:v>4.9715210184430791</c:v>
                </c:pt>
                <c:pt idx="11812">
                  <c:v>5.9812122578139792</c:v>
                </c:pt>
                <c:pt idx="11813">
                  <c:v>5.9082527863359182</c:v>
                </c:pt>
                <c:pt idx="11814">
                  <c:v>6.0612433670377559</c:v>
                </c:pt>
                <c:pt idx="11815">
                  <c:v>5.9898244109300904</c:v>
                </c:pt>
                <c:pt idx="11816">
                  <c:v>5.8848106458182921</c:v>
                </c:pt>
                <c:pt idx="11817">
                  <c:v>5.9518253132866761</c:v>
                </c:pt>
                <c:pt idx="11818">
                  <c:v>5.046317311654116</c:v>
                </c:pt>
                <c:pt idx="11819">
                  <c:v>4.9731108248138067</c:v>
                </c:pt>
                <c:pt idx="11820">
                  <c:v>5.8515485327518908</c:v>
                </c:pt>
                <c:pt idx="11821">
                  <c:v>5.0892276644754739</c:v>
                </c:pt>
                <c:pt idx="11822">
                  <c:v>4.9473803099097378</c:v>
                </c:pt>
                <c:pt idx="11823">
                  <c:v>5.1458859667952046</c:v>
                </c:pt>
                <c:pt idx="11824">
                  <c:v>5.9571969195418131</c:v>
                </c:pt>
                <c:pt idx="11825">
                  <c:v>4.9887096739877768</c:v>
                </c:pt>
                <c:pt idx="11826">
                  <c:v>6.01544616709712</c:v>
                </c:pt>
                <c:pt idx="11827">
                  <c:v>5.846677430356654</c:v>
                </c:pt>
                <c:pt idx="11828">
                  <c:v>6.0447224888368023</c:v>
                </c:pt>
                <c:pt idx="11829">
                  <c:v>5.0174033313515762</c:v>
                </c:pt>
                <c:pt idx="11830">
                  <c:v>4.9246695271645118</c:v>
                </c:pt>
                <c:pt idx="11831">
                  <c:v>5.1786369717866059</c:v>
                </c:pt>
                <c:pt idx="11832">
                  <c:v>5.9403229613190014</c:v>
                </c:pt>
                <c:pt idx="11833">
                  <c:v>5.1697949703118589</c:v>
                </c:pt>
                <c:pt idx="11834">
                  <c:v>5.0592223504700566</c:v>
                </c:pt>
                <c:pt idx="11835">
                  <c:v>4.9209687970041287</c:v>
                </c:pt>
                <c:pt idx="11836">
                  <c:v>5.88294122878421</c:v>
                </c:pt>
                <c:pt idx="11837">
                  <c:v>4.8964871505008176</c:v>
                </c:pt>
                <c:pt idx="11838">
                  <c:v>6.1952984310198023</c:v>
                </c:pt>
                <c:pt idx="11839">
                  <c:v>5.1445084973261146</c:v>
                </c:pt>
                <c:pt idx="11840">
                  <c:v>5.0678663146292227</c:v>
                </c:pt>
                <c:pt idx="11841">
                  <c:v>6.09935941708709</c:v>
                </c:pt>
                <c:pt idx="11842">
                  <c:v>5.0701272483432955</c:v>
                </c:pt>
                <c:pt idx="11843">
                  <c:v>4.904073460991861</c:v>
                </c:pt>
                <c:pt idx="11844">
                  <c:v>5.0088184993115306</c:v>
                </c:pt>
                <c:pt idx="11845">
                  <c:v>4.7252032513158868</c:v>
                </c:pt>
                <c:pt idx="11846">
                  <c:v>6.8932110189089704</c:v>
                </c:pt>
                <c:pt idx="11847">
                  <c:v>6.1289584015906566</c:v>
                </c:pt>
                <c:pt idx="11848">
                  <c:v>4.9919373294005762</c:v>
                </c:pt>
                <c:pt idx="11849">
                  <c:v>5.1051916105851687</c:v>
                </c:pt>
                <c:pt idx="11850">
                  <c:v>4.9936646897755645</c:v>
                </c:pt>
                <c:pt idx="11851">
                  <c:v>4.9809082456924774</c:v>
                </c:pt>
                <c:pt idx="11852">
                  <c:v>5.0840201248744163</c:v>
                </c:pt>
                <c:pt idx="11853">
                  <c:v>5.0560125425706834</c:v>
                </c:pt>
                <c:pt idx="11854">
                  <c:v>5.0250767905360361</c:v>
                </c:pt>
                <c:pt idx="11855">
                  <c:v>5.1677609802728508</c:v>
                </c:pt>
                <c:pt idx="11856">
                  <c:v>4.7708661101847589</c:v>
                </c:pt>
                <c:pt idx="11857">
                  <c:v>5.0701873667091695</c:v>
                </c:pt>
                <c:pt idx="11858">
                  <c:v>4.8263373867640063</c:v>
                </c:pt>
                <c:pt idx="11859">
                  <c:v>6.0627246409508597</c:v>
                </c:pt>
                <c:pt idx="11860">
                  <c:v>5.2234091810808536</c:v>
                </c:pt>
                <c:pt idx="11861">
                  <c:v>5.1087605325441077</c:v>
                </c:pt>
                <c:pt idx="11862">
                  <c:v>5.0422714326529521</c:v>
                </c:pt>
                <c:pt idx="11863">
                  <c:v>5.0401049466740657</c:v>
                </c:pt>
                <c:pt idx="11864">
                  <c:v>6.0431774061634105</c:v>
                </c:pt>
                <c:pt idx="11865">
                  <c:v>5.9829632780530142</c:v>
                </c:pt>
                <c:pt idx="11866">
                  <c:v>4.9469192064528436</c:v>
                </c:pt>
                <c:pt idx="11867">
                  <c:v>4.744913409428543</c:v>
                </c:pt>
                <c:pt idx="11868">
                  <c:v>6.0266226250270218</c:v>
                </c:pt>
                <c:pt idx="11869">
                  <c:v>4.928702665841592</c:v>
                </c:pt>
                <c:pt idx="11870">
                  <c:v>5.9665215261232252</c:v>
                </c:pt>
                <c:pt idx="11871">
                  <c:v>4.9793222964663615</c:v>
                </c:pt>
                <c:pt idx="11872">
                  <c:v>3.9877048630674206</c:v>
                </c:pt>
                <c:pt idx="11873">
                  <c:v>6.8868136501610913</c:v>
                </c:pt>
                <c:pt idx="11874">
                  <c:v>6.0028824103922149</c:v>
                </c:pt>
                <c:pt idx="11875">
                  <c:v>4.9223626779284206</c:v>
                </c:pt>
                <c:pt idx="11876">
                  <c:v>5.094847024427331</c:v>
                </c:pt>
                <c:pt idx="11877">
                  <c:v>5.26715547008763</c:v>
                </c:pt>
                <c:pt idx="11878">
                  <c:v>4.9214410243181259</c:v>
                </c:pt>
                <c:pt idx="11879">
                  <c:v>4.9618157566666854</c:v>
                </c:pt>
                <c:pt idx="11880">
                  <c:v>6.0693690250935521</c:v>
                </c:pt>
                <c:pt idx="11881">
                  <c:v>5.8601634049911295</c:v>
                </c:pt>
                <c:pt idx="11882">
                  <c:v>5.8738296531210414</c:v>
                </c:pt>
                <c:pt idx="11883">
                  <c:v>5.1637537427800355</c:v>
                </c:pt>
                <c:pt idx="11884">
                  <c:v>4.9233460932104771</c:v>
                </c:pt>
                <c:pt idx="11885">
                  <c:v>5.9926525644936763</c:v>
                </c:pt>
                <c:pt idx="11886">
                  <c:v>5.0371892596210266</c:v>
                </c:pt>
                <c:pt idx="11887">
                  <c:v>6.1153115069979433</c:v>
                </c:pt>
                <c:pt idx="11888">
                  <c:v>6.0951532609762387</c:v>
                </c:pt>
                <c:pt idx="11889">
                  <c:v>6.034040314717604</c:v>
                </c:pt>
                <c:pt idx="11890">
                  <c:v>5.0226774144529163</c:v>
                </c:pt>
                <c:pt idx="11891">
                  <c:v>7.0330189980257725</c:v>
                </c:pt>
                <c:pt idx="11892">
                  <c:v>6.1439958218088089</c:v>
                </c:pt>
                <c:pt idx="11893">
                  <c:v>5.8171631695098469</c:v>
                </c:pt>
                <c:pt idx="11894">
                  <c:v>5.1183948310710097</c:v>
                </c:pt>
                <c:pt idx="11895">
                  <c:v>5.9062145185027086</c:v>
                </c:pt>
                <c:pt idx="11896">
                  <c:v>5.9829192177929755</c:v>
                </c:pt>
                <c:pt idx="11897">
                  <c:v>5.968078030054226</c:v>
                </c:pt>
                <c:pt idx="11898">
                  <c:v>5.9709161424629595</c:v>
                </c:pt>
                <c:pt idx="11899">
                  <c:v>6.1026559571691585</c:v>
                </c:pt>
                <c:pt idx="11900">
                  <c:v>4.9182654079452153</c:v>
                </c:pt>
                <c:pt idx="11901">
                  <c:v>4.9495862786819194</c:v>
                </c:pt>
                <c:pt idx="11902">
                  <c:v>6.0821164850874849</c:v>
                </c:pt>
                <c:pt idx="11903">
                  <c:v>5.0818770685303249</c:v>
                </c:pt>
                <c:pt idx="11904">
                  <c:v>5.9774122059917509</c:v>
                </c:pt>
                <c:pt idx="11905">
                  <c:v>6.9434267330297708</c:v>
                </c:pt>
                <c:pt idx="11906">
                  <c:v>6.058791506234428</c:v>
                </c:pt>
                <c:pt idx="11907">
                  <c:v>5.0910253731319939</c:v>
                </c:pt>
                <c:pt idx="11908">
                  <c:v>5.1122013242810915</c:v>
                </c:pt>
                <c:pt idx="11909">
                  <c:v>5.9544249278013703</c:v>
                </c:pt>
                <c:pt idx="11910">
                  <c:v>7.0390936968643913</c:v>
                </c:pt>
                <c:pt idx="11911">
                  <c:v>5.9992044069181478</c:v>
                </c:pt>
                <c:pt idx="11912">
                  <c:v>5.8854678112709582</c:v>
                </c:pt>
                <c:pt idx="11913">
                  <c:v>5.9464011671217385</c:v>
                </c:pt>
                <c:pt idx="11914">
                  <c:v>5.8874213045628112</c:v>
                </c:pt>
                <c:pt idx="11915">
                  <c:v>6.1269789985233256</c:v>
                </c:pt>
                <c:pt idx="11916">
                  <c:v>6.1921780394753236</c:v>
                </c:pt>
                <c:pt idx="11917">
                  <c:v>7.1007951323187743</c:v>
                </c:pt>
                <c:pt idx="11918">
                  <c:v>6.1388443722984833</c:v>
                </c:pt>
                <c:pt idx="11919">
                  <c:v>4.9946491485265634</c:v>
                </c:pt>
                <c:pt idx="11920">
                  <c:v>6.0232184549068721</c:v>
                </c:pt>
                <c:pt idx="11921">
                  <c:v>6.1222009246743294</c:v>
                </c:pt>
                <c:pt idx="11922">
                  <c:v>5.0387691724524677</c:v>
                </c:pt>
                <c:pt idx="11923">
                  <c:v>5.975378521538965</c:v>
                </c:pt>
                <c:pt idx="11924">
                  <c:v>4.9301167181864107</c:v>
                </c:pt>
                <c:pt idx="11925">
                  <c:v>6.8751539317845358</c:v>
                </c:pt>
                <c:pt idx="11926">
                  <c:v>6.0245093303076303</c:v>
                </c:pt>
                <c:pt idx="11927">
                  <c:v>7.0866984401186395</c:v>
                </c:pt>
                <c:pt idx="11928">
                  <c:v>6.9934250036907608</c:v>
                </c:pt>
                <c:pt idx="11929">
                  <c:v>5.9424825419820424</c:v>
                </c:pt>
                <c:pt idx="11930">
                  <c:v>6.0251870738451787</c:v>
                </c:pt>
                <c:pt idx="11931">
                  <c:v>6.0838994648832418</c:v>
                </c:pt>
                <c:pt idx="11932">
                  <c:v>4.981423155387156</c:v>
                </c:pt>
                <c:pt idx="11933">
                  <c:v>6.1533633242673496</c:v>
                </c:pt>
                <c:pt idx="11934">
                  <c:v>5.9608792437049569</c:v>
                </c:pt>
                <c:pt idx="11935">
                  <c:v>6.0254847284058473</c:v>
                </c:pt>
                <c:pt idx="11936">
                  <c:v>5.9764691209112009</c:v>
                </c:pt>
                <c:pt idx="11937">
                  <c:v>5.0286030249430489</c:v>
                </c:pt>
                <c:pt idx="11938">
                  <c:v>5.9547814295757542</c:v>
                </c:pt>
                <c:pt idx="11939">
                  <c:v>6.1623339247015538</c:v>
                </c:pt>
                <c:pt idx="11940">
                  <c:v>6.1838989473385526</c:v>
                </c:pt>
                <c:pt idx="11941">
                  <c:v>5.0770319307837983</c:v>
                </c:pt>
                <c:pt idx="11942">
                  <c:v>4.9196948101657298</c:v>
                </c:pt>
                <c:pt idx="11943">
                  <c:v>6.0480578845933879</c:v>
                </c:pt>
                <c:pt idx="11944">
                  <c:v>6.0234622948571159</c:v>
                </c:pt>
                <c:pt idx="11945">
                  <c:v>5.9711267094927303</c:v>
                </c:pt>
                <c:pt idx="11946">
                  <c:v>6.1783026493445696</c:v>
                </c:pt>
                <c:pt idx="11947">
                  <c:v>6.0926319320108719</c:v>
                </c:pt>
                <c:pt idx="11948">
                  <c:v>4.9221042167405464</c:v>
                </c:pt>
                <c:pt idx="11949">
                  <c:v>6.9465226428781</c:v>
                </c:pt>
                <c:pt idx="11950">
                  <c:v>5.9058796466818295</c:v>
                </c:pt>
                <c:pt idx="11951">
                  <c:v>5.9956696521193704</c:v>
                </c:pt>
                <c:pt idx="11952">
                  <c:v>5.9379686216746634</c:v>
                </c:pt>
                <c:pt idx="11953">
                  <c:v>5.9574778413855576</c:v>
                </c:pt>
                <c:pt idx="11954">
                  <c:v>6.1857731915567653</c:v>
                </c:pt>
                <c:pt idx="11955">
                  <c:v>4.8718196579695405</c:v>
                </c:pt>
                <c:pt idx="11956">
                  <c:v>5.8352806428637765</c:v>
                </c:pt>
                <c:pt idx="11957">
                  <c:v>5.9893983885304491</c:v>
                </c:pt>
                <c:pt idx="11958">
                  <c:v>6.0381073447044926</c:v>
                </c:pt>
                <c:pt idx="11959">
                  <c:v>6.0828689585788638</c:v>
                </c:pt>
                <c:pt idx="11960">
                  <c:v>5.9272371246942068</c:v>
                </c:pt>
                <c:pt idx="11961">
                  <c:v>6.0265849767184987</c:v>
                </c:pt>
                <c:pt idx="11962">
                  <c:v>5.8775676435572892</c:v>
                </c:pt>
                <c:pt idx="11963">
                  <c:v>6.1941081878993698</c:v>
                </c:pt>
                <c:pt idx="11964">
                  <c:v>5.9684391108953401</c:v>
                </c:pt>
                <c:pt idx="11965">
                  <c:v>5.9383571306051071</c:v>
                </c:pt>
                <c:pt idx="11966">
                  <c:v>6.0981326494281731</c:v>
                </c:pt>
                <c:pt idx="11967">
                  <c:v>6.0613206089880434</c:v>
                </c:pt>
                <c:pt idx="11968">
                  <c:v>5.9011820898922744</c:v>
                </c:pt>
                <c:pt idx="11969">
                  <c:v>6.1653980075441348</c:v>
                </c:pt>
                <c:pt idx="11970">
                  <c:v>5.9306624735158069</c:v>
                </c:pt>
                <c:pt idx="11971">
                  <c:v>5.6423887198257496</c:v>
                </c:pt>
                <c:pt idx="11972">
                  <c:v>6.0418629012668079</c:v>
                </c:pt>
                <c:pt idx="11973">
                  <c:v>5.0392407680635163</c:v>
                </c:pt>
                <c:pt idx="11974">
                  <c:v>5.9719820596293118</c:v>
                </c:pt>
                <c:pt idx="11975">
                  <c:v>7.1302799666098737</c:v>
                </c:pt>
                <c:pt idx="11976">
                  <c:v>4.8784414309716562</c:v>
                </c:pt>
                <c:pt idx="11977">
                  <c:v>3.2056488128511993</c:v>
                </c:pt>
                <c:pt idx="11978">
                  <c:v>7.0735102699908827</c:v>
                </c:pt>
                <c:pt idx="11979">
                  <c:v>5.0482164209719977</c:v>
                </c:pt>
                <c:pt idx="11980">
                  <c:v>6.1077738150992262</c:v>
                </c:pt>
                <c:pt idx="11981">
                  <c:v>5.920326071253581</c:v>
                </c:pt>
                <c:pt idx="11982">
                  <c:v>6.0026733374430217</c:v>
                </c:pt>
                <c:pt idx="11983">
                  <c:v>5.0821092363698401</c:v>
                </c:pt>
                <c:pt idx="11984">
                  <c:v>5.8970118798578479</c:v>
                </c:pt>
                <c:pt idx="11985">
                  <c:v>6.1388124417337453</c:v>
                </c:pt>
                <c:pt idx="11986">
                  <c:v>4.8778782694720064</c:v>
                </c:pt>
                <c:pt idx="11987">
                  <c:v>6.1720114863657427</c:v>
                </c:pt>
                <c:pt idx="11988">
                  <c:v>5.1043398995126577</c:v>
                </c:pt>
                <c:pt idx="11989">
                  <c:v>5.972300737826842</c:v>
                </c:pt>
                <c:pt idx="11990">
                  <c:v>6.0850746657490165</c:v>
                </c:pt>
                <c:pt idx="11991">
                  <c:v>6.001401721180482</c:v>
                </c:pt>
                <c:pt idx="11992">
                  <c:v>5.9100146183902629</c:v>
                </c:pt>
                <c:pt idx="11993">
                  <c:v>5.9026301804207222</c:v>
                </c:pt>
                <c:pt idx="11994">
                  <c:v>6.1157524747792067</c:v>
                </c:pt>
                <c:pt idx="11995">
                  <c:v>7.2235029835414286</c:v>
                </c:pt>
                <c:pt idx="11996">
                  <c:v>5.8981497915216172</c:v>
                </c:pt>
                <c:pt idx="11997">
                  <c:v>5.8240288641997573</c:v>
                </c:pt>
                <c:pt idx="11998">
                  <c:v>6.0071681004163535</c:v>
                </c:pt>
                <c:pt idx="11999">
                  <c:v>4.7117547192954818</c:v>
                </c:pt>
                <c:pt idx="12000">
                  <c:v>5.8237453736400688</c:v>
                </c:pt>
                <c:pt idx="12001">
                  <c:v>6.0290330549312818</c:v>
                </c:pt>
                <c:pt idx="12002">
                  <c:v>6.0968292666082773</c:v>
                </c:pt>
                <c:pt idx="12003">
                  <c:v>3.0612001731802465</c:v>
                </c:pt>
                <c:pt idx="12004">
                  <c:v>6.2388374261448796</c:v>
                </c:pt>
                <c:pt idx="12005">
                  <c:v>5.9152589825257404</c:v>
                </c:pt>
                <c:pt idx="12006">
                  <c:v>5.2108171971378434</c:v>
                </c:pt>
                <c:pt idx="12007">
                  <c:v>7.1338780613975548</c:v>
                </c:pt>
                <c:pt idx="12008">
                  <c:v>6.9338223143742717</c:v>
                </c:pt>
                <c:pt idx="12009">
                  <c:v>5.9349019445733173</c:v>
                </c:pt>
                <c:pt idx="12010">
                  <c:v>7.0563272978206859</c:v>
                </c:pt>
                <c:pt idx="12011">
                  <c:v>5.984983486760667</c:v>
                </c:pt>
                <c:pt idx="12012">
                  <c:v>7.0314776789303215</c:v>
                </c:pt>
                <c:pt idx="12013">
                  <c:v>5.9918981044529867</c:v>
                </c:pt>
                <c:pt idx="12014">
                  <c:v>5.9325666942531194</c:v>
                </c:pt>
                <c:pt idx="12015">
                  <c:v>5.9283099450392429</c:v>
                </c:pt>
                <c:pt idx="12016">
                  <c:v>5.859877163496038</c:v>
                </c:pt>
                <c:pt idx="12017">
                  <c:v>6.9684830551554366</c:v>
                </c:pt>
                <c:pt idx="12018">
                  <c:v>6.0065609868179575</c:v>
                </c:pt>
                <c:pt idx="12019">
                  <c:v>7.1049650146513121</c:v>
                </c:pt>
                <c:pt idx="12020">
                  <c:v>4.953307977356574</c:v>
                </c:pt>
                <c:pt idx="12021">
                  <c:v>5.134874223753326</c:v>
                </c:pt>
                <c:pt idx="12022">
                  <c:v>6.0572654883080643</c:v>
                </c:pt>
                <c:pt idx="12023">
                  <c:v>6.2014186741411654</c:v>
                </c:pt>
                <c:pt idx="12024">
                  <c:v>6.0719317493123546</c:v>
                </c:pt>
                <c:pt idx="12025">
                  <c:v>5.9481853530996647</c:v>
                </c:pt>
                <c:pt idx="12026">
                  <c:v>6.1018185533904203</c:v>
                </c:pt>
                <c:pt idx="12027">
                  <c:v>5.862418068814419</c:v>
                </c:pt>
                <c:pt idx="12028">
                  <c:v>5.062541742905716</c:v>
                </c:pt>
                <c:pt idx="12029">
                  <c:v>6.0936446177676249</c:v>
                </c:pt>
                <c:pt idx="12030">
                  <c:v>5.041216021333601</c:v>
                </c:pt>
                <c:pt idx="12031">
                  <c:v>5.7991153956858206</c:v>
                </c:pt>
                <c:pt idx="12032">
                  <c:v>5.9754834142788527</c:v>
                </c:pt>
                <c:pt idx="12033">
                  <c:v>6.0194474837181353</c:v>
                </c:pt>
                <c:pt idx="12034">
                  <c:v>5.9783965111405983</c:v>
                </c:pt>
                <c:pt idx="12035">
                  <c:v>5.782659177811138</c:v>
                </c:pt>
                <c:pt idx="12036">
                  <c:v>5.9680151835334074</c:v>
                </c:pt>
                <c:pt idx="12037">
                  <c:v>5.9088423430950217</c:v>
                </c:pt>
                <c:pt idx="12038">
                  <c:v>6.0337988136785627</c:v>
                </c:pt>
                <c:pt idx="12039">
                  <c:v>6.0897474676878849</c:v>
                </c:pt>
                <c:pt idx="12040">
                  <c:v>6.2358088102235465</c:v>
                </c:pt>
                <c:pt idx="12041">
                  <c:v>6.0013352194369416</c:v>
                </c:pt>
                <c:pt idx="12042">
                  <c:v>6.1722247593325648</c:v>
                </c:pt>
                <c:pt idx="12043">
                  <c:v>5.0108240608732029</c:v>
                </c:pt>
                <c:pt idx="12044">
                  <c:v>5.8477728623704941</c:v>
                </c:pt>
                <c:pt idx="12045">
                  <c:v>6.033973707887899</c:v>
                </c:pt>
                <c:pt idx="12046">
                  <c:v>5.968987610330009</c:v>
                </c:pt>
                <c:pt idx="12047">
                  <c:v>6.0943615905025679</c:v>
                </c:pt>
                <c:pt idx="12048">
                  <c:v>6.0131560593084608</c:v>
                </c:pt>
                <c:pt idx="12049">
                  <c:v>5.034520410168188</c:v>
                </c:pt>
                <c:pt idx="12050">
                  <c:v>5.1236426579655543</c:v>
                </c:pt>
                <c:pt idx="12051">
                  <c:v>4.9058884743159901</c:v>
                </c:pt>
                <c:pt idx="12052">
                  <c:v>7.0875429860371737</c:v>
                </c:pt>
                <c:pt idx="12053">
                  <c:v>5.0944119813432618</c:v>
                </c:pt>
                <c:pt idx="12054">
                  <c:v>6.0685433750809237</c:v>
                </c:pt>
                <c:pt idx="12055">
                  <c:v>4.9280869059848822</c:v>
                </c:pt>
                <c:pt idx="12056">
                  <c:v>7.0274243615303957</c:v>
                </c:pt>
                <c:pt idx="12057">
                  <c:v>6.1369904227805847</c:v>
                </c:pt>
                <c:pt idx="12058">
                  <c:v>5.8728888118351517</c:v>
                </c:pt>
                <c:pt idx="12059">
                  <c:v>5.0373496865055314</c:v>
                </c:pt>
                <c:pt idx="12060">
                  <c:v>6.9273050929930644</c:v>
                </c:pt>
                <c:pt idx="12061">
                  <c:v>5.0956083162759276</c:v>
                </c:pt>
                <c:pt idx="12062">
                  <c:v>5.9771853977931286</c:v>
                </c:pt>
                <c:pt idx="12063">
                  <c:v>5.1277845177703583</c:v>
                </c:pt>
                <c:pt idx="12064">
                  <c:v>4.9785517023397921</c:v>
                </c:pt>
                <c:pt idx="12065">
                  <c:v>5.9424137616192354</c:v>
                </c:pt>
                <c:pt idx="12066">
                  <c:v>5.1401494773193797</c:v>
                </c:pt>
                <c:pt idx="12067">
                  <c:v>5.9752120009392158</c:v>
                </c:pt>
                <c:pt idx="12068">
                  <c:v>5.9053902100213538</c:v>
                </c:pt>
                <c:pt idx="12069">
                  <c:v>6.9356591408166244</c:v>
                </c:pt>
                <c:pt idx="12070">
                  <c:v>7.0319915222511922</c:v>
                </c:pt>
                <c:pt idx="12071">
                  <c:v>6.9536920153852151</c:v>
                </c:pt>
                <c:pt idx="12072">
                  <c:v>6.1185947864887016</c:v>
                </c:pt>
                <c:pt idx="12073">
                  <c:v>5.9671223951837975</c:v>
                </c:pt>
                <c:pt idx="12074">
                  <c:v>6.0261657016969394</c:v>
                </c:pt>
                <c:pt idx="12075">
                  <c:v>6.0071066501963832</c:v>
                </c:pt>
                <c:pt idx="12076">
                  <c:v>6.060194920394756</c:v>
                </c:pt>
                <c:pt idx="12077">
                  <c:v>6.0552780411152076</c:v>
                </c:pt>
                <c:pt idx="12078">
                  <c:v>5.9259826128666422</c:v>
                </c:pt>
                <c:pt idx="12079">
                  <c:v>5.9374614455192969</c:v>
                </c:pt>
                <c:pt idx="12080">
                  <c:v>6.0261078515854676</c:v>
                </c:pt>
                <c:pt idx="12081">
                  <c:v>5.9963807248542036</c:v>
                </c:pt>
                <c:pt idx="12082">
                  <c:v>6.9220029052454226</c:v>
                </c:pt>
                <c:pt idx="12083">
                  <c:v>5.9666729831386522</c:v>
                </c:pt>
                <c:pt idx="12084">
                  <c:v>4.856821228900551</c:v>
                </c:pt>
                <c:pt idx="12085">
                  <c:v>5.1033182123943046</c:v>
                </c:pt>
                <c:pt idx="12086">
                  <c:v>5.9930364987094826</c:v>
                </c:pt>
                <c:pt idx="12087">
                  <c:v>5.9547135806765548</c:v>
                </c:pt>
                <c:pt idx="12088">
                  <c:v>5.9213347125572575</c:v>
                </c:pt>
                <c:pt idx="12089">
                  <c:v>6.1654705021909662</c:v>
                </c:pt>
                <c:pt idx="12090">
                  <c:v>6.0077268422909018</c:v>
                </c:pt>
                <c:pt idx="12091">
                  <c:v>4.9873468131750274</c:v>
                </c:pt>
                <c:pt idx="12092">
                  <c:v>5.9990060079947165</c:v>
                </c:pt>
                <c:pt idx="12093">
                  <c:v>6.0200892116655194</c:v>
                </c:pt>
                <c:pt idx="12094">
                  <c:v>6.9914388719208711</c:v>
                </c:pt>
                <c:pt idx="12095">
                  <c:v>5.9287008236703436</c:v>
                </c:pt>
                <c:pt idx="12096">
                  <c:v>5.8227754079807665</c:v>
                </c:pt>
                <c:pt idx="12097">
                  <c:v>5.9721772576576981</c:v>
                </c:pt>
                <c:pt idx="12098">
                  <c:v>6.1472192987334964</c:v>
                </c:pt>
                <c:pt idx="12099">
                  <c:v>5.1131851432621982</c:v>
                </c:pt>
                <c:pt idx="12100">
                  <c:v>6.0091487571411042</c:v>
                </c:pt>
                <c:pt idx="12101">
                  <c:v>7.0349079037341786</c:v>
                </c:pt>
                <c:pt idx="12102">
                  <c:v>5.1506686929571011</c:v>
                </c:pt>
                <c:pt idx="12103">
                  <c:v>6.1255707738025631</c:v>
                </c:pt>
                <c:pt idx="12104">
                  <c:v>7.0273533593743656</c:v>
                </c:pt>
                <c:pt idx="12105">
                  <c:v>7.1091703171752432</c:v>
                </c:pt>
                <c:pt idx="12106">
                  <c:v>4.9279437033442202</c:v>
                </c:pt>
                <c:pt idx="12107">
                  <c:v>6.0684595008856661</c:v>
                </c:pt>
                <c:pt idx="12108">
                  <c:v>6.0624748518993776</c:v>
                </c:pt>
                <c:pt idx="12109">
                  <c:v>6.0366811457622571</c:v>
                </c:pt>
                <c:pt idx="12110">
                  <c:v>4.8707610775286696</c:v>
                </c:pt>
                <c:pt idx="12111">
                  <c:v>5.9280631105982087</c:v>
                </c:pt>
                <c:pt idx="12112">
                  <c:v>5.9331301946488333</c:v>
                </c:pt>
                <c:pt idx="12113">
                  <c:v>6.0572968566455492</c:v>
                </c:pt>
                <c:pt idx="12114">
                  <c:v>6.0717429024552327</c:v>
                </c:pt>
                <c:pt idx="12115">
                  <c:v>6.0230024832961302</c:v>
                </c:pt>
                <c:pt idx="12116">
                  <c:v>7.0582311723573765</c:v>
                </c:pt>
                <c:pt idx="12117">
                  <c:v>7.1627096391531362</c:v>
                </c:pt>
                <c:pt idx="12118">
                  <c:v>7.083016924554995</c:v>
                </c:pt>
                <c:pt idx="12119">
                  <c:v>5.8584393566432382</c:v>
                </c:pt>
                <c:pt idx="12120">
                  <c:v>7.0836208245624936</c:v>
                </c:pt>
                <c:pt idx="12121">
                  <c:v>6.0598265711310439</c:v>
                </c:pt>
                <c:pt idx="12122">
                  <c:v>5.9977577619792823</c:v>
                </c:pt>
                <c:pt idx="12123">
                  <c:v>6.0416049957485276</c:v>
                </c:pt>
                <c:pt idx="12124">
                  <c:v>5.9489305738931701</c:v>
                </c:pt>
                <c:pt idx="12125">
                  <c:v>7.0818273852954938</c:v>
                </c:pt>
                <c:pt idx="12126">
                  <c:v>7.1709392438869664</c:v>
                </c:pt>
                <c:pt idx="12127">
                  <c:v>6.006271093577916</c:v>
                </c:pt>
                <c:pt idx="12128">
                  <c:v>5.8858093229324497</c:v>
                </c:pt>
                <c:pt idx="12129">
                  <c:v>5.9515586650893573</c:v>
                </c:pt>
                <c:pt idx="12130">
                  <c:v>6.9389297696731482</c:v>
                </c:pt>
                <c:pt idx="12131">
                  <c:v>7.0399650472137116</c:v>
                </c:pt>
                <c:pt idx="12132">
                  <c:v>7.0045944697896818</c:v>
                </c:pt>
                <c:pt idx="12133">
                  <c:v>4.9717533706563675</c:v>
                </c:pt>
                <c:pt idx="12134">
                  <c:v>4.8266781759010735</c:v>
                </c:pt>
                <c:pt idx="12135">
                  <c:v>6.8653263019624768</c:v>
                </c:pt>
                <c:pt idx="12136">
                  <c:v>5.9234300153551942</c:v>
                </c:pt>
                <c:pt idx="12137">
                  <c:v>7.0220160732790875</c:v>
                </c:pt>
                <c:pt idx="12138">
                  <c:v>6.9258392537881308</c:v>
                </c:pt>
                <c:pt idx="12139">
                  <c:v>5.9617096975468122</c:v>
                </c:pt>
                <c:pt idx="12140">
                  <c:v>6.007346684444105</c:v>
                </c:pt>
                <c:pt idx="12141">
                  <c:v>6.0005631270799631</c:v>
                </c:pt>
                <c:pt idx="12142">
                  <c:v>6.0703275303930679</c:v>
                </c:pt>
                <c:pt idx="12143">
                  <c:v>4.8928095342699889</c:v>
                </c:pt>
                <c:pt idx="12144">
                  <c:v>7.0545431098550395</c:v>
                </c:pt>
                <c:pt idx="12145">
                  <c:v>6.8647288847669694</c:v>
                </c:pt>
                <c:pt idx="12146">
                  <c:v>5.9072216036479723</c:v>
                </c:pt>
                <c:pt idx="12147">
                  <c:v>4.756835356098871</c:v>
                </c:pt>
                <c:pt idx="12148">
                  <c:v>6.0789303393379654</c:v>
                </c:pt>
                <c:pt idx="12149">
                  <c:v>5.8986208039834143</c:v>
                </c:pt>
                <c:pt idx="12150">
                  <c:v>5.2578150035793216</c:v>
                </c:pt>
                <c:pt idx="12151">
                  <c:v>5.9795868003761061</c:v>
                </c:pt>
                <c:pt idx="12152">
                  <c:v>5.06265289602098</c:v>
                </c:pt>
                <c:pt idx="12153">
                  <c:v>5.0802536836443073</c:v>
                </c:pt>
                <c:pt idx="12154">
                  <c:v>5.0865245572315461</c:v>
                </c:pt>
                <c:pt idx="12155">
                  <c:v>6.9649097608412323</c:v>
                </c:pt>
                <c:pt idx="12156">
                  <c:v>4.9000874973498583</c:v>
                </c:pt>
                <c:pt idx="12157">
                  <c:v>6.0663056705024712</c:v>
                </c:pt>
                <c:pt idx="12158">
                  <c:v>4.0380600015376755</c:v>
                </c:pt>
                <c:pt idx="12159">
                  <c:v>6.0301616068637998</c:v>
                </c:pt>
                <c:pt idx="12160">
                  <c:v>5.0476529779410173</c:v>
                </c:pt>
                <c:pt idx="12161">
                  <c:v>5.9805904111383157</c:v>
                </c:pt>
                <c:pt idx="12162">
                  <c:v>5.1518558981566507</c:v>
                </c:pt>
                <c:pt idx="12163">
                  <c:v>7.0464825634439947</c:v>
                </c:pt>
                <c:pt idx="12164">
                  <c:v>7.0022287306241457</c:v>
                </c:pt>
                <c:pt idx="12165">
                  <c:v>6.1544173204461998</c:v>
                </c:pt>
                <c:pt idx="12166">
                  <c:v>5.9225070891825027</c:v>
                </c:pt>
                <c:pt idx="12167">
                  <c:v>4.9719455190931408</c:v>
                </c:pt>
                <c:pt idx="12168">
                  <c:v>5.0158075896739911</c:v>
                </c:pt>
                <c:pt idx="12169">
                  <c:v>5.8457708367660777</c:v>
                </c:pt>
                <c:pt idx="12170">
                  <c:v>5.0229849062921836</c:v>
                </c:pt>
                <c:pt idx="12171">
                  <c:v>6.1658900191277652</c:v>
                </c:pt>
                <c:pt idx="12172">
                  <c:v>6.068294300377346</c:v>
                </c:pt>
                <c:pt idx="12173">
                  <c:v>5.9350513361815578</c:v>
                </c:pt>
                <c:pt idx="12174">
                  <c:v>6.06487195733704</c:v>
                </c:pt>
                <c:pt idx="12175">
                  <c:v>6.0828843662380869</c:v>
                </c:pt>
                <c:pt idx="12176">
                  <c:v>5.8558115739462924</c:v>
                </c:pt>
                <c:pt idx="12177">
                  <c:v>5.8208616558469624</c:v>
                </c:pt>
                <c:pt idx="12178">
                  <c:v>5.9887129395078817</c:v>
                </c:pt>
                <c:pt idx="12179">
                  <c:v>5.9382598813551972</c:v>
                </c:pt>
                <c:pt idx="12180">
                  <c:v>6.2735380154101579</c:v>
                </c:pt>
                <c:pt idx="12181">
                  <c:v>6.1110473898783058</c:v>
                </c:pt>
                <c:pt idx="12182">
                  <c:v>6.8547814299125802</c:v>
                </c:pt>
                <c:pt idx="12183">
                  <c:v>5.9619548887966083</c:v>
                </c:pt>
                <c:pt idx="12184">
                  <c:v>4.9590690606576926</c:v>
                </c:pt>
                <c:pt idx="12185">
                  <c:v>6.8411327959807995</c:v>
                </c:pt>
                <c:pt idx="12186">
                  <c:v>5.9651089214994073</c:v>
                </c:pt>
                <c:pt idx="12187">
                  <c:v>6.0836778017369202</c:v>
                </c:pt>
                <c:pt idx="12188">
                  <c:v>5.8298022570921733</c:v>
                </c:pt>
                <c:pt idx="12189">
                  <c:v>5.0285769389498176</c:v>
                </c:pt>
                <c:pt idx="12190">
                  <c:v>5.9445962736503812</c:v>
                </c:pt>
                <c:pt idx="12191">
                  <c:v>6.790209606505929</c:v>
                </c:pt>
                <c:pt idx="12192">
                  <c:v>5.9255813859419337</c:v>
                </c:pt>
                <c:pt idx="12193">
                  <c:v>5.9618576129097409</c:v>
                </c:pt>
                <c:pt idx="12194">
                  <c:v>4.9519507716256479</c:v>
                </c:pt>
                <c:pt idx="12195">
                  <c:v>6.8849222671967576</c:v>
                </c:pt>
                <c:pt idx="12196">
                  <c:v>7.0931838932246505</c:v>
                </c:pt>
                <c:pt idx="12197">
                  <c:v>7.1011894664230226</c:v>
                </c:pt>
                <c:pt idx="12198">
                  <c:v>7.0650566523176437</c:v>
                </c:pt>
                <c:pt idx="12199">
                  <c:v>4.9812594205417744</c:v>
                </c:pt>
                <c:pt idx="12200">
                  <c:v>6.0334350313176577</c:v>
                </c:pt>
                <c:pt idx="12201">
                  <c:v>7.1600899736422354</c:v>
                </c:pt>
                <c:pt idx="12202">
                  <c:v>6.0395099695633139</c:v>
                </c:pt>
                <c:pt idx="12203">
                  <c:v>6.8897853237426974</c:v>
                </c:pt>
                <c:pt idx="12204">
                  <c:v>5.8080294341256709</c:v>
                </c:pt>
                <c:pt idx="12205">
                  <c:v>6.0118704528749909</c:v>
                </c:pt>
                <c:pt idx="12206">
                  <c:v>7.0416620399758383</c:v>
                </c:pt>
                <c:pt idx="12207">
                  <c:v>5.9253958675578762</c:v>
                </c:pt>
                <c:pt idx="12208">
                  <c:v>5.1237255274681752</c:v>
                </c:pt>
                <c:pt idx="12209">
                  <c:v>5.8149123851302811</c:v>
                </c:pt>
                <c:pt idx="12210">
                  <c:v>5.9970127225548415</c:v>
                </c:pt>
                <c:pt idx="12211">
                  <c:v>6.0190919543447245</c:v>
                </c:pt>
                <c:pt idx="12212">
                  <c:v>6.1170856655289896</c:v>
                </c:pt>
                <c:pt idx="12213">
                  <c:v>5.0344039695338392</c:v>
                </c:pt>
                <c:pt idx="12214">
                  <c:v>6.1248631170081422</c:v>
                </c:pt>
                <c:pt idx="12215">
                  <c:v>5.973847719925093</c:v>
                </c:pt>
                <c:pt idx="12216">
                  <c:v>6.137588000459294</c:v>
                </c:pt>
                <c:pt idx="12217">
                  <c:v>5.0524407744595186</c:v>
                </c:pt>
                <c:pt idx="12218">
                  <c:v>5.9476563897725425</c:v>
                </c:pt>
                <c:pt idx="12219">
                  <c:v>5.9340087127915888</c:v>
                </c:pt>
                <c:pt idx="12220">
                  <c:v>5.8408091894548013</c:v>
                </c:pt>
                <c:pt idx="12221">
                  <c:v>7.0477661089771688</c:v>
                </c:pt>
                <c:pt idx="12222">
                  <c:v>6.8474648660088784</c:v>
                </c:pt>
                <c:pt idx="12223">
                  <c:v>6.9999192637103693</c:v>
                </c:pt>
                <c:pt idx="12224">
                  <c:v>5.8619270726835326</c:v>
                </c:pt>
                <c:pt idx="12225">
                  <c:v>6.0137603000596824</c:v>
                </c:pt>
                <c:pt idx="12226">
                  <c:v>6.0880839553415083</c:v>
                </c:pt>
                <c:pt idx="12227">
                  <c:v>5.0475194725414312</c:v>
                </c:pt>
                <c:pt idx="12228">
                  <c:v>6.0215633115545248</c:v>
                </c:pt>
                <c:pt idx="12229">
                  <c:v>5.1581631193681261</c:v>
                </c:pt>
                <c:pt idx="12230">
                  <c:v>5.9474107259923139</c:v>
                </c:pt>
                <c:pt idx="12231">
                  <c:v>5.790091181325665</c:v>
                </c:pt>
                <c:pt idx="12232">
                  <c:v>6.1969049921523851</c:v>
                </c:pt>
                <c:pt idx="12233">
                  <c:v>6.077067682413988</c:v>
                </c:pt>
                <c:pt idx="12234">
                  <c:v>6.1015485071795146</c:v>
                </c:pt>
                <c:pt idx="12235">
                  <c:v>5.143368878094587</c:v>
                </c:pt>
                <c:pt idx="12236">
                  <c:v>5.9947932967870683</c:v>
                </c:pt>
                <c:pt idx="12237">
                  <c:v>6.0061142729267365</c:v>
                </c:pt>
                <c:pt idx="12238">
                  <c:v>5.991223825983603</c:v>
                </c:pt>
                <c:pt idx="12239">
                  <c:v>5.015402848136806</c:v>
                </c:pt>
                <c:pt idx="12240">
                  <c:v>5.8041557541726903</c:v>
                </c:pt>
                <c:pt idx="12241">
                  <c:v>5.0959153502629793</c:v>
                </c:pt>
                <c:pt idx="12242">
                  <c:v>5.8039082378063647</c:v>
                </c:pt>
                <c:pt idx="12243">
                  <c:v>5.9544259196827198</c:v>
                </c:pt>
                <c:pt idx="12244">
                  <c:v>8.9697964181873981</c:v>
                </c:pt>
                <c:pt idx="12245">
                  <c:v>8.0327085564418592</c:v>
                </c:pt>
                <c:pt idx="12246">
                  <c:v>4.9344589320427339</c:v>
                </c:pt>
                <c:pt idx="12247">
                  <c:v>6.0593985968063633</c:v>
                </c:pt>
                <c:pt idx="12248">
                  <c:v>1.9369471503582578</c:v>
                </c:pt>
                <c:pt idx="12249">
                  <c:v>5.8785046067998685</c:v>
                </c:pt>
                <c:pt idx="12250">
                  <c:v>5.8559691373964373</c:v>
                </c:pt>
                <c:pt idx="12251">
                  <c:v>5.9853679929706161</c:v>
                </c:pt>
                <c:pt idx="12252">
                  <c:v>5.8321638481219917</c:v>
                </c:pt>
                <c:pt idx="12253">
                  <c:v>5.9787339113470654</c:v>
                </c:pt>
                <c:pt idx="12254">
                  <c:v>6.0571547129514069</c:v>
                </c:pt>
                <c:pt idx="12255">
                  <c:v>6.0850660221061164</c:v>
                </c:pt>
                <c:pt idx="12256">
                  <c:v>5.7494972888722629</c:v>
                </c:pt>
                <c:pt idx="12257">
                  <c:v>5.0051082241391089</c:v>
                </c:pt>
                <c:pt idx="12258">
                  <c:v>6.9878823571347368</c:v>
                </c:pt>
                <c:pt idx="12259">
                  <c:v>5.975148670319725</c:v>
                </c:pt>
                <c:pt idx="12260">
                  <c:v>6.9835031546415749</c:v>
                </c:pt>
                <c:pt idx="12261">
                  <c:v>6.1097537775329229</c:v>
                </c:pt>
                <c:pt idx="12262">
                  <c:v>3.0978333897477532</c:v>
                </c:pt>
                <c:pt idx="12263">
                  <c:v>6.0493386463201162</c:v>
                </c:pt>
                <c:pt idx="12264">
                  <c:v>5.7684594748408919</c:v>
                </c:pt>
                <c:pt idx="12265">
                  <c:v>4.8620110512472507</c:v>
                </c:pt>
                <c:pt idx="12266">
                  <c:v>6.1171974212552689</c:v>
                </c:pt>
                <c:pt idx="12267">
                  <c:v>5.958866779336863</c:v>
                </c:pt>
                <c:pt idx="12268">
                  <c:v>4.8732561734563102</c:v>
                </c:pt>
                <c:pt idx="12269">
                  <c:v>5.0612767937649661</c:v>
                </c:pt>
                <c:pt idx="12270">
                  <c:v>5.9998241432845481</c:v>
                </c:pt>
                <c:pt idx="12271">
                  <c:v>4.8625736123723309</c:v>
                </c:pt>
                <c:pt idx="12272">
                  <c:v>6.020248583097537</c:v>
                </c:pt>
                <c:pt idx="12273">
                  <c:v>5.1194927266030756</c:v>
                </c:pt>
                <c:pt idx="12274">
                  <c:v>6.219820283232778</c:v>
                </c:pt>
                <c:pt idx="12275">
                  <c:v>5.0962522731779023</c:v>
                </c:pt>
                <c:pt idx="12276">
                  <c:v>4.8870757107827867</c:v>
                </c:pt>
                <c:pt idx="12277">
                  <c:v>6.0922160434778014</c:v>
                </c:pt>
                <c:pt idx="12278">
                  <c:v>5.0228766643857705</c:v>
                </c:pt>
                <c:pt idx="12279">
                  <c:v>5.9596683633989542</c:v>
                </c:pt>
                <c:pt idx="12280">
                  <c:v>5.9391291095543375</c:v>
                </c:pt>
                <c:pt idx="12281">
                  <c:v>5.0634108391916612</c:v>
                </c:pt>
                <c:pt idx="12282">
                  <c:v>7.1116165130467053</c:v>
                </c:pt>
                <c:pt idx="12283">
                  <c:v>5.0018967508273144</c:v>
                </c:pt>
                <c:pt idx="12284">
                  <c:v>5.9711941704912741</c:v>
                </c:pt>
                <c:pt idx="12285">
                  <c:v>5.0275657494490078</c:v>
                </c:pt>
                <c:pt idx="12286">
                  <c:v>6.1757670756444565</c:v>
                </c:pt>
                <c:pt idx="12287">
                  <c:v>6.0466869087593986</c:v>
                </c:pt>
                <c:pt idx="12288">
                  <c:v>6.090300167919815</c:v>
                </c:pt>
                <c:pt idx="12289">
                  <c:v>4.9686644158087194</c:v>
                </c:pt>
                <c:pt idx="12290">
                  <c:v>5.8893347966009637</c:v>
                </c:pt>
                <c:pt idx="12291">
                  <c:v>5.9936170845282124</c:v>
                </c:pt>
                <c:pt idx="12292">
                  <c:v>6.9091013117841031</c:v>
                </c:pt>
                <c:pt idx="12293">
                  <c:v>6.7417075635927315</c:v>
                </c:pt>
                <c:pt idx="12294">
                  <c:v>6.0174852280666347</c:v>
                </c:pt>
                <c:pt idx="12295">
                  <c:v>7.1062044201979795</c:v>
                </c:pt>
                <c:pt idx="12296">
                  <c:v>5.9933992272838559</c:v>
                </c:pt>
                <c:pt idx="12297">
                  <c:v>4.777302052541021</c:v>
                </c:pt>
                <c:pt idx="12298">
                  <c:v>5.8681049069772966</c:v>
                </c:pt>
                <c:pt idx="12299">
                  <c:v>5.9673711290265965</c:v>
                </c:pt>
                <c:pt idx="12300">
                  <c:v>5.897958969271536</c:v>
                </c:pt>
                <c:pt idx="12301">
                  <c:v>5.0828388867958854</c:v>
                </c:pt>
                <c:pt idx="12302">
                  <c:v>5.9071168700511167</c:v>
                </c:pt>
                <c:pt idx="12303">
                  <c:v>6.9200953484680845</c:v>
                </c:pt>
                <c:pt idx="12304">
                  <c:v>6.9751928856479282</c:v>
                </c:pt>
                <c:pt idx="12305">
                  <c:v>4.9922789810519621</c:v>
                </c:pt>
                <c:pt idx="12306">
                  <c:v>4.9559688136118787</c:v>
                </c:pt>
                <c:pt idx="12307">
                  <c:v>7.1414785011041788</c:v>
                </c:pt>
                <c:pt idx="12308">
                  <c:v>3.8186399037625778</c:v>
                </c:pt>
                <c:pt idx="12309">
                  <c:v>6.2083630930905498</c:v>
                </c:pt>
                <c:pt idx="12310">
                  <c:v>7.0192547137384711</c:v>
                </c:pt>
                <c:pt idx="12311">
                  <c:v>6.9891707276067487</c:v>
                </c:pt>
                <c:pt idx="12312">
                  <c:v>5.8570218525886162</c:v>
                </c:pt>
                <c:pt idx="12313">
                  <c:v>5.0634564150630457</c:v>
                </c:pt>
                <c:pt idx="12314">
                  <c:v>5.8789527817448972</c:v>
                </c:pt>
                <c:pt idx="12315">
                  <c:v>5.9339788885420468</c:v>
                </c:pt>
                <c:pt idx="12316">
                  <c:v>5.0393853381827913</c:v>
                </c:pt>
                <c:pt idx="12317">
                  <c:v>5.9592633245556073</c:v>
                </c:pt>
                <c:pt idx="12318">
                  <c:v>5.1202836796287245</c:v>
                </c:pt>
                <c:pt idx="12319">
                  <c:v>6.0479919437258411</c:v>
                </c:pt>
                <c:pt idx="12320">
                  <c:v>5.0075060588772544</c:v>
                </c:pt>
                <c:pt idx="12321">
                  <c:v>5.1848955912170576</c:v>
                </c:pt>
                <c:pt idx="12322">
                  <c:v>5.0642954412111845</c:v>
                </c:pt>
                <c:pt idx="12323">
                  <c:v>6.8987887664402834</c:v>
                </c:pt>
                <c:pt idx="12324">
                  <c:v>4.9116047575540396</c:v>
                </c:pt>
                <c:pt idx="12325">
                  <c:v>5.002423110305287</c:v>
                </c:pt>
                <c:pt idx="12326">
                  <c:v>5.1399859180145739</c:v>
                </c:pt>
                <c:pt idx="12327">
                  <c:v>5.0858363155121165</c:v>
                </c:pt>
                <c:pt idx="12328">
                  <c:v>6.0135189843913812</c:v>
                </c:pt>
                <c:pt idx="12329">
                  <c:v>4.9959232005116485</c:v>
                </c:pt>
                <c:pt idx="12330">
                  <c:v>5.9280280264670973</c:v>
                </c:pt>
                <c:pt idx="12331">
                  <c:v>4.8683197736206862</c:v>
                </c:pt>
                <c:pt idx="12332">
                  <c:v>5.0242818941648153</c:v>
                </c:pt>
                <c:pt idx="12333">
                  <c:v>5.0033055123421146</c:v>
                </c:pt>
                <c:pt idx="12334">
                  <c:v>6.0268423260209758</c:v>
                </c:pt>
                <c:pt idx="12335">
                  <c:v>5.0280330247633929</c:v>
                </c:pt>
                <c:pt idx="12336">
                  <c:v>5.3183378979566474</c:v>
                </c:pt>
                <c:pt idx="12337">
                  <c:v>4.9082061476020336</c:v>
                </c:pt>
                <c:pt idx="12338">
                  <c:v>4.851402618837759</c:v>
                </c:pt>
                <c:pt idx="12339">
                  <c:v>5.8912917542920376</c:v>
                </c:pt>
                <c:pt idx="12340">
                  <c:v>4.9523704473599066</c:v>
                </c:pt>
                <c:pt idx="12341">
                  <c:v>6.0170897304388857</c:v>
                </c:pt>
                <c:pt idx="12342">
                  <c:v>4.804206151904963</c:v>
                </c:pt>
                <c:pt idx="12343">
                  <c:v>6.0129499545422478</c:v>
                </c:pt>
                <c:pt idx="12344">
                  <c:v>4.9883721754583448</c:v>
                </c:pt>
                <c:pt idx="12345">
                  <c:v>7.0996820051636913</c:v>
                </c:pt>
                <c:pt idx="12346">
                  <c:v>5.9746314472981119</c:v>
                </c:pt>
                <c:pt idx="12347">
                  <c:v>5.0017324470976279</c:v>
                </c:pt>
                <c:pt idx="12348">
                  <c:v>4.1981168016853925</c:v>
                </c:pt>
                <c:pt idx="12349">
                  <c:v>6.124653731773587</c:v>
                </c:pt>
                <c:pt idx="12350">
                  <c:v>6.0140874550958934</c:v>
                </c:pt>
                <c:pt idx="12351">
                  <c:v>5.0166976553968752</c:v>
                </c:pt>
                <c:pt idx="12352">
                  <c:v>6.0975407928351375</c:v>
                </c:pt>
                <c:pt idx="12353">
                  <c:v>5.879272019711931</c:v>
                </c:pt>
                <c:pt idx="12354">
                  <c:v>6.2479484844326443</c:v>
                </c:pt>
                <c:pt idx="12355">
                  <c:v>6.0033623575380215</c:v>
                </c:pt>
                <c:pt idx="12356">
                  <c:v>6.0974092693720481</c:v>
                </c:pt>
                <c:pt idx="12357">
                  <c:v>6.0327838525557373</c:v>
                </c:pt>
                <c:pt idx="12358">
                  <c:v>6.0225066501306985</c:v>
                </c:pt>
                <c:pt idx="12359">
                  <c:v>5.1058538524096271</c:v>
                </c:pt>
                <c:pt idx="12360">
                  <c:v>4.9208119564868031</c:v>
                </c:pt>
                <c:pt idx="12361">
                  <c:v>5.1981074837677141</c:v>
                </c:pt>
                <c:pt idx="12362">
                  <c:v>5.0199067993409399</c:v>
                </c:pt>
                <c:pt idx="12363">
                  <c:v>5.0778023718654683</c:v>
                </c:pt>
                <c:pt idx="12364">
                  <c:v>6.0024932440738095</c:v>
                </c:pt>
                <c:pt idx="12365">
                  <c:v>5.0180238004589466</c:v>
                </c:pt>
                <c:pt idx="12366">
                  <c:v>6.0431528106325212</c:v>
                </c:pt>
                <c:pt idx="12367">
                  <c:v>6.0272941587928335</c:v>
                </c:pt>
                <c:pt idx="12368">
                  <c:v>5.8850185161792385</c:v>
                </c:pt>
                <c:pt idx="12369">
                  <c:v>5.9963141522678978</c:v>
                </c:pt>
                <c:pt idx="12370">
                  <c:v>6.0386362091673176</c:v>
                </c:pt>
                <c:pt idx="12371">
                  <c:v>5.9051101448748344</c:v>
                </c:pt>
                <c:pt idx="12372">
                  <c:v>5.1526174079907516</c:v>
                </c:pt>
                <c:pt idx="12373">
                  <c:v>6.1465264522958822</c:v>
                </c:pt>
                <c:pt idx="12374">
                  <c:v>5.9603325241000116</c:v>
                </c:pt>
                <c:pt idx="12375">
                  <c:v>4.9957224428232783</c:v>
                </c:pt>
                <c:pt idx="12376">
                  <c:v>5.8482790120143004</c:v>
                </c:pt>
                <c:pt idx="12377">
                  <c:v>4.9385480652099689</c:v>
                </c:pt>
                <c:pt idx="12378">
                  <c:v>5.9763986325793859</c:v>
                </c:pt>
                <c:pt idx="12379">
                  <c:v>6.0520601196750654</c:v>
                </c:pt>
                <c:pt idx="12380">
                  <c:v>7.1069613757301626</c:v>
                </c:pt>
                <c:pt idx="12381">
                  <c:v>5.0068926707346142</c:v>
                </c:pt>
                <c:pt idx="12382">
                  <c:v>6.0263142831136882</c:v>
                </c:pt>
                <c:pt idx="12383">
                  <c:v>5.984989434329461</c:v>
                </c:pt>
                <c:pt idx="12384">
                  <c:v>6.0236589831550624</c:v>
                </c:pt>
                <c:pt idx="12385">
                  <c:v>6.0655918780057654</c:v>
                </c:pt>
                <c:pt idx="12386">
                  <c:v>6.9578662324070537</c:v>
                </c:pt>
                <c:pt idx="12387">
                  <c:v>5.9981034745063795</c:v>
                </c:pt>
                <c:pt idx="12388">
                  <c:v>6.9445883179823813</c:v>
                </c:pt>
                <c:pt idx="12389">
                  <c:v>5.8698540800718861</c:v>
                </c:pt>
                <c:pt idx="12390">
                  <c:v>6.1359989570357962</c:v>
                </c:pt>
                <c:pt idx="12391">
                  <c:v>5.9567679891124659</c:v>
                </c:pt>
                <c:pt idx="12392">
                  <c:v>4.8334318355260599</c:v>
                </c:pt>
                <c:pt idx="12393">
                  <c:v>6.8444216249541112</c:v>
                </c:pt>
                <c:pt idx="12394">
                  <c:v>6.018963244347054</c:v>
                </c:pt>
                <c:pt idx="12395">
                  <c:v>6.0380304480649389</c:v>
                </c:pt>
                <c:pt idx="12396">
                  <c:v>6.9213604863486333</c:v>
                </c:pt>
                <c:pt idx="12397">
                  <c:v>5.9584260901135968</c:v>
                </c:pt>
                <c:pt idx="12398">
                  <c:v>6.0111142396596948</c:v>
                </c:pt>
                <c:pt idx="12399">
                  <c:v>4.8435305267248392</c:v>
                </c:pt>
                <c:pt idx="12400">
                  <c:v>5.9883404000983287</c:v>
                </c:pt>
                <c:pt idx="12401">
                  <c:v>5.8247419149032584</c:v>
                </c:pt>
                <c:pt idx="12402">
                  <c:v>5.9082399799507304</c:v>
                </c:pt>
                <c:pt idx="12403">
                  <c:v>5.9660905013998855</c:v>
                </c:pt>
                <c:pt idx="12404">
                  <c:v>7.032496402379194</c:v>
                </c:pt>
                <c:pt idx="12405">
                  <c:v>5.9735864064307949</c:v>
                </c:pt>
                <c:pt idx="12406">
                  <c:v>6.9715724023164336</c:v>
                </c:pt>
                <c:pt idx="12407">
                  <c:v>6.0764756371132718</c:v>
                </c:pt>
                <c:pt idx="12408">
                  <c:v>6.0215945279159522</c:v>
                </c:pt>
                <c:pt idx="12409">
                  <c:v>4.9493748356535701</c:v>
                </c:pt>
                <c:pt idx="12410">
                  <c:v>5.8941440970709902</c:v>
                </c:pt>
                <c:pt idx="12411">
                  <c:v>6.1437097792289865</c:v>
                </c:pt>
                <c:pt idx="12412">
                  <c:v>6.1426867924105819</c:v>
                </c:pt>
                <c:pt idx="12413">
                  <c:v>6.0168249700843175</c:v>
                </c:pt>
                <c:pt idx="12414">
                  <c:v>6.0629232743246844</c:v>
                </c:pt>
                <c:pt idx="12415">
                  <c:v>6.0535033744676321</c:v>
                </c:pt>
                <c:pt idx="12416">
                  <c:v>6.0580487112256129</c:v>
                </c:pt>
                <c:pt idx="12417">
                  <c:v>5.7662145259117024</c:v>
                </c:pt>
                <c:pt idx="12418">
                  <c:v>6.131084846700622</c:v>
                </c:pt>
                <c:pt idx="12419">
                  <c:v>5.8711834840976111</c:v>
                </c:pt>
                <c:pt idx="12420">
                  <c:v>7.0677205881458347</c:v>
                </c:pt>
                <c:pt idx="12421">
                  <c:v>6.0259738804093725</c:v>
                </c:pt>
                <c:pt idx="12422">
                  <c:v>5.9094912257137695</c:v>
                </c:pt>
                <c:pt idx="12423">
                  <c:v>5.8567226232068794</c:v>
                </c:pt>
                <c:pt idx="12424">
                  <c:v>6.1275615223941138</c:v>
                </c:pt>
                <c:pt idx="12425">
                  <c:v>5.9700291983964489</c:v>
                </c:pt>
                <c:pt idx="12426">
                  <c:v>5.8757550733487349</c:v>
                </c:pt>
                <c:pt idx="12427">
                  <c:v>6.0238955785364254</c:v>
                </c:pt>
                <c:pt idx="12428">
                  <c:v>6.8593787374901227</c:v>
                </c:pt>
                <c:pt idx="12429">
                  <c:v>6.0022244570501631</c:v>
                </c:pt>
                <c:pt idx="12430">
                  <c:v>7.1869129293068728</c:v>
                </c:pt>
                <c:pt idx="12431">
                  <c:v>5.8958324824606558</c:v>
                </c:pt>
                <c:pt idx="12432">
                  <c:v>6.0741282445414519</c:v>
                </c:pt>
                <c:pt idx="12433">
                  <c:v>5.825252297726685</c:v>
                </c:pt>
                <c:pt idx="12434">
                  <c:v>5.0855530740869481</c:v>
                </c:pt>
                <c:pt idx="12435">
                  <c:v>3.8269730225027225</c:v>
                </c:pt>
                <c:pt idx="12436">
                  <c:v>6.0678095234678739</c:v>
                </c:pt>
                <c:pt idx="12437">
                  <c:v>4.1756300779893341</c:v>
                </c:pt>
                <c:pt idx="12438">
                  <c:v>5.9112141512277709</c:v>
                </c:pt>
                <c:pt idx="12439">
                  <c:v>6.0948923086311195</c:v>
                </c:pt>
                <c:pt idx="12440">
                  <c:v>5.1256538909121234</c:v>
                </c:pt>
                <c:pt idx="12441">
                  <c:v>6.0810546802003671</c:v>
                </c:pt>
                <c:pt idx="12442">
                  <c:v>4.0795317467708765</c:v>
                </c:pt>
                <c:pt idx="12443">
                  <c:v>6.050066713136248</c:v>
                </c:pt>
                <c:pt idx="12444">
                  <c:v>6.0775429022280676</c:v>
                </c:pt>
                <c:pt idx="12445">
                  <c:v>6.0220228506930287</c:v>
                </c:pt>
                <c:pt idx="12446">
                  <c:v>6.1116734405239468</c:v>
                </c:pt>
                <c:pt idx="12447">
                  <c:v>7.0359037564182092</c:v>
                </c:pt>
                <c:pt idx="12448">
                  <c:v>4.8417474555848914</c:v>
                </c:pt>
                <c:pt idx="12449">
                  <c:v>6.205809831771707</c:v>
                </c:pt>
                <c:pt idx="12450">
                  <c:v>7.0677875264616583</c:v>
                </c:pt>
                <c:pt idx="12451">
                  <c:v>5.9346433587132399</c:v>
                </c:pt>
                <c:pt idx="12452">
                  <c:v>5.018100837800926</c:v>
                </c:pt>
                <c:pt idx="12453">
                  <c:v>6.0757487553870879</c:v>
                </c:pt>
                <c:pt idx="12454">
                  <c:v>6.06170407715544</c:v>
                </c:pt>
                <c:pt idx="12455">
                  <c:v>6.0500880466007665</c:v>
                </c:pt>
                <c:pt idx="12456">
                  <c:v>5.990543945346559</c:v>
                </c:pt>
                <c:pt idx="12457">
                  <c:v>3.8404232916354863</c:v>
                </c:pt>
                <c:pt idx="12458">
                  <c:v>6.9079131313399573</c:v>
                </c:pt>
                <c:pt idx="12459">
                  <c:v>5.9970751259004258</c:v>
                </c:pt>
                <c:pt idx="12460">
                  <c:v>6.9595786925820962</c:v>
                </c:pt>
                <c:pt idx="12461">
                  <c:v>6.1267719536005405</c:v>
                </c:pt>
                <c:pt idx="12462">
                  <c:v>4.8655516512264008</c:v>
                </c:pt>
                <c:pt idx="12463">
                  <c:v>5.9854568875558831</c:v>
                </c:pt>
                <c:pt idx="12464">
                  <c:v>5.9192379401195394</c:v>
                </c:pt>
                <c:pt idx="12465">
                  <c:v>5.9642565371848901</c:v>
                </c:pt>
                <c:pt idx="12466">
                  <c:v>7.2506500577139015</c:v>
                </c:pt>
                <c:pt idx="12467">
                  <c:v>5.981351942958776</c:v>
                </c:pt>
                <c:pt idx="12468">
                  <c:v>5.0143956607034035</c:v>
                </c:pt>
                <c:pt idx="12469">
                  <c:v>6.9843231967671464</c:v>
                </c:pt>
                <c:pt idx="12470">
                  <c:v>5.0503812545813958</c:v>
                </c:pt>
                <c:pt idx="12471">
                  <c:v>4.9370131918513929</c:v>
                </c:pt>
                <c:pt idx="12472">
                  <c:v>5.9315808380246819</c:v>
                </c:pt>
                <c:pt idx="12473">
                  <c:v>5.9450560557607037</c:v>
                </c:pt>
                <c:pt idx="12474">
                  <c:v>6.9842800642512426</c:v>
                </c:pt>
                <c:pt idx="12475">
                  <c:v>6.9620292719386994</c:v>
                </c:pt>
                <c:pt idx="12476">
                  <c:v>6.0870061011120562</c:v>
                </c:pt>
                <c:pt idx="12477">
                  <c:v>4.9536406278191745</c:v>
                </c:pt>
                <c:pt idx="12478">
                  <c:v>5.9772186023648741</c:v>
                </c:pt>
                <c:pt idx="12479">
                  <c:v>6.9315125071804111</c:v>
                </c:pt>
                <c:pt idx="12480">
                  <c:v>6.0847438775694824</c:v>
                </c:pt>
                <c:pt idx="12481">
                  <c:v>5.9726849031352156</c:v>
                </c:pt>
                <c:pt idx="12482">
                  <c:v>7.0942791212587295</c:v>
                </c:pt>
                <c:pt idx="12483">
                  <c:v>6.9301045142268096</c:v>
                </c:pt>
                <c:pt idx="12484">
                  <c:v>4.9603410520520992</c:v>
                </c:pt>
                <c:pt idx="12485">
                  <c:v>5.9159489532764189</c:v>
                </c:pt>
                <c:pt idx="12486">
                  <c:v>7.0573888721046574</c:v>
                </c:pt>
                <c:pt idx="12487">
                  <c:v>5.9069732564007253</c:v>
                </c:pt>
                <c:pt idx="12488">
                  <c:v>4.9909118611068637</c:v>
                </c:pt>
                <c:pt idx="12489">
                  <c:v>4.8657084333300729</c:v>
                </c:pt>
                <c:pt idx="12490">
                  <c:v>7.1383629276669502</c:v>
                </c:pt>
                <c:pt idx="12491">
                  <c:v>5.9700854820467173</c:v>
                </c:pt>
                <c:pt idx="12492">
                  <c:v>5.9333495261469427</c:v>
                </c:pt>
                <c:pt idx="12493">
                  <c:v>6.9836965705761784</c:v>
                </c:pt>
                <c:pt idx="12494">
                  <c:v>6.0201124368195789</c:v>
                </c:pt>
                <c:pt idx="12495">
                  <c:v>7.0187883969785014</c:v>
                </c:pt>
                <c:pt idx="12496">
                  <c:v>6.1348928208380489</c:v>
                </c:pt>
                <c:pt idx="12497">
                  <c:v>5.8162807930870599</c:v>
                </c:pt>
                <c:pt idx="12498">
                  <c:v>7.0977451739077448</c:v>
                </c:pt>
                <c:pt idx="12499">
                  <c:v>6.1112436907175089</c:v>
                </c:pt>
                <c:pt idx="12500">
                  <c:v>7.0341902754338372</c:v>
                </c:pt>
                <c:pt idx="12501">
                  <c:v>7.0717192205019526</c:v>
                </c:pt>
                <c:pt idx="12502">
                  <c:v>6.9888494295636141</c:v>
                </c:pt>
                <c:pt idx="12503">
                  <c:v>5.9488457455572936</c:v>
                </c:pt>
                <c:pt idx="12504">
                  <c:v>6.8926288128118705</c:v>
                </c:pt>
                <c:pt idx="12505">
                  <c:v>6.7914553202174535</c:v>
                </c:pt>
                <c:pt idx="12506">
                  <c:v>6.9291520150946821</c:v>
                </c:pt>
                <c:pt idx="12507">
                  <c:v>5.9970985038957636</c:v>
                </c:pt>
                <c:pt idx="12508">
                  <c:v>6.1049183312270401</c:v>
                </c:pt>
                <c:pt idx="12509">
                  <c:v>3.9263915675200498</c:v>
                </c:pt>
                <c:pt idx="12510">
                  <c:v>6.0337959120350781</c:v>
                </c:pt>
                <c:pt idx="12511">
                  <c:v>6.8895703700418647</c:v>
                </c:pt>
                <c:pt idx="12512">
                  <c:v>7.1621296140667488</c:v>
                </c:pt>
                <c:pt idx="12513">
                  <c:v>6.9996457502806342</c:v>
                </c:pt>
                <c:pt idx="12514">
                  <c:v>3.0533032506038471</c:v>
                </c:pt>
                <c:pt idx="12515">
                  <c:v>6.1417582254162131</c:v>
                </c:pt>
                <c:pt idx="12516">
                  <c:v>7.0449373209042241</c:v>
                </c:pt>
                <c:pt idx="12517">
                  <c:v>6.9521504808440655</c:v>
                </c:pt>
                <c:pt idx="12518">
                  <c:v>5.0183721449420862</c:v>
                </c:pt>
                <c:pt idx="12519">
                  <c:v>6.0781998100523777</c:v>
                </c:pt>
                <c:pt idx="12520">
                  <c:v>5.951734599251929</c:v>
                </c:pt>
                <c:pt idx="12521">
                  <c:v>6.0560543707897958</c:v>
                </c:pt>
                <c:pt idx="12522">
                  <c:v>4.8561330856166993</c:v>
                </c:pt>
                <c:pt idx="12523">
                  <c:v>5.9345603951306929</c:v>
                </c:pt>
                <c:pt idx="12524">
                  <c:v>6.7978689691471468</c:v>
                </c:pt>
                <c:pt idx="12525">
                  <c:v>6.0625436628862897</c:v>
                </c:pt>
                <c:pt idx="12526">
                  <c:v>4.9827217773634604</c:v>
                </c:pt>
                <c:pt idx="12527">
                  <c:v>6.0304847131003747</c:v>
                </c:pt>
                <c:pt idx="12528">
                  <c:v>5.8650973291304567</c:v>
                </c:pt>
                <c:pt idx="12529">
                  <c:v>5.0700090580334694</c:v>
                </c:pt>
                <c:pt idx="12530">
                  <c:v>5.8726949925297216</c:v>
                </c:pt>
                <c:pt idx="12531">
                  <c:v>5.0330976817454465</c:v>
                </c:pt>
                <c:pt idx="12532">
                  <c:v>5.0407771863918605</c:v>
                </c:pt>
                <c:pt idx="12533">
                  <c:v>6.1104729271173044</c:v>
                </c:pt>
                <c:pt idx="12534">
                  <c:v>5.9106466146923822</c:v>
                </c:pt>
                <c:pt idx="12535">
                  <c:v>6.1608241847917808</c:v>
                </c:pt>
                <c:pt idx="12536">
                  <c:v>6.053590674879036</c:v>
                </c:pt>
                <c:pt idx="12537">
                  <c:v>6.9282250794592386</c:v>
                </c:pt>
                <c:pt idx="12538">
                  <c:v>6.0769938977058642</c:v>
                </c:pt>
                <c:pt idx="12539">
                  <c:v>5.8905298693693116</c:v>
                </c:pt>
                <c:pt idx="12540">
                  <c:v>6.0059675197137379</c:v>
                </c:pt>
                <c:pt idx="12541">
                  <c:v>6.0945529847674083</c:v>
                </c:pt>
                <c:pt idx="12542">
                  <c:v>1.9444771351321299</c:v>
                </c:pt>
                <c:pt idx="12543">
                  <c:v>5.8366687187289923</c:v>
                </c:pt>
                <c:pt idx="12544">
                  <c:v>6.3239402387660668</c:v>
                </c:pt>
                <c:pt idx="12545">
                  <c:v>6.9774121344182944</c:v>
                </c:pt>
                <c:pt idx="12546">
                  <c:v>5.0667000266821436</c:v>
                </c:pt>
                <c:pt idx="12547">
                  <c:v>5.9626460912327595</c:v>
                </c:pt>
                <c:pt idx="12548">
                  <c:v>7.1693857186145395</c:v>
                </c:pt>
                <c:pt idx="12549">
                  <c:v>6.0277078134265585</c:v>
                </c:pt>
                <c:pt idx="12550">
                  <c:v>6.0962296961757048</c:v>
                </c:pt>
                <c:pt idx="12551">
                  <c:v>5.8800630745036582</c:v>
                </c:pt>
                <c:pt idx="12552">
                  <c:v>6.1372102193592921</c:v>
                </c:pt>
                <c:pt idx="12553">
                  <c:v>6.8764704747095093</c:v>
                </c:pt>
                <c:pt idx="12554">
                  <c:v>2.1861048549222044</c:v>
                </c:pt>
                <c:pt idx="12555">
                  <c:v>5.9952060671323588</c:v>
                </c:pt>
                <c:pt idx="12556">
                  <c:v>6.0193470672033076</c:v>
                </c:pt>
                <c:pt idx="12557">
                  <c:v>4.9791072779773966</c:v>
                </c:pt>
                <c:pt idx="12558">
                  <c:v>5.9737174766364207</c:v>
                </c:pt>
                <c:pt idx="12559">
                  <c:v>6.1195493719708294</c:v>
                </c:pt>
                <c:pt idx="12560">
                  <c:v>5.8956641511202061</c:v>
                </c:pt>
                <c:pt idx="12561">
                  <c:v>5.8325529377932384</c:v>
                </c:pt>
                <c:pt idx="12562">
                  <c:v>6.0621872556309091</c:v>
                </c:pt>
                <c:pt idx="12563">
                  <c:v>5.8561129542094719</c:v>
                </c:pt>
                <c:pt idx="12564">
                  <c:v>6.2943603292040136</c:v>
                </c:pt>
                <c:pt idx="12565">
                  <c:v>6.0034051585482171</c:v>
                </c:pt>
                <c:pt idx="12566">
                  <c:v>6.1559974934685027</c:v>
                </c:pt>
                <c:pt idx="12567">
                  <c:v>5.8672310118208362</c:v>
                </c:pt>
                <c:pt idx="12568">
                  <c:v>5.9401591770838706</c:v>
                </c:pt>
                <c:pt idx="12569">
                  <c:v>5.963079742083278</c:v>
                </c:pt>
                <c:pt idx="12570">
                  <c:v>5.0078945950724485</c:v>
                </c:pt>
                <c:pt idx="12571">
                  <c:v>6.0177430336588911</c:v>
                </c:pt>
                <c:pt idx="12572">
                  <c:v>4.880816111180037</c:v>
                </c:pt>
                <c:pt idx="12573">
                  <c:v>6.0248796949304477</c:v>
                </c:pt>
                <c:pt idx="12574">
                  <c:v>5.0280860738682147</c:v>
                </c:pt>
                <c:pt idx="12575">
                  <c:v>6.9729959159643364</c:v>
                </c:pt>
                <c:pt idx="12576">
                  <c:v>5.9896893789371788</c:v>
                </c:pt>
                <c:pt idx="12577">
                  <c:v>6.0906777505212988</c:v>
                </c:pt>
                <c:pt idx="12578">
                  <c:v>6.7371432976861314</c:v>
                </c:pt>
                <c:pt idx="12579">
                  <c:v>5.9307173656251528</c:v>
                </c:pt>
                <c:pt idx="12580">
                  <c:v>6.1708736857354864</c:v>
                </c:pt>
                <c:pt idx="12581">
                  <c:v>5.886813209769536</c:v>
                </c:pt>
                <c:pt idx="12582">
                  <c:v>5.9363015073802483</c:v>
                </c:pt>
                <c:pt idx="12583">
                  <c:v>6.0676692180464959</c:v>
                </c:pt>
                <c:pt idx="12584">
                  <c:v>5.9195732702292894</c:v>
                </c:pt>
                <c:pt idx="12585">
                  <c:v>5.8612206181971001</c:v>
                </c:pt>
                <c:pt idx="12586">
                  <c:v>5.8386580435757454</c:v>
                </c:pt>
                <c:pt idx="12587">
                  <c:v>6.0149330780596779</c:v>
                </c:pt>
                <c:pt idx="12588">
                  <c:v>6.0162980490043898</c:v>
                </c:pt>
                <c:pt idx="12589">
                  <c:v>6.0559946862119078</c:v>
                </c:pt>
                <c:pt idx="12590">
                  <c:v>5.7993783812223958</c:v>
                </c:pt>
                <c:pt idx="12591">
                  <c:v>6.9525935120704085</c:v>
                </c:pt>
                <c:pt idx="12592">
                  <c:v>4.0752358930515822</c:v>
                </c:pt>
                <c:pt idx="12593">
                  <c:v>5.8467269325469031</c:v>
                </c:pt>
                <c:pt idx="12594">
                  <c:v>5.9021736357879888</c:v>
                </c:pt>
                <c:pt idx="12595">
                  <c:v>6.0787814333319101</c:v>
                </c:pt>
                <c:pt idx="12596">
                  <c:v>6.1103340432458522</c:v>
                </c:pt>
                <c:pt idx="12597">
                  <c:v>6.1158979986223452</c:v>
                </c:pt>
                <c:pt idx="12598">
                  <c:v>5.9546514695331938</c:v>
                </c:pt>
                <c:pt idx="12599">
                  <c:v>5.9387889620214356</c:v>
                </c:pt>
                <c:pt idx="12600">
                  <c:v>5.8591793943855697</c:v>
                </c:pt>
                <c:pt idx="12601">
                  <c:v>5.9755095795865341</c:v>
                </c:pt>
                <c:pt idx="12602">
                  <c:v>5.8776707030901427</c:v>
                </c:pt>
                <c:pt idx="12603">
                  <c:v>6.139659592453194</c:v>
                </c:pt>
                <c:pt idx="12604">
                  <c:v>6.9618562786093001</c:v>
                </c:pt>
                <c:pt idx="12605">
                  <c:v>5.9980262127018298</c:v>
                </c:pt>
                <c:pt idx="12606">
                  <c:v>6.0449834867042682</c:v>
                </c:pt>
                <c:pt idx="12607">
                  <c:v>6.9241699756238244</c:v>
                </c:pt>
                <c:pt idx="12608">
                  <c:v>6.0626676041726437</c:v>
                </c:pt>
                <c:pt idx="12609">
                  <c:v>5.8310983186727077</c:v>
                </c:pt>
                <c:pt idx="12610">
                  <c:v>5.8499801302425558</c:v>
                </c:pt>
                <c:pt idx="12611">
                  <c:v>5.8863490289588665</c:v>
                </c:pt>
                <c:pt idx="12612">
                  <c:v>6.1936783741300587</c:v>
                </c:pt>
                <c:pt idx="12613">
                  <c:v>5.9932773660295178</c:v>
                </c:pt>
                <c:pt idx="12614">
                  <c:v>6.0080804099803986</c:v>
                </c:pt>
                <c:pt idx="12615">
                  <c:v>6.0561149795766509</c:v>
                </c:pt>
                <c:pt idx="12616">
                  <c:v>6.1358861914006777</c:v>
                </c:pt>
                <c:pt idx="12617">
                  <c:v>5.8826563055667709</c:v>
                </c:pt>
                <c:pt idx="12618">
                  <c:v>6.0204089434773467</c:v>
                </c:pt>
                <c:pt idx="12619">
                  <c:v>6.1203960890602129</c:v>
                </c:pt>
                <c:pt idx="12620">
                  <c:v>6.6696032514314787</c:v>
                </c:pt>
                <c:pt idx="12621">
                  <c:v>6.0822771785007106</c:v>
                </c:pt>
                <c:pt idx="12622">
                  <c:v>6.1773772275438308</c:v>
                </c:pt>
                <c:pt idx="12623">
                  <c:v>6.7976880761366356</c:v>
                </c:pt>
                <c:pt idx="12624">
                  <c:v>3.0269737410496664</c:v>
                </c:pt>
                <c:pt idx="12625">
                  <c:v>7.0786278353117726</c:v>
                </c:pt>
                <c:pt idx="12626">
                  <c:v>6.1515952184995637</c:v>
                </c:pt>
                <c:pt idx="12627">
                  <c:v>7.0265679740663947</c:v>
                </c:pt>
                <c:pt idx="12628">
                  <c:v>5.997413032325615</c:v>
                </c:pt>
                <c:pt idx="12629">
                  <c:v>5.8477492433427978</c:v>
                </c:pt>
                <c:pt idx="12630">
                  <c:v>6.0285402314796848</c:v>
                </c:pt>
                <c:pt idx="12631">
                  <c:v>5.8869408892892601</c:v>
                </c:pt>
                <c:pt idx="12632">
                  <c:v>6.0192069697734629</c:v>
                </c:pt>
                <c:pt idx="12633">
                  <c:v>6.0950656526248608</c:v>
                </c:pt>
                <c:pt idx="12634">
                  <c:v>5.8895283755333745</c:v>
                </c:pt>
                <c:pt idx="12635">
                  <c:v>6.1067655015510747</c:v>
                </c:pt>
                <c:pt idx="12636">
                  <c:v>6.0438264812721165</c:v>
                </c:pt>
                <c:pt idx="12637">
                  <c:v>6.0919549088735314</c:v>
                </c:pt>
                <c:pt idx="12638">
                  <c:v>6.1128436437886009</c:v>
                </c:pt>
                <c:pt idx="12639">
                  <c:v>6.0371399707814559</c:v>
                </c:pt>
                <c:pt idx="12640">
                  <c:v>6.154492464412364</c:v>
                </c:pt>
                <c:pt idx="12641">
                  <c:v>5.9552051720499311</c:v>
                </c:pt>
                <c:pt idx="12642">
                  <c:v>6.0676362667105428</c:v>
                </c:pt>
                <c:pt idx="12643">
                  <c:v>5.9802761376342213</c:v>
                </c:pt>
                <c:pt idx="12644">
                  <c:v>5.0629710207567724</c:v>
                </c:pt>
                <c:pt idx="12645">
                  <c:v>6.1565268765005046</c:v>
                </c:pt>
                <c:pt idx="12646">
                  <c:v>6.0303720260529543</c:v>
                </c:pt>
                <c:pt idx="12647">
                  <c:v>6.9732326524726664</c:v>
                </c:pt>
                <c:pt idx="12648">
                  <c:v>6.9356138594164145</c:v>
                </c:pt>
                <c:pt idx="12649">
                  <c:v>5.8663647406681454</c:v>
                </c:pt>
                <c:pt idx="12650">
                  <c:v>6.1123683699984701</c:v>
                </c:pt>
                <c:pt idx="12651">
                  <c:v>5.0002850993163523</c:v>
                </c:pt>
                <c:pt idx="12652">
                  <c:v>4.017703542072744</c:v>
                </c:pt>
                <c:pt idx="12653">
                  <c:v>3.9222297218111644</c:v>
                </c:pt>
                <c:pt idx="12654">
                  <c:v>5.897116104167238</c:v>
                </c:pt>
                <c:pt idx="12655">
                  <c:v>7.1644864234994179</c:v>
                </c:pt>
                <c:pt idx="12656">
                  <c:v>5.0736765198485765</c:v>
                </c:pt>
                <c:pt idx="12657">
                  <c:v>6.0452188367573312</c:v>
                </c:pt>
                <c:pt idx="12658">
                  <c:v>6.0642173820719432</c:v>
                </c:pt>
                <c:pt idx="12659">
                  <c:v>5.004812211522875</c:v>
                </c:pt>
                <c:pt idx="12660">
                  <c:v>5.0918384348814021</c:v>
                </c:pt>
                <c:pt idx="12661">
                  <c:v>5.9177658302905156</c:v>
                </c:pt>
                <c:pt idx="12662">
                  <c:v>4.9452411259560112</c:v>
                </c:pt>
                <c:pt idx="12663">
                  <c:v>6.1157249052648259</c:v>
                </c:pt>
                <c:pt idx="12664">
                  <c:v>6.0320558279728518</c:v>
                </c:pt>
                <c:pt idx="12665">
                  <c:v>4.9386415199736415</c:v>
                </c:pt>
                <c:pt idx="12666">
                  <c:v>5.943723422475558</c:v>
                </c:pt>
                <c:pt idx="12667">
                  <c:v>7.0692576016358393</c:v>
                </c:pt>
                <c:pt idx="12668">
                  <c:v>5.9673659061460951</c:v>
                </c:pt>
                <c:pt idx="12669">
                  <c:v>6.9755155566703078</c:v>
                </c:pt>
                <c:pt idx="12670">
                  <c:v>4.872169731235295</c:v>
                </c:pt>
                <c:pt idx="12671">
                  <c:v>4.9348931735159116</c:v>
                </c:pt>
                <c:pt idx="12672">
                  <c:v>5.98026771911948</c:v>
                </c:pt>
                <c:pt idx="12673">
                  <c:v>6.0657782694687015</c:v>
                </c:pt>
                <c:pt idx="12674">
                  <c:v>5.1181897551515405</c:v>
                </c:pt>
                <c:pt idx="12675">
                  <c:v>6.0734669709654598</c:v>
                </c:pt>
                <c:pt idx="12676">
                  <c:v>6.122984246826654</c:v>
                </c:pt>
                <c:pt idx="12677">
                  <c:v>5.9095423077091827</c:v>
                </c:pt>
                <c:pt idx="12678">
                  <c:v>5.8793470802112244</c:v>
                </c:pt>
                <c:pt idx="12679">
                  <c:v>7.0437350373457059</c:v>
                </c:pt>
                <c:pt idx="12680">
                  <c:v>7.0381617188990084</c:v>
                </c:pt>
                <c:pt idx="12681">
                  <c:v>7.0991960712011331</c:v>
                </c:pt>
                <c:pt idx="12682">
                  <c:v>6.9624281280167439</c:v>
                </c:pt>
                <c:pt idx="12683">
                  <c:v>5.9278897500334917</c:v>
                </c:pt>
                <c:pt idx="12684">
                  <c:v>7.0345319739540066</c:v>
                </c:pt>
                <c:pt idx="12685">
                  <c:v>5.8477395404025527</c:v>
                </c:pt>
                <c:pt idx="12686">
                  <c:v>6.045866667913141</c:v>
                </c:pt>
                <c:pt idx="12687">
                  <c:v>6.1226534169492286</c:v>
                </c:pt>
                <c:pt idx="12688">
                  <c:v>6.0669669113346716</c:v>
                </c:pt>
                <c:pt idx="12689">
                  <c:v>6.0147184640897402</c:v>
                </c:pt>
                <c:pt idx="12690">
                  <c:v>5.9301001082011844</c:v>
                </c:pt>
                <c:pt idx="12691">
                  <c:v>4.9953426413430577</c:v>
                </c:pt>
                <c:pt idx="12692">
                  <c:v>6.0414879231445004</c:v>
                </c:pt>
                <c:pt idx="12693">
                  <c:v>5.8123329304592035</c:v>
                </c:pt>
                <c:pt idx="12694">
                  <c:v>5.8971475962533715</c:v>
                </c:pt>
                <c:pt idx="12695">
                  <c:v>6.0662297363024829</c:v>
                </c:pt>
                <c:pt idx="12696">
                  <c:v>6.1654970849832829</c:v>
                </c:pt>
                <c:pt idx="12697">
                  <c:v>5.9447833852030838</c:v>
                </c:pt>
                <c:pt idx="12698">
                  <c:v>5.8826305017787091</c:v>
                </c:pt>
                <c:pt idx="12699">
                  <c:v>6.0269533795047847</c:v>
                </c:pt>
                <c:pt idx="12700">
                  <c:v>5.0018401228886198</c:v>
                </c:pt>
                <c:pt idx="12701">
                  <c:v>5.9782955394904276</c:v>
                </c:pt>
                <c:pt idx="12702">
                  <c:v>7.0073104870721847</c:v>
                </c:pt>
                <c:pt idx="12703">
                  <c:v>5.9278119851193658</c:v>
                </c:pt>
                <c:pt idx="12704">
                  <c:v>5.9665642055665602</c:v>
                </c:pt>
                <c:pt idx="12705">
                  <c:v>4.9075114761661673</c:v>
                </c:pt>
                <c:pt idx="12706">
                  <c:v>5.909836848397406</c:v>
                </c:pt>
                <c:pt idx="12707">
                  <c:v>6.0658854310799306</c:v>
                </c:pt>
                <c:pt idx="12708">
                  <c:v>5.92431434971689</c:v>
                </c:pt>
                <c:pt idx="12709">
                  <c:v>6.9600979619186019</c:v>
                </c:pt>
                <c:pt idx="12710">
                  <c:v>6.0032700582475407</c:v>
                </c:pt>
                <c:pt idx="12711">
                  <c:v>6.0032907406223925</c:v>
                </c:pt>
                <c:pt idx="12712">
                  <c:v>5.981100064189766</c:v>
                </c:pt>
                <c:pt idx="12713">
                  <c:v>6.1168398569443081</c:v>
                </c:pt>
                <c:pt idx="12714">
                  <c:v>6.1409091196987982</c:v>
                </c:pt>
                <c:pt idx="12715">
                  <c:v>5.0956300513233641</c:v>
                </c:pt>
                <c:pt idx="12716">
                  <c:v>5.9069240284394722</c:v>
                </c:pt>
                <c:pt idx="12717">
                  <c:v>5.9178110068597336</c:v>
                </c:pt>
                <c:pt idx="12718">
                  <c:v>6.1184839803740774</c:v>
                </c:pt>
                <c:pt idx="12719">
                  <c:v>4.9602749504803603</c:v>
                </c:pt>
                <c:pt idx="12720">
                  <c:v>6.0513757172422222</c:v>
                </c:pt>
                <c:pt idx="12721">
                  <c:v>7.0095139871802559</c:v>
                </c:pt>
                <c:pt idx="12722">
                  <c:v>6.1212141911846141</c:v>
                </c:pt>
                <c:pt idx="12723">
                  <c:v>6.0434613865304279</c:v>
                </c:pt>
                <c:pt idx="12724">
                  <c:v>6.2425671952820636</c:v>
                </c:pt>
                <c:pt idx="12725">
                  <c:v>5.9933474644265274</c:v>
                </c:pt>
                <c:pt idx="12726">
                  <c:v>6.1564388002791191</c:v>
                </c:pt>
                <c:pt idx="12727">
                  <c:v>5.9765162997110437</c:v>
                </c:pt>
                <c:pt idx="12728">
                  <c:v>5.8855668449705689</c:v>
                </c:pt>
                <c:pt idx="12729">
                  <c:v>4.9642499126818933</c:v>
                </c:pt>
                <c:pt idx="12730">
                  <c:v>5.9558573667155343</c:v>
                </c:pt>
                <c:pt idx="12731">
                  <c:v>4.98092200326158</c:v>
                </c:pt>
                <c:pt idx="12732">
                  <c:v>5.966704583612791</c:v>
                </c:pt>
                <c:pt idx="12733">
                  <c:v>5.9901220799074322</c:v>
                </c:pt>
                <c:pt idx="12734">
                  <c:v>6.8212082305006057</c:v>
                </c:pt>
                <c:pt idx="12735">
                  <c:v>7.0856398215784262</c:v>
                </c:pt>
                <c:pt idx="12736">
                  <c:v>6.0785845575424737</c:v>
                </c:pt>
                <c:pt idx="12737">
                  <c:v>5.9205312248677311</c:v>
                </c:pt>
                <c:pt idx="12738">
                  <c:v>5.9144728955654369</c:v>
                </c:pt>
                <c:pt idx="12739">
                  <c:v>5.1557007073720289</c:v>
                </c:pt>
                <c:pt idx="12740">
                  <c:v>5.9381023629031215</c:v>
                </c:pt>
                <c:pt idx="12741">
                  <c:v>4.950810167906849</c:v>
                </c:pt>
                <c:pt idx="12742">
                  <c:v>5.0714360400085674</c:v>
                </c:pt>
                <c:pt idx="12743">
                  <c:v>7.0220584742693983</c:v>
                </c:pt>
                <c:pt idx="12744">
                  <c:v>6.9980034800454467</c:v>
                </c:pt>
                <c:pt idx="12745">
                  <c:v>6.02117315151611</c:v>
                </c:pt>
                <c:pt idx="12746">
                  <c:v>6.9796919597653488</c:v>
                </c:pt>
                <c:pt idx="12747">
                  <c:v>7.1336064069370462</c:v>
                </c:pt>
                <c:pt idx="12748">
                  <c:v>6.8884272099769541</c:v>
                </c:pt>
                <c:pt idx="12749">
                  <c:v>6.9515230876181731</c:v>
                </c:pt>
                <c:pt idx="12750">
                  <c:v>6.9698944480456761</c:v>
                </c:pt>
                <c:pt idx="12751">
                  <c:v>7.0686429074129187</c:v>
                </c:pt>
                <c:pt idx="12752">
                  <c:v>7.0092899210714075</c:v>
                </c:pt>
                <c:pt idx="12753">
                  <c:v>7.2744873771048759</c:v>
                </c:pt>
                <c:pt idx="12754">
                  <c:v>6.8842889263865077</c:v>
                </c:pt>
                <c:pt idx="12755">
                  <c:v>5.8529685288440945</c:v>
                </c:pt>
                <c:pt idx="12756">
                  <c:v>6.9517086587037884</c:v>
                </c:pt>
                <c:pt idx="12757">
                  <c:v>7.0469805339227705</c:v>
                </c:pt>
                <c:pt idx="12758">
                  <c:v>7.114554895741497</c:v>
                </c:pt>
                <c:pt idx="12759">
                  <c:v>5.8752798840788447</c:v>
                </c:pt>
                <c:pt idx="12760">
                  <c:v>6.0288352178063462</c:v>
                </c:pt>
                <c:pt idx="12761">
                  <c:v>5.9992018317878841</c:v>
                </c:pt>
                <c:pt idx="12762">
                  <c:v>6.0266974342793471</c:v>
                </c:pt>
                <c:pt idx="12763">
                  <c:v>5.9108510877631417</c:v>
                </c:pt>
                <c:pt idx="12764">
                  <c:v>5.9662823117987296</c:v>
                </c:pt>
                <c:pt idx="12765">
                  <c:v>6.0915908222989721</c:v>
                </c:pt>
                <c:pt idx="12766">
                  <c:v>6.9781544671389684</c:v>
                </c:pt>
                <c:pt idx="12767">
                  <c:v>6.1798004408642448</c:v>
                </c:pt>
                <c:pt idx="12768">
                  <c:v>6.0951969260187884</c:v>
                </c:pt>
                <c:pt idx="12769">
                  <c:v>7.1103645483307236</c:v>
                </c:pt>
                <c:pt idx="12770">
                  <c:v>7.0324330885037156</c:v>
                </c:pt>
                <c:pt idx="12771">
                  <c:v>7.0302636432224537</c:v>
                </c:pt>
                <c:pt idx="12772">
                  <c:v>6.0654251960924208</c:v>
                </c:pt>
                <c:pt idx="12773">
                  <c:v>6.0363187141294112</c:v>
                </c:pt>
                <c:pt idx="12774">
                  <c:v>6.1054469097795243</c:v>
                </c:pt>
                <c:pt idx="12775">
                  <c:v>6.031885339559107</c:v>
                </c:pt>
                <c:pt idx="12776">
                  <c:v>5.881049122110805</c:v>
                </c:pt>
                <c:pt idx="12777">
                  <c:v>5.8887265747529591</c:v>
                </c:pt>
                <c:pt idx="12778">
                  <c:v>6.0476084896886757</c:v>
                </c:pt>
                <c:pt idx="12779">
                  <c:v>5.8720614776830313</c:v>
                </c:pt>
                <c:pt idx="12780">
                  <c:v>5.9093272371334447</c:v>
                </c:pt>
                <c:pt idx="12781">
                  <c:v>6.1441252723004611</c:v>
                </c:pt>
                <c:pt idx="12782">
                  <c:v>6.1099758532925206</c:v>
                </c:pt>
                <c:pt idx="12783">
                  <c:v>2.0411116702457424</c:v>
                </c:pt>
                <c:pt idx="12784">
                  <c:v>6.0500886304544634</c:v>
                </c:pt>
                <c:pt idx="12785">
                  <c:v>5.1031398678356998</c:v>
                </c:pt>
                <c:pt idx="12786">
                  <c:v>5.9119358251722085</c:v>
                </c:pt>
                <c:pt idx="12787">
                  <c:v>6.1012497036310167</c:v>
                </c:pt>
                <c:pt idx="12788">
                  <c:v>6.146766909442662</c:v>
                </c:pt>
                <c:pt idx="12789">
                  <c:v>6.0630490178036327</c:v>
                </c:pt>
                <c:pt idx="12790">
                  <c:v>4.8321730625174446</c:v>
                </c:pt>
                <c:pt idx="12791">
                  <c:v>5.9218735974627235</c:v>
                </c:pt>
                <c:pt idx="12792">
                  <c:v>6.035662566220509</c:v>
                </c:pt>
                <c:pt idx="12793">
                  <c:v>6.0701931659291288</c:v>
                </c:pt>
                <c:pt idx="12794">
                  <c:v>3.848765604355096</c:v>
                </c:pt>
                <c:pt idx="12795">
                  <c:v>5.9207605191169348</c:v>
                </c:pt>
                <c:pt idx="12796">
                  <c:v>6.0903474920863312</c:v>
                </c:pt>
                <c:pt idx="12797">
                  <c:v>6.1782833384995621</c:v>
                </c:pt>
                <c:pt idx="12798">
                  <c:v>5.0775831112698349</c:v>
                </c:pt>
                <c:pt idx="12799">
                  <c:v>5.9886771101556491</c:v>
                </c:pt>
                <c:pt idx="12800">
                  <c:v>5.916032756320317</c:v>
                </c:pt>
                <c:pt idx="12801">
                  <c:v>5.8196259924563334</c:v>
                </c:pt>
                <c:pt idx="12802">
                  <c:v>4.7336306456651451</c:v>
                </c:pt>
                <c:pt idx="12803">
                  <c:v>5.0150009191970115</c:v>
                </c:pt>
                <c:pt idx="12804">
                  <c:v>6.0037259452576155</c:v>
                </c:pt>
                <c:pt idx="12805">
                  <c:v>6.0717146864960831</c:v>
                </c:pt>
                <c:pt idx="12806">
                  <c:v>6.0640871174890272</c:v>
                </c:pt>
                <c:pt idx="12807">
                  <c:v>5.9009567681430317</c:v>
                </c:pt>
                <c:pt idx="12808">
                  <c:v>6.113474328964176</c:v>
                </c:pt>
                <c:pt idx="12809">
                  <c:v>6.059356482717166</c:v>
                </c:pt>
                <c:pt idx="12810">
                  <c:v>4.9597903788854865</c:v>
                </c:pt>
                <c:pt idx="12811">
                  <c:v>7.0542394100695045</c:v>
                </c:pt>
                <c:pt idx="12812">
                  <c:v>6.9756497565842999</c:v>
                </c:pt>
                <c:pt idx="12813">
                  <c:v>5.8943201843005522</c:v>
                </c:pt>
                <c:pt idx="12814">
                  <c:v>6.1130375196960536</c:v>
                </c:pt>
                <c:pt idx="12815">
                  <c:v>5.8301192130626962</c:v>
                </c:pt>
                <c:pt idx="12816">
                  <c:v>5.9299282410733625</c:v>
                </c:pt>
                <c:pt idx="12817">
                  <c:v>5.9794995681696186</c:v>
                </c:pt>
                <c:pt idx="12818">
                  <c:v>4.9672367098364951</c:v>
                </c:pt>
                <c:pt idx="12819">
                  <c:v>4.8402973953555462</c:v>
                </c:pt>
                <c:pt idx="12820">
                  <c:v>6.9010292665158914</c:v>
                </c:pt>
                <c:pt idx="12821">
                  <c:v>7.187252563607017</c:v>
                </c:pt>
                <c:pt idx="12822">
                  <c:v>5.1838625322080354</c:v>
                </c:pt>
                <c:pt idx="12823">
                  <c:v>6.0296363449029027</c:v>
                </c:pt>
                <c:pt idx="12824">
                  <c:v>5.8895804175791104</c:v>
                </c:pt>
                <c:pt idx="12825">
                  <c:v>5.0055953629993528</c:v>
                </c:pt>
                <c:pt idx="12826">
                  <c:v>5.8522117981517594</c:v>
                </c:pt>
                <c:pt idx="12827">
                  <c:v>5.9213297481881702</c:v>
                </c:pt>
                <c:pt idx="12828">
                  <c:v>6.0800845024673125</c:v>
                </c:pt>
                <c:pt idx="12829">
                  <c:v>6.1530754789016111</c:v>
                </c:pt>
                <c:pt idx="12830">
                  <c:v>5.046865502258763</c:v>
                </c:pt>
                <c:pt idx="12831">
                  <c:v>4.8927468318458276</c:v>
                </c:pt>
                <c:pt idx="12832">
                  <c:v>5.8841455651724832</c:v>
                </c:pt>
                <c:pt idx="12833">
                  <c:v>5.9683086855502818</c:v>
                </c:pt>
                <c:pt idx="12834">
                  <c:v>4.9225428274064198</c:v>
                </c:pt>
                <c:pt idx="12835">
                  <c:v>6.9230837221116914</c:v>
                </c:pt>
                <c:pt idx="12836">
                  <c:v>6.9118515492166424</c:v>
                </c:pt>
                <c:pt idx="12837">
                  <c:v>5.011453051649486</c:v>
                </c:pt>
                <c:pt idx="12838">
                  <c:v>7.1143028644922497</c:v>
                </c:pt>
                <c:pt idx="12839">
                  <c:v>6.9710229135618507</c:v>
                </c:pt>
                <c:pt idx="12840">
                  <c:v>4.9145861357720184</c:v>
                </c:pt>
                <c:pt idx="12841">
                  <c:v>6.9803493692950926</c:v>
                </c:pt>
                <c:pt idx="12842">
                  <c:v>6.01408302337442</c:v>
                </c:pt>
                <c:pt idx="12843">
                  <c:v>6.1322008216394108</c:v>
                </c:pt>
                <c:pt idx="12844">
                  <c:v>5.0164811130104665</c:v>
                </c:pt>
                <c:pt idx="12845">
                  <c:v>7.0918289421444243</c:v>
                </c:pt>
                <c:pt idx="12846">
                  <c:v>4.9251359714067542</c:v>
                </c:pt>
                <c:pt idx="12847">
                  <c:v>5.9532978929206184</c:v>
                </c:pt>
                <c:pt idx="12848">
                  <c:v>5.9414113048041859</c:v>
                </c:pt>
                <c:pt idx="12849">
                  <c:v>5.9484167694495724</c:v>
                </c:pt>
                <c:pt idx="12850">
                  <c:v>5.8812269870491312</c:v>
                </c:pt>
                <c:pt idx="12851">
                  <c:v>5.8974517102901443</c:v>
                </c:pt>
                <c:pt idx="12852">
                  <c:v>5.9542420186868519</c:v>
                </c:pt>
                <c:pt idx="12853">
                  <c:v>6.0903906432201191</c:v>
                </c:pt>
                <c:pt idx="12854">
                  <c:v>4.0399411286139335</c:v>
                </c:pt>
                <c:pt idx="12855">
                  <c:v>2.9281401492276387</c:v>
                </c:pt>
                <c:pt idx="12856">
                  <c:v>5.8592813485686577</c:v>
                </c:pt>
                <c:pt idx="12857">
                  <c:v>5.9005240259403093</c:v>
                </c:pt>
                <c:pt idx="12858">
                  <c:v>5.0703922372214425</c:v>
                </c:pt>
                <c:pt idx="12859">
                  <c:v>5.9943096239866165</c:v>
                </c:pt>
                <c:pt idx="12860">
                  <c:v>4.848654815405018</c:v>
                </c:pt>
                <c:pt idx="12861">
                  <c:v>6.0361903690146894</c:v>
                </c:pt>
                <c:pt idx="12862">
                  <c:v>5.0569591387576889</c:v>
                </c:pt>
                <c:pt idx="12863">
                  <c:v>4.9498250788375149</c:v>
                </c:pt>
                <c:pt idx="12864">
                  <c:v>4.9537318561505641</c:v>
                </c:pt>
                <c:pt idx="12865">
                  <c:v>5.0885224554238899</c:v>
                </c:pt>
                <c:pt idx="12866">
                  <c:v>5.0121411079236875</c:v>
                </c:pt>
                <c:pt idx="12867">
                  <c:v>6.0287986045493147</c:v>
                </c:pt>
                <c:pt idx="12868">
                  <c:v>7.0615967741493613</c:v>
                </c:pt>
                <c:pt idx="12869">
                  <c:v>4.9523468243485915</c:v>
                </c:pt>
                <c:pt idx="12870">
                  <c:v>6.202174912958017</c:v>
                </c:pt>
                <c:pt idx="12871">
                  <c:v>5.9388729886422551</c:v>
                </c:pt>
                <c:pt idx="12872">
                  <c:v>5.8772094684034402</c:v>
                </c:pt>
                <c:pt idx="12873">
                  <c:v>5.0070822397337116</c:v>
                </c:pt>
                <c:pt idx="12874">
                  <c:v>5.0220208344001946</c:v>
                </c:pt>
                <c:pt idx="12875">
                  <c:v>5.0255280873532362</c:v>
                </c:pt>
                <c:pt idx="12876">
                  <c:v>5.9230622201616203</c:v>
                </c:pt>
                <c:pt idx="12877">
                  <c:v>5.0140521183150932</c:v>
                </c:pt>
                <c:pt idx="12878">
                  <c:v>5.9078344069212783</c:v>
                </c:pt>
                <c:pt idx="12879">
                  <c:v>5.869655159500315</c:v>
                </c:pt>
                <c:pt idx="12880">
                  <c:v>6.117287688056753</c:v>
                </c:pt>
                <c:pt idx="12881">
                  <c:v>9.0449240105679909</c:v>
                </c:pt>
                <c:pt idx="12882">
                  <c:v>6.0431729281061033</c:v>
                </c:pt>
                <c:pt idx="12883">
                  <c:v>3.9935901267655614</c:v>
                </c:pt>
                <c:pt idx="12884">
                  <c:v>5.7882856494349086</c:v>
                </c:pt>
                <c:pt idx="12885">
                  <c:v>7.1275211836454071</c:v>
                </c:pt>
                <c:pt idx="12886">
                  <c:v>7.0455750898627967</c:v>
                </c:pt>
                <c:pt idx="12887">
                  <c:v>5.9125098944978145</c:v>
                </c:pt>
                <c:pt idx="12888">
                  <c:v>5.8327997293939102</c:v>
                </c:pt>
                <c:pt idx="12889">
                  <c:v>4.8362247594034518</c:v>
                </c:pt>
                <c:pt idx="12890">
                  <c:v>7.0482565947881657</c:v>
                </c:pt>
                <c:pt idx="12891">
                  <c:v>6.0185297245985732</c:v>
                </c:pt>
                <c:pt idx="12892">
                  <c:v>4.9697718256937815</c:v>
                </c:pt>
                <c:pt idx="12893">
                  <c:v>5.924633671233682</c:v>
                </c:pt>
                <c:pt idx="12894">
                  <c:v>4.9982759934781011</c:v>
                </c:pt>
                <c:pt idx="12895">
                  <c:v>6.8496627549674853</c:v>
                </c:pt>
                <c:pt idx="12896">
                  <c:v>6.020840344412818</c:v>
                </c:pt>
                <c:pt idx="12897">
                  <c:v>6.0048891489217668</c:v>
                </c:pt>
                <c:pt idx="12898">
                  <c:v>5.8656442944021183</c:v>
                </c:pt>
                <c:pt idx="12899">
                  <c:v>6.169584686257358</c:v>
                </c:pt>
                <c:pt idx="12900">
                  <c:v>6.9834741262756133</c:v>
                </c:pt>
                <c:pt idx="12901">
                  <c:v>5.8570814867493066</c:v>
                </c:pt>
                <c:pt idx="12902">
                  <c:v>7.1567651859778261</c:v>
                </c:pt>
                <c:pt idx="12903">
                  <c:v>5.8355165490004328</c:v>
                </c:pt>
                <c:pt idx="12904">
                  <c:v>5.0584735644717336</c:v>
                </c:pt>
                <c:pt idx="12905">
                  <c:v>5.9972088128806931</c:v>
                </c:pt>
                <c:pt idx="12906">
                  <c:v>5.9737813719367576</c:v>
                </c:pt>
                <c:pt idx="12907">
                  <c:v>6.07639760007046</c:v>
                </c:pt>
                <c:pt idx="12908">
                  <c:v>6.024970998391491</c:v>
                </c:pt>
                <c:pt idx="12909">
                  <c:v>6.0519281752899268</c:v>
                </c:pt>
                <c:pt idx="12910">
                  <c:v>9.1281917455379293</c:v>
                </c:pt>
                <c:pt idx="12911">
                  <c:v>5.9099024977769039</c:v>
                </c:pt>
                <c:pt idx="12912">
                  <c:v>5.9806966056732351</c:v>
                </c:pt>
                <c:pt idx="12913">
                  <c:v>6.953299529223214</c:v>
                </c:pt>
                <c:pt idx="12914">
                  <c:v>4.9014291046749792</c:v>
                </c:pt>
                <c:pt idx="12915">
                  <c:v>6.9193499529556002</c:v>
                </c:pt>
                <c:pt idx="12916">
                  <c:v>3.906069628371001</c:v>
                </c:pt>
                <c:pt idx="12917">
                  <c:v>6.0784591530381773</c:v>
                </c:pt>
                <c:pt idx="12918">
                  <c:v>6.0837880070051771</c:v>
                </c:pt>
                <c:pt idx="12919">
                  <c:v>4.1652740031689621</c:v>
                </c:pt>
                <c:pt idx="12920">
                  <c:v>5.9541304270465556</c:v>
                </c:pt>
                <c:pt idx="12921">
                  <c:v>6.9595987621587616</c:v>
                </c:pt>
                <c:pt idx="12922">
                  <c:v>5.9890735066229954</c:v>
                </c:pt>
                <c:pt idx="12923">
                  <c:v>6.048981761237842</c:v>
                </c:pt>
                <c:pt idx="12924">
                  <c:v>6.1607698157626123</c:v>
                </c:pt>
                <c:pt idx="12925">
                  <c:v>6.9399283065298212</c:v>
                </c:pt>
                <c:pt idx="12926">
                  <c:v>7.0185448643518589</c:v>
                </c:pt>
                <c:pt idx="12927">
                  <c:v>6.0300636961778862</c:v>
                </c:pt>
                <c:pt idx="12928">
                  <c:v>7.8899505866676813</c:v>
                </c:pt>
                <c:pt idx="12929">
                  <c:v>4.2873586785438365</c:v>
                </c:pt>
                <c:pt idx="12930">
                  <c:v>4.065252983590228</c:v>
                </c:pt>
                <c:pt idx="12931">
                  <c:v>3.9368257098590198</c:v>
                </c:pt>
                <c:pt idx="12932">
                  <c:v>6.1627363326608551</c:v>
                </c:pt>
                <c:pt idx="12933">
                  <c:v>3.9721912786418181</c:v>
                </c:pt>
                <c:pt idx="12934">
                  <c:v>6.9655497501138912</c:v>
                </c:pt>
                <c:pt idx="12935">
                  <c:v>7.0754733171881528</c:v>
                </c:pt>
                <c:pt idx="12936">
                  <c:v>6.9442828129696146</c:v>
                </c:pt>
                <c:pt idx="12937">
                  <c:v>4.1307914303332467</c:v>
                </c:pt>
                <c:pt idx="12938">
                  <c:v>3.8769352766369987</c:v>
                </c:pt>
                <c:pt idx="12939">
                  <c:v>5.9160122312229797</c:v>
                </c:pt>
                <c:pt idx="12940">
                  <c:v>5.9684764299769837</c:v>
                </c:pt>
                <c:pt idx="12941">
                  <c:v>6.2418958711224874</c:v>
                </c:pt>
                <c:pt idx="12942">
                  <c:v>7.0363719865584304</c:v>
                </c:pt>
                <c:pt idx="12943">
                  <c:v>4.8728133585746898</c:v>
                </c:pt>
                <c:pt idx="12944">
                  <c:v>5.9983861347653802</c:v>
                </c:pt>
                <c:pt idx="12945">
                  <c:v>6.8327938134362585</c:v>
                </c:pt>
                <c:pt idx="12946">
                  <c:v>2.0604309912966232</c:v>
                </c:pt>
                <c:pt idx="12947">
                  <c:v>5.9846071204397076</c:v>
                </c:pt>
                <c:pt idx="12948">
                  <c:v>4.871791124196009</c:v>
                </c:pt>
                <c:pt idx="12949">
                  <c:v>7.0529706404731876</c:v>
                </c:pt>
                <c:pt idx="12950">
                  <c:v>4.9575750999648243</c:v>
                </c:pt>
                <c:pt idx="12951">
                  <c:v>6.8713571806149067</c:v>
                </c:pt>
                <c:pt idx="12952">
                  <c:v>4.9039528379740984</c:v>
                </c:pt>
                <c:pt idx="12953">
                  <c:v>5.9690903463969223</c:v>
                </c:pt>
                <c:pt idx="12954">
                  <c:v>6.0168537813891332</c:v>
                </c:pt>
                <c:pt idx="12955">
                  <c:v>5.155317282117899</c:v>
                </c:pt>
                <c:pt idx="12956">
                  <c:v>4.9674628114884403</c:v>
                </c:pt>
                <c:pt idx="12957">
                  <c:v>5.938870155672606</c:v>
                </c:pt>
                <c:pt idx="12958">
                  <c:v>6.112416801626793</c:v>
                </c:pt>
                <c:pt idx="12959">
                  <c:v>4.932060235210753</c:v>
                </c:pt>
                <c:pt idx="12960">
                  <c:v>5.9749051794587</c:v>
                </c:pt>
                <c:pt idx="12961">
                  <c:v>5.1197759576353947</c:v>
                </c:pt>
                <c:pt idx="12962">
                  <c:v>6.0848947055077138</c:v>
                </c:pt>
                <c:pt idx="12963">
                  <c:v>7.1480641456314853</c:v>
                </c:pt>
                <c:pt idx="12964">
                  <c:v>5.0084232931765706</c:v>
                </c:pt>
                <c:pt idx="12965">
                  <c:v>5.9531802356159442</c:v>
                </c:pt>
                <c:pt idx="12966">
                  <c:v>4.9026826210676244</c:v>
                </c:pt>
                <c:pt idx="12967">
                  <c:v>4.8775003674406792</c:v>
                </c:pt>
                <c:pt idx="12968">
                  <c:v>4.8914703400706658</c:v>
                </c:pt>
                <c:pt idx="12969">
                  <c:v>5.8352450960807056</c:v>
                </c:pt>
                <c:pt idx="12970">
                  <c:v>4.8569313905935472</c:v>
                </c:pt>
                <c:pt idx="12971">
                  <c:v>6.8667943129736058</c:v>
                </c:pt>
                <c:pt idx="12972">
                  <c:v>5.7745955707604768</c:v>
                </c:pt>
                <c:pt idx="12973">
                  <c:v>6.1451751837600934</c:v>
                </c:pt>
                <c:pt idx="12974">
                  <c:v>4.9098740438195341</c:v>
                </c:pt>
                <c:pt idx="12975">
                  <c:v>3.0422621697778602</c:v>
                </c:pt>
                <c:pt idx="12976">
                  <c:v>6.035026644441893</c:v>
                </c:pt>
                <c:pt idx="12977">
                  <c:v>6.2475244359270503</c:v>
                </c:pt>
                <c:pt idx="12978">
                  <c:v>3.9391700489101233</c:v>
                </c:pt>
                <c:pt idx="12979">
                  <c:v>5.9169982514809227</c:v>
                </c:pt>
                <c:pt idx="12980">
                  <c:v>5.0041016928918722</c:v>
                </c:pt>
                <c:pt idx="12981">
                  <c:v>6.0887817035994996</c:v>
                </c:pt>
                <c:pt idx="12982">
                  <c:v>4.0656279740641192</c:v>
                </c:pt>
                <c:pt idx="12983">
                  <c:v>6.0434743878365538</c:v>
                </c:pt>
                <c:pt idx="12984">
                  <c:v>3.9141584293681775</c:v>
                </c:pt>
                <c:pt idx="12985">
                  <c:v>6.0913195486303371</c:v>
                </c:pt>
                <c:pt idx="12986">
                  <c:v>5.0464105285868373</c:v>
                </c:pt>
                <c:pt idx="12987">
                  <c:v>4.8756253165323171</c:v>
                </c:pt>
                <c:pt idx="12988">
                  <c:v>5.0111739994273305</c:v>
                </c:pt>
                <c:pt idx="12989">
                  <c:v>4.9883825313343229</c:v>
                </c:pt>
                <c:pt idx="12990">
                  <c:v>4.9849135260101347</c:v>
                </c:pt>
                <c:pt idx="12991">
                  <c:v>5.904504475267963</c:v>
                </c:pt>
                <c:pt idx="12992">
                  <c:v>4.817727909677445</c:v>
                </c:pt>
                <c:pt idx="12993">
                  <c:v>4.0694466899976449</c:v>
                </c:pt>
                <c:pt idx="12994">
                  <c:v>5.2487266069455547</c:v>
                </c:pt>
                <c:pt idx="12995">
                  <c:v>5.9067674445390042</c:v>
                </c:pt>
                <c:pt idx="12996">
                  <c:v>5.8797901067857365</c:v>
                </c:pt>
                <c:pt idx="12997">
                  <c:v>6.9235097227302438</c:v>
                </c:pt>
                <c:pt idx="12998">
                  <c:v>6.9563374959010575</c:v>
                </c:pt>
                <c:pt idx="12999">
                  <c:v>3.1337168436135756</c:v>
                </c:pt>
                <c:pt idx="13000">
                  <c:v>4.2744983259940392</c:v>
                </c:pt>
                <c:pt idx="13001">
                  <c:v>6.9613608845628612</c:v>
                </c:pt>
                <c:pt idx="13002">
                  <c:v>3.9727720120926984</c:v>
                </c:pt>
                <c:pt idx="13003">
                  <c:v>2.9999366087733077</c:v>
                </c:pt>
                <c:pt idx="13004">
                  <c:v>6.1616665215075042</c:v>
                </c:pt>
                <c:pt idx="13005">
                  <c:v>5.0133699362281199</c:v>
                </c:pt>
                <c:pt idx="13006">
                  <c:v>6.0060055172056135</c:v>
                </c:pt>
                <c:pt idx="13007">
                  <c:v>5.9110886086289449</c:v>
                </c:pt>
                <c:pt idx="13008">
                  <c:v>7.1240769936327784</c:v>
                </c:pt>
                <c:pt idx="13009">
                  <c:v>7.0338911636757953</c:v>
                </c:pt>
                <c:pt idx="13010">
                  <c:v>5.9151217530753843</c:v>
                </c:pt>
                <c:pt idx="13011">
                  <c:v>6.9114050632545467</c:v>
                </c:pt>
                <c:pt idx="13012">
                  <c:v>5.0776697392168568</c:v>
                </c:pt>
                <c:pt idx="13013">
                  <c:v>5.954949220048487</c:v>
                </c:pt>
                <c:pt idx="13014">
                  <c:v>5.8838756240795638</c:v>
                </c:pt>
                <c:pt idx="13015">
                  <c:v>5.0233410703068042</c:v>
                </c:pt>
                <c:pt idx="13016">
                  <c:v>7.9305516023115121</c:v>
                </c:pt>
                <c:pt idx="13017">
                  <c:v>5.0346771964621535</c:v>
                </c:pt>
                <c:pt idx="13018">
                  <c:v>6.1397204856747392</c:v>
                </c:pt>
                <c:pt idx="13019">
                  <c:v>7.1035798748719383</c:v>
                </c:pt>
                <c:pt idx="13020">
                  <c:v>5.9987052763483595</c:v>
                </c:pt>
                <c:pt idx="13021">
                  <c:v>7.0356393132613197</c:v>
                </c:pt>
                <c:pt idx="13022">
                  <c:v>2.9877402415856777</c:v>
                </c:pt>
                <c:pt idx="13023">
                  <c:v>2.9927817229751934</c:v>
                </c:pt>
                <c:pt idx="13024">
                  <c:v>6.0678893115153612</c:v>
                </c:pt>
                <c:pt idx="13025">
                  <c:v>3.0311397522508257</c:v>
                </c:pt>
                <c:pt idx="13026">
                  <c:v>5.0526035713069763</c:v>
                </c:pt>
                <c:pt idx="13027">
                  <c:v>5.0592100019276334</c:v>
                </c:pt>
                <c:pt idx="13028">
                  <c:v>6.0521412545019437</c:v>
                </c:pt>
                <c:pt idx="13029">
                  <c:v>7.0359304813654333</c:v>
                </c:pt>
                <c:pt idx="13030">
                  <c:v>4.8637341774992606</c:v>
                </c:pt>
                <c:pt idx="13031">
                  <c:v>7.0173994333300627</c:v>
                </c:pt>
                <c:pt idx="13032">
                  <c:v>3.0058190361483166</c:v>
                </c:pt>
                <c:pt idx="13033">
                  <c:v>4.9257655810675098</c:v>
                </c:pt>
                <c:pt idx="13034">
                  <c:v>6.0427861907019995</c:v>
                </c:pt>
                <c:pt idx="13035">
                  <c:v>6.9478215303365358</c:v>
                </c:pt>
                <c:pt idx="13036">
                  <c:v>5.1848036842148844</c:v>
                </c:pt>
                <c:pt idx="13037">
                  <c:v>2.0297000293494101</c:v>
                </c:pt>
                <c:pt idx="13038">
                  <c:v>4.9698589347474158</c:v>
                </c:pt>
                <c:pt idx="13039">
                  <c:v>6.0272936135539048</c:v>
                </c:pt>
                <c:pt idx="13040">
                  <c:v>8.02833359353113</c:v>
                </c:pt>
                <c:pt idx="13041">
                  <c:v>8.0289330266707637</c:v>
                </c:pt>
                <c:pt idx="13042">
                  <c:v>8.096038379773308</c:v>
                </c:pt>
                <c:pt idx="13043">
                  <c:v>8.0226374381105572</c:v>
                </c:pt>
                <c:pt idx="13044">
                  <c:v>7.9791864977780858</c:v>
                </c:pt>
                <c:pt idx="13045">
                  <c:v>5.9720061969252702</c:v>
                </c:pt>
                <c:pt idx="13046">
                  <c:v>6.0786666265607812</c:v>
                </c:pt>
                <c:pt idx="13047">
                  <c:v>5.9519201935610866</c:v>
                </c:pt>
                <c:pt idx="13048">
                  <c:v>5.9159762710620978</c:v>
                </c:pt>
                <c:pt idx="13049">
                  <c:v>7.115247403510315</c:v>
                </c:pt>
                <c:pt idx="13050">
                  <c:v>6.8952952268375061</c:v>
                </c:pt>
                <c:pt idx="13051">
                  <c:v>7.0222937623964867</c:v>
                </c:pt>
                <c:pt idx="13052">
                  <c:v>6.1639082769587787</c:v>
                </c:pt>
                <c:pt idx="13053">
                  <c:v>6.8913050406479277</c:v>
                </c:pt>
                <c:pt idx="13054">
                  <c:v>7.02197325591123</c:v>
                </c:pt>
                <c:pt idx="13055">
                  <c:v>3.9967825833492965</c:v>
                </c:pt>
                <c:pt idx="13056">
                  <c:v>5.0175739963299746</c:v>
                </c:pt>
                <c:pt idx="13057">
                  <c:v>3.8771865793336775</c:v>
                </c:pt>
                <c:pt idx="13058">
                  <c:v>5.9559768048808763</c:v>
                </c:pt>
                <c:pt idx="13059">
                  <c:v>5.9036136368231276</c:v>
                </c:pt>
                <c:pt idx="13060">
                  <c:v>7.0531412311597075</c:v>
                </c:pt>
                <c:pt idx="13061">
                  <c:v>6.8906431080914992</c:v>
                </c:pt>
                <c:pt idx="13062">
                  <c:v>5.9738345966711464</c:v>
                </c:pt>
                <c:pt idx="13063">
                  <c:v>4.9417148419643429</c:v>
                </c:pt>
                <c:pt idx="13064">
                  <c:v>7.077049533041758</c:v>
                </c:pt>
                <c:pt idx="13065">
                  <c:v>3.9639264590526837</c:v>
                </c:pt>
                <c:pt idx="13066">
                  <c:v>6.9211564355071209</c:v>
                </c:pt>
                <c:pt idx="13067">
                  <c:v>4.9732353419603044</c:v>
                </c:pt>
                <c:pt idx="13068">
                  <c:v>5.0025083250848965</c:v>
                </c:pt>
                <c:pt idx="13069">
                  <c:v>7.0969143951824121</c:v>
                </c:pt>
                <c:pt idx="13070">
                  <c:v>4.8692088612812876</c:v>
                </c:pt>
                <c:pt idx="13071">
                  <c:v>5.1043530288091565</c:v>
                </c:pt>
                <c:pt idx="13072">
                  <c:v>5.0276593994277974</c:v>
                </c:pt>
                <c:pt idx="13073">
                  <c:v>6.9371997964985752</c:v>
                </c:pt>
                <c:pt idx="13074">
                  <c:v>4.9676769299709163</c:v>
                </c:pt>
                <c:pt idx="13075">
                  <c:v>7.0383912737638612</c:v>
                </c:pt>
                <c:pt idx="13076">
                  <c:v>7.0059404557840601</c:v>
                </c:pt>
                <c:pt idx="13077">
                  <c:v>3.9667851694152656</c:v>
                </c:pt>
                <c:pt idx="13078">
                  <c:v>7.9598965873155487</c:v>
                </c:pt>
                <c:pt idx="13079">
                  <c:v>6.9151993678374861</c:v>
                </c:pt>
                <c:pt idx="13080">
                  <c:v>4.0978510674826119</c:v>
                </c:pt>
              </c:numCache>
            </c:numRef>
          </c:yVal>
          <c:smooth val="0"/>
          <c:extLst>
            <c:ext xmlns:c16="http://schemas.microsoft.com/office/drawing/2014/chart" uri="{C3380CC4-5D6E-409C-BE32-E72D297353CC}">
              <c16:uniqueId val="{00000005-CB98-46CC-B7E4-0466270B0873}"/>
            </c:ext>
          </c:extLst>
        </c:ser>
        <c:ser>
          <c:idx val="7"/>
          <c:order val="6"/>
          <c:tx>
            <c:strRef>
              <c:f>'power_generator-2024-09-23T (2)'!$AB$1</c:f>
              <c:strCache>
                <c:ptCount val="1"/>
                <c:pt idx="0">
                  <c:v>Coal</c:v>
                </c:pt>
              </c:strCache>
            </c:strRef>
          </c:tx>
          <c:spPr>
            <a:ln w="25400" cap="rnd">
              <a:noFill/>
              <a:round/>
            </a:ln>
            <a:effectLst/>
          </c:spPr>
          <c:marker>
            <c:symbol val="square"/>
            <c:size val="5"/>
            <c:spPr>
              <a:solidFill>
                <a:schemeClr val="tx1">
                  <a:alpha val="25000"/>
                </a:schemeClr>
              </a:solidFill>
              <a:ln w="12700">
                <a:solidFill>
                  <a:schemeClr val="tx1"/>
                </a:solidFill>
              </a:ln>
              <a:effectLst/>
            </c:spPr>
          </c:marker>
          <c:xVal>
            <c:numRef>
              <c:f>'power_generator-2024-09-23T (2)'!$AB$2:$AB$13082</c:f>
              <c:numCache>
                <c:formatCode>0.00</c:formatCode>
                <c:ptCount val="13081"/>
                <c:pt idx="0">
                  <c:v>#N/A</c:v>
                </c:pt>
                <c:pt idx="1">
                  <c:v>#N/A</c:v>
                </c:pt>
                <c:pt idx="2">
                  <c:v>#N/A</c:v>
                </c:pt>
                <c:pt idx="3">
                  <c:v>#N/A</c:v>
                </c:pt>
                <c:pt idx="4">
                  <c:v>#N/A</c:v>
                </c:pt>
                <c:pt idx="5">
                  <c:v>#N/A</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pt idx="34">
                  <c:v>#N/A</c:v>
                </c:pt>
                <c:pt idx="35">
                  <c:v>#N/A</c:v>
                </c:pt>
                <c:pt idx="36">
                  <c:v>#N/A</c:v>
                </c:pt>
                <c:pt idx="37">
                  <c:v>#N/A</c:v>
                </c:pt>
                <c:pt idx="38">
                  <c:v>#N/A</c:v>
                </c:pt>
                <c:pt idx="39">
                  <c:v>#N/A</c:v>
                </c:pt>
                <c:pt idx="40">
                  <c:v>#N/A</c:v>
                </c:pt>
                <c:pt idx="41">
                  <c:v>#N/A</c:v>
                </c:pt>
                <c:pt idx="42">
                  <c:v>#N/A</c:v>
                </c:pt>
                <c:pt idx="43">
                  <c:v>#N/A</c:v>
                </c:pt>
                <c:pt idx="44">
                  <c:v>#N/A</c:v>
                </c:pt>
                <c:pt idx="45">
                  <c:v>#N/A</c:v>
                </c:pt>
                <c:pt idx="46">
                  <c:v>#N/A</c:v>
                </c:pt>
                <c:pt idx="47">
                  <c:v>#N/A</c:v>
                </c:pt>
                <c:pt idx="48">
                  <c:v>#N/A</c:v>
                </c:pt>
                <c:pt idx="49">
                  <c:v>#N/A</c:v>
                </c:pt>
                <c:pt idx="50">
                  <c:v>#N/A</c:v>
                </c:pt>
                <c:pt idx="51">
                  <c:v>#N/A</c:v>
                </c:pt>
                <c:pt idx="52">
                  <c:v>#N/A</c:v>
                </c:pt>
                <c:pt idx="53">
                  <c:v>#N/A</c:v>
                </c:pt>
                <c:pt idx="54">
                  <c:v>#N/A</c:v>
                </c:pt>
                <c:pt idx="55">
                  <c:v>#N/A</c:v>
                </c:pt>
                <c:pt idx="56">
                  <c:v>#N/A</c:v>
                </c:pt>
                <c:pt idx="57">
                  <c:v>#N/A</c:v>
                </c:pt>
                <c:pt idx="58">
                  <c:v>#N/A</c:v>
                </c:pt>
                <c:pt idx="59">
                  <c:v>#N/A</c:v>
                </c:pt>
                <c:pt idx="60">
                  <c:v>#N/A</c:v>
                </c:pt>
                <c:pt idx="61">
                  <c:v>#N/A</c:v>
                </c:pt>
                <c:pt idx="62">
                  <c:v>#N/A</c:v>
                </c:pt>
                <c:pt idx="63">
                  <c:v>#N/A</c:v>
                </c:pt>
                <c:pt idx="64">
                  <c:v>#N/A</c:v>
                </c:pt>
                <c:pt idx="65">
                  <c:v>#N/A</c:v>
                </c:pt>
                <c:pt idx="66">
                  <c:v>#N/A</c:v>
                </c:pt>
                <c:pt idx="67">
                  <c:v>#N/A</c:v>
                </c:pt>
                <c:pt idx="68">
                  <c:v>#N/A</c:v>
                </c:pt>
                <c:pt idx="69">
                  <c:v>#N/A</c:v>
                </c:pt>
                <c:pt idx="70">
                  <c:v>#N/A</c:v>
                </c:pt>
                <c:pt idx="71">
                  <c:v>#N/A</c:v>
                </c:pt>
                <c:pt idx="72">
                  <c:v>#N/A</c:v>
                </c:pt>
                <c:pt idx="73">
                  <c:v>#N/A</c:v>
                </c:pt>
                <c:pt idx="74">
                  <c:v>#N/A</c:v>
                </c:pt>
                <c:pt idx="75">
                  <c:v>#N/A</c:v>
                </c:pt>
                <c:pt idx="76">
                  <c:v>#N/A</c:v>
                </c:pt>
                <c:pt idx="77">
                  <c:v>#N/A</c:v>
                </c:pt>
                <c:pt idx="78">
                  <c:v>#N/A</c:v>
                </c:pt>
                <c:pt idx="79">
                  <c:v>#N/A</c:v>
                </c:pt>
                <c:pt idx="80">
                  <c:v>#N/A</c:v>
                </c:pt>
                <c:pt idx="81">
                  <c:v>#N/A</c:v>
                </c:pt>
                <c:pt idx="82">
                  <c:v>#N/A</c:v>
                </c:pt>
                <c:pt idx="83">
                  <c:v>#N/A</c:v>
                </c:pt>
                <c:pt idx="84">
                  <c:v>#N/A</c:v>
                </c:pt>
                <c:pt idx="85">
                  <c:v>#N/A</c:v>
                </c:pt>
                <c:pt idx="86">
                  <c:v>#N/A</c:v>
                </c:pt>
                <c:pt idx="87">
                  <c:v>#N/A</c:v>
                </c:pt>
                <c:pt idx="88">
                  <c:v>#N/A</c:v>
                </c:pt>
                <c:pt idx="89">
                  <c:v>#N/A</c:v>
                </c:pt>
                <c:pt idx="90">
                  <c:v>#N/A</c:v>
                </c:pt>
                <c:pt idx="91">
                  <c:v>#N/A</c:v>
                </c:pt>
                <c:pt idx="92">
                  <c:v>#N/A</c:v>
                </c:pt>
                <c:pt idx="93">
                  <c:v>#N/A</c:v>
                </c:pt>
                <c:pt idx="94">
                  <c:v>#N/A</c:v>
                </c:pt>
                <c:pt idx="95">
                  <c:v>#N/A</c:v>
                </c:pt>
                <c:pt idx="96">
                  <c:v>#N/A</c:v>
                </c:pt>
                <c:pt idx="97">
                  <c:v>#N/A</c:v>
                </c:pt>
                <c:pt idx="98">
                  <c:v>#N/A</c:v>
                </c:pt>
                <c:pt idx="99">
                  <c:v>#N/A</c:v>
                </c:pt>
                <c:pt idx="100">
                  <c:v>#N/A</c:v>
                </c:pt>
                <c:pt idx="101">
                  <c:v>#N/A</c:v>
                </c:pt>
                <c:pt idx="102">
                  <c:v>#N/A</c:v>
                </c:pt>
                <c:pt idx="103">
                  <c:v>#N/A</c:v>
                </c:pt>
                <c:pt idx="104">
                  <c:v>#N/A</c:v>
                </c:pt>
                <c:pt idx="105">
                  <c:v>#N/A</c:v>
                </c:pt>
                <c:pt idx="106">
                  <c:v>#N/A</c:v>
                </c:pt>
                <c:pt idx="107">
                  <c:v>#N/A</c:v>
                </c:pt>
                <c:pt idx="108">
                  <c:v>#N/A</c:v>
                </c:pt>
                <c:pt idx="109">
                  <c:v>#N/A</c:v>
                </c:pt>
                <c:pt idx="110">
                  <c:v>#N/A</c:v>
                </c:pt>
                <c:pt idx="111">
                  <c:v>#N/A</c:v>
                </c:pt>
                <c:pt idx="112">
                  <c:v>#N/A</c:v>
                </c:pt>
                <c:pt idx="113">
                  <c:v>#N/A</c:v>
                </c:pt>
                <c:pt idx="114">
                  <c:v>#N/A</c:v>
                </c:pt>
                <c:pt idx="115">
                  <c:v>#N/A</c:v>
                </c:pt>
                <c:pt idx="116">
                  <c:v>#N/A</c:v>
                </c:pt>
                <c:pt idx="117">
                  <c:v>#N/A</c:v>
                </c:pt>
                <c:pt idx="118">
                  <c:v>#N/A</c:v>
                </c:pt>
                <c:pt idx="119">
                  <c:v>#N/A</c:v>
                </c:pt>
                <c:pt idx="120">
                  <c:v>#N/A</c:v>
                </c:pt>
                <c:pt idx="121">
                  <c:v>#N/A</c:v>
                </c:pt>
                <c:pt idx="122">
                  <c:v>#N/A</c:v>
                </c:pt>
                <c:pt idx="123">
                  <c:v>#N/A</c:v>
                </c:pt>
                <c:pt idx="124">
                  <c:v>#N/A</c:v>
                </c:pt>
                <c:pt idx="125">
                  <c:v>#N/A</c:v>
                </c:pt>
                <c:pt idx="126">
                  <c:v>#N/A</c:v>
                </c:pt>
                <c:pt idx="127">
                  <c:v>#N/A</c:v>
                </c:pt>
                <c:pt idx="128">
                  <c:v>#N/A</c:v>
                </c:pt>
                <c:pt idx="129">
                  <c:v>#N/A</c:v>
                </c:pt>
                <c:pt idx="130">
                  <c:v>#N/A</c:v>
                </c:pt>
                <c:pt idx="131">
                  <c:v>#N/A</c:v>
                </c:pt>
                <c:pt idx="132">
                  <c:v>#N/A</c:v>
                </c:pt>
                <c:pt idx="133">
                  <c:v>#N/A</c:v>
                </c:pt>
                <c:pt idx="134">
                  <c:v>#N/A</c:v>
                </c:pt>
                <c:pt idx="135">
                  <c:v>#N/A</c:v>
                </c:pt>
                <c:pt idx="136">
                  <c:v>#N/A</c:v>
                </c:pt>
                <c:pt idx="137">
                  <c:v>#N/A</c:v>
                </c:pt>
                <c:pt idx="138">
                  <c:v>#N/A</c:v>
                </c:pt>
                <c:pt idx="139">
                  <c:v>#N/A</c:v>
                </c:pt>
                <c:pt idx="140">
                  <c:v>#N/A</c:v>
                </c:pt>
                <c:pt idx="141">
                  <c:v>#N/A</c:v>
                </c:pt>
                <c:pt idx="142">
                  <c:v>#N/A</c:v>
                </c:pt>
                <c:pt idx="143">
                  <c:v>#N/A</c:v>
                </c:pt>
                <c:pt idx="144">
                  <c:v>#N/A</c:v>
                </c:pt>
                <c:pt idx="145">
                  <c:v>#N/A</c:v>
                </c:pt>
                <c:pt idx="146">
                  <c:v>#N/A</c:v>
                </c:pt>
                <c:pt idx="147">
                  <c:v>#N/A</c:v>
                </c:pt>
                <c:pt idx="148">
                  <c:v>#N/A</c:v>
                </c:pt>
                <c:pt idx="149">
                  <c:v>#N/A</c:v>
                </c:pt>
                <c:pt idx="150">
                  <c:v>#N/A</c:v>
                </c:pt>
                <c:pt idx="151">
                  <c:v>#N/A</c:v>
                </c:pt>
                <c:pt idx="152">
                  <c:v>#N/A</c:v>
                </c:pt>
                <c:pt idx="153">
                  <c:v>#N/A</c:v>
                </c:pt>
                <c:pt idx="154">
                  <c:v>#N/A</c:v>
                </c:pt>
                <c:pt idx="155">
                  <c:v>#N/A</c:v>
                </c:pt>
                <c:pt idx="156">
                  <c:v>#N/A</c:v>
                </c:pt>
                <c:pt idx="157">
                  <c:v>#N/A</c:v>
                </c:pt>
                <c:pt idx="158">
                  <c:v>#N/A</c:v>
                </c:pt>
                <c:pt idx="159">
                  <c:v>#N/A</c:v>
                </c:pt>
                <c:pt idx="160">
                  <c:v>#N/A</c:v>
                </c:pt>
                <c:pt idx="161">
                  <c:v>#N/A</c:v>
                </c:pt>
                <c:pt idx="162">
                  <c:v>#N/A</c:v>
                </c:pt>
                <c:pt idx="163">
                  <c:v>#N/A</c:v>
                </c:pt>
                <c:pt idx="164">
                  <c:v>#N/A</c:v>
                </c:pt>
                <c:pt idx="165">
                  <c:v>#N/A</c:v>
                </c:pt>
                <c:pt idx="166">
                  <c:v>#N/A</c:v>
                </c:pt>
                <c:pt idx="167">
                  <c:v>#N/A</c:v>
                </c:pt>
                <c:pt idx="168">
                  <c:v>#N/A</c:v>
                </c:pt>
                <c:pt idx="169">
                  <c:v>#N/A</c:v>
                </c:pt>
                <c:pt idx="170">
                  <c:v>#N/A</c:v>
                </c:pt>
                <c:pt idx="171">
                  <c:v>#N/A</c:v>
                </c:pt>
                <c:pt idx="172">
                  <c:v>#N/A</c:v>
                </c:pt>
                <c:pt idx="173">
                  <c:v>#N/A</c:v>
                </c:pt>
                <c:pt idx="174">
                  <c:v>#N/A</c:v>
                </c:pt>
                <c:pt idx="175">
                  <c:v>#N/A</c:v>
                </c:pt>
                <c:pt idx="176">
                  <c:v>#N/A</c:v>
                </c:pt>
                <c:pt idx="177">
                  <c:v>#N/A</c:v>
                </c:pt>
                <c:pt idx="178">
                  <c:v>#N/A</c:v>
                </c:pt>
                <c:pt idx="179">
                  <c:v>#N/A</c:v>
                </c:pt>
                <c:pt idx="180">
                  <c:v>#N/A</c:v>
                </c:pt>
                <c:pt idx="181">
                  <c:v>#N/A</c:v>
                </c:pt>
                <c:pt idx="182">
                  <c:v>#N/A</c:v>
                </c:pt>
                <c:pt idx="183">
                  <c:v>#N/A</c:v>
                </c:pt>
                <c:pt idx="184">
                  <c:v>#N/A</c:v>
                </c:pt>
                <c:pt idx="185">
                  <c:v>#N/A</c:v>
                </c:pt>
                <c:pt idx="186">
                  <c:v>#N/A</c:v>
                </c:pt>
                <c:pt idx="187">
                  <c:v>#N/A</c:v>
                </c:pt>
                <c:pt idx="188">
                  <c:v>#N/A</c:v>
                </c:pt>
                <c:pt idx="189">
                  <c:v>#N/A</c:v>
                </c:pt>
                <c:pt idx="190">
                  <c:v>#N/A</c:v>
                </c:pt>
                <c:pt idx="191">
                  <c:v>#N/A</c:v>
                </c:pt>
                <c:pt idx="192">
                  <c:v>#N/A</c:v>
                </c:pt>
                <c:pt idx="193">
                  <c:v>#N/A</c:v>
                </c:pt>
                <c:pt idx="194">
                  <c:v>#N/A</c:v>
                </c:pt>
                <c:pt idx="195">
                  <c:v>#N/A</c:v>
                </c:pt>
                <c:pt idx="196">
                  <c:v>#N/A</c:v>
                </c:pt>
                <c:pt idx="197">
                  <c:v>#N/A</c:v>
                </c:pt>
                <c:pt idx="198">
                  <c:v>#N/A</c:v>
                </c:pt>
                <c:pt idx="199">
                  <c:v>#N/A</c:v>
                </c:pt>
                <c:pt idx="200">
                  <c:v>#N/A</c:v>
                </c:pt>
                <c:pt idx="201">
                  <c:v>#N/A</c:v>
                </c:pt>
                <c:pt idx="202">
                  <c:v>#N/A</c:v>
                </c:pt>
                <c:pt idx="203">
                  <c:v>#N/A</c:v>
                </c:pt>
                <c:pt idx="204">
                  <c:v>#N/A</c:v>
                </c:pt>
                <c:pt idx="205">
                  <c:v>#N/A</c:v>
                </c:pt>
                <c:pt idx="206">
                  <c:v>#N/A</c:v>
                </c:pt>
                <c:pt idx="207">
                  <c:v>#N/A</c:v>
                </c:pt>
                <c:pt idx="208">
                  <c:v>#N/A</c:v>
                </c:pt>
                <c:pt idx="209">
                  <c:v>#N/A</c:v>
                </c:pt>
                <c:pt idx="210">
                  <c:v>#N/A</c:v>
                </c:pt>
                <c:pt idx="211">
                  <c:v>#N/A</c:v>
                </c:pt>
                <c:pt idx="212">
                  <c:v>#N/A</c:v>
                </c:pt>
                <c:pt idx="213">
                  <c:v>#N/A</c:v>
                </c:pt>
                <c:pt idx="214">
                  <c:v>#N/A</c:v>
                </c:pt>
                <c:pt idx="215">
                  <c:v>#N/A</c:v>
                </c:pt>
                <c:pt idx="216">
                  <c:v>#N/A</c:v>
                </c:pt>
                <c:pt idx="217">
                  <c:v>#N/A</c:v>
                </c:pt>
                <c:pt idx="218">
                  <c:v>#N/A</c:v>
                </c:pt>
                <c:pt idx="219">
                  <c:v>#N/A</c:v>
                </c:pt>
                <c:pt idx="220">
                  <c:v>#N/A</c:v>
                </c:pt>
                <c:pt idx="221">
                  <c:v>#N/A</c:v>
                </c:pt>
                <c:pt idx="222">
                  <c:v>#N/A</c:v>
                </c:pt>
                <c:pt idx="223">
                  <c:v>#N/A</c:v>
                </c:pt>
                <c:pt idx="224">
                  <c:v>#N/A</c:v>
                </c:pt>
                <c:pt idx="225">
                  <c:v>#N/A</c:v>
                </c:pt>
                <c:pt idx="226">
                  <c:v>#N/A</c:v>
                </c:pt>
                <c:pt idx="227">
                  <c:v>#N/A</c:v>
                </c:pt>
                <c:pt idx="228">
                  <c:v>#N/A</c:v>
                </c:pt>
                <c:pt idx="229">
                  <c:v>#N/A</c:v>
                </c:pt>
                <c:pt idx="230">
                  <c:v>#N/A</c:v>
                </c:pt>
                <c:pt idx="231">
                  <c:v>#N/A</c:v>
                </c:pt>
                <c:pt idx="232">
                  <c:v>#N/A</c:v>
                </c:pt>
                <c:pt idx="233">
                  <c:v>#N/A</c:v>
                </c:pt>
                <c:pt idx="234">
                  <c:v>#N/A</c:v>
                </c:pt>
                <c:pt idx="235">
                  <c:v>#N/A</c:v>
                </c:pt>
                <c:pt idx="236">
                  <c:v>#N/A</c:v>
                </c:pt>
                <c:pt idx="237">
                  <c:v>#N/A</c:v>
                </c:pt>
                <c:pt idx="238">
                  <c:v>#N/A</c:v>
                </c:pt>
                <c:pt idx="239">
                  <c:v>#N/A</c:v>
                </c:pt>
                <c:pt idx="240">
                  <c:v>#N/A</c:v>
                </c:pt>
                <c:pt idx="241">
                  <c:v>#N/A</c:v>
                </c:pt>
                <c:pt idx="242">
                  <c:v>#N/A</c:v>
                </c:pt>
                <c:pt idx="243">
                  <c:v>#N/A</c:v>
                </c:pt>
                <c:pt idx="244">
                  <c:v>#N/A</c:v>
                </c:pt>
                <c:pt idx="245">
                  <c:v>#N/A</c:v>
                </c:pt>
                <c:pt idx="246">
                  <c:v>#N/A</c:v>
                </c:pt>
                <c:pt idx="247">
                  <c:v>#N/A</c:v>
                </c:pt>
                <c:pt idx="248">
                  <c:v>#N/A</c:v>
                </c:pt>
                <c:pt idx="249">
                  <c:v>#N/A</c:v>
                </c:pt>
                <c:pt idx="250">
                  <c:v>#N/A</c:v>
                </c:pt>
                <c:pt idx="251">
                  <c:v>#N/A</c:v>
                </c:pt>
                <c:pt idx="252">
                  <c:v>#N/A</c:v>
                </c:pt>
                <c:pt idx="253">
                  <c:v>#N/A</c:v>
                </c:pt>
                <c:pt idx="254">
                  <c:v>#N/A</c:v>
                </c:pt>
                <c:pt idx="255">
                  <c:v>#N/A</c:v>
                </c:pt>
                <c:pt idx="256">
                  <c:v>#N/A</c:v>
                </c:pt>
                <c:pt idx="257">
                  <c:v>#N/A</c:v>
                </c:pt>
                <c:pt idx="258">
                  <c:v>#N/A</c:v>
                </c:pt>
                <c:pt idx="259">
                  <c:v>#N/A</c:v>
                </c:pt>
                <c:pt idx="260">
                  <c:v>#N/A</c:v>
                </c:pt>
                <c:pt idx="261">
                  <c:v>#N/A</c:v>
                </c:pt>
                <c:pt idx="262">
                  <c:v>#N/A</c:v>
                </c:pt>
                <c:pt idx="263">
                  <c:v>#N/A</c:v>
                </c:pt>
                <c:pt idx="264">
                  <c:v>#N/A</c:v>
                </c:pt>
                <c:pt idx="265">
                  <c:v>#N/A</c:v>
                </c:pt>
                <c:pt idx="266">
                  <c:v>#N/A</c:v>
                </c:pt>
                <c:pt idx="267">
                  <c:v>#N/A</c:v>
                </c:pt>
                <c:pt idx="268">
                  <c:v>#N/A</c:v>
                </c:pt>
                <c:pt idx="269">
                  <c:v>#N/A</c:v>
                </c:pt>
                <c:pt idx="270">
                  <c:v>#N/A</c:v>
                </c:pt>
                <c:pt idx="271">
                  <c:v>#N/A</c:v>
                </c:pt>
                <c:pt idx="272">
                  <c:v>#N/A</c:v>
                </c:pt>
                <c:pt idx="273">
                  <c:v>#N/A</c:v>
                </c:pt>
                <c:pt idx="274">
                  <c:v>#N/A</c:v>
                </c:pt>
                <c:pt idx="275">
                  <c:v>#N/A</c:v>
                </c:pt>
                <c:pt idx="276">
                  <c:v>#N/A</c:v>
                </c:pt>
                <c:pt idx="277">
                  <c:v>#N/A</c:v>
                </c:pt>
                <c:pt idx="278">
                  <c:v>#N/A</c:v>
                </c:pt>
                <c:pt idx="279">
                  <c:v>#N/A</c:v>
                </c:pt>
                <c:pt idx="280">
                  <c:v>#N/A</c:v>
                </c:pt>
                <c:pt idx="281">
                  <c:v>#N/A</c:v>
                </c:pt>
                <c:pt idx="282">
                  <c:v>#N/A</c:v>
                </c:pt>
                <c:pt idx="283">
                  <c:v>#N/A</c:v>
                </c:pt>
                <c:pt idx="284">
                  <c:v>#N/A</c:v>
                </c:pt>
                <c:pt idx="285">
                  <c:v>#N/A</c:v>
                </c:pt>
                <c:pt idx="286">
                  <c:v>#N/A</c:v>
                </c:pt>
                <c:pt idx="287">
                  <c:v>#N/A</c:v>
                </c:pt>
                <c:pt idx="288">
                  <c:v>#N/A</c:v>
                </c:pt>
                <c:pt idx="289">
                  <c:v>#N/A</c:v>
                </c:pt>
                <c:pt idx="290">
                  <c:v>#N/A</c:v>
                </c:pt>
                <c:pt idx="291">
                  <c:v>#N/A</c:v>
                </c:pt>
                <c:pt idx="292">
                  <c:v>#N/A</c:v>
                </c:pt>
                <c:pt idx="293">
                  <c:v>#N/A</c:v>
                </c:pt>
                <c:pt idx="294">
                  <c:v>#N/A</c:v>
                </c:pt>
                <c:pt idx="295">
                  <c:v>#N/A</c:v>
                </c:pt>
                <c:pt idx="296">
                  <c:v>#N/A</c:v>
                </c:pt>
                <c:pt idx="297">
                  <c:v>#N/A</c:v>
                </c:pt>
                <c:pt idx="298">
                  <c:v>#N/A</c:v>
                </c:pt>
                <c:pt idx="299">
                  <c:v>#N/A</c:v>
                </c:pt>
                <c:pt idx="300">
                  <c:v>#N/A</c:v>
                </c:pt>
                <c:pt idx="301">
                  <c:v>#N/A</c:v>
                </c:pt>
                <c:pt idx="302">
                  <c:v>#N/A</c:v>
                </c:pt>
                <c:pt idx="303">
                  <c:v>#N/A</c:v>
                </c:pt>
                <c:pt idx="304">
                  <c:v>#N/A</c:v>
                </c:pt>
                <c:pt idx="305">
                  <c:v>#N/A</c:v>
                </c:pt>
                <c:pt idx="306">
                  <c:v>#N/A</c:v>
                </c:pt>
                <c:pt idx="307">
                  <c:v>#N/A</c:v>
                </c:pt>
                <c:pt idx="308">
                  <c:v>#N/A</c:v>
                </c:pt>
                <c:pt idx="309">
                  <c:v>#N/A</c:v>
                </c:pt>
                <c:pt idx="310">
                  <c:v>#N/A</c:v>
                </c:pt>
                <c:pt idx="311">
                  <c:v>#N/A</c:v>
                </c:pt>
                <c:pt idx="312">
                  <c:v>#N/A</c:v>
                </c:pt>
                <c:pt idx="313">
                  <c:v>#N/A</c:v>
                </c:pt>
                <c:pt idx="314">
                  <c:v>#N/A</c:v>
                </c:pt>
                <c:pt idx="315">
                  <c:v>#N/A</c:v>
                </c:pt>
                <c:pt idx="316">
                  <c:v>#N/A</c:v>
                </c:pt>
                <c:pt idx="317">
                  <c:v>#N/A</c:v>
                </c:pt>
                <c:pt idx="318">
                  <c:v>#N/A</c:v>
                </c:pt>
                <c:pt idx="319">
                  <c:v>#N/A</c:v>
                </c:pt>
                <c:pt idx="320">
                  <c:v>#N/A</c:v>
                </c:pt>
                <c:pt idx="321">
                  <c:v>#N/A</c:v>
                </c:pt>
                <c:pt idx="322">
                  <c:v>#N/A</c:v>
                </c:pt>
                <c:pt idx="323">
                  <c:v>#N/A</c:v>
                </c:pt>
                <c:pt idx="324">
                  <c:v>#N/A</c:v>
                </c:pt>
                <c:pt idx="325">
                  <c:v>#N/A</c:v>
                </c:pt>
                <c:pt idx="326">
                  <c:v>#N/A</c:v>
                </c:pt>
                <c:pt idx="327">
                  <c:v>#N/A</c:v>
                </c:pt>
                <c:pt idx="328">
                  <c:v>#N/A</c:v>
                </c:pt>
                <c:pt idx="329">
                  <c:v>#N/A</c:v>
                </c:pt>
                <c:pt idx="330">
                  <c:v>#N/A</c:v>
                </c:pt>
                <c:pt idx="331">
                  <c:v>#N/A</c:v>
                </c:pt>
                <c:pt idx="332">
                  <c:v>#N/A</c:v>
                </c:pt>
                <c:pt idx="333">
                  <c:v>#N/A</c:v>
                </c:pt>
                <c:pt idx="334">
                  <c:v>#N/A</c:v>
                </c:pt>
                <c:pt idx="335">
                  <c:v>#N/A</c:v>
                </c:pt>
                <c:pt idx="336">
                  <c:v>#N/A</c:v>
                </c:pt>
                <c:pt idx="337">
                  <c:v>#N/A</c:v>
                </c:pt>
                <c:pt idx="338">
                  <c:v>#N/A</c:v>
                </c:pt>
                <c:pt idx="339">
                  <c:v>#N/A</c:v>
                </c:pt>
                <c:pt idx="340">
                  <c:v>#N/A</c:v>
                </c:pt>
                <c:pt idx="341">
                  <c:v>#N/A</c:v>
                </c:pt>
                <c:pt idx="342">
                  <c:v>#N/A</c:v>
                </c:pt>
                <c:pt idx="343">
                  <c:v>#N/A</c:v>
                </c:pt>
                <c:pt idx="344">
                  <c:v>#N/A</c:v>
                </c:pt>
                <c:pt idx="345">
                  <c:v>#N/A</c:v>
                </c:pt>
                <c:pt idx="346">
                  <c:v>#N/A</c:v>
                </c:pt>
                <c:pt idx="347">
                  <c:v>#N/A</c:v>
                </c:pt>
                <c:pt idx="348">
                  <c:v>#N/A</c:v>
                </c:pt>
                <c:pt idx="349">
                  <c:v>#N/A</c:v>
                </c:pt>
                <c:pt idx="350">
                  <c:v>#N/A</c:v>
                </c:pt>
                <c:pt idx="351">
                  <c:v>#N/A</c:v>
                </c:pt>
                <c:pt idx="352">
                  <c:v>#N/A</c:v>
                </c:pt>
                <c:pt idx="353">
                  <c:v>#N/A</c:v>
                </c:pt>
                <c:pt idx="354">
                  <c:v>#N/A</c:v>
                </c:pt>
                <c:pt idx="355">
                  <c:v>#N/A</c:v>
                </c:pt>
                <c:pt idx="356">
                  <c:v>#N/A</c:v>
                </c:pt>
                <c:pt idx="357">
                  <c:v>#N/A</c:v>
                </c:pt>
                <c:pt idx="358">
                  <c:v>#N/A</c:v>
                </c:pt>
                <c:pt idx="359">
                  <c:v>#N/A</c:v>
                </c:pt>
                <c:pt idx="360">
                  <c:v>#N/A</c:v>
                </c:pt>
                <c:pt idx="361">
                  <c:v>#N/A</c:v>
                </c:pt>
                <c:pt idx="362">
                  <c:v>#N/A</c:v>
                </c:pt>
                <c:pt idx="363">
                  <c:v>#N/A</c:v>
                </c:pt>
                <c:pt idx="364">
                  <c:v>#N/A</c:v>
                </c:pt>
                <c:pt idx="365">
                  <c:v>#N/A</c:v>
                </c:pt>
                <c:pt idx="366">
                  <c:v>#N/A</c:v>
                </c:pt>
                <c:pt idx="367">
                  <c:v>#N/A</c:v>
                </c:pt>
                <c:pt idx="368">
                  <c:v>#N/A</c:v>
                </c:pt>
                <c:pt idx="369">
                  <c:v>#N/A</c:v>
                </c:pt>
                <c:pt idx="370">
                  <c:v>#N/A</c:v>
                </c:pt>
                <c:pt idx="371">
                  <c:v>#N/A</c:v>
                </c:pt>
                <c:pt idx="372">
                  <c:v>#N/A</c:v>
                </c:pt>
                <c:pt idx="373">
                  <c:v>#N/A</c:v>
                </c:pt>
                <c:pt idx="374">
                  <c:v>#N/A</c:v>
                </c:pt>
                <c:pt idx="375">
                  <c:v>#N/A</c:v>
                </c:pt>
                <c:pt idx="376">
                  <c:v>#N/A</c:v>
                </c:pt>
                <c:pt idx="377">
                  <c:v>#N/A</c:v>
                </c:pt>
                <c:pt idx="378">
                  <c:v>#N/A</c:v>
                </c:pt>
                <c:pt idx="379">
                  <c:v>#N/A</c:v>
                </c:pt>
                <c:pt idx="380">
                  <c:v>#N/A</c:v>
                </c:pt>
                <c:pt idx="381">
                  <c:v>#N/A</c:v>
                </c:pt>
                <c:pt idx="382">
                  <c:v>#N/A</c:v>
                </c:pt>
                <c:pt idx="383">
                  <c:v>#N/A</c:v>
                </c:pt>
                <c:pt idx="384">
                  <c:v>#N/A</c:v>
                </c:pt>
                <c:pt idx="385">
                  <c:v>#N/A</c:v>
                </c:pt>
                <c:pt idx="386">
                  <c:v>#N/A</c:v>
                </c:pt>
                <c:pt idx="387">
                  <c:v>#N/A</c:v>
                </c:pt>
                <c:pt idx="388">
                  <c:v>#N/A</c:v>
                </c:pt>
                <c:pt idx="389">
                  <c:v>#N/A</c:v>
                </c:pt>
                <c:pt idx="390">
                  <c:v>#N/A</c:v>
                </c:pt>
                <c:pt idx="391">
                  <c:v>#N/A</c:v>
                </c:pt>
                <c:pt idx="392">
                  <c:v>#N/A</c:v>
                </c:pt>
                <c:pt idx="393">
                  <c:v>#N/A</c:v>
                </c:pt>
                <c:pt idx="394">
                  <c:v>#N/A</c:v>
                </c:pt>
                <c:pt idx="395">
                  <c:v>#N/A</c:v>
                </c:pt>
                <c:pt idx="396">
                  <c:v>#N/A</c:v>
                </c:pt>
                <c:pt idx="397">
                  <c:v>#N/A</c:v>
                </c:pt>
                <c:pt idx="398">
                  <c:v>#N/A</c:v>
                </c:pt>
                <c:pt idx="399">
                  <c:v>#N/A</c:v>
                </c:pt>
                <c:pt idx="400">
                  <c:v>#N/A</c:v>
                </c:pt>
                <c:pt idx="401">
                  <c:v>#N/A</c:v>
                </c:pt>
                <c:pt idx="402">
                  <c:v>#N/A</c:v>
                </c:pt>
                <c:pt idx="403">
                  <c:v>#N/A</c:v>
                </c:pt>
                <c:pt idx="404">
                  <c:v>#N/A</c:v>
                </c:pt>
                <c:pt idx="405">
                  <c:v>#N/A</c:v>
                </c:pt>
                <c:pt idx="406">
                  <c:v>#N/A</c:v>
                </c:pt>
                <c:pt idx="407">
                  <c:v>#N/A</c:v>
                </c:pt>
                <c:pt idx="408">
                  <c:v>#N/A</c:v>
                </c:pt>
                <c:pt idx="409">
                  <c:v>#N/A</c:v>
                </c:pt>
                <c:pt idx="410">
                  <c:v>#N/A</c:v>
                </c:pt>
                <c:pt idx="411">
                  <c:v>#N/A</c:v>
                </c:pt>
                <c:pt idx="412">
                  <c:v>#N/A</c:v>
                </c:pt>
                <c:pt idx="413">
                  <c:v>#N/A</c:v>
                </c:pt>
                <c:pt idx="414">
                  <c:v>#N/A</c:v>
                </c:pt>
                <c:pt idx="415">
                  <c:v>#N/A</c:v>
                </c:pt>
                <c:pt idx="416">
                  <c:v>#N/A</c:v>
                </c:pt>
                <c:pt idx="417">
                  <c:v>#N/A</c:v>
                </c:pt>
                <c:pt idx="418">
                  <c:v>#N/A</c:v>
                </c:pt>
                <c:pt idx="419">
                  <c:v>#N/A</c:v>
                </c:pt>
                <c:pt idx="420">
                  <c:v>#N/A</c:v>
                </c:pt>
                <c:pt idx="421">
                  <c:v>#N/A</c:v>
                </c:pt>
                <c:pt idx="422">
                  <c:v>#N/A</c:v>
                </c:pt>
                <c:pt idx="423">
                  <c:v>#N/A</c:v>
                </c:pt>
                <c:pt idx="424">
                  <c:v>#N/A</c:v>
                </c:pt>
                <c:pt idx="425">
                  <c:v>#N/A</c:v>
                </c:pt>
                <c:pt idx="426">
                  <c:v>#N/A</c:v>
                </c:pt>
                <c:pt idx="427">
                  <c:v>#N/A</c:v>
                </c:pt>
                <c:pt idx="428">
                  <c:v>#N/A</c:v>
                </c:pt>
                <c:pt idx="429">
                  <c:v>#N/A</c:v>
                </c:pt>
                <c:pt idx="430">
                  <c:v>#N/A</c:v>
                </c:pt>
                <c:pt idx="431">
                  <c:v>#N/A</c:v>
                </c:pt>
                <c:pt idx="432">
                  <c:v>#N/A</c:v>
                </c:pt>
                <c:pt idx="433">
                  <c:v>#N/A</c:v>
                </c:pt>
                <c:pt idx="434">
                  <c:v>#N/A</c:v>
                </c:pt>
                <c:pt idx="435">
                  <c:v>#N/A</c:v>
                </c:pt>
                <c:pt idx="436">
                  <c:v>#N/A</c:v>
                </c:pt>
                <c:pt idx="437">
                  <c:v>#N/A</c:v>
                </c:pt>
                <c:pt idx="438">
                  <c:v>#N/A</c:v>
                </c:pt>
                <c:pt idx="439">
                  <c:v>#N/A</c:v>
                </c:pt>
                <c:pt idx="440">
                  <c:v>#N/A</c:v>
                </c:pt>
                <c:pt idx="441">
                  <c:v>#N/A</c:v>
                </c:pt>
                <c:pt idx="442">
                  <c:v>#N/A</c:v>
                </c:pt>
                <c:pt idx="443">
                  <c:v>#N/A</c:v>
                </c:pt>
                <c:pt idx="444">
                  <c:v>#N/A</c:v>
                </c:pt>
                <c:pt idx="445">
                  <c:v>#N/A</c:v>
                </c:pt>
                <c:pt idx="446">
                  <c:v>#N/A</c:v>
                </c:pt>
                <c:pt idx="447">
                  <c:v>#N/A</c:v>
                </c:pt>
                <c:pt idx="448">
                  <c:v>#N/A</c:v>
                </c:pt>
                <c:pt idx="449">
                  <c:v>#N/A</c:v>
                </c:pt>
                <c:pt idx="450">
                  <c:v>#N/A</c:v>
                </c:pt>
                <c:pt idx="451">
                  <c:v>#N/A</c:v>
                </c:pt>
                <c:pt idx="452">
                  <c:v>#N/A</c:v>
                </c:pt>
                <c:pt idx="453">
                  <c:v>#N/A</c:v>
                </c:pt>
                <c:pt idx="454">
                  <c:v>#N/A</c:v>
                </c:pt>
                <c:pt idx="455">
                  <c:v>#N/A</c:v>
                </c:pt>
                <c:pt idx="456">
                  <c:v>#N/A</c:v>
                </c:pt>
                <c:pt idx="457">
                  <c:v>#N/A</c:v>
                </c:pt>
                <c:pt idx="458">
                  <c:v>#N/A</c:v>
                </c:pt>
                <c:pt idx="459">
                  <c:v>#N/A</c:v>
                </c:pt>
                <c:pt idx="460">
                  <c:v>#N/A</c:v>
                </c:pt>
                <c:pt idx="461">
                  <c:v>#N/A</c:v>
                </c:pt>
                <c:pt idx="462">
                  <c:v>#N/A</c:v>
                </c:pt>
                <c:pt idx="463">
                  <c:v>#N/A</c:v>
                </c:pt>
                <c:pt idx="464">
                  <c:v>#N/A</c:v>
                </c:pt>
                <c:pt idx="465">
                  <c:v>#N/A</c:v>
                </c:pt>
                <c:pt idx="466">
                  <c:v>#N/A</c:v>
                </c:pt>
                <c:pt idx="467">
                  <c:v>#N/A</c:v>
                </c:pt>
                <c:pt idx="468">
                  <c:v>#N/A</c:v>
                </c:pt>
                <c:pt idx="469">
                  <c:v>#N/A</c:v>
                </c:pt>
                <c:pt idx="470">
                  <c:v>#N/A</c:v>
                </c:pt>
                <c:pt idx="471">
                  <c:v>#N/A</c:v>
                </c:pt>
                <c:pt idx="472">
                  <c:v>#N/A</c:v>
                </c:pt>
                <c:pt idx="473">
                  <c:v>#N/A</c:v>
                </c:pt>
                <c:pt idx="474">
                  <c:v>#N/A</c:v>
                </c:pt>
                <c:pt idx="475">
                  <c:v>#N/A</c:v>
                </c:pt>
                <c:pt idx="476">
                  <c:v>#N/A</c:v>
                </c:pt>
                <c:pt idx="477">
                  <c:v>#N/A</c:v>
                </c:pt>
                <c:pt idx="478">
                  <c:v>#N/A</c:v>
                </c:pt>
                <c:pt idx="479">
                  <c:v>#N/A</c:v>
                </c:pt>
                <c:pt idx="480">
                  <c:v>#N/A</c:v>
                </c:pt>
                <c:pt idx="481">
                  <c:v>#N/A</c:v>
                </c:pt>
                <c:pt idx="482">
                  <c:v>#N/A</c:v>
                </c:pt>
                <c:pt idx="483">
                  <c:v>#N/A</c:v>
                </c:pt>
                <c:pt idx="484">
                  <c:v>#N/A</c:v>
                </c:pt>
                <c:pt idx="485">
                  <c:v>#N/A</c:v>
                </c:pt>
                <c:pt idx="486">
                  <c:v>#N/A</c:v>
                </c:pt>
                <c:pt idx="487">
                  <c:v>#N/A</c:v>
                </c:pt>
                <c:pt idx="488">
                  <c:v>#N/A</c:v>
                </c:pt>
                <c:pt idx="489">
                  <c:v>#N/A</c:v>
                </c:pt>
                <c:pt idx="490">
                  <c:v>#N/A</c:v>
                </c:pt>
                <c:pt idx="491">
                  <c:v>#N/A</c:v>
                </c:pt>
                <c:pt idx="492">
                  <c:v>#N/A</c:v>
                </c:pt>
                <c:pt idx="493">
                  <c:v>#N/A</c:v>
                </c:pt>
                <c:pt idx="494">
                  <c:v>#N/A</c:v>
                </c:pt>
                <c:pt idx="495">
                  <c:v>#N/A</c:v>
                </c:pt>
                <c:pt idx="496">
                  <c:v>#N/A</c:v>
                </c:pt>
                <c:pt idx="497">
                  <c:v>#N/A</c:v>
                </c:pt>
                <c:pt idx="498">
                  <c:v>#N/A</c:v>
                </c:pt>
                <c:pt idx="499">
                  <c:v>#N/A</c:v>
                </c:pt>
                <c:pt idx="500">
                  <c:v>#N/A</c:v>
                </c:pt>
                <c:pt idx="501">
                  <c:v>#N/A</c:v>
                </c:pt>
                <c:pt idx="502">
                  <c:v>#N/A</c:v>
                </c:pt>
                <c:pt idx="503">
                  <c:v>#N/A</c:v>
                </c:pt>
                <c:pt idx="504">
                  <c:v>#N/A</c:v>
                </c:pt>
                <c:pt idx="505">
                  <c:v>#N/A</c:v>
                </c:pt>
                <c:pt idx="506">
                  <c:v>#N/A</c:v>
                </c:pt>
                <c:pt idx="507">
                  <c:v>#N/A</c:v>
                </c:pt>
                <c:pt idx="508">
                  <c:v>#N/A</c:v>
                </c:pt>
                <c:pt idx="509">
                  <c:v>#N/A</c:v>
                </c:pt>
                <c:pt idx="510">
                  <c:v>#N/A</c:v>
                </c:pt>
                <c:pt idx="511">
                  <c:v>#N/A</c:v>
                </c:pt>
                <c:pt idx="512">
                  <c:v>#N/A</c:v>
                </c:pt>
                <c:pt idx="513">
                  <c:v>#N/A</c:v>
                </c:pt>
                <c:pt idx="514">
                  <c:v>#N/A</c:v>
                </c:pt>
                <c:pt idx="515">
                  <c:v>#N/A</c:v>
                </c:pt>
                <c:pt idx="516">
                  <c:v>#N/A</c:v>
                </c:pt>
                <c:pt idx="517">
                  <c:v>#N/A</c:v>
                </c:pt>
                <c:pt idx="518">
                  <c:v>#N/A</c:v>
                </c:pt>
                <c:pt idx="519">
                  <c:v>#N/A</c:v>
                </c:pt>
                <c:pt idx="520">
                  <c:v>#N/A</c:v>
                </c:pt>
                <c:pt idx="521">
                  <c:v>#N/A</c:v>
                </c:pt>
                <c:pt idx="522">
                  <c:v>#N/A</c:v>
                </c:pt>
                <c:pt idx="523">
                  <c:v>#N/A</c:v>
                </c:pt>
                <c:pt idx="524">
                  <c:v>#N/A</c:v>
                </c:pt>
                <c:pt idx="525">
                  <c:v>#N/A</c:v>
                </c:pt>
                <c:pt idx="526">
                  <c:v>#N/A</c:v>
                </c:pt>
                <c:pt idx="527">
                  <c:v>#N/A</c:v>
                </c:pt>
                <c:pt idx="528">
                  <c:v>#N/A</c:v>
                </c:pt>
                <c:pt idx="529">
                  <c:v>#N/A</c:v>
                </c:pt>
                <c:pt idx="530">
                  <c:v>#N/A</c:v>
                </c:pt>
                <c:pt idx="531">
                  <c:v>#N/A</c:v>
                </c:pt>
                <c:pt idx="532">
                  <c:v>#N/A</c:v>
                </c:pt>
                <c:pt idx="533">
                  <c:v>#N/A</c:v>
                </c:pt>
                <c:pt idx="534">
                  <c:v>#N/A</c:v>
                </c:pt>
                <c:pt idx="535">
                  <c:v>#N/A</c:v>
                </c:pt>
                <c:pt idx="536">
                  <c:v>#N/A</c:v>
                </c:pt>
                <c:pt idx="537">
                  <c:v>#N/A</c:v>
                </c:pt>
                <c:pt idx="538">
                  <c:v>#N/A</c:v>
                </c:pt>
                <c:pt idx="539">
                  <c:v>#N/A</c:v>
                </c:pt>
                <c:pt idx="540">
                  <c:v>#N/A</c:v>
                </c:pt>
                <c:pt idx="541">
                  <c:v>#N/A</c:v>
                </c:pt>
                <c:pt idx="542">
                  <c:v>#N/A</c:v>
                </c:pt>
                <c:pt idx="543">
                  <c:v>#N/A</c:v>
                </c:pt>
                <c:pt idx="544">
                  <c:v>#N/A</c:v>
                </c:pt>
                <c:pt idx="545">
                  <c:v>#N/A</c:v>
                </c:pt>
                <c:pt idx="546">
                  <c:v>#N/A</c:v>
                </c:pt>
                <c:pt idx="547">
                  <c:v>#N/A</c:v>
                </c:pt>
                <c:pt idx="548">
                  <c:v>#N/A</c:v>
                </c:pt>
                <c:pt idx="549">
                  <c:v>#N/A</c:v>
                </c:pt>
                <c:pt idx="550">
                  <c:v>#N/A</c:v>
                </c:pt>
                <c:pt idx="551">
                  <c:v>#N/A</c:v>
                </c:pt>
                <c:pt idx="552">
                  <c:v>#N/A</c:v>
                </c:pt>
                <c:pt idx="553">
                  <c:v>#N/A</c:v>
                </c:pt>
                <c:pt idx="554">
                  <c:v>#N/A</c:v>
                </c:pt>
                <c:pt idx="555">
                  <c:v>#N/A</c:v>
                </c:pt>
                <c:pt idx="556">
                  <c:v>#N/A</c:v>
                </c:pt>
                <c:pt idx="557">
                  <c:v>#N/A</c:v>
                </c:pt>
                <c:pt idx="558">
                  <c:v>#N/A</c:v>
                </c:pt>
                <c:pt idx="559">
                  <c:v>#N/A</c:v>
                </c:pt>
                <c:pt idx="560">
                  <c:v>#N/A</c:v>
                </c:pt>
                <c:pt idx="561">
                  <c:v>#N/A</c:v>
                </c:pt>
                <c:pt idx="562">
                  <c:v>#N/A</c:v>
                </c:pt>
                <c:pt idx="563">
                  <c:v>#N/A</c:v>
                </c:pt>
                <c:pt idx="564">
                  <c:v>#N/A</c:v>
                </c:pt>
                <c:pt idx="565">
                  <c:v>#N/A</c:v>
                </c:pt>
                <c:pt idx="566">
                  <c:v>#N/A</c:v>
                </c:pt>
                <c:pt idx="567">
                  <c:v>#N/A</c:v>
                </c:pt>
                <c:pt idx="568">
                  <c:v>#N/A</c:v>
                </c:pt>
                <c:pt idx="569">
                  <c:v>#N/A</c:v>
                </c:pt>
                <c:pt idx="570">
                  <c:v>#N/A</c:v>
                </c:pt>
                <c:pt idx="571">
                  <c:v>#N/A</c:v>
                </c:pt>
                <c:pt idx="572">
                  <c:v>#N/A</c:v>
                </c:pt>
                <c:pt idx="573">
                  <c:v>#N/A</c:v>
                </c:pt>
                <c:pt idx="574">
                  <c:v>#N/A</c:v>
                </c:pt>
                <c:pt idx="575">
                  <c:v>#N/A</c:v>
                </c:pt>
                <c:pt idx="576">
                  <c:v>#N/A</c:v>
                </c:pt>
                <c:pt idx="577">
                  <c:v>#N/A</c:v>
                </c:pt>
                <c:pt idx="578">
                  <c:v>#N/A</c:v>
                </c:pt>
                <c:pt idx="579">
                  <c:v>#N/A</c:v>
                </c:pt>
                <c:pt idx="580">
                  <c:v>#N/A</c:v>
                </c:pt>
                <c:pt idx="581">
                  <c:v>#N/A</c:v>
                </c:pt>
                <c:pt idx="582">
                  <c:v>#N/A</c:v>
                </c:pt>
                <c:pt idx="583">
                  <c:v>#N/A</c:v>
                </c:pt>
                <c:pt idx="584">
                  <c:v>#N/A</c:v>
                </c:pt>
                <c:pt idx="585">
                  <c:v>#N/A</c:v>
                </c:pt>
                <c:pt idx="586">
                  <c:v>#N/A</c:v>
                </c:pt>
                <c:pt idx="587">
                  <c:v>#N/A</c:v>
                </c:pt>
                <c:pt idx="588">
                  <c:v>#N/A</c:v>
                </c:pt>
                <c:pt idx="589">
                  <c:v>#N/A</c:v>
                </c:pt>
                <c:pt idx="590">
                  <c:v>#N/A</c:v>
                </c:pt>
                <c:pt idx="591">
                  <c:v>#N/A</c:v>
                </c:pt>
                <c:pt idx="592">
                  <c:v>#N/A</c:v>
                </c:pt>
                <c:pt idx="593">
                  <c:v>#N/A</c:v>
                </c:pt>
                <c:pt idx="594">
                  <c:v>#N/A</c:v>
                </c:pt>
                <c:pt idx="595">
                  <c:v>#N/A</c:v>
                </c:pt>
                <c:pt idx="596">
                  <c:v>#N/A</c:v>
                </c:pt>
                <c:pt idx="597">
                  <c:v>#N/A</c:v>
                </c:pt>
                <c:pt idx="598">
                  <c:v>#N/A</c:v>
                </c:pt>
                <c:pt idx="599">
                  <c:v>#N/A</c:v>
                </c:pt>
                <c:pt idx="600">
                  <c:v>#N/A</c:v>
                </c:pt>
                <c:pt idx="601">
                  <c:v>#N/A</c:v>
                </c:pt>
                <c:pt idx="602">
                  <c:v>#N/A</c:v>
                </c:pt>
                <c:pt idx="603">
                  <c:v>#N/A</c:v>
                </c:pt>
                <c:pt idx="604">
                  <c:v>#N/A</c:v>
                </c:pt>
                <c:pt idx="605">
                  <c:v>#N/A</c:v>
                </c:pt>
                <c:pt idx="606">
                  <c:v>#N/A</c:v>
                </c:pt>
                <c:pt idx="607">
                  <c:v>#N/A</c:v>
                </c:pt>
                <c:pt idx="608">
                  <c:v>#N/A</c:v>
                </c:pt>
                <c:pt idx="609">
                  <c:v>#N/A</c:v>
                </c:pt>
                <c:pt idx="610">
                  <c:v>#N/A</c:v>
                </c:pt>
                <c:pt idx="611">
                  <c:v>#N/A</c:v>
                </c:pt>
                <c:pt idx="612">
                  <c:v>#N/A</c:v>
                </c:pt>
                <c:pt idx="613">
                  <c:v>#N/A</c:v>
                </c:pt>
                <c:pt idx="614">
                  <c:v>#N/A</c:v>
                </c:pt>
                <c:pt idx="615">
                  <c:v>#N/A</c:v>
                </c:pt>
                <c:pt idx="616">
                  <c:v>#N/A</c:v>
                </c:pt>
                <c:pt idx="617">
                  <c:v>#N/A</c:v>
                </c:pt>
                <c:pt idx="618">
                  <c:v>#N/A</c:v>
                </c:pt>
                <c:pt idx="619">
                  <c:v>#N/A</c:v>
                </c:pt>
                <c:pt idx="620">
                  <c:v>#N/A</c:v>
                </c:pt>
                <c:pt idx="621">
                  <c:v>#N/A</c:v>
                </c:pt>
                <c:pt idx="622">
                  <c:v>#N/A</c:v>
                </c:pt>
                <c:pt idx="623">
                  <c:v>#N/A</c:v>
                </c:pt>
                <c:pt idx="624">
                  <c:v>#N/A</c:v>
                </c:pt>
                <c:pt idx="625">
                  <c:v>#N/A</c:v>
                </c:pt>
                <c:pt idx="626">
                  <c:v>#N/A</c:v>
                </c:pt>
                <c:pt idx="627">
                  <c:v>#N/A</c:v>
                </c:pt>
                <c:pt idx="628">
                  <c:v>#N/A</c:v>
                </c:pt>
                <c:pt idx="629">
                  <c:v>#N/A</c:v>
                </c:pt>
                <c:pt idx="630">
                  <c:v>#N/A</c:v>
                </c:pt>
                <c:pt idx="631">
                  <c:v>#N/A</c:v>
                </c:pt>
                <c:pt idx="632">
                  <c:v>#N/A</c:v>
                </c:pt>
                <c:pt idx="633">
                  <c:v>#N/A</c:v>
                </c:pt>
                <c:pt idx="634">
                  <c:v>#N/A</c:v>
                </c:pt>
                <c:pt idx="635">
                  <c:v>#N/A</c:v>
                </c:pt>
                <c:pt idx="636">
                  <c:v>#N/A</c:v>
                </c:pt>
                <c:pt idx="637">
                  <c:v>#N/A</c:v>
                </c:pt>
                <c:pt idx="638">
                  <c:v>#N/A</c:v>
                </c:pt>
                <c:pt idx="639">
                  <c:v>#N/A</c:v>
                </c:pt>
                <c:pt idx="640">
                  <c:v>#N/A</c:v>
                </c:pt>
                <c:pt idx="641">
                  <c:v>#N/A</c:v>
                </c:pt>
                <c:pt idx="642">
                  <c:v>#N/A</c:v>
                </c:pt>
                <c:pt idx="643">
                  <c:v>#N/A</c:v>
                </c:pt>
                <c:pt idx="644">
                  <c:v>#N/A</c:v>
                </c:pt>
                <c:pt idx="645">
                  <c:v>#N/A</c:v>
                </c:pt>
                <c:pt idx="646">
                  <c:v>#N/A</c:v>
                </c:pt>
                <c:pt idx="647">
                  <c:v>#N/A</c:v>
                </c:pt>
                <c:pt idx="648">
                  <c:v>#N/A</c:v>
                </c:pt>
                <c:pt idx="649">
                  <c:v>#N/A</c:v>
                </c:pt>
                <c:pt idx="650">
                  <c:v>#N/A</c:v>
                </c:pt>
                <c:pt idx="651">
                  <c:v>#N/A</c:v>
                </c:pt>
                <c:pt idx="652">
                  <c:v>#N/A</c:v>
                </c:pt>
                <c:pt idx="653">
                  <c:v>#N/A</c:v>
                </c:pt>
                <c:pt idx="654">
                  <c:v>#N/A</c:v>
                </c:pt>
                <c:pt idx="655">
                  <c:v>#N/A</c:v>
                </c:pt>
                <c:pt idx="656">
                  <c:v>#N/A</c:v>
                </c:pt>
                <c:pt idx="657">
                  <c:v>#N/A</c:v>
                </c:pt>
                <c:pt idx="658">
                  <c:v>#N/A</c:v>
                </c:pt>
                <c:pt idx="659">
                  <c:v>#N/A</c:v>
                </c:pt>
                <c:pt idx="660">
                  <c:v>#N/A</c:v>
                </c:pt>
                <c:pt idx="661">
                  <c:v>#N/A</c:v>
                </c:pt>
                <c:pt idx="662">
                  <c:v>#N/A</c:v>
                </c:pt>
                <c:pt idx="663">
                  <c:v>#N/A</c:v>
                </c:pt>
                <c:pt idx="664">
                  <c:v>#N/A</c:v>
                </c:pt>
                <c:pt idx="665">
                  <c:v>#N/A</c:v>
                </c:pt>
                <c:pt idx="666">
                  <c:v>#N/A</c:v>
                </c:pt>
                <c:pt idx="667">
                  <c:v>#N/A</c:v>
                </c:pt>
                <c:pt idx="668">
                  <c:v>#N/A</c:v>
                </c:pt>
                <c:pt idx="669">
                  <c:v>#N/A</c:v>
                </c:pt>
                <c:pt idx="670">
                  <c:v>#N/A</c:v>
                </c:pt>
                <c:pt idx="671">
                  <c:v>#N/A</c:v>
                </c:pt>
                <c:pt idx="672">
                  <c:v>#N/A</c:v>
                </c:pt>
                <c:pt idx="673">
                  <c:v>#N/A</c:v>
                </c:pt>
                <c:pt idx="674">
                  <c:v>#N/A</c:v>
                </c:pt>
                <c:pt idx="675">
                  <c:v>#N/A</c:v>
                </c:pt>
                <c:pt idx="676">
                  <c:v>#N/A</c:v>
                </c:pt>
                <c:pt idx="677">
                  <c:v>#N/A</c:v>
                </c:pt>
                <c:pt idx="678">
                  <c:v>#N/A</c:v>
                </c:pt>
                <c:pt idx="679">
                  <c:v>#N/A</c:v>
                </c:pt>
                <c:pt idx="680">
                  <c:v>#N/A</c:v>
                </c:pt>
                <c:pt idx="681">
                  <c:v>#N/A</c:v>
                </c:pt>
                <c:pt idx="682">
                  <c:v>#N/A</c:v>
                </c:pt>
                <c:pt idx="683">
                  <c:v>#N/A</c:v>
                </c:pt>
                <c:pt idx="684">
                  <c:v>#N/A</c:v>
                </c:pt>
                <c:pt idx="685">
                  <c:v>#N/A</c:v>
                </c:pt>
                <c:pt idx="686">
                  <c:v>#N/A</c:v>
                </c:pt>
                <c:pt idx="687">
                  <c:v>#N/A</c:v>
                </c:pt>
                <c:pt idx="688">
                  <c:v>#N/A</c:v>
                </c:pt>
                <c:pt idx="689">
                  <c:v>#N/A</c:v>
                </c:pt>
                <c:pt idx="690">
                  <c:v>#N/A</c:v>
                </c:pt>
                <c:pt idx="691">
                  <c:v>#N/A</c:v>
                </c:pt>
                <c:pt idx="692">
                  <c:v>#N/A</c:v>
                </c:pt>
                <c:pt idx="693">
                  <c:v>#N/A</c:v>
                </c:pt>
                <c:pt idx="694">
                  <c:v>#N/A</c:v>
                </c:pt>
                <c:pt idx="695">
                  <c:v>#N/A</c:v>
                </c:pt>
                <c:pt idx="696">
                  <c:v>#N/A</c:v>
                </c:pt>
                <c:pt idx="697">
                  <c:v>#N/A</c:v>
                </c:pt>
                <c:pt idx="698">
                  <c:v>#N/A</c:v>
                </c:pt>
                <c:pt idx="699">
                  <c:v>#N/A</c:v>
                </c:pt>
                <c:pt idx="700">
                  <c:v>#N/A</c:v>
                </c:pt>
                <c:pt idx="701">
                  <c:v>#N/A</c:v>
                </c:pt>
                <c:pt idx="702">
                  <c:v>#N/A</c:v>
                </c:pt>
                <c:pt idx="703">
                  <c:v>#N/A</c:v>
                </c:pt>
                <c:pt idx="704">
                  <c:v>#N/A</c:v>
                </c:pt>
                <c:pt idx="705">
                  <c:v>#N/A</c:v>
                </c:pt>
                <c:pt idx="706">
                  <c:v>#N/A</c:v>
                </c:pt>
                <c:pt idx="707">
                  <c:v>#N/A</c:v>
                </c:pt>
                <c:pt idx="708">
                  <c:v>#N/A</c:v>
                </c:pt>
                <c:pt idx="709">
                  <c:v>#N/A</c:v>
                </c:pt>
                <c:pt idx="710">
                  <c:v>#N/A</c:v>
                </c:pt>
                <c:pt idx="711">
                  <c:v>#N/A</c:v>
                </c:pt>
                <c:pt idx="712">
                  <c:v>#N/A</c:v>
                </c:pt>
                <c:pt idx="713">
                  <c:v>#N/A</c:v>
                </c:pt>
                <c:pt idx="714">
                  <c:v>#N/A</c:v>
                </c:pt>
                <c:pt idx="715">
                  <c:v>#N/A</c:v>
                </c:pt>
                <c:pt idx="716">
                  <c:v>#N/A</c:v>
                </c:pt>
                <c:pt idx="717">
                  <c:v>#N/A</c:v>
                </c:pt>
                <c:pt idx="718">
                  <c:v>#N/A</c:v>
                </c:pt>
                <c:pt idx="719">
                  <c:v>#N/A</c:v>
                </c:pt>
                <c:pt idx="720">
                  <c:v>#N/A</c:v>
                </c:pt>
                <c:pt idx="721">
                  <c:v>#N/A</c:v>
                </c:pt>
                <c:pt idx="722">
                  <c:v>#N/A</c:v>
                </c:pt>
                <c:pt idx="723">
                  <c:v>#N/A</c:v>
                </c:pt>
                <c:pt idx="724">
                  <c:v>#N/A</c:v>
                </c:pt>
                <c:pt idx="725">
                  <c:v>#N/A</c:v>
                </c:pt>
                <c:pt idx="726">
                  <c:v>#N/A</c:v>
                </c:pt>
                <c:pt idx="727">
                  <c:v>#N/A</c:v>
                </c:pt>
                <c:pt idx="728">
                  <c:v>#N/A</c:v>
                </c:pt>
                <c:pt idx="729">
                  <c:v>#N/A</c:v>
                </c:pt>
                <c:pt idx="730">
                  <c:v>#N/A</c:v>
                </c:pt>
                <c:pt idx="731">
                  <c:v>#N/A</c:v>
                </c:pt>
                <c:pt idx="732">
                  <c:v>#N/A</c:v>
                </c:pt>
                <c:pt idx="733">
                  <c:v>#N/A</c:v>
                </c:pt>
                <c:pt idx="734">
                  <c:v>#N/A</c:v>
                </c:pt>
                <c:pt idx="735">
                  <c:v>#N/A</c:v>
                </c:pt>
                <c:pt idx="736">
                  <c:v>#N/A</c:v>
                </c:pt>
                <c:pt idx="737">
                  <c:v>#N/A</c:v>
                </c:pt>
                <c:pt idx="738">
                  <c:v>#N/A</c:v>
                </c:pt>
                <c:pt idx="739">
                  <c:v>#N/A</c:v>
                </c:pt>
                <c:pt idx="740">
                  <c:v>#N/A</c:v>
                </c:pt>
                <c:pt idx="741">
                  <c:v>#N/A</c:v>
                </c:pt>
                <c:pt idx="742">
                  <c:v>#N/A</c:v>
                </c:pt>
                <c:pt idx="743">
                  <c:v>#N/A</c:v>
                </c:pt>
                <c:pt idx="744">
                  <c:v>#N/A</c:v>
                </c:pt>
                <c:pt idx="745">
                  <c:v>#N/A</c:v>
                </c:pt>
                <c:pt idx="746">
                  <c:v>#N/A</c:v>
                </c:pt>
                <c:pt idx="747">
                  <c:v>#N/A</c:v>
                </c:pt>
                <c:pt idx="748">
                  <c:v>#N/A</c:v>
                </c:pt>
                <c:pt idx="749">
                  <c:v>#N/A</c:v>
                </c:pt>
                <c:pt idx="750">
                  <c:v>#N/A</c:v>
                </c:pt>
                <c:pt idx="751">
                  <c:v>#N/A</c:v>
                </c:pt>
                <c:pt idx="752">
                  <c:v>#N/A</c:v>
                </c:pt>
                <c:pt idx="753">
                  <c:v>#N/A</c:v>
                </c:pt>
                <c:pt idx="754">
                  <c:v>#N/A</c:v>
                </c:pt>
                <c:pt idx="755">
                  <c:v>#N/A</c:v>
                </c:pt>
                <c:pt idx="756">
                  <c:v>#N/A</c:v>
                </c:pt>
                <c:pt idx="757">
                  <c:v>#N/A</c:v>
                </c:pt>
                <c:pt idx="758">
                  <c:v>#N/A</c:v>
                </c:pt>
                <c:pt idx="759">
                  <c:v>#N/A</c:v>
                </c:pt>
                <c:pt idx="760">
                  <c:v>#N/A</c:v>
                </c:pt>
                <c:pt idx="761">
                  <c:v>#N/A</c:v>
                </c:pt>
                <c:pt idx="762">
                  <c:v>#N/A</c:v>
                </c:pt>
                <c:pt idx="763">
                  <c:v>#N/A</c:v>
                </c:pt>
                <c:pt idx="764">
                  <c:v>#N/A</c:v>
                </c:pt>
                <c:pt idx="765">
                  <c:v>#N/A</c:v>
                </c:pt>
                <c:pt idx="766">
                  <c:v>#N/A</c:v>
                </c:pt>
                <c:pt idx="767">
                  <c:v>#N/A</c:v>
                </c:pt>
                <c:pt idx="768">
                  <c:v>#N/A</c:v>
                </c:pt>
                <c:pt idx="769">
                  <c:v>#N/A</c:v>
                </c:pt>
                <c:pt idx="770">
                  <c:v>#N/A</c:v>
                </c:pt>
                <c:pt idx="771">
                  <c:v>#N/A</c:v>
                </c:pt>
                <c:pt idx="772">
                  <c:v>#N/A</c:v>
                </c:pt>
                <c:pt idx="773">
                  <c:v>#N/A</c:v>
                </c:pt>
                <c:pt idx="774">
                  <c:v>#N/A</c:v>
                </c:pt>
                <c:pt idx="775">
                  <c:v>#N/A</c:v>
                </c:pt>
                <c:pt idx="776">
                  <c:v>#N/A</c:v>
                </c:pt>
                <c:pt idx="777">
                  <c:v>#N/A</c:v>
                </c:pt>
                <c:pt idx="778">
                  <c:v>#N/A</c:v>
                </c:pt>
                <c:pt idx="779">
                  <c:v>#N/A</c:v>
                </c:pt>
                <c:pt idx="780">
                  <c:v>#N/A</c:v>
                </c:pt>
                <c:pt idx="781">
                  <c:v>#N/A</c:v>
                </c:pt>
                <c:pt idx="782">
                  <c:v>#N/A</c:v>
                </c:pt>
                <c:pt idx="783">
                  <c:v>#N/A</c:v>
                </c:pt>
                <c:pt idx="784">
                  <c:v>#N/A</c:v>
                </c:pt>
                <c:pt idx="785">
                  <c:v>#N/A</c:v>
                </c:pt>
                <c:pt idx="786">
                  <c:v>#N/A</c:v>
                </c:pt>
                <c:pt idx="787">
                  <c:v>#N/A</c:v>
                </c:pt>
                <c:pt idx="788">
                  <c:v>#N/A</c:v>
                </c:pt>
                <c:pt idx="789">
                  <c:v>#N/A</c:v>
                </c:pt>
                <c:pt idx="790">
                  <c:v>#N/A</c:v>
                </c:pt>
                <c:pt idx="791">
                  <c:v>#N/A</c:v>
                </c:pt>
                <c:pt idx="792">
                  <c:v>#N/A</c:v>
                </c:pt>
                <c:pt idx="793">
                  <c:v>#N/A</c:v>
                </c:pt>
                <c:pt idx="794">
                  <c:v>#N/A</c:v>
                </c:pt>
                <c:pt idx="795">
                  <c:v>#N/A</c:v>
                </c:pt>
                <c:pt idx="796">
                  <c:v>#N/A</c:v>
                </c:pt>
                <c:pt idx="797">
                  <c:v>#N/A</c:v>
                </c:pt>
                <c:pt idx="798">
                  <c:v>#N/A</c:v>
                </c:pt>
                <c:pt idx="799">
                  <c:v>#N/A</c:v>
                </c:pt>
                <c:pt idx="800">
                  <c:v>#N/A</c:v>
                </c:pt>
                <c:pt idx="801">
                  <c:v>#N/A</c:v>
                </c:pt>
                <c:pt idx="802">
                  <c:v>#N/A</c:v>
                </c:pt>
                <c:pt idx="803">
                  <c:v>#N/A</c:v>
                </c:pt>
                <c:pt idx="804">
                  <c:v>#N/A</c:v>
                </c:pt>
                <c:pt idx="805">
                  <c:v>#N/A</c:v>
                </c:pt>
                <c:pt idx="806">
                  <c:v>#N/A</c:v>
                </c:pt>
                <c:pt idx="807">
                  <c:v>#N/A</c:v>
                </c:pt>
                <c:pt idx="808">
                  <c:v>#N/A</c:v>
                </c:pt>
                <c:pt idx="809">
                  <c:v>#N/A</c:v>
                </c:pt>
                <c:pt idx="810">
                  <c:v>#N/A</c:v>
                </c:pt>
                <c:pt idx="811">
                  <c:v>#N/A</c:v>
                </c:pt>
                <c:pt idx="812">
                  <c:v>#N/A</c:v>
                </c:pt>
                <c:pt idx="813">
                  <c:v>#N/A</c:v>
                </c:pt>
                <c:pt idx="814">
                  <c:v>#N/A</c:v>
                </c:pt>
                <c:pt idx="815">
                  <c:v>#N/A</c:v>
                </c:pt>
                <c:pt idx="816">
                  <c:v>#N/A</c:v>
                </c:pt>
                <c:pt idx="817">
                  <c:v>#N/A</c:v>
                </c:pt>
                <c:pt idx="818">
                  <c:v>#N/A</c:v>
                </c:pt>
                <c:pt idx="819">
                  <c:v>#N/A</c:v>
                </c:pt>
                <c:pt idx="820">
                  <c:v>#N/A</c:v>
                </c:pt>
                <c:pt idx="821">
                  <c:v>#N/A</c:v>
                </c:pt>
                <c:pt idx="822">
                  <c:v>#N/A</c:v>
                </c:pt>
                <c:pt idx="823">
                  <c:v>#N/A</c:v>
                </c:pt>
                <c:pt idx="824">
                  <c:v>#N/A</c:v>
                </c:pt>
                <c:pt idx="825">
                  <c:v>#N/A</c:v>
                </c:pt>
                <c:pt idx="826">
                  <c:v>#N/A</c:v>
                </c:pt>
                <c:pt idx="827">
                  <c:v>#N/A</c:v>
                </c:pt>
                <c:pt idx="828">
                  <c:v>#N/A</c:v>
                </c:pt>
                <c:pt idx="829">
                  <c:v>#N/A</c:v>
                </c:pt>
                <c:pt idx="830">
                  <c:v>#N/A</c:v>
                </c:pt>
                <c:pt idx="831">
                  <c:v>#N/A</c:v>
                </c:pt>
                <c:pt idx="832">
                  <c:v>#N/A</c:v>
                </c:pt>
                <c:pt idx="833">
                  <c:v>#N/A</c:v>
                </c:pt>
                <c:pt idx="834">
                  <c:v>#N/A</c:v>
                </c:pt>
                <c:pt idx="835">
                  <c:v>#N/A</c:v>
                </c:pt>
                <c:pt idx="836">
                  <c:v>#N/A</c:v>
                </c:pt>
                <c:pt idx="837">
                  <c:v>#N/A</c:v>
                </c:pt>
                <c:pt idx="838">
                  <c:v>#N/A</c:v>
                </c:pt>
                <c:pt idx="839">
                  <c:v>#N/A</c:v>
                </c:pt>
                <c:pt idx="840">
                  <c:v>#N/A</c:v>
                </c:pt>
                <c:pt idx="841">
                  <c:v>#N/A</c:v>
                </c:pt>
                <c:pt idx="842">
                  <c:v>#N/A</c:v>
                </c:pt>
                <c:pt idx="843">
                  <c:v>#N/A</c:v>
                </c:pt>
                <c:pt idx="844">
                  <c:v>#N/A</c:v>
                </c:pt>
                <c:pt idx="845">
                  <c:v>#N/A</c:v>
                </c:pt>
                <c:pt idx="846">
                  <c:v>#N/A</c:v>
                </c:pt>
                <c:pt idx="847">
                  <c:v>#N/A</c:v>
                </c:pt>
                <c:pt idx="848">
                  <c:v>#N/A</c:v>
                </c:pt>
                <c:pt idx="849">
                  <c:v>#N/A</c:v>
                </c:pt>
                <c:pt idx="850">
                  <c:v>#N/A</c:v>
                </c:pt>
                <c:pt idx="851">
                  <c:v>#N/A</c:v>
                </c:pt>
                <c:pt idx="852">
                  <c:v>#N/A</c:v>
                </c:pt>
                <c:pt idx="853">
                  <c:v>#N/A</c:v>
                </c:pt>
                <c:pt idx="854">
                  <c:v>#N/A</c:v>
                </c:pt>
                <c:pt idx="855">
                  <c:v>#N/A</c:v>
                </c:pt>
                <c:pt idx="856">
                  <c:v>#N/A</c:v>
                </c:pt>
                <c:pt idx="857">
                  <c:v>#N/A</c:v>
                </c:pt>
                <c:pt idx="858">
                  <c:v>#N/A</c:v>
                </c:pt>
                <c:pt idx="859">
                  <c:v>#N/A</c:v>
                </c:pt>
                <c:pt idx="860">
                  <c:v>#N/A</c:v>
                </c:pt>
                <c:pt idx="861">
                  <c:v>#N/A</c:v>
                </c:pt>
                <c:pt idx="862">
                  <c:v>#N/A</c:v>
                </c:pt>
                <c:pt idx="863">
                  <c:v>#N/A</c:v>
                </c:pt>
                <c:pt idx="864">
                  <c:v>#N/A</c:v>
                </c:pt>
                <c:pt idx="865">
                  <c:v>#N/A</c:v>
                </c:pt>
                <c:pt idx="866">
                  <c:v>#N/A</c:v>
                </c:pt>
                <c:pt idx="867">
                  <c:v>#N/A</c:v>
                </c:pt>
                <c:pt idx="868">
                  <c:v>#N/A</c:v>
                </c:pt>
                <c:pt idx="869">
                  <c:v>#N/A</c:v>
                </c:pt>
                <c:pt idx="870">
                  <c:v>#N/A</c:v>
                </c:pt>
                <c:pt idx="871">
                  <c:v>#N/A</c:v>
                </c:pt>
                <c:pt idx="872">
                  <c:v>#N/A</c:v>
                </c:pt>
                <c:pt idx="873">
                  <c:v>#N/A</c:v>
                </c:pt>
                <c:pt idx="874">
                  <c:v>#N/A</c:v>
                </c:pt>
                <c:pt idx="875">
                  <c:v>#N/A</c:v>
                </c:pt>
                <c:pt idx="876">
                  <c:v>#N/A</c:v>
                </c:pt>
                <c:pt idx="877">
                  <c:v>#N/A</c:v>
                </c:pt>
                <c:pt idx="878">
                  <c:v>#N/A</c:v>
                </c:pt>
                <c:pt idx="879">
                  <c:v>#N/A</c:v>
                </c:pt>
                <c:pt idx="880">
                  <c:v>#N/A</c:v>
                </c:pt>
                <c:pt idx="881">
                  <c:v>#N/A</c:v>
                </c:pt>
                <c:pt idx="882">
                  <c:v>#N/A</c:v>
                </c:pt>
                <c:pt idx="883">
                  <c:v>#N/A</c:v>
                </c:pt>
                <c:pt idx="884">
                  <c:v>#N/A</c:v>
                </c:pt>
                <c:pt idx="885">
                  <c:v>#N/A</c:v>
                </c:pt>
                <c:pt idx="886">
                  <c:v>#N/A</c:v>
                </c:pt>
                <c:pt idx="887">
                  <c:v>#N/A</c:v>
                </c:pt>
                <c:pt idx="888">
                  <c:v>#N/A</c:v>
                </c:pt>
                <c:pt idx="889">
                  <c:v>#N/A</c:v>
                </c:pt>
                <c:pt idx="890">
                  <c:v>#N/A</c:v>
                </c:pt>
                <c:pt idx="891">
                  <c:v>#N/A</c:v>
                </c:pt>
                <c:pt idx="892">
                  <c:v>#N/A</c:v>
                </c:pt>
                <c:pt idx="893">
                  <c:v>#N/A</c:v>
                </c:pt>
                <c:pt idx="894">
                  <c:v>#N/A</c:v>
                </c:pt>
                <c:pt idx="895">
                  <c:v>#N/A</c:v>
                </c:pt>
                <c:pt idx="896">
                  <c:v>#N/A</c:v>
                </c:pt>
                <c:pt idx="897">
                  <c:v>#N/A</c:v>
                </c:pt>
                <c:pt idx="898">
                  <c:v>#N/A</c:v>
                </c:pt>
                <c:pt idx="899">
                  <c:v>#N/A</c:v>
                </c:pt>
                <c:pt idx="900">
                  <c:v>#N/A</c:v>
                </c:pt>
                <c:pt idx="901">
                  <c:v>#N/A</c:v>
                </c:pt>
                <c:pt idx="902">
                  <c:v>#N/A</c:v>
                </c:pt>
                <c:pt idx="903">
                  <c:v>#N/A</c:v>
                </c:pt>
                <c:pt idx="904">
                  <c:v>#N/A</c:v>
                </c:pt>
                <c:pt idx="905">
                  <c:v>#N/A</c:v>
                </c:pt>
                <c:pt idx="906">
                  <c:v>#N/A</c:v>
                </c:pt>
                <c:pt idx="907">
                  <c:v>#N/A</c:v>
                </c:pt>
                <c:pt idx="908">
                  <c:v>#N/A</c:v>
                </c:pt>
                <c:pt idx="909">
                  <c:v>#N/A</c:v>
                </c:pt>
                <c:pt idx="910">
                  <c:v>#N/A</c:v>
                </c:pt>
                <c:pt idx="911">
                  <c:v>#N/A</c:v>
                </c:pt>
                <c:pt idx="912">
                  <c:v>#N/A</c:v>
                </c:pt>
                <c:pt idx="913">
                  <c:v>#N/A</c:v>
                </c:pt>
                <c:pt idx="914">
                  <c:v>#N/A</c:v>
                </c:pt>
                <c:pt idx="915">
                  <c:v>#N/A</c:v>
                </c:pt>
                <c:pt idx="916">
                  <c:v>#N/A</c:v>
                </c:pt>
                <c:pt idx="917">
                  <c:v>#N/A</c:v>
                </c:pt>
                <c:pt idx="918">
                  <c:v>#N/A</c:v>
                </c:pt>
                <c:pt idx="919">
                  <c:v>#N/A</c:v>
                </c:pt>
                <c:pt idx="920">
                  <c:v>#N/A</c:v>
                </c:pt>
                <c:pt idx="921">
                  <c:v>#N/A</c:v>
                </c:pt>
                <c:pt idx="922">
                  <c:v>#N/A</c:v>
                </c:pt>
                <c:pt idx="923">
                  <c:v>#N/A</c:v>
                </c:pt>
                <c:pt idx="924">
                  <c:v>#N/A</c:v>
                </c:pt>
                <c:pt idx="925">
                  <c:v>#N/A</c:v>
                </c:pt>
                <c:pt idx="926">
                  <c:v>#N/A</c:v>
                </c:pt>
                <c:pt idx="927">
                  <c:v>#N/A</c:v>
                </c:pt>
                <c:pt idx="928">
                  <c:v>#N/A</c:v>
                </c:pt>
                <c:pt idx="929">
                  <c:v>#N/A</c:v>
                </c:pt>
                <c:pt idx="930">
                  <c:v>#N/A</c:v>
                </c:pt>
                <c:pt idx="931">
                  <c:v>#N/A</c:v>
                </c:pt>
                <c:pt idx="932">
                  <c:v>#N/A</c:v>
                </c:pt>
                <c:pt idx="933">
                  <c:v>#N/A</c:v>
                </c:pt>
                <c:pt idx="934">
                  <c:v>#N/A</c:v>
                </c:pt>
                <c:pt idx="935">
                  <c:v>#N/A</c:v>
                </c:pt>
                <c:pt idx="936">
                  <c:v>#N/A</c:v>
                </c:pt>
                <c:pt idx="937">
                  <c:v>#N/A</c:v>
                </c:pt>
                <c:pt idx="938">
                  <c:v>#N/A</c:v>
                </c:pt>
                <c:pt idx="939">
                  <c:v>#N/A</c:v>
                </c:pt>
                <c:pt idx="940">
                  <c:v>#N/A</c:v>
                </c:pt>
                <c:pt idx="941">
                  <c:v>#N/A</c:v>
                </c:pt>
                <c:pt idx="942">
                  <c:v>#N/A</c:v>
                </c:pt>
                <c:pt idx="943">
                  <c:v>#N/A</c:v>
                </c:pt>
                <c:pt idx="944">
                  <c:v>#N/A</c:v>
                </c:pt>
                <c:pt idx="945">
                  <c:v>#N/A</c:v>
                </c:pt>
                <c:pt idx="946">
                  <c:v>#N/A</c:v>
                </c:pt>
                <c:pt idx="947">
                  <c:v>#N/A</c:v>
                </c:pt>
                <c:pt idx="948">
                  <c:v>#N/A</c:v>
                </c:pt>
                <c:pt idx="949">
                  <c:v>#N/A</c:v>
                </c:pt>
                <c:pt idx="950">
                  <c:v>#N/A</c:v>
                </c:pt>
                <c:pt idx="951">
                  <c:v>#N/A</c:v>
                </c:pt>
                <c:pt idx="952">
                  <c:v>#N/A</c:v>
                </c:pt>
                <c:pt idx="953">
                  <c:v>#N/A</c:v>
                </c:pt>
                <c:pt idx="954">
                  <c:v>#N/A</c:v>
                </c:pt>
                <c:pt idx="955">
                  <c:v>#N/A</c:v>
                </c:pt>
                <c:pt idx="956">
                  <c:v>#N/A</c:v>
                </c:pt>
                <c:pt idx="957">
                  <c:v>#N/A</c:v>
                </c:pt>
                <c:pt idx="958">
                  <c:v>#N/A</c:v>
                </c:pt>
                <c:pt idx="959">
                  <c:v>#N/A</c:v>
                </c:pt>
                <c:pt idx="960">
                  <c:v>#N/A</c:v>
                </c:pt>
                <c:pt idx="961">
                  <c:v>#N/A</c:v>
                </c:pt>
                <c:pt idx="962">
                  <c:v>#N/A</c:v>
                </c:pt>
                <c:pt idx="963">
                  <c:v>#N/A</c:v>
                </c:pt>
                <c:pt idx="964">
                  <c:v>#N/A</c:v>
                </c:pt>
                <c:pt idx="965">
                  <c:v>#N/A</c:v>
                </c:pt>
                <c:pt idx="966">
                  <c:v>#N/A</c:v>
                </c:pt>
                <c:pt idx="967">
                  <c:v>#N/A</c:v>
                </c:pt>
                <c:pt idx="968">
                  <c:v>#N/A</c:v>
                </c:pt>
                <c:pt idx="969">
                  <c:v>#N/A</c:v>
                </c:pt>
                <c:pt idx="970">
                  <c:v>#N/A</c:v>
                </c:pt>
                <c:pt idx="971">
                  <c:v>#N/A</c:v>
                </c:pt>
                <c:pt idx="972">
                  <c:v>#N/A</c:v>
                </c:pt>
                <c:pt idx="973">
                  <c:v>#N/A</c:v>
                </c:pt>
                <c:pt idx="974">
                  <c:v>#N/A</c:v>
                </c:pt>
                <c:pt idx="975">
                  <c:v>#N/A</c:v>
                </c:pt>
                <c:pt idx="976">
                  <c:v>#N/A</c:v>
                </c:pt>
                <c:pt idx="977">
                  <c:v>#N/A</c:v>
                </c:pt>
                <c:pt idx="978">
                  <c:v>#N/A</c:v>
                </c:pt>
                <c:pt idx="979">
                  <c:v>#N/A</c:v>
                </c:pt>
                <c:pt idx="980">
                  <c:v>#N/A</c:v>
                </c:pt>
                <c:pt idx="981">
                  <c:v>#N/A</c:v>
                </c:pt>
                <c:pt idx="982">
                  <c:v>#N/A</c:v>
                </c:pt>
                <c:pt idx="983">
                  <c:v>#N/A</c:v>
                </c:pt>
                <c:pt idx="984">
                  <c:v>#N/A</c:v>
                </c:pt>
                <c:pt idx="985">
                  <c:v>#N/A</c:v>
                </c:pt>
                <c:pt idx="986">
                  <c:v>#N/A</c:v>
                </c:pt>
                <c:pt idx="987">
                  <c:v>#N/A</c:v>
                </c:pt>
                <c:pt idx="988">
                  <c:v>#N/A</c:v>
                </c:pt>
                <c:pt idx="989">
                  <c:v>#N/A</c:v>
                </c:pt>
                <c:pt idx="990">
                  <c:v>#N/A</c:v>
                </c:pt>
                <c:pt idx="991">
                  <c:v>#N/A</c:v>
                </c:pt>
                <c:pt idx="992">
                  <c:v>#N/A</c:v>
                </c:pt>
                <c:pt idx="993">
                  <c:v>#N/A</c:v>
                </c:pt>
                <c:pt idx="994">
                  <c:v>#N/A</c:v>
                </c:pt>
                <c:pt idx="995">
                  <c:v>#N/A</c:v>
                </c:pt>
                <c:pt idx="996">
                  <c:v>#N/A</c:v>
                </c:pt>
                <c:pt idx="997">
                  <c:v>#N/A</c:v>
                </c:pt>
                <c:pt idx="998">
                  <c:v>#N/A</c:v>
                </c:pt>
                <c:pt idx="999">
                  <c:v>#N/A</c:v>
                </c:pt>
                <c:pt idx="1000">
                  <c:v>#N/A</c:v>
                </c:pt>
                <c:pt idx="1001">
                  <c:v>#N/A</c:v>
                </c:pt>
                <c:pt idx="1002">
                  <c:v>#N/A</c:v>
                </c:pt>
                <c:pt idx="1003">
                  <c:v>#N/A</c:v>
                </c:pt>
                <c:pt idx="1004">
                  <c:v>#N/A</c:v>
                </c:pt>
                <c:pt idx="1005">
                  <c:v>#N/A</c:v>
                </c:pt>
                <c:pt idx="1006">
                  <c:v>#N/A</c:v>
                </c:pt>
                <c:pt idx="1007">
                  <c:v>#N/A</c:v>
                </c:pt>
                <c:pt idx="1008">
                  <c:v>#N/A</c:v>
                </c:pt>
                <c:pt idx="1009">
                  <c:v>#N/A</c:v>
                </c:pt>
                <c:pt idx="1010">
                  <c:v>#N/A</c:v>
                </c:pt>
                <c:pt idx="1011">
                  <c:v>#N/A</c:v>
                </c:pt>
                <c:pt idx="1012">
                  <c:v>#N/A</c:v>
                </c:pt>
                <c:pt idx="1013">
                  <c:v>#N/A</c:v>
                </c:pt>
                <c:pt idx="1014">
                  <c:v>#N/A</c:v>
                </c:pt>
                <c:pt idx="1015">
                  <c:v>#N/A</c:v>
                </c:pt>
                <c:pt idx="1016">
                  <c:v>#N/A</c:v>
                </c:pt>
                <c:pt idx="1017">
                  <c:v>#N/A</c:v>
                </c:pt>
                <c:pt idx="1018">
                  <c:v>#N/A</c:v>
                </c:pt>
                <c:pt idx="1019">
                  <c:v>#N/A</c:v>
                </c:pt>
                <c:pt idx="1020">
                  <c:v>#N/A</c:v>
                </c:pt>
                <c:pt idx="1021">
                  <c:v>#N/A</c:v>
                </c:pt>
                <c:pt idx="1022">
                  <c:v>#N/A</c:v>
                </c:pt>
                <c:pt idx="1023">
                  <c:v>#N/A</c:v>
                </c:pt>
                <c:pt idx="1024">
                  <c:v>#N/A</c:v>
                </c:pt>
                <c:pt idx="1025">
                  <c:v>#N/A</c:v>
                </c:pt>
                <c:pt idx="1026">
                  <c:v>#N/A</c:v>
                </c:pt>
                <c:pt idx="1027">
                  <c:v>#N/A</c:v>
                </c:pt>
                <c:pt idx="1028">
                  <c:v>#N/A</c:v>
                </c:pt>
                <c:pt idx="1029">
                  <c:v>#N/A</c:v>
                </c:pt>
                <c:pt idx="1030">
                  <c:v>#N/A</c:v>
                </c:pt>
                <c:pt idx="1031">
                  <c:v>#N/A</c:v>
                </c:pt>
                <c:pt idx="1032">
                  <c:v>#N/A</c:v>
                </c:pt>
                <c:pt idx="1033">
                  <c:v>#N/A</c:v>
                </c:pt>
                <c:pt idx="1034">
                  <c:v>#N/A</c:v>
                </c:pt>
                <c:pt idx="1035">
                  <c:v>#N/A</c:v>
                </c:pt>
                <c:pt idx="1036">
                  <c:v>#N/A</c:v>
                </c:pt>
                <c:pt idx="1037">
                  <c:v>#N/A</c:v>
                </c:pt>
                <c:pt idx="1038">
                  <c:v>#N/A</c:v>
                </c:pt>
                <c:pt idx="1039">
                  <c:v>#N/A</c:v>
                </c:pt>
                <c:pt idx="1040">
                  <c:v>#N/A</c:v>
                </c:pt>
                <c:pt idx="1041">
                  <c:v>#N/A</c:v>
                </c:pt>
                <c:pt idx="1042">
                  <c:v>#N/A</c:v>
                </c:pt>
                <c:pt idx="1043">
                  <c:v>#N/A</c:v>
                </c:pt>
                <c:pt idx="1044">
                  <c:v>#N/A</c:v>
                </c:pt>
                <c:pt idx="1045">
                  <c:v>#N/A</c:v>
                </c:pt>
                <c:pt idx="1046">
                  <c:v>#N/A</c:v>
                </c:pt>
                <c:pt idx="1047">
                  <c:v>#N/A</c:v>
                </c:pt>
                <c:pt idx="1048">
                  <c:v>#N/A</c:v>
                </c:pt>
                <c:pt idx="1049">
                  <c:v>#N/A</c:v>
                </c:pt>
                <c:pt idx="1050">
                  <c:v>#N/A</c:v>
                </c:pt>
                <c:pt idx="1051">
                  <c:v>#N/A</c:v>
                </c:pt>
                <c:pt idx="1052">
                  <c:v>#N/A</c:v>
                </c:pt>
                <c:pt idx="1053">
                  <c:v>#N/A</c:v>
                </c:pt>
                <c:pt idx="1054">
                  <c:v>#N/A</c:v>
                </c:pt>
                <c:pt idx="1055">
                  <c:v>#N/A</c:v>
                </c:pt>
                <c:pt idx="1056">
                  <c:v>#N/A</c:v>
                </c:pt>
                <c:pt idx="1057">
                  <c:v>#N/A</c:v>
                </c:pt>
                <c:pt idx="1058">
                  <c:v>#N/A</c:v>
                </c:pt>
                <c:pt idx="1059">
                  <c:v>#N/A</c:v>
                </c:pt>
                <c:pt idx="1060">
                  <c:v>#N/A</c:v>
                </c:pt>
                <c:pt idx="1061">
                  <c:v>#N/A</c:v>
                </c:pt>
                <c:pt idx="1062">
                  <c:v>#N/A</c:v>
                </c:pt>
                <c:pt idx="1063">
                  <c:v>#N/A</c:v>
                </c:pt>
                <c:pt idx="1064">
                  <c:v>#N/A</c:v>
                </c:pt>
                <c:pt idx="1065">
                  <c:v>#N/A</c:v>
                </c:pt>
                <c:pt idx="1066">
                  <c:v>#N/A</c:v>
                </c:pt>
                <c:pt idx="1067">
                  <c:v>#N/A</c:v>
                </c:pt>
                <c:pt idx="1068">
                  <c:v>#N/A</c:v>
                </c:pt>
                <c:pt idx="1069">
                  <c:v>#N/A</c:v>
                </c:pt>
                <c:pt idx="1070">
                  <c:v>#N/A</c:v>
                </c:pt>
                <c:pt idx="1071">
                  <c:v>#N/A</c:v>
                </c:pt>
                <c:pt idx="1072">
                  <c:v>#N/A</c:v>
                </c:pt>
                <c:pt idx="1073">
                  <c:v>#N/A</c:v>
                </c:pt>
                <c:pt idx="1074">
                  <c:v>#N/A</c:v>
                </c:pt>
                <c:pt idx="1075">
                  <c:v>#N/A</c:v>
                </c:pt>
                <c:pt idx="1076">
                  <c:v>#N/A</c:v>
                </c:pt>
                <c:pt idx="1077">
                  <c:v>#N/A</c:v>
                </c:pt>
                <c:pt idx="1078">
                  <c:v>#N/A</c:v>
                </c:pt>
                <c:pt idx="1079">
                  <c:v>#N/A</c:v>
                </c:pt>
                <c:pt idx="1080">
                  <c:v>#N/A</c:v>
                </c:pt>
                <c:pt idx="1081">
                  <c:v>#N/A</c:v>
                </c:pt>
                <c:pt idx="1082">
                  <c:v>#N/A</c:v>
                </c:pt>
                <c:pt idx="1083">
                  <c:v>#N/A</c:v>
                </c:pt>
                <c:pt idx="1084">
                  <c:v>#N/A</c:v>
                </c:pt>
                <c:pt idx="1085">
                  <c:v>#N/A</c:v>
                </c:pt>
                <c:pt idx="1086">
                  <c:v>#N/A</c:v>
                </c:pt>
                <c:pt idx="1087">
                  <c:v>#N/A</c:v>
                </c:pt>
                <c:pt idx="1088">
                  <c:v>#N/A</c:v>
                </c:pt>
                <c:pt idx="1089">
                  <c:v>#N/A</c:v>
                </c:pt>
                <c:pt idx="1090">
                  <c:v>#N/A</c:v>
                </c:pt>
                <c:pt idx="1091">
                  <c:v>#N/A</c:v>
                </c:pt>
                <c:pt idx="1092">
                  <c:v>#N/A</c:v>
                </c:pt>
                <c:pt idx="1093">
                  <c:v>#N/A</c:v>
                </c:pt>
                <c:pt idx="1094">
                  <c:v>#N/A</c:v>
                </c:pt>
                <c:pt idx="1095">
                  <c:v>#N/A</c:v>
                </c:pt>
                <c:pt idx="1096">
                  <c:v>#N/A</c:v>
                </c:pt>
                <c:pt idx="1097">
                  <c:v>#N/A</c:v>
                </c:pt>
                <c:pt idx="1098">
                  <c:v>#N/A</c:v>
                </c:pt>
                <c:pt idx="1099">
                  <c:v>#N/A</c:v>
                </c:pt>
                <c:pt idx="1100">
                  <c:v>#N/A</c:v>
                </c:pt>
                <c:pt idx="1101">
                  <c:v>#N/A</c:v>
                </c:pt>
                <c:pt idx="1102">
                  <c:v>#N/A</c:v>
                </c:pt>
                <c:pt idx="1103">
                  <c:v>#N/A</c:v>
                </c:pt>
                <c:pt idx="1104">
                  <c:v>#N/A</c:v>
                </c:pt>
                <c:pt idx="1105">
                  <c:v>#N/A</c:v>
                </c:pt>
                <c:pt idx="1106">
                  <c:v>#N/A</c:v>
                </c:pt>
                <c:pt idx="1107">
                  <c:v>#N/A</c:v>
                </c:pt>
                <c:pt idx="1108">
                  <c:v>#N/A</c:v>
                </c:pt>
                <c:pt idx="1109">
                  <c:v>#N/A</c:v>
                </c:pt>
                <c:pt idx="1110">
                  <c:v>#N/A</c:v>
                </c:pt>
                <c:pt idx="1111">
                  <c:v>#N/A</c:v>
                </c:pt>
                <c:pt idx="1112">
                  <c:v>#N/A</c:v>
                </c:pt>
                <c:pt idx="1113">
                  <c:v>#N/A</c:v>
                </c:pt>
                <c:pt idx="1114">
                  <c:v>#N/A</c:v>
                </c:pt>
                <c:pt idx="1115">
                  <c:v>#N/A</c:v>
                </c:pt>
                <c:pt idx="1116">
                  <c:v>#N/A</c:v>
                </c:pt>
                <c:pt idx="1117">
                  <c:v>#N/A</c:v>
                </c:pt>
                <c:pt idx="1118">
                  <c:v>#N/A</c:v>
                </c:pt>
                <c:pt idx="1119">
                  <c:v>#N/A</c:v>
                </c:pt>
                <c:pt idx="1120">
                  <c:v>#N/A</c:v>
                </c:pt>
                <c:pt idx="1121">
                  <c:v>#N/A</c:v>
                </c:pt>
                <c:pt idx="1122">
                  <c:v>#N/A</c:v>
                </c:pt>
                <c:pt idx="1123">
                  <c:v>#N/A</c:v>
                </c:pt>
                <c:pt idx="1124">
                  <c:v>#N/A</c:v>
                </c:pt>
                <c:pt idx="1125">
                  <c:v>#N/A</c:v>
                </c:pt>
                <c:pt idx="1126">
                  <c:v>#N/A</c:v>
                </c:pt>
                <c:pt idx="1127">
                  <c:v>#N/A</c:v>
                </c:pt>
                <c:pt idx="1128">
                  <c:v>#N/A</c:v>
                </c:pt>
                <c:pt idx="1129">
                  <c:v>#N/A</c:v>
                </c:pt>
                <c:pt idx="1130">
                  <c:v>#N/A</c:v>
                </c:pt>
                <c:pt idx="1131">
                  <c:v>#N/A</c:v>
                </c:pt>
                <c:pt idx="1132">
                  <c:v>#N/A</c:v>
                </c:pt>
                <c:pt idx="1133">
                  <c:v>#N/A</c:v>
                </c:pt>
                <c:pt idx="1134">
                  <c:v>#N/A</c:v>
                </c:pt>
                <c:pt idx="1135">
                  <c:v>#N/A</c:v>
                </c:pt>
                <c:pt idx="1136">
                  <c:v>#N/A</c:v>
                </c:pt>
                <c:pt idx="1137">
                  <c:v>#N/A</c:v>
                </c:pt>
                <c:pt idx="1138">
                  <c:v>#N/A</c:v>
                </c:pt>
                <c:pt idx="1139">
                  <c:v>#N/A</c:v>
                </c:pt>
                <c:pt idx="1140">
                  <c:v>#N/A</c:v>
                </c:pt>
                <c:pt idx="1141">
                  <c:v>#N/A</c:v>
                </c:pt>
                <c:pt idx="1142">
                  <c:v>#N/A</c:v>
                </c:pt>
                <c:pt idx="1143">
                  <c:v>#N/A</c:v>
                </c:pt>
                <c:pt idx="1144">
                  <c:v>#N/A</c:v>
                </c:pt>
                <c:pt idx="1145">
                  <c:v>#N/A</c:v>
                </c:pt>
                <c:pt idx="1146">
                  <c:v>#N/A</c:v>
                </c:pt>
                <c:pt idx="1147">
                  <c:v>#N/A</c:v>
                </c:pt>
                <c:pt idx="1148">
                  <c:v>#N/A</c:v>
                </c:pt>
                <c:pt idx="1149">
                  <c:v>#N/A</c:v>
                </c:pt>
                <c:pt idx="1150">
                  <c:v>#N/A</c:v>
                </c:pt>
                <c:pt idx="1151">
                  <c:v>#N/A</c:v>
                </c:pt>
                <c:pt idx="1152">
                  <c:v>#N/A</c:v>
                </c:pt>
                <c:pt idx="1153">
                  <c:v>#N/A</c:v>
                </c:pt>
                <c:pt idx="1154">
                  <c:v>#N/A</c:v>
                </c:pt>
                <c:pt idx="1155">
                  <c:v>#N/A</c:v>
                </c:pt>
                <c:pt idx="1156">
                  <c:v>#N/A</c:v>
                </c:pt>
                <c:pt idx="1157">
                  <c:v>#N/A</c:v>
                </c:pt>
                <c:pt idx="1158">
                  <c:v>#N/A</c:v>
                </c:pt>
                <c:pt idx="1159">
                  <c:v>#N/A</c:v>
                </c:pt>
                <c:pt idx="1160">
                  <c:v>#N/A</c:v>
                </c:pt>
                <c:pt idx="1161">
                  <c:v>#N/A</c:v>
                </c:pt>
                <c:pt idx="1162">
                  <c:v>#N/A</c:v>
                </c:pt>
                <c:pt idx="1163">
                  <c:v>#N/A</c:v>
                </c:pt>
                <c:pt idx="1164">
                  <c:v>#N/A</c:v>
                </c:pt>
                <c:pt idx="1165">
                  <c:v>#N/A</c:v>
                </c:pt>
                <c:pt idx="1166">
                  <c:v>#N/A</c:v>
                </c:pt>
                <c:pt idx="1167">
                  <c:v>#N/A</c:v>
                </c:pt>
                <c:pt idx="1168">
                  <c:v>#N/A</c:v>
                </c:pt>
                <c:pt idx="1169">
                  <c:v>#N/A</c:v>
                </c:pt>
                <c:pt idx="1170">
                  <c:v>#N/A</c:v>
                </c:pt>
                <c:pt idx="1171">
                  <c:v>#N/A</c:v>
                </c:pt>
                <c:pt idx="1172">
                  <c:v>#N/A</c:v>
                </c:pt>
                <c:pt idx="1173">
                  <c:v>#N/A</c:v>
                </c:pt>
                <c:pt idx="1174">
                  <c:v>#N/A</c:v>
                </c:pt>
                <c:pt idx="1175">
                  <c:v>#N/A</c:v>
                </c:pt>
                <c:pt idx="1176">
                  <c:v>#N/A</c:v>
                </c:pt>
                <c:pt idx="1177">
                  <c:v>#N/A</c:v>
                </c:pt>
                <c:pt idx="1178">
                  <c:v>#N/A</c:v>
                </c:pt>
                <c:pt idx="1179">
                  <c:v>#N/A</c:v>
                </c:pt>
                <c:pt idx="1180">
                  <c:v>#N/A</c:v>
                </c:pt>
                <c:pt idx="1181">
                  <c:v>#N/A</c:v>
                </c:pt>
                <c:pt idx="1182">
                  <c:v>#N/A</c:v>
                </c:pt>
                <c:pt idx="1183">
                  <c:v>#N/A</c:v>
                </c:pt>
                <c:pt idx="1184">
                  <c:v>#N/A</c:v>
                </c:pt>
                <c:pt idx="1185">
                  <c:v>#N/A</c:v>
                </c:pt>
                <c:pt idx="1186">
                  <c:v>#N/A</c:v>
                </c:pt>
                <c:pt idx="1187">
                  <c:v>#N/A</c:v>
                </c:pt>
                <c:pt idx="1188">
                  <c:v>#N/A</c:v>
                </c:pt>
                <c:pt idx="1189">
                  <c:v>#N/A</c:v>
                </c:pt>
                <c:pt idx="1190">
                  <c:v>#N/A</c:v>
                </c:pt>
                <c:pt idx="1191">
                  <c:v>#N/A</c:v>
                </c:pt>
                <c:pt idx="1192">
                  <c:v>#N/A</c:v>
                </c:pt>
                <c:pt idx="1193">
                  <c:v>#N/A</c:v>
                </c:pt>
                <c:pt idx="1194">
                  <c:v>#N/A</c:v>
                </c:pt>
                <c:pt idx="1195">
                  <c:v>#N/A</c:v>
                </c:pt>
                <c:pt idx="1196">
                  <c:v>#N/A</c:v>
                </c:pt>
                <c:pt idx="1197">
                  <c:v>#N/A</c:v>
                </c:pt>
                <c:pt idx="1198">
                  <c:v>#N/A</c:v>
                </c:pt>
                <c:pt idx="1199">
                  <c:v>#N/A</c:v>
                </c:pt>
                <c:pt idx="1200">
                  <c:v>#N/A</c:v>
                </c:pt>
                <c:pt idx="1201">
                  <c:v>#N/A</c:v>
                </c:pt>
                <c:pt idx="1202">
                  <c:v>#N/A</c:v>
                </c:pt>
                <c:pt idx="1203">
                  <c:v>#N/A</c:v>
                </c:pt>
                <c:pt idx="1204">
                  <c:v>#N/A</c:v>
                </c:pt>
                <c:pt idx="1205">
                  <c:v>#N/A</c:v>
                </c:pt>
                <c:pt idx="1206">
                  <c:v>#N/A</c:v>
                </c:pt>
                <c:pt idx="1207">
                  <c:v>#N/A</c:v>
                </c:pt>
                <c:pt idx="1208">
                  <c:v>#N/A</c:v>
                </c:pt>
                <c:pt idx="1209">
                  <c:v>#N/A</c:v>
                </c:pt>
                <c:pt idx="1210">
                  <c:v>#N/A</c:v>
                </c:pt>
                <c:pt idx="1211">
                  <c:v>#N/A</c:v>
                </c:pt>
                <c:pt idx="1212">
                  <c:v>#N/A</c:v>
                </c:pt>
                <c:pt idx="1213">
                  <c:v>#N/A</c:v>
                </c:pt>
                <c:pt idx="1214">
                  <c:v>#N/A</c:v>
                </c:pt>
                <c:pt idx="1215">
                  <c:v>#N/A</c:v>
                </c:pt>
                <c:pt idx="1216">
                  <c:v>#N/A</c:v>
                </c:pt>
                <c:pt idx="1217">
                  <c:v>#N/A</c:v>
                </c:pt>
                <c:pt idx="1218">
                  <c:v>#N/A</c:v>
                </c:pt>
                <c:pt idx="1219">
                  <c:v>#N/A</c:v>
                </c:pt>
                <c:pt idx="1220">
                  <c:v>#N/A</c:v>
                </c:pt>
                <c:pt idx="1221">
                  <c:v>#N/A</c:v>
                </c:pt>
                <c:pt idx="1222">
                  <c:v>#N/A</c:v>
                </c:pt>
                <c:pt idx="1223">
                  <c:v>#N/A</c:v>
                </c:pt>
                <c:pt idx="1224">
                  <c:v>#N/A</c:v>
                </c:pt>
                <c:pt idx="1225">
                  <c:v>#N/A</c:v>
                </c:pt>
                <c:pt idx="1226">
                  <c:v>#N/A</c:v>
                </c:pt>
                <c:pt idx="1227">
                  <c:v>#N/A</c:v>
                </c:pt>
                <c:pt idx="1228">
                  <c:v>#N/A</c:v>
                </c:pt>
                <c:pt idx="1229">
                  <c:v>#N/A</c:v>
                </c:pt>
                <c:pt idx="1230">
                  <c:v>#N/A</c:v>
                </c:pt>
                <c:pt idx="1231">
                  <c:v>#N/A</c:v>
                </c:pt>
                <c:pt idx="1232">
                  <c:v>#N/A</c:v>
                </c:pt>
                <c:pt idx="1233">
                  <c:v>#N/A</c:v>
                </c:pt>
                <c:pt idx="1234">
                  <c:v>#N/A</c:v>
                </c:pt>
                <c:pt idx="1235">
                  <c:v>#N/A</c:v>
                </c:pt>
                <c:pt idx="1236">
                  <c:v>#N/A</c:v>
                </c:pt>
                <c:pt idx="1237">
                  <c:v>#N/A</c:v>
                </c:pt>
                <c:pt idx="1238">
                  <c:v>#N/A</c:v>
                </c:pt>
                <c:pt idx="1239">
                  <c:v>#N/A</c:v>
                </c:pt>
                <c:pt idx="1240">
                  <c:v>#N/A</c:v>
                </c:pt>
                <c:pt idx="1241">
                  <c:v>#N/A</c:v>
                </c:pt>
                <c:pt idx="1242">
                  <c:v>#N/A</c:v>
                </c:pt>
                <c:pt idx="1243">
                  <c:v>#N/A</c:v>
                </c:pt>
                <c:pt idx="1244">
                  <c:v>#N/A</c:v>
                </c:pt>
                <c:pt idx="1245">
                  <c:v>#N/A</c:v>
                </c:pt>
                <c:pt idx="1246">
                  <c:v>#N/A</c:v>
                </c:pt>
                <c:pt idx="1247">
                  <c:v>#N/A</c:v>
                </c:pt>
                <c:pt idx="1248">
                  <c:v>#N/A</c:v>
                </c:pt>
                <c:pt idx="1249">
                  <c:v>#N/A</c:v>
                </c:pt>
                <c:pt idx="1250">
                  <c:v>#N/A</c:v>
                </c:pt>
                <c:pt idx="1251">
                  <c:v>#N/A</c:v>
                </c:pt>
                <c:pt idx="1252">
                  <c:v>#N/A</c:v>
                </c:pt>
                <c:pt idx="1253">
                  <c:v>#N/A</c:v>
                </c:pt>
                <c:pt idx="1254">
                  <c:v>#N/A</c:v>
                </c:pt>
                <c:pt idx="1255">
                  <c:v>#N/A</c:v>
                </c:pt>
                <c:pt idx="1256">
                  <c:v>#N/A</c:v>
                </c:pt>
                <c:pt idx="1257">
                  <c:v>#N/A</c:v>
                </c:pt>
                <c:pt idx="1258">
                  <c:v>#N/A</c:v>
                </c:pt>
                <c:pt idx="1259">
                  <c:v>#N/A</c:v>
                </c:pt>
                <c:pt idx="1260">
                  <c:v>#N/A</c:v>
                </c:pt>
                <c:pt idx="1261">
                  <c:v>#N/A</c:v>
                </c:pt>
                <c:pt idx="1262">
                  <c:v>#N/A</c:v>
                </c:pt>
                <c:pt idx="1263">
                  <c:v>#N/A</c:v>
                </c:pt>
                <c:pt idx="1264">
                  <c:v>#N/A</c:v>
                </c:pt>
                <c:pt idx="1265">
                  <c:v>#N/A</c:v>
                </c:pt>
                <c:pt idx="1266">
                  <c:v>#N/A</c:v>
                </c:pt>
                <c:pt idx="1267">
                  <c:v>#N/A</c:v>
                </c:pt>
                <c:pt idx="1268">
                  <c:v>#N/A</c:v>
                </c:pt>
                <c:pt idx="1269">
                  <c:v>#N/A</c:v>
                </c:pt>
                <c:pt idx="1270">
                  <c:v>#N/A</c:v>
                </c:pt>
                <c:pt idx="1271">
                  <c:v>#N/A</c:v>
                </c:pt>
                <c:pt idx="1272">
                  <c:v>#N/A</c:v>
                </c:pt>
                <c:pt idx="1273">
                  <c:v>#N/A</c:v>
                </c:pt>
                <c:pt idx="1274">
                  <c:v>#N/A</c:v>
                </c:pt>
                <c:pt idx="1275">
                  <c:v>#N/A</c:v>
                </c:pt>
                <c:pt idx="1276">
                  <c:v>#N/A</c:v>
                </c:pt>
                <c:pt idx="1277">
                  <c:v>#N/A</c:v>
                </c:pt>
                <c:pt idx="1278">
                  <c:v>#N/A</c:v>
                </c:pt>
                <c:pt idx="1279">
                  <c:v>#N/A</c:v>
                </c:pt>
                <c:pt idx="1280">
                  <c:v>#N/A</c:v>
                </c:pt>
                <c:pt idx="1281">
                  <c:v>#N/A</c:v>
                </c:pt>
                <c:pt idx="1282">
                  <c:v>#N/A</c:v>
                </c:pt>
                <c:pt idx="1283">
                  <c:v>#N/A</c:v>
                </c:pt>
                <c:pt idx="1284">
                  <c:v>#N/A</c:v>
                </c:pt>
                <c:pt idx="1285">
                  <c:v>#N/A</c:v>
                </c:pt>
                <c:pt idx="1286">
                  <c:v>#N/A</c:v>
                </c:pt>
                <c:pt idx="1287">
                  <c:v>#N/A</c:v>
                </c:pt>
                <c:pt idx="1288">
                  <c:v>#N/A</c:v>
                </c:pt>
                <c:pt idx="1289">
                  <c:v>#N/A</c:v>
                </c:pt>
                <c:pt idx="1290">
                  <c:v>#N/A</c:v>
                </c:pt>
                <c:pt idx="1291">
                  <c:v>#N/A</c:v>
                </c:pt>
                <c:pt idx="1292">
                  <c:v>#N/A</c:v>
                </c:pt>
                <c:pt idx="1293">
                  <c:v>#N/A</c:v>
                </c:pt>
                <c:pt idx="1294">
                  <c:v>#N/A</c:v>
                </c:pt>
                <c:pt idx="1295">
                  <c:v>#N/A</c:v>
                </c:pt>
                <c:pt idx="1296">
                  <c:v>#N/A</c:v>
                </c:pt>
                <c:pt idx="1297">
                  <c:v>#N/A</c:v>
                </c:pt>
                <c:pt idx="1298">
                  <c:v>#N/A</c:v>
                </c:pt>
                <c:pt idx="1299">
                  <c:v>#N/A</c:v>
                </c:pt>
                <c:pt idx="1300">
                  <c:v>#N/A</c:v>
                </c:pt>
                <c:pt idx="1301">
                  <c:v>#N/A</c:v>
                </c:pt>
                <c:pt idx="1302">
                  <c:v>#N/A</c:v>
                </c:pt>
                <c:pt idx="1303">
                  <c:v>#N/A</c:v>
                </c:pt>
                <c:pt idx="1304">
                  <c:v>#N/A</c:v>
                </c:pt>
                <c:pt idx="1305">
                  <c:v>#N/A</c:v>
                </c:pt>
                <c:pt idx="1306">
                  <c:v>#N/A</c:v>
                </c:pt>
                <c:pt idx="1307">
                  <c:v>#N/A</c:v>
                </c:pt>
                <c:pt idx="1308">
                  <c:v>#N/A</c:v>
                </c:pt>
                <c:pt idx="1309">
                  <c:v>#N/A</c:v>
                </c:pt>
                <c:pt idx="1310">
                  <c:v>#N/A</c:v>
                </c:pt>
                <c:pt idx="1311">
                  <c:v>#N/A</c:v>
                </c:pt>
                <c:pt idx="1312">
                  <c:v>#N/A</c:v>
                </c:pt>
                <c:pt idx="1313">
                  <c:v>#N/A</c:v>
                </c:pt>
                <c:pt idx="1314">
                  <c:v>#N/A</c:v>
                </c:pt>
                <c:pt idx="1315">
                  <c:v>#N/A</c:v>
                </c:pt>
                <c:pt idx="1316">
                  <c:v>#N/A</c:v>
                </c:pt>
                <c:pt idx="1317">
                  <c:v>#N/A</c:v>
                </c:pt>
                <c:pt idx="1318">
                  <c:v>#N/A</c:v>
                </c:pt>
                <c:pt idx="1319">
                  <c:v>#N/A</c:v>
                </c:pt>
                <c:pt idx="1320">
                  <c:v>#N/A</c:v>
                </c:pt>
                <c:pt idx="1321">
                  <c:v>#N/A</c:v>
                </c:pt>
                <c:pt idx="1322">
                  <c:v>#N/A</c:v>
                </c:pt>
                <c:pt idx="1323">
                  <c:v>#N/A</c:v>
                </c:pt>
                <c:pt idx="1324">
                  <c:v>#N/A</c:v>
                </c:pt>
                <c:pt idx="1325">
                  <c:v>#N/A</c:v>
                </c:pt>
                <c:pt idx="1326">
                  <c:v>#N/A</c:v>
                </c:pt>
                <c:pt idx="1327">
                  <c:v>#N/A</c:v>
                </c:pt>
                <c:pt idx="1328">
                  <c:v>#N/A</c:v>
                </c:pt>
                <c:pt idx="1329">
                  <c:v>#N/A</c:v>
                </c:pt>
                <c:pt idx="1330">
                  <c:v>#N/A</c:v>
                </c:pt>
                <c:pt idx="1331">
                  <c:v>#N/A</c:v>
                </c:pt>
                <c:pt idx="1332">
                  <c:v>#N/A</c:v>
                </c:pt>
                <c:pt idx="1333">
                  <c:v>#N/A</c:v>
                </c:pt>
                <c:pt idx="1334">
                  <c:v>#N/A</c:v>
                </c:pt>
                <c:pt idx="1335">
                  <c:v>#N/A</c:v>
                </c:pt>
                <c:pt idx="1336">
                  <c:v>#N/A</c:v>
                </c:pt>
                <c:pt idx="1337">
                  <c:v>#N/A</c:v>
                </c:pt>
                <c:pt idx="1338">
                  <c:v>#N/A</c:v>
                </c:pt>
                <c:pt idx="1339">
                  <c:v>#N/A</c:v>
                </c:pt>
                <c:pt idx="1340">
                  <c:v>#N/A</c:v>
                </c:pt>
                <c:pt idx="1341">
                  <c:v>#N/A</c:v>
                </c:pt>
                <c:pt idx="1342">
                  <c:v>#N/A</c:v>
                </c:pt>
                <c:pt idx="1343">
                  <c:v>#N/A</c:v>
                </c:pt>
                <c:pt idx="1344">
                  <c:v>#N/A</c:v>
                </c:pt>
                <c:pt idx="1345">
                  <c:v>#N/A</c:v>
                </c:pt>
                <c:pt idx="1346">
                  <c:v>#N/A</c:v>
                </c:pt>
                <c:pt idx="1347">
                  <c:v>#N/A</c:v>
                </c:pt>
                <c:pt idx="1348">
                  <c:v>#N/A</c:v>
                </c:pt>
                <c:pt idx="1349">
                  <c:v>#N/A</c:v>
                </c:pt>
                <c:pt idx="1350">
                  <c:v>#N/A</c:v>
                </c:pt>
                <c:pt idx="1351">
                  <c:v>#N/A</c:v>
                </c:pt>
                <c:pt idx="1352">
                  <c:v>#N/A</c:v>
                </c:pt>
                <c:pt idx="1353">
                  <c:v>#N/A</c:v>
                </c:pt>
                <c:pt idx="1354">
                  <c:v>#N/A</c:v>
                </c:pt>
                <c:pt idx="1355">
                  <c:v>#N/A</c:v>
                </c:pt>
                <c:pt idx="1356">
                  <c:v>#N/A</c:v>
                </c:pt>
                <c:pt idx="1357">
                  <c:v>#N/A</c:v>
                </c:pt>
                <c:pt idx="1358">
                  <c:v>#N/A</c:v>
                </c:pt>
                <c:pt idx="1359">
                  <c:v>#N/A</c:v>
                </c:pt>
                <c:pt idx="1360">
                  <c:v>#N/A</c:v>
                </c:pt>
                <c:pt idx="1361">
                  <c:v>#N/A</c:v>
                </c:pt>
                <c:pt idx="1362">
                  <c:v>#N/A</c:v>
                </c:pt>
                <c:pt idx="1363">
                  <c:v>#N/A</c:v>
                </c:pt>
                <c:pt idx="1364">
                  <c:v>#N/A</c:v>
                </c:pt>
                <c:pt idx="1365">
                  <c:v>#N/A</c:v>
                </c:pt>
                <c:pt idx="1366">
                  <c:v>#N/A</c:v>
                </c:pt>
                <c:pt idx="1367">
                  <c:v>#N/A</c:v>
                </c:pt>
                <c:pt idx="1368">
                  <c:v>#N/A</c:v>
                </c:pt>
                <c:pt idx="1369">
                  <c:v>#N/A</c:v>
                </c:pt>
                <c:pt idx="1370">
                  <c:v>#N/A</c:v>
                </c:pt>
                <c:pt idx="1371">
                  <c:v>#N/A</c:v>
                </c:pt>
                <c:pt idx="1372">
                  <c:v>#N/A</c:v>
                </c:pt>
                <c:pt idx="1373">
                  <c:v>#N/A</c:v>
                </c:pt>
                <c:pt idx="1374">
                  <c:v>#N/A</c:v>
                </c:pt>
                <c:pt idx="1375">
                  <c:v>#N/A</c:v>
                </c:pt>
                <c:pt idx="1376">
                  <c:v>#N/A</c:v>
                </c:pt>
                <c:pt idx="1377">
                  <c:v>#N/A</c:v>
                </c:pt>
                <c:pt idx="1378">
                  <c:v>#N/A</c:v>
                </c:pt>
                <c:pt idx="1379">
                  <c:v>#N/A</c:v>
                </c:pt>
                <c:pt idx="1380">
                  <c:v>#N/A</c:v>
                </c:pt>
                <c:pt idx="1381">
                  <c:v>#N/A</c:v>
                </c:pt>
                <c:pt idx="1382">
                  <c:v>#N/A</c:v>
                </c:pt>
                <c:pt idx="1383">
                  <c:v>#N/A</c:v>
                </c:pt>
                <c:pt idx="1384">
                  <c:v>#N/A</c:v>
                </c:pt>
                <c:pt idx="1385">
                  <c:v>#N/A</c:v>
                </c:pt>
                <c:pt idx="1386">
                  <c:v>#N/A</c:v>
                </c:pt>
                <c:pt idx="1387">
                  <c:v>#N/A</c:v>
                </c:pt>
                <c:pt idx="1388">
                  <c:v>#N/A</c:v>
                </c:pt>
                <c:pt idx="1389">
                  <c:v>#N/A</c:v>
                </c:pt>
                <c:pt idx="1390">
                  <c:v>#N/A</c:v>
                </c:pt>
                <c:pt idx="1391">
                  <c:v>#N/A</c:v>
                </c:pt>
                <c:pt idx="1392">
                  <c:v>#N/A</c:v>
                </c:pt>
                <c:pt idx="1393">
                  <c:v>#N/A</c:v>
                </c:pt>
                <c:pt idx="1394">
                  <c:v>#N/A</c:v>
                </c:pt>
                <c:pt idx="1395">
                  <c:v>#N/A</c:v>
                </c:pt>
                <c:pt idx="1396">
                  <c:v>#N/A</c:v>
                </c:pt>
                <c:pt idx="1397">
                  <c:v>#N/A</c:v>
                </c:pt>
                <c:pt idx="1398">
                  <c:v>#N/A</c:v>
                </c:pt>
                <c:pt idx="1399">
                  <c:v>#N/A</c:v>
                </c:pt>
                <c:pt idx="1400">
                  <c:v>#N/A</c:v>
                </c:pt>
                <c:pt idx="1401">
                  <c:v>#N/A</c:v>
                </c:pt>
                <c:pt idx="1402">
                  <c:v>#N/A</c:v>
                </c:pt>
                <c:pt idx="1403">
                  <c:v>#N/A</c:v>
                </c:pt>
                <c:pt idx="1404">
                  <c:v>#N/A</c:v>
                </c:pt>
                <c:pt idx="1405">
                  <c:v>#N/A</c:v>
                </c:pt>
                <c:pt idx="1406">
                  <c:v>#N/A</c:v>
                </c:pt>
                <c:pt idx="1407">
                  <c:v>#N/A</c:v>
                </c:pt>
                <c:pt idx="1408">
                  <c:v>#N/A</c:v>
                </c:pt>
                <c:pt idx="1409">
                  <c:v>#N/A</c:v>
                </c:pt>
                <c:pt idx="1410">
                  <c:v>#N/A</c:v>
                </c:pt>
                <c:pt idx="1411">
                  <c:v>#N/A</c:v>
                </c:pt>
                <c:pt idx="1412">
                  <c:v>#N/A</c:v>
                </c:pt>
                <c:pt idx="1413">
                  <c:v>#N/A</c:v>
                </c:pt>
                <c:pt idx="1414">
                  <c:v>#N/A</c:v>
                </c:pt>
                <c:pt idx="1415">
                  <c:v>#N/A</c:v>
                </c:pt>
                <c:pt idx="1416">
                  <c:v>#N/A</c:v>
                </c:pt>
                <c:pt idx="1417">
                  <c:v>#N/A</c:v>
                </c:pt>
                <c:pt idx="1418">
                  <c:v>#N/A</c:v>
                </c:pt>
                <c:pt idx="1419">
                  <c:v>#N/A</c:v>
                </c:pt>
                <c:pt idx="1420">
                  <c:v>#N/A</c:v>
                </c:pt>
                <c:pt idx="1421">
                  <c:v>#N/A</c:v>
                </c:pt>
                <c:pt idx="1422">
                  <c:v>#N/A</c:v>
                </c:pt>
                <c:pt idx="1423">
                  <c:v>#N/A</c:v>
                </c:pt>
                <c:pt idx="1424">
                  <c:v>#N/A</c:v>
                </c:pt>
                <c:pt idx="1425">
                  <c:v>#N/A</c:v>
                </c:pt>
                <c:pt idx="1426">
                  <c:v>#N/A</c:v>
                </c:pt>
                <c:pt idx="1427">
                  <c:v>#N/A</c:v>
                </c:pt>
                <c:pt idx="1428">
                  <c:v>#N/A</c:v>
                </c:pt>
                <c:pt idx="1429">
                  <c:v>#N/A</c:v>
                </c:pt>
                <c:pt idx="1430">
                  <c:v>#N/A</c:v>
                </c:pt>
                <c:pt idx="1431">
                  <c:v>#N/A</c:v>
                </c:pt>
                <c:pt idx="1432">
                  <c:v>#N/A</c:v>
                </c:pt>
                <c:pt idx="1433">
                  <c:v>#N/A</c:v>
                </c:pt>
                <c:pt idx="1434">
                  <c:v>#N/A</c:v>
                </c:pt>
                <c:pt idx="1435">
                  <c:v>#N/A</c:v>
                </c:pt>
                <c:pt idx="1436">
                  <c:v>#N/A</c:v>
                </c:pt>
                <c:pt idx="1437">
                  <c:v>#N/A</c:v>
                </c:pt>
                <c:pt idx="1438">
                  <c:v>#N/A</c:v>
                </c:pt>
                <c:pt idx="1439">
                  <c:v>#N/A</c:v>
                </c:pt>
                <c:pt idx="1440">
                  <c:v>#N/A</c:v>
                </c:pt>
                <c:pt idx="1441">
                  <c:v>#N/A</c:v>
                </c:pt>
                <c:pt idx="1442">
                  <c:v>#N/A</c:v>
                </c:pt>
                <c:pt idx="1443">
                  <c:v>#N/A</c:v>
                </c:pt>
                <c:pt idx="1444">
                  <c:v>#N/A</c:v>
                </c:pt>
                <c:pt idx="1445">
                  <c:v>#N/A</c:v>
                </c:pt>
                <c:pt idx="1446">
                  <c:v>#N/A</c:v>
                </c:pt>
                <c:pt idx="1447">
                  <c:v>#N/A</c:v>
                </c:pt>
                <c:pt idx="1448">
                  <c:v>#N/A</c:v>
                </c:pt>
                <c:pt idx="1449">
                  <c:v>#N/A</c:v>
                </c:pt>
                <c:pt idx="1450">
                  <c:v>#N/A</c:v>
                </c:pt>
                <c:pt idx="1451">
                  <c:v>#N/A</c:v>
                </c:pt>
                <c:pt idx="1452">
                  <c:v>#N/A</c:v>
                </c:pt>
                <c:pt idx="1453">
                  <c:v>#N/A</c:v>
                </c:pt>
                <c:pt idx="1454">
                  <c:v>#N/A</c:v>
                </c:pt>
                <c:pt idx="1455">
                  <c:v>#N/A</c:v>
                </c:pt>
                <c:pt idx="1456">
                  <c:v>#N/A</c:v>
                </c:pt>
                <c:pt idx="1457">
                  <c:v>#N/A</c:v>
                </c:pt>
                <c:pt idx="1458">
                  <c:v>#N/A</c:v>
                </c:pt>
                <c:pt idx="1459">
                  <c:v>#N/A</c:v>
                </c:pt>
                <c:pt idx="1460">
                  <c:v>#N/A</c:v>
                </c:pt>
                <c:pt idx="1461">
                  <c:v>#N/A</c:v>
                </c:pt>
                <c:pt idx="1462">
                  <c:v>#N/A</c:v>
                </c:pt>
                <c:pt idx="1463">
                  <c:v>#N/A</c:v>
                </c:pt>
                <c:pt idx="1464">
                  <c:v>#N/A</c:v>
                </c:pt>
                <c:pt idx="1465">
                  <c:v>#N/A</c:v>
                </c:pt>
                <c:pt idx="1466">
                  <c:v>#N/A</c:v>
                </c:pt>
                <c:pt idx="1467">
                  <c:v>#N/A</c:v>
                </c:pt>
                <c:pt idx="1468">
                  <c:v>#N/A</c:v>
                </c:pt>
                <c:pt idx="1469">
                  <c:v>#N/A</c:v>
                </c:pt>
                <c:pt idx="1470">
                  <c:v>#N/A</c:v>
                </c:pt>
                <c:pt idx="1471">
                  <c:v>#N/A</c:v>
                </c:pt>
                <c:pt idx="1472">
                  <c:v>#N/A</c:v>
                </c:pt>
                <c:pt idx="1473">
                  <c:v>#N/A</c:v>
                </c:pt>
                <c:pt idx="1474">
                  <c:v>#N/A</c:v>
                </c:pt>
                <c:pt idx="1475">
                  <c:v>#N/A</c:v>
                </c:pt>
                <c:pt idx="1476">
                  <c:v>#N/A</c:v>
                </c:pt>
                <c:pt idx="1477">
                  <c:v>#N/A</c:v>
                </c:pt>
                <c:pt idx="1478">
                  <c:v>#N/A</c:v>
                </c:pt>
                <c:pt idx="1479">
                  <c:v>#N/A</c:v>
                </c:pt>
                <c:pt idx="1480">
                  <c:v>#N/A</c:v>
                </c:pt>
                <c:pt idx="1481">
                  <c:v>#N/A</c:v>
                </c:pt>
                <c:pt idx="1482">
                  <c:v>#N/A</c:v>
                </c:pt>
                <c:pt idx="1483">
                  <c:v>#N/A</c:v>
                </c:pt>
                <c:pt idx="1484">
                  <c:v>#N/A</c:v>
                </c:pt>
                <c:pt idx="1485">
                  <c:v>#N/A</c:v>
                </c:pt>
                <c:pt idx="1486">
                  <c:v>#N/A</c:v>
                </c:pt>
                <c:pt idx="1487">
                  <c:v>#N/A</c:v>
                </c:pt>
                <c:pt idx="1488">
                  <c:v>#N/A</c:v>
                </c:pt>
                <c:pt idx="1489">
                  <c:v>#N/A</c:v>
                </c:pt>
                <c:pt idx="1490">
                  <c:v>#N/A</c:v>
                </c:pt>
                <c:pt idx="1491">
                  <c:v>#N/A</c:v>
                </c:pt>
                <c:pt idx="1492">
                  <c:v>#N/A</c:v>
                </c:pt>
                <c:pt idx="1493">
                  <c:v>#N/A</c:v>
                </c:pt>
                <c:pt idx="1494">
                  <c:v>#N/A</c:v>
                </c:pt>
                <c:pt idx="1495">
                  <c:v>#N/A</c:v>
                </c:pt>
                <c:pt idx="1496">
                  <c:v>#N/A</c:v>
                </c:pt>
                <c:pt idx="1497">
                  <c:v>#N/A</c:v>
                </c:pt>
                <c:pt idx="1498">
                  <c:v>#N/A</c:v>
                </c:pt>
                <c:pt idx="1499">
                  <c:v>#N/A</c:v>
                </c:pt>
                <c:pt idx="1500">
                  <c:v>#N/A</c:v>
                </c:pt>
                <c:pt idx="1501">
                  <c:v>#N/A</c:v>
                </c:pt>
                <c:pt idx="1502">
                  <c:v>#N/A</c:v>
                </c:pt>
                <c:pt idx="1503">
                  <c:v>#N/A</c:v>
                </c:pt>
                <c:pt idx="1504">
                  <c:v>#N/A</c:v>
                </c:pt>
                <c:pt idx="1505">
                  <c:v>#N/A</c:v>
                </c:pt>
                <c:pt idx="1506">
                  <c:v>#N/A</c:v>
                </c:pt>
                <c:pt idx="1507">
                  <c:v>#N/A</c:v>
                </c:pt>
                <c:pt idx="1508">
                  <c:v>#N/A</c:v>
                </c:pt>
                <c:pt idx="1509">
                  <c:v>#N/A</c:v>
                </c:pt>
                <c:pt idx="1510">
                  <c:v>#N/A</c:v>
                </c:pt>
                <c:pt idx="1511">
                  <c:v>#N/A</c:v>
                </c:pt>
                <c:pt idx="1512">
                  <c:v>#N/A</c:v>
                </c:pt>
                <c:pt idx="1513">
                  <c:v>#N/A</c:v>
                </c:pt>
                <c:pt idx="1514">
                  <c:v>#N/A</c:v>
                </c:pt>
                <c:pt idx="1515">
                  <c:v>#N/A</c:v>
                </c:pt>
                <c:pt idx="1516">
                  <c:v>#N/A</c:v>
                </c:pt>
                <c:pt idx="1517">
                  <c:v>#N/A</c:v>
                </c:pt>
                <c:pt idx="1518">
                  <c:v>#N/A</c:v>
                </c:pt>
                <c:pt idx="1519">
                  <c:v>#N/A</c:v>
                </c:pt>
                <c:pt idx="1520">
                  <c:v>#N/A</c:v>
                </c:pt>
                <c:pt idx="1521">
                  <c:v>#N/A</c:v>
                </c:pt>
                <c:pt idx="1522">
                  <c:v>#N/A</c:v>
                </c:pt>
                <c:pt idx="1523">
                  <c:v>#N/A</c:v>
                </c:pt>
                <c:pt idx="1524">
                  <c:v>#N/A</c:v>
                </c:pt>
                <c:pt idx="1525">
                  <c:v>#N/A</c:v>
                </c:pt>
                <c:pt idx="1526">
                  <c:v>#N/A</c:v>
                </c:pt>
                <c:pt idx="1527">
                  <c:v>#N/A</c:v>
                </c:pt>
                <c:pt idx="1528">
                  <c:v>#N/A</c:v>
                </c:pt>
                <c:pt idx="1529">
                  <c:v>#N/A</c:v>
                </c:pt>
                <c:pt idx="1530">
                  <c:v>#N/A</c:v>
                </c:pt>
                <c:pt idx="1531">
                  <c:v>#N/A</c:v>
                </c:pt>
                <c:pt idx="1532">
                  <c:v>#N/A</c:v>
                </c:pt>
                <c:pt idx="1533">
                  <c:v>#N/A</c:v>
                </c:pt>
                <c:pt idx="1534">
                  <c:v>#N/A</c:v>
                </c:pt>
                <c:pt idx="1535">
                  <c:v>#N/A</c:v>
                </c:pt>
                <c:pt idx="1536">
                  <c:v>#N/A</c:v>
                </c:pt>
                <c:pt idx="1537">
                  <c:v>#N/A</c:v>
                </c:pt>
                <c:pt idx="1538">
                  <c:v>#N/A</c:v>
                </c:pt>
                <c:pt idx="1539">
                  <c:v>#N/A</c:v>
                </c:pt>
                <c:pt idx="1540">
                  <c:v>#N/A</c:v>
                </c:pt>
                <c:pt idx="1541">
                  <c:v>#N/A</c:v>
                </c:pt>
                <c:pt idx="1542">
                  <c:v>#N/A</c:v>
                </c:pt>
                <c:pt idx="1543">
                  <c:v>#N/A</c:v>
                </c:pt>
                <c:pt idx="1544">
                  <c:v>#N/A</c:v>
                </c:pt>
                <c:pt idx="1545">
                  <c:v>#N/A</c:v>
                </c:pt>
                <c:pt idx="1546">
                  <c:v>#N/A</c:v>
                </c:pt>
                <c:pt idx="1547">
                  <c:v>#N/A</c:v>
                </c:pt>
                <c:pt idx="1548">
                  <c:v>#N/A</c:v>
                </c:pt>
                <c:pt idx="1549">
                  <c:v>#N/A</c:v>
                </c:pt>
                <c:pt idx="1550">
                  <c:v>#N/A</c:v>
                </c:pt>
                <c:pt idx="1551">
                  <c:v>#N/A</c:v>
                </c:pt>
                <c:pt idx="1552">
                  <c:v>#N/A</c:v>
                </c:pt>
                <c:pt idx="1553">
                  <c:v>#N/A</c:v>
                </c:pt>
                <c:pt idx="1554">
                  <c:v>#N/A</c:v>
                </c:pt>
                <c:pt idx="1555">
                  <c:v>#N/A</c:v>
                </c:pt>
                <c:pt idx="1556">
                  <c:v>#N/A</c:v>
                </c:pt>
                <c:pt idx="1557">
                  <c:v>#N/A</c:v>
                </c:pt>
                <c:pt idx="1558">
                  <c:v>#N/A</c:v>
                </c:pt>
                <c:pt idx="1559">
                  <c:v>#N/A</c:v>
                </c:pt>
                <c:pt idx="1560">
                  <c:v>#N/A</c:v>
                </c:pt>
                <c:pt idx="1561">
                  <c:v>#N/A</c:v>
                </c:pt>
                <c:pt idx="1562">
                  <c:v>#N/A</c:v>
                </c:pt>
                <c:pt idx="1563">
                  <c:v>#N/A</c:v>
                </c:pt>
                <c:pt idx="1564">
                  <c:v>#N/A</c:v>
                </c:pt>
                <c:pt idx="1565">
                  <c:v>#N/A</c:v>
                </c:pt>
                <c:pt idx="1566">
                  <c:v>#N/A</c:v>
                </c:pt>
                <c:pt idx="1567">
                  <c:v>#N/A</c:v>
                </c:pt>
                <c:pt idx="1568">
                  <c:v>#N/A</c:v>
                </c:pt>
                <c:pt idx="1569">
                  <c:v>#N/A</c:v>
                </c:pt>
                <c:pt idx="1570">
                  <c:v>#N/A</c:v>
                </c:pt>
                <c:pt idx="1571">
                  <c:v>#N/A</c:v>
                </c:pt>
                <c:pt idx="1572">
                  <c:v>#N/A</c:v>
                </c:pt>
                <c:pt idx="1573">
                  <c:v>#N/A</c:v>
                </c:pt>
                <c:pt idx="1574">
                  <c:v>#N/A</c:v>
                </c:pt>
                <c:pt idx="1575">
                  <c:v>#N/A</c:v>
                </c:pt>
                <c:pt idx="1576">
                  <c:v>#N/A</c:v>
                </c:pt>
                <c:pt idx="1577">
                  <c:v>#N/A</c:v>
                </c:pt>
                <c:pt idx="1578">
                  <c:v>#N/A</c:v>
                </c:pt>
                <c:pt idx="1579">
                  <c:v>#N/A</c:v>
                </c:pt>
                <c:pt idx="1580">
                  <c:v>#N/A</c:v>
                </c:pt>
                <c:pt idx="1581">
                  <c:v>#N/A</c:v>
                </c:pt>
                <c:pt idx="1582">
                  <c:v>#N/A</c:v>
                </c:pt>
                <c:pt idx="1583">
                  <c:v>#N/A</c:v>
                </c:pt>
                <c:pt idx="1584">
                  <c:v>#N/A</c:v>
                </c:pt>
                <c:pt idx="1585">
                  <c:v>#N/A</c:v>
                </c:pt>
                <c:pt idx="1586">
                  <c:v>#N/A</c:v>
                </c:pt>
                <c:pt idx="1587">
                  <c:v>#N/A</c:v>
                </c:pt>
                <c:pt idx="1588">
                  <c:v>#N/A</c:v>
                </c:pt>
                <c:pt idx="1589">
                  <c:v>#N/A</c:v>
                </c:pt>
                <c:pt idx="1590">
                  <c:v>#N/A</c:v>
                </c:pt>
                <c:pt idx="1591">
                  <c:v>#N/A</c:v>
                </c:pt>
                <c:pt idx="1592">
                  <c:v>#N/A</c:v>
                </c:pt>
                <c:pt idx="1593">
                  <c:v>#N/A</c:v>
                </c:pt>
                <c:pt idx="1594">
                  <c:v>#N/A</c:v>
                </c:pt>
                <c:pt idx="1595">
                  <c:v>#N/A</c:v>
                </c:pt>
                <c:pt idx="1596">
                  <c:v>#N/A</c:v>
                </c:pt>
                <c:pt idx="1597">
                  <c:v>#N/A</c:v>
                </c:pt>
                <c:pt idx="1598">
                  <c:v>#N/A</c:v>
                </c:pt>
                <c:pt idx="1599">
                  <c:v>#N/A</c:v>
                </c:pt>
                <c:pt idx="1600">
                  <c:v>#N/A</c:v>
                </c:pt>
                <c:pt idx="1601">
                  <c:v>#N/A</c:v>
                </c:pt>
                <c:pt idx="1602">
                  <c:v>#N/A</c:v>
                </c:pt>
                <c:pt idx="1603">
                  <c:v>#N/A</c:v>
                </c:pt>
                <c:pt idx="1604">
                  <c:v>#N/A</c:v>
                </c:pt>
                <c:pt idx="1605">
                  <c:v>#N/A</c:v>
                </c:pt>
                <c:pt idx="1606">
                  <c:v>#N/A</c:v>
                </c:pt>
                <c:pt idx="1607">
                  <c:v>#N/A</c:v>
                </c:pt>
                <c:pt idx="1608">
                  <c:v>#N/A</c:v>
                </c:pt>
                <c:pt idx="1609">
                  <c:v>#N/A</c:v>
                </c:pt>
                <c:pt idx="1610">
                  <c:v>#N/A</c:v>
                </c:pt>
                <c:pt idx="1611">
                  <c:v>#N/A</c:v>
                </c:pt>
                <c:pt idx="1612">
                  <c:v>#N/A</c:v>
                </c:pt>
                <c:pt idx="1613">
                  <c:v>#N/A</c:v>
                </c:pt>
                <c:pt idx="1614">
                  <c:v>#N/A</c:v>
                </c:pt>
                <c:pt idx="1615">
                  <c:v>#N/A</c:v>
                </c:pt>
                <c:pt idx="1616">
                  <c:v>#N/A</c:v>
                </c:pt>
                <c:pt idx="1617">
                  <c:v>#N/A</c:v>
                </c:pt>
                <c:pt idx="1618">
                  <c:v>#N/A</c:v>
                </c:pt>
                <c:pt idx="1619">
                  <c:v>#N/A</c:v>
                </c:pt>
                <c:pt idx="1620">
                  <c:v>#N/A</c:v>
                </c:pt>
                <c:pt idx="1621">
                  <c:v>#N/A</c:v>
                </c:pt>
                <c:pt idx="1622">
                  <c:v>#N/A</c:v>
                </c:pt>
                <c:pt idx="1623">
                  <c:v>#N/A</c:v>
                </c:pt>
                <c:pt idx="1624">
                  <c:v>#N/A</c:v>
                </c:pt>
                <c:pt idx="1625">
                  <c:v>#N/A</c:v>
                </c:pt>
                <c:pt idx="1626">
                  <c:v>#N/A</c:v>
                </c:pt>
                <c:pt idx="1627">
                  <c:v>#N/A</c:v>
                </c:pt>
                <c:pt idx="1628">
                  <c:v>#N/A</c:v>
                </c:pt>
                <c:pt idx="1629">
                  <c:v>#N/A</c:v>
                </c:pt>
                <c:pt idx="1630">
                  <c:v>#N/A</c:v>
                </c:pt>
                <c:pt idx="1631">
                  <c:v>#N/A</c:v>
                </c:pt>
                <c:pt idx="1632">
                  <c:v>#N/A</c:v>
                </c:pt>
                <c:pt idx="1633">
                  <c:v>#N/A</c:v>
                </c:pt>
                <c:pt idx="1634">
                  <c:v>#N/A</c:v>
                </c:pt>
                <c:pt idx="1635">
                  <c:v>#N/A</c:v>
                </c:pt>
                <c:pt idx="1636">
                  <c:v>#N/A</c:v>
                </c:pt>
                <c:pt idx="1637">
                  <c:v>#N/A</c:v>
                </c:pt>
                <c:pt idx="1638">
                  <c:v>#N/A</c:v>
                </c:pt>
                <c:pt idx="1639">
                  <c:v>#N/A</c:v>
                </c:pt>
                <c:pt idx="1640">
                  <c:v>#N/A</c:v>
                </c:pt>
                <c:pt idx="1641">
                  <c:v>#N/A</c:v>
                </c:pt>
                <c:pt idx="1642">
                  <c:v>#N/A</c:v>
                </c:pt>
                <c:pt idx="1643">
                  <c:v>#N/A</c:v>
                </c:pt>
                <c:pt idx="1644">
                  <c:v>#N/A</c:v>
                </c:pt>
                <c:pt idx="1645">
                  <c:v>#N/A</c:v>
                </c:pt>
                <c:pt idx="1646">
                  <c:v>#N/A</c:v>
                </c:pt>
                <c:pt idx="1647">
                  <c:v>#N/A</c:v>
                </c:pt>
                <c:pt idx="1648">
                  <c:v>#N/A</c:v>
                </c:pt>
                <c:pt idx="1649">
                  <c:v>#N/A</c:v>
                </c:pt>
                <c:pt idx="1650">
                  <c:v>#N/A</c:v>
                </c:pt>
                <c:pt idx="1651">
                  <c:v>#N/A</c:v>
                </c:pt>
                <c:pt idx="1652">
                  <c:v>#N/A</c:v>
                </c:pt>
                <c:pt idx="1653">
                  <c:v>#N/A</c:v>
                </c:pt>
                <c:pt idx="1654">
                  <c:v>#N/A</c:v>
                </c:pt>
                <c:pt idx="1655">
                  <c:v>#N/A</c:v>
                </c:pt>
                <c:pt idx="1656">
                  <c:v>#N/A</c:v>
                </c:pt>
                <c:pt idx="1657">
                  <c:v>#N/A</c:v>
                </c:pt>
                <c:pt idx="1658">
                  <c:v>#N/A</c:v>
                </c:pt>
                <c:pt idx="1659">
                  <c:v>#N/A</c:v>
                </c:pt>
                <c:pt idx="1660">
                  <c:v>#N/A</c:v>
                </c:pt>
                <c:pt idx="1661">
                  <c:v>#N/A</c:v>
                </c:pt>
                <c:pt idx="1662">
                  <c:v>#N/A</c:v>
                </c:pt>
                <c:pt idx="1663">
                  <c:v>#N/A</c:v>
                </c:pt>
                <c:pt idx="1664">
                  <c:v>#N/A</c:v>
                </c:pt>
                <c:pt idx="1665">
                  <c:v>#N/A</c:v>
                </c:pt>
                <c:pt idx="1666">
                  <c:v>#N/A</c:v>
                </c:pt>
                <c:pt idx="1667">
                  <c:v>#N/A</c:v>
                </c:pt>
                <c:pt idx="1668">
                  <c:v>#N/A</c:v>
                </c:pt>
                <c:pt idx="1669">
                  <c:v>#N/A</c:v>
                </c:pt>
                <c:pt idx="1670">
                  <c:v>#N/A</c:v>
                </c:pt>
                <c:pt idx="1671">
                  <c:v>#N/A</c:v>
                </c:pt>
                <c:pt idx="1672">
                  <c:v>#N/A</c:v>
                </c:pt>
                <c:pt idx="1673">
                  <c:v>#N/A</c:v>
                </c:pt>
                <c:pt idx="1674">
                  <c:v>#N/A</c:v>
                </c:pt>
                <c:pt idx="1675">
                  <c:v>#N/A</c:v>
                </c:pt>
                <c:pt idx="1676">
                  <c:v>#N/A</c:v>
                </c:pt>
                <c:pt idx="1677">
                  <c:v>#N/A</c:v>
                </c:pt>
                <c:pt idx="1678">
                  <c:v>#N/A</c:v>
                </c:pt>
                <c:pt idx="1679">
                  <c:v>#N/A</c:v>
                </c:pt>
                <c:pt idx="1680">
                  <c:v>#N/A</c:v>
                </c:pt>
                <c:pt idx="1681">
                  <c:v>#N/A</c:v>
                </c:pt>
                <c:pt idx="1682">
                  <c:v>#N/A</c:v>
                </c:pt>
                <c:pt idx="1683">
                  <c:v>#N/A</c:v>
                </c:pt>
                <c:pt idx="1684">
                  <c:v>#N/A</c:v>
                </c:pt>
                <c:pt idx="1685">
                  <c:v>#N/A</c:v>
                </c:pt>
                <c:pt idx="1686">
                  <c:v>#N/A</c:v>
                </c:pt>
                <c:pt idx="1687">
                  <c:v>#N/A</c:v>
                </c:pt>
                <c:pt idx="1688">
                  <c:v>#N/A</c:v>
                </c:pt>
                <c:pt idx="1689">
                  <c:v>#N/A</c:v>
                </c:pt>
                <c:pt idx="1690">
                  <c:v>#N/A</c:v>
                </c:pt>
                <c:pt idx="1691">
                  <c:v>#N/A</c:v>
                </c:pt>
                <c:pt idx="1692">
                  <c:v>#N/A</c:v>
                </c:pt>
                <c:pt idx="1693">
                  <c:v>#N/A</c:v>
                </c:pt>
                <c:pt idx="1694">
                  <c:v>#N/A</c:v>
                </c:pt>
                <c:pt idx="1695">
                  <c:v>#N/A</c:v>
                </c:pt>
                <c:pt idx="1696">
                  <c:v>#N/A</c:v>
                </c:pt>
                <c:pt idx="1697">
                  <c:v>#N/A</c:v>
                </c:pt>
                <c:pt idx="1698">
                  <c:v>#N/A</c:v>
                </c:pt>
                <c:pt idx="1699">
                  <c:v>#N/A</c:v>
                </c:pt>
                <c:pt idx="1700">
                  <c:v>#N/A</c:v>
                </c:pt>
                <c:pt idx="1701">
                  <c:v>#N/A</c:v>
                </c:pt>
                <c:pt idx="1702">
                  <c:v>#N/A</c:v>
                </c:pt>
                <c:pt idx="1703">
                  <c:v>#N/A</c:v>
                </c:pt>
                <c:pt idx="1704">
                  <c:v>#N/A</c:v>
                </c:pt>
                <c:pt idx="1705">
                  <c:v>#N/A</c:v>
                </c:pt>
                <c:pt idx="1706">
                  <c:v>#N/A</c:v>
                </c:pt>
                <c:pt idx="1707">
                  <c:v>#N/A</c:v>
                </c:pt>
                <c:pt idx="1708">
                  <c:v>#N/A</c:v>
                </c:pt>
                <c:pt idx="1709">
                  <c:v>#N/A</c:v>
                </c:pt>
                <c:pt idx="1710">
                  <c:v>#N/A</c:v>
                </c:pt>
                <c:pt idx="1711">
                  <c:v>#N/A</c:v>
                </c:pt>
                <c:pt idx="1712">
                  <c:v>#N/A</c:v>
                </c:pt>
                <c:pt idx="1713">
                  <c:v>#N/A</c:v>
                </c:pt>
                <c:pt idx="1714">
                  <c:v>#N/A</c:v>
                </c:pt>
                <c:pt idx="1715">
                  <c:v>#N/A</c:v>
                </c:pt>
                <c:pt idx="1716">
                  <c:v>#N/A</c:v>
                </c:pt>
                <c:pt idx="1717">
                  <c:v>#N/A</c:v>
                </c:pt>
                <c:pt idx="1718">
                  <c:v>#N/A</c:v>
                </c:pt>
                <c:pt idx="1719">
                  <c:v>#N/A</c:v>
                </c:pt>
                <c:pt idx="1720">
                  <c:v>#N/A</c:v>
                </c:pt>
                <c:pt idx="1721">
                  <c:v>#N/A</c:v>
                </c:pt>
                <c:pt idx="1722">
                  <c:v>#N/A</c:v>
                </c:pt>
                <c:pt idx="1723">
                  <c:v>#N/A</c:v>
                </c:pt>
                <c:pt idx="1724">
                  <c:v>#N/A</c:v>
                </c:pt>
                <c:pt idx="1725">
                  <c:v>0.84383561643835614</c:v>
                </c:pt>
                <c:pt idx="1726">
                  <c:v>#N/A</c:v>
                </c:pt>
                <c:pt idx="1727">
                  <c:v>#N/A</c:v>
                </c:pt>
                <c:pt idx="1728">
                  <c:v>#N/A</c:v>
                </c:pt>
                <c:pt idx="1729">
                  <c:v>#N/A</c:v>
                </c:pt>
                <c:pt idx="1730">
                  <c:v>#N/A</c:v>
                </c:pt>
                <c:pt idx="1731">
                  <c:v>#N/A</c:v>
                </c:pt>
                <c:pt idx="1732">
                  <c:v>#N/A</c:v>
                </c:pt>
                <c:pt idx="1733">
                  <c:v>#N/A</c:v>
                </c:pt>
                <c:pt idx="1734">
                  <c:v>#N/A</c:v>
                </c:pt>
                <c:pt idx="1735">
                  <c:v>#N/A</c:v>
                </c:pt>
                <c:pt idx="1736">
                  <c:v>#N/A</c:v>
                </c:pt>
                <c:pt idx="1737">
                  <c:v>#N/A</c:v>
                </c:pt>
                <c:pt idx="1738">
                  <c:v>#N/A</c:v>
                </c:pt>
                <c:pt idx="1739">
                  <c:v>#N/A</c:v>
                </c:pt>
                <c:pt idx="1740">
                  <c:v>#N/A</c:v>
                </c:pt>
                <c:pt idx="1741">
                  <c:v>#N/A</c:v>
                </c:pt>
                <c:pt idx="1742">
                  <c:v>#N/A</c:v>
                </c:pt>
                <c:pt idx="1743">
                  <c:v>#N/A</c:v>
                </c:pt>
                <c:pt idx="1744">
                  <c:v>#N/A</c:v>
                </c:pt>
                <c:pt idx="1745">
                  <c:v>#N/A</c:v>
                </c:pt>
                <c:pt idx="1746">
                  <c:v>#N/A</c:v>
                </c:pt>
                <c:pt idx="1747">
                  <c:v>#N/A</c:v>
                </c:pt>
                <c:pt idx="1748">
                  <c:v>#N/A</c:v>
                </c:pt>
                <c:pt idx="1749">
                  <c:v>#N/A</c:v>
                </c:pt>
                <c:pt idx="1750">
                  <c:v>#N/A</c:v>
                </c:pt>
                <c:pt idx="1751">
                  <c:v>#N/A</c:v>
                </c:pt>
                <c:pt idx="1752">
                  <c:v>#N/A</c:v>
                </c:pt>
                <c:pt idx="1753">
                  <c:v>#N/A</c:v>
                </c:pt>
                <c:pt idx="1754">
                  <c:v>#N/A</c:v>
                </c:pt>
                <c:pt idx="1755">
                  <c:v>#N/A</c:v>
                </c:pt>
                <c:pt idx="1756">
                  <c:v>#N/A</c:v>
                </c:pt>
                <c:pt idx="1757">
                  <c:v>#N/A</c:v>
                </c:pt>
                <c:pt idx="1758">
                  <c:v>#N/A</c:v>
                </c:pt>
                <c:pt idx="1759">
                  <c:v>#N/A</c:v>
                </c:pt>
                <c:pt idx="1760">
                  <c:v>#N/A</c:v>
                </c:pt>
                <c:pt idx="1761">
                  <c:v>#N/A</c:v>
                </c:pt>
                <c:pt idx="1762">
                  <c:v>#N/A</c:v>
                </c:pt>
                <c:pt idx="1763">
                  <c:v>#N/A</c:v>
                </c:pt>
                <c:pt idx="1764">
                  <c:v>#N/A</c:v>
                </c:pt>
                <c:pt idx="1765">
                  <c:v>#N/A</c:v>
                </c:pt>
                <c:pt idx="1766">
                  <c:v>#N/A</c:v>
                </c:pt>
                <c:pt idx="1767">
                  <c:v>#N/A</c:v>
                </c:pt>
                <c:pt idx="1768">
                  <c:v>#N/A</c:v>
                </c:pt>
                <c:pt idx="1769">
                  <c:v>#N/A</c:v>
                </c:pt>
                <c:pt idx="1770">
                  <c:v>#N/A</c:v>
                </c:pt>
                <c:pt idx="1771">
                  <c:v>#N/A</c:v>
                </c:pt>
                <c:pt idx="1772">
                  <c:v>#N/A</c:v>
                </c:pt>
                <c:pt idx="1773">
                  <c:v>#N/A</c:v>
                </c:pt>
                <c:pt idx="1774">
                  <c:v>#N/A</c:v>
                </c:pt>
                <c:pt idx="1775">
                  <c:v>#N/A</c:v>
                </c:pt>
                <c:pt idx="1776">
                  <c:v>#N/A</c:v>
                </c:pt>
                <c:pt idx="1777">
                  <c:v>#N/A</c:v>
                </c:pt>
                <c:pt idx="1778">
                  <c:v>#N/A</c:v>
                </c:pt>
                <c:pt idx="1779">
                  <c:v>#N/A</c:v>
                </c:pt>
                <c:pt idx="1780">
                  <c:v>#N/A</c:v>
                </c:pt>
                <c:pt idx="1781">
                  <c:v>#N/A</c:v>
                </c:pt>
                <c:pt idx="1782">
                  <c:v>#N/A</c:v>
                </c:pt>
                <c:pt idx="1783">
                  <c:v>#N/A</c:v>
                </c:pt>
                <c:pt idx="1784">
                  <c:v>#N/A</c:v>
                </c:pt>
                <c:pt idx="1785">
                  <c:v>#N/A</c:v>
                </c:pt>
                <c:pt idx="1786">
                  <c:v>#N/A</c:v>
                </c:pt>
                <c:pt idx="1787">
                  <c:v>#N/A</c:v>
                </c:pt>
                <c:pt idx="1788">
                  <c:v>#N/A</c:v>
                </c:pt>
                <c:pt idx="1789">
                  <c:v>#N/A</c:v>
                </c:pt>
                <c:pt idx="1790">
                  <c:v>#N/A</c:v>
                </c:pt>
                <c:pt idx="1791">
                  <c:v>#N/A</c:v>
                </c:pt>
                <c:pt idx="1792">
                  <c:v>#N/A</c:v>
                </c:pt>
                <c:pt idx="1793">
                  <c:v>#N/A</c:v>
                </c:pt>
                <c:pt idx="1794">
                  <c:v>#N/A</c:v>
                </c:pt>
                <c:pt idx="1795">
                  <c:v>#N/A</c:v>
                </c:pt>
                <c:pt idx="1796">
                  <c:v>#N/A</c:v>
                </c:pt>
                <c:pt idx="1797">
                  <c:v>#N/A</c:v>
                </c:pt>
                <c:pt idx="1798">
                  <c:v>#N/A</c:v>
                </c:pt>
                <c:pt idx="1799">
                  <c:v>#N/A</c:v>
                </c:pt>
                <c:pt idx="1800">
                  <c:v>#N/A</c:v>
                </c:pt>
                <c:pt idx="1801">
                  <c:v>#N/A</c:v>
                </c:pt>
                <c:pt idx="1802">
                  <c:v>#N/A</c:v>
                </c:pt>
                <c:pt idx="1803">
                  <c:v>#N/A</c:v>
                </c:pt>
                <c:pt idx="1804">
                  <c:v>#N/A</c:v>
                </c:pt>
                <c:pt idx="1805">
                  <c:v>#N/A</c:v>
                </c:pt>
                <c:pt idx="1806">
                  <c:v>#N/A</c:v>
                </c:pt>
                <c:pt idx="1807">
                  <c:v>#N/A</c:v>
                </c:pt>
                <c:pt idx="1808">
                  <c:v>#N/A</c:v>
                </c:pt>
                <c:pt idx="1809">
                  <c:v>#N/A</c:v>
                </c:pt>
                <c:pt idx="1810">
                  <c:v>#N/A</c:v>
                </c:pt>
                <c:pt idx="1811">
                  <c:v>#N/A</c:v>
                </c:pt>
                <c:pt idx="1812">
                  <c:v>#N/A</c:v>
                </c:pt>
                <c:pt idx="1813">
                  <c:v>#N/A</c:v>
                </c:pt>
                <c:pt idx="1814">
                  <c:v>#N/A</c:v>
                </c:pt>
                <c:pt idx="1815">
                  <c:v>#N/A</c:v>
                </c:pt>
                <c:pt idx="1816">
                  <c:v>#N/A</c:v>
                </c:pt>
                <c:pt idx="1817">
                  <c:v>#N/A</c:v>
                </c:pt>
                <c:pt idx="1818">
                  <c:v>#N/A</c:v>
                </c:pt>
                <c:pt idx="1819">
                  <c:v>#N/A</c:v>
                </c:pt>
                <c:pt idx="1820">
                  <c:v>#N/A</c:v>
                </c:pt>
                <c:pt idx="1821">
                  <c:v>#N/A</c:v>
                </c:pt>
                <c:pt idx="1822">
                  <c:v>#N/A</c:v>
                </c:pt>
                <c:pt idx="1823">
                  <c:v>#N/A</c:v>
                </c:pt>
                <c:pt idx="1824">
                  <c:v>#N/A</c:v>
                </c:pt>
                <c:pt idx="1825">
                  <c:v>#N/A</c:v>
                </c:pt>
                <c:pt idx="1826">
                  <c:v>#N/A</c:v>
                </c:pt>
                <c:pt idx="1827">
                  <c:v>#N/A</c:v>
                </c:pt>
                <c:pt idx="1828">
                  <c:v>#N/A</c:v>
                </c:pt>
                <c:pt idx="1829">
                  <c:v>#N/A</c:v>
                </c:pt>
                <c:pt idx="1830">
                  <c:v>#N/A</c:v>
                </c:pt>
                <c:pt idx="1831">
                  <c:v>#N/A</c:v>
                </c:pt>
                <c:pt idx="1832">
                  <c:v>#N/A</c:v>
                </c:pt>
                <c:pt idx="1833">
                  <c:v>#N/A</c:v>
                </c:pt>
                <c:pt idx="1834">
                  <c:v>#N/A</c:v>
                </c:pt>
                <c:pt idx="1835">
                  <c:v>#N/A</c:v>
                </c:pt>
                <c:pt idx="1836">
                  <c:v>#N/A</c:v>
                </c:pt>
                <c:pt idx="1837">
                  <c:v>#N/A</c:v>
                </c:pt>
                <c:pt idx="1838">
                  <c:v>#N/A</c:v>
                </c:pt>
                <c:pt idx="1839">
                  <c:v>#N/A</c:v>
                </c:pt>
                <c:pt idx="1840">
                  <c:v>#N/A</c:v>
                </c:pt>
                <c:pt idx="1841">
                  <c:v>#N/A</c:v>
                </c:pt>
                <c:pt idx="1842">
                  <c:v>#N/A</c:v>
                </c:pt>
                <c:pt idx="1843">
                  <c:v>#N/A</c:v>
                </c:pt>
                <c:pt idx="1844">
                  <c:v>#N/A</c:v>
                </c:pt>
                <c:pt idx="1845">
                  <c:v>#N/A</c:v>
                </c:pt>
                <c:pt idx="1846">
                  <c:v>#N/A</c:v>
                </c:pt>
                <c:pt idx="1847">
                  <c:v>#N/A</c:v>
                </c:pt>
                <c:pt idx="1848">
                  <c:v>#N/A</c:v>
                </c:pt>
                <c:pt idx="1849">
                  <c:v>#N/A</c:v>
                </c:pt>
                <c:pt idx="1850">
                  <c:v>#N/A</c:v>
                </c:pt>
                <c:pt idx="1851">
                  <c:v>#N/A</c:v>
                </c:pt>
                <c:pt idx="1852">
                  <c:v>#N/A</c:v>
                </c:pt>
                <c:pt idx="1853">
                  <c:v>#N/A</c:v>
                </c:pt>
                <c:pt idx="1854">
                  <c:v>#N/A</c:v>
                </c:pt>
                <c:pt idx="1855">
                  <c:v>#N/A</c:v>
                </c:pt>
                <c:pt idx="1856">
                  <c:v>#N/A</c:v>
                </c:pt>
                <c:pt idx="1857">
                  <c:v>#N/A</c:v>
                </c:pt>
                <c:pt idx="1858">
                  <c:v>#N/A</c:v>
                </c:pt>
                <c:pt idx="1859">
                  <c:v>#N/A</c:v>
                </c:pt>
                <c:pt idx="1860">
                  <c:v>#N/A</c:v>
                </c:pt>
                <c:pt idx="1861">
                  <c:v>#N/A</c:v>
                </c:pt>
                <c:pt idx="1862">
                  <c:v>#N/A</c:v>
                </c:pt>
                <c:pt idx="1863">
                  <c:v>#N/A</c:v>
                </c:pt>
                <c:pt idx="1864">
                  <c:v>#N/A</c:v>
                </c:pt>
                <c:pt idx="1865">
                  <c:v>#N/A</c:v>
                </c:pt>
                <c:pt idx="1866">
                  <c:v>#N/A</c:v>
                </c:pt>
                <c:pt idx="1867">
                  <c:v>#N/A</c:v>
                </c:pt>
                <c:pt idx="1868">
                  <c:v>#N/A</c:v>
                </c:pt>
                <c:pt idx="1869">
                  <c:v>#N/A</c:v>
                </c:pt>
                <c:pt idx="1870">
                  <c:v>#N/A</c:v>
                </c:pt>
                <c:pt idx="1871">
                  <c:v>#N/A</c:v>
                </c:pt>
                <c:pt idx="1872">
                  <c:v>#N/A</c:v>
                </c:pt>
                <c:pt idx="1873">
                  <c:v>#N/A</c:v>
                </c:pt>
                <c:pt idx="1874">
                  <c:v>#N/A</c:v>
                </c:pt>
                <c:pt idx="1875">
                  <c:v>#N/A</c:v>
                </c:pt>
                <c:pt idx="1876">
                  <c:v>#N/A</c:v>
                </c:pt>
                <c:pt idx="1877">
                  <c:v>#N/A</c:v>
                </c:pt>
                <c:pt idx="1878">
                  <c:v>#N/A</c:v>
                </c:pt>
                <c:pt idx="1879">
                  <c:v>#N/A</c:v>
                </c:pt>
                <c:pt idx="1880">
                  <c:v>#N/A</c:v>
                </c:pt>
                <c:pt idx="1881">
                  <c:v>#N/A</c:v>
                </c:pt>
                <c:pt idx="1882">
                  <c:v>#N/A</c:v>
                </c:pt>
                <c:pt idx="1883">
                  <c:v>#N/A</c:v>
                </c:pt>
                <c:pt idx="1884">
                  <c:v>#N/A</c:v>
                </c:pt>
                <c:pt idx="1885">
                  <c:v>#N/A</c:v>
                </c:pt>
                <c:pt idx="1886">
                  <c:v>#N/A</c:v>
                </c:pt>
                <c:pt idx="1887">
                  <c:v>#N/A</c:v>
                </c:pt>
                <c:pt idx="1888">
                  <c:v>#N/A</c:v>
                </c:pt>
                <c:pt idx="1889">
                  <c:v>#N/A</c:v>
                </c:pt>
                <c:pt idx="1890">
                  <c:v>#N/A</c:v>
                </c:pt>
                <c:pt idx="1891">
                  <c:v>#N/A</c:v>
                </c:pt>
                <c:pt idx="1892">
                  <c:v>#N/A</c:v>
                </c:pt>
                <c:pt idx="1893">
                  <c:v>#N/A</c:v>
                </c:pt>
                <c:pt idx="1894">
                  <c:v>#N/A</c:v>
                </c:pt>
                <c:pt idx="1895">
                  <c:v>#N/A</c:v>
                </c:pt>
                <c:pt idx="1896">
                  <c:v>#N/A</c:v>
                </c:pt>
                <c:pt idx="1897">
                  <c:v>#N/A</c:v>
                </c:pt>
                <c:pt idx="1898">
                  <c:v>#N/A</c:v>
                </c:pt>
                <c:pt idx="1899">
                  <c:v>#N/A</c:v>
                </c:pt>
                <c:pt idx="1900">
                  <c:v>#N/A</c:v>
                </c:pt>
                <c:pt idx="1901">
                  <c:v>#N/A</c:v>
                </c:pt>
                <c:pt idx="1902">
                  <c:v>#N/A</c:v>
                </c:pt>
                <c:pt idx="1903">
                  <c:v>#N/A</c:v>
                </c:pt>
                <c:pt idx="1904">
                  <c:v>#N/A</c:v>
                </c:pt>
                <c:pt idx="1905">
                  <c:v>#N/A</c:v>
                </c:pt>
                <c:pt idx="1906">
                  <c:v>#N/A</c:v>
                </c:pt>
                <c:pt idx="1907">
                  <c:v>#N/A</c:v>
                </c:pt>
                <c:pt idx="1908">
                  <c:v>#N/A</c:v>
                </c:pt>
                <c:pt idx="1909">
                  <c:v>#N/A</c:v>
                </c:pt>
                <c:pt idx="1910">
                  <c:v>#N/A</c:v>
                </c:pt>
                <c:pt idx="1911">
                  <c:v>#N/A</c:v>
                </c:pt>
                <c:pt idx="1912">
                  <c:v>#N/A</c:v>
                </c:pt>
                <c:pt idx="1913">
                  <c:v>#N/A</c:v>
                </c:pt>
                <c:pt idx="1914">
                  <c:v>#N/A</c:v>
                </c:pt>
                <c:pt idx="1915">
                  <c:v>#N/A</c:v>
                </c:pt>
                <c:pt idx="1916">
                  <c:v>#N/A</c:v>
                </c:pt>
                <c:pt idx="1917">
                  <c:v>#N/A</c:v>
                </c:pt>
                <c:pt idx="1918">
                  <c:v>#N/A</c:v>
                </c:pt>
                <c:pt idx="1919">
                  <c:v>#N/A</c:v>
                </c:pt>
                <c:pt idx="1920">
                  <c:v>#N/A</c:v>
                </c:pt>
                <c:pt idx="1921">
                  <c:v>#N/A</c:v>
                </c:pt>
                <c:pt idx="1922">
                  <c:v>#N/A</c:v>
                </c:pt>
                <c:pt idx="1923">
                  <c:v>#N/A</c:v>
                </c:pt>
                <c:pt idx="1924">
                  <c:v>#N/A</c:v>
                </c:pt>
                <c:pt idx="1925">
                  <c:v>#N/A</c:v>
                </c:pt>
                <c:pt idx="1926">
                  <c:v>#N/A</c:v>
                </c:pt>
                <c:pt idx="1927">
                  <c:v>#N/A</c:v>
                </c:pt>
                <c:pt idx="1928">
                  <c:v>#N/A</c:v>
                </c:pt>
                <c:pt idx="1929">
                  <c:v>#N/A</c:v>
                </c:pt>
                <c:pt idx="1930">
                  <c:v>#N/A</c:v>
                </c:pt>
                <c:pt idx="1931">
                  <c:v>#N/A</c:v>
                </c:pt>
                <c:pt idx="1932">
                  <c:v>#N/A</c:v>
                </c:pt>
                <c:pt idx="1933">
                  <c:v>#N/A</c:v>
                </c:pt>
                <c:pt idx="1934">
                  <c:v>#N/A</c:v>
                </c:pt>
                <c:pt idx="1935">
                  <c:v>#N/A</c:v>
                </c:pt>
                <c:pt idx="1936">
                  <c:v>#N/A</c:v>
                </c:pt>
                <c:pt idx="1937">
                  <c:v>#N/A</c:v>
                </c:pt>
                <c:pt idx="1938">
                  <c:v>#N/A</c:v>
                </c:pt>
                <c:pt idx="1939">
                  <c:v>#N/A</c:v>
                </c:pt>
                <c:pt idx="1940">
                  <c:v>#N/A</c:v>
                </c:pt>
                <c:pt idx="1941">
                  <c:v>#N/A</c:v>
                </c:pt>
                <c:pt idx="1942">
                  <c:v>#N/A</c:v>
                </c:pt>
                <c:pt idx="1943">
                  <c:v>#N/A</c:v>
                </c:pt>
                <c:pt idx="1944">
                  <c:v>#N/A</c:v>
                </c:pt>
                <c:pt idx="1945">
                  <c:v>#N/A</c:v>
                </c:pt>
                <c:pt idx="1946">
                  <c:v>#N/A</c:v>
                </c:pt>
                <c:pt idx="1947">
                  <c:v>#N/A</c:v>
                </c:pt>
                <c:pt idx="1948">
                  <c:v>#N/A</c:v>
                </c:pt>
                <c:pt idx="1949">
                  <c:v>#N/A</c:v>
                </c:pt>
                <c:pt idx="1950">
                  <c:v>#N/A</c:v>
                </c:pt>
                <c:pt idx="1951">
                  <c:v>#N/A</c:v>
                </c:pt>
                <c:pt idx="1952">
                  <c:v>#N/A</c:v>
                </c:pt>
                <c:pt idx="1953">
                  <c:v>#N/A</c:v>
                </c:pt>
                <c:pt idx="1954">
                  <c:v>#N/A</c:v>
                </c:pt>
                <c:pt idx="1955">
                  <c:v>#N/A</c:v>
                </c:pt>
                <c:pt idx="1956">
                  <c:v>#N/A</c:v>
                </c:pt>
                <c:pt idx="1957">
                  <c:v>#N/A</c:v>
                </c:pt>
                <c:pt idx="1958">
                  <c:v>#N/A</c:v>
                </c:pt>
                <c:pt idx="1959">
                  <c:v>#N/A</c:v>
                </c:pt>
                <c:pt idx="1960">
                  <c:v>#N/A</c:v>
                </c:pt>
                <c:pt idx="1961">
                  <c:v>#N/A</c:v>
                </c:pt>
                <c:pt idx="1962">
                  <c:v>#N/A</c:v>
                </c:pt>
                <c:pt idx="1963">
                  <c:v>#N/A</c:v>
                </c:pt>
                <c:pt idx="1964">
                  <c:v>#N/A</c:v>
                </c:pt>
                <c:pt idx="1965">
                  <c:v>#N/A</c:v>
                </c:pt>
                <c:pt idx="1966">
                  <c:v>#N/A</c:v>
                </c:pt>
                <c:pt idx="1967">
                  <c:v>#N/A</c:v>
                </c:pt>
                <c:pt idx="1968">
                  <c:v>#N/A</c:v>
                </c:pt>
                <c:pt idx="1969">
                  <c:v>#N/A</c:v>
                </c:pt>
                <c:pt idx="1970">
                  <c:v>#N/A</c:v>
                </c:pt>
                <c:pt idx="1971">
                  <c:v>#N/A</c:v>
                </c:pt>
                <c:pt idx="1972">
                  <c:v>#N/A</c:v>
                </c:pt>
                <c:pt idx="1973">
                  <c:v>#N/A</c:v>
                </c:pt>
                <c:pt idx="1974">
                  <c:v>#N/A</c:v>
                </c:pt>
                <c:pt idx="1975">
                  <c:v>#N/A</c:v>
                </c:pt>
                <c:pt idx="1976">
                  <c:v>#N/A</c:v>
                </c:pt>
                <c:pt idx="1977">
                  <c:v>#N/A</c:v>
                </c:pt>
                <c:pt idx="1978">
                  <c:v>#N/A</c:v>
                </c:pt>
                <c:pt idx="1979">
                  <c:v>#N/A</c:v>
                </c:pt>
                <c:pt idx="1980">
                  <c:v>#N/A</c:v>
                </c:pt>
                <c:pt idx="1981">
                  <c:v>#N/A</c:v>
                </c:pt>
                <c:pt idx="1982">
                  <c:v>#N/A</c:v>
                </c:pt>
                <c:pt idx="1983">
                  <c:v>#N/A</c:v>
                </c:pt>
                <c:pt idx="1984">
                  <c:v>#N/A</c:v>
                </c:pt>
                <c:pt idx="1985">
                  <c:v>#N/A</c:v>
                </c:pt>
                <c:pt idx="1986">
                  <c:v>#N/A</c:v>
                </c:pt>
                <c:pt idx="1987">
                  <c:v>#N/A</c:v>
                </c:pt>
                <c:pt idx="1988">
                  <c:v>#N/A</c:v>
                </c:pt>
                <c:pt idx="1989">
                  <c:v>#N/A</c:v>
                </c:pt>
                <c:pt idx="1990">
                  <c:v>#N/A</c:v>
                </c:pt>
                <c:pt idx="1991">
                  <c:v>#N/A</c:v>
                </c:pt>
                <c:pt idx="1992">
                  <c:v>#N/A</c:v>
                </c:pt>
                <c:pt idx="1993">
                  <c:v>#N/A</c:v>
                </c:pt>
                <c:pt idx="1994">
                  <c:v>#N/A</c:v>
                </c:pt>
                <c:pt idx="1995">
                  <c:v>#N/A</c:v>
                </c:pt>
                <c:pt idx="1996">
                  <c:v>#N/A</c:v>
                </c:pt>
                <c:pt idx="1997">
                  <c:v>#N/A</c:v>
                </c:pt>
                <c:pt idx="1998">
                  <c:v>#N/A</c:v>
                </c:pt>
                <c:pt idx="1999">
                  <c:v>#N/A</c:v>
                </c:pt>
                <c:pt idx="2000">
                  <c:v>#N/A</c:v>
                </c:pt>
                <c:pt idx="2001">
                  <c:v>#N/A</c:v>
                </c:pt>
                <c:pt idx="2002">
                  <c:v>#N/A</c:v>
                </c:pt>
                <c:pt idx="2003">
                  <c:v>#N/A</c:v>
                </c:pt>
                <c:pt idx="2004">
                  <c:v>#N/A</c:v>
                </c:pt>
                <c:pt idx="2005">
                  <c:v>#N/A</c:v>
                </c:pt>
                <c:pt idx="2006">
                  <c:v>#N/A</c:v>
                </c:pt>
                <c:pt idx="2007">
                  <c:v>#N/A</c:v>
                </c:pt>
                <c:pt idx="2008">
                  <c:v>#N/A</c:v>
                </c:pt>
                <c:pt idx="2009">
                  <c:v>#N/A</c:v>
                </c:pt>
                <c:pt idx="2010">
                  <c:v>#N/A</c:v>
                </c:pt>
                <c:pt idx="2011">
                  <c:v>#N/A</c:v>
                </c:pt>
                <c:pt idx="2012">
                  <c:v>#N/A</c:v>
                </c:pt>
                <c:pt idx="2013">
                  <c:v>#N/A</c:v>
                </c:pt>
                <c:pt idx="2014">
                  <c:v>#N/A</c:v>
                </c:pt>
                <c:pt idx="2015">
                  <c:v>#N/A</c:v>
                </c:pt>
                <c:pt idx="2016">
                  <c:v>#N/A</c:v>
                </c:pt>
                <c:pt idx="2017">
                  <c:v>#N/A</c:v>
                </c:pt>
                <c:pt idx="2018">
                  <c:v>#N/A</c:v>
                </c:pt>
                <c:pt idx="2019">
                  <c:v>#N/A</c:v>
                </c:pt>
                <c:pt idx="2020">
                  <c:v>#N/A</c:v>
                </c:pt>
                <c:pt idx="2021">
                  <c:v>#N/A</c:v>
                </c:pt>
                <c:pt idx="2022">
                  <c:v>#N/A</c:v>
                </c:pt>
                <c:pt idx="2023">
                  <c:v>#N/A</c:v>
                </c:pt>
                <c:pt idx="2024">
                  <c:v>#N/A</c:v>
                </c:pt>
                <c:pt idx="2025">
                  <c:v>#N/A</c:v>
                </c:pt>
                <c:pt idx="2026">
                  <c:v>#N/A</c:v>
                </c:pt>
                <c:pt idx="2027">
                  <c:v>#N/A</c:v>
                </c:pt>
                <c:pt idx="2028">
                  <c:v>#N/A</c:v>
                </c:pt>
                <c:pt idx="2029">
                  <c:v>#N/A</c:v>
                </c:pt>
                <c:pt idx="2030">
                  <c:v>#N/A</c:v>
                </c:pt>
                <c:pt idx="2031">
                  <c:v>#N/A</c:v>
                </c:pt>
                <c:pt idx="2032">
                  <c:v>#N/A</c:v>
                </c:pt>
                <c:pt idx="2033">
                  <c:v>#N/A</c:v>
                </c:pt>
                <c:pt idx="2034">
                  <c:v>#N/A</c:v>
                </c:pt>
                <c:pt idx="2035">
                  <c:v>#N/A</c:v>
                </c:pt>
                <c:pt idx="2036">
                  <c:v>#N/A</c:v>
                </c:pt>
                <c:pt idx="2037">
                  <c:v>#N/A</c:v>
                </c:pt>
                <c:pt idx="2038">
                  <c:v>#N/A</c:v>
                </c:pt>
                <c:pt idx="2039">
                  <c:v>#N/A</c:v>
                </c:pt>
                <c:pt idx="2040">
                  <c:v>#N/A</c:v>
                </c:pt>
                <c:pt idx="2041">
                  <c:v>#N/A</c:v>
                </c:pt>
                <c:pt idx="2042">
                  <c:v>#N/A</c:v>
                </c:pt>
                <c:pt idx="2043">
                  <c:v>#N/A</c:v>
                </c:pt>
                <c:pt idx="2044">
                  <c:v>#N/A</c:v>
                </c:pt>
                <c:pt idx="2045">
                  <c:v>#N/A</c:v>
                </c:pt>
                <c:pt idx="2046">
                  <c:v>#N/A</c:v>
                </c:pt>
                <c:pt idx="2047">
                  <c:v>#N/A</c:v>
                </c:pt>
                <c:pt idx="2048">
                  <c:v>#N/A</c:v>
                </c:pt>
                <c:pt idx="2049">
                  <c:v>#N/A</c:v>
                </c:pt>
                <c:pt idx="2050">
                  <c:v>#N/A</c:v>
                </c:pt>
                <c:pt idx="2051">
                  <c:v>#N/A</c:v>
                </c:pt>
                <c:pt idx="2052">
                  <c:v>#N/A</c:v>
                </c:pt>
                <c:pt idx="2053">
                  <c:v>#N/A</c:v>
                </c:pt>
                <c:pt idx="2054">
                  <c:v>#N/A</c:v>
                </c:pt>
                <c:pt idx="2055">
                  <c:v>#N/A</c:v>
                </c:pt>
                <c:pt idx="2056">
                  <c:v>#N/A</c:v>
                </c:pt>
                <c:pt idx="2057">
                  <c:v>#N/A</c:v>
                </c:pt>
                <c:pt idx="2058">
                  <c:v>#N/A</c:v>
                </c:pt>
                <c:pt idx="2059">
                  <c:v>#N/A</c:v>
                </c:pt>
                <c:pt idx="2060">
                  <c:v>#N/A</c:v>
                </c:pt>
                <c:pt idx="2061">
                  <c:v>#N/A</c:v>
                </c:pt>
                <c:pt idx="2062">
                  <c:v>#N/A</c:v>
                </c:pt>
                <c:pt idx="2063">
                  <c:v>#N/A</c:v>
                </c:pt>
                <c:pt idx="2064">
                  <c:v>#N/A</c:v>
                </c:pt>
                <c:pt idx="2065">
                  <c:v>#N/A</c:v>
                </c:pt>
                <c:pt idx="2066">
                  <c:v>#N/A</c:v>
                </c:pt>
                <c:pt idx="2067">
                  <c:v>#N/A</c:v>
                </c:pt>
                <c:pt idx="2068">
                  <c:v>#N/A</c:v>
                </c:pt>
                <c:pt idx="2069">
                  <c:v>#N/A</c:v>
                </c:pt>
                <c:pt idx="2070">
                  <c:v>#N/A</c:v>
                </c:pt>
                <c:pt idx="2071">
                  <c:v>#N/A</c:v>
                </c:pt>
                <c:pt idx="2072">
                  <c:v>#N/A</c:v>
                </c:pt>
                <c:pt idx="2073">
                  <c:v>#N/A</c:v>
                </c:pt>
                <c:pt idx="2074">
                  <c:v>#N/A</c:v>
                </c:pt>
                <c:pt idx="2075">
                  <c:v>#N/A</c:v>
                </c:pt>
                <c:pt idx="2076">
                  <c:v>#N/A</c:v>
                </c:pt>
                <c:pt idx="2077">
                  <c:v>#N/A</c:v>
                </c:pt>
                <c:pt idx="2078">
                  <c:v>#N/A</c:v>
                </c:pt>
                <c:pt idx="2079">
                  <c:v>#N/A</c:v>
                </c:pt>
                <c:pt idx="2080">
                  <c:v>#N/A</c:v>
                </c:pt>
                <c:pt idx="2081">
                  <c:v>#N/A</c:v>
                </c:pt>
                <c:pt idx="2082">
                  <c:v>#N/A</c:v>
                </c:pt>
                <c:pt idx="2083">
                  <c:v>#N/A</c:v>
                </c:pt>
                <c:pt idx="2084">
                  <c:v>#N/A</c:v>
                </c:pt>
                <c:pt idx="2085">
                  <c:v>#N/A</c:v>
                </c:pt>
                <c:pt idx="2086">
                  <c:v>#N/A</c:v>
                </c:pt>
                <c:pt idx="2087">
                  <c:v>#N/A</c:v>
                </c:pt>
                <c:pt idx="2088">
                  <c:v>#N/A</c:v>
                </c:pt>
                <c:pt idx="2089">
                  <c:v>#N/A</c:v>
                </c:pt>
                <c:pt idx="2090">
                  <c:v>#N/A</c:v>
                </c:pt>
                <c:pt idx="2091">
                  <c:v>#N/A</c:v>
                </c:pt>
                <c:pt idx="2092">
                  <c:v>#N/A</c:v>
                </c:pt>
                <c:pt idx="2093">
                  <c:v>#N/A</c:v>
                </c:pt>
                <c:pt idx="2094">
                  <c:v>#N/A</c:v>
                </c:pt>
                <c:pt idx="2095">
                  <c:v>#N/A</c:v>
                </c:pt>
                <c:pt idx="2096">
                  <c:v>#N/A</c:v>
                </c:pt>
                <c:pt idx="2097">
                  <c:v>#N/A</c:v>
                </c:pt>
                <c:pt idx="2098">
                  <c:v>#N/A</c:v>
                </c:pt>
                <c:pt idx="2099">
                  <c:v>#N/A</c:v>
                </c:pt>
                <c:pt idx="2100">
                  <c:v>#N/A</c:v>
                </c:pt>
                <c:pt idx="2101">
                  <c:v>#N/A</c:v>
                </c:pt>
                <c:pt idx="2102">
                  <c:v>#N/A</c:v>
                </c:pt>
                <c:pt idx="2103">
                  <c:v>#N/A</c:v>
                </c:pt>
                <c:pt idx="2104">
                  <c:v>#N/A</c:v>
                </c:pt>
                <c:pt idx="2105">
                  <c:v>#N/A</c:v>
                </c:pt>
                <c:pt idx="2106">
                  <c:v>#N/A</c:v>
                </c:pt>
                <c:pt idx="2107">
                  <c:v>#N/A</c:v>
                </c:pt>
                <c:pt idx="2108">
                  <c:v>#N/A</c:v>
                </c:pt>
                <c:pt idx="2109">
                  <c:v>#N/A</c:v>
                </c:pt>
                <c:pt idx="2110">
                  <c:v>#N/A</c:v>
                </c:pt>
                <c:pt idx="2111">
                  <c:v>#N/A</c:v>
                </c:pt>
                <c:pt idx="2112">
                  <c:v>#N/A</c:v>
                </c:pt>
                <c:pt idx="2113">
                  <c:v>#N/A</c:v>
                </c:pt>
                <c:pt idx="2114">
                  <c:v>#N/A</c:v>
                </c:pt>
                <c:pt idx="2115">
                  <c:v>#N/A</c:v>
                </c:pt>
                <c:pt idx="2116">
                  <c:v>#N/A</c:v>
                </c:pt>
                <c:pt idx="2117">
                  <c:v>#N/A</c:v>
                </c:pt>
                <c:pt idx="2118">
                  <c:v>#N/A</c:v>
                </c:pt>
                <c:pt idx="2119">
                  <c:v>#N/A</c:v>
                </c:pt>
                <c:pt idx="2120">
                  <c:v>#N/A</c:v>
                </c:pt>
                <c:pt idx="2121">
                  <c:v>#N/A</c:v>
                </c:pt>
                <c:pt idx="2122">
                  <c:v>#N/A</c:v>
                </c:pt>
                <c:pt idx="2123">
                  <c:v>#N/A</c:v>
                </c:pt>
                <c:pt idx="2124">
                  <c:v>#N/A</c:v>
                </c:pt>
                <c:pt idx="2125">
                  <c:v>#N/A</c:v>
                </c:pt>
                <c:pt idx="2126">
                  <c:v>#N/A</c:v>
                </c:pt>
                <c:pt idx="2127">
                  <c:v>#N/A</c:v>
                </c:pt>
                <c:pt idx="2128">
                  <c:v>#N/A</c:v>
                </c:pt>
                <c:pt idx="2129">
                  <c:v>#N/A</c:v>
                </c:pt>
                <c:pt idx="2130">
                  <c:v>#N/A</c:v>
                </c:pt>
                <c:pt idx="2131">
                  <c:v>#N/A</c:v>
                </c:pt>
                <c:pt idx="2132">
                  <c:v>#N/A</c:v>
                </c:pt>
                <c:pt idx="2133">
                  <c:v>#N/A</c:v>
                </c:pt>
                <c:pt idx="2134">
                  <c:v>#N/A</c:v>
                </c:pt>
                <c:pt idx="2135">
                  <c:v>#N/A</c:v>
                </c:pt>
                <c:pt idx="2136">
                  <c:v>#N/A</c:v>
                </c:pt>
                <c:pt idx="2137">
                  <c:v>#N/A</c:v>
                </c:pt>
                <c:pt idx="2138">
                  <c:v>#N/A</c:v>
                </c:pt>
                <c:pt idx="2139">
                  <c:v>#N/A</c:v>
                </c:pt>
                <c:pt idx="2140">
                  <c:v>#N/A</c:v>
                </c:pt>
                <c:pt idx="2141">
                  <c:v>#N/A</c:v>
                </c:pt>
                <c:pt idx="2142">
                  <c:v>#N/A</c:v>
                </c:pt>
                <c:pt idx="2143">
                  <c:v>#N/A</c:v>
                </c:pt>
                <c:pt idx="2144">
                  <c:v>#N/A</c:v>
                </c:pt>
                <c:pt idx="2145">
                  <c:v>#N/A</c:v>
                </c:pt>
                <c:pt idx="2146">
                  <c:v>#N/A</c:v>
                </c:pt>
                <c:pt idx="2147">
                  <c:v>#N/A</c:v>
                </c:pt>
                <c:pt idx="2148">
                  <c:v>#N/A</c:v>
                </c:pt>
                <c:pt idx="2149">
                  <c:v>#N/A</c:v>
                </c:pt>
                <c:pt idx="2150">
                  <c:v>#N/A</c:v>
                </c:pt>
                <c:pt idx="2151">
                  <c:v>#N/A</c:v>
                </c:pt>
                <c:pt idx="2152">
                  <c:v>#N/A</c:v>
                </c:pt>
                <c:pt idx="2153">
                  <c:v>#N/A</c:v>
                </c:pt>
                <c:pt idx="2154">
                  <c:v>#N/A</c:v>
                </c:pt>
                <c:pt idx="2155">
                  <c:v>#N/A</c:v>
                </c:pt>
                <c:pt idx="2156">
                  <c:v>#N/A</c:v>
                </c:pt>
                <c:pt idx="2157">
                  <c:v>#N/A</c:v>
                </c:pt>
                <c:pt idx="2158">
                  <c:v>#N/A</c:v>
                </c:pt>
                <c:pt idx="2159">
                  <c:v>#N/A</c:v>
                </c:pt>
                <c:pt idx="2160">
                  <c:v>#N/A</c:v>
                </c:pt>
                <c:pt idx="2161">
                  <c:v>#N/A</c:v>
                </c:pt>
                <c:pt idx="2162">
                  <c:v>#N/A</c:v>
                </c:pt>
                <c:pt idx="2163">
                  <c:v>#N/A</c:v>
                </c:pt>
                <c:pt idx="2164">
                  <c:v>#N/A</c:v>
                </c:pt>
                <c:pt idx="2165">
                  <c:v>#N/A</c:v>
                </c:pt>
                <c:pt idx="2166">
                  <c:v>#N/A</c:v>
                </c:pt>
                <c:pt idx="2167">
                  <c:v>#N/A</c:v>
                </c:pt>
                <c:pt idx="2168">
                  <c:v>#N/A</c:v>
                </c:pt>
                <c:pt idx="2169">
                  <c:v>#N/A</c:v>
                </c:pt>
                <c:pt idx="2170">
                  <c:v>#N/A</c:v>
                </c:pt>
                <c:pt idx="2171">
                  <c:v>#N/A</c:v>
                </c:pt>
                <c:pt idx="2172">
                  <c:v>#N/A</c:v>
                </c:pt>
                <c:pt idx="2173">
                  <c:v>#N/A</c:v>
                </c:pt>
                <c:pt idx="2174">
                  <c:v>#N/A</c:v>
                </c:pt>
                <c:pt idx="2175">
                  <c:v>#N/A</c:v>
                </c:pt>
                <c:pt idx="2176">
                  <c:v>#N/A</c:v>
                </c:pt>
                <c:pt idx="2177">
                  <c:v>#N/A</c:v>
                </c:pt>
                <c:pt idx="2178">
                  <c:v>#N/A</c:v>
                </c:pt>
                <c:pt idx="2179">
                  <c:v>#N/A</c:v>
                </c:pt>
                <c:pt idx="2180">
                  <c:v>#N/A</c:v>
                </c:pt>
                <c:pt idx="2181">
                  <c:v>#N/A</c:v>
                </c:pt>
                <c:pt idx="2182">
                  <c:v>#N/A</c:v>
                </c:pt>
                <c:pt idx="2183">
                  <c:v>#N/A</c:v>
                </c:pt>
                <c:pt idx="2184">
                  <c:v>#N/A</c:v>
                </c:pt>
                <c:pt idx="2185">
                  <c:v>#N/A</c:v>
                </c:pt>
                <c:pt idx="2186">
                  <c:v>#N/A</c:v>
                </c:pt>
                <c:pt idx="2187">
                  <c:v>#N/A</c:v>
                </c:pt>
                <c:pt idx="2188">
                  <c:v>#N/A</c:v>
                </c:pt>
                <c:pt idx="2189">
                  <c:v>#N/A</c:v>
                </c:pt>
                <c:pt idx="2190">
                  <c:v>#N/A</c:v>
                </c:pt>
                <c:pt idx="2191">
                  <c:v>#N/A</c:v>
                </c:pt>
                <c:pt idx="2192">
                  <c:v>#N/A</c:v>
                </c:pt>
                <c:pt idx="2193">
                  <c:v>#N/A</c:v>
                </c:pt>
                <c:pt idx="2194">
                  <c:v>#N/A</c:v>
                </c:pt>
                <c:pt idx="2195">
                  <c:v>#N/A</c:v>
                </c:pt>
                <c:pt idx="2196">
                  <c:v>#N/A</c:v>
                </c:pt>
                <c:pt idx="2197">
                  <c:v>#N/A</c:v>
                </c:pt>
                <c:pt idx="2198">
                  <c:v>#N/A</c:v>
                </c:pt>
                <c:pt idx="2199">
                  <c:v>#N/A</c:v>
                </c:pt>
                <c:pt idx="2200">
                  <c:v>#N/A</c:v>
                </c:pt>
                <c:pt idx="2201">
                  <c:v>#N/A</c:v>
                </c:pt>
                <c:pt idx="2202">
                  <c:v>#N/A</c:v>
                </c:pt>
                <c:pt idx="2203">
                  <c:v>#N/A</c:v>
                </c:pt>
                <c:pt idx="2204">
                  <c:v>#N/A</c:v>
                </c:pt>
                <c:pt idx="2205">
                  <c:v>#N/A</c:v>
                </c:pt>
                <c:pt idx="2206">
                  <c:v>#N/A</c:v>
                </c:pt>
                <c:pt idx="2207">
                  <c:v>#N/A</c:v>
                </c:pt>
                <c:pt idx="2208">
                  <c:v>#N/A</c:v>
                </c:pt>
                <c:pt idx="2209">
                  <c:v>#N/A</c:v>
                </c:pt>
                <c:pt idx="2210">
                  <c:v>#N/A</c:v>
                </c:pt>
                <c:pt idx="2211">
                  <c:v>#N/A</c:v>
                </c:pt>
                <c:pt idx="2212">
                  <c:v>#N/A</c:v>
                </c:pt>
                <c:pt idx="2213">
                  <c:v>#N/A</c:v>
                </c:pt>
                <c:pt idx="2214">
                  <c:v>#N/A</c:v>
                </c:pt>
                <c:pt idx="2215">
                  <c:v>#N/A</c:v>
                </c:pt>
                <c:pt idx="2216">
                  <c:v>#N/A</c:v>
                </c:pt>
                <c:pt idx="2217">
                  <c:v>#N/A</c:v>
                </c:pt>
                <c:pt idx="2218">
                  <c:v>#N/A</c:v>
                </c:pt>
                <c:pt idx="2219">
                  <c:v>#N/A</c:v>
                </c:pt>
                <c:pt idx="2220">
                  <c:v>#N/A</c:v>
                </c:pt>
                <c:pt idx="2221">
                  <c:v>#N/A</c:v>
                </c:pt>
                <c:pt idx="2222">
                  <c:v>#N/A</c:v>
                </c:pt>
                <c:pt idx="2223">
                  <c:v>#N/A</c:v>
                </c:pt>
                <c:pt idx="2224">
                  <c:v>#N/A</c:v>
                </c:pt>
                <c:pt idx="2225">
                  <c:v>#N/A</c:v>
                </c:pt>
                <c:pt idx="2226">
                  <c:v>#N/A</c:v>
                </c:pt>
                <c:pt idx="2227">
                  <c:v>#N/A</c:v>
                </c:pt>
                <c:pt idx="2228">
                  <c:v>#N/A</c:v>
                </c:pt>
                <c:pt idx="2229">
                  <c:v>#N/A</c:v>
                </c:pt>
                <c:pt idx="2230">
                  <c:v>#N/A</c:v>
                </c:pt>
                <c:pt idx="2231">
                  <c:v>#N/A</c:v>
                </c:pt>
                <c:pt idx="2232">
                  <c:v>#N/A</c:v>
                </c:pt>
                <c:pt idx="2233">
                  <c:v>#N/A</c:v>
                </c:pt>
                <c:pt idx="2234">
                  <c:v>#N/A</c:v>
                </c:pt>
                <c:pt idx="2235">
                  <c:v>#N/A</c:v>
                </c:pt>
                <c:pt idx="2236">
                  <c:v>#N/A</c:v>
                </c:pt>
                <c:pt idx="2237">
                  <c:v>#N/A</c:v>
                </c:pt>
                <c:pt idx="2238">
                  <c:v>#N/A</c:v>
                </c:pt>
                <c:pt idx="2239">
                  <c:v>#N/A</c:v>
                </c:pt>
                <c:pt idx="2240">
                  <c:v>#N/A</c:v>
                </c:pt>
                <c:pt idx="2241">
                  <c:v>#N/A</c:v>
                </c:pt>
                <c:pt idx="2242">
                  <c:v>#N/A</c:v>
                </c:pt>
                <c:pt idx="2243">
                  <c:v>#N/A</c:v>
                </c:pt>
                <c:pt idx="2244">
                  <c:v>#N/A</c:v>
                </c:pt>
                <c:pt idx="2245">
                  <c:v>#N/A</c:v>
                </c:pt>
                <c:pt idx="2246">
                  <c:v>#N/A</c:v>
                </c:pt>
                <c:pt idx="2247">
                  <c:v>#N/A</c:v>
                </c:pt>
                <c:pt idx="2248">
                  <c:v>#N/A</c:v>
                </c:pt>
                <c:pt idx="2249">
                  <c:v>#N/A</c:v>
                </c:pt>
                <c:pt idx="2250">
                  <c:v>#N/A</c:v>
                </c:pt>
                <c:pt idx="2251">
                  <c:v>#N/A</c:v>
                </c:pt>
                <c:pt idx="2252">
                  <c:v>#N/A</c:v>
                </c:pt>
                <c:pt idx="2253">
                  <c:v>#N/A</c:v>
                </c:pt>
                <c:pt idx="2254">
                  <c:v>#N/A</c:v>
                </c:pt>
                <c:pt idx="2255">
                  <c:v>#N/A</c:v>
                </c:pt>
                <c:pt idx="2256">
                  <c:v>#N/A</c:v>
                </c:pt>
                <c:pt idx="2257">
                  <c:v>#N/A</c:v>
                </c:pt>
                <c:pt idx="2258">
                  <c:v>#N/A</c:v>
                </c:pt>
                <c:pt idx="2259">
                  <c:v>#N/A</c:v>
                </c:pt>
                <c:pt idx="2260">
                  <c:v>#N/A</c:v>
                </c:pt>
                <c:pt idx="2261">
                  <c:v>#N/A</c:v>
                </c:pt>
                <c:pt idx="2262">
                  <c:v>#N/A</c:v>
                </c:pt>
                <c:pt idx="2263">
                  <c:v>#N/A</c:v>
                </c:pt>
                <c:pt idx="2264">
                  <c:v>#N/A</c:v>
                </c:pt>
                <c:pt idx="2265">
                  <c:v>#N/A</c:v>
                </c:pt>
                <c:pt idx="2266">
                  <c:v>#N/A</c:v>
                </c:pt>
                <c:pt idx="2267">
                  <c:v>#N/A</c:v>
                </c:pt>
                <c:pt idx="2268">
                  <c:v>#N/A</c:v>
                </c:pt>
                <c:pt idx="2269">
                  <c:v>#N/A</c:v>
                </c:pt>
                <c:pt idx="2270">
                  <c:v>#N/A</c:v>
                </c:pt>
                <c:pt idx="2271">
                  <c:v>#N/A</c:v>
                </c:pt>
                <c:pt idx="2272">
                  <c:v>#N/A</c:v>
                </c:pt>
                <c:pt idx="2273">
                  <c:v>#N/A</c:v>
                </c:pt>
                <c:pt idx="2274">
                  <c:v>#N/A</c:v>
                </c:pt>
                <c:pt idx="2275">
                  <c:v>#N/A</c:v>
                </c:pt>
                <c:pt idx="2276">
                  <c:v>#N/A</c:v>
                </c:pt>
                <c:pt idx="2277">
                  <c:v>#N/A</c:v>
                </c:pt>
                <c:pt idx="2278">
                  <c:v>#N/A</c:v>
                </c:pt>
                <c:pt idx="2279">
                  <c:v>#N/A</c:v>
                </c:pt>
                <c:pt idx="2280">
                  <c:v>#N/A</c:v>
                </c:pt>
                <c:pt idx="2281">
                  <c:v>#N/A</c:v>
                </c:pt>
                <c:pt idx="2282">
                  <c:v>#N/A</c:v>
                </c:pt>
                <c:pt idx="2283">
                  <c:v>#N/A</c:v>
                </c:pt>
                <c:pt idx="2284">
                  <c:v>#N/A</c:v>
                </c:pt>
                <c:pt idx="2285">
                  <c:v>#N/A</c:v>
                </c:pt>
                <c:pt idx="2286">
                  <c:v>#N/A</c:v>
                </c:pt>
                <c:pt idx="2287">
                  <c:v>#N/A</c:v>
                </c:pt>
                <c:pt idx="2288">
                  <c:v>#N/A</c:v>
                </c:pt>
                <c:pt idx="2289">
                  <c:v>#N/A</c:v>
                </c:pt>
                <c:pt idx="2290">
                  <c:v>#N/A</c:v>
                </c:pt>
                <c:pt idx="2291">
                  <c:v>#N/A</c:v>
                </c:pt>
                <c:pt idx="2292">
                  <c:v>#N/A</c:v>
                </c:pt>
                <c:pt idx="2293">
                  <c:v>#N/A</c:v>
                </c:pt>
                <c:pt idx="2294">
                  <c:v>#N/A</c:v>
                </c:pt>
                <c:pt idx="2295">
                  <c:v>#N/A</c:v>
                </c:pt>
                <c:pt idx="2296">
                  <c:v>#N/A</c:v>
                </c:pt>
                <c:pt idx="2297">
                  <c:v>#N/A</c:v>
                </c:pt>
                <c:pt idx="2298">
                  <c:v>#N/A</c:v>
                </c:pt>
                <c:pt idx="2299">
                  <c:v>#N/A</c:v>
                </c:pt>
                <c:pt idx="2300">
                  <c:v>#N/A</c:v>
                </c:pt>
                <c:pt idx="2301">
                  <c:v>#N/A</c:v>
                </c:pt>
                <c:pt idx="2302">
                  <c:v>#N/A</c:v>
                </c:pt>
                <c:pt idx="2303">
                  <c:v>#N/A</c:v>
                </c:pt>
                <c:pt idx="2304">
                  <c:v>#N/A</c:v>
                </c:pt>
                <c:pt idx="2305">
                  <c:v>#N/A</c:v>
                </c:pt>
                <c:pt idx="2306">
                  <c:v>#N/A</c:v>
                </c:pt>
                <c:pt idx="2307">
                  <c:v>#N/A</c:v>
                </c:pt>
                <c:pt idx="2308">
                  <c:v>#N/A</c:v>
                </c:pt>
                <c:pt idx="2309">
                  <c:v>#N/A</c:v>
                </c:pt>
                <c:pt idx="2310">
                  <c:v>#N/A</c:v>
                </c:pt>
                <c:pt idx="2311">
                  <c:v>#N/A</c:v>
                </c:pt>
                <c:pt idx="2312">
                  <c:v>#N/A</c:v>
                </c:pt>
                <c:pt idx="2313">
                  <c:v>#N/A</c:v>
                </c:pt>
                <c:pt idx="2314">
                  <c:v>#N/A</c:v>
                </c:pt>
                <c:pt idx="2315">
                  <c:v>#N/A</c:v>
                </c:pt>
                <c:pt idx="2316">
                  <c:v>#N/A</c:v>
                </c:pt>
                <c:pt idx="2317">
                  <c:v>#N/A</c:v>
                </c:pt>
                <c:pt idx="2318">
                  <c:v>#N/A</c:v>
                </c:pt>
                <c:pt idx="2319">
                  <c:v>#N/A</c:v>
                </c:pt>
                <c:pt idx="2320">
                  <c:v>#N/A</c:v>
                </c:pt>
                <c:pt idx="2321">
                  <c:v>#N/A</c:v>
                </c:pt>
                <c:pt idx="2322">
                  <c:v>#N/A</c:v>
                </c:pt>
                <c:pt idx="2323">
                  <c:v>#N/A</c:v>
                </c:pt>
                <c:pt idx="2324">
                  <c:v>#N/A</c:v>
                </c:pt>
                <c:pt idx="2325">
                  <c:v>#N/A</c:v>
                </c:pt>
                <c:pt idx="2326">
                  <c:v>#N/A</c:v>
                </c:pt>
                <c:pt idx="2327">
                  <c:v>#N/A</c:v>
                </c:pt>
                <c:pt idx="2328">
                  <c:v>#N/A</c:v>
                </c:pt>
                <c:pt idx="2329">
                  <c:v>#N/A</c:v>
                </c:pt>
                <c:pt idx="2330">
                  <c:v>#N/A</c:v>
                </c:pt>
                <c:pt idx="2331">
                  <c:v>#N/A</c:v>
                </c:pt>
                <c:pt idx="2332">
                  <c:v>#N/A</c:v>
                </c:pt>
                <c:pt idx="2333">
                  <c:v>#N/A</c:v>
                </c:pt>
                <c:pt idx="2334">
                  <c:v>#N/A</c:v>
                </c:pt>
                <c:pt idx="2335">
                  <c:v>#N/A</c:v>
                </c:pt>
                <c:pt idx="2336">
                  <c:v>#N/A</c:v>
                </c:pt>
                <c:pt idx="2337">
                  <c:v>#N/A</c:v>
                </c:pt>
                <c:pt idx="2338">
                  <c:v>#N/A</c:v>
                </c:pt>
                <c:pt idx="2339">
                  <c:v>#N/A</c:v>
                </c:pt>
                <c:pt idx="2340">
                  <c:v>#N/A</c:v>
                </c:pt>
                <c:pt idx="2341">
                  <c:v>#N/A</c:v>
                </c:pt>
                <c:pt idx="2342">
                  <c:v>#N/A</c:v>
                </c:pt>
                <c:pt idx="2343">
                  <c:v>#N/A</c:v>
                </c:pt>
                <c:pt idx="2344">
                  <c:v>#N/A</c:v>
                </c:pt>
                <c:pt idx="2345">
                  <c:v>#N/A</c:v>
                </c:pt>
                <c:pt idx="2346">
                  <c:v>#N/A</c:v>
                </c:pt>
                <c:pt idx="2347">
                  <c:v>#N/A</c:v>
                </c:pt>
                <c:pt idx="2348">
                  <c:v>#N/A</c:v>
                </c:pt>
                <c:pt idx="2349">
                  <c:v>#N/A</c:v>
                </c:pt>
                <c:pt idx="2350">
                  <c:v>#N/A</c:v>
                </c:pt>
                <c:pt idx="2351">
                  <c:v>#N/A</c:v>
                </c:pt>
                <c:pt idx="2352">
                  <c:v>#N/A</c:v>
                </c:pt>
                <c:pt idx="2353">
                  <c:v>#N/A</c:v>
                </c:pt>
                <c:pt idx="2354">
                  <c:v>#N/A</c:v>
                </c:pt>
                <c:pt idx="2355">
                  <c:v>#N/A</c:v>
                </c:pt>
                <c:pt idx="2356">
                  <c:v>#N/A</c:v>
                </c:pt>
                <c:pt idx="2357">
                  <c:v>#N/A</c:v>
                </c:pt>
                <c:pt idx="2358">
                  <c:v>#N/A</c:v>
                </c:pt>
                <c:pt idx="2359">
                  <c:v>#N/A</c:v>
                </c:pt>
                <c:pt idx="2360">
                  <c:v>#N/A</c:v>
                </c:pt>
                <c:pt idx="2361">
                  <c:v>#N/A</c:v>
                </c:pt>
                <c:pt idx="2362">
                  <c:v>#N/A</c:v>
                </c:pt>
                <c:pt idx="2363">
                  <c:v>#N/A</c:v>
                </c:pt>
                <c:pt idx="2364">
                  <c:v>#N/A</c:v>
                </c:pt>
                <c:pt idx="2365">
                  <c:v>#N/A</c:v>
                </c:pt>
                <c:pt idx="2366">
                  <c:v>#N/A</c:v>
                </c:pt>
                <c:pt idx="2367">
                  <c:v>#N/A</c:v>
                </c:pt>
                <c:pt idx="2368">
                  <c:v>#N/A</c:v>
                </c:pt>
                <c:pt idx="2369">
                  <c:v>#N/A</c:v>
                </c:pt>
                <c:pt idx="2370">
                  <c:v>#N/A</c:v>
                </c:pt>
                <c:pt idx="2371">
                  <c:v>#N/A</c:v>
                </c:pt>
                <c:pt idx="2372">
                  <c:v>#N/A</c:v>
                </c:pt>
                <c:pt idx="2373">
                  <c:v>#N/A</c:v>
                </c:pt>
                <c:pt idx="2374">
                  <c:v>#N/A</c:v>
                </c:pt>
                <c:pt idx="2375">
                  <c:v>#N/A</c:v>
                </c:pt>
                <c:pt idx="2376">
                  <c:v>#N/A</c:v>
                </c:pt>
                <c:pt idx="2377">
                  <c:v>#N/A</c:v>
                </c:pt>
                <c:pt idx="2378">
                  <c:v>#N/A</c:v>
                </c:pt>
                <c:pt idx="2379">
                  <c:v>#N/A</c:v>
                </c:pt>
                <c:pt idx="2380">
                  <c:v>#N/A</c:v>
                </c:pt>
                <c:pt idx="2381">
                  <c:v>#N/A</c:v>
                </c:pt>
                <c:pt idx="2382">
                  <c:v>#N/A</c:v>
                </c:pt>
                <c:pt idx="2383">
                  <c:v>#N/A</c:v>
                </c:pt>
                <c:pt idx="2384">
                  <c:v>#N/A</c:v>
                </c:pt>
                <c:pt idx="2385">
                  <c:v>#N/A</c:v>
                </c:pt>
                <c:pt idx="2386">
                  <c:v>#N/A</c:v>
                </c:pt>
                <c:pt idx="2387">
                  <c:v>#N/A</c:v>
                </c:pt>
                <c:pt idx="2388">
                  <c:v>#N/A</c:v>
                </c:pt>
                <c:pt idx="2389">
                  <c:v>#N/A</c:v>
                </c:pt>
                <c:pt idx="2390">
                  <c:v>#N/A</c:v>
                </c:pt>
                <c:pt idx="2391">
                  <c:v>#N/A</c:v>
                </c:pt>
                <c:pt idx="2392">
                  <c:v>#N/A</c:v>
                </c:pt>
                <c:pt idx="2393">
                  <c:v>#N/A</c:v>
                </c:pt>
                <c:pt idx="2394">
                  <c:v>#N/A</c:v>
                </c:pt>
                <c:pt idx="2395">
                  <c:v>#N/A</c:v>
                </c:pt>
                <c:pt idx="2396">
                  <c:v>#N/A</c:v>
                </c:pt>
                <c:pt idx="2397">
                  <c:v>#N/A</c:v>
                </c:pt>
                <c:pt idx="2398">
                  <c:v>#N/A</c:v>
                </c:pt>
                <c:pt idx="2399">
                  <c:v>#N/A</c:v>
                </c:pt>
                <c:pt idx="2400">
                  <c:v>#N/A</c:v>
                </c:pt>
                <c:pt idx="2401">
                  <c:v>#N/A</c:v>
                </c:pt>
                <c:pt idx="2402">
                  <c:v>#N/A</c:v>
                </c:pt>
                <c:pt idx="2403">
                  <c:v>#N/A</c:v>
                </c:pt>
                <c:pt idx="2404">
                  <c:v>#N/A</c:v>
                </c:pt>
                <c:pt idx="2405">
                  <c:v>#N/A</c:v>
                </c:pt>
                <c:pt idx="2406">
                  <c:v>#N/A</c:v>
                </c:pt>
                <c:pt idx="2407">
                  <c:v>#N/A</c:v>
                </c:pt>
                <c:pt idx="2408">
                  <c:v>#N/A</c:v>
                </c:pt>
                <c:pt idx="2409">
                  <c:v>#N/A</c:v>
                </c:pt>
                <c:pt idx="2410">
                  <c:v>#N/A</c:v>
                </c:pt>
                <c:pt idx="2411">
                  <c:v>#N/A</c:v>
                </c:pt>
                <c:pt idx="2412">
                  <c:v>#N/A</c:v>
                </c:pt>
                <c:pt idx="2413">
                  <c:v>#N/A</c:v>
                </c:pt>
                <c:pt idx="2414">
                  <c:v>#N/A</c:v>
                </c:pt>
                <c:pt idx="2415">
                  <c:v>#N/A</c:v>
                </c:pt>
                <c:pt idx="2416">
                  <c:v>#N/A</c:v>
                </c:pt>
                <c:pt idx="2417">
                  <c:v>#N/A</c:v>
                </c:pt>
                <c:pt idx="2418">
                  <c:v>#N/A</c:v>
                </c:pt>
                <c:pt idx="2419">
                  <c:v>#N/A</c:v>
                </c:pt>
                <c:pt idx="2420">
                  <c:v>#N/A</c:v>
                </c:pt>
                <c:pt idx="2421">
                  <c:v>#N/A</c:v>
                </c:pt>
                <c:pt idx="2422">
                  <c:v>#N/A</c:v>
                </c:pt>
                <c:pt idx="2423">
                  <c:v>#N/A</c:v>
                </c:pt>
                <c:pt idx="2424">
                  <c:v>#N/A</c:v>
                </c:pt>
                <c:pt idx="2425">
                  <c:v>#N/A</c:v>
                </c:pt>
                <c:pt idx="2426">
                  <c:v>#N/A</c:v>
                </c:pt>
                <c:pt idx="2427">
                  <c:v>#N/A</c:v>
                </c:pt>
                <c:pt idx="2428">
                  <c:v>#N/A</c:v>
                </c:pt>
                <c:pt idx="2429">
                  <c:v>#N/A</c:v>
                </c:pt>
                <c:pt idx="2430">
                  <c:v>#N/A</c:v>
                </c:pt>
                <c:pt idx="2431">
                  <c:v>#N/A</c:v>
                </c:pt>
                <c:pt idx="2432">
                  <c:v>#N/A</c:v>
                </c:pt>
                <c:pt idx="2433">
                  <c:v>#N/A</c:v>
                </c:pt>
                <c:pt idx="2434">
                  <c:v>#N/A</c:v>
                </c:pt>
                <c:pt idx="2435">
                  <c:v>#N/A</c:v>
                </c:pt>
                <c:pt idx="2436">
                  <c:v>#N/A</c:v>
                </c:pt>
                <c:pt idx="2437">
                  <c:v>#N/A</c:v>
                </c:pt>
                <c:pt idx="2438">
                  <c:v>#N/A</c:v>
                </c:pt>
                <c:pt idx="2439">
                  <c:v>#N/A</c:v>
                </c:pt>
                <c:pt idx="2440">
                  <c:v>#N/A</c:v>
                </c:pt>
                <c:pt idx="2441">
                  <c:v>#N/A</c:v>
                </c:pt>
                <c:pt idx="2442">
                  <c:v>#N/A</c:v>
                </c:pt>
                <c:pt idx="2443">
                  <c:v>#N/A</c:v>
                </c:pt>
                <c:pt idx="2444">
                  <c:v>#N/A</c:v>
                </c:pt>
                <c:pt idx="2445">
                  <c:v>#N/A</c:v>
                </c:pt>
                <c:pt idx="2446">
                  <c:v>#N/A</c:v>
                </c:pt>
                <c:pt idx="2447">
                  <c:v>#N/A</c:v>
                </c:pt>
                <c:pt idx="2448">
                  <c:v>#N/A</c:v>
                </c:pt>
                <c:pt idx="2449">
                  <c:v>#N/A</c:v>
                </c:pt>
                <c:pt idx="2450">
                  <c:v>#N/A</c:v>
                </c:pt>
                <c:pt idx="2451">
                  <c:v>#N/A</c:v>
                </c:pt>
                <c:pt idx="2452">
                  <c:v>#N/A</c:v>
                </c:pt>
                <c:pt idx="2453">
                  <c:v>#N/A</c:v>
                </c:pt>
                <c:pt idx="2454">
                  <c:v>#N/A</c:v>
                </c:pt>
                <c:pt idx="2455">
                  <c:v>#N/A</c:v>
                </c:pt>
                <c:pt idx="2456">
                  <c:v>#N/A</c:v>
                </c:pt>
                <c:pt idx="2457">
                  <c:v>#N/A</c:v>
                </c:pt>
                <c:pt idx="2458">
                  <c:v>#N/A</c:v>
                </c:pt>
                <c:pt idx="2459">
                  <c:v>#N/A</c:v>
                </c:pt>
                <c:pt idx="2460">
                  <c:v>#N/A</c:v>
                </c:pt>
                <c:pt idx="2461">
                  <c:v>#N/A</c:v>
                </c:pt>
                <c:pt idx="2462">
                  <c:v>#N/A</c:v>
                </c:pt>
                <c:pt idx="2463">
                  <c:v>#N/A</c:v>
                </c:pt>
                <c:pt idx="2464">
                  <c:v>#N/A</c:v>
                </c:pt>
                <c:pt idx="2465">
                  <c:v>#N/A</c:v>
                </c:pt>
                <c:pt idx="2466">
                  <c:v>#N/A</c:v>
                </c:pt>
                <c:pt idx="2467">
                  <c:v>#N/A</c:v>
                </c:pt>
                <c:pt idx="2468">
                  <c:v>#N/A</c:v>
                </c:pt>
                <c:pt idx="2469">
                  <c:v>#N/A</c:v>
                </c:pt>
                <c:pt idx="2470">
                  <c:v>#N/A</c:v>
                </c:pt>
                <c:pt idx="2471">
                  <c:v>#N/A</c:v>
                </c:pt>
                <c:pt idx="2472">
                  <c:v>#N/A</c:v>
                </c:pt>
                <c:pt idx="2473">
                  <c:v>#N/A</c:v>
                </c:pt>
                <c:pt idx="2474">
                  <c:v>#N/A</c:v>
                </c:pt>
                <c:pt idx="2475">
                  <c:v>#N/A</c:v>
                </c:pt>
                <c:pt idx="2476">
                  <c:v>#N/A</c:v>
                </c:pt>
                <c:pt idx="2477">
                  <c:v>#N/A</c:v>
                </c:pt>
                <c:pt idx="2478">
                  <c:v>#N/A</c:v>
                </c:pt>
                <c:pt idx="2479">
                  <c:v>#N/A</c:v>
                </c:pt>
                <c:pt idx="2480">
                  <c:v>#N/A</c:v>
                </c:pt>
                <c:pt idx="2481">
                  <c:v>#N/A</c:v>
                </c:pt>
                <c:pt idx="2482">
                  <c:v>#N/A</c:v>
                </c:pt>
                <c:pt idx="2483">
                  <c:v>#N/A</c:v>
                </c:pt>
                <c:pt idx="2484">
                  <c:v>#N/A</c:v>
                </c:pt>
                <c:pt idx="2485">
                  <c:v>#N/A</c:v>
                </c:pt>
                <c:pt idx="2486">
                  <c:v>#N/A</c:v>
                </c:pt>
                <c:pt idx="2487">
                  <c:v>#N/A</c:v>
                </c:pt>
                <c:pt idx="2488">
                  <c:v>#N/A</c:v>
                </c:pt>
                <c:pt idx="2489">
                  <c:v>#N/A</c:v>
                </c:pt>
                <c:pt idx="2490">
                  <c:v>#N/A</c:v>
                </c:pt>
                <c:pt idx="2491">
                  <c:v>#N/A</c:v>
                </c:pt>
                <c:pt idx="2492">
                  <c:v>#N/A</c:v>
                </c:pt>
                <c:pt idx="2493">
                  <c:v>#N/A</c:v>
                </c:pt>
                <c:pt idx="2494">
                  <c:v>#N/A</c:v>
                </c:pt>
                <c:pt idx="2495">
                  <c:v>#N/A</c:v>
                </c:pt>
                <c:pt idx="2496">
                  <c:v>#N/A</c:v>
                </c:pt>
                <c:pt idx="2497">
                  <c:v>#N/A</c:v>
                </c:pt>
                <c:pt idx="2498">
                  <c:v>#N/A</c:v>
                </c:pt>
                <c:pt idx="2499">
                  <c:v>#N/A</c:v>
                </c:pt>
                <c:pt idx="2500">
                  <c:v>#N/A</c:v>
                </c:pt>
                <c:pt idx="2501">
                  <c:v>#N/A</c:v>
                </c:pt>
                <c:pt idx="2502">
                  <c:v>#N/A</c:v>
                </c:pt>
                <c:pt idx="2503">
                  <c:v>#N/A</c:v>
                </c:pt>
                <c:pt idx="2504">
                  <c:v>#N/A</c:v>
                </c:pt>
                <c:pt idx="2505">
                  <c:v>#N/A</c:v>
                </c:pt>
                <c:pt idx="2506">
                  <c:v>#N/A</c:v>
                </c:pt>
                <c:pt idx="2507">
                  <c:v>#N/A</c:v>
                </c:pt>
                <c:pt idx="2508">
                  <c:v>#N/A</c:v>
                </c:pt>
                <c:pt idx="2509">
                  <c:v>#N/A</c:v>
                </c:pt>
                <c:pt idx="2510">
                  <c:v>#N/A</c:v>
                </c:pt>
                <c:pt idx="2511">
                  <c:v>#N/A</c:v>
                </c:pt>
                <c:pt idx="2512">
                  <c:v>#N/A</c:v>
                </c:pt>
                <c:pt idx="2513">
                  <c:v>#N/A</c:v>
                </c:pt>
                <c:pt idx="2514">
                  <c:v>#N/A</c:v>
                </c:pt>
                <c:pt idx="2515">
                  <c:v>#N/A</c:v>
                </c:pt>
                <c:pt idx="2516">
                  <c:v>#N/A</c:v>
                </c:pt>
                <c:pt idx="2517">
                  <c:v>#N/A</c:v>
                </c:pt>
                <c:pt idx="2518">
                  <c:v>#N/A</c:v>
                </c:pt>
                <c:pt idx="2519">
                  <c:v>#N/A</c:v>
                </c:pt>
                <c:pt idx="2520">
                  <c:v>#N/A</c:v>
                </c:pt>
                <c:pt idx="2521">
                  <c:v>#N/A</c:v>
                </c:pt>
                <c:pt idx="2522">
                  <c:v>#N/A</c:v>
                </c:pt>
                <c:pt idx="2523">
                  <c:v>#N/A</c:v>
                </c:pt>
                <c:pt idx="2524">
                  <c:v>#N/A</c:v>
                </c:pt>
                <c:pt idx="2525">
                  <c:v>#N/A</c:v>
                </c:pt>
                <c:pt idx="2526">
                  <c:v>#N/A</c:v>
                </c:pt>
                <c:pt idx="2527">
                  <c:v>#N/A</c:v>
                </c:pt>
                <c:pt idx="2528">
                  <c:v>#N/A</c:v>
                </c:pt>
                <c:pt idx="2529">
                  <c:v>#N/A</c:v>
                </c:pt>
                <c:pt idx="2530">
                  <c:v>#N/A</c:v>
                </c:pt>
                <c:pt idx="2531">
                  <c:v>#N/A</c:v>
                </c:pt>
                <c:pt idx="2532">
                  <c:v>#N/A</c:v>
                </c:pt>
                <c:pt idx="2533">
                  <c:v>#N/A</c:v>
                </c:pt>
                <c:pt idx="2534">
                  <c:v>#N/A</c:v>
                </c:pt>
                <c:pt idx="2535">
                  <c:v>#N/A</c:v>
                </c:pt>
                <c:pt idx="2536">
                  <c:v>#N/A</c:v>
                </c:pt>
                <c:pt idx="2537">
                  <c:v>#N/A</c:v>
                </c:pt>
                <c:pt idx="2538">
                  <c:v>#N/A</c:v>
                </c:pt>
                <c:pt idx="2539">
                  <c:v>#N/A</c:v>
                </c:pt>
                <c:pt idx="2540">
                  <c:v>#N/A</c:v>
                </c:pt>
                <c:pt idx="2541">
                  <c:v>#N/A</c:v>
                </c:pt>
                <c:pt idx="2542">
                  <c:v>#N/A</c:v>
                </c:pt>
                <c:pt idx="2543">
                  <c:v>#N/A</c:v>
                </c:pt>
                <c:pt idx="2544">
                  <c:v>#N/A</c:v>
                </c:pt>
                <c:pt idx="2545">
                  <c:v>#N/A</c:v>
                </c:pt>
                <c:pt idx="2546">
                  <c:v>#N/A</c:v>
                </c:pt>
                <c:pt idx="2547">
                  <c:v>#N/A</c:v>
                </c:pt>
                <c:pt idx="2548">
                  <c:v>#N/A</c:v>
                </c:pt>
                <c:pt idx="2549">
                  <c:v>#N/A</c:v>
                </c:pt>
                <c:pt idx="2550">
                  <c:v>#N/A</c:v>
                </c:pt>
                <c:pt idx="2551">
                  <c:v>#N/A</c:v>
                </c:pt>
                <c:pt idx="2552">
                  <c:v>#N/A</c:v>
                </c:pt>
                <c:pt idx="2553">
                  <c:v>#N/A</c:v>
                </c:pt>
                <c:pt idx="2554">
                  <c:v>#N/A</c:v>
                </c:pt>
                <c:pt idx="2555">
                  <c:v>#N/A</c:v>
                </c:pt>
                <c:pt idx="2556">
                  <c:v>#N/A</c:v>
                </c:pt>
                <c:pt idx="2557">
                  <c:v>#N/A</c:v>
                </c:pt>
                <c:pt idx="2558">
                  <c:v>#N/A</c:v>
                </c:pt>
                <c:pt idx="2559">
                  <c:v>#N/A</c:v>
                </c:pt>
                <c:pt idx="2560">
                  <c:v>#N/A</c:v>
                </c:pt>
                <c:pt idx="2561">
                  <c:v>#N/A</c:v>
                </c:pt>
                <c:pt idx="2562">
                  <c:v>#N/A</c:v>
                </c:pt>
                <c:pt idx="2563">
                  <c:v>#N/A</c:v>
                </c:pt>
                <c:pt idx="2564">
                  <c:v>#N/A</c:v>
                </c:pt>
                <c:pt idx="2565">
                  <c:v>#N/A</c:v>
                </c:pt>
                <c:pt idx="2566">
                  <c:v>#N/A</c:v>
                </c:pt>
                <c:pt idx="2567">
                  <c:v>#N/A</c:v>
                </c:pt>
                <c:pt idx="2568">
                  <c:v>#N/A</c:v>
                </c:pt>
                <c:pt idx="2569">
                  <c:v>#N/A</c:v>
                </c:pt>
                <c:pt idx="2570">
                  <c:v>#N/A</c:v>
                </c:pt>
                <c:pt idx="2571">
                  <c:v>#N/A</c:v>
                </c:pt>
                <c:pt idx="2572">
                  <c:v>#N/A</c:v>
                </c:pt>
                <c:pt idx="2573">
                  <c:v>#N/A</c:v>
                </c:pt>
                <c:pt idx="2574">
                  <c:v>#N/A</c:v>
                </c:pt>
                <c:pt idx="2575">
                  <c:v>#N/A</c:v>
                </c:pt>
                <c:pt idx="2576">
                  <c:v>#N/A</c:v>
                </c:pt>
                <c:pt idx="2577">
                  <c:v>#N/A</c:v>
                </c:pt>
                <c:pt idx="2578">
                  <c:v>#N/A</c:v>
                </c:pt>
                <c:pt idx="2579">
                  <c:v>#N/A</c:v>
                </c:pt>
                <c:pt idx="2580">
                  <c:v>#N/A</c:v>
                </c:pt>
                <c:pt idx="2581">
                  <c:v>#N/A</c:v>
                </c:pt>
                <c:pt idx="2582">
                  <c:v>#N/A</c:v>
                </c:pt>
                <c:pt idx="2583">
                  <c:v>#N/A</c:v>
                </c:pt>
                <c:pt idx="2584">
                  <c:v>#N/A</c:v>
                </c:pt>
                <c:pt idx="2585">
                  <c:v>#N/A</c:v>
                </c:pt>
                <c:pt idx="2586">
                  <c:v>#N/A</c:v>
                </c:pt>
                <c:pt idx="2587">
                  <c:v>#N/A</c:v>
                </c:pt>
                <c:pt idx="2588">
                  <c:v>#N/A</c:v>
                </c:pt>
                <c:pt idx="2589">
                  <c:v>#N/A</c:v>
                </c:pt>
                <c:pt idx="2590">
                  <c:v>#N/A</c:v>
                </c:pt>
                <c:pt idx="2591">
                  <c:v>#N/A</c:v>
                </c:pt>
                <c:pt idx="2592">
                  <c:v>#N/A</c:v>
                </c:pt>
                <c:pt idx="2593">
                  <c:v>#N/A</c:v>
                </c:pt>
                <c:pt idx="2594">
                  <c:v>#N/A</c:v>
                </c:pt>
                <c:pt idx="2595">
                  <c:v>#N/A</c:v>
                </c:pt>
                <c:pt idx="2596">
                  <c:v>#N/A</c:v>
                </c:pt>
                <c:pt idx="2597">
                  <c:v>#N/A</c:v>
                </c:pt>
                <c:pt idx="2598">
                  <c:v>#N/A</c:v>
                </c:pt>
                <c:pt idx="2599">
                  <c:v>#N/A</c:v>
                </c:pt>
                <c:pt idx="2600">
                  <c:v>#N/A</c:v>
                </c:pt>
                <c:pt idx="2601">
                  <c:v>#N/A</c:v>
                </c:pt>
                <c:pt idx="2602">
                  <c:v>#N/A</c:v>
                </c:pt>
                <c:pt idx="2603">
                  <c:v>#N/A</c:v>
                </c:pt>
                <c:pt idx="2604">
                  <c:v>#N/A</c:v>
                </c:pt>
                <c:pt idx="2605">
                  <c:v>#N/A</c:v>
                </c:pt>
                <c:pt idx="2606">
                  <c:v>#N/A</c:v>
                </c:pt>
                <c:pt idx="2607">
                  <c:v>#N/A</c:v>
                </c:pt>
                <c:pt idx="2608">
                  <c:v>#N/A</c:v>
                </c:pt>
                <c:pt idx="2609">
                  <c:v>#N/A</c:v>
                </c:pt>
                <c:pt idx="2610">
                  <c:v>#N/A</c:v>
                </c:pt>
                <c:pt idx="2611">
                  <c:v>#N/A</c:v>
                </c:pt>
                <c:pt idx="2612">
                  <c:v>#N/A</c:v>
                </c:pt>
                <c:pt idx="2613">
                  <c:v>#N/A</c:v>
                </c:pt>
                <c:pt idx="2614">
                  <c:v>#N/A</c:v>
                </c:pt>
                <c:pt idx="2615">
                  <c:v>#N/A</c:v>
                </c:pt>
                <c:pt idx="2616">
                  <c:v>#N/A</c:v>
                </c:pt>
                <c:pt idx="2617">
                  <c:v>#N/A</c:v>
                </c:pt>
                <c:pt idx="2618">
                  <c:v>#N/A</c:v>
                </c:pt>
                <c:pt idx="2619">
                  <c:v>#N/A</c:v>
                </c:pt>
                <c:pt idx="2620">
                  <c:v>#N/A</c:v>
                </c:pt>
                <c:pt idx="2621">
                  <c:v>#N/A</c:v>
                </c:pt>
                <c:pt idx="2622">
                  <c:v>#N/A</c:v>
                </c:pt>
                <c:pt idx="2623">
                  <c:v>#N/A</c:v>
                </c:pt>
                <c:pt idx="2624">
                  <c:v>#N/A</c:v>
                </c:pt>
                <c:pt idx="2625">
                  <c:v>#N/A</c:v>
                </c:pt>
                <c:pt idx="2626">
                  <c:v>#N/A</c:v>
                </c:pt>
                <c:pt idx="2627">
                  <c:v>#N/A</c:v>
                </c:pt>
                <c:pt idx="2628">
                  <c:v>#N/A</c:v>
                </c:pt>
                <c:pt idx="2629">
                  <c:v>#N/A</c:v>
                </c:pt>
                <c:pt idx="2630">
                  <c:v>#N/A</c:v>
                </c:pt>
                <c:pt idx="2631">
                  <c:v>#N/A</c:v>
                </c:pt>
                <c:pt idx="2632">
                  <c:v>#N/A</c:v>
                </c:pt>
                <c:pt idx="2633">
                  <c:v>#N/A</c:v>
                </c:pt>
                <c:pt idx="2634">
                  <c:v>#N/A</c:v>
                </c:pt>
                <c:pt idx="2635">
                  <c:v>#N/A</c:v>
                </c:pt>
                <c:pt idx="2636">
                  <c:v>#N/A</c:v>
                </c:pt>
                <c:pt idx="2637">
                  <c:v>#N/A</c:v>
                </c:pt>
                <c:pt idx="2638">
                  <c:v>#N/A</c:v>
                </c:pt>
                <c:pt idx="2639">
                  <c:v>#N/A</c:v>
                </c:pt>
                <c:pt idx="2640">
                  <c:v>#N/A</c:v>
                </c:pt>
                <c:pt idx="2641">
                  <c:v>#N/A</c:v>
                </c:pt>
                <c:pt idx="2642">
                  <c:v>#N/A</c:v>
                </c:pt>
                <c:pt idx="2643">
                  <c:v>#N/A</c:v>
                </c:pt>
                <c:pt idx="2644">
                  <c:v>#N/A</c:v>
                </c:pt>
                <c:pt idx="2645">
                  <c:v>#N/A</c:v>
                </c:pt>
                <c:pt idx="2646">
                  <c:v>#N/A</c:v>
                </c:pt>
                <c:pt idx="2647">
                  <c:v>#N/A</c:v>
                </c:pt>
                <c:pt idx="2648">
                  <c:v>#N/A</c:v>
                </c:pt>
                <c:pt idx="2649">
                  <c:v>#N/A</c:v>
                </c:pt>
                <c:pt idx="2650">
                  <c:v>#N/A</c:v>
                </c:pt>
                <c:pt idx="2651">
                  <c:v>#N/A</c:v>
                </c:pt>
                <c:pt idx="2652">
                  <c:v>#N/A</c:v>
                </c:pt>
                <c:pt idx="2653">
                  <c:v>#N/A</c:v>
                </c:pt>
                <c:pt idx="2654">
                  <c:v>#N/A</c:v>
                </c:pt>
                <c:pt idx="2655">
                  <c:v>#N/A</c:v>
                </c:pt>
                <c:pt idx="2656">
                  <c:v>#N/A</c:v>
                </c:pt>
                <c:pt idx="2657">
                  <c:v>#N/A</c:v>
                </c:pt>
                <c:pt idx="2658">
                  <c:v>#N/A</c:v>
                </c:pt>
                <c:pt idx="2659">
                  <c:v>#N/A</c:v>
                </c:pt>
                <c:pt idx="2660">
                  <c:v>#N/A</c:v>
                </c:pt>
                <c:pt idx="2661">
                  <c:v>#N/A</c:v>
                </c:pt>
                <c:pt idx="2662">
                  <c:v>#N/A</c:v>
                </c:pt>
                <c:pt idx="2663">
                  <c:v>#N/A</c:v>
                </c:pt>
                <c:pt idx="2664">
                  <c:v>#N/A</c:v>
                </c:pt>
                <c:pt idx="2665">
                  <c:v>#N/A</c:v>
                </c:pt>
                <c:pt idx="2666">
                  <c:v>#N/A</c:v>
                </c:pt>
                <c:pt idx="2667">
                  <c:v>#N/A</c:v>
                </c:pt>
                <c:pt idx="2668">
                  <c:v>#N/A</c:v>
                </c:pt>
                <c:pt idx="2669">
                  <c:v>#N/A</c:v>
                </c:pt>
                <c:pt idx="2670">
                  <c:v>#N/A</c:v>
                </c:pt>
                <c:pt idx="2671">
                  <c:v>#N/A</c:v>
                </c:pt>
                <c:pt idx="2672">
                  <c:v>#N/A</c:v>
                </c:pt>
                <c:pt idx="2673">
                  <c:v>#N/A</c:v>
                </c:pt>
                <c:pt idx="2674">
                  <c:v>#N/A</c:v>
                </c:pt>
                <c:pt idx="2675">
                  <c:v>#N/A</c:v>
                </c:pt>
                <c:pt idx="2676">
                  <c:v>#N/A</c:v>
                </c:pt>
                <c:pt idx="2677">
                  <c:v>#N/A</c:v>
                </c:pt>
                <c:pt idx="2678">
                  <c:v>#N/A</c:v>
                </c:pt>
                <c:pt idx="2679">
                  <c:v>#N/A</c:v>
                </c:pt>
                <c:pt idx="2680">
                  <c:v>#N/A</c:v>
                </c:pt>
                <c:pt idx="2681">
                  <c:v>#N/A</c:v>
                </c:pt>
                <c:pt idx="2682">
                  <c:v>#N/A</c:v>
                </c:pt>
                <c:pt idx="2683">
                  <c:v>#N/A</c:v>
                </c:pt>
                <c:pt idx="2684">
                  <c:v>#N/A</c:v>
                </c:pt>
                <c:pt idx="2685">
                  <c:v>#N/A</c:v>
                </c:pt>
                <c:pt idx="2686">
                  <c:v>#N/A</c:v>
                </c:pt>
                <c:pt idx="2687">
                  <c:v>#N/A</c:v>
                </c:pt>
                <c:pt idx="2688">
                  <c:v>#N/A</c:v>
                </c:pt>
                <c:pt idx="2689">
                  <c:v>#N/A</c:v>
                </c:pt>
                <c:pt idx="2690">
                  <c:v>#N/A</c:v>
                </c:pt>
                <c:pt idx="2691">
                  <c:v>#N/A</c:v>
                </c:pt>
                <c:pt idx="2692">
                  <c:v>#N/A</c:v>
                </c:pt>
                <c:pt idx="2693">
                  <c:v>#N/A</c:v>
                </c:pt>
                <c:pt idx="2694">
                  <c:v>#N/A</c:v>
                </c:pt>
                <c:pt idx="2695">
                  <c:v>#N/A</c:v>
                </c:pt>
                <c:pt idx="2696">
                  <c:v>#N/A</c:v>
                </c:pt>
                <c:pt idx="2697">
                  <c:v>#N/A</c:v>
                </c:pt>
                <c:pt idx="2698">
                  <c:v>#N/A</c:v>
                </c:pt>
                <c:pt idx="2699">
                  <c:v>#N/A</c:v>
                </c:pt>
                <c:pt idx="2700">
                  <c:v>#N/A</c:v>
                </c:pt>
                <c:pt idx="2701">
                  <c:v>#N/A</c:v>
                </c:pt>
                <c:pt idx="2702">
                  <c:v>#N/A</c:v>
                </c:pt>
                <c:pt idx="2703">
                  <c:v>#N/A</c:v>
                </c:pt>
                <c:pt idx="2704">
                  <c:v>#N/A</c:v>
                </c:pt>
                <c:pt idx="2705">
                  <c:v>#N/A</c:v>
                </c:pt>
                <c:pt idx="2706">
                  <c:v>#N/A</c:v>
                </c:pt>
                <c:pt idx="2707">
                  <c:v>#N/A</c:v>
                </c:pt>
                <c:pt idx="2708">
                  <c:v>#N/A</c:v>
                </c:pt>
                <c:pt idx="2709">
                  <c:v>#N/A</c:v>
                </c:pt>
                <c:pt idx="2710">
                  <c:v>#N/A</c:v>
                </c:pt>
                <c:pt idx="2711">
                  <c:v>#N/A</c:v>
                </c:pt>
                <c:pt idx="2712">
                  <c:v>#N/A</c:v>
                </c:pt>
                <c:pt idx="2713">
                  <c:v>#N/A</c:v>
                </c:pt>
                <c:pt idx="2714">
                  <c:v>#N/A</c:v>
                </c:pt>
                <c:pt idx="2715">
                  <c:v>#N/A</c:v>
                </c:pt>
                <c:pt idx="2716">
                  <c:v>#N/A</c:v>
                </c:pt>
                <c:pt idx="2717">
                  <c:v>#N/A</c:v>
                </c:pt>
                <c:pt idx="2718">
                  <c:v>#N/A</c:v>
                </c:pt>
                <c:pt idx="2719">
                  <c:v>#N/A</c:v>
                </c:pt>
                <c:pt idx="2720">
                  <c:v>#N/A</c:v>
                </c:pt>
                <c:pt idx="2721">
                  <c:v>#N/A</c:v>
                </c:pt>
                <c:pt idx="2722">
                  <c:v>#N/A</c:v>
                </c:pt>
                <c:pt idx="2723">
                  <c:v>#N/A</c:v>
                </c:pt>
                <c:pt idx="2724">
                  <c:v>#N/A</c:v>
                </c:pt>
                <c:pt idx="2725">
                  <c:v>#N/A</c:v>
                </c:pt>
                <c:pt idx="2726">
                  <c:v>#N/A</c:v>
                </c:pt>
                <c:pt idx="2727">
                  <c:v>#N/A</c:v>
                </c:pt>
                <c:pt idx="2728">
                  <c:v>#N/A</c:v>
                </c:pt>
                <c:pt idx="2729">
                  <c:v>#N/A</c:v>
                </c:pt>
                <c:pt idx="2730">
                  <c:v>#N/A</c:v>
                </c:pt>
                <c:pt idx="2731">
                  <c:v>#N/A</c:v>
                </c:pt>
                <c:pt idx="2732">
                  <c:v>#N/A</c:v>
                </c:pt>
                <c:pt idx="2733">
                  <c:v>#N/A</c:v>
                </c:pt>
                <c:pt idx="2734">
                  <c:v>#N/A</c:v>
                </c:pt>
                <c:pt idx="2735">
                  <c:v>#N/A</c:v>
                </c:pt>
                <c:pt idx="2736">
                  <c:v>#N/A</c:v>
                </c:pt>
                <c:pt idx="2737">
                  <c:v>#N/A</c:v>
                </c:pt>
                <c:pt idx="2738">
                  <c:v>#N/A</c:v>
                </c:pt>
                <c:pt idx="2739">
                  <c:v>#N/A</c:v>
                </c:pt>
                <c:pt idx="2740">
                  <c:v>#N/A</c:v>
                </c:pt>
                <c:pt idx="2741">
                  <c:v>#N/A</c:v>
                </c:pt>
                <c:pt idx="2742">
                  <c:v>#N/A</c:v>
                </c:pt>
                <c:pt idx="2743">
                  <c:v>#N/A</c:v>
                </c:pt>
                <c:pt idx="2744">
                  <c:v>#N/A</c:v>
                </c:pt>
                <c:pt idx="2745">
                  <c:v>#N/A</c:v>
                </c:pt>
                <c:pt idx="2746">
                  <c:v>#N/A</c:v>
                </c:pt>
                <c:pt idx="2747">
                  <c:v>#N/A</c:v>
                </c:pt>
                <c:pt idx="2748">
                  <c:v>#N/A</c:v>
                </c:pt>
                <c:pt idx="2749">
                  <c:v>#N/A</c:v>
                </c:pt>
                <c:pt idx="2750">
                  <c:v>#N/A</c:v>
                </c:pt>
                <c:pt idx="2751">
                  <c:v>#N/A</c:v>
                </c:pt>
                <c:pt idx="2752">
                  <c:v>#N/A</c:v>
                </c:pt>
                <c:pt idx="2753">
                  <c:v>#N/A</c:v>
                </c:pt>
                <c:pt idx="2754">
                  <c:v>#N/A</c:v>
                </c:pt>
                <c:pt idx="2755">
                  <c:v>#N/A</c:v>
                </c:pt>
                <c:pt idx="2756">
                  <c:v>#N/A</c:v>
                </c:pt>
                <c:pt idx="2757">
                  <c:v>#N/A</c:v>
                </c:pt>
                <c:pt idx="2758">
                  <c:v>#N/A</c:v>
                </c:pt>
                <c:pt idx="2759">
                  <c:v>#N/A</c:v>
                </c:pt>
                <c:pt idx="2760">
                  <c:v>#N/A</c:v>
                </c:pt>
                <c:pt idx="2761">
                  <c:v>#N/A</c:v>
                </c:pt>
                <c:pt idx="2762">
                  <c:v>#N/A</c:v>
                </c:pt>
                <c:pt idx="2763">
                  <c:v>#N/A</c:v>
                </c:pt>
                <c:pt idx="2764">
                  <c:v>#N/A</c:v>
                </c:pt>
                <c:pt idx="2765">
                  <c:v>#N/A</c:v>
                </c:pt>
                <c:pt idx="2766">
                  <c:v>#N/A</c:v>
                </c:pt>
                <c:pt idx="2767">
                  <c:v>#N/A</c:v>
                </c:pt>
                <c:pt idx="2768">
                  <c:v>#N/A</c:v>
                </c:pt>
                <c:pt idx="2769">
                  <c:v>#N/A</c:v>
                </c:pt>
                <c:pt idx="2770">
                  <c:v>#N/A</c:v>
                </c:pt>
                <c:pt idx="2771">
                  <c:v>#N/A</c:v>
                </c:pt>
                <c:pt idx="2772">
                  <c:v>#N/A</c:v>
                </c:pt>
                <c:pt idx="2773">
                  <c:v>#N/A</c:v>
                </c:pt>
                <c:pt idx="2774">
                  <c:v>#N/A</c:v>
                </c:pt>
                <c:pt idx="2775">
                  <c:v>#N/A</c:v>
                </c:pt>
                <c:pt idx="2776">
                  <c:v>#N/A</c:v>
                </c:pt>
                <c:pt idx="2777">
                  <c:v>#N/A</c:v>
                </c:pt>
                <c:pt idx="2778">
                  <c:v>#N/A</c:v>
                </c:pt>
                <c:pt idx="2779">
                  <c:v>#N/A</c:v>
                </c:pt>
                <c:pt idx="2780">
                  <c:v>#N/A</c:v>
                </c:pt>
                <c:pt idx="2781">
                  <c:v>#N/A</c:v>
                </c:pt>
                <c:pt idx="2782">
                  <c:v>#N/A</c:v>
                </c:pt>
                <c:pt idx="2783">
                  <c:v>#N/A</c:v>
                </c:pt>
                <c:pt idx="2784">
                  <c:v>#N/A</c:v>
                </c:pt>
                <c:pt idx="2785">
                  <c:v>#N/A</c:v>
                </c:pt>
                <c:pt idx="2786">
                  <c:v>#N/A</c:v>
                </c:pt>
                <c:pt idx="2787">
                  <c:v>#N/A</c:v>
                </c:pt>
                <c:pt idx="2788">
                  <c:v>#N/A</c:v>
                </c:pt>
                <c:pt idx="2789">
                  <c:v>#N/A</c:v>
                </c:pt>
                <c:pt idx="2790">
                  <c:v>#N/A</c:v>
                </c:pt>
                <c:pt idx="2791">
                  <c:v>#N/A</c:v>
                </c:pt>
                <c:pt idx="2792">
                  <c:v>#N/A</c:v>
                </c:pt>
                <c:pt idx="2793">
                  <c:v>#N/A</c:v>
                </c:pt>
                <c:pt idx="2794">
                  <c:v>#N/A</c:v>
                </c:pt>
                <c:pt idx="2795">
                  <c:v>#N/A</c:v>
                </c:pt>
                <c:pt idx="2796">
                  <c:v>#N/A</c:v>
                </c:pt>
                <c:pt idx="2797">
                  <c:v>#N/A</c:v>
                </c:pt>
                <c:pt idx="2798">
                  <c:v>#N/A</c:v>
                </c:pt>
                <c:pt idx="2799">
                  <c:v>#N/A</c:v>
                </c:pt>
                <c:pt idx="2800">
                  <c:v>#N/A</c:v>
                </c:pt>
                <c:pt idx="2801">
                  <c:v>#N/A</c:v>
                </c:pt>
                <c:pt idx="2802">
                  <c:v>#N/A</c:v>
                </c:pt>
                <c:pt idx="2803">
                  <c:v>#N/A</c:v>
                </c:pt>
                <c:pt idx="2804">
                  <c:v>#N/A</c:v>
                </c:pt>
                <c:pt idx="2805">
                  <c:v>#N/A</c:v>
                </c:pt>
                <c:pt idx="2806">
                  <c:v>#N/A</c:v>
                </c:pt>
                <c:pt idx="2807">
                  <c:v>#N/A</c:v>
                </c:pt>
                <c:pt idx="2808">
                  <c:v>#N/A</c:v>
                </c:pt>
                <c:pt idx="2809">
                  <c:v>#N/A</c:v>
                </c:pt>
                <c:pt idx="2810">
                  <c:v>#N/A</c:v>
                </c:pt>
                <c:pt idx="2811">
                  <c:v>#N/A</c:v>
                </c:pt>
                <c:pt idx="2812">
                  <c:v>#N/A</c:v>
                </c:pt>
                <c:pt idx="2813">
                  <c:v>#N/A</c:v>
                </c:pt>
                <c:pt idx="2814">
                  <c:v>#N/A</c:v>
                </c:pt>
                <c:pt idx="2815">
                  <c:v>#N/A</c:v>
                </c:pt>
                <c:pt idx="2816">
                  <c:v>#N/A</c:v>
                </c:pt>
                <c:pt idx="2817">
                  <c:v>#N/A</c:v>
                </c:pt>
                <c:pt idx="2818">
                  <c:v>#N/A</c:v>
                </c:pt>
                <c:pt idx="2819">
                  <c:v>#N/A</c:v>
                </c:pt>
                <c:pt idx="2820">
                  <c:v>#N/A</c:v>
                </c:pt>
                <c:pt idx="2821">
                  <c:v>#N/A</c:v>
                </c:pt>
                <c:pt idx="2822">
                  <c:v>#N/A</c:v>
                </c:pt>
                <c:pt idx="2823">
                  <c:v>#N/A</c:v>
                </c:pt>
                <c:pt idx="2824">
                  <c:v>#N/A</c:v>
                </c:pt>
                <c:pt idx="2825">
                  <c:v>#N/A</c:v>
                </c:pt>
                <c:pt idx="2826">
                  <c:v>#N/A</c:v>
                </c:pt>
                <c:pt idx="2827">
                  <c:v>#N/A</c:v>
                </c:pt>
                <c:pt idx="2828">
                  <c:v>#N/A</c:v>
                </c:pt>
                <c:pt idx="2829">
                  <c:v>#N/A</c:v>
                </c:pt>
                <c:pt idx="2830">
                  <c:v>#N/A</c:v>
                </c:pt>
                <c:pt idx="2831">
                  <c:v>#N/A</c:v>
                </c:pt>
                <c:pt idx="2832">
                  <c:v>#N/A</c:v>
                </c:pt>
                <c:pt idx="2833">
                  <c:v>#N/A</c:v>
                </c:pt>
                <c:pt idx="2834">
                  <c:v>#N/A</c:v>
                </c:pt>
                <c:pt idx="2835">
                  <c:v>#N/A</c:v>
                </c:pt>
                <c:pt idx="2836">
                  <c:v>#N/A</c:v>
                </c:pt>
                <c:pt idx="2837">
                  <c:v>#N/A</c:v>
                </c:pt>
                <c:pt idx="2838">
                  <c:v>#N/A</c:v>
                </c:pt>
                <c:pt idx="2839">
                  <c:v>#N/A</c:v>
                </c:pt>
                <c:pt idx="2840">
                  <c:v>#N/A</c:v>
                </c:pt>
                <c:pt idx="2841">
                  <c:v>#N/A</c:v>
                </c:pt>
                <c:pt idx="2842">
                  <c:v>#N/A</c:v>
                </c:pt>
                <c:pt idx="2843">
                  <c:v>#N/A</c:v>
                </c:pt>
                <c:pt idx="2844">
                  <c:v>#N/A</c:v>
                </c:pt>
                <c:pt idx="2845">
                  <c:v>#N/A</c:v>
                </c:pt>
                <c:pt idx="2846">
                  <c:v>#N/A</c:v>
                </c:pt>
                <c:pt idx="2847">
                  <c:v>#N/A</c:v>
                </c:pt>
                <c:pt idx="2848">
                  <c:v>#N/A</c:v>
                </c:pt>
                <c:pt idx="2849">
                  <c:v>#N/A</c:v>
                </c:pt>
                <c:pt idx="2850">
                  <c:v>#N/A</c:v>
                </c:pt>
                <c:pt idx="2851">
                  <c:v>#N/A</c:v>
                </c:pt>
                <c:pt idx="2852">
                  <c:v>#N/A</c:v>
                </c:pt>
                <c:pt idx="2853">
                  <c:v>#N/A</c:v>
                </c:pt>
                <c:pt idx="2854">
                  <c:v>#N/A</c:v>
                </c:pt>
                <c:pt idx="2855">
                  <c:v>#N/A</c:v>
                </c:pt>
                <c:pt idx="2856">
                  <c:v>#N/A</c:v>
                </c:pt>
                <c:pt idx="2857">
                  <c:v>#N/A</c:v>
                </c:pt>
                <c:pt idx="2858">
                  <c:v>#N/A</c:v>
                </c:pt>
                <c:pt idx="2859">
                  <c:v>#N/A</c:v>
                </c:pt>
                <c:pt idx="2860">
                  <c:v>#N/A</c:v>
                </c:pt>
                <c:pt idx="2861">
                  <c:v>#N/A</c:v>
                </c:pt>
                <c:pt idx="2862">
                  <c:v>#N/A</c:v>
                </c:pt>
                <c:pt idx="2863">
                  <c:v>#N/A</c:v>
                </c:pt>
                <c:pt idx="2864">
                  <c:v>#N/A</c:v>
                </c:pt>
                <c:pt idx="2865">
                  <c:v>#N/A</c:v>
                </c:pt>
                <c:pt idx="2866">
                  <c:v>#N/A</c:v>
                </c:pt>
                <c:pt idx="2867">
                  <c:v>#N/A</c:v>
                </c:pt>
                <c:pt idx="2868">
                  <c:v>#N/A</c:v>
                </c:pt>
                <c:pt idx="2869">
                  <c:v>#N/A</c:v>
                </c:pt>
                <c:pt idx="2870">
                  <c:v>#N/A</c:v>
                </c:pt>
                <c:pt idx="2871">
                  <c:v>#N/A</c:v>
                </c:pt>
                <c:pt idx="2872">
                  <c:v>#N/A</c:v>
                </c:pt>
                <c:pt idx="2873">
                  <c:v>#N/A</c:v>
                </c:pt>
                <c:pt idx="2874">
                  <c:v>#N/A</c:v>
                </c:pt>
                <c:pt idx="2875">
                  <c:v>#N/A</c:v>
                </c:pt>
                <c:pt idx="2876">
                  <c:v>#N/A</c:v>
                </c:pt>
                <c:pt idx="2877">
                  <c:v>#N/A</c:v>
                </c:pt>
                <c:pt idx="2878">
                  <c:v>#N/A</c:v>
                </c:pt>
                <c:pt idx="2879">
                  <c:v>#N/A</c:v>
                </c:pt>
                <c:pt idx="2880">
                  <c:v>#N/A</c:v>
                </c:pt>
                <c:pt idx="2881">
                  <c:v>#N/A</c:v>
                </c:pt>
                <c:pt idx="2882">
                  <c:v>#N/A</c:v>
                </c:pt>
                <c:pt idx="2883">
                  <c:v>#N/A</c:v>
                </c:pt>
                <c:pt idx="2884">
                  <c:v>#N/A</c:v>
                </c:pt>
                <c:pt idx="2885">
                  <c:v>#N/A</c:v>
                </c:pt>
                <c:pt idx="2886">
                  <c:v>#N/A</c:v>
                </c:pt>
                <c:pt idx="2887">
                  <c:v>#N/A</c:v>
                </c:pt>
                <c:pt idx="2888">
                  <c:v>#N/A</c:v>
                </c:pt>
                <c:pt idx="2889">
                  <c:v>#N/A</c:v>
                </c:pt>
                <c:pt idx="2890">
                  <c:v>#N/A</c:v>
                </c:pt>
                <c:pt idx="2891">
                  <c:v>#N/A</c:v>
                </c:pt>
                <c:pt idx="2892">
                  <c:v>#N/A</c:v>
                </c:pt>
                <c:pt idx="2893">
                  <c:v>#N/A</c:v>
                </c:pt>
                <c:pt idx="2894">
                  <c:v>#N/A</c:v>
                </c:pt>
                <c:pt idx="2895">
                  <c:v>#N/A</c:v>
                </c:pt>
                <c:pt idx="2896">
                  <c:v>#N/A</c:v>
                </c:pt>
                <c:pt idx="2897">
                  <c:v>#N/A</c:v>
                </c:pt>
                <c:pt idx="2898">
                  <c:v>#N/A</c:v>
                </c:pt>
                <c:pt idx="2899">
                  <c:v>#N/A</c:v>
                </c:pt>
                <c:pt idx="2900">
                  <c:v>#N/A</c:v>
                </c:pt>
                <c:pt idx="2901">
                  <c:v>#N/A</c:v>
                </c:pt>
                <c:pt idx="2902">
                  <c:v>#N/A</c:v>
                </c:pt>
                <c:pt idx="2903">
                  <c:v>#N/A</c:v>
                </c:pt>
                <c:pt idx="2904">
                  <c:v>#N/A</c:v>
                </c:pt>
                <c:pt idx="2905">
                  <c:v>#N/A</c:v>
                </c:pt>
                <c:pt idx="2906">
                  <c:v>#N/A</c:v>
                </c:pt>
                <c:pt idx="2907">
                  <c:v>#N/A</c:v>
                </c:pt>
                <c:pt idx="2908">
                  <c:v>#N/A</c:v>
                </c:pt>
                <c:pt idx="2909">
                  <c:v>#N/A</c:v>
                </c:pt>
                <c:pt idx="2910">
                  <c:v>#N/A</c:v>
                </c:pt>
                <c:pt idx="2911">
                  <c:v>#N/A</c:v>
                </c:pt>
                <c:pt idx="2912">
                  <c:v>#N/A</c:v>
                </c:pt>
                <c:pt idx="2913">
                  <c:v>#N/A</c:v>
                </c:pt>
                <c:pt idx="2914">
                  <c:v>#N/A</c:v>
                </c:pt>
                <c:pt idx="2915">
                  <c:v>#N/A</c:v>
                </c:pt>
                <c:pt idx="2916">
                  <c:v>#N/A</c:v>
                </c:pt>
                <c:pt idx="2917">
                  <c:v>#N/A</c:v>
                </c:pt>
                <c:pt idx="2918">
                  <c:v>#N/A</c:v>
                </c:pt>
                <c:pt idx="2919">
                  <c:v>#N/A</c:v>
                </c:pt>
                <c:pt idx="2920">
                  <c:v>#N/A</c:v>
                </c:pt>
                <c:pt idx="2921">
                  <c:v>#N/A</c:v>
                </c:pt>
                <c:pt idx="2922">
                  <c:v>#N/A</c:v>
                </c:pt>
                <c:pt idx="2923">
                  <c:v>#N/A</c:v>
                </c:pt>
                <c:pt idx="2924">
                  <c:v>#N/A</c:v>
                </c:pt>
                <c:pt idx="2925">
                  <c:v>#N/A</c:v>
                </c:pt>
                <c:pt idx="2926">
                  <c:v>#N/A</c:v>
                </c:pt>
                <c:pt idx="2927">
                  <c:v>#N/A</c:v>
                </c:pt>
                <c:pt idx="2928">
                  <c:v>#N/A</c:v>
                </c:pt>
                <c:pt idx="2929">
                  <c:v>#N/A</c:v>
                </c:pt>
                <c:pt idx="2930">
                  <c:v>#N/A</c:v>
                </c:pt>
                <c:pt idx="2931">
                  <c:v>#N/A</c:v>
                </c:pt>
                <c:pt idx="2932">
                  <c:v>#N/A</c:v>
                </c:pt>
                <c:pt idx="2933">
                  <c:v>#N/A</c:v>
                </c:pt>
                <c:pt idx="2934">
                  <c:v>#N/A</c:v>
                </c:pt>
                <c:pt idx="2935">
                  <c:v>#N/A</c:v>
                </c:pt>
                <c:pt idx="2936">
                  <c:v>#N/A</c:v>
                </c:pt>
                <c:pt idx="2937">
                  <c:v>#N/A</c:v>
                </c:pt>
                <c:pt idx="2938">
                  <c:v>#N/A</c:v>
                </c:pt>
                <c:pt idx="2939">
                  <c:v>#N/A</c:v>
                </c:pt>
                <c:pt idx="2940">
                  <c:v>#N/A</c:v>
                </c:pt>
                <c:pt idx="2941">
                  <c:v>#N/A</c:v>
                </c:pt>
                <c:pt idx="2942">
                  <c:v>#N/A</c:v>
                </c:pt>
                <c:pt idx="2943">
                  <c:v>#N/A</c:v>
                </c:pt>
                <c:pt idx="2944">
                  <c:v>#N/A</c:v>
                </c:pt>
                <c:pt idx="2945">
                  <c:v>#N/A</c:v>
                </c:pt>
                <c:pt idx="2946">
                  <c:v>#N/A</c:v>
                </c:pt>
                <c:pt idx="2947">
                  <c:v>#N/A</c:v>
                </c:pt>
                <c:pt idx="2948">
                  <c:v>#N/A</c:v>
                </c:pt>
                <c:pt idx="2949">
                  <c:v>#N/A</c:v>
                </c:pt>
                <c:pt idx="2950">
                  <c:v>#N/A</c:v>
                </c:pt>
                <c:pt idx="2951">
                  <c:v>#N/A</c:v>
                </c:pt>
                <c:pt idx="2952">
                  <c:v>#N/A</c:v>
                </c:pt>
                <c:pt idx="2953">
                  <c:v>#N/A</c:v>
                </c:pt>
                <c:pt idx="2954">
                  <c:v>#N/A</c:v>
                </c:pt>
                <c:pt idx="2955">
                  <c:v>#N/A</c:v>
                </c:pt>
                <c:pt idx="2956">
                  <c:v>#N/A</c:v>
                </c:pt>
                <c:pt idx="2957">
                  <c:v>#N/A</c:v>
                </c:pt>
                <c:pt idx="2958">
                  <c:v>#N/A</c:v>
                </c:pt>
                <c:pt idx="2959">
                  <c:v>#N/A</c:v>
                </c:pt>
                <c:pt idx="2960">
                  <c:v>#N/A</c:v>
                </c:pt>
                <c:pt idx="2961">
                  <c:v>#N/A</c:v>
                </c:pt>
                <c:pt idx="2962">
                  <c:v>#N/A</c:v>
                </c:pt>
                <c:pt idx="2963">
                  <c:v>#N/A</c:v>
                </c:pt>
                <c:pt idx="2964">
                  <c:v>#N/A</c:v>
                </c:pt>
                <c:pt idx="2965">
                  <c:v>#N/A</c:v>
                </c:pt>
                <c:pt idx="2966">
                  <c:v>#N/A</c:v>
                </c:pt>
                <c:pt idx="2967">
                  <c:v>#N/A</c:v>
                </c:pt>
                <c:pt idx="2968">
                  <c:v>#N/A</c:v>
                </c:pt>
                <c:pt idx="2969">
                  <c:v>#N/A</c:v>
                </c:pt>
                <c:pt idx="2970">
                  <c:v>#N/A</c:v>
                </c:pt>
                <c:pt idx="2971">
                  <c:v>#N/A</c:v>
                </c:pt>
                <c:pt idx="2972">
                  <c:v>#N/A</c:v>
                </c:pt>
                <c:pt idx="2973">
                  <c:v>#N/A</c:v>
                </c:pt>
                <c:pt idx="2974">
                  <c:v>#N/A</c:v>
                </c:pt>
                <c:pt idx="2975">
                  <c:v>#N/A</c:v>
                </c:pt>
                <c:pt idx="2976">
                  <c:v>#N/A</c:v>
                </c:pt>
                <c:pt idx="2977">
                  <c:v>#N/A</c:v>
                </c:pt>
                <c:pt idx="2978">
                  <c:v>#N/A</c:v>
                </c:pt>
                <c:pt idx="2979">
                  <c:v>#N/A</c:v>
                </c:pt>
                <c:pt idx="2980">
                  <c:v>#N/A</c:v>
                </c:pt>
                <c:pt idx="2981">
                  <c:v>#N/A</c:v>
                </c:pt>
                <c:pt idx="2982">
                  <c:v>#N/A</c:v>
                </c:pt>
                <c:pt idx="2983">
                  <c:v>#N/A</c:v>
                </c:pt>
                <c:pt idx="2984">
                  <c:v>#N/A</c:v>
                </c:pt>
                <c:pt idx="2985">
                  <c:v>#N/A</c:v>
                </c:pt>
                <c:pt idx="2986">
                  <c:v>#N/A</c:v>
                </c:pt>
                <c:pt idx="2987">
                  <c:v>#N/A</c:v>
                </c:pt>
                <c:pt idx="2988">
                  <c:v>#N/A</c:v>
                </c:pt>
                <c:pt idx="2989">
                  <c:v>#N/A</c:v>
                </c:pt>
                <c:pt idx="2990">
                  <c:v>#N/A</c:v>
                </c:pt>
                <c:pt idx="2991">
                  <c:v>#N/A</c:v>
                </c:pt>
                <c:pt idx="2992">
                  <c:v>#N/A</c:v>
                </c:pt>
                <c:pt idx="2993">
                  <c:v>#N/A</c:v>
                </c:pt>
                <c:pt idx="2994">
                  <c:v>#N/A</c:v>
                </c:pt>
                <c:pt idx="2995">
                  <c:v>#N/A</c:v>
                </c:pt>
                <c:pt idx="2996">
                  <c:v>#N/A</c:v>
                </c:pt>
                <c:pt idx="2997">
                  <c:v>#N/A</c:v>
                </c:pt>
                <c:pt idx="2998">
                  <c:v>#N/A</c:v>
                </c:pt>
                <c:pt idx="2999">
                  <c:v>#N/A</c:v>
                </c:pt>
                <c:pt idx="3000">
                  <c:v>#N/A</c:v>
                </c:pt>
                <c:pt idx="3001">
                  <c:v>#N/A</c:v>
                </c:pt>
                <c:pt idx="3002">
                  <c:v>#N/A</c:v>
                </c:pt>
                <c:pt idx="3003">
                  <c:v>#N/A</c:v>
                </c:pt>
                <c:pt idx="3004">
                  <c:v>#N/A</c:v>
                </c:pt>
                <c:pt idx="3005">
                  <c:v>#N/A</c:v>
                </c:pt>
                <c:pt idx="3006">
                  <c:v>#N/A</c:v>
                </c:pt>
                <c:pt idx="3007">
                  <c:v>#N/A</c:v>
                </c:pt>
                <c:pt idx="3008">
                  <c:v>#N/A</c:v>
                </c:pt>
                <c:pt idx="3009">
                  <c:v>#N/A</c:v>
                </c:pt>
                <c:pt idx="3010">
                  <c:v>#N/A</c:v>
                </c:pt>
                <c:pt idx="3011">
                  <c:v>#N/A</c:v>
                </c:pt>
                <c:pt idx="3012">
                  <c:v>#N/A</c:v>
                </c:pt>
                <c:pt idx="3013">
                  <c:v>#N/A</c:v>
                </c:pt>
                <c:pt idx="3014">
                  <c:v>#N/A</c:v>
                </c:pt>
                <c:pt idx="3015">
                  <c:v>#N/A</c:v>
                </c:pt>
                <c:pt idx="3016">
                  <c:v>#N/A</c:v>
                </c:pt>
                <c:pt idx="3017">
                  <c:v>#N/A</c:v>
                </c:pt>
                <c:pt idx="3018">
                  <c:v>#N/A</c:v>
                </c:pt>
                <c:pt idx="3019">
                  <c:v>#N/A</c:v>
                </c:pt>
                <c:pt idx="3020">
                  <c:v>#N/A</c:v>
                </c:pt>
                <c:pt idx="3021">
                  <c:v>#N/A</c:v>
                </c:pt>
                <c:pt idx="3022">
                  <c:v>#N/A</c:v>
                </c:pt>
                <c:pt idx="3023">
                  <c:v>#N/A</c:v>
                </c:pt>
                <c:pt idx="3024">
                  <c:v>#N/A</c:v>
                </c:pt>
                <c:pt idx="3025">
                  <c:v>#N/A</c:v>
                </c:pt>
                <c:pt idx="3026">
                  <c:v>#N/A</c:v>
                </c:pt>
                <c:pt idx="3027">
                  <c:v>#N/A</c:v>
                </c:pt>
                <c:pt idx="3028">
                  <c:v>#N/A</c:v>
                </c:pt>
                <c:pt idx="3029">
                  <c:v>#N/A</c:v>
                </c:pt>
                <c:pt idx="3030">
                  <c:v>#N/A</c:v>
                </c:pt>
                <c:pt idx="3031">
                  <c:v>#N/A</c:v>
                </c:pt>
                <c:pt idx="3032">
                  <c:v>#N/A</c:v>
                </c:pt>
                <c:pt idx="3033">
                  <c:v>#N/A</c:v>
                </c:pt>
                <c:pt idx="3034">
                  <c:v>#N/A</c:v>
                </c:pt>
                <c:pt idx="3035">
                  <c:v>#N/A</c:v>
                </c:pt>
                <c:pt idx="3036">
                  <c:v>#N/A</c:v>
                </c:pt>
                <c:pt idx="3037">
                  <c:v>#N/A</c:v>
                </c:pt>
                <c:pt idx="3038">
                  <c:v>#N/A</c:v>
                </c:pt>
                <c:pt idx="3039">
                  <c:v>#N/A</c:v>
                </c:pt>
                <c:pt idx="3040">
                  <c:v>#N/A</c:v>
                </c:pt>
                <c:pt idx="3041">
                  <c:v>#N/A</c:v>
                </c:pt>
                <c:pt idx="3042">
                  <c:v>#N/A</c:v>
                </c:pt>
                <c:pt idx="3043">
                  <c:v>#N/A</c:v>
                </c:pt>
                <c:pt idx="3044">
                  <c:v>#N/A</c:v>
                </c:pt>
                <c:pt idx="3045">
                  <c:v>#N/A</c:v>
                </c:pt>
                <c:pt idx="3046">
                  <c:v>#N/A</c:v>
                </c:pt>
                <c:pt idx="3047">
                  <c:v>#N/A</c:v>
                </c:pt>
                <c:pt idx="3048">
                  <c:v>#N/A</c:v>
                </c:pt>
                <c:pt idx="3049">
                  <c:v>#N/A</c:v>
                </c:pt>
                <c:pt idx="3050">
                  <c:v>#N/A</c:v>
                </c:pt>
                <c:pt idx="3051">
                  <c:v>#N/A</c:v>
                </c:pt>
                <c:pt idx="3052">
                  <c:v>#N/A</c:v>
                </c:pt>
                <c:pt idx="3053">
                  <c:v>#N/A</c:v>
                </c:pt>
                <c:pt idx="3054">
                  <c:v>#N/A</c:v>
                </c:pt>
                <c:pt idx="3055">
                  <c:v>#N/A</c:v>
                </c:pt>
                <c:pt idx="3056">
                  <c:v>#N/A</c:v>
                </c:pt>
                <c:pt idx="3057">
                  <c:v>#N/A</c:v>
                </c:pt>
                <c:pt idx="3058">
                  <c:v>#N/A</c:v>
                </c:pt>
                <c:pt idx="3059">
                  <c:v>#N/A</c:v>
                </c:pt>
                <c:pt idx="3060">
                  <c:v>#N/A</c:v>
                </c:pt>
                <c:pt idx="3061">
                  <c:v>#N/A</c:v>
                </c:pt>
                <c:pt idx="3062">
                  <c:v>#N/A</c:v>
                </c:pt>
                <c:pt idx="3063">
                  <c:v>#N/A</c:v>
                </c:pt>
                <c:pt idx="3064">
                  <c:v>#N/A</c:v>
                </c:pt>
                <c:pt idx="3065">
                  <c:v>#N/A</c:v>
                </c:pt>
                <c:pt idx="3066">
                  <c:v>#N/A</c:v>
                </c:pt>
                <c:pt idx="3067">
                  <c:v>#N/A</c:v>
                </c:pt>
                <c:pt idx="3068">
                  <c:v>#N/A</c:v>
                </c:pt>
                <c:pt idx="3069">
                  <c:v>#N/A</c:v>
                </c:pt>
                <c:pt idx="3070">
                  <c:v>#N/A</c:v>
                </c:pt>
                <c:pt idx="3071">
                  <c:v>#N/A</c:v>
                </c:pt>
                <c:pt idx="3072">
                  <c:v>#N/A</c:v>
                </c:pt>
                <c:pt idx="3073">
                  <c:v>#N/A</c:v>
                </c:pt>
                <c:pt idx="3074">
                  <c:v>#N/A</c:v>
                </c:pt>
                <c:pt idx="3075">
                  <c:v>#N/A</c:v>
                </c:pt>
                <c:pt idx="3076">
                  <c:v>#N/A</c:v>
                </c:pt>
                <c:pt idx="3077">
                  <c:v>#N/A</c:v>
                </c:pt>
                <c:pt idx="3078">
                  <c:v>#N/A</c:v>
                </c:pt>
                <c:pt idx="3079">
                  <c:v>#N/A</c:v>
                </c:pt>
                <c:pt idx="3080">
                  <c:v>#N/A</c:v>
                </c:pt>
                <c:pt idx="3081">
                  <c:v>#N/A</c:v>
                </c:pt>
                <c:pt idx="3082">
                  <c:v>#N/A</c:v>
                </c:pt>
                <c:pt idx="3083">
                  <c:v>#N/A</c:v>
                </c:pt>
                <c:pt idx="3084">
                  <c:v>#N/A</c:v>
                </c:pt>
                <c:pt idx="3085">
                  <c:v>#N/A</c:v>
                </c:pt>
                <c:pt idx="3086">
                  <c:v>#N/A</c:v>
                </c:pt>
                <c:pt idx="3087">
                  <c:v>#N/A</c:v>
                </c:pt>
                <c:pt idx="3088">
                  <c:v>#N/A</c:v>
                </c:pt>
                <c:pt idx="3089">
                  <c:v>#N/A</c:v>
                </c:pt>
                <c:pt idx="3090">
                  <c:v>#N/A</c:v>
                </c:pt>
                <c:pt idx="3091">
                  <c:v>#N/A</c:v>
                </c:pt>
                <c:pt idx="3092">
                  <c:v>#N/A</c:v>
                </c:pt>
                <c:pt idx="3093">
                  <c:v>#N/A</c:v>
                </c:pt>
                <c:pt idx="3094">
                  <c:v>#N/A</c:v>
                </c:pt>
                <c:pt idx="3095">
                  <c:v>#N/A</c:v>
                </c:pt>
                <c:pt idx="3096">
                  <c:v>#N/A</c:v>
                </c:pt>
                <c:pt idx="3097">
                  <c:v>#N/A</c:v>
                </c:pt>
                <c:pt idx="3098">
                  <c:v>#N/A</c:v>
                </c:pt>
                <c:pt idx="3099">
                  <c:v>#N/A</c:v>
                </c:pt>
                <c:pt idx="3100">
                  <c:v>#N/A</c:v>
                </c:pt>
                <c:pt idx="3101">
                  <c:v>#N/A</c:v>
                </c:pt>
                <c:pt idx="3102">
                  <c:v>#N/A</c:v>
                </c:pt>
                <c:pt idx="3103">
                  <c:v>#N/A</c:v>
                </c:pt>
                <c:pt idx="3104">
                  <c:v>#N/A</c:v>
                </c:pt>
                <c:pt idx="3105">
                  <c:v>#N/A</c:v>
                </c:pt>
                <c:pt idx="3106">
                  <c:v>#N/A</c:v>
                </c:pt>
                <c:pt idx="3107">
                  <c:v>#N/A</c:v>
                </c:pt>
                <c:pt idx="3108">
                  <c:v>#N/A</c:v>
                </c:pt>
                <c:pt idx="3109">
                  <c:v>#N/A</c:v>
                </c:pt>
                <c:pt idx="3110">
                  <c:v>#N/A</c:v>
                </c:pt>
                <c:pt idx="3111">
                  <c:v>#N/A</c:v>
                </c:pt>
                <c:pt idx="3112">
                  <c:v>#N/A</c:v>
                </c:pt>
                <c:pt idx="3113">
                  <c:v>#N/A</c:v>
                </c:pt>
                <c:pt idx="3114">
                  <c:v>#N/A</c:v>
                </c:pt>
                <c:pt idx="3115">
                  <c:v>#N/A</c:v>
                </c:pt>
                <c:pt idx="3116">
                  <c:v>#N/A</c:v>
                </c:pt>
                <c:pt idx="3117">
                  <c:v>#N/A</c:v>
                </c:pt>
                <c:pt idx="3118">
                  <c:v>#N/A</c:v>
                </c:pt>
                <c:pt idx="3119">
                  <c:v>#N/A</c:v>
                </c:pt>
                <c:pt idx="3120">
                  <c:v>#N/A</c:v>
                </c:pt>
                <c:pt idx="3121">
                  <c:v>#N/A</c:v>
                </c:pt>
                <c:pt idx="3122">
                  <c:v>#N/A</c:v>
                </c:pt>
                <c:pt idx="3123">
                  <c:v>#N/A</c:v>
                </c:pt>
                <c:pt idx="3124">
                  <c:v>#N/A</c:v>
                </c:pt>
                <c:pt idx="3125">
                  <c:v>#N/A</c:v>
                </c:pt>
                <c:pt idx="3126">
                  <c:v>#N/A</c:v>
                </c:pt>
                <c:pt idx="3127">
                  <c:v>#N/A</c:v>
                </c:pt>
                <c:pt idx="3128">
                  <c:v>#N/A</c:v>
                </c:pt>
                <c:pt idx="3129">
                  <c:v>#N/A</c:v>
                </c:pt>
                <c:pt idx="3130">
                  <c:v>#N/A</c:v>
                </c:pt>
                <c:pt idx="3131">
                  <c:v>#N/A</c:v>
                </c:pt>
                <c:pt idx="3132">
                  <c:v>#N/A</c:v>
                </c:pt>
                <c:pt idx="3133">
                  <c:v>#N/A</c:v>
                </c:pt>
                <c:pt idx="3134">
                  <c:v>#N/A</c:v>
                </c:pt>
                <c:pt idx="3135">
                  <c:v>#N/A</c:v>
                </c:pt>
                <c:pt idx="3136">
                  <c:v>#N/A</c:v>
                </c:pt>
                <c:pt idx="3137">
                  <c:v>#N/A</c:v>
                </c:pt>
                <c:pt idx="3138">
                  <c:v>#N/A</c:v>
                </c:pt>
                <c:pt idx="3139">
                  <c:v>#N/A</c:v>
                </c:pt>
                <c:pt idx="3140">
                  <c:v>#N/A</c:v>
                </c:pt>
                <c:pt idx="3141">
                  <c:v>#N/A</c:v>
                </c:pt>
                <c:pt idx="3142">
                  <c:v>#N/A</c:v>
                </c:pt>
                <c:pt idx="3143">
                  <c:v>#N/A</c:v>
                </c:pt>
                <c:pt idx="3144">
                  <c:v>#N/A</c:v>
                </c:pt>
                <c:pt idx="3145">
                  <c:v>#N/A</c:v>
                </c:pt>
                <c:pt idx="3146">
                  <c:v>#N/A</c:v>
                </c:pt>
                <c:pt idx="3147">
                  <c:v>#N/A</c:v>
                </c:pt>
                <c:pt idx="3148">
                  <c:v>#N/A</c:v>
                </c:pt>
                <c:pt idx="3149">
                  <c:v>#N/A</c:v>
                </c:pt>
                <c:pt idx="3150">
                  <c:v>#N/A</c:v>
                </c:pt>
                <c:pt idx="3151">
                  <c:v>#N/A</c:v>
                </c:pt>
                <c:pt idx="3152">
                  <c:v>#N/A</c:v>
                </c:pt>
                <c:pt idx="3153">
                  <c:v>#N/A</c:v>
                </c:pt>
                <c:pt idx="3154">
                  <c:v>#N/A</c:v>
                </c:pt>
                <c:pt idx="3155">
                  <c:v>#N/A</c:v>
                </c:pt>
                <c:pt idx="3156">
                  <c:v>#N/A</c:v>
                </c:pt>
                <c:pt idx="3157">
                  <c:v>#N/A</c:v>
                </c:pt>
                <c:pt idx="3158">
                  <c:v>#N/A</c:v>
                </c:pt>
                <c:pt idx="3159">
                  <c:v>#N/A</c:v>
                </c:pt>
                <c:pt idx="3160">
                  <c:v>#N/A</c:v>
                </c:pt>
                <c:pt idx="3161">
                  <c:v>#N/A</c:v>
                </c:pt>
                <c:pt idx="3162">
                  <c:v>#N/A</c:v>
                </c:pt>
                <c:pt idx="3163">
                  <c:v>#N/A</c:v>
                </c:pt>
                <c:pt idx="3164">
                  <c:v>#N/A</c:v>
                </c:pt>
                <c:pt idx="3165">
                  <c:v>#N/A</c:v>
                </c:pt>
                <c:pt idx="3166">
                  <c:v>#N/A</c:v>
                </c:pt>
                <c:pt idx="3167">
                  <c:v>#N/A</c:v>
                </c:pt>
                <c:pt idx="3168">
                  <c:v>#N/A</c:v>
                </c:pt>
                <c:pt idx="3169">
                  <c:v>#N/A</c:v>
                </c:pt>
                <c:pt idx="3170">
                  <c:v>#N/A</c:v>
                </c:pt>
                <c:pt idx="3171">
                  <c:v>#N/A</c:v>
                </c:pt>
                <c:pt idx="3172">
                  <c:v>#N/A</c:v>
                </c:pt>
                <c:pt idx="3173">
                  <c:v>#N/A</c:v>
                </c:pt>
                <c:pt idx="3174">
                  <c:v>#N/A</c:v>
                </c:pt>
                <c:pt idx="3175">
                  <c:v>#N/A</c:v>
                </c:pt>
                <c:pt idx="3176">
                  <c:v>#N/A</c:v>
                </c:pt>
                <c:pt idx="3177">
                  <c:v>#N/A</c:v>
                </c:pt>
                <c:pt idx="3178">
                  <c:v>#N/A</c:v>
                </c:pt>
                <c:pt idx="3179">
                  <c:v>#N/A</c:v>
                </c:pt>
                <c:pt idx="3180">
                  <c:v>#N/A</c:v>
                </c:pt>
                <c:pt idx="3181">
                  <c:v>#N/A</c:v>
                </c:pt>
                <c:pt idx="3182">
                  <c:v>#N/A</c:v>
                </c:pt>
                <c:pt idx="3183">
                  <c:v>#N/A</c:v>
                </c:pt>
                <c:pt idx="3184">
                  <c:v>#N/A</c:v>
                </c:pt>
                <c:pt idx="3185">
                  <c:v>#N/A</c:v>
                </c:pt>
                <c:pt idx="3186">
                  <c:v>#N/A</c:v>
                </c:pt>
                <c:pt idx="3187">
                  <c:v>#N/A</c:v>
                </c:pt>
                <c:pt idx="3188">
                  <c:v>#N/A</c:v>
                </c:pt>
                <c:pt idx="3189">
                  <c:v>#N/A</c:v>
                </c:pt>
                <c:pt idx="3190">
                  <c:v>#N/A</c:v>
                </c:pt>
                <c:pt idx="3191">
                  <c:v>#N/A</c:v>
                </c:pt>
                <c:pt idx="3192">
                  <c:v>#N/A</c:v>
                </c:pt>
                <c:pt idx="3193">
                  <c:v>#N/A</c:v>
                </c:pt>
                <c:pt idx="3194">
                  <c:v>#N/A</c:v>
                </c:pt>
                <c:pt idx="3195">
                  <c:v>#N/A</c:v>
                </c:pt>
                <c:pt idx="3196">
                  <c:v>#N/A</c:v>
                </c:pt>
                <c:pt idx="3197">
                  <c:v>#N/A</c:v>
                </c:pt>
                <c:pt idx="3198">
                  <c:v>#N/A</c:v>
                </c:pt>
                <c:pt idx="3199">
                  <c:v>#N/A</c:v>
                </c:pt>
                <c:pt idx="3200">
                  <c:v>#N/A</c:v>
                </c:pt>
                <c:pt idx="3201">
                  <c:v>#N/A</c:v>
                </c:pt>
                <c:pt idx="3202">
                  <c:v>#N/A</c:v>
                </c:pt>
                <c:pt idx="3203">
                  <c:v>#N/A</c:v>
                </c:pt>
                <c:pt idx="3204">
                  <c:v>#N/A</c:v>
                </c:pt>
                <c:pt idx="3205">
                  <c:v>#N/A</c:v>
                </c:pt>
                <c:pt idx="3206">
                  <c:v>#N/A</c:v>
                </c:pt>
                <c:pt idx="3207">
                  <c:v>#N/A</c:v>
                </c:pt>
                <c:pt idx="3208">
                  <c:v>#N/A</c:v>
                </c:pt>
                <c:pt idx="3209">
                  <c:v>#N/A</c:v>
                </c:pt>
                <c:pt idx="3210">
                  <c:v>#N/A</c:v>
                </c:pt>
                <c:pt idx="3211">
                  <c:v>#N/A</c:v>
                </c:pt>
                <c:pt idx="3212">
                  <c:v>#N/A</c:v>
                </c:pt>
                <c:pt idx="3213">
                  <c:v>#N/A</c:v>
                </c:pt>
                <c:pt idx="3214">
                  <c:v>#N/A</c:v>
                </c:pt>
                <c:pt idx="3215">
                  <c:v>#N/A</c:v>
                </c:pt>
                <c:pt idx="3216">
                  <c:v>#N/A</c:v>
                </c:pt>
                <c:pt idx="3217">
                  <c:v>#N/A</c:v>
                </c:pt>
                <c:pt idx="3218">
                  <c:v>#N/A</c:v>
                </c:pt>
                <c:pt idx="3219">
                  <c:v>#N/A</c:v>
                </c:pt>
                <c:pt idx="3220">
                  <c:v>#N/A</c:v>
                </c:pt>
                <c:pt idx="3221">
                  <c:v>#N/A</c:v>
                </c:pt>
                <c:pt idx="3222">
                  <c:v>#N/A</c:v>
                </c:pt>
                <c:pt idx="3223">
                  <c:v>#N/A</c:v>
                </c:pt>
                <c:pt idx="3224">
                  <c:v>#N/A</c:v>
                </c:pt>
                <c:pt idx="3225">
                  <c:v>#N/A</c:v>
                </c:pt>
                <c:pt idx="3226">
                  <c:v>#N/A</c:v>
                </c:pt>
                <c:pt idx="3227">
                  <c:v>#N/A</c:v>
                </c:pt>
                <c:pt idx="3228">
                  <c:v>#N/A</c:v>
                </c:pt>
                <c:pt idx="3229">
                  <c:v>#N/A</c:v>
                </c:pt>
                <c:pt idx="3230">
                  <c:v>#N/A</c:v>
                </c:pt>
                <c:pt idx="3231">
                  <c:v>#N/A</c:v>
                </c:pt>
                <c:pt idx="3232">
                  <c:v>#N/A</c:v>
                </c:pt>
                <c:pt idx="3233">
                  <c:v>#N/A</c:v>
                </c:pt>
                <c:pt idx="3234">
                  <c:v>#N/A</c:v>
                </c:pt>
                <c:pt idx="3235">
                  <c:v>#N/A</c:v>
                </c:pt>
                <c:pt idx="3236">
                  <c:v>#N/A</c:v>
                </c:pt>
                <c:pt idx="3237">
                  <c:v>#N/A</c:v>
                </c:pt>
                <c:pt idx="3238">
                  <c:v>#N/A</c:v>
                </c:pt>
                <c:pt idx="3239">
                  <c:v>#N/A</c:v>
                </c:pt>
                <c:pt idx="3240">
                  <c:v>#N/A</c:v>
                </c:pt>
                <c:pt idx="3241">
                  <c:v>#N/A</c:v>
                </c:pt>
                <c:pt idx="3242">
                  <c:v>#N/A</c:v>
                </c:pt>
                <c:pt idx="3243">
                  <c:v>#N/A</c:v>
                </c:pt>
                <c:pt idx="3244">
                  <c:v>#N/A</c:v>
                </c:pt>
                <c:pt idx="3245">
                  <c:v>#N/A</c:v>
                </c:pt>
                <c:pt idx="3246">
                  <c:v>#N/A</c:v>
                </c:pt>
                <c:pt idx="3247">
                  <c:v>#N/A</c:v>
                </c:pt>
                <c:pt idx="3248">
                  <c:v>#N/A</c:v>
                </c:pt>
                <c:pt idx="3249">
                  <c:v>#N/A</c:v>
                </c:pt>
                <c:pt idx="3250">
                  <c:v>#N/A</c:v>
                </c:pt>
                <c:pt idx="3251">
                  <c:v>#N/A</c:v>
                </c:pt>
                <c:pt idx="3252">
                  <c:v>#N/A</c:v>
                </c:pt>
                <c:pt idx="3253">
                  <c:v>#N/A</c:v>
                </c:pt>
                <c:pt idx="3254">
                  <c:v>#N/A</c:v>
                </c:pt>
                <c:pt idx="3255">
                  <c:v>#N/A</c:v>
                </c:pt>
                <c:pt idx="3256">
                  <c:v>#N/A</c:v>
                </c:pt>
                <c:pt idx="3257">
                  <c:v>#N/A</c:v>
                </c:pt>
                <c:pt idx="3258">
                  <c:v>#N/A</c:v>
                </c:pt>
                <c:pt idx="3259">
                  <c:v>#N/A</c:v>
                </c:pt>
                <c:pt idx="3260">
                  <c:v>#N/A</c:v>
                </c:pt>
                <c:pt idx="3261">
                  <c:v>#N/A</c:v>
                </c:pt>
                <c:pt idx="3262">
                  <c:v>#N/A</c:v>
                </c:pt>
                <c:pt idx="3263">
                  <c:v>#N/A</c:v>
                </c:pt>
                <c:pt idx="3264">
                  <c:v>#N/A</c:v>
                </c:pt>
                <c:pt idx="3265">
                  <c:v>#N/A</c:v>
                </c:pt>
                <c:pt idx="3266">
                  <c:v>#N/A</c:v>
                </c:pt>
                <c:pt idx="3267">
                  <c:v>#N/A</c:v>
                </c:pt>
                <c:pt idx="3268">
                  <c:v>#N/A</c:v>
                </c:pt>
                <c:pt idx="3269">
                  <c:v>#N/A</c:v>
                </c:pt>
                <c:pt idx="3270">
                  <c:v>#N/A</c:v>
                </c:pt>
                <c:pt idx="3271">
                  <c:v>#N/A</c:v>
                </c:pt>
                <c:pt idx="3272">
                  <c:v>#N/A</c:v>
                </c:pt>
                <c:pt idx="3273">
                  <c:v>#N/A</c:v>
                </c:pt>
                <c:pt idx="3274">
                  <c:v>#N/A</c:v>
                </c:pt>
                <c:pt idx="3275">
                  <c:v>#N/A</c:v>
                </c:pt>
                <c:pt idx="3276">
                  <c:v>#N/A</c:v>
                </c:pt>
                <c:pt idx="3277">
                  <c:v>#N/A</c:v>
                </c:pt>
                <c:pt idx="3278">
                  <c:v>#N/A</c:v>
                </c:pt>
                <c:pt idx="3279">
                  <c:v>#N/A</c:v>
                </c:pt>
                <c:pt idx="3280">
                  <c:v>#N/A</c:v>
                </c:pt>
                <c:pt idx="3281">
                  <c:v>#N/A</c:v>
                </c:pt>
                <c:pt idx="3282">
                  <c:v>#N/A</c:v>
                </c:pt>
                <c:pt idx="3283">
                  <c:v>#N/A</c:v>
                </c:pt>
                <c:pt idx="3284">
                  <c:v>#N/A</c:v>
                </c:pt>
                <c:pt idx="3285">
                  <c:v>#N/A</c:v>
                </c:pt>
                <c:pt idx="3286">
                  <c:v>#N/A</c:v>
                </c:pt>
                <c:pt idx="3287">
                  <c:v>#N/A</c:v>
                </c:pt>
                <c:pt idx="3288">
                  <c:v>#N/A</c:v>
                </c:pt>
                <c:pt idx="3289">
                  <c:v>#N/A</c:v>
                </c:pt>
                <c:pt idx="3290">
                  <c:v>#N/A</c:v>
                </c:pt>
                <c:pt idx="3291">
                  <c:v>#N/A</c:v>
                </c:pt>
                <c:pt idx="3292">
                  <c:v>#N/A</c:v>
                </c:pt>
                <c:pt idx="3293">
                  <c:v>#N/A</c:v>
                </c:pt>
                <c:pt idx="3294">
                  <c:v>#N/A</c:v>
                </c:pt>
                <c:pt idx="3295">
                  <c:v>#N/A</c:v>
                </c:pt>
                <c:pt idx="3296">
                  <c:v>#N/A</c:v>
                </c:pt>
                <c:pt idx="3297">
                  <c:v>#N/A</c:v>
                </c:pt>
                <c:pt idx="3298">
                  <c:v>#N/A</c:v>
                </c:pt>
                <c:pt idx="3299">
                  <c:v>#N/A</c:v>
                </c:pt>
                <c:pt idx="3300">
                  <c:v>#N/A</c:v>
                </c:pt>
                <c:pt idx="3301">
                  <c:v>#N/A</c:v>
                </c:pt>
                <c:pt idx="3302">
                  <c:v>#N/A</c:v>
                </c:pt>
                <c:pt idx="3303">
                  <c:v>#N/A</c:v>
                </c:pt>
                <c:pt idx="3304">
                  <c:v>#N/A</c:v>
                </c:pt>
                <c:pt idx="3305">
                  <c:v>#N/A</c:v>
                </c:pt>
                <c:pt idx="3306">
                  <c:v>#N/A</c:v>
                </c:pt>
                <c:pt idx="3307">
                  <c:v>#N/A</c:v>
                </c:pt>
                <c:pt idx="3308">
                  <c:v>#N/A</c:v>
                </c:pt>
                <c:pt idx="3309">
                  <c:v>#N/A</c:v>
                </c:pt>
                <c:pt idx="3310">
                  <c:v>#N/A</c:v>
                </c:pt>
                <c:pt idx="3311">
                  <c:v>#N/A</c:v>
                </c:pt>
                <c:pt idx="3312">
                  <c:v>#N/A</c:v>
                </c:pt>
                <c:pt idx="3313">
                  <c:v>#N/A</c:v>
                </c:pt>
                <c:pt idx="3314">
                  <c:v>#N/A</c:v>
                </c:pt>
                <c:pt idx="3315">
                  <c:v>#N/A</c:v>
                </c:pt>
                <c:pt idx="3316">
                  <c:v>#N/A</c:v>
                </c:pt>
                <c:pt idx="3317">
                  <c:v>#N/A</c:v>
                </c:pt>
                <c:pt idx="3318">
                  <c:v>#N/A</c:v>
                </c:pt>
                <c:pt idx="3319">
                  <c:v>#N/A</c:v>
                </c:pt>
                <c:pt idx="3320">
                  <c:v>#N/A</c:v>
                </c:pt>
                <c:pt idx="3321">
                  <c:v>#N/A</c:v>
                </c:pt>
                <c:pt idx="3322">
                  <c:v>#N/A</c:v>
                </c:pt>
                <c:pt idx="3323">
                  <c:v>#N/A</c:v>
                </c:pt>
                <c:pt idx="3324">
                  <c:v>#N/A</c:v>
                </c:pt>
                <c:pt idx="3325">
                  <c:v>#N/A</c:v>
                </c:pt>
                <c:pt idx="3326">
                  <c:v>#N/A</c:v>
                </c:pt>
                <c:pt idx="3327">
                  <c:v>#N/A</c:v>
                </c:pt>
                <c:pt idx="3328">
                  <c:v>#N/A</c:v>
                </c:pt>
                <c:pt idx="3329">
                  <c:v>#N/A</c:v>
                </c:pt>
                <c:pt idx="3330">
                  <c:v>#N/A</c:v>
                </c:pt>
                <c:pt idx="3331">
                  <c:v>#N/A</c:v>
                </c:pt>
                <c:pt idx="3332">
                  <c:v>#N/A</c:v>
                </c:pt>
                <c:pt idx="3333">
                  <c:v>#N/A</c:v>
                </c:pt>
                <c:pt idx="3334">
                  <c:v>#N/A</c:v>
                </c:pt>
                <c:pt idx="3335">
                  <c:v>#N/A</c:v>
                </c:pt>
                <c:pt idx="3336">
                  <c:v>#N/A</c:v>
                </c:pt>
                <c:pt idx="3337">
                  <c:v>#N/A</c:v>
                </c:pt>
                <c:pt idx="3338">
                  <c:v>#N/A</c:v>
                </c:pt>
                <c:pt idx="3339">
                  <c:v>#N/A</c:v>
                </c:pt>
                <c:pt idx="3340">
                  <c:v>#N/A</c:v>
                </c:pt>
                <c:pt idx="3341">
                  <c:v>#N/A</c:v>
                </c:pt>
                <c:pt idx="3342">
                  <c:v>#N/A</c:v>
                </c:pt>
                <c:pt idx="3343">
                  <c:v>#N/A</c:v>
                </c:pt>
                <c:pt idx="3344">
                  <c:v>#N/A</c:v>
                </c:pt>
                <c:pt idx="3345">
                  <c:v>#N/A</c:v>
                </c:pt>
                <c:pt idx="3346">
                  <c:v>#N/A</c:v>
                </c:pt>
                <c:pt idx="3347">
                  <c:v>#N/A</c:v>
                </c:pt>
                <c:pt idx="3348">
                  <c:v>#N/A</c:v>
                </c:pt>
                <c:pt idx="3349">
                  <c:v>#N/A</c:v>
                </c:pt>
                <c:pt idx="3350">
                  <c:v>#N/A</c:v>
                </c:pt>
                <c:pt idx="3351">
                  <c:v>#N/A</c:v>
                </c:pt>
                <c:pt idx="3352">
                  <c:v>#N/A</c:v>
                </c:pt>
                <c:pt idx="3353">
                  <c:v>#N/A</c:v>
                </c:pt>
                <c:pt idx="3354">
                  <c:v>#N/A</c:v>
                </c:pt>
                <c:pt idx="3355">
                  <c:v>#N/A</c:v>
                </c:pt>
                <c:pt idx="3356">
                  <c:v>#N/A</c:v>
                </c:pt>
                <c:pt idx="3357">
                  <c:v>#N/A</c:v>
                </c:pt>
                <c:pt idx="3358">
                  <c:v>#N/A</c:v>
                </c:pt>
                <c:pt idx="3359">
                  <c:v>#N/A</c:v>
                </c:pt>
                <c:pt idx="3360">
                  <c:v>#N/A</c:v>
                </c:pt>
                <c:pt idx="3361">
                  <c:v>#N/A</c:v>
                </c:pt>
                <c:pt idx="3362">
                  <c:v>#N/A</c:v>
                </c:pt>
                <c:pt idx="3363">
                  <c:v>#N/A</c:v>
                </c:pt>
                <c:pt idx="3364">
                  <c:v>#N/A</c:v>
                </c:pt>
                <c:pt idx="3365">
                  <c:v>#N/A</c:v>
                </c:pt>
                <c:pt idx="3366">
                  <c:v>#N/A</c:v>
                </c:pt>
                <c:pt idx="3367">
                  <c:v>#N/A</c:v>
                </c:pt>
                <c:pt idx="3368">
                  <c:v>#N/A</c:v>
                </c:pt>
                <c:pt idx="3369">
                  <c:v>#N/A</c:v>
                </c:pt>
                <c:pt idx="3370">
                  <c:v>#N/A</c:v>
                </c:pt>
                <c:pt idx="3371">
                  <c:v>#N/A</c:v>
                </c:pt>
                <c:pt idx="3372">
                  <c:v>#N/A</c:v>
                </c:pt>
                <c:pt idx="3373">
                  <c:v>#N/A</c:v>
                </c:pt>
                <c:pt idx="3374">
                  <c:v>#N/A</c:v>
                </c:pt>
                <c:pt idx="3375">
                  <c:v>#N/A</c:v>
                </c:pt>
                <c:pt idx="3376">
                  <c:v>#N/A</c:v>
                </c:pt>
                <c:pt idx="3377">
                  <c:v>#N/A</c:v>
                </c:pt>
                <c:pt idx="3378">
                  <c:v>#N/A</c:v>
                </c:pt>
                <c:pt idx="3379">
                  <c:v>#N/A</c:v>
                </c:pt>
                <c:pt idx="3380">
                  <c:v>#N/A</c:v>
                </c:pt>
                <c:pt idx="3381">
                  <c:v>#N/A</c:v>
                </c:pt>
                <c:pt idx="3382">
                  <c:v>#N/A</c:v>
                </c:pt>
                <c:pt idx="3383">
                  <c:v>#N/A</c:v>
                </c:pt>
                <c:pt idx="3384">
                  <c:v>#N/A</c:v>
                </c:pt>
                <c:pt idx="3385">
                  <c:v>#N/A</c:v>
                </c:pt>
                <c:pt idx="3386">
                  <c:v>#N/A</c:v>
                </c:pt>
                <c:pt idx="3387">
                  <c:v>#N/A</c:v>
                </c:pt>
                <c:pt idx="3388">
                  <c:v>#N/A</c:v>
                </c:pt>
                <c:pt idx="3389">
                  <c:v>#N/A</c:v>
                </c:pt>
                <c:pt idx="3390">
                  <c:v>#N/A</c:v>
                </c:pt>
                <c:pt idx="3391">
                  <c:v>#N/A</c:v>
                </c:pt>
                <c:pt idx="3392">
                  <c:v>#N/A</c:v>
                </c:pt>
                <c:pt idx="3393">
                  <c:v>#N/A</c:v>
                </c:pt>
                <c:pt idx="3394">
                  <c:v>#N/A</c:v>
                </c:pt>
                <c:pt idx="3395">
                  <c:v>#N/A</c:v>
                </c:pt>
                <c:pt idx="3396">
                  <c:v>#N/A</c:v>
                </c:pt>
                <c:pt idx="3397">
                  <c:v>#N/A</c:v>
                </c:pt>
                <c:pt idx="3398">
                  <c:v>#N/A</c:v>
                </c:pt>
                <c:pt idx="3399">
                  <c:v>#N/A</c:v>
                </c:pt>
                <c:pt idx="3400">
                  <c:v>#N/A</c:v>
                </c:pt>
                <c:pt idx="3401">
                  <c:v>#N/A</c:v>
                </c:pt>
                <c:pt idx="3402">
                  <c:v>#N/A</c:v>
                </c:pt>
                <c:pt idx="3403">
                  <c:v>#N/A</c:v>
                </c:pt>
                <c:pt idx="3404">
                  <c:v>#N/A</c:v>
                </c:pt>
                <c:pt idx="3405">
                  <c:v>#N/A</c:v>
                </c:pt>
                <c:pt idx="3406">
                  <c:v>#N/A</c:v>
                </c:pt>
                <c:pt idx="3407">
                  <c:v>#N/A</c:v>
                </c:pt>
                <c:pt idx="3408">
                  <c:v>#N/A</c:v>
                </c:pt>
                <c:pt idx="3409">
                  <c:v>#N/A</c:v>
                </c:pt>
                <c:pt idx="3410">
                  <c:v>#N/A</c:v>
                </c:pt>
                <c:pt idx="3411">
                  <c:v>#N/A</c:v>
                </c:pt>
                <c:pt idx="3412">
                  <c:v>#N/A</c:v>
                </c:pt>
                <c:pt idx="3413">
                  <c:v>#N/A</c:v>
                </c:pt>
                <c:pt idx="3414">
                  <c:v>#N/A</c:v>
                </c:pt>
                <c:pt idx="3415">
                  <c:v>#N/A</c:v>
                </c:pt>
                <c:pt idx="3416">
                  <c:v>#N/A</c:v>
                </c:pt>
                <c:pt idx="3417">
                  <c:v>#N/A</c:v>
                </c:pt>
                <c:pt idx="3418">
                  <c:v>#N/A</c:v>
                </c:pt>
                <c:pt idx="3419">
                  <c:v>#N/A</c:v>
                </c:pt>
                <c:pt idx="3420">
                  <c:v>#N/A</c:v>
                </c:pt>
                <c:pt idx="3421">
                  <c:v>#N/A</c:v>
                </c:pt>
                <c:pt idx="3422">
                  <c:v>#N/A</c:v>
                </c:pt>
                <c:pt idx="3423">
                  <c:v>#N/A</c:v>
                </c:pt>
                <c:pt idx="3424">
                  <c:v>#N/A</c:v>
                </c:pt>
                <c:pt idx="3425">
                  <c:v>#N/A</c:v>
                </c:pt>
                <c:pt idx="3426">
                  <c:v>#N/A</c:v>
                </c:pt>
                <c:pt idx="3427">
                  <c:v>#N/A</c:v>
                </c:pt>
                <c:pt idx="3428">
                  <c:v>#N/A</c:v>
                </c:pt>
                <c:pt idx="3429">
                  <c:v>#N/A</c:v>
                </c:pt>
                <c:pt idx="3430">
                  <c:v>#N/A</c:v>
                </c:pt>
                <c:pt idx="3431">
                  <c:v>#N/A</c:v>
                </c:pt>
                <c:pt idx="3432">
                  <c:v>#N/A</c:v>
                </c:pt>
                <c:pt idx="3433">
                  <c:v>#N/A</c:v>
                </c:pt>
                <c:pt idx="3434">
                  <c:v>#N/A</c:v>
                </c:pt>
                <c:pt idx="3435">
                  <c:v>#N/A</c:v>
                </c:pt>
                <c:pt idx="3436">
                  <c:v>#N/A</c:v>
                </c:pt>
                <c:pt idx="3437">
                  <c:v>#N/A</c:v>
                </c:pt>
                <c:pt idx="3438">
                  <c:v>#N/A</c:v>
                </c:pt>
                <c:pt idx="3439">
                  <c:v>#N/A</c:v>
                </c:pt>
                <c:pt idx="3440">
                  <c:v>#N/A</c:v>
                </c:pt>
                <c:pt idx="3441">
                  <c:v>#N/A</c:v>
                </c:pt>
                <c:pt idx="3442">
                  <c:v>#N/A</c:v>
                </c:pt>
                <c:pt idx="3443">
                  <c:v>#N/A</c:v>
                </c:pt>
                <c:pt idx="3444">
                  <c:v>#N/A</c:v>
                </c:pt>
                <c:pt idx="3445">
                  <c:v>#N/A</c:v>
                </c:pt>
                <c:pt idx="3446">
                  <c:v>#N/A</c:v>
                </c:pt>
                <c:pt idx="3447">
                  <c:v>#N/A</c:v>
                </c:pt>
                <c:pt idx="3448">
                  <c:v>#N/A</c:v>
                </c:pt>
                <c:pt idx="3449">
                  <c:v>#N/A</c:v>
                </c:pt>
                <c:pt idx="3450">
                  <c:v>#N/A</c:v>
                </c:pt>
                <c:pt idx="3451">
                  <c:v>#N/A</c:v>
                </c:pt>
                <c:pt idx="3452">
                  <c:v>#N/A</c:v>
                </c:pt>
                <c:pt idx="3453">
                  <c:v>#N/A</c:v>
                </c:pt>
                <c:pt idx="3454">
                  <c:v>#N/A</c:v>
                </c:pt>
                <c:pt idx="3455">
                  <c:v>#N/A</c:v>
                </c:pt>
                <c:pt idx="3456">
                  <c:v>#N/A</c:v>
                </c:pt>
                <c:pt idx="3457">
                  <c:v>#N/A</c:v>
                </c:pt>
                <c:pt idx="3458">
                  <c:v>#N/A</c:v>
                </c:pt>
                <c:pt idx="3459">
                  <c:v>#N/A</c:v>
                </c:pt>
                <c:pt idx="3460">
                  <c:v>#N/A</c:v>
                </c:pt>
                <c:pt idx="3461">
                  <c:v>#N/A</c:v>
                </c:pt>
                <c:pt idx="3462">
                  <c:v>#N/A</c:v>
                </c:pt>
                <c:pt idx="3463">
                  <c:v>#N/A</c:v>
                </c:pt>
                <c:pt idx="3464">
                  <c:v>#N/A</c:v>
                </c:pt>
                <c:pt idx="3465">
                  <c:v>#N/A</c:v>
                </c:pt>
                <c:pt idx="3466">
                  <c:v>#N/A</c:v>
                </c:pt>
                <c:pt idx="3467">
                  <c:v>#N/A</c:v>
                </c:pt>
                <c:pt idx="3468">
                  <c:v>#N/A</c:v>
                </c:pt>
                <c:pt idx="3469">
                  <c:v>#N/A</c:v>
                </c:pt>
                <c:pt idx="3470">
                  <c:v>#N/A</c:v>
                </c:pt>
                <c:pt idx="3471">
                  <c:v>#N/A</c:v>
                </c:pt>
                <c:pt idx="3472">
                  <c:v>#N/A</c:v>
                </c:pt>
                <c:pt idx="3473">
                  <c:v>#N/A</c:v>
                </c:pt>
                <c:pt idx="3474">
                  <c:v>#N/A</c:v>
                </c:pt>
                <c:pt idx="3475">
                  <c:v>#N/A</c:v>
                </c:pt>
                <c:pt idx="3476">
                  <c:v>#N/A</c:v>
                </c:pt>
                <c:pt idx="3477">
                  <c:v>#N/A</c:v>
                </c:pt>
                <c:pt idx="3478">
                  <c:v>#N/A</c:v>
                </c:pt>
                <c:pt idx="3479">
                  <c:v>#N/A</c:v>
                </c:pt>
                <c:pt idx="3480">
                  <c:v>#N/A</c:v>
                </c:pt>
                <c:pt idx="3481">
                  <c:v>#N/A</c:v>
                </c:pt>
                <c:pt idx="3482">
                  <c:v>#N/A</c:v>
                </c:pt>
                <c:pt idx="3483">
                  <c:v>#N/A</c:v>
                </c:pt>
                <c:pt idx="3484">
                  <c:v>#N/A</c:v>
                </c:pt>
                <c:pt idx="3485">
                  <c:v>#N/A</c:v>
                </c:pt>
                <c:pt idx="3486">
                  <c:v>#N/A</c:v>
                </c:pt>
                <c:pt idx="3487">
                  <c:v>#N/A</c:v>
                </c:pt>
                <c:pt idx="3488">
                  <c:v>#N/A</c:v>
                </c:pt>
                <c:pt idx="3489">
                  <c:v>#N/A</c:v>
                </c:pt>
                <c:pt idx="3490">
                  <c:v>#N/A</c:v>
                </c:pt>
                <c:pt idx="3491">
                  <c:v>#N/A</c:v>
                </c:pt>
                <c:pt idx="3492">
                  <c:v>#N/A</c:v>
                </c:pt>
                <c:pt idx="3493">
                  <c:v>#N/A</c:v>
                </c:pt>
                <c:pt idx="3494">
                  <c:v>#N/A</c:v>
                </c:pt>
                <c:pt idx="3495">
                  <c:v>#N/A</c:v>
                </c:pt>
                <c:pt idx="3496">
                  <c:v>#N/A</c:v>
                </c:pt>
                <c:pt idx="3497">
                  <c:v>#N/A</c:v>
                </c:pt>
                <c:pt idx="3498">
                  <c:v>#N/A</c:v>
                </c:pt>
                <c:pt idx="3499">
                  <c:v>#N/A</c:v>
                </c:pt>
                <c:pt idx="3500">
                  <c:v>#N/A</c:v>
                </c:pt>
                <c:pt idx="3501">
                  <c:v>#N/A</c:v>
                </c:pt>
                <c:pt idx="3502">
                  <c:v>#N/A</c:v>
                </c:pt>
                <c:pt idx="3503">
                  <c:v>#N/A</c:v>
                </c:pt>
                <c:pt idx="3504">
                  <c:v>#N/A</c:v>
                </c:pt>
                <c:pt idx="3505">
                  <c:v>#N/A</c:v>
                </c:pt>
                <c:pt idx="3506">
                  <c:v>#N/A</c:v>
                </c:pt>
                <c:pt idx="3507">
                  <c:v>#N/A</c:v>
                </c:pt>
                <c:pt idx="3508">
                  <c:v>#N/A</c:v>
                </c:pt>
                <c:pt idx="3509">
                  <c:v>#N/A</c:v>
                </c:pt>
                <c:pt idx="3510">
                  <c:v>#N/A</c:v>
                </c:pt>
                <c:pt idx="3511">
                  <c:v>#N/A</c:v>
                </c:pt>
                <c:pt idx="3512">
                  <c:v>#N/A</c:v>
                </c:pt>
                <c:pt idx="3513">
                  <c:v>#N/A</c:v>
                </c:pt>
                <c:pt idx="3514">
                  <c:v>#N/A</c:v>
                </c:pt>
                <c:pt idx="3515">
                  <c:v>#N/A</c:v>
                </c:pt>
                <c:pt idx="3516">
                  <c:v>#N/A</c:v>
                </c:pt>
                <c:pt idx="3517">
                  <c:v>#N/A</c:v>
                </c:pt>
                <c:pt idx="3518">
                  <c:v>#N/A</c:v>
                </c:pt>
                <c:pt idx="3519">
                  <c:v>#N/A</c:v>
                </c:pt>
                <c:pt idx="3520">
                  <c:v>#N/A</c:v>
                </c:pt>
                <c:pt idx="3521">
                  <c:v>#N/A</c:v>
                </c:pt>
                <c:pt idx="3522">
                  <c:v>#N/A</c:v>
                </c:pt>
                <c:pt idx="3523">
                  <c:v>#N/A</c:v>
                </c:pt>
                <c:pt idx="3524">
                  <c:v>#N/A</c:v>
                </c:pt>
                <c:pt idx="3525">
                  <c:v>#N/A</c:v>
                </c:pt>
                <c:pt idx="3526">
                  <c:v>#N/A</c:v>
                </c:pt>
                <c:pt idx="3527">
                  <c:v>#N/A</c:v>
                </c:pt>
                <c:pt idx="3528">
                  <c:v>#N/A</c:v>
                </c:pt>
                <c:pt idx="3529">
                  <c:v>#N/A</c:v>
                </c:pt>
                <c:pt idx="3530">
                  <c:v>#N/A</c:v>
                </c:pt>
                <c:pt idx="3531">
                  <c:v>#N/A</c:v>
                </c:pt>
                <c:pt idx="3532">
                  <c:v>#N/A</c:v>
                </c:pt>
                <c:pt idx="3533">
                  <c:v>#N/A</c:v>
                </c:pt>
                <c:pt idx="3534">
                  <c:v>#N/A</c:v>
                </c:pt>
                <c:pt idx="3535">
                  <c:v>#N/A</c:v>
                </c:pt>
                <c:pt idx="3536">
                  <c:v>#N/A</c:v>
                </c:pt>
                <c:pt idx="3537">
                  <c:v>#N/A</c:v>
                </c:pt>
                <c:pt idx="3538">
                  <c:v>#N/A</c:v>
                </c:pt>
                <c:pt idx="3539">
                  <c:v>#N/A</c:v>
                </c:pt>
                <c:pt idx="3540">
                  <c:v>#N/A</c:v>
                </c:pt>
                <c:pt idx="3541">
                  <c:v>#N/A</c:v>
                </c:pt>
                <c:pt idx="3542">
                  <c:v>#N/A</c:v>
                </c:pt>
                <c:pt idx="3543">
                  <c:v>#N/A</c:v>
                </c:pt>
                <c:pt idx="3544">
                  <c:v>#N/A</c:v>
                </c:pt>
                <c:pt idx="3545">
                  <c:v>#N/A</c:v>
                </c:pt>
                <c:pt idx="3546">
                  <c:v>#N/A</c:v>
                </c:pt>
                <c:pt idx="3547">
                  <c:v>#N/A</c:v>
                </c:pt>
                <c:pt idx="3548">
                  <c:v>#N/A</c:v>
                </c:pt>
                <c:pt idx="3549">
                  <c:v>#N/A</c:v>
                </c:pt>
                <c:pt idx="3550">
                  <c:v>#N/A</c:v>
                </c:pt>
                <c:pt idx="3551">
                  <c:v>#N/A</c:v>
                </c:pt>
                <c:pt idx="3552">
                  <c:v>#N/A</c:v>
                </c:pt>
                <c:pt idx="3553">
                  <c:v>#N/A</c:v>
                </c:pt>
                <c:pt idx="3554">
                  <c:v>#N/A</c:v>
                </c:pt>
                <c:pt idx="3555">
                  <c:v>#N/A</c:v>
                </c:pt>
                <c:pt idx="3556">
                  <c:v>#N/A</c:v>
                </c:pt>
                <c:pt idx="3557">
                  <c:v>#N/A</c:v>
                </c:pt>
                <c:pt idx="3558">
                  <c:v>#N/A</c:v>
                </c:pt>
                <c:pt idx="3559">
                  <c:v>#N/A</c:v>
                </c:pt>
                <c:pt idx="3560">
                  <c:v>#N/A</c:v>
                </c:pt>
                <c:pt idx="3561">
                  <c:v>#N/A</c:v>
                </c:pt>
                <c:pt idx="3562">
                  <c:v>#N/A</c:v>
                </c:pt>
                <c:pt idx="3563">
                  <c:v>#N/A</c:v>
                </c:pt>
                <c:pt idx="3564">
                  <c:v>#N/A</c:v>
                </c:pt>
                <c:pt idx="3565">
                  <c:v>#N/A</c:v>
                </c:pt>
                <c:pt idx="3566">
                  <c:v>#N/A</c:v>
                </c:pt>
                <c:pt idx="3567">
                  <c:v>#N/A</c:v>
                </c:pt>
                <c:pt idx="3568">
                  <c:v>#N/A</c:v>
                </c:pt>
                <c:pt idx="3569">
                  <c:v>#N/A</c:v>
                </c:pt>
                <c:pt idx="3570">
                  <c:v>#N/A</c:v>
                </c:pt>
                <c:pt idx="3571">
                  <c:v>#N/A</c:v>
                </c:pt>
                <c:pt idx="3572">
                  <c:v>#N/A</c:v>
                </c:pt>
                <c:pt idx="3573">
                  <c:v>#N/A</c:v>
                </c:pt>
                <c:pt idx="3574">
                  <c:v>#N/A</c:v>
                </c:pt>
                <c:pt idx="3575">
                  <c:v>#N/A</c:v>
                </c:pt>
                <c:pt idx="3576">
                  <c:v>#N/A</c:v>
                </c:pt>
                <c:pt idx="3577">
                  <c:v>#N/A</c:v>
                </c:pt>
                <c:pt idx="3578">
                  <c:v>#N/A</c:v>
                </c:pt>
                <c:pt idx="3579">
                  <c:v>#N/A</c:v>
                </c:pt>
                <c:pt idx="3580">
                  <c:v>#N/A</c:v>
                </c:pt>
                <c:pt idx="3581">
                  <c:v>#N/A</c:v>
                </c:pt>
                <c:pt idx="3582">
                  <c:v>#N/A</c:v>
                </c:pt>
                <c:pt idx="3583">
                  <c:v>#N/A</c:v>
                </c:pt>
                <c:pt idx="3584">
                  <c:v>#N/A</c:v>
                </c:pt>
                <c:pt idx="3585">
                  <c:v>#N/A</c:v>
                </c:pt>
                <c:pt idx="3586">
                  <c:v>#N/A</c:v>
                </c:pt>
                <c:pt idx="3587">
                  <c:v>#N/A</c:v>
                </c:pt>
                <c:pt idx="3588">
                  <c:v>#N/A</c:v>
                </c:pt>
                <c:pt idx="3589">
                  <c:v>#N/A</c:v>
                </c:pt>
                <c:pt idx="3590">
                  <c:v>#N/A</c:v>
                </c:pt>
                <c:pt idx="3591">
                  <c:v>#N/A</c:v>
                </c:pt>
                <c:pt idx="3592">
                  <c:v>#N/A</c:v>
                </c:pt>
                <c:pt idx="3593">
                  <c:v>#N/A</c:v>
                </c:pt>
                <c:pt idx="3594">
                  <c:v>#N/A</c:v>
                </c:pt>
                <c:pt idx="3595">
                  <c:v>#N/A</c:v>
                </c:pt>
                <c:pt idx="3596">
                  <c:v>#N/A</c:v>
                </c:pt>
                <c:pt idx="3597">
                  <c:v>#N/A</c:v>
                </c:pt>
                <c:pt idx="3598">
                  <c:v>#N/A</c:v>
                </c:pt>
                <c:pt idx="3599">
                  <c:v>#N/A</c:v>
                </c:pt>
                <c:pt idx="3600">
                  <c:v>#N/A</c:v>
                </c:pt>
                <c:pt idx="3601">
                  <c:v>#N/A</c:v>
                </c:pt>
                <c:pt idx="3602">
                  <c:v>#N/A</c:v>
                </c:pt>
                <c:pt idx="3603">
                  <c:v>#N/A</c:v>
                </c:pt>
                <c:pt idx="3604">
                  <c:v>#N/A</c:v>
                </c:pt>
                <c:pt idx="3605">
                  <c:v>#N/A</c:v>
                </c:pt>
                <c:pt idx="3606">
                  <c:v>#N/A</c:v>
                </c:pt>
                <c:pt idx="3607">
                  <c:v>#N/A</c:v>
                </c:pt>
                <c:pt idx="3608">
                  <c:v>#N/A</c:v>
                </c:pt>
                <c:pt idx="3609">
                  <c:v>#N/A</c:v>
                </c:pt>
                <c:pt idx="3610">
                  <c:v>#N/A</c:v>
                </c:pt>
                <c:pt idx="3611">
                  <c:v>#N/A</c:v>
                </c:pt>
                <c:pt idx="3612">
                  <c:v>#N/A</c:v>
                </c:pt>
                <c:pt idx="3613">
                  <c:v>#N/A</c:v>
                </c:pt>
                <c:pt idx="3614">
                  <c:v>#N/A</c:v>
                </c:pt>
                <c:pt idx="3615">
                  <c:v>#N/A</c:v>
                </c:pt>
                <c:pt idx="3616">
                  <c:v>#N/A</c:v>
                </c:pt>
                <c:pt idx="3617">
                  <c:v>#N/A</c:v>
                </c:pt>
                <c:pt idx="3618">
                  <c:v>#N/A</c:v>
                </c:pt>
                <c:pt idx="3619">
                  <c:v>#N/A</c:v>
                </c:pt>
                <c:pt idx="3620">
                  <c:v>#N/A</c:v>
                </c:pt>
                <c:pt idx="3621">
                  <c:v>#N/A</c:v>
                </c:pt>
                <c:pt idx="3622">
                  <c:v>#N/A</c:v>
                </c:pt>
                <c:pt idx="3623">
                  <c:v>#N/A</c:v>
                </c:pt>
                <c:pt idx="3624">
                  <c:v>#N/A</c:v>
                </c:pt>
                <c:pt idx="3625">
                  <c:v>#N/A</c:v>
                </c:pt>
                <c:pt idx="3626">
                  <c:v>#N/A</c:v>
                </c:pt>
                <c:pt idx="3627">
                  <c:v>#N/A</c:v>
                </c:pt>
                <c:pt idx="3628">
                  <c:v>#N/A</c:v>
                </c:pt>
                <c:pt idx="3629">
                  <c:v>#N/A</c:v>
                </c:pt>
                <c:pt idx="3630">
                  <c:v>#N/A</c:v>
                </c:pt>
                <c:pt idx="3631">
                  <c:v>#N/A</c:v>
                </c:pt>
                <c:pt idx="3632">
                  <c:v>#N/A</c:v>
                </c:pt>
                <c:pt idx="3633">
                  <c:v>#N/A</c:v>
                </c:pt>
                <c:pt idx="3634">
                  <c:v>#N/A</c:v>
                </c:pt>
                <c:pt idx="3635">
                  <c:v>#N/A</c:v>
                </c:pt>
                <c:pt idx="3636">
                  <c:v>#N/A</c:v>
                </c:pt>
                <c:pt idx="3637">
                  <c:v>#N/A</c:v>
                </c:pt>
                <c:pt idx="3638">
                  <c:v>#N/A</c:v>
                </c:pt>
                <c:pt idx="3639">
                  <c:v>#N/A</c:v>
                </c:pt>
                <c:pt idx="3640">
                  <c:v>#N/A</c:v>
                </c:pt>
                <c:pt idx="3641">
                  <c:v>#N/A</c:v>
                </c:pt>
                <c:pt idx="3642">
                  <c:v>#N/A</c:v>
                </c:pt>
                <c:pt idx="3643">
                  <c:v>#N/A</c:v>
                </c:pt>
                <c:pt idx="3644">
                  <c:v>#N/A</c:v>
                </c:pt>
                <c:pt idx="3645">
                  <c:v>#N/A</c:v>
                </c:pt>
                <c:pt idx="3646">
                  <c:v>#N/A</c:v>
                </c:pt>
                <c:pt idx="3647">
                  <c:v>#N/A</c:v>
                </c:pt>
                <c:pt idx="3648">
                  <c:v>#N/A</c:v>
                </c:pt>
                <c:pt idx="3649">
                  <c:v>#N/A</c:v>
                </c:pt>
                <c:pt idx="3650">
                  <c:v>#N/A</c:v>
                </c:pt>
                <c:pt idx="3651">
                  <c:v>#N/A</c:v>
                </c:pt>
                <c:pt idx="3652">
                  <c:v>#N/A</c:v>
                </c:pt>
                <c:pt idx="3653">
                  <c:v>#N/A</c:v>
                </c:pt>
                <c:pt idx="3654">
                  <c:v>#N/A</c:v>
                </c:pt>
                <c:pt idx="3655">
                  <c:v>#N/A</c:v>
                </c:pt>
                <c:pt idx="3656">
                  <c:v>#N/A</c:v>
                </c:pt>
                <c:pt idx="3657">
                  <c:v>#N/A</c:v>
                </c:pt>
                <c:pt idx="3658">
                  <c:v>#N/A</c:v>
                </c:pt>
                <c:pt idx="3659">
                  <c:v>#N/A</c:v>
                </c:pt>
                <c:pt idx="3660">
                  <c:v>#N/A</c:v>
                </c:pt>
                <c:pt idx="3661">
                  <c:v>#N/A</c:v>
                </c:pt>
                <c:pt idx="3662">
                  <c:v>#N/A</c:v>
                </c:pt>
                <c:pt idx="3663">
                  <c:v>#N/A</c:v>
                </c:pt>
                <c:pt idx="3664">
                  <c:v>#N/A</c:v>
                </c:pt>
                <c:pt idx="3665">
                  <c:v>#N/A</c:v>
                </c:pt>
                <c:pt idx="3666">
                  <c:v>#N/A</c:v>
                </c:pt>
                <c:pt idx="3667">
                  <c:v>#N/A</c:v>
                </c:pt>
                <c:pt idx="3668">
                  <c:v>#N/A</c:v>
                </c:pt>
                <c:pt idx="3669">
                  <c:v>#N/A</c:v>
                </c:pt>
                <c:pt idx="3670">
                  <c:v>#N/A</c:v>
                </c:pt>
                <c:pt idx="3671">
                  <c:v>#N/A</c:v>
                </c:pt>
                <c:pt idx="3672">
                  <c:v>#N/A</c:v>
                </c:pt>
                <c:pt idx="3673">
                  <c:v>#N/A</c:v>
                </c:pt>
                <c:pt idx="3674">
                  <c:v>#N/A</c:v>
                </c:pt>
                <c:pt idx="3675">
                  <c:v>#N/A</c:v>
                </c:pt>
                <c:pt idx="3676">
                  <c:v>#N/A</c:v>
                </c:pt>
                <c:pt idx="3677">
                  <c:v>#N/A</c:v>
                </c:pt>
                <c:pt idx="3678">
                  <c:v>#N/A</c:v>
                </c:pt>
                <c:pt idx="3679">
                  <c:v>#N/A</c:v>
                </c:pt>
                <c:pt idx="3680">
                  <c:v>#N/A</c:v>
                </c:pt>
                <c:pt idx="3681">
                  <c:v>#N/A</c:v>
                </c:pt>
                <c:pt idx="3682">
                  <c:v>#N/A</c:v>
                </c:pt>
                <c:pt idx="3683">
                  <c:v>#N/A</c:v>
                </c:pt>
                <c:pt idx="3684">
                  <c:v>#N/A</c:v>
                </c:pt>
                <c:pt idx="3685">
                  <c:v>#N/A</c:v>
                </c:pt>
                <c:pt idx="3686">
                  <c:v>#N/A</c:v>
                </c:pt>
                <c:pt idx="3687">
                  <c:v>#N/A</c:v>
                </c:pt>
                <c:pt idx="3688">
                  <c:v>#N/A</c:v>
                </c:pt>
                <c:pt idx="3689">
                  <c:v>#N/A</c:v>
                </c:pt>
                <c:pt idx="3690">
                  <c:v>#N/A</c:v>
                </c:pt>
                <c:pt idx="3691">
                  <c:v>#N/A</c:v>
                </c:pt>
                <c:pt idx="3692">
                  <c:v>#N/A</c:v>
                </c:pt>
                <c:pt idx="3693">
                  <c:v>#N/A</c:v>
                </c:pt>
                <c:pt idx="3694">
                  <c:v>#N/A</c:v>
                </c:pt>
                <c:pt idx="3695">
                  <c:v>#N/A</c:v>
                </c:pt>
                <c:pt idx="3696">
                  <c:v>#N/A</c:v>
                </c:pt>
                <c:pt idx="3697">
                  <c:v>#N/A</c:v>
                </c:pt>
                <c:pt idx="3698">
                  <c:v>#N/A</c:v>
                </c:pt>
                <c:pt idx="3699">
                  <c:v>#N/A</c:v>
                </c:pt>
                <c:pt idx="3700">
                  <c:v>#N/A</c:v>
                </c:pt>
                <c:pt idx="3701">
                  <c:v>#N/A</c:v>
                </c:pt>
                <c:pt idx="3702">
                  <c:v>#N/A</c:v>
                </c:pt>
                <c:pt idx="3703">
                  <c:v>#N/A</c:v>
                </c:pt>
                <c:pt idx="3704">
                  <c:v>#N/A</c:v>
                </c:pt>
                <c:pt idx="3705">
                  <c:v>#N/A</c:v>
                </c:pt>
                <c:pt idx="3706">
                  <c:v>#N/A</c:v>
                </c:pt>
                <c:pt idx="3707">
                  <c:v>#N/A</c:v>
                </c:pt>
                <c:pt idx="3708">
                  <c:v>#N/A</c:v>
                </c:pt>
                <c:pt idx="3709">
                  <c:v>#N/A</c:v>
                </c:pt>
                <c:pt idx="3710">
                  <c:v>#N/A</c:v>
                </c:pt>
                <c:pt idx="3711">
                  <c:v>#N/A</c:v>
                </c:pt>
                <c:pt idx="3712">
                  <c:v>#N/A</c:v>
                </c:pt>
                <c:pt idx="3713">
                  <c:v>#N/A</c:v>
                </c:pt>
                <c:pt idx="3714">
                  <c:v>#N/A</c:v>
                </c:pt>
                <c:pt idx="3715">
                  <c:v>#N/A</c:v>
                </c:pt>
                <c:pt idx="3716">
                  <c:v>#N/A</c:v>
                </c:pt>
                <c:pt idx="3717">
                  <c:v>#N/A</c:v>
                </c:pt>
                <c:pt idx="3718">
                  <c:v>#N/A</c:v>
                </c:pt>
                <c:pt idx="3719">
                  <c:v>#N/A</c:v>
                </c:pt>
                <c:pt idx="3720">
                  <c:v>#N/A</c:v>
                </c:pt>
                <c:pt idx="3721">
                  <c:v>#N/A</c:v>
                </c:pt>
                <c:pt idx="3722">
                  <c:v>#N/A</c:v>
                </c:pt>
                <c:pt idx="3723">
                  <c:v>#N/A</c:v>
                </c:pt>
                <c:pt idx="3724">
                  <c:v>#N/A</c:v>
                </c:pt>
                <c:pt idx="3725">
                  <c:v>#N/A</c:v>
                </c:pt>
                <c:pt idx="3726">
                  <c:v>#N/A</c:v>
                </c:pt>
                <c:pt idx="3727">
                  <c:v>#N/A</c:v>
                </c:pt>
                <c:pt idx="3728">
                  <c:v>#N/A</c:v>
                </c:pt>
                <c:pt idx="3729">
                  <c:v>#N/A</c:v>
                </c:pt>
                <c:pt idx="3730">
                  <c:v>#N/A</c:v>
                </c:pt>
                <c:pt idx="3731">
                  <c:v>#N/A</c:v>
                </c:pt>
                <c:pt idx="3732">
                  <c:v>#N/A</c:v>
                </c:pt>
                <c:pt idx="3733">
                  <c:v>#N/A</c:v>
                </c:pt>
                <c:pt idx="3734">
                  <c:v>#N/A</c:v>
                </c:pt>
                <c:pt idx="3735">
                  <c:v>#N/A</c:v>
                </c:pt>
                <c:pt idx="3736">
                  <c:v>#N/A</c:v>
                </c:pt>
                <c:pt idx="3737">
                  <c:v>#N/A</c:v>
                </c:pt>
                <c:pt idx="3738">
                  <c:v>#N/A</c:v>
                </c:pt>
                <c:pt idx="3739">
                  <c:v>#N/A</c:v>
                </c:pt>
                <c:pt idx="3740">
                  <c:v>#N/A</c:v>
                </c:pt>
                <c:pt idx="3741">
                  <c:v>#N/A</c:v>
                </c:pt>
                <c:pt idx="3742">
                  <c:v>#N/A</c:v>
                </c:pt>
                <c:pt idx="3743">
                  <c:v>#N/A</c:v>
                </c:pt>
                <c:pt idx="3744">
                  <c:v>#N/A</c:v>
                </c:pt>
                <c:pt idx="3745">
                  <c:v>#N/A</c:v>
                </c:pt>
                <c:pt idx="3746">
                  <c:v>#N/A</c:v>
                </c:pt>
                <c:pt idx="3747">
                  <c:v>#N/A</c:v>
                </c:pt>
                <c:pt idx="3748">
                  <c:v>#N/A</c:v>
                </c:pt>
                <c:pt idx="3749">
                  <c:v>#N/A</c:v>
                </c:pt>
                <c:pt idx="3750">
                  <c:v>#N/A</c:v>
                </c:pt>
                <c:pt idx="3751">
                  <c:v>#N/A</c:v>
                </c:pt>
                <c:pt idx="3752">
                  <c:v>#N/A</c:v>
                </c:pt>
                <c:pt idx="3753">
                  <c:v>#N/A</c:v>
                </c:pt>
                <c:pt idx="3754">
                  <c:v>#N/A</c:v>
                </c:pt>
                <c:pt idx="3755">
                  <c:v>#N/A</c:v>
                </c:pt>
                <c:pt idx="3756">
                  <c:v>#N/A</c:v>
                </c:pt>
                <c:pt idx="3757">
                  <c:v>#N/A</c:v>
                </c:pt>
                <c:pt idx="3758">
                  <c:v>#N/A</c:v>
                </c:pt>
                <c:pt idx="3759">
                  <c:v>#N/A</c:v>
                </c:pt>
                <c:pt idx="3760">
                  <c:v>#N/A</c:v>
                </c:pt>
                <c:pt idx="3761">
                  <c:v>#N/A</c:v>
                </c:pt>
                <c:pt idx="3762">
                  <c:v>#N/A</c:v>
                </c:pt>
                <c:pt idx="3763">
                  <c:v>#N/A</c:v>
                </c:pt>
                <c:pt idx="3764">
                  <c:v>#N/A</c:v>
                </c:pt>
                <c:pt idx="3765">
                  <c:v>#N/A</c:v>
                </c:pt>
                <c:pt idx="3766">
                  <c:v>#N/A</c:v>
                </c:pt>
                <c:pt idx="3767">
                  <c:v>#N/A</c:v>
                </c:pt>
                <c:pt idx="3768">
                  <c:v>#N/A</c:v>
                </c:pt>
                <c:pt idx="3769">
                  <c:v>#N/A</c:v>
                </c:pt>
                <c:pt idx="3770">
                  <c:v>#N/A</c:v>
                </c:pt>
                <c:pt idx="3771">
                  <c:v>#N/A</c:v>
                </c:pt>
                <c:pt idx="3772">
                  <c:v>#N/A</c:v>
                </c:pt>
                <c:pt idx="3773">
                  <c:v>#N/A</c:v>
                </c:pt>
                <c:pt idx="3774">
                  <c:v>#N/A</c:v>
                </c:pt>
                <c:pt idx="3775">
                  <c:v>#N/A</c:v>
                </c:pt>
                <c:pt idx="3776">
                  <c:v>#N/A</c:v>
                </c:pt>
                <c:pt idx="3777">
                  <c:v>#N/A</c:v>
                </c:pt>
                <c:pt idx="3778">
                  <c:v>#N/A</c:v>
                </c:pt>
                <c:pt idx="3779">
                  <c:v>#N/A</c:v>
                </c:pt>
                <c:pt idx="3780">
                  <c:v>#N/A</c:v>
                </c:pt>
                <c:pt idx="3781">
                  <c:v>#N/A</c:v>
                </c:pt>
                <c:pt idx="3782">
                  <c:v>#N/A</c:v>
                </c:pt>
                <c:pt idx="3783">
                  <c:v>#N/A</c:v>
                </c:pt>
                <c:pt idx="3784">
                  <c:v>#N/A</c:v>
                </c:pt>
                <c:pt idx="3785">
                  <c:v>#N/A</c:v>
                </c:pt>
                <c:pt idx="3786">
                  <c:v>#N/A</c:v>
                </c:pt>
                <c:pt idx="3787">
                  <c:v>#N/A</c:v>
                </c:pt>
                <c:pt idx="3788">
                  <c:v>#N/A</c:v>
                </c:pt>
                <c:pt idx="3789">
                  <c:v>#N/A</c:v>
                </c:pt>
                <c:pt idx="3790">
                  <c:v>#N/A</c:v>
                </c:pt>
                <c:pt idx="3791">
                  <c:v>#N/A</c:v>
                </c:pt>
                <c:pt idx="3792">
                  <c:v>#N/A</c:v>
                </c:pt>
                <c:pt idx="3793">
                  <c:v>#N/A</c:v>
                </c:pt>
                <c:pt idx="3794">
                  <c:v>#N/A</c:v>
                </c:pt>
                <c:pt idx="3795">
                  <c:v>#N/A</c:v>
                </c:pt>
                <c:pt idx="3796">
                  <c:v>#N/A</c:v>
                </c:pt>
                <c:pt idx="3797">
                  <c:v>#N/A</c:v>
                </c:pt>
                <c:pt idx="3798">
                  <c:v>#N/A</c:v>
                </c:pt>
                <c:pt idx="3799">
                  <c:v>#N/A</c:v>
                </c:pt>
                <c:pt idx="3800">
                  <c:v>#N/A</c:v>
                </c:pt>
                <c:pt idx="3801">
                  <c:v>#N/A</c:v>
                </c:pt>
                <c:pt idx="3802">
                  <c:v>#N/A</c:v>
                </c:pt>
                <c:pt idx="3803">
                  <c:v>#N/A</c:v>
                </c:pt>
                <c:pt idx="3804">
                  <c:v>#N/A</c:v>
                </c:pt>
                <c:pt idx="3805">
                  <c:v>#N/A</c:v>
                </c:pt>
                <c:pt idx="3806">
                  <c:v>#N/A</c:v>
                </c:pt>
                <c:pt idx="3807">
                  <c:v>#N/A</c:v>
                </c:pt>
                <c:pt idx="3808">
                  <c:v>#N/A</c:v>
                </c:pt>
                <c:pt idx="3809">
                  <c:v>#N/A</c:v>
                </c:pt>
                <c:pt idx="3810">
                  <c:v>#N/A</c:v>
                </c:pt>
                <c:pt idx="3811">
                  <c:v>#N/A</c:v>
                </c:pt>
                <c:pt idx="3812">
                  <c:v>#N/A</c:v>
                </c:pt>
                <c:pt idx="3813">
                  <c:v>#N/A</c:v>
                </c:pt>
                <c:pt idx="3814">
                  <c:v>#N/A</c:v>
                </c:pt>
                <c:pt idx="3815">
                  <c:v>#N/A</c:v>
                </c:pt>
                <c:pt idx="3816">
                  <c:v>#N/A</c:v>
                </c:pt>
                <c:pt idx="3817">
                  <c:v>#N/A</c:v>
                </c:pt>
                <c:pt idx="3818">
                  <c:v>#N/A</c:v>
                </c:pt>
                <c:pt idx="3819">
                  <c:v>#N/A</c:v>
                </c:pt>
                <c:pt idx="3820">
                  <c:v>#N/A</c:v>
                </c:pt>
                <c:pt idx="3821">
                  <c:v>#N/A</c:v>
                </c:pt>
                <c:pt idx="3822">
                  <c:v>#N/A</c:v>
                </c:pt>
                <c:pt idx="3823">
                  <c:v>#N/A</c:v>
                </c:pt>
                <c:pt idx="3824">
                  <c:v>#N/A</c:v>
                </c:pt>
                <c:pt idx="3825">
                  <c:v>#N/A</c:v>
                </c:pt>
                <c:pt idx="3826">
                  <c:v>#N/A</c:v>
                </c:pt>
                <c:pt idx="3827">
                  <c:v>#N/A</c:v>
                </c:pt>
                <c:pt idx="3828">
                  <c:v>#N/A</c:v>
                </c:pt>
                <c:pt idx="3829">
                  <c:v>#N/A</c:v>
                </c:pt>
                <c:pt idx="3830">
                  <c:v>#N/A</c:v>
                </c:pt>
                <c:pt idx="3831">
                  <c:v>#N/A</c:v>
                </c:pt>
                <c:pt idx="3832">
                  <c:v>#N/A</c:v>
                </c:pt>
                <c:pt idx="3833">
                  <c:v>#N/A</c:v>
                </c:pt>
                <c:pt idx="3834">
                  <c:v>#N/A</c:v>
                </c:pt>
                <c:pt idx="3835">
                  <c:v>#N/A</c:v>
                </c:pt>
                <c:pt idx="3836">
                  <c:v>#N/A</c:v>
                </c:pt>
                <c:pt idx="3837">
                  <c:v>#N/A</c:v>
                </c:pt>
                <c:pt idx="3838">
                  <c:v>#N/A</c:v>
                </c:pt>
                <c:pt idx="3839">
                  <c:v>#N/A</c:v>
                </c:pt>
                <c:pt idx="3840">
                  <c:v>#N/A</c:v>
                </c:pt>
                <c:pt idx="3841">
                  <c:v>#N/A</c:v>
                </c:pt>
                <c:pt idx="3842">
                  <c:v>#N/A</c:v>
                </c:pt>
                <c:pt idx="3843">
                  <c:v>#N/A</c:v>
                </c:pt>
                <c:pt idx="3844">
                  <c:v>#N/A</c:v>
                </c:pt>
                <c:pt idx="3845">
                  <c:v>#N/A</c:v>
                </c:pt>
                <c:pt idx="3846">
                  <c:v>#N/A</c:v>
                </c:pt>
                <c:pt idx="3847">
                  <c:v>#N/A</c:v>
                </c:pt>
                <c:pt idx="3848">
                  <c:v>#N/A</c:v>
                </c:pt>
                <c:pt idx="3849">
                  <c:v>#N/A</c:v>
                </c:pt>
                <c:pt idx="3850">
                  <c:v>#N/A</c:v>
                </c:pt>
                <c:pt idx="3851">
                  <c:v>#N/A</c:v>
                </c:pt>
                <c:pt idx="3852">
                  <c:v>#N/A</c:v>
                </c:pt>
                <c:pt idx="3853">
                  <c:v>#N/A</c:v>
                </c:pt>
                <c:pt idx="3854">
                  <c:v>#N/A</c:v>
                </c:pt>
                <c:pt idx="3855">
                  <c:v>#N/A</c:v>
                </c:pt>
                <c:pt idx="3856">
                  <c:v>#N/A</c:v>
                </c:pt>
                <c:pt idx="3857">
                  <c:v>#N/A</c:v>
                </c:pt>
                <c:pt idx="3858">
                  <c:v>#N/A</c:v>
                </c:pt>
                <c:pt idx="3859">
                  <c:v>#N/A</c:v>
                </c:pt>
                <c:pt idx="3860">
                  <c:v>#N/A</c:v>
                </c:pt>
                <c:pt idx="3861">
                  <c:v>#N/A</c:v>
                </c:pt>
                <c:pt idx="3862">
                  <c:v>#N/A</c:v>
                </c:pt>
                <c:pt idx="3863">
                  <c:v>#N/A</c:v>
                </c:pt>
                <c:pt idx="3864">
                  <c:v>#N/A</c:v>
                </c:pt>
                <c:pt idx="3865">
                  <c:v>#N/A</c:v>
                </c:pt>
                <c:pt idx="3866">
                  <c:v>#N/A</c:v>
                </c:pt>
                <c:pt idx="3867">
                  <c:v>#N/A</c:v>
                </c:pt>
                <c:pt idx="3868">
                  <c:v>#N/A</c:v>
                </c:pt>
                <c:pt idx="3869">
                  <c:v>#N/A</c:v>
                </c:pt>
                <c:pt idx="3870">
                  <c:v>#N/A</c:v>
                </c:pt>
                <c:pt idx="3871">
                  <c:v>#N/A</c:v>
                </c:pt>
                <c:pt idx="3872">
                  <c:v>#N/A</c:v>
                </c:pt>
                <c:pt idx="3873">
                  <c:v>#N/A</c:v>
                </c:pt>
                <c:pt idx="3874">
                  <c:v>#N/A</c:v>
                </c:pt>
                <c:pt idx="3875">
                  <c:v>#N/A</c:v>
                </c:pt>
                <c:pt idx="3876">
                  <c:v>#N/A</c:v>
                </c:pt>
                <c:pt idx="3877">
                  <c:v>#N/A</c:v>
                </c:pt>
                <c:pt idx="3878">
                  <c:v>#N/A</c:v>
                </c:pt>
                <c:pt idx="3879">
                  <c:v>#N/A</c:v>
                </c:pt>
                <c:pt idx="3880">
                  <c:v>#N/A</c:v>
                </c:pt>
                <c:pt idx="3881">
                  <c:v>#N/A</c:v>
                </c:pt>
                <c:pt idx="3882">
                  <c:v>#N/A</c:v>
                </c:pt>
                <c:pt idx="3883">
                  <c:v>#N/A</c:v>
                </c:pt>
                <c:pt idx="3884">
                  <c:v>#N/A</c:v>
                </c:pt>
                <c:pt idx="3885">
                  <c:v>#N/A</c:v>
                </c:pt>
                <c:pt idx="3886">
                  <c:v>#N/A</c:v>
                </c:pt>
                <c:pt idx="3887">
                  <c:v>#N/A</c:v>
                </c:pt>
                <c:pt idx="3888">
                  <c:v>#N/A</c:v>
                </c:pt>
                <c:pt idx="3889">
                  <c:v>#N/A</c:v>
                </c:pt>
                <c:pt idx="3890">
                  <c:v>#N/A</c:v>
                </c:pt>
                <c:pt idx="3891">
                  <c:v>#N/A</c:v>
                </c:pt>
                <c:pt idx="3892">
                  <c:v>#N/A</c:v>
                </c:pt>
                <c:pt idx="3893">
                  <c:v>#N/A</c:v>
                </c:pt>
                <c:pt idx="3894">
                  <c:v>#N/A</c:v>
                </c:pt>
                <c:pt idx="3895">
                  <c:v>#N/A</c:v>
                </c:pt>
                <c:pt idx="3896">
                  <c:v>#N/A</c:v>
                </c:pt>
                <c:pt idx="3897">
                  <c:v>#N/A</c:v>
                </c:pt>
                <c:pt idx="3898">
                  <c:v>#N/A</c:v>
                </c:pt>
                <c:pt idx="3899">
                  <c:v>#N/A</c:v>
                </c:pt>
                <c:pt idx="3900">
                  <c:v>#N/A</c:v>
                </c:pt>
                <c:pt idx="3901">
                  <c:v>#N/A</c:v>
                </c:pt>
                <c:pt idx="3902">
                  <c:v>#N/A</c:v>
                </c:pt>
                <c:pt idx="3903">
                  <c:v>#N/A</c:v>
                </c:pt>
                <c:pt idx="3904">
                  <c:v>#N/A</c:v>
                </c:pt>
                <c:pt idx="3905">
                  <c:v>#N/A</c:v>
                </c:pt>
                <c:pt idx="3906">
                  <c:v>#N/A</c:v>
                </c:pt>
                <c:pt idx="3907">
                  <c:v>#N/A</c:v>
                </c:pt>
                <c:pt idx="3908">
                  <c:v>#N/A</c:v>
                </c:pt>
                <c:pt idx="3909">
                  <c:v>#N/A</c:v>
                </c:pt>
                <c:pt idx="3910">
                  <c:v>#N/A</c:v>
                </c:pt>
                <c:pt idx="3911">
                  <c:v>#N/A</c:v>
                </c:pt>
                <c:pt idx="3912">
                  <c:v>#N/A</c:v>
                </c:pt>
                <c:pt idx="3913">
                  <c:v>#N/A</c:v>
                </c:pt>
                <c:pt idx="3914">
                  <c:v>#N/A</c:v>
                </c:pt>
                <c:pt idx="3915">
                  <c:v>#N/A</c:v>
                </c:pt>
                <c:pt idx="3916">
                  <c:v>#N/A</c:v>
                </c:pt>
                <c:pt idx="3917">
                  <c:v>#N/A</c:v>
                </c:pt>
                <c:pt idx="3918">
                  <c:v>#N/A</c:v>
                </c:pt>
                <c:pt idx="3919">
                  <c:v>#N/A</c:v>
                </c:pt>
                <c:pt idx="3920">
                  <c:v>#N/A</c:v>
                </c:pt>
                <c:pt idx="3921">
                  <c:v>#N/A</c:v>
                </c:pt>
                <c:pt idx="3922">
                  <c:v>#N/A</c:v>
                </c:pt>
                <c:pt idx="3923">
                  <c:v>#N/A</c:v>
                </c:pt>
                <c:pt idx="3924">
                  <c:v>#N/A</c:v>
                </c:pt>
                <c:pt idx="3925">
                  <c:v>#N/A</c:v>
                </c:pt>
                <c:pt idx="3926">
                  <c:v>#N/A</c:v>
                </c:pt>
                <c:pt idx="3927">
                  <c:v>#N/A</c:v>
                </c:pt>
                <c:pt idx="3928">
                  <c:v>#N/A</c:v>
                </c:pt>
                <c:pt idx="3929">
                  <c:v>#N/A</c:v>
                </c:pt>
                <c:pt idx="3930">
                  <c:v>#N/A</c:v>
                </c:pt>
                <c:pt idx="3931">
                  <c:v>#N/A</c:v>
                </c:pt>
                <c:pt idx="3932">
                  <c:v>#N/A</c:v>
                </c:pt>
                <c:pt idx="3933">
                  <c:v>#N/A</c:v>
                </c:pt>
                <c:pt idx="3934">
                  <c:v>#N/A</c:v>
                </c:pt>
                <c:pt idx="3935">
                  <c:v>#N/A</c:v>
                </c:pt>
                <c:pt idx="3936">
                  <c:v>#N/A</c:v>
                </c:pt>
                <c:pt idx="3937">
                  <c:v>#N/A</c:v>
                </c:pt>
                <c:pt idx="3938">
                  <c:v>#N/A</c:v>
                </c:pt>
                <c:pt idx="3939">
                  <c:v>#N/A</c:v>
                </c:pt>
                <c:pt idx="3940">
                  <c:v>#N/A</c:v>
                </c:pt>
                <c:pt idx="3941">
                  <c:v>#N/A</c:v>
                </c:pt>
                <c:pt idx="3942">
                  <c:v>#N/A</c:v>
                </c:pt>
                <c:pt idx="3943">
                  <c:v>#N/A</c:v>
                </c:pt>
                <c:pt idx="3944">
                  <c:v>#N/A</c:v>
                </c:pt>
                <c:pt idx="3945">
                  <c:v>#N/A</c:v>
                </c:pt>
                <c:pt idx="3946">
                  <c:v>#N/A</c:v>
                </c:pt>
                <c:pt idx="3947">
                  <c:v>#N/A</c:v>
                </c:pt>
                <c:pt idx="3948">
                  <c:v>#N/A</c:v>
                </c:pt>
                <c:pt idx="3949">
                  <c:v>#N/A</c:v>
                </c:pt>
                <c:pt idx="3950">
                  <c:v>#N/A</c:v>
                </c:pt>
                <c:pt idx="3951">
                  <c:v>#N/A</c:v>
                </c:pt>
                <c:pt idx="3952">
                  <c:v>#N/A</c:v>
                </c:pt>
                <c:pt idx="3953">
                  <c:v>#N/A</c:v>
                </c:pt>
                <c:pt idx="3954">
                  <c:v>#N/A</c:v>
                </c:pt>
                <c:pt idx="3955">
                  <c:v>#N/A</c:v>
                </c:pt>
                <c:pt idx="3956">
                  <c:v>#N/A</c:v>
                </c:pt>
                <c:pt idx="3957">
                  <c:v>#N/A</c:v>
                </c:pt>
                <c:pt idx="3958">
                  <c:v>#N/A</c:v>
                </c:pt>
                <c:pt idx="3959">
                  <c:v>#N/A</c:v>
                </c:pt>
                <c:pt idx="3960">
                  <c:v>#N/A</c:v>
                </c:pt>
                <c:pt idx="3961">
                  <c:v>#N/A</c:v>
                </c:pt>
                <c:pt idx="3962">
                  <c:v>#N/A</c:v>
                </c:pt>
                <c:pt idx="3963">
                  <c:v>#N/A</c:v>
                </c:pt>
                <c:pt idx="3964">
                  <c:v>#N/A</c:v>
                </c:pt>
                <c:pt idx="3965">
                  <c:v>#N/A</c:v>
                </c:pt>
                <c:pt idx="3966">
                  <c:v>#N/A</c:v>
                </c:pt>
                <c:pt idx="3967">
                  <c:v>#N/A</c:v>
                </c:pt>
                <c:pt idx="3968">
                  <c:v>#N/A</c:v>
                </c:pt>
                <c:pt idx="3969">
                  <c:v>#N/A</c:v>
                </c:pt>
                <c:pt idx="3970">
                  <c:v>#N/A</c:v>
                </c:pt>
                <c:pt idx="3971">
                  <c:v>#N/A</c:v>
                </c:pt>
                <c:pt idx="3972">
                  <c:v>#N/A</c:v>
                </c:pt>
                <c:pt idx="3973">
                  <c:v>#N/A</c:v>
                </c:pt>
                <c:pt idx="3974">
                  <c:v>#N/A</c:v>
                </c:pt>
                <c:pt idx="3975">
                  <c:v>#N/A</c:v>
                </c:pt>
                <c:pt idx="3976">
                  <c:v>#N/A</c:v>
                </c:pt>
                <c:pt idx="3977">
                  <c:v>#N/A</c:v>
                </c:pt>
                <c:pt idx="3978">
                  <c:v>#N/A</c:v>
                </c:pt>
                <c:pt idx="3979">
                  <c:v>#N/A</c:v>
                </c:pt>
                <c:pt idx="3980">
                  <c:v>#N/A</c:v>
                </c:pt>
                <c:pt idx="3981">
                  <c:v>#N/A</c:v>
                </c:pt>
                <c:pt idx="3982">
                  <c:v>#N/A</c:v>
                </c:pt>
                <c:pt idx="3983">
                  <c:v>#N/A</c:v>
                </c:pt>
                <c:pt idx="3984">
                  <c:v>#N/A</c:v>
                </c:pt>
                <c:pt idx="3985">
                  <c:v>#N/A</c:v>
                </c:pt>
                <c:pt idx="3986">
                  <c:v>#N/A</c:v>
                </c:pt>
                <c:pt idx="3987">
                  <c:v>#N/A</c:v>
                </c:pt>
                <c:pt idx="3988">
                  <c:v>#N/A</c:v>
                </c:pt>
                <c:pt idx="3989">
                  <c:v>#N/A</c:v>
                </c:pt>
                <c:pt idx="3990">
                  <c:v>#N/A</c:v>
                </c:pt>
                <c:pt idx="3991">
                  <c:v>#N/A</c:v>
                </c:pt>
                <c:pt idx="3992">
                  <c:v>#N/A</c:v>
                </c:pt>
                <c:pt idx="3993">
                  <c:v>#N/A</c:v>
                </c:pt>
                <c:pt idx="3994">
                  <c:v>#N/A</c:v>
                </c:pt>
                <c:pt idx="3995">
                  <c:v>#N/A</c:v>
                </c:pt>
                <c:pt idx="3996">
                  <c:v>#N/A</c:v>
                </c:pt>
                <c:pt idx="3997">
                  <c:v>#N/A</c:v>
                </c:pt>
                <c:pt idx="3998">
                  <c:v>#N/A</c:v>
                </c:pt>
                <c:pt idx="3999">
                  <c:v>#N/A</c:v>
                </c:pt>
                <c:pt idx="4000">
                  <c:v>#N/A</c:v>
                </c:pt>
                <c:pt idx="4001">
                  <c:v>#N/A</c:v>
                </c:pt>
                <c:pt idx="4002">
                  <c:v>#N/A</c:v>
                </c:pt>
                <c:pt idx="4003">
                  <c:v>#N/A</c:v>
                </c:pt>
                <c:pt idx="4004">
                  <c:v>#N/A</c:v>
                </c:pt>
                <c:pt idx="4005">
                  <c:v>#N/A</c:v>
                </c:pt>
                <c:pt idx="4006">
                  <c:v>#N/A</c:v>
                </c:pt>
                <c:pt idx="4007">
                  <c:v>#N/A</c:v>
                </c:pt>
                <c:pt idx="4008">
                  <c:v>#N/A</c:v>
                </c:pt>
                <c:pt idx="4009">
                  <c:v>#N/A</c:v>
                </c:pt>
                <c:pt idx="4010">
                  <c:v>#N/A</c:v>
                </c:pt>
                <c:pt idx="4011">
                  <c:v>#N/A</c:v>
                </c:pt>
                <c:pt idx="4012">
                  <c:v>#N/A</c:v>
                </c:pt>
                <c:pt idx="4013">
                  <c:v>#N/A</c:v>
                </c:pt>
                <c:pt idx="4014">
                  <c:v>#N/A</c:v>
                </c:pt>
                <c:pt idx="4015">
                  <c:v>#N/A</c:v>
                </c:pt>
                <c:pt idx="4016">
                  <c:v>#N/A</c:v>
                </c:pt>
                <c:pt idx="4017">
                  <c:v>#N/A</c:v>
                </c:pt>
                <c:pt idx="4018">
                  <c:v>#N/A</c:v>
                </c:pt>
                <c:pt idx="4019">
                  <c:v>#N/A</c:v>
                </c:pt>
                <c:pt idx="4020">
                  <c:v>#N/A</c:v>
                </c:pt>
                <c:pt idx="4021">
                  <c:v>#N/A</c:v>
                </c:pt>
                <c:pt idx="4022">
                  <c:v>#N/A</c:v>
                </c:pt>
                <c:pt idx="4023">
                  <c:v>#N/A</c:v>
                </c:pt>
                <c:pt idx="4024">
                  <c:v>#N/A</c:v>
                </c:pt>
                <c:pt idx="4025">
                  <c:v>#N/A</c:v>
                </c:pt>
                <c:pt idx="4026">
                  <c:v>#N/A</c:v>
                </c:pt>
                <c:pt idx="4027">
                  <c:v>#N/A</c:v>
                </c:pt>
                <c:pt idx="4028">
                  <c:v>#N/A</c:v>
                </c:pt>
                <c:pt idx="4029">
                  <c:v>#N/A</c:v>
                </c:pt>
                <c:pt idx="4030">
                  <c:v>#N/A</c:v>
                </c:pt>
                <c:pt idx="4031">
                  <c:v>#N/A</c:v>
                </c:pt>
                <c:pt idx="4032">
                  <c:v>#N/A</c:v>
                </c:pt>
                <c:pt idx="4033">
                  <c:v>#N/A</c:v>
                </c:pt>
                <c:pt idx="4034">
                  <c:v>#N/A</c:v>
                </c:pt>
                <c:pt idx="4035">
                  <c:v>#N/A</c:v>
                </c:pt>
                <c:pt idx="4036">
                  <c:v>#N/A</c:v>
                </c:pt>
                <c:pt idx="4037">
                  <c:v>#N/A</c:v>
                </c:pt>
                <c:pt idx="4038">
                  <c:v>#N/A</c:v>
                </c:pt>
                <c:pt idx="4039">
                  <c:v>#N/A</c:v>
                </c:pt>
                <c:pt idx="4040">
                  <c:v>#N/A</c:v>
                </c:pt>
                <c:pt idx="4041">
                  <c:v>#N/A</c:v>
                </c:pt>
                <c:pt idx="4042">
                  <c:v>#N/A</c:v>
                </c:pt>
                <c:pt idx="4043">
                  <c:v>#N/A</c:v>
                </c:pt>
                <c:pt idx="4044">
                  <c:v>#N/A</c:v>
                </c:pt>
                <c:pt idx="4045">
                  <c:v>#N/A</c:v>
                </c:pt>
                <c:pt idx="4046">
                  <c:v>#N/A</c:v>
                </c:pt>
                <c:pt idx="4047">
                  <c:v>#N/A</c:v>
                </c:pt>
                <c:pt idx="4048">
                  <c:v>#N/A</c:v>
                </c:pt>
                <c:pt idx="4049">
                  <c:v>#N/A</c:v>
                </c:pt>
                <c:pt idx="4050">
                  <c:v>#N/A</c:v>
                </c:pt>
                <c:pt idx="4051">
                  <c:v>#N/A</c:v>
                </c:pt>
                <c:pt idx="4052">
                  <c:v>#N/A</c:v>
                </c:pt>
                <c:pt idx="4053">
                  <c:v>#N/A</c:v>
                </c:pt>
                <c:pt idx="4054">
                  <c:v>#N/A</c:v>
                </c:pt>
                <c:pt idx="4055">
                  <c:v>#N/A</c:v>
                </c:pt>
                <c:pt idx="4056">
                  <c:v>#N/A</c:v>
                </c:pt>
                <c:pt idx="4057">
                  <c:v>#N/A</c:v>
                </c:pt>
                <c:pt idx="4058">
                  <c:v>#N/A</c:v>
                </c:pt>
                <c:pt idx="4059">
                  <c:v>#N/A</c:v>
                </c:pt>
                <c:pt idx="4060">
                  <c:v>#N/A</c:v>
                </c:pt>
                <c:pt idx="4061">
                  <c:v>#N/A</c:v>
                </c:pt>
                <c:pt idx="4062">
                  <c:v>#N/A</c:v>
                </c:pt>
                <c:pt idx="4063">
                  <c:v>#N/A</c:v>
                </c:pt>
                <c:pt idx="4064">
                  <c:v>#N/A</c:v>
                </c:pt>
                <c:pt idx="4065">
                  <c:v>#N/A</c:v>
                </c:pt>
                <c:pt idx="4066">
                  <c:v>#N/A</c:v>
                </c:pt>
                <c:pt idx="4067">
                  <c:v>#N/A</c:v>
                </c:pt>
                <c:pt idx="4068">
                  <c:v>#N/A</c:v>
                </c:pt>
                <c:pt idx="4069">
                  <c:v>#N/A</c:v>
                </c:pt>
                <c:pt idx="4070">
                  <c:v>#N/A</c:v>
                </c:pt>
                <c:pt idx="4071">
                  <c:v>#N/A</c:v>
                </c:pt>
                <c:pt idx="4072">
                  <c:v>#N/A</c:v>
                </c:pt>
                <c:pt idx="4073">
                  <c:v>#N/A</c:v>
                </c:pt>
                <c:pt idx="4074">
                  <c:v>#N/A</c:v>
                </c:pt>
                <c:pt idx="4075">
                  <c:v>#N/A</c:v>
                </c:pt>
                <c:pt idx="4076">
                  <c:v>#N/A</c:v>
                </c:pt>
                <c:pt idx="4077">
                  <c:v>#N/A</c:v>
                </c:pt>
                <c:pt idx="4078">
                  <c:v>#N/A</c:v>
                </c:pt>
                <c:pt idx="4079">
                  <c:v>#N/A</c:v>
                </c:pt>
                <c:pt idx="4080">
                  <c:v>#N/A</c:v>
                </c:pt>
                <c:pt idx="4081">
                  <c:v>#N/A</c:v>
                </c:pt>
                <c:pt idx="4082">
                  <c:v>#N/A</c:v>
                </c:pt>
                <c:pt idx="4083">
                  <c:v>#N/A</c:v>
                </c:pt>
                <c:pt idx="4084">
                  <c:v>#N/A</c:v>
                </c:pt>
                <c:pt idx="4085">
                  <c:v>#N/A</c:v>
                </c:pt>
                <c:pt idx="4086">
                  <c:v>#N/A</c:v>
                </c:pt>
                <c:pt idx="4087">
                  <c:v>#N/A</c:v>
                </c:pt>
                <c:pt idx="4088">
                  <c:v>#N/A</c:v>
                </c:pt>
                <c:pt idx="4089">
                  <c:v>#N/A</c:v>
                </c:pt>
                <c:pt idx="4090">
                  <c:v>#N/A</c:v>
                </c:pt>
                <c:pt idx="4091">
                  <c:v>#N/A</c:v>
                </c:pt>
                <c:pt idx="4092">
                  <c:v>#N/A</c:v>
                </c:pt>
                <c:pt idx="4093">
                  <c:v>#N/A</c:v>
                </c:pt>
                <c:pt idx="4094">
                  <c:v>#N/A</c:v>
                </c:pt>
                <c:pt idx="4095">
                  <c:v>#N/A</c:v>
                </c:pt>
                <c:pt idx="4096">
                  <c:v>#N/A</c:v>
                </c:pt>
                <c:pt idx="4097">
                  <c:v>#N/A</c:v>
                </c:pt>
                <c:pt idx="4098">
                  <c:v>#N/A</c:v>
                </c:pt>
                <c:pt idx="4099">
                  <c:v>#N/A</c:v>
                </c:pt>
                <c:pt idx="4100">
                  <c:v>#N/A</c:v>
                </c:pt>
                <c:pt idx="4101">
                  <c:v>#N/A</c:v>
                </c:pt>
                <c:pt idx="4102">
                  <c:v>#N/A</c:v>
                </c:pt>
                <c:pt idx="4103">
                  <c:v>#N/A</c:v>
                </c:pt>
                <c:pt idx="4104">
                  <c:v>#N/A</c:v>
                </c:pt>
                <c:pt idx="4105">
                  <c:v>#N/A</c:v>
                </c:pt>
                <c:pt idx="4106">
                  <c:v>#N/A</c:v>
                </c:pt>
                <c:pt idx="4107">
                  <c:v>#N/A</c:v>
                </c:pt>
                <c:pt idx="4108">
                  <c:v>#N/A</c:v>
                </c:pt>
                <c:pt idx="4109">
                  <c:v>#N/A</c:v>
                </c:pt>
                <c:pt idx="4110">
                  <c:v>#N/A</c:v>
                </c:pt>
                <c:pt idx="4111">
                  <c:v>#N/A</c:v>
                </c:pt>
                <c:pt idx="4112">
                  <c:v>#N/A</c:v>
                </c:pt>
                <c:pt idx="4113">
                  <c:v>#N/A</c:v>
                </c:pt>
                <c:pt idx="4114">
                  <c:v>#N/A</c:v>
                </c:pt>
                <c:pt idx="4115">
                  <c:v>#N/A</c:v>
                </c:pt>
                <c:pt idx="4116">
                  <c:v>#N/A</c:v>
                </c:pt>
                <c:pt idx="4117">
                  <c:v>#N/A</c:v>
                </c:pt>
                <c:pt idx="4118">
                  <c:v>#N/A</c:v>
                </c:pt>
                <c:pt idx="4119">
                  <c:v>#N/A</c:v>
                </c:pt>
                <c:pt idx="4120">
                  <c:v>#N/A</c:v>
                </c:pt>
                <c:pt idx="4121">
                  <c:v>#N/A</c:v>
                </c:pt>
                <c:pt idx="4122">
                  <c:v>#N/A</c:v>
                </c:pt>
                <c:pt idx="4123">
                  <c:v>#N/A</c:v>
                </c:pt>
                <c:pt idx="4124">
                  <c:v>#N/A</c:v>
                </c:pt>
                <c:pt idx="4125">
                  <c:v>#N/A</c:v>
                </c:pt>
                <c:pt idx="4126">
                  <c:v>#N/A</c:v>
                </c:pt>
                <c:pt idx="4127">
                  <c:v>#N/A</c:v>
                </c:pt>
                <c:pt idx="4128">
                  <c:v>#N/A</c:v>
                </c:pt>
                <c:pt idx="4129">
                  <c:v>#N/A</c:v>
                </c:pt>
                <c:pt idx="4130">
                  <c:v>#N/A</c:v>
                </c:pt>
                <c:pt idx="4131">
                  <c:v>#N/A</c:v>
                </c:pt>
                <c:pt idx="4132">
                  <c:v>#N/A</c:v>
                </c:pt>
                <c:pt idx="4133">
                  <c:v>#N/A</c:v>
                </c:pt>
                <c:pt idx="4134">
                  <c:v>#N/A</c:v>
                </c:pt>
                <c:pt idx="4135">
                  <c:v>#N/A</c:v>
                </c:pt>
                <c:pt idx="4136">
                  <c:v>#N/A</c:v>
                </c:pt>
                <c:pt idx="4137">
                  <c:v>#N/A</c:v>
                </c:pt>
                <c:pt idx="4138">
                  <c:v>#N/A</c:v>
                </c:pt>
                <c:pt idx="4139">
                  <c:v>#N/A</c:v>
                </c:pt>
                <c:pt idx="4140">
                  <c:v>#N/A</c:v>
                </c:pt>
                <c:pt idx="4141">
                  <c:v>#N/A</c:v>
                </c:pt>
                <c:pt idx="4142">
                  <c:v>#N/A</c:v>
                </c:pt>
                <c:pt idx="4143">
                  <c:v>#N/A</c:v>
                </c:pt>
                <c:pt idx="4144">
                  <c:v>#N/A</c:v>
                </c:pt>
                <c:pt idx="4145">
                  <c:v>#N/A</c:v>
                </c:pt>
                <c:pt idx="4146">
                  <c:v>#N/A</c:v>
                </c:pt>
                <c:pt idx="4147">
                  <c:v>#N/A</c:v>
                </c:pt>
                <c:pt idx="4148">
                  <c:v>#N/A</c:v>
                </c:pt>
                <c:pt idx="4149">
                  <c:v>#N/A</c:v>
                </c:pt>
                <c:pt idx="4150">
                  <c:v>#N/A</c:v>
                </c:pt>
                <c:pt idx="4151">
                  <c:v>#N/A</c:v>
                </c:pt>
                <c:pt idx="4152">
                  <c:v>#N/A</c:v>
                </c:pt>
                <c:pt idx="4153">
                  <c:v>#N/A</c:v>
                </c:pt>
                <c:pt idx="4154">
                  <c:v>#N/A</c:v>
                </c:pt>
                <c:pt idx="4155">
                  <c:v>#N/A</c:v>
                </c:pt>
                <c:pt idx="4156">
                  <c:v>#N/A</c:v>
                </c:pt>
                <c:pt idx="4157">
                  <c:v>#N/A</c:v>
                </c:pt>
                <c:pt idx="4158">
                  <c:v>#N/A</c:v>
                </c:pt>
                <c:pt idx="4159">
                  <c:v>#N/A</c:v>
                </c:pt>
                <c:pt idx="4160">
                  <c:v>#N/A</c:v>
                </c:pt>
                <c:pt idx="4161">
                  <c:v>#N/A</c:v>
                </c:pt>
                <c:pt idx="4162">
                  <c:v>#N/A</c:v>
                </c:pt>
                <c:pt idx="4163">
                  <c:v>#N/A</c:v>
                </c:pt>
                <c:pt idx="4164">
                  <c:v>#N/A</c:v>
                </c:pt>
                <c:pt idx="4165">
                  <c:v>#N/A</c:v>
                </c:pt>
                <c:pt idx="4166">
                  <c:v>#N/A</c:v>
                </c:pt>
                <c:pt idx="4167">
                  <c:v>#N/A</c:v>
                </c:pt>
                <c:pt idx="4168">
                  <c:v>#N/A</c:v>
                </c:pt>
                <c:pt idx="4169">
                  <c:v>#N/A</c:v>
                </c:pt>
                <c:pt idx="4170">
                  <c:v>#N/A</c:v>
                </c:pt>
                <c:pt idx="4171">
                  <c:v>#N/A</c:v>
                </c:pt>
                <c:pt idx="4172">
                  <c:v>#N/A</c:v>
                </c:pt>
                <c:pt idx="4173">
                  <c:v>#N/A</c:v>
                </c:pt>
                <c:pt idx="4174">
                  <c:v>#N/A</c:v>
                </c:pt>
                <c:pt idx="4175">
                  <c:v>#N/A</c:v>
                </c:pt>
                <c:pt idx="4176">
                  <c:v>#N/A</c:v>
                </c:pt>
                <c:pt idx="4177">
                  <c:v>#N/A</c:v>
                </c:pt>
                <c:pt idx="4178">
                  <c:v>#N/A</c:v>
                </c:pt>
                <c:pt idx="4179">
                  <c:v>#N/A</c:v>
                </c:pt>
                <c:pt idx="4180">
                  <c:v>#N/A</c:v>
                </c:pt>
                <c:pt idx="4181">
                  <c:v>#N/A</c:v>
                </c:pt>
                <c:pt idx="4182">
                  <c:v>#N/A</c:v>
                </c:pt>
                <c:pt idx="4183">
                  <c:v>#N/A</c:v>
                </c:pt>
                <c:pt idx="4184">
                  <c:v>#N/A</c:v>
                </c:pt>
                <c:pt idx="4185">
                  <c:v>#N/A</c:v>
                </c:pt>
                <c:pt idx="4186">
                  <c:v>#N/A</c:v>
                </c:pt>
                <c:pt idx="4187">
                  <c:v>#N/A</c:v>
                </c:pt>
                <c:pt idx="4188">
                  <c:v>#N/A</c:v>
                </c:pt>
                <c:pt idx="4189">
                  <c:v>#N/A</c:v>
                </c:pt>
                <c:pt idx="4190">
                  <c:v>#N/A</c:v>
                </c:pt>
                <c:pt idx="4191">
                  <c:v>#N/A</c:v>
                </c:pt>
                <c:pt idx="4192">
                  <c:v>#N/A</c:v>
                </c:pt>
                <c:pt idx="4193">
                  <c:v>#N/A</c:v>
                </c:pt>
                <c:pt idx="4194">
                  <c:v>#N/A</c:v>
                </c:pt>
                <c:pt idx="4195">
                  <c:v>#N/A</c:v>
                </c:pt>
                <c:pt idx="4196">
                  <c:v>#N/A</c:v>
                </c:pt>
                <c:pt idx="4197">
                  <c:v>#N/A</c:v>
                </c:pt>
                <c:pt idx="4198">
                  <c:v>#N/A</c:v>
                </c:pt>
                <c:pt idx="4199">
                  <c:v>#N/A</c:v>
                </c:pt>
                <c:pt idx="4200">
                  <c:v>#N/A</c:v>
                </c:pt>
                <c:pt idx="4201">
                  <c:v>#N/A</c:v>
                </c:pt>
                <c:pt idx="4202">
                  <c:v>#N/A</c:v>
                </c:pt>
                <c:pt idx="4203">
                  <c:v>#N/A</c:v>
                </c:pt>
                <c:pt idx="4204">
                  <c:v>#N/A</c:v>
                </c:pt>
                <c:pt idx="4205">
                  <c:v>#N/A</c:v>
                </c:pt>
                <c:pt idx="4206">
                  <c:v>#N/A</c:v>
                </c:pt>
                <c:pt idx="4207">
                  <c:v>#N/A</c:v>
                </c:pt>
                <c:pt idx="4208">
                  <c:v>#N/A</c:v>
                </c:pt>
                <c:pt idx="4209">
                  <c:v>#N/A</c:v>
                </c:pt>
                <c:pt idx="4210">
                  <c:v>#N/A</c:v>
                </c:pt>
                <c:pt idx="4211">
                  <c:v>#N/A</c:v>
                </c:pt>
                <c:pt idx="4212">
                  <c:v>#N/A</c:v>
                </c:pt>
                <c:pt idx="4213">
                  <c:v>#N/A</c:v>
                </c:pt>
                <c:pt idx="4214">
                  <c:v>#N/A</c:v>
                </c:pt>
                <c:pt idx="4215">
                  <c:v>#N/A</c:v>
                </c:pt>
                <c:pt idx="4216">
                  <c:v>#N/A</c:v>
                </c:pt>
                <c:pt idx="4217">
                  <c:v>#N/A</c:v>
                </c:pt>
                <c:pt idx="4218">
                  <c:v>#N/A</c:v>
                </c:pt>
                <c:pt idx="4219">
                  <c:v>#N/A</c:v>
                </c:pt>
                <c:pt idx="4220">
                  <c:v>#N/A</c:v>
                </c:pt>
                <c:pt idx="4221">
                  <c:v>#N/A</c:v>
                </c:pt>
                <c:pt idx="4222">
                  <c:v>#N/A</c:v>
                </c:pt>
                <c:pt idx="4223">
                  <c:v>#N/A</c:v>
                </c:pt>
                <c:pt idx="4224">
                  <c:v>#N/A</c:v>
                </c:pt>
                <c:pt idx="4225">
                  <c:v>#N/A</c:v>
                </c:pt>
                <c:pt idx="4226">
                  <c:v>#N/A</c:v>
                </c:pt>
                <c:pt idx="4227">
                  <c:v>#N/A</c:v>
                </c:pt>
                <c:pt idx="4228">
                  <c:v>#N/A</c:v>
                </c:pt>
                <c:pt idx="4229">
                  <c:v>#N/A</c:v>
                </c:pt>
                <c:pt idx="4230">
                  <c:v>#N/A</c:v>
                </c:pt>
                <c:pt idx="4231">
                  <c:v>#N/A</c:v>
                </c:pt>
                <c:pt idx="4232">
                  <c:v>#N/A</c:v>
                </c:pt>
                <c:pt idx="4233">
                  <c:v>#N/A</c:v>
                </c:pt>
                <c:pt idx="4234">
                  <c:v>#N/A</c:v>
                </c:pt>
                <c:pt idx="4235">
                  <c:v>#N/A</c:v>
                </c:pt>
                <c:pt idx="4236">
                  <c:v>#N/A</c:v>
                </c:pt>
                <c:pt idx="4237">
                  <c:v>#N/A</c:v>
                </c:pt>
                <c:pt idx="4238">
                  <c:v>#N/A</c:v>
                </c:pt>
                <c:pt idx="4239">
                  <c:v>#N/A</c:v>
                </c:pt>
                <c:pt idx="4240">
                  <c:v>#N/A</c:v>
                </c:pt>
                <c:pt idx="4241">
                  <c:v>#N/A</c:v>
                </c:pt>
                <c:pt idx="4242">
                  <c:v>#N/A</c:v>
                </c:pt>
                <c:pt idx="4243">
                  <c:v>#N/A</c:v>
                </c:pt>
                <c:pt idx="4244">
                  <c:v>#N/A</c:v>
                </c:pt>
                <c:pt idx="4245">
                  <c:v>#N/A</c:v>
                </c:pt>
                <c:pt idx="4246">
                  <c:v>#N/A</c:v>
                </c:pt>
                <c:pt idx="4247">
                  <c:v>#N/A</c:v>
                </c:pt>
                <c:pt idx="4248">
                  <c:v>#N/A</c:v>
                </c:pt>
                <c:pt idx="4249">
                  <c:v>#N/A</c:v>
                </c:pt>
                <c:pt idx="4250">
                  <c:v>#N/A</c:v>
                </c:pt>
                <c:pt idx="4251">
                  <c:v>#N/A</c:v>
                </c:pt>
                <c:pt idx="4252">
                  <c:v>#N/A</c:v>
                </c:pt>
                <c:pt idx="4253">
                  <c:v>#N/A</c:v>
                </c:pt>
                <c:pt idx="4254">
                  <c:v>#N/A</c:v>
                </c:pt>
                <c:pt idx="4255">
                  <c:v>#N/A</c:v>
                </c:pt>
                <c:pt idx="4256">
                  <c:v>#N/A</c:v>
                </c:pt>
                <c:pt idx="4257">
                  <c:v>#N/A</c:v>
                </c:pt>
                <c:pt idx="4258">
                  <c:v>#N/A</c:v>
                </c:pt>
                <c:pt idx="4259">
                  <c:v>#N/A</c:v>
                </c:pt>
                <c:pt idx="4260">
                  <c:v>#N/A</c:v>
                </c:pt>
                <c:pt idx="4261">
                  <c:v>#N/A</c:v>
                </c:pt>
                <c:pt idx="4262">
                  <c:v>#N/A</c:v>
                </c:pt>
                <c:pt idx="4263">
                  <c:v>#N/A</c:v>
                </c:pt>
                <c:pt idx="4264">
                  <c:v>#N/A</c:v>
                </c:pt>
                <c:pt idx="4265">
                  <c:v>#N/A</c:v>
                </c:pt>
                <c:pt idx="4266">
                  <c:v>#N/A</c:v>
                </c:pt>
                <c:pt idx="4267">
                  <c:v>#N/A</c:v>
                </c:pt>
                <c:pt idx="4268">
                  <c:v>#N/A</c:v>
                </c:pt>
                <c:pt idx="4269">
                  <c:v>#N/A</c:v>
                </c:pt>
                <c:pt idx="4270">
                  <c:v>#N/A</c:v>
                </c:pt>
                <c:pt idx="4271">
                  <c:v>#N/A</c:v>
                </c:pt>
                <c:pt idx="4272">
                  <c:v>#N/A</c:v>
                </c:pt>
                <c:pt idx="4273">
                  <c:v>#N/A</c:v>
                </c:pt>
                <c:pt idx="4274">
                  <c:v>#N/A</c:v>
                </c:pt>
                <c:pt idx="4275">
                  <c:v>#N/A</c:v>
                </c:pt>
                <c:pt idx="4276">
                  <c:v>#N/A</c:v>
                </c:pt>
                <c:pt idx="4277">
                  <c:v>#N/A</c:v>
                </c:pt>
                <c:pt idx="4278">
                  <c:v>#N/A</c:v>
                </c:pt>
                <c:pt idx="4279">
                  <c:v>#N/A</c:v>
                </c:pt>
                <c:pt idx="4280">
                  <c:v>#N/A</c:v>
                </c:pt>
                <c:pt idx="4281">
                  <c:v>#N/A</c:v>
                </c:pt>
                <c:pt idx="4282">
                  <c:v>#N/A</c:v>
                </c:pt>
                <c:pt idx="4283">
                  <c:v>#N/A</c:v>
                </c:pt>
                <c:pt idx="4284">
                  <c:v>#N/A</c:v>
                </c:pt>
                <c:pt idx="4285">
                  <c:v>#N/A</c:v>
                </c:pt>
                <c:pt idx="4286">
                  <c:v>#N/A</c:v>
                </c:pt>
                <c:pt idx="4287">
                  <c:v>#N/A</c:v>
                </c:pt>
                <c:pt idx="4288">
                  <c:v>#N/A</c:v>
                </c:pt>
                <c:pt idx="4289">
                  <c:v>#N/A</c:v>
                </c:pt>
                <c:pt idx="4290">
                  <c:v>#N/A</c:v>
                </c:pt>
                <c:pt idx="4291">
                  <c:v>#N/A</c:v>
                </c:pt>
                <c:pt idx="4292">
                  <c:v>#N/A</c:v>
                </c:pt>
                <c:pt idx="4293">
                  <c:v>#N/A</c:v>
                </c:pt>
                <c:pt idx="4294">
                  <c:v>#N/A</c:v>
                </c:pt>
                <c:pt idx="4295">
                  <c:v>#N/A</c:v>
                </c:pt>
                <c:pt idx="4296">
                  <c:v>#N/A</c:v>
                </c:pt>
                <c:pt idx="4297">
                  <c:v>#N/A</c:v>
                </c:pt>
                <c:pt idx="4298">
                  <c:v>#N/A</c:v>
                </c:pt>
                <c:pt idx="4299">
                  <c:v>#N/A</c:v>
                </c:pt>
                <c:pt idx="4300">
                  <c:v>#N/A</c:v>
                </c:pt>
                <c:pt idx="4301">
                  <c:v>#N/A</c:v>
                </c:pt>
                <c:pt idx="4302">
                  <c:v>#N/A</c:v>
                </c:pt>
                <c:pt idx="4303">
                  <c:v>#N/A</c:v>
                </c:pt>
                <c:pt idx="4304">
                  <c:v>#N/A</c:v>
                </c:pt>
                <c:pt idx="4305">
                  <c:v>#N/A</c:v>
                </c:pt>
                <c:pt idx="4306">
                  <c:v>#N/A</c:v>
                </c:pt>
                <c:pt idx="4307">
                  <c:v>#N/A</c:v>
                </c:pt>
                <c:pt idx="4308">
                  <c:v>#N/A</c:v>
                </c:pt>
                <c:pt idx="4309">
                  <c:v>#N/A</c:v>
                </c:pt>
                <c:pt idx="4310">
                  <c:v>#N/A</c:v>
                </c:pt>
                <c:pt idx="4311">
                  <c:v>#N/A</c:v>
                </c:pt>
                <c:pt idx="4312">
                  <c:v>#N/A</c:v>
                </c:pt>
                <c:pt idx="4313">
                  <c:v>#N/A</c:v>
                </c:pt>
                <c:pt idx="4314">
                  <c:v>#N/A</c:v>
                </c:pt>
                <c:pt idx="4315">
                  <c:v>#N/A</c:v>
                </c:pt>
                <c:pt idx="4316">
                  <c:v>#N/A</c:v>
                </c:pt>
                <c:pt idx="4317">
                  <c:v>#N/A</c:v>
                </c:pt>
                <c:pt idx="4318">
                  <c:v>#N/A</c:v>
                </c:pt>
                <c:pt idx="4319">
                  <c:v>#N/A</c:v>
                </c:pt>
                <c:pt idx="4320">
                  <c:v>#N/A</c:v>
                </c:pt>
                <c:pt idx="4321">
                  <c:v>#N/A</c:v>
                </c:pt>
                <c:pt idx="4322">
                  <c:v>#N/A</c:v>
                </c:pt>
                <c:pt idx="4323">
                  <c:v>#N/A</c:v>
                </c:pt>
                <c:pt idx="4324">
                  <c:v>#N/A</c:v>
                </c:pt>
                <c:pt idx="4325">
                  <c:v>#N/A</c:v>
                </c:pt>
                <c:pt idx="4326">
                  <c:v>#N/A</c:v>
                </c:pt>
                <c:pt idx="4327">
                  <c:v>#N/A</c:v>
                </c:pt>
                <c:pt idx="4328">
                  <c:v>#N/A</c:v>
                </c:pt>
                <c:pt idx="4329">
                  <c:v>#N/A</c:v>
                </c:pt>
                <c:pt idx="4330">
                  <c:v>#N/A</c:v>
                </c:pt>
                <c:pt idx="4331">
                  <c:v>#N/A</c:v>
                </c:pt>
                <c:pt idx="4332">
                  <c:v>#N/A</c:v>
                </c:pt>
                <c:pt idx="4333">
                  <c:v>#N/A</c:v>
                </c:pt>
                <c:pt idx="4334">
                  <c:v>#N/A</c:v>
                </c:pt>
                <c:pt idx="4335">
                  <c:v>#N/A</c:v>
                </c:pt>
                <c:pt idx="4336">
                  <c:v>#N/A</c:v>
                </c:pt>
                <c:pt idx="4337">
                  <c:v>#N/A</c:v>
                </c:pt>
                <c:pt idx="4338">
                  <c:v>#N/A</c:v>
                </c:pt>
                <c:pt idx="4339">
                  <c:v>#N/A</c:v>
                </c:pt>
                <c:pt idx="4340">
                  <c:v>#N/A</c:v>
                </c:pt>
                <c:pt idx="4341">
                  <c:v>#N/A</c:v>
                </c:pt>
                <c:pt idx="4342">
                  <c:v>#N/A</c:v>
                </c:pt>
                <c:pt idx="4343">
                  <c:v>#N/A</c:v>
                </c:pt>
                <c:pt idx="4344">
                  <c:v>#N/A</c:v>
                </c:pt>
                <c:pt idx="4345">
                  <c:v>#N/A</c:v>
                </c:pt>
                <c:pt idx="4346">
                  <c:v>#N/A</c:v>
                </c:pt>
                <c:pt idx="4347">
                  <c:v>#N/A</c:v>
                </c:pt>
                <c:pt idx="4348">
                  <c:v>#N/A</c:v>
                </c:pt>
                <c:pt idx="4349">
                  <c:v>#N/A</c:v>
                </c:pt>
                <c:pt idx="4350">
                  <c:v>#N/A</c:v>
                </c:pt>
                <c:pt idx="4351">
                  <c:v>#N/A</c:v>
                </c:pt>
                <c:pt idx="4352">
                  <c:v>#N/A</c:v>
                </c:pt>
                <c:pt idx="4353">
                  <c:v>#N/A</c:v>
                </c:pt>
                <c:pt idx="4354">
                  <c:v>#N/A</c:v>
                </c:pt>
                <c:pt idx="4355">
                  <c:v>#N/A</c:v>
                </c:pt>
                <c:pt idx="4356">
                  <c:v>#N/A</c:v>
                </c:pt>
                <c:pt idx="4357">
                  <c:v>#N/A</c:v>
                </c:pt>
                <c:pt idx="4358">
                  <c:v>#N/A</c:v>
                </c:pt>
                <c:pt idx="4359">
                  <c:v>#N/A</c:v>
                </c:pt>
                <c:pt idx="4360">
                  <c:v>#N/A</c:v>
                </c:pt>
                <c:pt idx="4361">
                  <c:v>#N/A</c:v>
                </c:pt>
                <c:pt idx="4362">
                  <c:v>#N/A</c:v>
                </c:pt>
                <c:pt idx="4363">
                  <c:v>#N/A</c:v>
                </c:pt>
                <c:pt idx="4364">
                  <c:v>#N/A</c:v>
                </c:pt>
                <c:pt idx="4365">
                  <c:v>#N/A</c:v>
                </c:pt>
                <c:pt idx="4366">
                  <c:v>#N/A</c:v>
                </c:pt>
                <c:pt idx="4367">
                  <c:v>#N/A</c:v>
                </c:pt>
                <c:pt idx="4368">
                  <c:v>#N/A</c:v>
                </c:pt>
                <c:pt idx="4369">
                  <c:v>#N/A</c:v>
                </c:pt>
                <c:pt idx="4370">
                  <c:v>#N/A</c:v>
                </c:pt>
                <c:pt idx="4371">
                  <c:v>#N/A</c:v>
                </c:pt>
                <c:pt idx="4372">
                  <c:v>#N/A</c:v>
                </c:pt>
                <c:pt idx="4373">
                  <c:v>#N/A</c:v>
                </c:pt>
                <c:pt idx="4374">
                  <c:v>#N/A</c:v>
                </c:pt>
                <c:pt idx="4375">
                  <c:v>#N/A</c:v>
                </c:pt>
                <c:pt idx="4376">
                  <c:v>#N/A</c:v>
                </c:pt>
                <c:pt idx="4377">
                  <c:v>#N/A</c:v>
                </c:pt>
                <c:pt idx="4378">
                  <c:v>#N/A</c:v>
                </c:pt>
                <c:pt idx="4379">
                  <c:v>#N/A</c:v>
                </c:pt>
                <c:pt idx="4380">
                  <c:v>#N/A</c:v>
                </c:pt>
                <c:pt idx="4381">
                  <c:v>#N/A</c:v>
                </c:pt>
                <c:pt idx="4382">
                  <c:v>#N/A</c:v>
                </c:pt>
                <c:pt idx="4383">
                  <c:v>#N/A</c:v>
                </c:pt>
                <c:pt idx="4384">
                  <c:v>#N/A</c:v>
                </c:pt>
                <c:pt idx="4385">
                  <c:v>#N/A</c:v>
                </c:pt>
                <c:pt idx="4386">
                  <c:v>#N/A</c:v>
                </c:pt>
                <c:pt idx="4387">
                  <c:v>#N/A</c:v>
                </c:pt>
                <c:pt idx="4388">
                  <c:v>#N/A</c:v>
                </c:pt>
                <c:pt idx="4389">
                  <c:v>#N/A</c:v>
                </c:pt>
                <c:pt idx="4390">
                  <c:v>#N/A</c:v>
                </c:pt>
                <c:pt idx="4391">
                  <c:v>#N/A</c:v>
                </c:pt>
                <c:pt idx="4392">
                  <c:v>#N/A</c:v>
                </c:pt>
                <c:pt idx="4393">
                  <c:v>#N/A</c:v>
                </c:pt>
                <c:pt idx="4394">
                  <c:v>#N/A</c:v>
                </c:pt>
                <c:pt idx="4395">
                  <c:v>#N/A</c:v>
                </c:pt>
                <c:pt idx="4396">
                  <c:v>#N/A</c:v>
                </c:pt>
                <c:pt idx="4397">
                  <c:v>#N/A</c:v>
                </c:pt>
                <c:pt idx="4398">
                  <c:v>#N/A</c:v>
                </c:pt>
                <c:pt idx="4399">
                  <c:v>#N/A</c:v>
                </c:pt>
                <c:pt idx="4400">
                  <c:v>#N/A</c:v>
                </c:pt>
                <c:pt idx="4401">
                  <c:v>#N/A</c:v>
                </c:pt>
                <c:pt idx="4402">
                  <c:v>#N/A</c:v>
                </c:pt>
                <c:pt idx="4403">
                  <c:v>#N/A</c:v>
                </c:pt>
                <c:pt idx="4404">
                  <c:v>#N/A</c:v>
                </c:pt>
                <c:pt idx="4405">
                  <c:v>#N/A</c:v>
                </c:pt>
                <c:pt idx="4406">
                  <c:v>#N/A</c:v>
                </c:pt>
                <c:pt idx="4407">
                  <c:v>#N/A</c:v>
                </c:pt>
                <c:pt idx="4408">
                  <c:v>#N/A</c:v>
                </c:pt>
                <c:pt idx="4409">
                  <c:v>#N/A</c:v>
                </c:pt>
                <c:pt idx="4410">
                  <c:v>#N/A</c:v>
                </c:pt>
                <c:pt idx="4411">
                  <c:v>#N/A</c:v>
                </c:pt>
                <c:pt idx="4412">
                  <c:v>#N/A</c:v>
                </c:pt>
                <c:pt idx="4413">
                  <c:v>#N/A</c:v>
                </c:pt>
                <c:pt idx="4414">
                  <c:v>#N/A</c:v>
                </c:pt>
                <c:pt idx="4415">
                  <c:v>#N/A</c:v>
                </c:pt>
                <c:pt idx="4416">
                  <c:v>#N/A</c:v>
                </c:pt>
                <c:pt idx="4417">
                  <c:v>#N/A</c:v>
                </c:pt>
                <c:pt idx="4418">
                  <c:v>#N/A</c:v>
                </c:pt>
                <c:pt idx="4419">
                  <c:v>#N/A</c:v>
                </c:pt>
                <c:pt idx="4420">
                  <c:v>#N/A</c:v>
                </c:pt>
                <c:pt idx="4421">
                  <c:v>#N/A</c:v>
                </c:pt>
                <c:pt idx="4422">
                  <c:v>#N/A</c:v>
                </c:pt>
                <c:pt idx="4423">
                  <c:v>#N/A</c:v>
                </c:pt>
                <c:pt idx="4424">
                  <c:v>#N/A</c:v>
                </c:pt>
                <c:pt idx="4425">
                  <c:v>#N/A</c:v>
                </c:pt>
                <c:pt idx="4426">
                  <c:v>#N/A</c:v>
                </c:pt>
                <c:pt idx="4427">
                  <c:v>1.7123287671232876</c:v>
                </c:pt>
                <c:pt idx="4428">
                  <c:v>#N/A</c:v>
                </c:pt>
                <c:pt idx="4429">
                  <c:v>#N/A</c:v>
                </c:pt>
                <c:pt idx="4430">
                  <c:v>#N/A</c:v>
                </c:pt>
                <c:pt idx="4431">
                  <c:v>#N/A</c:v>
                </c:pt>
                <c:pt idx="4432">
                  <c:v>#N/A</c:v>
                </c:pt>
                <c:pt idx="4433">
                  <c:v>#N/A</c:v>
                </c:pt>
                <c:pt idx="4434">
                  <c:v>#N/A</c:v>
                </c:pt>
                <c:pt idx="4435">
                  <c:v>#N/A</c:v>
                </c:pt>
                <c:pt idx="4436">
                  <c:v>#N/A</c:v>
                </c:pt>
                <c:pt idx="4437">
                  <c:v>#N/A</c:v>
                </c:pt>
                <c:pt idx="4438">
                  <c:v>#N/A</c:v>
                </c:pt>
                <c:pt idx="4439">
                  <c:v>#N/A</c:v>
                </c:pt>
                <c:pt idx="4440">
                  <c:v>#N/A</c:v>
                </c:pt>
                <c:pt idx="4441">
                  <c:v>#N/A</c:v>
                </c:pt>
                <c:pt idx="4442">
                  <c:v>#N/A</c:v>
                </c:pt>
                <c:pt idx="4443">
                  <c:v>#N/A</c:v>
                </c:pt>
                <c:pt idx="4444">
                  <c:v>#N/A</c:v>
                </c:pt>
                <c:pt idx="4445">
                  <c:v>#N/A</c:v>
                </c:pt>
                <c:pt idx="4446">
                  <c:v>#N/A</c:v>
                </c:pt>
                <c:pt idx="4447">
                  <c:v>#N/A</c:v>
                </c:pt>
                <c:pt idx="4448">
                  <c:v>#N/A</c:v>
                </c:pt>
                <c:pt idx="4449">
                  <c:v>#N/A</c:v>
                </c:pt>
                <c:pt idx="4450">
                  <c:v>#N/A</c:v>
                </c:pt>
                <c:pt idx="4451">
                  <c:v>#N/A</c:v>
                </c:pt>
                <c:pt idx="4452">
                  <c:v>#N/A</c:v>
                </c:pt>
                <c:pt idx="4453">
                  <c:v>#N/A</c:v>
                </c:pt>
                <c:pt idx="4454">
                  <c:v>#N/A</c:v>
                </c:pt>
                <c:pt idx="4455">
                  <c:v>#N/A</c:v>
                </c:pt>
                <c:pt idx="4456">
                  <c:v>#N/A</c:v>
                </c:pt>
                <c:pt idx="4457">
                  <c:v>#N/A</c:v>
                </c:pt>
                <c:pt idx="4458">
                  <c:v>#N/A</c:v>
                </c:pt>
                <c:pt idx="4459">
                  <c:v>#N/A</c:v>
                </c:pt>
                <c:pt idx="4460">
                  <c:v>#N/A</c:v>
                </c:pt>
                <c:pt idx="4461">
                  <c:v>#N/A</c:v>
                </c:pt>
                <c:pt idx="4462">
                  <c:v>#N/A</c:v>
                </c:pt>
                <c:pt idx="4463">
                  <c:v>#N/A</c:v>
                </c:pt>
                <c:pt idx="4464">
                  <c:v>#N/A</c:v>
                </c:pt>
                <c:pt idx="4465">
                  <c:v>#N/A</c:v>
                </c:pt>
                <c:pt idx="4466">
                  <c:v>#N/A</c:v>
                </c:pt>
                <c:pt idx="4467">
                  <c:v>#N/A</c:v>
                </c:pt>
                <c:pt idx="4468">
                  <c:v>#N/A</c:v>
                </c:pt>
                <c:pt idx="4469">
                  <c:v>#N/A</c:v>
                </c:pt>
                <c:pt idx="4470">
                  <c:v>#N/A</c:v>
                </c:pt>
                <c:pt idx="4471">
                  <c:v>#N/A</c:v>
                </c:pt>
                <c:pt idx="4472">
                  <c:v>#N/A</c:v>
                </c:pt>
                <c:pt idx="4473">
                  <c:v>#N/A</c:v>
                </c:pt>
                <c:pt idx="4474">
                  <c:v>#N/A</c:v>
                </c:pt>
                <c:pt idx="4475">
                  <c:v>#N/A</c:v>
                </c:pt>
                <c:pt idx="4476">
                  <c:v>#N/A</c:v>
                </c:pt>
                <c:pt idx="4477">
                  <c:v>#N/A</c:v>
                </c:pt>
                <c:pt idx="4478">
                  <c:v>#N/A</c:v>
                </c:pt>
                <c:pt idx="4479">
                  <c:v>#N/A</c:v>
                </c:pt>
                <c:pt idx="4480">
                  <c:v>#N/A</c:v>
                </c:pt>
                <c:pt idx="4481">
                  <c:v>#N/A</c:v>
                </c:pt>
                <c:pt idx="4482">
                  <c:v>#N/A</c:v>
                </c:pt>
                <c:pt idx="4483">
                  <c:v>#N/A</c:v>
                </c:pt>
                <c:pt idx="4484">
                  <c:v>#N/A</c:v>
                </c:pt>
                <c:pt idx="4485">
                  <c:v>#N/A</c:v>
                </c:pt>
                <c:pt idx="4486">
                  <c:v>#N/A</c:v>
                </c:pt>
                <c:pt idx="4487">
                  <c:v>#N/A</c:v>
                </c:pt>
                <c:pt idx="4488">
                  <c:v>#N/A</c:v>
                </c:pt>
                <c:pt idx="4489">
                  <c:v>#N/A</c:v>
                </c:pt>
                <c:pt idx="4490">
                  <c:v>#N/A</c:v>
                </c:pt>
                <c:pt idx="4491">
                  <c:v>#N/A</c:v>
                </c:pt>
                <c:pt idx="4492">
                  <c:v>#N/A</c:v>
                </c:pt>
                <c:pt idx="4493">
                  <c:v>#N/A</c:v>
                </c:pt>
                <c:pt idx="4494">
                  <c:v>#N/A</c:v>
                </c:pt>
                <c:pt idx="4495">
                  <c:v>#N/A</c:v>
                </c:pt>
                <c:pt idx="4496">
                  <c:v>#N/A</c:v>
                </c:pt>
                <c:pt idx="4497">
                  <c:v>#N/A</c:v>
                </c:pt>
                <c:pt idx="4498">
                  <c:v>#N/A</c:v>
                </c:pt>
                <c:pt idx="4499">
                  <c:v>#N/A</c:v>
                </c:pt>
                <c:pt idx="4500">
                  <c:v>#N/A</c:v>
                </c:pt>
                <c:pt idx="4501">
                  <c:v>#N/A</c:v>
                </c:pt>
                <c:pt idx="4502">
                  <c:v>#N/A</c:v>
                </c:pt>
                <c:pt idx="4503">
                  <c:v>#N/A</c:v>
                </c:pt>
                <c:pt idx="4504">
                  <c:v>#N/A</c:v>
                </c:pt>
                <c:pt idx="4505">
                  <c:v>#N/A</c:v>
                </c:pt>
                <c:pt idx="4506">
                  <c:v>#N/A</c:v>
                </c:pt>
                <c:pt idx="4507">
                  <c:v>#N/A</c:v>
                </c:pt>
                <c:pt idx="4508">
                  <c:v>#N/A</c:v>
                </c:pt>
                <c:pt idx="4509">
                  <c:v>#N/A</c:v>
                </c:pt>
                <c:pt idx="4510">
                  <c:v>#N/A</c:v>
                </c:pt>
                <c:pt idx="4511">
                  <c:v>#N/A</c:v>
                </c:pt>
                <c:pt idx="4512">
                  <c:v>#N/A</c:v>
                </c:pt>
                <c:pt idx="4513">
                  <c:v>#N/A</c:v>
                </c:pt>
                <c:pt idx="4514">
                  <c:v>#N/A</c:v>
                </c:pt>
                <c:pt idx="4515">
                  <c:v>#N/A</c:v>
                </c:pt>
                <c:pt idx="4516">
                  <c:v>#N/A</c:v>
                </c:pt>
                <c:pt idx="4517">
                  <c:v>#N/A</c:v>
                </c:pt>
                <c:pt idx="4518">
                  <c:v>#N/A</c:v>
                </c:pt>
                <c:pt idx="4519">
                  <c:v>#N/A</c:v>
                </c:pt>
                <c:pt idx="4520">
                  <c:v>#N/A</c:v>
                </c:pt>
                <c:pt idx="4521">
                  <c:v>#N/A</c:v>
                </c:pt>
                <c:pt idx="4522">
                  <c:v>#N/A</c:v>
                </c:pt>
                <c:pt idx="4523">
                  <c:v>#N/A</c:v>
                </c:pt>
                <c:pt idx="4524">
                  <c:v>#N/A</c:v>
                </c:pt>
                <c:pt idx="4525">
                  <c:v>#N/A</c:v>
                </c:pt>
                <c:pt idx="4526">
                  <c:v>#N/A</c:v>
                </c:pt>
                <c:pt idx="4527">
                  <c:v>#N/A</c:v>
                </c:pt>
                <c:pt idx="4528">
                  <c:v>#N/A</c:v>
                </c:pt>
                <c:pt idx="4529">
                  <c:v>#N/A</c:v>
                </c:pt>
                <c:pt idx="4530">
                  <c:v>#N/A</c:v>
                </c:pt>
                <c:pt idx="4531">
                  <c:v>#N/A</c:v>
                </c:pt>
                <c:pt idx="4532">
                  <c:v>#N/A</c:v>
                </c:pt>
                <c:pt idx="4533">
                  <c:v>#N/A</c:v>
                </c:pt>
                <c:pt idx="4534">
                  <c:v>#N/A</c:v>
                </c:pt>
                <c:pt idx="4535">
                  <c:v>#N/A</c:v>
                </c:pt>
                <c:pt idx="4536">
                  <c:v>#N/A</c:v>
                </c:pt>
                <c:pt idx="4537">
                  <c:v>#N/A</c:v>
                </c:pt>
                <c:pt idx="4538">
                  <c:v>#N/A</c:v>
                </c:pt>
                <c:pt idx="4539">
                  <c:v>#N/A</c:v>
                </c:pt>
                <c:pt idx="4540">
                  <c:v>#N/A</c:v>
                </c:pt>
                <c:pt idx="4541">
                  <c:v>#N/A</c:v>
                </c:pt>
                <c:pt idx="4542">
                  <c:v>#N/A</c:v>
                </c:pt>
                <c:pt idx="4543">
                  <c:v>#N/A</c:v>
                </c:pt>
                <c:pt idx="4544">
                  <c:v>#N/A</c:v>
                </c:pt>
                <c:pt idx="4545">
                  <c:v>#N/A</c:v>
                </c:pt>
                <c:pt idx="4546">
                  <c:v>#N/A</c:v>
                </c:pt>
                <c:pt idx="4547">
                  <c:v>#N/A</c:v>
                </c:pt>
                <c:pt idx="4548">
                  <c:v>#N/A</c:v>
                </c:pt>
                <c:pt idx="4549">
                  <c:v>#N/A</c:v>
                </c:pt>
                <c:pt idx="4550">
                  <c:v>#N/A</c:v>
                </c:pt>
                <c:pt idx="4551">
                  <c:v>#N/A</c:v>
                </c:pt>
                <c:pt idx="4552">
                  <c:v>#N/A</c:v>
                </c:pt>
                <c:pt idx="4553">
                  <c:v>#N/A</c:v>
                </c:pt>
                <c:pt idx="4554">
                  <c:v>#N/A</c:v>
                </c:pt>
                <c:pt idx="4555">
                  <c:v>#N/A</c:v>
                </c:pt>
                <c:pt idx="4556">
                  <c:v>#N/A</c:v>
                </c:pt>
                <c:pt idx="4557">
                  <c:v>#N/A</c:v>
                </c:pt>
                <c:pt idx="4558">
                  <c:v>#N/A</c:v>
                </c:pt>
                <c:pt idx="4559">
                  <c:v>#N/A</c:v>
                </c:pt>
                <c:pt idx="4560">
                  <c:v>#N/A</c:v>
                </c:pt>
                <c:pt idx="4561">
                  <c:v>#N/A</c:v>
                </c:pt>
                <c:pt idx="4562">
                  <c:v>#N/A</c:v>
                </c:pt>
                <c:pt idx="4563">
                  <c:v>#N/A</c:v>
                </c:pt>
                <c:pt idx="4564">
                  <c:v>#N/A</c:v>
                </c:pt>
                <c:pt idx="4565">
                  <c:v>#N/A</c:v>
                </c:pt>
                <c:pt idx="4566">
                  <c:v>#N/A</c:v>
                </c:pt>
                <c:pt idx="4567">
                  <c:v>#N/A</c:v>
                </c:pt>
                <c:pt idx="4568">
                  <c:v>#N/A</c:v>
                </c:pt>
                <c:pt idx="4569">
                  <c:v>#N/A</c:v>
                </c:pt>
                <c:pt idx="4570">
                  <c:v>#N/A</c:v>
                </c:pt>
                <c:pt idx="4571">
                  <c:v>#N/A</c:v>
                </c:pt>
                <c:pt idx="4572">
                  <c:v>#N/A</c:v>
                </c:pt>
                <c:pt idx="4573">
                  <c:v>#N/A</c:v>
                </c:pt>
                <c:pt idx="4574">
                  <c:v>#N/A</c:v>
                </c:pt>
                <c:pt idx="4575">
                  <c:v>#N/A</c:v>
                </c:pt>
                <c:pt idx="4576">
                  <c:v>#N/A</c:v>
                </c:pt>
                <c:pt idx="4577">
                  <c:v>#N/A</c:v>
                </c:pt>
                <c:pt idx="4578">
                  <c:v>#N/A</c:v>
                </c:pt>
                <c:pt idx="4579">
                  <c:v>#N/A</c:v>
                </c:pt>
                <c:pt idx="4580">
                  <c:v>#N/A</c:v>
                </c:pt>
                <c:pt idx="4581">
                  <c:v>#N/A</c:v>
                </c:pt>
                <c:pt idx="4582">
                  <c:v>#N/A</c:v>
                </c:pt>
                <c:pt idx="4583">
                  <c:v>#N/A</c:v>
                </c:pt>
                <c:pt idx="4584">
                  <c:v>#N/A</c:v>
                </c:pt>
                <c:pt idx="4585">
                  <c:v>#N/A</c:v>
                </c:pt>
                <c:pt idx="4586">
                  <c:v>#N/A</c:v>
                </c:pt>
                <c:pt idx="4587">
                  <c:v>#N/A</c:v>
                </c:pt>
                <c:pt idx="4588">
                  <c:v>#N/A</c:v>
                </c:pt>
                <c:pt idx="4589">
                  <c:v>#N/A</c:v>
                </c:pt>
                <c:pt idx="4590">
                  <c:v>#N/A</c:v>
                </c:pt>
                <c:pt idx="4591">
                  <c:v>#N/A</c:v>
                </c:pt>
                <c:pt idx="4592">
                  <c:v>#N/A</c:v>
                </c:pt>
                <c:pt idx="4593">
                  <c:v>#N/A</c:v>
                </c:pt>
                <c:pt idx="4594">
                  <c:v>#N/A</c:v>
                </c:pt>
                <c:pt idx="4595">
                  <c:v>#N/A</c:v>
                </c:pt>
                <c:pt idx="4596">
                  <c:v>#N/A</c:v>
                </c:pt>
                <c:pt idx="4597">
                  <c:v>#N/A</c:v>
                </c:pt>
                <c:pt idx="4598">
                  <c:v>#N/A</c:v>
                </c:pt>
                <c:pt idx="4599">
                  <c:v>#N/A</c:v>
                </c:pt>
                <c:pt idx="4600">
                  <c:v>#N/A</c:v>
                </c:pt>
                <c:pt idx="4601">
                  <c:v>#N/A</c:v>
                </c:pt>
                <c:pt idx="4602">
                  <c:v>#N/A</c:v>
                </c:pt>
                <c:pt idx="4603">
                  <c:v>#N/A</c:v>
                </c:pt>
                <c:pt idx="4604">
                  <c:v>#N/A</c:v>
                </c:pt>
                <c:pt idx="4605">
                  <c:v>#N/A</c:v>
                </c:pt>
                <c:pt idx="4606">
                  <c:v>#N/A</c:v>
                </c:pt>
                <c:pt idx="4607">
                  <c:v>#N/A</c:v>
                </c:pt>
                <c:pt idx="4608">
                  <c:v>#N/A</c:v>
                </c:pt>
                <c:pt idx="4609">
                  <c:v>#N/A</c:v>
                </c:pt>
                <c:pt idx="4610">
                  <c:v>#N/A</c:v>
                </c:pt>
                <c:pt idx="4611">
                  <c:v>#N/A</c:v>
                </c:pt>
                <c:pt idx="4612">
                  <c:v>#N/A</c:v>
                </c:pt>
                <c:pt idx="4613">
                  <c:v>#N/A</c:v>
                </c:pt>
                <c:pt idx="4614">
                  <c:v>#N/A</c:v>
                </c:pt>
                <c:pt idx="4615">
                  <c:v>#N/A</c:v>
                </c:pt>
                <c:pt idx="4616">
                  <c:v>#N/A</c:v>
                </c:pt>
                <c:pt idx="4617">
                  <c:v>#N/A</c:v>
                </c:pt>
                <c:pt idx="4618">
                  <c:v>#N/A</c:v>
                </c:pt>
                <c:pt idx="4619">
                  <c:v>#N/A</c:v>
                </c:pt>
                <c:pt idx="4620">
                  <c:v>#N/A</c:v>
                </c:pt>
                <c:pt idx="4621">
                  <c:v>#N/A</c:v>
                </c:pt>
                <c:pt idx="4622">
                  <c:v>#N/A</c:v>
                </c:pt>
                <c:pt idx="4623">
                  <c:v>#N/A</c:v>
                </c:pt>
                <c:pt idx="4624">
                  <c:v>#N/A</c:v>
                </c:pt>
                <c:pt idx="4625">
                  <c:v>#N/A</c:v>
                </c:pt>
                <c:pt idx="4626">
                  <c:v>#N/A</c:v>
                </c:pt>
                <c:pt idx="4627">
                  <c:v>#N/A</c:v>
                </c:pt>
                <c:pt idx="4628">
                  <c:v>#N/A</c:v>
                </c:pt>
                <c:pt idx="4629">
                  <c:v>#N/A</c:v>
                </c:pt>
                <c:pt idx="4630">
                  <c:v>#N/A</c:v>
                </c:pt>
                <c:pt idx="4631">
                  <c:v>#N/A</c:v>
                </c:pt>
                <c:pt idx="4632">
                  <c:v>#N/A</c:v>
                </c:pt>
                <c:pt idx="4633">
                  <c:v>#N/A</c:v>
                </c:pt>
                <c:pt idx="4634">
                  <c:v>#N/A</c:v>
                </c:pt>
                <c:pt idx="4635">
                  <c:v>#N/A</c:v>
                </c:pt>
                <c:pt idx="4636">
                  <c:v>#N/A</c:v>
                </c:pt>
                <c:pt idx="4637">
                  <c:v>#N/A</c:v>
                </c:pt>
                <c:pt idx="4638">
                  <c:v>#N/A</c:v>
                </c:pt>
                <c:pt idx="4639">
                  <c:v>#N/A</c:v>
                </c:pt>
                <c:pt idx="4640">
                  <c:v>#N/A</c:v>
                </c:pt>
                <c:pt idx="4641">
                  <c:v>#N/A</c:v>
                </c:pt>
                <c:pt idx="4642">
                  <c:v>#N/A</c:v>
                </c:pt>
                <c:pt idx="4643">
                  <c:v>#N/A</c:v>
                </c:pt>
                <c:pt idx="4644">
                  <c:v>#N/A</c:v>
                </c:pt>
                <c:pt idx="4645">
                  <c:v>#N/A</c:v>
                </c:pt>
                <c:pt idx="4646">
                  <c:v>#N/A</c:v>
                </c:pt>
                <c:pt idx="4647">
                  <c:v>#N/A</c:v>
                </c:pt>
                <c:pt idx="4648">
                  <c:v>#N/A</c:v>
                </c:pt>
                <c:pt idx="4649">
                  <c:v>#N/A</c:v>
                </c:pt>
                <c:pt idx="4650">
                  <c:v>#N/A</c:v>
                </c:pt>
                <c:pt idx="4651">
                  <c:v>#N/A</c:v>
                </c:pt>
                <c:pt idx="4652">
                  <c:v>#N/A</c:v>
                </c:pt>
                <c:pt idx="4653">
                  <c:v>#N/A</c:v>
                </c:pt>
                <c:pt idx="4654">
                  <c:v>#N/A</c:v>
                </c:pt>
                <c:pt idx="4655">
                  <c:v>#N/A</c:v>
                </c:pt>
                <c:pt idx="4656">
                  <c:v>#N/A</c:v>
                </c:pt>
                <c:pt idx="4657">
                  <c:v>#N/A</c:v>
                </c:pt>
                <c:pt idx="4658">
                  <c:v>#N/A</c:v>
                </c:pt>
                <c:pt idx="4659">
                  <c:v>#N/A</c:v>
                </c:pt>
                <c:pt idx="4660">
                  <c:v>#N/A</c:v>
                </c:pt>
                <c:pt idx="4661">
                  <c:v>#N/A</c:v>
                </c:pt>
                <c:pt idx="4662">
                  <c:v>#N/A</c:v>
                </c:pt>
                <c:pt idx="4663">
                  <c:v>#N/A</c:v>
                </c:pt>
                <c:pt idx="4664">
                  <c:v>#N/A</c:v>
                </c:pt>
                <c:pt idx="4665">
                  <c:v>#N/A</c:v>
                </c:pt>
                <c:pt idx="4666">
                  <c:v>#N/A</c:v>
                </c:pt>
                <c:pt idx="4667">
                  <c:v>#N/A</c:v>
                </c:pt>
                <c:pt idx="4668">
                  <c:v>#N/A</c:v>
                </c:pt>
                <c:pt idx="4669">
                  <c:v>#N/A</c:v>
                </c:pt>
                <c:pt idx="4670">
                  <c:v>#N/A</c:v>
                </c:pt>
                <c:pt idx="4671">
                  <c:v>#N/A</c:v>
                </c:pt>
                <c:pt idx="4672">
                  <c:v>#N/A</c:v>
                </c:pt>
                <c:pt idx="4673">
                  <c:v>#N/A</c:v>
                </c:pt>
                <c:pt idx="4674">
                  <c:v>#N/A</c:v>
                </c:pt>
                <c:pt idx="4675">
                  <c:v>#N/A</c:v>
                </c:pt>
                <c:pt idx="4676">
                  <c:v>#N/A</c:v>
                </c:pt>
                <c:pt idx="4677">
                  <c:v>#N/A</c:v>
                </c:pt>
                <c:pt idx="4678">
                  <c:v>#N/A</c:v>
                </c:pt>
                <c:pt idx="4679">
                  <c:v>#N/A</c:v>
                </c:pt>
                <c:pt idx="4680">
                  <c:v>#N/A</c:v>
                </c:pt>
                <c:pt idx="4681">
                  <c:v>#N/A</c:v>
                </c:pt>
                <c:pt idx="4682">
                  <c:v>#N/A</c:v>
                </c:pt>
                <c:pt idx="4683">
                  <c:v>#N/A</c:v>
                </c:pt>
                <c:pt idx="4684">
                  <c:v>#N/A</c:v>
                </c:pt>
                <c:pt idx="4685">
                  <c:v>#N/A</c:v>
                </c:pt>
                <c:pt idx="4686">
                  <c:v>#N/A</c:v>
                </c:pt>
                <c:pt idx="4687">
                  <c:v>#N/A</c:v>
                </c:pt>
                <c:pt idx="4688">
                  <c:v>#N/A</c:v>
                </c:pt>
                <c:pt idx="4689">
                  <c:v>#N/A</c:v>
                </c:pt>
                <c:pt idx="4690">
                  <c:v>#N/A</c:v>
                </c:pt>
                <c:pt idx="4691">
                  <c:v>#N/A</c:v>
                </c:pt>
                <c:pt idx="4692">
                  <c:v>#N/A</c:v>
                </c:pt>
                <c:pt idx="4693">
                  <c:v>#N/A</c:v>
                </c:pt>
                <c:pt idx="4694">
                  <c:v>#N/A</c:v>
                </c:pt>
                <c:pt idx="4695">
                  <c:v>#N/A</c:v>
                </c:pt>
                <c:pt idx="4696">
                  <c:v>#N/A</c:v>
                </c:pt>
                <c:pt idx="4697">
                  <c:v>#N/A</c:v>
                </c:pt>
                <c:pt idx="4698">
                  <c:v>#N/A</c:v>
                </c:pt>
                <c:pt idx="4699">
                  <c:v>#N/A</c:v>
                </c:pt>
                <c:pt idx="4700">
                  <c:v>#N/A</c:v>
                </c:pt>
                <c:pt idx="4701">
                  <c:v>#N/A</c:v>
                </c:pt>
                <c:pt idx="4702">
                  <c:v>#N/A</c:v>
                </c:pt>
                <c:pt idx="4703">
                  <c:v>#N/A</c:v>
                </c:pt>
                <c:pt idx="4704">
                  <c:v>#N/A</c:v>
                </c:pt>
                <c:pt idx="4705">
                  <c:v>#N/A</c:v>
                </c:pt>
                <c:pt idx="4706">
                  <c:v>#N/A</c:v>
                </c:pt>
                <c:pt idx="4707">
                  <c:v>#N/A</c:v>
                </c:pt>
                <c:pt idx="4708">
                  <c:v>#N/A</c:v>
                </c:pt>
                <c:pt idx="4709">
                  <c:v>#N/A</c:v>
                </c:pt>
                <c:pt idx="4710">
                  <c:v>#N/A</c:v>
                </c:pt>
                <c:pt idx="4711">
                  <c:v>#N/A</c:v>
                </c:pt>
                <c:pt idx="4712">
                  <c:v>#N/A</c:v>
                </c:pt>
                <c:pt idx="4713">
                  <c:v>#N/A</c:v>
                </c:pt>
                <c:pt idx="4714">
                  <c:v>#N/A</c:v>
                </c:pt>
                <c:pt idx="4715">
                  <c:v>#N/A</c:v>
                </c:pt>
                <c:pt idx="4716">
                  <c:v>#N/A</c:v>
                </c:pt>
                <c:pt idx="4717">
                  <c:v>#N/A</c:v>
                </c:pt>
                <c:pt idx="4718">
                  <c:v>#N/A</c:v>
                </c:pt>
                <c:pt idx="4719">
                  <c:v>#N/A</c:v>
                </c:pt>
                <c:pt idx="4720">
                  <c:v>#N/A</c:v>
                </c:pt>
                <c:pt idx="4721">
                  <c:v>#N/A</c:v>
                </c:pt>
                <c:pt idx="4722">
                  <c:v>#N/A</c:v>
                </c:pt>
                <c:pt idx="4723">
                  <c:v>#N/A</c:v>
                </c:pt>
                <c:pt idx="4724">
                  <c:v>#N/A</c:v>
                </c:pt>
                <c:pt idx="4725">
                  <c:v>#N/A</c:v>
                </c:pt>
                <c:pt idx="4726">
                  <c:v>#N/A</c:v>
                </c:pt>
                <c:pt idx="4727">
                  <c:v>#N/A</c:v>
                </c:pt>
                <c:pt idx="4728">
                  <c:v>#N/A</c:v>
                </c:pt>
                <c:pt idx="4729">
                  <c:v>#N/A</c:v>
                </c:pt>
                <c:pt idx="4730">
                  <c:v>#N/A</c:v>
                </c:pt>
                <c:pt idx="4731">
                  <c:v>#N/A</c:v>
                </c:pt>
                <c:pt idx="4732">
                  <c:v>#N/A</c:v>
                </c:pt>
                <c:pt idx="4733">
                  <c:v>#N/A</c:v>
                </c:pt>
                <c:pt idx="4734">
                  <c:v>#N/A</c:v>
                </c:pt>
                <c:pt idx="4735">
                  <c:v>#N/A</c:v>
                </c:pt>
                <c:pt idx="4736">
                  <c:v>#N/A</c:v>
                </c:pt>
                <c:pt idx="4737">
                  <c:v>#N/A</c:v>
                </c:pt>
                <c:pt idx="4738">
                  <c:v>#N/A</c:v>
                </c:pt>
                <c:pt idx="4739">
                  <c:v>#N/A</c:v>
                </c:pt>
                <c:pt idx="4740">
                  <c:v>#N/A</c:v>
                </c:pt>
                <c:pt idx="4741">
                  <c:v>#N/A</c:v>
                </c:pt>
                <c:pt idx="4742">
                  <c:v>#N/A</c:v>
                </c:pt>
                <c:pt idx="4743">
                  <c:v>#N/A</c:v>
                </c:pt>
                <c:pt idx="4744">
                  <c:v>#N/A</c:v>
                </c:pt>
                <c:pt idx="4745">
                  <c:v>#N/A</c:v>
                </c:pt>
                <c:pt idx="4746">
                  <c:v>#N/A</c:v>
                </c:pt>
                <c:pt idx="4747">
                  <c:v>#N/A</c:v>
                </c:pt>
                <c:pt idx="4748">
                  <c:v>#N/A</c:v>
                </c:pt>
                <c:pt idx="4749">
                  <c:v>#N/A</c:v>
                </c:pt>
                <c:pt idx="4750">
                  <c:v>#N/A</c:v>
                </c:pt>
                <c:pt idx="4751">
                  <c:v>#N/A</c:v>
                </c:pt>
                <c:pt idx="4752">
                  <c:v>#N/A</c:v>
                </c:pt>
                <c:pt idx="4753">
                  <c:v>#N/A</c:v>
                </c:pt>
                <c:pt idx="4754">
                  <c:v>#N/A</c:v>
                </c:pt>
                <c:pt idx="4755">
                  <c:v>#N/A</c:v>
                </c:pt>
                <c:pt idx="4756">
                  <c:v>#N/A</c:v>
                </c:pt>
                <c:pt idx="4757">
                  <c:v>#N/A</c:v>
                </c:pt>
                <c:pt idx="4758">
                  <c:v>#N/A</c:v>
                </c:pt>
                <c:pt idx="4759">
                  <c:v>#N/A</c:v>
                </c:pt>
                <c:pt idx="4760">
                  <c:v>#N/A</c:v>
                </c:pt>
                <c:pt idx="4761">
                  <c:v>#N/A</c:v>
                </c:pt>
                <c:pt idx="4762">
                  <c:v>#N/A</c:v>
                </c:pt>
                <c:pt idx="4763">
                  <c:v>#N/A</c:v>
                </c:pt>
                <c:pt idx="4764">
                  <c:v>#N/A</c:v>
                </c:pt>
                <c:pt idx="4765">
                  <c:v>#N/A</c:v>
                </c:pt>
                <c:pt idx="4766">
                  <c:v>#N/A</c:v>
                </c:pt>
                <c:pt idx="4767">
                  <c:v>#N/A</c:v>
                </c:pt>
                <c:pt idx="4768">
                  <c:v>#N/A</c:v>
                </c:pt>
                <c:pt idx="4769">
                  <c:v>#N/A</c:v>
                </c:pt>
                <c:pt idx="4770">
                  <c:v>#N/A</c:v>
                </c:pt>
                <c:pt idx="4771">
                  <c:v>#N/A</c:v>
                </c:pt>
                <c:pt idx="4772">
                  <c:v>#N/A</c:v>
                </c:pt>
                <c:pt idx="4773">
                  <c:v>#N/A</c:v>
                </c:pt>
                <c:pt idx="4774">
                  <c:v>#N/A</c:v>
                </c:pt>
                <c:pt idx="4775">
                  <c:v>#N/A</c:v>
                </c:pt>
                <c:pt idx="4776">
                  <c:v>#N/A</c:v>
                </c:pt>
                <c:pt idx="4777">
                  <c:v>#N/A</c:v>
                </c:pt>
                <c:pt idx="4778">
                  <c:v>#N/A</c:v>
                </c:pt>
                <c:pt idx="4779">
                  <c:v>#N/A</c:v>
                </c:pt>
                <c:pt idx="4780">
                  <c:v>#N/A</c:v>
                </c:pt>
                <c:pt idx="4781">
                  <c:v>#N/A</c:v>
                </c:pt>
                <c:pt idx="4782">
                  <c:v>#N/A</c:v>
                </c:pt>
                <c:pt idx="4783">
                  <c:v>#N/A</c:v>
                </c:pt>
                <c:pt idx="4784">
                  <c:v>#N/A</c:v>
                </c:pt>
                <c:pt idx="4785">
                  <c:v>#N/A</c:v>
                </c:pt>
                <c:pt idx="4786">
                  <c:v>#N/A</c:v>
                </c:pt>
                <c:pt idx="4787">
                  <c:v>#N/A</c:v>
                </c:pt>
                <c:pt idx="4788">
                  <c:v>#N/A</c:v>
                </c:pt>
                <c:pt idx="4789">
                  <c:v>#N/A</c:v>
                </c:pt>
                <c:pt idx="4790">
                  <c:v>#N/A</c:v>
                </c:pt>
                <c:pt idx="4791">
                  <c:v>#N/A</c:v>
                </c:pt>
                <c:pt idx="4792">
                  <c:v>#N/A</c:v>
                </c:pt>
                <c:pt idx="4793">
                  <c:v>#N/A</c:v>
                </c:pt>
                <c:pt idx="4794">
                  <c:v>#N/A</c:v>
                </c:pt>
                <c:pt idx="4795">
                  <c:v>#N/A</c:v>
                </c:pt>
                <c:pt idx="4796">
                  <c:v>#N/A</c:v>
                </c:pt>
                <c:pt idx="4797">
                  <c:v>#N/A</c:v>
                </c:pt>
                <c:pt idx="4798">
                  <c:v>#N/A</c:v>
                </c:pt>
                <c:pt idx="4799">
                  <c:v>#N/A</c:v>
                </c:pt>
                <c:pt idx="4800">
                  <c:v>#N/A</c:v>
                </c:pt>
                <c:pt idx="4801">
                  <c:v>#N/A</c:v>
                </c:pt>
                <c:pt idx="4802">
                  <c:v>#N/A</c:v>
                </c:pt>
                <c:pt idx="4803">
                  <c:v>#N/A</c:v>
                </c:pt>
                <c:pt idx="4804">
                  <c:v>#N/A</c:v>
                </c:pt>
                <c:pt idx="4805">
                  <c:v>#N/A</c:v>
                </c:pt>
                <c:pt idx="4806">
                  <c:v>#N/A</c:v>
                </c:pt>
                <c:pt idx="4807">
                  <c:v>#N/A</c:v>
                </c:pt>
                <c:pt idx="4808">
                  <c:v>#N/A</c:v>
                </c:pt>
                <c:pt idx="4809">
                  <c:v>#N/A</c:v>
                </c:pt>
                <c:pt idx="4810">
                  <c:v>#N/A</c:v>
                </c:pt>
                <c:pt idx="4811">
                  <c:v>#N/A</c:v>
                </c:pt>
                <c:pt idx="4812">
                  <c:v>#N/A</c:v>
                </c:pt>
                <c:pt idx="4813">
                  <c:v>#N/A</c:v>
                </c:pt>
                <c:pt idx="4814">
                  <c:v>#N/A</c:v>
                </c:pt>
                <c:pt idx="4815">
                  <c:v>#N/A</c:v>
                </c:pt>
                <c:pt idx="4816">
                  <c:v>#N/A</c:v>
                </c:pt>
                <c:pt idx="4817">
                  <c:v>#N/A</c:v>
                </c:pt>
                <c:pt idx="4818">
                  <c:v>#N/A</c:v>
                </c:pt>
                <c:pt idx="4819">
                  <c:v>#N/A</c:v>
                </c:pt>
                <c:pt idx="4820">
                  <c:v>#N/A</c:v>
                </c:pt>
                <c:pt idx="4821">
                  <c:v>#N/A</c:v>
                </c:pt>
                <c:pt idx="4822">
                  <c:v>#N/A</c:v>
                </c:pt>
                <c:pt idx="4823">
                  <c:v>#N/A</c:v>
                </c:pt>
                <c:pt idx="4824">
                  <c:v>#N/A</c:v>
                </c:pt>
                <c:pt idx="4825">
                  <c:v>#N/A</c:v>
                </c:pt>
                <c:pt idx="4826">
                  <c:v>#N/A</c:v>
                </c:pt>
                <c:pt idx="4827">
                  <c:v>#N/A</c:v>
                </c:pt>
                <c:pt idx="4828">
                  <c:v>#N/A</c:v>
                </c:pt>
                <c:pt idx="4829">
                  <c:v>#N/A</c:v>
                </c:pt>
                <c:pt idx="4830">
                  <c:v>#N/A</c:v>
                </c:pt>
                <c:pt idx="4831">
                  <c:v>#N/A</c:v>
                </c:pt>
                <c:pt idx="4832">
                  <c:v>#N/A</c:v>
                </c:pt>
                <c:pt idx="4833">
                  <c:v>#N/A</c:v>
                </c:pt>
                <c:pt idx="4834">
                  <c:v>#N/A</c:v>
                </c:pt>
                <c:pt idx="4835">
                  <c:v>#N/A</c:v>
                </c:pt>
                <c:pt idx="4836">
                  <c:v>#N/A</c:v>
                </c:pt>
                <c:pt idx="4837">
                  <c:v>#N/A</c:v>
                </c:pt>
                <c:pt idx="4838">
                  <c:v>#N/A</c:v>
                </c:pt>
                <c:pt idx="4839">
                  <c:v>#N/A</c:v>
                </c:pt>
                <c:pt idx="4840">
                  <c:v>#N/A</c:v>
                </c:pt>
                <c:pt idx="4841">
                  <c:v>#N/A</c:v>
                </c:pt>
                <c:pt idx="4842">
                  <c:v>#N/A</c:v>
                </c:pt>
                <c:pt idx="4843">
                  <c:v>#N/A</c:v>
                </c:pt>
                <c:pt idx="4844">
                  <c:v>#N/A</c:v>
                </c:pt>
                <c:pt idx="4845">
                  <c:v>#N/A</c:v>
                </c:pt>
                <c:pt idx="4846">
                  <c:v>#N/A</c:v>
                </c:pt>
                <c:pt idx="4847">
                  <c:v>#N/A</c:v>
                </c:pt>
                <c:pt idx="4848">
                  <c:v>#N/A</c:v>
                </c:pt>
                <c:pt idx="4849">
                  <c:v>#N/A</c:v>
                </c:pt>
                <c:pt idx="4850">
                  <c:v>#N/A</c:v>
                </c:pt>
                <c:pt idx="4851">
                  <c:v>#N/A</c:v>
                </c:pt>
                <c:pt idx="4852">
                  <c:v>#N/A</c:v>
                </c:pt>
                <c:pt idx="4853">
                  <c:v>#N/A</c:v>
                </c:pt>
                <c:pt idx="4854">
                  <c:v>#N/A</c:v>
                </c:pt>
                <c:pt idx="4855">
                  <c:v>#N/A</c:v>
                </c:pt>
                <c:pt idx="4856">
                  <c:v>#N/A</c:v>
                </c:pt>
                <c:pt idx="4857">
                  <c:v>#N/A</c:v>
                </c:pt>
                <c:pt idx="4858">
                  <c:v>#N/A</c:v>
                </c:pt>
                <c:pt idx="4859">
                  <c:v>#N/A</c:v>
                </c:pt>
                <c:pt idx="4860">
                  <c:v>#N/A</c:v>
                </c:pt>
                <c:pt idx="4861">
                  <c:v>#N/A</c:v>
                </c:pt>
                <c:pt idx="4862">
                  <c:v>#N/A</c:v>
                </c:pt>
                <c:pt idx="4863">
                  <c:v>#N/A</c:v>
                </c:pt>
                <c:pt idx="4864">
                  <c:v>#N/A</c:v>
                </c:pt>
                <c:pt idx="4865">
                  <c:v>#N/A</c:v>
                </c:pt>
                <c:pt idx="4866">
                  <c:v>#N/A</c:v>
                </c:pt>
                <c:pt idx="4867">
                  <c:v>#N/A</c:v>
                </c:pt>
                <c:pt idx="4868">
                  <c:v>#N/A</c:v>
                </c:pt>
                <c:pt idx="4869">
                  <c:v>#N/A</c:v>
                </c:pt>
                <c:pt idx="4870">
                  <c:v>#N/A</c:v>
                </c:pt>
                <c:pt idx="4871">
                  <c:v>#N/A</c:v>
                </c:pt>
                <c:pt idx="4872">
                  <c:v>#N/A</c:v>
                </c:pt>
                <c:pt idx="4873">
                  <c:v>#N/A</c:v>
                </c:pt>
                <c:pt idx="4874">
                  <c:v>#N/A</c:v>
                </c:pt>
                <c:pt idx="4875">
                  <c:v>#N/A</c:v>
                </c:pt>
                <c:pt idx="4876">
                  <c:v>#N/A</c:v>
                </c:pt>
                <c:pt idx="4877">
                  <c:v>#N/A</c:v>
                </c:pt>
                <c:pt idx="4878">
                  <c:v>#N/A</c:v>
                </c:pt>
                <c:pt idx="4879">
                  <c:v>#N/A</c:v>
                </c:pt>
                <c:pt idx="4880">
                  <c:v>#N/A</c:v>
                </c:pt>
                <c:pt idx="4881">
                  <c:v>#N/A</c:v>
                </c:pt>
                <c:pt idx="4882">
                  <c:v>#N/A</c:v>
                </c:pt>
                <c:pt idx="4883">
                  <c:v>#N/A</c:v>
                </c:pt>
                <c:pt idx="4884">
                  <c:v>#N/A</c:v>
                </c:pt>
                <c:pt idx="4885">
                  <c:v>#N/A</c:v>
                </c:pt>
                <c:pt idx="4886">
                  <c:v>#N/A</c:v>
                </c:pt>
                <c:pt idx="4887">
                  <c:v>#N/A</c:v>
                </c:pt>
                <c:pt idx="4888">
                  <c:v>#N/A</c:v>
                </c:pt>
                <c:pt idx="4889">
                  <c:v>#N/A</c:v>
                </c:pt>
                <c:pt idx="4890">
                  <c:v>#N/A</c:v>
                </c:pt>
                <c:pt idx="4891">
                  <c:v>#N/A</c:v>
                </c:pt>
                <c:pt idx="4892">
                  <c:v>#N/A</c:v>
                </c:pt>
                <c:pt idx="4893">
                  <c:v>#N/A</c:v>
                </c:pt>
                <c:pt idx="4894">
                  <c:v>#N/A</c:v>
                </c:pt>
                <c:pt idx="4895">
                  <c:v>#N/A</c:v>
                </c:pt>
                <c:pt idx="4896">
                  <c:v>#N/A</c:v>
                </c:pt>
                <c:pt idx="4897">
                  <c:v>#N/A</c:v>
                </c:pt>
                <c:pt idx="4898">
                  <c:v>#N/A</c:v>
                </c:pt>
                <c:pt idx="4899">
                  <c:v>#N/A</c:v>
                </c:pt>
                <c:pt idx="4900">
                  <c:v>#N/A</c:v>
                </c:pt>
                <c:pt idx="4901">
                  <c:v>#N/A</c:v>
                </c:pt>
                <c:pt idx="4902">
                  <c:v>#N/A</c:v>
                </c:pt>
                <c:pt idx="4903">
                  <c:v>#N/A</c:v>
                </c:pt>
                <c:pt idx="4904">
                  <c:v>#N/A</c:v>
                </c:pt>
                <c:pt idx="4905">
                  <c:v>#N/A</c:v>
                </c:pt>
                <c:pt idx="4906">
                  <c:v>#N/A</c:v>
                </c:pt>
                <c:pt idx="4907">
                  <c:v>#N/A</c:v>
                </c:pt>
                <c:pt idx="4908">
                  <c:v>#N/A</c:v>
                </c:pt>
                <c:pt idx="4909">
                  <c:v>#N/A</c:v>
                </c:pt>
                <c:pt idx="4910">
                  <c:v>#N/A</c:v>
                </c:pt>
                <c:pt idx="4911">
                  <c:v>#N/A</c:v>
                </c:pt>
                <c:pt idx="4912">
                  <c:v>#N/A</c:v>
                </c:pt>
                <c:pt idx="4913">
                  <c:v>#N/A</c:v>
                </c:pt>
                <c:pt idx="4914">
                  <c:v>#N/A</c:v>
                </c:pt>
                <c:pt idx="4915">
                  <c:v>#N/A</c:v>
                </c:pt>
                <c:pt idx="4916">
                  <c:v>#N/A</c:v>
                </c:pt>
                <c:pt idx="4917">
                  <c:v>#N/A</c:v>
                </c:pt>
                <c:pt idx="4918">
                  <c:v>#N/A</c:v>
                </c:pt>
                <c:pt idx="4919">
                  <c:v>#N/A</c:v>
                </c:pt>
                <c:pt idx="4920">
                  <c:v>#N/A</c:v>
                </c:pt>
                <c:pt idx="4921">
                  <c:v>#N/A</c:v>
                </c:pt>
                <c:pt idx="4922">
                  <c:v>#N/A</c:v>
                </c:pt>
                <c:pt idx="4923">
                  <c:v>#N/A</c:v>
                </c:pt>
                <c:pt idx="4924">
                  <c:v>#N/A</c:v>
                </c:pt>
                <c:pt idx="4925">
                  <c:v>#N/A</c:v>
                </c:pt>
                <c:pt idx="4926">
                  <c:v>#N/A</c:v>
                </c:pt>
                <c:pt idx="4927">
                  <c:v>#N/A</c:v>
                </c:pt>
                <c:pt idx="4928">
                  <c:v>#N/A</c:v>
                </c:pt>
                <c:pt idx="4929">
                  <c:v>#N/A</c:v>
                </c:pt>
                <c:pt idx="4930">
                  <c:v>#N/A</c:v>
                </c:pt>
                <c:pt idx="4931">
                  <c:v>#N/A</c:v>
                </c:pt>
                <c:pt idx="4932">
                  <c:v>#N/A</c:v>
                </c:pt>
                <c:pt idx="4933">
                  <c:v>#N/A</c:v>
                </c:pt>
                <c:pt idx="4934">
                  <c:v>#N/A</c:v>
                </c:pt>
                <c:pt idx="4935">
                  <c:v>#N/A</c:v>
                </c:pt>
                <c:pt idx="4936">
                  <c:v>#N/A</c:v>
                </c:pt>
                <c:pt idx="4937">
                  <c:v>#N/A</c:v>
                </c:pt>
                <c:pt idx="4938">
                  <c:v>#N/A</c:v>
                </c:pt>
                <c:pt idx="4939">
                  <c:v>#N/A</c:v>
                </c:pt>
                <c:pt idx="4940">
                  <c:v>#N/A</c:v>
                </c:pt>
                <c:pt idx="4941">
                  <c:v>#N/A</c:v>
                </c:pt>
                <c:pt idx="4942">
                  <c:v>#N/A</c:v>
                </c:pt>
                <c:pt idx="4943">
                  <c:v>#N/A</c:v>
                </c:pt>
                <c:pt idx="4944">
                  <c:v>#N/A</c:v>
                </c:pt>
                <c:pt idx="4945">
                  <c:v>#N/A</c:v>
                </c:pt>
                <c:pt idx="4946">
                  <c:v>#N/A</c:v>
                </c:pt>
                <c:pt idx="4947">
                  <c:v>#N/A</c:v>
                </c:pt>
                <c:pt idx="4948">
                  <c:v>#N/A</c:v>
                </c:pt>
                <c:pt idx="4949">
                  <c:v>#N/A</c:v>
                </c:pt>
                <c:pt idx="4950">
                  <c:v>#N/A</c:v>
                </c:pt>
                <c:pt idx="4951">
                  <c:v>#N/A</c:v>
                </c:pt>
                <c:pt idx="4952">
                  <c:v>#N/A</c:v>
                </c:pt>
                <c:pt idx="4953">
                  <c:v>#N/A</c:v>
                </c:pt>
                <c:pt idx="4954">
                  <c:v>#N/A</c:v>
                </c:pt>
                <c:pt idx="4955">
                  <c:v>#N/A</c:v>
                </c:pt>
                <c:pt idx="4956">
                  <c:v>#N/A</c:v>
                </c:pt>
                <c:pt idx="4957">
                  <c:v>#N/A</c:v>
                </c:pt>
                <c:pt idx="4958">
                  <c:v>#N/A</c:v>
                </c:pt>
                <c:pt idx="4959">
                  <c:v>#N/A</c:v>
                </c:pt>
                <c:pt idx="4960">
                  <c:v>#N/A</c:v>
                </c:pt>
                <c:pt idx="4961">
                  <c:v>#N/A</c:v>
                </c:pt>
                <c:pt idx="4962">
                  <c:v>#N/A</c:v>
                </c:pt>
                <c:pt idx="4963">
                  <c:v>#N/A</c:v>
                </c:pt>
                <c:pt idx="4964">
                  <c:v>#N/A</c:v>
                </c:pt>
                <c:pt idx="4965">
                  <c:v>#N/A</c:v>
                </c:pt>
                <c:pt idx="4966">
                  <c:v>#N/A</c:v>
                </c:pt>
                <c:pt idx="4967">
                  <c:v>#N/A</c:v>
                </c:pt>
                <c:pt idx="4968">
                  <c:v>#N/A</c:v>
                </c:pt>
                <c:pt idx="4969">
                  <c:v>#N/A</c:v>
                </c:pt>
                <c:pt idx="4970">
                  <c:v>#N/A</c:v>
                </c:pt>
                <c:pt idx="4971">
                  <c:v>#N/A</c:v>
                </c:pt>
                <c:pt idx="4972">
                  <c:v>#N/A</c:v>
                </c:pt>
                <c:pt idx="4973">
                  <c:v>#N/A</c:v>
                </c:pt>
                <c:pt idx="4974">
                  <c:v>#N/A</c:v>
                </c:pt>
                <c:pt idx="4975">
                  <c:v>#N/A</c:v>
                </c:pt>
                <c:pt idx="4976">
                  <c:v>#N/A</c:v>
                </c:pt>
                <c:pt idx="4977">
                  <c:v>#N/A</c:v>
                </c:pt>
                <c:pt idx="4978">
                  <c:v>#N/A</c:v>
                </c:pt>
                <c:pt idx="4979">
                  <c:v>#N/A</c:v>
                </c:pt>
                <c:pt idx="4980">
                  <c:v>#N/A</c:v>
                </c:pt>
                <c:pt idx="4981">
                  <c:v>#N/A</c:v>
                </c:pt>
                <c:pt idx="4982">
                  <c:v>#N/A</c:v>
                </c:pt>
                <c:pt idx="4983">
                  <c:v>#N/A</c:v>
                </c:pt>
                <c:pt idx="4984">
                  <c:v>#N/A</c:v>
                </c:pt>
                <c:pt idx="4985">
                  <c:v>#N/A</c:v>
                </c:pt>
                <c:pt idx="4986">
                  <c:v>#N/A</c:v>
                </c:pt>
                <c:pt idx="4987">
                  <c:v>#N/A</c:v>
                </c:pt>
                <c:pt idx="4988">
                  <c:v>#N/A</c:v>
                </c:pt>
                <c:pt idx="4989">
                  <c:v>#N/A</c:v>
                </c:pt>
                <c:pt idx="4990">
                  <c:v>#N/A</c:v>
                </c:pt>
                <c:pt idx="4991">
                  <c:v>#N/A</c:v>
                </c:pt>
                <c:pt idx="4992">
                  <c:v>#N/A</c:v>
                </c:pt>
                <c:pt idx="4993">
                  <c:v>#N/A</c:v>
                </c:pt>
                <c:pt idx="4994">
                  <c:v>#N/A</c:v>
                </c:pt>
                <c:pt idx="4995">
                  <c:v>#N/A</c:v>
                </c:pt>
                <c:pt idx="4996">
                  <c:v>#N/A</c:v>
                </c:pt>
                <c:pt idx="4997">
                  <c:v>#N/A</c:v>
                </c:pt>
                <c:pt idx="4998">
                  <c:v>#N/A</c:v>
                </c:pt>
                <c:pt idx="4999">
                  <c:v>#N/A</c:v>
                </c:pt>
                <c:pt idx="5000">
                  <c:v>#N/A</c:v>
                </c:pt>
                <c:pt idx="5001">
                  <c:v>#N/A</c:v>
                </c:pt>
                <c:pt idx="5002">
                  <c:v>#N/A</c:v>
                </c:pt>
                <c:pt idx="5003">
                  <c:v>#N/A</c:v>
                </c:pt>
                <c:pt idx="5004">
                  <c:v>#N/A</c:v>
                </c:pt>
                <c:pt idx="5005">
                  <c:v>#N/A</c:v>
                </c:pt>
                <c:pt idx="5006">
                  <c:v>#N/A</c:v>
                </c:pt>
                <c:pt idx="5007">
                  <c:v>#N/A</c:v>
                </c:pt>
                <c:pt idx="5008">
                  <c:v>#N/A</c:v>
                </c:pt>
                <c:pt idx="5009">
                  <c:v>#N/A</c:v>
                </c:pt>
                <c:pt idx="5010">
                  <c:v>#N/A</c:v>
                </c:pt>
                <c:pt idx="5011">
                  <c:v>#N/A</c:v>
                </c:pt>
                <c:pt idx="5012">
                  <c:v>#N/A</c:v>
                </c:pt>
                <c:pt idx="5013">
                  <c:v>#N/A</c:v>
                </c:pt>
                <c:pt idx="5014">
                  <c:v>#N/A</c:v>
                </c:pt>
                <c:pt idx="5015">
                  <c:v>#N/A</c:v>
                </c:pt>
                <c:pt idx="5016">
                  <c:v>#N/A</c:v>
                </c:pt>
                <c:pt idx="5017">
                  <c:v>#N/A</c:v>
                </c:pt>
                <c:pt idx="5018">
                  <c:v>#N/A</c:v>
                </c:pt>
                <c:pt idx="5019">
                  <c:v>#N/A</c:v>
                </c:pt>
                <c:pt idx="5020">
                  <c:v>#N/A</c:v>
                </c:pt>
                <c:pt idx="5021">
                  <c:v>#N/A</c:v>
                </c:pt>
                <c:pt idx="5022">
                  <c:v>#N/A</c:v>
                </c:pt>
                <c:pt idx="5023">
                  <c:v>#N/A</c:v>
                </c:pt>
                <c:pt idx="5024">
                  <c:v>#N/A</c:v>
                </c:pt>
                <c:pt idx="5025">
                  <c:v>#N/A</c:v>
                </c:pt>
                <c:pt idx="5026">
                  <c:v>#N/A</c:v>
                </c:pt>
                <c:pt idx="5027">
                  <c:v>#N/A</c:v>
                </c:pt>
                <c:pt idx="5028">
                  <c:v>#N/A</c:v>
                </c:pt>
                <c:pt idx="5029">
                  <c:v>#N/A</c:v>
                </c:pt>
                <c:pt idx="5030">
                  <c:v>#N/A</c:v>
                </c:pt>
                <c:pt idx="5031">
                  <c:v>#N/A</c:v>
                </c:pt>
                <c:pt idx="5032">
                  <c:v>#N/A</c:v>
                </c:pt>
                <c:pt idx="5033">
                  <c:v>#N/A</c:v>
                </c:pt>
                <c:pt idx="5034">
                  <c:v>#N/A</c:v>
                </c:pt>
                <c:pt idx="5035">
                  <c:v>#N/A</c:v>
                </c:pt>
                <c:pt idx="5036">
                  <c:v>#N/A</c:v>
                </c:pt>
                <c:pt idx="5037">
                  <c:v>#N/A</c:v>
                </c:pt>
                <c:pt idx="5038">
                  <c:v>#N/A</c:v>
                </c:pt>
                <c:pt idx="5039">
                  <c:v>#N/A</c:v>
                </c:pt>
                <c:pt idx="5040">
                  <c:v>#N/A</c:v>
                </c:pt>
                <c:pt idx="5041">
                  <c:v>#N/A</c:v>
                </c:pt>
                <c:pt idx="5042">
                  <c:v>#N/A</c:v>
                </c:pt>
                <c:pt idx="5043">
                  <c:v>#N/A</c:v>
                </c:pt>
                <c:pt idx="5044">
                  <c:v>#N/A</c:v>
                </c:pt>
                <c:pt idx="5045">
                  <c:v>#N/A</c:v>
                </c:pt>
                <c:pt idx="5046">
                  <c:v>#N/A</c:v>
                </c:pt>
                <c:pt idx="5047">
                  <c:v>#N/A</c:v>
                </c:pt>
                <c:pt idx="5048">
                  <c:v>#N/A</c:v>
                </c:pt>
                <c:pt idx="5049">
                  <c:v>#N/A</c:v>
                </c:pt>
                <c:pt idx="5050">
                  <c:v>#N/A</c:v>
                </c:pt>
                <c:pt idx="5051">
                  <c:v>#N/A</c:v>
                </c:pt>
                <c:pt idx="5052">
                  <c:v>#N/A</c:v>
                </c:pt>
                <c:pt idx="5053">
                  <c:v>#N/A</c:v>
                </c:pt>
                <c:pt idx="5054">
                  <c:v>#N/A</c:v>
                </c:pt>
                <c:pt idx="5055">
                  <c:v>#N/A</c:v>
                </c:pt>
                <c:pt idx="5056">
                  <c:v>#N/A</c:v>
                </c:pt>
                <c:pt idx="5057">
                  <c:v>#N/A</c:v>
                </c:pt>
                <c:pt idx="5058">
                  <c:v>#N/A</c:v>
                </c:pt>
                <c:pt idx="5059">
                  <c:v>#N/A</c:v>
                </c:pt>
                <c:pt idx="5060">
                  <c:v>#N/A</c:v>
                </c:pt>
                <c:pt idx="5061">
                  <c:v>#N/A</c:v>
                </c:pt>
                <c:pt idx="5062">
                  <c:v>#N/A</c:v>
                </c:pt>
                <c:pt idx="5063">
                  <c:v>#N/A</c:v>
                </c:pt>
                <c:pt idx="5064">
                  <c:v>#N/A</c:v>
                </c:pt>
                <c:pt idx="5065">
                  <c:v>#N/A</c:v>
                </c:pt>
                <c:pt idx="5066">
                  <c:v>#N/A</c:v>
                </c:pt>
                <c:pt idx="5067">
                  <c:v>#N/A</c:v>
                </c:pt>
                <c:pt idx="5068">
                  <c:v>#N/A</c:v>
                </c:pt>
                <c:pt idx="5069">
                  <c:v>#N/A</c:v>
                </c:pt>
                <c:pt idx="5070">
                  <c:v>#N/A</c:v>
                </c:pt>
                <c:pt idx="5071">
                  <c:v>#N/A</c:v>
                </c:pt>
                <c:pt idx="5072">
                  <c:v>#N/A</c:v>
                </c:pt>
                <c:pt idx="5073">
                  <c:v>#N/A</c:v>
                </c:pt>
                <c:pt idx="5074">
                  <c:v>#N/A</c:v>
                </c:pt>
                <c:pt idx="5075">
                  <c:v>#N/A</c:v>
                </c:pt>
                <c:pt idx="5076">
                  <c:v>#N/A</c:v>
                </c:pt>
                <c:pt idx="5077">
                  <c:v>#N/A</c:v>
                </c:pt>
                <c:pt idx="5078">
                  <c:v>#N/A</c:v>
                </c:pt>
                <c:pt idx="5079">
                  <c:v>#N/A</c:v>
                </c:pt>
                <c:pt idx="5080">
                  <c:v>#N/A</c:v>
                </c:pt>
                <c:pt idx="5081">
                  <c:v>#N/A</c:v>
                </c:pt>
                <c:pt idx="5082">
                  <c:v>#N/A</c:v>
                </c:pt>
                <c:pt idx="5083">
                  <c:v>#N/A</c:v>
                </c:pt>
                <c:pt idx="5084">
                  <c:v>#N/A</c:v>
                </c:pt>
                <c:pt idx="5085">
                  <c:v>#N/A</c:v>
                </c:pt>
                <c:pt idx="5086">
                  <c:v>#N/A</c:v>
                </c:pt>
                <c:pt idx="5087">
                  <c:v>#N/A</c:v>
                </c:pt>
                <c:pt idx="5088">
                  <c:v>#N/A</c:v>
                </c:pt>
                <c:pt idx="5089">
                  <c:v>#N/A</c:v>
                </c:pt>
                <c:pt idx="5090">
                  <c:v>#N/A</c:v>
                </c:pt>
                <c:pt idx="5091">
                  <c:v>#N/A</c:v>
                </c:pt>
                <c:pt idx="5092">
                  <c:v>#N/A</c:v>
                </c:pt>
                <c:pt idx="5093">
                  <c:v>#N/A</c:v>
                </c:pt>
                <c:pt idx="5094">
                  <c:v>#N/A</c:v>
                </c:pt>
                <c:pt idx="5095">
                  <c:v>#N/A</c:v>
                </c:pt>
                <c:pt idx="5096">
                  <c:v>#N/A</c:v>
                </c:pt>
                <c:pt idx="5097">
                  <c:v>#N/A</c:v>
                </c:pt>
                <c:pt idx="5098">
                  <c:v>#N/A</c:v>
                </c:pt>
                <c:pt idx="5099">
                  <c:v>#N/A</c:v>
                </c:pt>
                <c:pt idx="5100">
                  <c:v>#N/A</c:v>
                </c:pt>
                <c:pt idx="5101">
                  <c:v>#N/A</c:v>
                </c:pt>
                <c:pt idx="5102">
                  <c:v>#N/A</c:v>
                </c:pt>
                <c:pt idx="5103">
                  <c:v>#N/A</c:v>
                </c:pt>
                <c:pt idx="5104">
                  <c:v>#N/A</c:v>
                </c:pt>
                <c:pt idx="5105">
                  <c:v>#N/A</c:v>
                </c:pt>
                <c:pt idx="5106">
                  <c:v>#N/A</c:v>
                </c:pt>
                <c:pt idx="5107">
                  <c:v>#N/A</c:v>
                </c:pt>
                <c:pt idx="5108">
                  <c:v>#N/A</c:v>
                </c:pt>
                <c:pt idx="5109">
                  <c:v>#N/A</c:v>
                </c:pt>
                <c:pt idx="5110">
                  <c:v>#N/A</c:v>
                </c:pt>
                <c:pt idx="5111">
                  <c:v>#N/A</c:v>
                </c:pt>
                <c:pt idx="5112">
                  <c:v>#N/A</c:v>
                </c:pt>
                <c:pt idx="5113">
                  <c:v>#N/A</c:v>
                </c:pt>
                <c:pt idx="5114">
                  <c:v>#N/A</c:v>
                </c:pt>
                <c:pt idx="5115">
                  <c:v>#N/A</c:v>
                </c:pt>
                <c:pt idx="5116">
                  <c:v>#N/A</c:v>
                </c:pt>
                <c:pt idx="5117">
                  <c:v>#N/A</c:v>
                </c:pt>
                <c:pt idx="5118">
                  <c:v>#N/A</c:v>
                </c:pt>
                <c:pt idx="5119">
                  <c:v>#N/A</c:v>
                </c:pt>
                <c:pt idx="5120">
                  <c:v>#N/A</c:v>
                </c:pt>
                <c:pt idx="5121">
                  <c:v>#N/A</c:v>
                </c:pt>
                <c:pt idx="5122">
                  <c:v>#N/A</c:v>
                </c:pt>
                <c:pt idx="5123">
                  <c:v>#N/A</c:v>
                </c:pt>
                <c:pt idx="5124">
                  <c:v>#N/A</c:v>
                </c:pt>
                <c:pt idx="5125">
                  <c:v>#N/A</c:v>
                </c:pt>
                <c:pt idx="5126">
                  <c:v>#N/A</c:v>
                </c:pt>
                <c:pt idx="5127">
                  <c:v>#N/A</c:v>
                </c:pt>
                <c:pt idx="5128">
                  <c:v>#N/A</c:v>
                </c:pt>
                <c:pt idx="5129">
                  <c:v>#N/A</c:v>
                </c:pt>
                <c:pt idx="5130">
                  <c:v>#N/A</c:v>
                </c:pt>
                <c:pt idx="5131">
                  <c:v>#N/A</c:v>
                </c:pt>
                <c:pt idx="5132">
                  <c:v>#N/A</c:v>
                </c:pt>
                <c:pt idx="5133">
                  <c:v>#N/A</c:v>
                </c:pt>
                <c:pt idx="5134">
                  <c:v>#N/A</c:v>
                </c:pt>
                <c:pt idx="5135">
                  <c:v>#N/A</c:v>
                </c:pt>
                <c:pt idx="5136">
                  <c:v>#N/A</c:v>
                </c:pt>
                <c:pt idx="5137">
                  <c:v>#N/A</c:v>
                </c:pt>
                <c:pt idx="5138">
                  <c:v>#N/A</c:v>
                </c:pt>
                <c:pt idx="5139">
                  <c:v>#N/A</c:v>
                </c:pt>
                <c:pt idx="5140">
                  <c:v>#N/A</c:v>
                </c:pt>
                <c:pt idx="5141">
                  <c:v>#N/A</c:v>
                </c:pt>
                <c:pt idx="5142">
                  <c:v>#N/A</c:v>
                </c:pt>
                <c:pt idx="5143">
                  <c:v>#N/A</c:v>
                </c:pt>
                <c:pt idx="5144">
                  <c:v>#N/A</c:v>
                </c:pt>
                <c:pt idx="5145">
                  <c:v>#N/A</c:v>
                </c:pt>
                <c:pt idx="5146">
                  <c:v>#N/A</c:v>
                </c:pt>
                <c:pt idx="5147">
                  <c:v>#N/A</c:v>
                </c:pt>
                <c:pt idx="5148">
                  <c:v>#N/A</c:v>
                </c:pt>
                <c:pt idx="5149">
                  <c:v>#N/A</c:v>
                </c:pt>
                <c:pt idx="5150">
                  <c:v>#N/A</c:v>
                </c:pt>
                <c:pt idx="5151">
                  <c:v>#N/A</c:v>
                </c:pt>
                <c:pt idx="5152">
                  <c:v>#N/A</c:v>
                </c:pt>
                <c:pt idx="5153">
                  <c:v>#N/A</c:v>
                </c:pt>
                <c:pt idx="5154">
                  <c:v>#N/A</c:v>
                </c:pt>
                <c:pt idx="5155">
                  <c:v>#N/A</c:v>
                </c:pt>
                <c:pt idx="5156">
                  <c:v>#N/A</c:v>
                </c:pt>
                <c:pt idx="5157">
                  <c:v>#N/A</c:v>
                </c:pt>
                <c:pt idx="5158">
                  <c:v>#N/A</c:v>
                </c:pt>
                <c:pt idx="5159">
                  <c:v>#N/A</c:v>
                </c:pt>
                <c:pt idx="5160">
                  <c:v>#N/A</c:v>
                </c:pt>
                <c:pt idx="5161">
                  <c:v>#N/A</c:v>
                </c:pt>
                <c:pt idx="5162">
                  <c:v>#N/A</c:v>
                </c:pt>
                <c:pt idx="5163">
                  <c:v>#N/A</c:v>
                </c:pt>
                <c:pt idx="5164">
                  <c:v>#N/A</c:v>
                </c:pt>
                <c:pt idx="5165">
                  <c:v>#N/A</c:v>
                </c:pt>
                <c:pt idx="5166">
                  <c:v>#N/A</c:v>
                </c:pt>
                <c:pt idx="5167">
                  <c:v>#N/A</c:v>
                </c:pt>
                <c:pt idx="5168">
                  <c:v>#N/A</c:v>
                </c:pt>
                <c:pt idx="5169">
                  <c:v>#N/A</c:v>
                </c:pt>
                <c:pt idx="5170">
                  <c:v>#N/A</c:v>
                </c:pt>
                <c:pt idx="5171">
                  <c:v>#N/A</c:v>
                </c:pt>
                <c:pt idx="5172">
                  <c:v>#N/A</c:v>
                </c:pt>
                <c:pt idx="5173">
                  <c:v>#N/A</c:v>
                </c:pt>
                <c:pt idx="5174">
                  <c:v>#N/A</c:v>
                </c:pt>
                <c:pt idx="5175">
                  <c:v>#N/A</c:v>
                </c:pt>
                <c:pt idx="5176">
                  <c:v>#N/A</c:v>
                </c:pt>
                <c:pt idx="5177">
                  <c:v>#N/A</c:v>
                </c:pt>
                <c:pt idx="5178">
                  <c:v>#N/A</c:v>
                </c:pt>
                <c:pt idx="5179">
                  <c:v>#N/A</c:v>
                </c:pt>
                <c:pt idx="5180">
                  <c:v>#N/A</c:v>
                </c:pt>
                <c:pt idx="5181">
                  <c:v>#N/A</c:v>
                </c:pt>
                <c:pt idx="5182">
                  <c:v>#N/A</c:v>
                </c:pt>
                <c:pt idx="5183">
                  <c:v>#N/A</c:v>
                </c:pt>
                <c:pt idx="5184">
                  <c:v>#N/A</c:v>
                </c:pt>
                <c:pt idx="5185">
                  <c:v>#N/A</c:v>
                </c:pt>
                <c:pt idx="5186">
                  <c:v>#N/A</c:v>
                </c:pt>
                <c:pt idx="5187">
                  <c:v>#N/A</c:v>
                </c:pt>
                <c:pt idx="5188">
                  <c:v>#N/A</c:v>
                </c:pt>
                <c:pt idx="5189">
                  <c:v>#N/A</c:v>
                </c:pt>
                <c:pt idx="5190">
                  <c:v>#N/A</c:v>
                </c:pt>
                <c:pt idx="5191">
                  <c:v>#N/A</c:v>
                </c:pt>
                <c:pt idx="5192">
                  <c:v>#N/A</c:v>
                </c:pt>
                <c:pt idx="5193">
                  <c:v>#N/A</c:v>
                </c:pt>
                <c:pt idx="5194">
                  <c:v>#N/A</c:v>
                </c:pt>
                <c:pt idx="5195">
                  <c:v>#N/A</c:v>
                </c:pt>
                <c:pt idx="5196">
                  <c:v>#N/A</c:v>
                </c:pt>
                <c:pt idx="5197">
                  <c:v>#N/A</c:v>
                </c:pt>
                <c:pt idx="5198">
                  <c:v>#N/A</c:v>
                </c:pt>
                <c:pt idx="5199">
                  <c:v>#N/A</c:v>
                </c:pt>
                <c:pt idx="5200">
                  <c:v>#N/A</c:v>
                </c:pt>
                <c:pt idx="5201">
                  <c:v>#N/A</c:v>
                </c:pt>
                <c:pt idx="5202">
                  <c:v>#N/A</c:v>
                </c:pt>
                <c:pt idx="5203">
                  <c:v>#N/A</c:v>
                </c:pt>
                <c:pt idx="5204">
                  <c:v>#N/A</c:v>
                </c:pt>
                <c:pt idx="5205">
                  <c:v>#N/A</c:v>
                </c:pt>
                <c:pt idx="5206">
                  <c:v>#N/A</c:v>
                </c:pt>
                <c:pt idx="5207">
                  <c:v>#N/A</c:v>
                </c:pt>
                <c:pt idx="5208">
                  <c:v>#N/A</c:v>
                </c:pt>
                <c:pt idx="5209">
                  <c:v>#N/A</c:v>
                </c:pt>
                <c:pt idx="5210">
                  <c:v>#N/A</c:v>
                </c:pt>
                <c:pt idx="5211">
                  <c:v>#N/A</c:v>
                </c:pt>
                <c:pt idx="5212">
                  <c:v>#N/A</c:v>
                </c:pt>
                <c:pt idx="5213">
                  <c:v>#N/A</c:v>
                </c:pt>
                <c:pt idx="5214">
                  <c:v>#N/A</c:v>
                </c:pt>
                <c:pt idx="5215">
                  <c:v>#N/A</c:v>
                </c:pt>
                <c:pt idx="5216">
                  <c:v>#N/A</c:v>
                </c:pt>
                <c:pt idx="5217">
                  <c:v>#N/A</c:v>
                </c:pt>
                <c:pt idx="5218">
                  <c:v>#N/A</c:v>
                </c:pt>
                <c:pt idx="5219">
                  <c:v>#N/A</c:v>
                </c:pt>
                <c:pt idx="5220">
                  <c:v>#N/A</c:v>
                </c:pt>
                <c:pt idx="5221">
                  <c:v>#N/A</c:v>
                </c:pt>
                <c:pt idx="5222">
                  <c:v>#N/A</c:v>
                </c:pt>
                <c:pt idx="5223">
                  <c:v>#N/A</c:v>
                </c:pt>
                <c:pt idx="5224">
                  <c:v>#N/A</c:v>
                </c:pt>
                <c:pt idx="5225">
                  <c:v>#N/A</c:v>
                </c:pt>
                <c:pt idx="5226">
                  <c:v>#N/A</c:v>
                </c:pt>
                <c:pt idx="5227">
                  <c:v>#N/A</c:v>
                </c:pt>
                <c:pt idx="5228">
                  <c:v>#N/A</c:v>
                </c:pt>
                <c:pt idx="5229">
                  <c:v>#N/A</c:v>
                </c:pt>
                <c:pt idx="5230">
                  <c:v>#N/A</c:v>
                </c:pt>
                <c:pt idx="5231">
                  <c:v>#N/A</c:v>
                </c:pt>
                <c:pt idx="5232">
                  <c:v>#N/A</c:v>
                </c:pt>
                <c:pt idx="5233">
                  <c:v>#N/A</c:v>
                </c:pt>
                <c:pt idx="5234">
                  <c:v>#N/A</c:v>
                </c:pt>
                <c:pt idx="5235">
                  <c:v>#N/A</c:v>
                </c:pt>
                <c:pt idx="5236">
                  <c:v>#N/A</c:v>
                </c:pt>
                <c:pt idx="5237">
                  <c:v>#N/A</c:v>
                </c:pt>
                <c:pt idx="5238">
                  <c:v>#N/A</c:v>
                </c:pt>
                <c:pt idx="5239">
                  <c:v>#N/A</c:v>
                </c:pt>
                <c:pt idx="5240">
                  <c:v>#N/A</c:v>
                </c:pt>
                <c:pt idx="5241">
                  <c:v>#N/A</c:v>
                </c:pt>
                <c:pt idx="5242">
                  <c:v>#N/A</c:v>
                </c:pt>
                <c:pt idx="5243">
                  <c:v>#N/A</c:v>
                </c:pt>
                <c:pt idx="5244">
                  <c:v>#N/A</c:v>
                </c:pt>
                <c:pt idx="5245">
                  <c:v>#N/A</c:v>
                </c:pt>
                <c:pt idx="5246">
                  <c:v>#N/A</c:v>
                </c:pt>
                <c:pt idx="5247">
                  <c:v>#N/A</c:v>
                </c:pt>
                <c:pt idx="5248">
                  <c:v>#N/A</c:v>
                </c:pt>
                <c:pt idx="5249">
                  <c:v>#N/A</c:v>
                </c:pt>
                <c:pt idx="5250">
                  <c:v>#N/A</c:v>
                </c:pt>
                <c:pt idx="5251">
                  <c:v>#N/A</c:v>
                </c:pt>
                <c:pt idx="5252">
                  <c:v>#N/A</c:v>
                </c:pt>
                <c:pt idx="5253">
                  <c:v>#N/A</c:v>
                </c:pt>
                <c:pt idx="5254">
                  <c:v>#N/A</c:v>
                </c:pt>
                <c:pt idx="5255">
                  <c:v>#N/A</c:v>
                </c:pt>
                <c:pt idx="5256">
                  <c:v>#N/A</c:v>
                </c:pt>
                <c:pt idx="5257">
                  <c:v>#N/A</c:v>
                </c:pt>
                <c:pt idx="5258">
                  <c:v>#N/A</c:v>
                </c:pt>
                <c:pt idx="5259">
                  <c:v>#N/A</c:v>
                </c:pt>
                <c:pt idx="5260">
                  <c:v>#N/A</c:v>
                </c:pt>
                <c:pt idx="5261">
                  <c:v>#N/A</c:v>
                </c:pt>
                <c:pt idx="5262">
                  <c:v>#N/A</c:v>
                </c:pt>
                <c:pt idx="5263">
                  <c:v>#N/A</c:v>
                </c:pt>
                <c:pt idx="5264">
                  <c:v>#N/A</c:v>
                </c:pt>
                <c:pt idx="5265">
                  <c:v>#N/A</c:v>
                </c:pt>
                <c:pt idx="5266">
                  <c:v>#N/A</c:v>
                </c:pt>
                <c:pt idx="5267">
                  <c:v>#N/A</c:v>
                </c:pt>
                <c:pt idx="5268">
                  <c:v>#N/A</c:v>
                </c:pt>
                <c:pt idx="5269">
                  <c:v>#N/A</c:v>
                </c:pt>
                <c:pt idx="5270">
                  <c:v>#N/A</c:v>
                </c:pt>
                <c:pt idx="5271">
                  <c:v>#N/A</c:v>
                </c:pt>
                <c:pt idx="5272">
                  <c:v>#N/A</c:v>
                </c:pt>
                <c:pt idx="5273">
                  <c:v>#N/A</c:v>
                </c:pt>
                <c:pt idx="5274">
                  <c:v>#N/A</c:v>
                </c:pt>
                <c:pt idx="5275">
                  <c:v>#N/A</c:v>
                </c:pt>
                <c:pt idx="5276">
                  <c:v>#N/A</c:v>
                </c:pt>
                <c:pt idx="5277">
                  <c:v>#N/A</c:v>
                </c:pt>
                <c:pt idx="5278">
                  <c:v>#N/A</c:v>
                </c:pt>
                <c:pt idx="5279">
                  <c:v>#N/A</c:v>
                </c:pt>
                <c:pt idx="5280">
                  <c:v>#N/A</c:v>
                </c:pt>
                <c:pt idx="5281">
                  <c:v>#N/A</c:v>
                </c:pt>
                <c:pt idx="5282">
                  <c:v>#N/A</c:v>
                </c:pt>
                <c:pt idx="5283">
                  <c:v>#N/A</c:v>
                </c:pt>
                <c:pt idx="5284">
                  <c:v>#N/A</c:v>
                </c:pt>
                <c:pt idx="5285">
                  <c:v>#N/A</c:v>
                </c:pt>
                <c:pt idx="5286">
                  <c:v>#N/A</c:v>
                </c:pt>
                <c:pt idx="5287">
                  <c:v>#N/A</c:v>
                </c:pt>
                <c:pt idx="5288">
                  <c:v>#N/A</c:v>
                </c:pt>
                <c:pt idx="5289">
                  <c:v>#N/A</c:v>
                </c:pt>
                <c:pt idx="5290">
                  <c:v>#N/A</c:v>
                </c:pt>
                <c:pt idx="5291">
                  <c:v>#N/A</c:v>
                </c:pt>
                <c:pt idx="5292">
                  <c:v>#N/A</c:v>
                </c:pt>
                <c:pt idx="5293">
                  <c:v>#N/A</c:v>
                </c:pt>
                <c:pt idx="5294">
                  <c:v>#N/A</c:v>
                </c:pt>
                <c:pt idx="5295">
                  <c:v>#N/A</c:v>
                </c:pt>
                <c:pt idx="5296">
                  <c:v>#N/A</c:v>
                </c:pt>
                <c:pt idx="5297">
                  <c:v>#N/A</c:v>
                </c:pt>
                <c:pt idx="5298">
                  <c:v>#N/A</c:v>
                </c:pt>
                <c:pt idx="5299">
                  <c:v>#N/A</c:v>
                </c:pt>
                <c:pt idx="5300">
                  <c:v>#N/A</c:v>
                </c:pt>
                <c:pt idx="5301">
                  <c:v>#N/A</c:v>
                </c:pt>
                <c:pt idx="5302">
                  <c:v>#N/A</c:v>
                </c:pt>
                <c:pt idx="5303">
                  <c:v>#N/A</c:v>
                </c:pt>
                <c:pt idx="5304">
                  <c:v>#N/A</c:v>
                </c:pt>
                <c:pt idx="5305">
                  <c:v>#N/A</c:v>
                </c:pt>
                <c:pt idx="5306">
                  <c:v>#N/A</c:v>
                </c:pt>
                <c:pt idx="5307">
                  <c:v>#N/A</c:v>
                </c:pt>
                <c:pt idx="5308">
                  <c:v>#N/A</c:v>
                </c:pt>
                <c:pt idx="5309">
                  <c:v>#N/A</c:v>
                </c:pt>
                <c:pt idx="5310">
                  <c:v>#N/A</c:v>
                </c:pt>
                <c:pt idx="5311">
                  <c:v>#N/A</c:v>
                </c:pt>
                <c:pt idx="5312">
                  <c:v>#N/A</c:v>
                </c:pt>
                <c:pt idx="5313">
                  <c:v>#N/A</c:v>
                </c:pt>
                <c:pt idx="5314">
                  <c:v>#N/A</c:v>
                </c:pt>
                <c:pt idx="5315">
                  <c:v>#N/A</c:v>
                </c:pt>
                <c:pt idx="5316">
                  <c:v>#N/A</c:v>
                </c:pt>
                <c:pt idx="5317">
                  <c:v>#N/A</c:v>
                </c:pt>
                <c:pt idx="5318">
                  <c:v>#N/A</c:v>
                </c:pt>
                <c:pt idx="5319">
                  <c:v>#N/A</c:v>
                </c:pt>
                <c:pt idx="5320">
                  <c:v>#N/A</c:v>
                </c:pt>
                <c:pt idx="5321">
                  <c:v>#N/A</c:v>
                </c:pt>
                <c:pt idx="5322">
                  <c:v>#N/A</c:v>
                </c:pt>
                <c:pt idx="5323">
                  <c:v>#N/A</c:v>
                </c:pt>
                <c:pt idx="5324">
                  <c:v>#N/A</c:v>
                </c:pt>
                <c:pt idx="5325">
                  <c:v>#N/A</c:v>
                </c:pt>
                <c:pt idx="5326">
                  <c:v>#N/A</c:v>
                </c:pt>
                <c:pt idx="5327">
                  <c:v>#N/A</c:v>
                </c:pt>
                <c:pt idx="5328">
                  <c:v>#N/A</c:v>
                </c:pt>
                <c:pt idx="5329">
                  <c:v>#N/A</c:v>
                </c:pt>
                <c:pt idx="5330">
                  <c:v>#N/A</c:v>
                </c:pt>
                <c:pt idx="5331">
                  <c:v>#N/A</c:v>
                </c:pt>
                <c:pt idx="5332">
                  <c:v>#N/A</c:v>
                </c:pt>
                <c:pt idx="5333">
                  <c:v>#N/A</c:v>
                </c:pt>
                <c:pt idx="5334">
                  <c:v>#N/A</c:v>
                </c:pt>
                <c:pt idx="5335">
                  <c:v>#N/A</c:v>
                </c:pt>
                <c:pt idx="5336">
                  <c:v>#N/A</c:v>
                </c:pt>
                <c:pt idx="5337">
                  <c:v>#N/A</c:v>
                </c:pt>
                <c:pt idx="5338">
                  <c:v>#N/A</c:v>
                </c:pt>
                <c:pt idx="5339">
                  <c:v>#N/A</c:v>
                </c:pt>
                <c:pt idx="5340">
                  <c:v>#N/A</c:v>
                </c:pt>
                <c:pt idx="5341">
                  <c:v>#N/A</c:v>
                </c:pt>
                <c:pt idx="5342">
                  <c:v>#N/A</c:v>
                </c:pt>
                <c:pt idx="5343">
                  <c:v>#N/A</c:v>
                </c:pt>
                <c:pt idx="5344">
                  <c:v>#N/A</c:v>
                </c:pt>
                <c:pt idx="5345">
                  <c:v>#N/A</c:v>
                </c:pt>
                <c:pt idx="5346">
                  <c:v>#N/A</c:v>
                </c:pt>
                <c:pt idx="5347">
                  <c:v>#N/A</c:v>
                </c:pt>
                <c:pt idx="5348">
                  <c:v>#N/A</c:v>
                </c:pt>
                <c:pt idx="5349">
                  <c:v>#N/A</c:v>
                </c:pt>
                <c:pt idx="5350">
                  <c:v>#N/A</c:v>
                </c:pt>
                <c:pt idx="5351">
                  <c:v>#N/A</c:v>
                </c:pt>
                <c:pt idx="5352">
                  <c:v>#N/A</c:v>
                </c:pt>
                <c:pt idx="5353">
                  <c:v>#N/A</c:v>
                </c:pt>
                <c:pt idx="5354">
                  <c:v>#N/A</c:v>
                </c:pt>
                <c:pt idx="5355">
                  <c:v>#N/A</c:v>
                </c:pt>
                <c:pt idx="5356">
                  <c:v>#N/A</c:v>
                </c:pt>
                <c:pt idx="5357">
                  <c:v>#N/A</c:v>
                </c:pt>
                <c:pt idx="5358">
                  <c:v>#N/A</c:v>
                </c:pt>
                <c:pt idx="5359">
                  <c:v>#N/A</c:v>
                </c:pt>
                <c:pt idx="5360">
                  <c:v>#N/A</c:v>
                </c:pt>
                <c:pt idx="5361">
                  <c:v>#N/A</c:v>
                </c:pt>
                <c:pt idx="5362">
                  <c:v>#N/A</c:v>
                </c:pt>
                <c:pt idx="5363">
                  <c:v>#N/A</c:v>
                </c:pt>
                <c:pt idx="5364">
                  <c:v>#N/A</c:v>
                </c:pt>
                <c:pt idx="5365">
                  <c:v>#N/A</c:v>
                </c:pt>
                <c:pt idx="5366">
                  <c:v>#N/A</c:v>
                </c:pt>
                <c:pt idx="5367">
                  <c:v>#N/A</c:v>
                </c:pt>
                <c:pt idx="5368">
                  <c:v>#N/A</c:v>
                </c:pt>
                <c:pt idx="5369">
                  <c:v>#N/A</c:v>
                </c:pt>
                <c:pt idx="5370">
                  <c:v>#N/A</c:v>
                </c:pt>
                <c:pt idx="5371">
                  <c:v>#N/A</c:v>
                </c:pt>
                <c:pt idx="5372">
                  <c:v>#N/A</c:v>
                </c:pt>
                <c:pt idx="5373">
                  <c:v>#N/A</c:v>
                </c:pt>
                <c:pt idx="5374">
                  <c:v>#N/A</c:v>
                </c:pt>
                <c:pt idx="5375">
                  <c:v>#N/A</c:v>
                </c:pt>
                <c:pt idx="5376">
                  <c:v>#N/A</c:v>
                </c:pt>
                <c:pt idx="5377">
                  <c:v>#N/A</c:v>
                </c:pt>
                <c:pt idx="5378">
                  <c:v>#N/A</c:v>
                </c:pt>
                <c:pt idx="5379">
                  <c:v>#N/A</c:v>
                </c:pt>
                <c:pt idx="5380">
                  <c:v>#N/A</c:v>
                </c:pt>
                <c:pt idx="5381">
                  <c:v>#N/A</c:v>
                </c:pt>
                <c:pt idx="5382">
                  <c:v>#N/A</c:v>
                </c:pt>
                <c:pt idx="5383">
                  <c:v>#N/A</c:v>
                </c:pt>
                <c:pt idx="5384">
                  <c:v>#N/A</c:v>
                </c:pt>
                <c:pt idx="5385">
                  <c:v>#N/A</c:v>
                </c:pt>
                <c:pt idx="5386">
                  <c:v>#N/A</c:v>
                </c:pt>
                <c:pt idx="5387">
                  <c:v>#N/A</c:v>
                </c:pt>
                <c:pt idx="5388">
                  <c:v>#N/A</c:v>
                </c:pt>
                <c:pt idx="5389">
                  <c:v>#N/A</c:v>
                </c:pt>
                <c:pt idx="5390">
                  <c:v>#N/A</c:v>
                </c:pt>
                <c:pt idx="5391">
                  <c:v>#N/A</c:v>
                </c:pt>
                <c:pt idx="5392">
                  <c:v>#N/A</c:v>
                </c:pt>
                <c:pt idx="5393">
                  <c:v>#N/A</c:v>
                </c:pt>
                <c:pt idx="5394">
                  <c:v>#N/A</c:v>
                </c:pt>
                <c:pt idx="5395">
                  <c:v>#N/A</c:v>
                </c:pt>
                <c:pt idx="5396">
                  <c:v>#N/A</c:v>
                </c:pt>
                <c:pt idx="5397">
                  <c:v>#N/A</c:v>
                </c:pt>
                <c:pt idx="5398">
                  <c:v>#N/A</c:v>
                </c:pt>
                <c:pt idx="5399">
                  <c:v>#N/A</c:v>
                </c:pt>
                <c:pt idx="5400">
                  <c:v>#N/A</c:v>
                </c:pt>
                <c:pt idx="5401">
                  <c:v>#N/A</c:v>
                </c:pt>
                <c:pt idx="5402">
                  <c:v>#N/A</c:v>
                </c:pt>
                <c:pt idx="5403">
                  <c:v>#N/A</c:v>
                </c:pt>
                <c:pt idx="5404">
                  <c:v>#N/A</c:v>
                </c:pt>
                <c:pt idx="5405">
                  <c:v>#N/A</c:v>
                </c:pt>
                <c:pt idx="5406">
                  <c:v>#N/A</c:v>
                </c:pt>
                <c:pt idx="5407">
                  <c:v>#N/A</c:v>
                </c:pt>
                <c:pt idx="5408">
                  <c:v>#N/A</c:v>
                </c:pt>
                <c:pt idx="5409">
                  <c:v>#N/A</c:v>
                </c:pt>
                <c:pt idx="5410">
                  <c:v>#N/A</c:v>
                </c:pt>
                <c:pt idx="5411">
                  <c:v>#N/A</c:v>
                </c:pt>
                <c:pt idx="5412">
                  <c:v>#N/A</c:v>
                </c:pt>
                <c:pt idx="5413">
                  <c:v>#N/A</c:v>
                </c:pt>
                <c:pt idx="5414">
                  <c:v>#N/A</c:v>
                </c:pt>
                <c:pt idx="5415">
                  <c:v>#N/A</c:v>
                </c:pt>
                <c:pt idx="5416">
                  <c:v>#N/A</c:v>
                </c:pt>
                <c:pt idx="5417">
                  <c:v>#N/A</c:v>
                </c:pt>
                <c:pt idx="5418">
                  <c:v>#N/A</c:v>
                </c:pt>
                <c:pt idx="5419">
                  <c:v>#N/A</c:v>
                </c:pt>
                <c:pt idx="5420">
                  <c:v>#N/A</c:v>
                </c:pt>
                <c:pt idx="5421">
                  <c:v>#N/A</c:v>
                </c:pt>
                <c:pt idx="5422">
                  <c:v>#N/A</c:v>
                </c:pt>
                <c:pt idx="5423">
                  <c:v>#N/A</c:v>
                </c:pt>
                <c:pt idx="5424">
                  <c:v>#N/A</c:v>
                </c:pt>
                <c:pt idx="5425">
                  <c:v>#N/A</c:v>
                </c:pt>
                <c:pt idx="5426">
                  <c:v>#N/A</c:v>
                </c:pt>
                <c:pt idx="5427">
                  <c:v>#N/A</c:v>
                </c:pt>
                <c:pt idx="5428">
                  <c:v>#N/A</c:v>
                </c:pt>
                <c:pt idx="5429">
                  <c:v>#N/A</c:v>
                </c:pt>
                <c:pt idx="5430">
                  <c:v>#N/A</c:v>
                </c:pt>
                <c:pt idx="5431">
                  <c:v>#N/A</c:v>
                </c:pt>
                <c:pt idx="5432">
                  <c:v>#N/A</c:v>
                </c:pt>
                <c:pt idx="5433">
                  <c:v>#N/A</c:v>
                </c:pt>
                <c:pt idx="5434">
                  <c:v>#N/A</c:v>
                </c:pt>
                <c:pt idx="5435">
                  <c:v>#N/A</c:v>
                </c:pt>
                <c:pt idx="5436">
                  <c:v>#N/A</c:v>
                </c:pt>
                <c:pt idx="5437">
                  <c:v>#N/A</c:v>
                </c:pt>
                <c:pt idx="5438">
                  <c:v>#N/A</c:v>
                </c:pt>
                <c:pt idx="5439">
                  <c:v>#N/A</c:v>
                </c:pt>
                <c:pt idx="5440">
                  <c:v>#N/A</c:v>
                </c:pt>
                <c:pt idx="5441">
                  <c:v>#N/A</c:v>
                </c:pt>
                <c:pt idx="5442">
                  <c:v>#N/A</c:v>
                </c:pt>
                <c:pt idx="5443">
                  <c:v>#N/A</c:v>
                </c:pt>
                <c:pt idx="5444">
                  <c:v>#N/A</c:v>
                </c:pt>
                <c:pt idx="5445">
                  <c:v>#N/A</c:v>
                </c:pt>
                <c:pt idx="5446">
                  <c:v>#N/A</c:v>
                </c:pt>
                <c:pt idx="5447">
                  <c:v>#N/A</c:v>
                </c:pt>
                <c:pt idx="5448">
                  <c:v>#N/A</c:v>
                </c:pt>
                <c:pt idx="5449">
                  <c:v>#N/A</c:v>
                </c:pt>
                <c:pt idx="5450">
                  <c:v>#N/A</c:v>
                </c:pt>
                <c:pt idx="5451">
                  <c:v>#N/A</c:v>
                </c:pt>
                <c:pt idx="5452">
                  <c:v>#N/A</c:v>
                </c:pt>
                <c:pt idx="5453">
                  <c:v>#N/A</c:v>
                </c:pt>
                <c:pt idx="5454">
                  <c:v>#N/A</c:v>
                </c:pt>
                <c:pt idx="5455">
                  <c:v>#N/A</c:v>
                </c:pt>
                <c:pt idx="5456">
                  <c:v>#N/A</c:v>
                </c:pt>
                <c:pt idx="5457">
                  <c:v>#N/A</c:v>
                </c:pt>
                <c:pt idx="5458">
                  <c:v>#N/A</c:v>
                </c:pt>
                <c:pt idx="5459">
                  <c:v>#N/A</c:v>
                </c:pt>
                <c:pt idx="5460">
                  <c:v>#N/A</c:v>
                </c:pt>
                <c:pt idx="5461">
                  <c:v>#N/A</c:v>
                </c:pt>
                <c:pt idx="5462">
                  <c:v>#N/A</c:v>
                </c:pt>
                <c:pt idx="5463">
                  <c:v>#N/A</c:v>
                </c:pt>
                <c:pt idx="5464">
                  <c:v>#N/A</c:v>
                </c:pt>
                <c:pt idx="5465">
                  <c:v>#N/A</c:v>
                </c:pt>
                <c:pt idx="5466">
                  <c:v>#N/A</c:v>
                </c:pt>
                <c:pt idx="5467">
                  <c:v>#N/A</c:v>
                </c:pt>
                <c:pt idx="5468">
                  <c:v>#N/A</c:v>
                </c:pt>
                <c:pt idx="5469">
                  <c:v>#N/A</c:v>
                </c:pt>
                <c:pt idx="5470">
                  <c:v>#N/A</c:v>
                </c:pt>
                <c:pt idx="5471">
                  <c:v>#N/A</c:v>
                </c:pt>
                <c:pt idx="5472">
                  <c:v>#N/A</c:v>
                </c:pt>
                <c:pt idx="5473">
                  <c:v>#N/A</c:v>
                </c:pt>
                <c:pt idx="5474">
                  <c:v>#N/A</c:v>
                </c:pt>
                <c:pt idx="5475">
                  <c:v>#N/A</c:v>
                </c:pt>
                <c:pt idx="5476">
                  <c:v>#N/A</c:v>
                </c:pt>
                <c:pt idx="5477">
                  <c:v>#N/A</c:v>
                </c:pt>
                <c:pt idx="5478">
                  <c:v>#N/A</c:v>
                </c:pt>
                <c:pt idx="5479">
                  <c:v>#N/A</c:v>
                </c:pt>
                <c:pt idx="5480">
                  <c:v>#N/A</c:v>
                </c:pt>
                <c:pt idx="5481">
                  <c:v>#N/A</c:v>
                </c:pt>
                <c:pt idx="5482">
                  <c:v>#N/A</c:v>
                </c:pt>
                <c:pt idx="5483">
                  <c:v>#N/A</c:v>
                </c:pt>
                <c:pt idx="5484">
                  <c:v>#N/A</c:v>
                </c:pt>
                <c:pt idx="5485">
                  <c:v>#N/A</c:v>
                </c:pt>
                <c:pt idx="5486">
                  <c:v>#N/A</c:v>
                </c:pt>
                <c:pt idx="5487">
                  <c:v>#N/A</c:v>
                </c:pt>
                <c:pt idx="5488">
                  <c:v>#N/A</c:v>
                </c:pt>
                <c:pt idx="5489">
                  <c:v>#N/A</c:v>
                </c:pt>
                <c:pt idx="5490">
                  <c:v>#N/A</c:v>
                </c:pt>
                <c:pt idx="5491">
                  <c:v>#N/A</c:v>
                </c:pt>
                <c:pt idx="5492">
                  <c:v>#N/A</c:v>
                </c:pt>
                <c:pt idx="5493">
                  <c:v>#N/A</c:v>
                </c:pt>
                <c:pt idx="5494">
                  <c:v>#N/A</c:v>
                </c:pt>
                <c:pt idx="5495">
                  <c:v>#N/A</c:v>
                </c:pt>
                <c:pt idx="5496">
                  <c:v>#N/A</c:v>
                </c:pt>
                <c:pt idx="5497">
                  <c:v>#N/A</c:v>
                </c:pt>
                <c:pt idx="5498">
                  <c:v>#N/A</c:v>
                </c:pt>
                <c:pt idx="5499">
                  <c:v>#N/A</c:v>
                </c:pt>
                <c:pt idx="5500">
                  <c:v>#N/A</c:v>
                </c:pt>
                <c:pt idx="5501">
                  <c:v>#N/A</c:v>
                </c:pt>
                <c:pt idx="5502">
                  <c:v>#N/A</c:v>
                </c:pt>
                <c:pt idx="5503">
                  <c:v>#N/A</c:v>
                </c:pt>
                <c:pt idx="5504">
                  <c:v>#N/A</c:v>
                </c:pt>
                <c:pt idx="5505">
                  <c:v>#N/A</c:v>
                </c:pt>
                <c:pt idx="5506">
                  <c:v>#N/A</c:v>
                </c:pt>
                <c:pt idx="5507">
                  <c:v>#N/A</c:v>
                </c:pt>
                <c:pt idx="5508">
                  <c:v>#N/A</c:v>
                </c:pt>
                <c:pt idx="5509">
                  <c:v>#N/A</c:v>
                </c:pt>
                <c:pt idx="5510">
                  <c:v>#N/A</c:v>
                </c:pt>
                <c:pt idx="5511">
                  <c:v>#N/A</c:v>
                </c:pt>
                <c:pt idx="5512">
                  <c:v>#N/A</c:v>
                </c:pt>
                <c:pt idx="5513">
                  <c:v>#N/A</c:v>
                </c:pt>
                <c:pt idx="5514">
                  <c:v>#N/A</c:v>
                </c:pt>
                <c:pt idx="5515">
                  <c:v>#N/A</c:v>
                </c:pt>
                <c:pt idx="5516">
                  <c:v>#N/A</c:v>
                </c:pt>
                <c:pt idx="5517">
                  <c:v>#N/A</c:v>
                </c:pt>
                <c:pt idx="5518">
                  <c:v>#N/A</c:v>
                </c:pt>
                <c:pt idx="5519">
                  <c:v>#N/A</c:v>
                </c:pt>
                <c:pt idx="5520">
                  <c:v>#N/A</c:v>
                </c:pt>
                <c:pt idx="5521">
                  <c:v>#N/A</c:v>
                </c:pt>
                <c:pt idx="5522">
                  <c:v>#N/A</c:v>
                </c:pt>
                <c:pt idx="5523">
                  <c:v>#N/A</c:v>
                </c:pt>
                <c:pt idx="5524">
                  <c:v>#N/A</c:v>
                </c:pt>
                <c:pt idx="5525">
                  <c:v>#N/A</c:v>
                </c:pt>
                <c:pt idx="5526">
                  <c:v>#N/A</c:v>
                </c:pt>
                <c:pt idx="5527">
                  <c:v>#N/A</c:v>
                </c:pt>
                <c:pt idx="5528">
                  <c:v>#N/A</c:v>
                </c:pt>
                <c:pt idx="5529">
                  <c:v>#N/A</c:v>
                </c:pt>
                <c:pt idx="5530">
                  <c:v>#N/A</c:v>
                </c:pt>
                <c:pt idx="5531">
                  <c:v>#N/A</c:v>
                </c:pt>
                <c:pt idx="5532">
                  <c:v>#N/A</c:v>
                </c:pt>
                <c:pt idx="5533">
                  <c:v>#N/A</c:v>
                </c:pt>
                <c:pt idx="5534">
                  <c:v>#N/A</c:v>
                </c:pt>
                <c:pt idx="5535">
                  <c:v>#N/A</c:v>
                </c:pt>
                <c:pt idx="5536">
                  <c:v>#N/A</c:v>
                </c:pt>
                <c:pt idx="5537">
                  <c:v>#N/A</c:v>
                </c:pt>
                <c:pt idx="5538">
                  <c:v>#N/A</c:v>
                </c:pt>
                <c:pt idx="5539">
                  <c:v>#N/A</c:v>
                </c:pt>
                <c:pt idx="5540">
                  <c:v>#N/A</c:v>
                </c:pt>
                <c:pt idx="5541">
                  <c:v>#N/A</c:v>
                </c:pt>
                <c:pt idx="5542">
                  <c:v>#N/A</c:v>
                </c:pt>
                <c:pt idx="5543">
                  <c:v>#N/A</c:v>
                </c:pt>
                <c:pt idx="5544">
                  <c:v>#N/A</c:v>
                </c:pt>
                <c:pt idx="5545">
                  <c:v>#N/A</c:v>
                </c:pt>
                <c:pt idx="5546">
                  <c:v>#N/A</c:v>
                </c:pt>
                <c:pt idx="5547">
                  <c:v>#N/A</c:v>
                </c:pt>
                <c:pt idx="5548">
                  <c:v>#N/A</c:v>
                </c:pt>
                <c:pt idx="5549">
                  <c:v>#N/A</c:v>
                </c:pt>
                <c:pt idx="5550">
                  <c:v>#N/A</c:v>
                </c:pt>
                <c:pt idx="5551">
                  <c:v>#N/A</c:v>
                </c:pt>
                <c:pt idx="5552">
                  <c:v>#N/A</c:v>
                </c:pt>
                <c:pt idx="5553">
                  <c:v>#N/A</c:v>
                </c:pt>
                <c:pt idx="5554">
                  <c:v>#N/A</c:v>
                </c:pt>
                <c:pt idx="5555">
                  <c:v>#N/A</c:v>
                </c:pt>
                <c:pt idx="5556">
                  <c:v>#N/A</c:v>
                </c:pt>
                <c:pt idx="5557">
                  <c:v>#N/A</c:v>
                </c:pt>
                <c:pt idx="5558">
                  <c:v>#N/A</c:v>
                </c:pt>
                <c:pt idx="5559">
                  <c:v>#N/A</c:v>
                </c:pt>
                <c:pt idx="5560">
                  <c:v>#N/A</c:v>
                </c:pt>
                <c:pt idx="5561">
                  <c:v>#N/A</c:v>
                </c:pt>
                <c:pt idx="5562">
                  <c:v>#N/A</c:v>
                </c:pt>
                <c:pt idx="5563">
                  <c:v>#N/A</c:v>
                </c:pt>
                <c:pt idx="5564">
                  <c:v>#N/A</c:v>
                </c:pt>
                <c:pt idx="5565">
                  <c:v>#N/A</c:v>
                </c:pt>
                <c:pt idx="5566">
                  <c:v>#N/A</c:v>
                </c:pt>
                <c:pt idx="5567">
                  <c:v>#N/A</c:v>
                </c:pt>
                <c:pt idx="5568">
                  <c:v>#N/A</c:v>
                </c:pt>
                <c:pt idx="5569">
                  <c:v>#N/A</c:v>
                </c:pt>
                <c:pt idx="5570">
                  <c:v>#N/A</c:v>
                </c:pt>
                <c:pt idx="5571">
                  <c:v>#N/A</c:v>
                </c:pt>
                <c:pt idx="5572">
                  <c:v>#N/A</c:v>
                </c:pt>
                <c:pt idx="5573">
                  <c:v>#N/A</c:v>
                </c:pt>
                <c:pt idx="5574">
                  <c:v>#N/A</c:v>
                </c:pt>
                <c:pt idx="5575">
                  <c:v>#N/A</c:v>
                </c:pt>
                <c:pt idx="5576">
                  <c:v>#N/A</c:v>
                </c:pt>
                <c:pt idx="5577">
                  <c:v>#N/A</c:v>
                </c:pt>
                <c:pt idx="5578">
                  <c:v>#N/A</c:v>
                </c:pt>
                <c:pt idx="5579">
                  <c:v>#N/A</c:v>
                </c:pt>
                <c:pt idx="5580">
                  <c:v>#N/A</c:v>
                </c:pt>
                <c:pt idx="5581">
                  <c:v>#N/A</c:v>
                </c:pt>
                <c:pt idx="5582">
                  <c:v>#N/A</c:v>
                </c:pt>
                <c:pt idx="5583">
                  <c:v>#N/A</c:v>
                </c:pt>
                <c:pt idx="5584">
                  <c:v>#N/A</c:v>
                </c:pt>
                <c:pt idx="5585">
                  <c:v>#N/A</c:v>
                </c:pt>
                <c:pt idx="5586">
                  <c:v>#N/A</c:v>
                </c:pt>
                <c:pt idx="5587">
                  <c:v>#N/A</c:v>
                </c:pt>
                <c:pt idx="5588">
                  <c:v>#N/A</c:v>
                </c:pt>
                <c:pt idx="5589">
                  <c:v>#N/A</c:v>
                </c:pt>
                <c:pt idx="5590">
                  <c:v>#N/A</c:v>
                </c:pt>
                <c:pt idx="5591">
                  <c:v>#N/A</c:v>
                </c:pt>
                <c:pt idx="5592">
                  <c:v>#N/A</c:v>
                </c:pt>
                <c:pt idx="5593">
                  <c:v>#N/A</c:v>
                </c:pt>
                <c:pt idx="5594">
                  <c:v>#N/A</c:v>
                </c:pt>
                <c:pt idx="5595">
                  <c:v>#N/A</c:v>
                </c:pt>
                <c:pt idx="5596">
                  <c:v>#N/A</c:v>
                </c:pt>
                <c:pt idx="5597">
                  <c:v>#N/A</c:v>
                </c:pt>
                <c:pt idx="5598">
                  <c:v>#N/A</c:v>
                </c:pt>
                <c:pt idx="5599">
                  <c:v>#N/A</c:v>
                </c:pt>
                <c:pt idx="5600">
                  <c:v>#N/A</c:v>
                </c:pt>
                <c:pt idx="5601">
                  <c:v>#N/A</c:v>
                </c:pt>
                <c:pt idx="5602">
                  <c:v>#N/A</c:v>
                </c:pt>
                <c:pt idx="5603">
                  <c:v>#N/A</c:v>
                </c:pt>
                <c:pt idx="5604">
                  <c:v>#N/A</c:v>
                </c:pt>
                <c:pt idx="5605">
                  <c:v>#N/A</c:v>
                </c:pt>
                <c:pt idx="5606">
                  <c:v>#N/A</c:v>
                </c:pt>
                <c:pt idx="5607">
                  <c:v>#N/A</c:v>
                </c:pt>
                <c:pt idx="5608">
                  <c:v>#N/A</c:v>
                </c:pt>
                <c:pt idx="5609">
                  <c:v>#N/A</c:v>
                </c:pt>
                <c:pt idx="5610">
                  <c:v>#N/A</c:v>
                </c:pt>
                <c:pt idx="5611">
                  <c:v>#N/A</c:v>
                </c:pt>
                <c:pt idx="5612">
                  <c:v>#N/A</c:v>
                </c:pt>
                <c:pt idx="5613">
                  <c:v>#N/A</c:v>
                </c:pt>
                <c:pt idx="5614">
                  <c:v>#N/A</c:v>
                </c:pt>
                <c:pt idx="5615">
                  <c:v>#N/A</c:v>
                </c:pt>
                <c:pt idx="5616">
                  <c:v>#N/A</c:v>
                </c:pt>
                <c:pt idx="5617">
                  <c:v>#N/A</c:v>
                </c:pt>
                <c:pt idx="5618">
                  <c:v>#N/A</c:v>
                </c:pt>
                <c:pt idx="5619">
                  <c:v>#N/A</c:v>
                </c:pt>
                <c:pt idx="5620">
                  <c:v>#N/A</c:v>
                </c:pt>
                <c:pt idx="5621">
                  <c:v>#N/A</c:v>
                </c:pt>
                <c:pt idx="5622">
                  <c:v>#N/A</c:v>
                </c:pt>
                <c:pt idx="5623">
                  <c:v>#N/A</c:v>
                </c:pt>
                <c:pt idx="5624">
                  <c:v>#N/A</c:v>
                </c:pt>
                <c:pt idx="5625">
                  <c:v>#N/A</c:v>
                </c:pt>
                <c:pt idx="5626">
                  <c:v>#N/A</c:v>
                </c:pt>
                <c:pt idx="5627">
                  <c:v>#N/A</c:v>
                </c:pt>
                <c:pt idx="5628">
                  <c:v>#N/A</c:v>
                </c:pt>
                <c:pt idx="5629">
                  <c:v>#N/A</c:v>
                </c:pt>
                <c:pt idx="5630">
                  <c:v>#N/A</c:v>
                </c:pt>
                <c:pt idx="5631">
                  <c:v>#N/A</c:v>
                </c:pt>
                <c:pt idx="5632">
                  <c:v>#N/A</c:v>
                </c:pt>
                <c:pt idx="5633">
                  <c:v>#N/A</c:v>
                </c:pt>
                <c:pt idx="5634">
                  <c:v>#N/A</c:v>
                </c:pt>
                <c:pt idx="5635">
                  <c:v>#N/A</c:v>
                </c:pt>
                <c:pt idx="5636">
                  <c:v>#N/A</c:v>
                </c:pt>
                <c:pt idx="5637">
                  <c:v>#N/A</c:v>
                </c:pt>
                <c:pt idx="5638">
                  <c:v>#N/A</c:v>
                </c:pt>
                <c:pt idx="5639">
                  <c:v>#N/A</c:v>
                </c:pt>
                <c:pt idx="5640">
                  <c:v>#N/A</c:v>
                </c:pt>
                <c:pt idx="5641">
                  <c:v>#N/A</c:v>
                </c:pt>
                <c:pt idx="5642">
                  <c:v>#N/A</c:v>
                </c:pt>
                <c:pt idx="5643">
                  <c:v>#N/A</c:v>
                </c:pt>
                <c:pt idx="5644">
                  <c:v>#N/A</c:v>
                </c:pt>
                <c:pt idx="5645">
                  <c:v>#N/A</c:v>
                </c:pt>
                <c:pt idx="5646">
                  <c:v>#N/A</c:v>
                </c:pt>
                <c:pt idx="5647">
                  <c:v>#N/A</c:v>
                </c:pt>
                <c:pt idx="5648">
                  <c:v>#N/A</c:v>
                </c:pt>
                <c:pt idx="5649">
                  <c:v>#N/A</c:v>
                </c:pt>
                <c:pt idx="5650">
                  <c:v>#N/A</c:v>
                </c:pt>
                <c:pt idx="5651">
                  <c:v>#N/A</c:v>
                </c:pt>
                <c:pt idx="5652">
                  <c:v>#N/A</c:v>
                </c:pt>
                <c:pt idx="5653">
                  <c:v>#N/A</c:v>
                </c:pt>
                <c:pt idx="5654">
                  <c:v>#N/A</c:v>
                </c:pt>
                <c:pt idx="5655">
                  <c:v>#N/A</c:v>
                </c:pt>
                <c:pt idx="5656">
                  <c:v>#N/A</c:v>
                </c:pt>
                <c:pt idx="5657">
                  <c:v>#N/A</c:v>
                </c:pt>
                <c:pt idx="5658">
                  <c:v>#N/A</c:v>
                </c:pt>
                <c:pt idx="5659">
                  <c:v>#N/A</c:v>
                </c:pt>
                <c:pt idx="5660">
                  <c:v>#N/A</c:v>
                </c:pt>
                <c:pt idx="5661">
                  <c:v>#N/A</c:v>
                </c:pt>
                <c:pt idx="5662">
                  <c:v>#N/A</c:v>
                </c:pt>
                <c:pt idx="5663">
                  <c:v>#N/A</c:v>
                </c:pt>
                <c:pt idx="5664">
                  <c:v>#N/A</c:v>
                </c:pt>
                <c:pt idx="5665">
                  <c:v>#N/A</c:v>
                </c:pt>
                <c:pt idx="5666">
                  <c:v>#N/A</c:v>
                </c:pt>
                <c:pt idx="5667">
                  <c:v>#N/A</c:v>
                </c:pt>
                <c:pt idx="5668">
                  <c:v>#N/A</c:v>
                </c:pt>
                <c:pt idx="5669">
                  <c:v>#N/A</c:v>
                </c:pt>
                <c:pt idx="5670">
                  <c:v>#N/A</c:v>
                </c:pt>
                <c:pt idx="5671">
                  <c:v>#N/A</c:v>
                </c:pt>
                <c:pt idx="5672">
                  <c:v>#N/A</c:v>
                </c:pt>
                <c:pt idx="5673">
                  <c:v>#N/A</c:v>
                </c:pt>
                <c:pt idx="5674">
                  <c:v>#N/A</c:v>
                </c:pt>
                <c:pt idx="5675">
                  <c:v>#N/A</c:v>
                </c:pt>
                <c:pt idx="5676">
                  <c:v>#N/A</c:v>
                </c:pt>
                <c:pt idx="5677">
                  <c:v>#N/A</c:v>
                </c:pt>
                <c:pt idx="5678">
                  <c:v>#N/A</c:v>
                </c:pt>
                <c:pt idx="5679">
                  <c:v>#N/A</c:v>
                </c:pt>
                <c:pt idx="5680">
                  <c:v>#N/A</c:v>
                </c:pt>
                <c:pt idx="5681">
                  <c:v>#N/A</c:v>
                </c:pt>
                <c:pt idx="5682">
                  <c:v>#N/A</c:v>
                </c:pt>
                <c:pt idx="5683">
                  <c:v>#N/A</c:v>
                </c:pt>
                <c:pt idx="5684">
                  <c:v>#N/A</c:v>
                </c:pt>
                <c:pt idx="5685">
                  <c:v>#N/A</c:v>
                </c:pt>
                <c:pt idx="5686">
                  <c:v>#N/A</c:v>
                </c:pt>
                <c:pt idx="5687">
                  <c:v>#N/A</c:v>
                </c:pt>
                <c:pt idx="5688">
                  <c:v>#N/A</c:v>
                </c:pt>
                <c:pt idx="5689">
                  <c:v>#N/A</c:v>
                </c:pt>
                <c:pt idx="5690">
                  <c:v>#N/A</c:v>
                </c:pt>
                <c:pt idx="5691">
                  <c:v>#N/A</c:v>
                </c:pt>
                <c:pt idx="5692">
                  <c:v>#N/A</c:v>
                </c:pt>
                <c:pt idx="5693">
                  <c:v>#N/A</c:v>
                </c:pt>
                <c:pt idx="5694">
                  <c:v>#N/A</c:v>
                </c:pt>
                <c:pt idx="5695">
                  <c:v>#N/A</c:v>
                </c:pt>
                <c:pt idx="5696">
                  <c:v>#N/A</c:v>
                </c:pt>
                <c:pt idx="5697">
                  <c:v>#N/A</c:v>
                </c:pt>
                <c:pt idx="5698">
                  <c:v>#N/A</c:v>
                </c:pt>
                <c:pt idx="5699">
                  <c:v>#N/A</c:v>
                </c:pt>
                <c:pt idx="5700">
                  <c:v>#N/A</c:v>
                </c:pt>
                <c:pt idx="5701">
                  <c:v>#N/A</c:v>
                </c:pt>
                <c:pt idx="5702">
                  <c:v>#N/A</c:v>
                </c:pt>
                <c:pt idx="5703">
                  <c:v>#N/A</c:v>
                </c:pt>
                <c:pt idx="5704">
                  <c:v>#N/A</c:v>
                </c:pt>
                <c:pt idx="5705">
                  <c:v>#N/A</c:v>
                </c:pt>
                <c:pt idx="5706">
                  <c:v>#N/A</c:v>
                </c:pt>
                <c:pt idx="5707">
                  <c:v>#N/A</c:v>
                </c:pt>
                <c:pt idx="5708">
                  <c:v>#N/A</c:v>
                </c:pt>
                <c:pt idx="5709">
                  <c:v>#N/A</c:v>
                </c:pt>
                <c:pt idx="5710">
                  <c:v>#N/A</c:v>
                </c:pt>
                <c:pt idx="5711">
                  <c:v>#N/A</c:v>
                </c:pt>
                <c:pt idx="5712">
                  <c:v>#N/A</c:v>
                </c:pt>
                <c:pt idx="5713">
                  <c:v>#N/A</c:v>
                </c:pt>
                <c:pt idx="5714">
                  <c:v>#N/A</c:v>
                </c:pt>
                <c:pt idx="5715">
                  <c:v>#N/A</c:v>
                </c:pt>
                <c:pt idx="5716">
                  <c:v>#N/A</c:v>
                </c:pt>
                <c:pt idx="5717">
                  <c:v>#N/A</c:v>
                </c:pt>
                <c:pt idx="5718">
                  <c:v>#N/A</c:v>
                </c:pt>
                <c:pt idx="5719">
                  <c:v>#N/A</c:v>
                </c:pt>
                <c:pt idx="5720">
                  <c:v>#N/A</c:v>
                </c:pt>
                <c:pt idx="5721">
                  <c:v>#N/A</c:v>
                </c:pt>
                <c:pt idx="5722">
                  <c:v>#N/A</c:v>
                </c:pt>
                <c:pt idx="5723">
                  <c:v>#N/A</c:v>
                </c:pt>
                <c:pt idx="5724">
                  <c:v>#N/A</c:v>
                </c:pt>
                <c:pt idx="5725">
                  <c:v>#N/A</c:v>
                </c:pt>
                <c:pt idx="5726">
                  <c:v>#N/A</c:v>
                </c:pt>
                <c:pt idx="5727">
                  <c:v>#N/A</c:v>
                </c:pt>
                <c:pt idx="5728">
                  <c:v>#N/A</c:v>
                </c:pt>
                <c:pt idx="5729">
                  <c:v>#N/A</c:v>
                </c:pt>
                <c:pt idx="5730">
                  <c:v>#N/A</c:v>
                </c:pt>
                <c:pt idx="5731">
                  <c:v>#N/A</c:v>
                </c:pt>
                <c:pt idx="5732">
                  <c:v>#N/A</c:v>
                </c:pt>
                <c:pt idx="5733">
                  <c:v>#N/A</c:v>
                </c:pt>
                <c:pt idx="5734">
                  <c:v>#N/A</c:v>
                </c:pt>
                <c:pt idx="5735">
                  <c:v>#N/A</c:v>
                </c:pt>
                <c:pt idx="5736">
                  <c:v>#N/A</c:v>
                </c:pt>
                <c:pt idx="5737">
                  <c:v>#N/A</c:v>
                </c:pt>
                <c:pt idx="5738">
                  <c:v>#N/A</c:v>
                </c:pt>
                <c:pt idx="5739">
                  <c:v>#N/A</c:v>
                </c:pt>
                <c:pt idx="5740">
                  <c:v>#N/A</c:v>
                </c:pt>
                <c:pt idx="5741">
                  <c:v>#N/A</c:v>
                </c:pt>
                <c:pt idx="5742">
                  <c:v>#N/A</c:v>
                </c:pt>
                <c:pt idx="5743">
                  <c:v>#N/A</c:v>
                </c:pt>
                <c:pt idx="5744">
                  <c:v>#N/A</c:v>
                </c:pt>
                <c:pt idx="5745">
                  <c:v>#N/A</c:v>
                </c:pt>
                <c:pt idx="5746">
                  <c:v>#N/A</c:v>
                </c:pt>
                <c:pt idx="5747">
                  <c:v>#N/A</c:v>
                </c:pt>
                <c:pt idx="5748">
                  <c:v>#N/A</c:v>
                </c:pt>
                <c:pt idx="5749">
                  <c:v>#N/A</c:v>
                </c:pt>
                <c:pt idx="5750">
                  <c:v>#N/A</c:v>
                </c:pt>
                <c:pt idx="5751">
                  <c:v>#N/A</c:v>
                </c:pt>
                <c:pt idx="5752">
                  <c:v>#N/A</c:v>
                </c:pt>
                <c:pt idx="5753">
                  <c:v>#N/A</c:v>
                </c:pt>
                <c:pt idx="5754">
                  <c:v>#N/A</c:v>
                </c:pt>
                <c:pt idx="5755">
                  <c:v>#N/A</c:v>
                </c:pt>
                <c:pt idx="5756">
                  <c:v>#N/A</c:v>
                </c:pt>
                <c:pt idx="5757">
                  <c:v>#N/A</c:v>
                </c:pt>
                <c:pt idx="5758">
                  <c:v>#N/A</c:v>
                </c:pt>
                <c:pt idx="5759">
                  <c:v>#N/A</c:v>
                </c:pt>
                <c:pt idx="5760">
                  <c:v>#N/A</c:v>
                </c:pt>
                <c:pt idx="5761">
                  <c:v>#N/A</c:v>
                </c:pt>
                <c:pt idx="5762">
                  <c:v>#N/A</c:v>
                </c:pt>
                <c:pt idx="5763">
                  <c:v>#N/A</c:v>
                </c:pt>
                <c:pt idx="5764">
                  <c:v>#N/A</c:v>
                </c:pt>
                <c:pt idx="5765">
                  <c:v>#N/A</c:v>
                </c:pt>
                <c:pt idx="5766">
                  <c:v>#N/A</c:v>
                </c:pt>
                <c:pt idx="5767">
                  <c:v>#N/A</c:v>
                </c:pt>
                <c:pt idx="5768">
                  <c:v>#N/A</c:v>
                </c:pt>
                <c:pt idx="5769">
                  <c:v>#N/A</c:v>
                </c:pt>
                <c:pt idx="5770">
                  <c:v>#N/A</c:v>
                </c:pt>
                <c:pt idx="5771">
                  <c:v>#N/A</c:v>
                </c:pt>
                <c:pt idx="5772">
                  <c:v>#N/A</c:v>
                </c:pt>
                <c:pt idx="5773">
                  <c:v>#N/A</c:v>
                </c:pt>
                <c:pt idx="5774">
                  <c:v>#N/A</c:v>
                </c:pt>
                <c:pt idx="5775">
                  <c:v>#N/A</c:v>
                </c:pt>
                <c:pt idx="5776">
                  <c:v>#N/A</c:v>
                </c:pt>
                <c:pt idx="5777">
                  <c:v>#N/A</c:v>
                </c:pt>
                <c:pt idx="5778">
                  <c:v>#N/A</c:v>
                </c:pt>
                <c:pt idx="5779">
                  <c:v>#N/A</c:v>
                </c:pt>
                <c:pt idx="5780">
                  <c:v>#N/A</c:v>
                </c:pt>
                <c:pt idx="5781">
                  <c:v>#N/A</c:v>
                </c:pt>
                <c:pt idx="5782">
                  <c:v>#N/A</c:v>
                </c:pt>
                <c:pt idx="5783">
                  <c:v>#N/A</c:v>
                </c:pt>
                <c:pt idx="5784">
                  <c:v>#N/A</c:v>
                </c:pt>
                <c:pt idx="5785">
                  <c:v>#N/A</c:v>
                </c:pt>
                <c:pt idx="5786">
                  <c:v>#N/A</c:v>
                </c:pt>
                <c:pt idx="5787">
                  <c:v>#N/A</c:v>
                </c:pt>
                <c:pt idx="5788">
                  <c:v>#N/A</c:v>
                </c:pt>
                <c:pt idx="5789">
                  <c:v>#N/A</c:v>
                </c:pt>
                <c:pt idx="5790">
                  <c:v>#N/A</c:v>
                </c:pt>
                <c:pt idx="5791">
                  <c:v>#N/A</c:v>
                </c:pt>
                <c:pt idx="5792">
                  <c:v>#N/A</c:v>
                </c:pt>
                <c:pt idx="5793">
                  <c:v>#N/A</c:v>
                </c:pt>
                <c:pt idx="5794">
                  <c:v>#N/A</c:v>
                </c:pt>
                <c:pt idx="5795">
                  <c:v>#N/A</c:v>
                </c:pt>
                <c:pt idx="5796">
                  <c:v>#N/A</c:v>
                </c:pt>
                <c:pt idx="5797">
                  <c:v>#N/A</c:v>
                </c:pt>
                <c:pt idx="5798">
                  <c:v>#N/A</c:v>
                </c:pt>
                <c:pt idx="5799">
                  <c:v>#N/A</c:v>
                </c:pt>
                <c:pt idx="5800">
                  <c:v>#N/A</c:v>
                </c:pt>
                <c:pt idx="5801">
                  <c:v>#N/A</c:v>
                </c:pt>
                <c:pt idx="5802">
                  <c:v>#N/A</c:v>
                </c:pt>
                <c:pt idx="5803">
                  <c:v>#N/A</c:v>
                </c:pt>
                <c:pt idx="5804">
                  <c:v>#N/A</c:v>
                </c:pt>
                <c:pt idx="5805">
                  <c:v>#N/A</c:v>
                </c:pt>
                <c:pt idx="5806">
                  <c:v>#N/A</c:v>
                </c:pt>
                <c:pt idx="5807">
                  <c:v>#N/A</c:v>
                </c:pt>
                <c:pt idx="5808">
                  <c:v>#N/A</c:v>
                </c:pt>
                <c:pt idx="5809">
                  <c:v>#N/A</c:v>
                </c:pt>
                <c:pt idx="5810">
                  <c:v>#N/A</c:v>
                </c:pt>
                <c:pt idx="5811">
                  <c:v>#N/A</c:v>
                </c:pt>
                <c:pt idx="5812">
                  <c:v>#N/A</c:v>
                </c:pt>
                <c:pt idx="5813">
                  <c:v>#N/A</c:v>
                </c:pt>
                <c:pt idx="5814">
                  <c:v>#N/A</c:v>
                </c:pt>
                <c:pt idx="5815">
                  <c:v>#N/A</c:v>
                </c:pt>
                <c:pt idx="5816">
                  <c:v>#N/A</c:v>
                </c:pt>
                <c:pt idx="5817">
                  <c:v>#N/A</c:v>
                </c:pt>
                <c:pt idx="5818">
                  <c:v>#N/A</c:v>
                </c:pt>
                <c:pt idx="5819">
                  <c:v>#N/A</c:v>
                </c:pt>
                <c:pt idx="5820">
                  <c:v>#N/A</c:v>
                </c:pt>
                <c:pt idx="5821">
                  <c:v>#N/A</c:v>
                </c:pt>
                <c:pt idx="5822">
                  <c:v>#N/A</c:v>
                </c:pt>
                <c:pt idx="5823">
                  <c:v>#N/A</c:v>
                </c:pt>
                <c:pt idx="5824">
                  <c:v>#N/A</c:v>
                </c:pt>
                <c:pt idx="5825">
                  <c:v>#N/A</c:v>
                </c:pt>
                <c:pt idx="5826">
                  <c:v>#N/A</c:v>
                </c:pt>
                <c:pt idx="5827">
                  <c:v>#N/A</c:v>
                </c:pt>
                <c:pt idx="5828">
                  <c:v>#N/A</c:v>
                </c:pt>
                <c:pt idx="5829">
                  <c:v>#N/A</c:v>
                </c:pt>
                <c:pt idx="5830">
                  <c:v>#N/A</c:v>
                </c:pt>
                <c:pt idx="5831">
                  <c:v>#N/A</c:v>
                </c:pt>
                <c:pt idx="5832">
                  <c:v>#N/A</c:v>
                </c:pt>
                <c:pt idx="5833">
                  <c:v>#N/A</c:v>
                </c:pt>
                <c:pt idx="5834">
                  <c:v>#N/A</c:v>
                </c:pt>
                <c:pt idx="5835">
                  <c:v>#N/A</c:v>
                </c:pt>
                <c:pt idx="5836">
                  <c:v>#N/A</c:v>
                </c:pt>
                <c:pt idx="5837">
                  <c:v>#N/A</c:v>
                </c:pt>
                <c:pt idx="5838">
                  <c:v>#N/A</c:v>
                </c:pt>
                <c:pt idx="5839">
                  <c:v>#N/A</c:v>
                </c:pt>
                <c:pt idx="5840">
                  <c:v>#N/A</c:v>
                </c:pt>
                <c:pt idx="5841">
                  <c:v>#N/A</c:v>
                </c:pt>
                <c:pt idx="5842">
                  <c:v>#N/A</c:v>
                </c:pt>
                <c:pt idx="5843">
                  <c:v>#N/A</c:v>
                </c:pt>
                <c:pt idx="5844">
                  <c:v>#N/A</c:v>
                </c:pt>
                <c:pt idx="5845">
                  <c:v>#N/A</c:v>
                </c:pt>
                <c:pt idx="5846">
                  <c:v>#N/A</c:v>
                </c:pt>
                <c:pt idx="5847">
                  <c:v>#N/A</c:v>
                </c:pt>
                <c:pt idx="5848">
                  <c:v>#N/A</c:v>
                </c:pt>
                <c:pt idx="5849">
                  <c:v>#N/A</c:v>
                </c:pt>
                <c:pt idx="5850">
                  <c:v>#N/A</c:v>
                </c:pt>
                <c:pt idx="5851">
                  <c:v>#N/A</c:v>
                </c:pt>
                <c:pt idx="5852">
                  <c:v>#N/A</c:v>
                </c:pt>
                <c:pt idx="5853">
                  <c:v>#N/A</c:v>
                </c:pt>
                <c:pt idx="5854">
                  <c:v>#N/A</c:v>
                </c:pt>
                <c:pt idx="5855">
                  <c:v>#N/A</c:v>
                </c:pt>
                <c:pt idx="5856">
                  <c:v>#N/A</c:v>
                </c:pt>
                <c:pt idx="5857">
                  <c:v>#N/A</c:v>
                </c:pt>
                <c:pt idx="5858">
                  <c:v>#N/A</c:v>
                </c:pt>
                <c:pt idx="5859">
                  <c:v>#N/A</c:v>
                </c:pt>
                <c:pt idx="5860">
                  <c:v>#N/A</c:v>
                </c:pt>
                <c:pt idx="5861">
                  <c:v>#N/A</c:v>
                </c:pt>
                <c:pt idx="5862">
                  <c:v>#N/A</c:v>
                </c:pt>
                <c:pt idx="5863">
                  <c:v>#N/A</c:v>
                </c:pt>
                <c:pt idx="5864">
                  <c:v>#N/A</c:v>
                </c:pt>
                <c:pt idx="5865">
                  <c:v>#N/A</c:v>
                </c:pt>
                <c:pt idx="5866">
                  <c:v>#N/A</c:v>
                </c:pt>
                <c:pt idx="5867">
                  <c:v>#N/A</c:v>
                </c:pt>
                <c:pt idx="5868">
                  <c:v>#N/A</c:v>
                </c:pt>
                <c:pt idx="5869">
                  <c:v>#N/A</c:v>
                </c:pt>
                <c:pt idx="5870">
                  <c:v>#N/A</c:v>
                </c:pt>
                <c:pt idx="5871">
                  <c:v>#N/A</c:v>
                </c:pt>
                <c:pt idx="5872">
                  <c:v>#N/A</c:v>
                </c:pt>
                <c:pt idx="5873">
                  <c:v>#N/A</c:v>
                </c:pt>
                <c:pt idx="5874">
                  <c:v>#N/A</c:v>
                </c:pt>
                <c:pt idx="5875">
                  <c:v>#N/A</c:v>
                </c:pt>
                <c:pt idx="5876">
                  <c:v>#N/A</c:v>
                </c:pt>
                <c:pt idx="5877">
                  <c:v>#N/A</c:v>
                </c:pt>
                <c:pt idx="5878">
                  <c:v>#N/A</c:v>
                </c:pt>
                <c:pt idx="5879">
                  <c:v>#N/A</c:v>
                </c:pt>
                <c:pt idx="5880">
                  <c:v>#N/A</c:v>
                </c:pt>
                <c:pt idx="5881">
                  <c:v>#N/A</c:v>
                </c:pt>
                <c:pt idx="5882">
                  <c:v>#N/A</c:v>
                </c:pt>
                <c:pt idx="5883">
                  <c:v>#N/A</c:v>
                </c:pt>
                <c:pt idx="5884">
                  <c:v>#N/A</c:v>
                </c:pt>
                <c:pt idx="5885">
                  <c:v>#N/A</c:v>
                </c:pt>
                <c:pt idx="5886">
                  <c:v>#N/A</c:v>
                </c:pt>
                <c:pt idx="5887">
                  <c:v>#N/A</c:v>
                </c:pt>
                <c:pt idx="5888">
                  <c:v>#N/A</c:v>
                </c:pt>
                <c:pt idx="5889">
                  <c:v>#N/A</c:v>
                </c:pt>
                <c:pt idx="5890">
                  <c:v>#N/A</c:v>
                </c:pt>
                <c:pt idx="5891">
                  <c:v>#N/A</c:v>
                </c:pt>
                <c:pt idx="5892">
                  <c:v>#N/A</c:v>
                </c:pt>
                <c:pt idx="5893">
                  <c:v>#N/A</c:v>
                </c:pt>
                <c:pt idx="5894">
                  <c:v>#N/A</c:v>
                </c:pt>
                <c:pt idx="5895">
                  <c:v>#N/A</c:v>
                </c:pt>
                <c:pt idx="5896">
                  <c:v>#N/A</c:v>
                </c:pt>
                <c:pt idx="5897">
                  <c:v>#N/A</c:v>
                </c:pt>
                <c:pt idx="5898">
                  <c:v>#N/A</c:v>
                </c:pt>
                <c:pt idx="5899">
                  <c:v>#N/A</c:v>
                </c:pt>
                <c:pt idx="5900">
                  <c:v>#N/A</c:v>
                </c:pt>
                <c:pt idx="5901">
                  <c:v>#N/A</c:v>
                </c:pt>
                <c:pt idx="5902">
                  <c:v>#N/A</c:v>
                </c:pt>
                <c:pt idx="5903">
                  <c:v>#N/A</c:v>
                </c:pt>
                <c:pt idx="5904">
                  <c:v>#N/A</c:v>
                </c:pt>
                <c:pt idx="5905">
                  <c:v>#N/A</c:v>
                </c:pt>
                <c:pt idx="5906">
                  <c:v>#N/A</c:v>
                </c:pt>
                <c:pt idx="5907">
                  <c:v>#N/A</c:v>
                </c:pt>
                <c:pt idx="5908">
                  <c:v>#N/A</c:v>
                </c:pt>
                <c:pt idx="5909">
                  <c:v>#N/A</c:v>
                </c:pt>
                <c:pt idx="5910">
                  <c:v>#N/A</c:v>
                </c:pt>
                <c:pt idx="5911">
                  <c:v>#N/A</c:v>
                </c:pt>
                <c:pt idx="5912">
                  <c:v>#N/A</c:v>
                </c:pt>
                <c:pt idx="5913">
                  <c:v>#N/A</c:v>
                </c:pt>
                <c:pt idx="5914">
                  <c:v>#N/A</c:v>
                </c:pt>
                <c:pt idx="5915">
                  <c:v>#N/A</c:v>
                </c:pt>
                <c:pt idx="5916">
                  <c:v>#N/A</c:v>
                </c:pt>
                <c:pt idx="5917">
                  <c:v>#N/A</c:v>
                </c:pt>
                <c:pt idx="5918">
                  <c:v>#N/A</c:v>
                </c:pt>
                <c:pt idx="5919">
                  <c:v>#N/A</c:v>
                </c:pt>
                <c:pt idx="5920">
                  <c:v>#N/A</c:v>
                </c:pt>
                <c:pt idx="5921">
                  <c:v>#N/A</c:v>
                </c:pt>
                <c:pt idx="5922">
                  <c:v>#N/A</c:v>
                </c:pt>
                <c:pt idx="5923">
                  <c:v>#N/A</c:v>
                </c:pt>
                <c:pt idx="5924">
                  <c:v>#N/A</c:v>
                </c:pt>
                <c:pt idx="5925">
                  <c:v>#N/A</c:v>
                </c:pt>
                <c:pt idx="5926">
                  <c:v>#N/A</c:v>
                </c:pt>
                <c:pt idx="5927">
                  <c:v>#N/A</c:v>
                </c:pt>
                <c:pt idx="5928">
                  <c:v>#N/A</c:v>
                </c:pt>
                <c:pt idx="5929">
                  <c:v>#N/A</c:v>
                </c:pt>
                <c:pt idx="5930">
                  <c:v>#N/A</c:v>
                </c:pt>
                <c:pt idx="5931">
                  <c:v>#N/A</c:v>
                </c:pt>
                <c:pt idx="5932">
                  <c:v>#N/A</c:v>
                </c:pt>
                <c:pt idx="5933">
                  <c:v>#N/A</c:v>
                </c:pt>
                <c:pt idx="5934">
                  <c:v>#N/A</c:v>
                </c:pt>
                <c:pt idx="5935">
                  <c:v>#N/A</c:v>
                </c:pt>
                <c:pt idx="5936">
                  <c:v>#N/A</c:v>
                </c:pt>
                <c:pt idx="5937">
                  <c:v>#N/A</c:v>
                </c:pt>
                <c:pt idx="5938">
                  <c:v>#N/A</c:v>
                </c:pt>
                <c:pt idx="5939">
                  <c:v>#N/A</c:v>
                </c:pt>
                <c:pt idx="5940">
                  <c:v>#N/A</c:v>
                </c:pt>
                <c:pt idx="5941">
                  <c:v>#N/A</c:v>
                </c:pt>
                <c:pt idx="5942">
                  <c:v>#N/A</c:v>
                </c:pt>
                <c:pt idx="5943">
                  <c:v>#N/A</c:v>
                </c:pt>
                <c:pt idx="5944">
                  <c:v>#N/A</c:v>
                </c:pt>
                <c:pt idx="5945">
                  <c:v>#N/A</c:v>
                </c:pt>
                <c:pt idx="5946">
                  <c:v>#N/A</c:v>
                </c:pt>
                <c:pt idx="5947">
                  <c:v>#N/A</c:v>
                </c:pt>
                <c:pt idx="5948">
                  <c:v>#N/A</c:v>
                </c:pt>
                <c:pt idx="5949">
                  <c:v>#N/A</c:v>
                </c:pt>
                <c:pt idx="5950">
                  <c:v>#N/A</c:v>
                </c:pt>
                <c:pt idx="5951">
                  <c:v>#N/A</c:v>
                </c:pt>
                <c:pt idx="5952">
                  <c:v>#N/A</c:v>
                </c:pt>
                <c:pt idx="5953">
                  <c:v>#N/A</c:v>
                </c:pt>
                <c:pt idx="5954">
                  <c:v>#N/A</c:v>
                </c:pt>
                <c:pt idx="5955">
                  <c:v>#N/A</c:v>
                </c:pt>
                <c:pt idx="5956">
                  <c:v>#N/A</c:v>
                </c:pt>
                <c:pt idx="5957">
                  <c:v>#N/A</c:v>
                </c:pt>
                <c:pt idx="5958">
                  <c:v>#N/A</c:v>
                </c:pt>
                <c:pt idx="5959">
                  <c:v>#N/A</c:v>
                </c:pt>
                <c:pt idx="5960">
                  <c:v>#N/A</c:v>
                </c:pt>
                <c:pt idx="5961">
                  <c:v>#N/A</c:v>
                </c:pt>
                <c:pt idx="5962">
                  <c:v>#N/A</c:v>
                </c:pt>
                <c:pt idx="5963">
                  <c:v>#N/A</c:v>
                </c:pt>
                <c:pt idx="5964">
                  <c:v>#N/A</c:v>
                </c:pt>
                <c:pt idx="5965">
                  <c:v>#N/A</c:v>
                </c:pt>
                <c:pt idx="5966">
                  <c:v>#N/A</c:v>
                </c:pt>
                <c:pt idx="5967">
                  <c:v>#N/A</c:v>
                </c:pt>
                <c:pt idx="5968">
                  <c:v>#N/A</c:v>
                </c:pt>
                <c:pt idx="5969">
                  <c:v>#N/A</c:v>
                </c:pt>
                <c:pt idx="5970">
                  <c:v>#N/A</c:v>
                </c:pt>
                <c:pt idx="5971">
                  <c:v>#N/A</c:v>
                </c:pt>
                <c:pt idx="5972">
                  <c:v>#N/A</c:v>
                </c:pt>
                <c:pt idx="5973">
                  <c:v>#N/A</c:v>
                </c:pt>
                <c:pt idx="5974">
                  <c:v>#N/A</c:v>
                </c:pt>
                <c:pt idx="5975">
                  <c:v>#N/A</c:v>
                </c:pt>
                <c:pt idx="5976">
                  <c:v>#N/A</c:v>
                </c:pt>
                <c:pt idx="5977">
                  <c:v>#N/A</c:v>
                </c:pt>
                <c:pt idx="5978">
                  <c:v>#N/A</c:v>
                </c:pt>
                <c:pt idx="5979">
                  <c:v>#N/A</c:v>
                </c:pt>
                <c:pt idx="5980">
                  <c:v>#N/A</c:v>
                </c:pt>
                <c:pt idx="5981">
                  <c:v>#N/A</c:v>
                </c:pt>
                <c:pt idx="5982">
                  <c:v>#N/A</c:v>
                </c:pt>
                <c:pt idx="5983">
                  <c:v>#N/A</c:v>
                </c:pt>
                <c:pt idx="5984">
                  <c:v>#N/A</c:v>
                </c:pt>
                <c:pt idx="5985">
                  <c:v>#N/A</c:v>
                </c:pt>
                <c:pt idx="5986">
                  <c:v>#N/A</c:v>
                </c:pt>
                <c:pt idx="5987">
                  <c:v>#N/A</c:v>
                </c:pt>
                <c:pt idx="5988">
                  <c:v>#N/A</c:v>
                </c:pt>
                <c:pt idx="5989">
                  <c:v>#N/A</c:v>
                </c:pt>
                <c:pt idx="5990">
                  <c:v>#N/A</c:v>
                </c:pt>
                <c:pt idx="5991">
                  <c:v>#N/A</c:v>
                </c:pt>
                <c:pt idx="5992">
                  <c:v>#N/A</c:v>
                </c:pt>
                <c:pt idx="5993">
                  <c:v>#N/A</c:v>
                </c:pt>
                <c:pt idx="5994">
                  <c:v>#N/A</c:v>
                </c:pt>
                <c:pt idx="5995">
                  <c:v>#N/A</c:v>
                </c:pt>
                <c:pt idx="5996">
                  <c:v>#N/A</c:v>
                </c:pt>
                <c:pt idx="5997">
                  <c:v>#N/A</c:v>
                </c:pt>
                <c:pt idx="5998">
                  <c:v>#N/A</c:v>
                </c:pt>
                <c:pt idx="5999">
                  <c:v>#N/A</c:v>
                </c:pt>
                <c:pt idx="6000">
                  <c:v>#N/A</c:v>
                </c:pt>
                <c:pt idx="6001">
                  <c:v>#N/A</c:v>
                </c:pt>
                <c:pt idx="6002">
                  <c:v>#N/A</c:v>
                </c:pt>
                <c:pt idx="6003">
                  <c:v>#N/A</c:v>
                </c:pt>
                <c:pt idx="6004">
                  <c:v>#N/A</c:v>
                </c:pt>
                <c:pt idx="6005">
                  <c:v>#N/A</c:v>
                </c:pt>
                <c:pt idx="6006">
                  <c:v>#N/A</c:v>
                </c:pt>
                <c:pt idx="6007">
                  <c:v>#N/A</c:v>
                </c:pt>
                <c:pt idx="6008">
                  <c:v>#N/A</c:v>
                </c:pt>
                <c:pt idx="6009">
                  <c:v>#N/A</c:v>
                </c:pt>
                <c:pt idx="6010">
                  <c:v>#N/A</c:v>
                </c:pt>
                <c:pt idx="6011">
                  <c:v>#N/A</c:v>
                </c:pt>
                <c:pt idx="6012">
                  <c:v>#N/A</c:v>
                </c:pt>
                <c:pt idx="6013">
                  <c:v>#N/A</c:v>
                </c:pt>
                <c:pt idx="6014">
                  <c:v>#N/A</c:v>
                </c:pt>
                <c:pt idx="6015">
                  <c:v>#N/A</c:v>
                </c:pt>
                <c:pt idx="6016">
                  <c:v>#N/A</c:v>
                </c:pt>
                <c:pt idx="6017">
                  <c:v>#N/A</c:v>
                </c:pt>
                <c:pt idx="6018">
                  <c:v>#N/A</c:v>
                </c:pt>
                <c:pt idx="6019">
                  <c:v>#N/A</c:v>
                </c:pt>
                <c:pt idx="6020">
                  <c:v>#N/A</c:v>
                </c:pt>
                <c:pt idx="6021">
                  <c:v>#N/A</c:v>
                </c:pt>
                <c:pt idx="6022">
                  <c:v>#N/A</c:v>
                </c:pt>
                <c:pt idx="6023">
                  <c:v>#N/A</c:v>
                </c:pt>
                <c:pt idx="6024">
                  <c:v>#N/A</c:v>
                </c:pt>
                <c:pt idx="6025">
                  <c:v>#N/A</c:v>
                </c:pt>
                <c:pt idx="6026">
                  <c:v>#N/A</c:v>
                </c:pt>
                <c:pt idx="6027">
                  <c:v>#N/A</c:v>
                </c:pt>
                <c:pt idx="6028">
                  <c:v>#N/A</c:v>
                </c:pt>
                <c:pt idx="6029">
                  <c:v>#N/A</c:v>
                </c:pt>
                <c:pt idx="6030">
                  <c:v>#N/A</c:v>
                </c:pt>
                <c:pt idx="6031">
                  <c:v>#N/A</c:v>
                </c:pt>
                <c:pt idx="6032">
                  <c:v>#N/A</c:v>
                </c:pt>
                <c:pt idx="6033">
                  <c:v>#N/A</c:v>
                </c:pt>
                <c:pt idx="6034">
                  <c:v>#N/A</c:v>
                </c:pt>
                <c:pt idx="6035">
                  <c:v>#N/A</c:v>
                </c:pt>
                <c:pt idx="6036">
                  <c:v>#N/A</c:v>
                </c:pt>
                <c:pt idx="6037">
                  <c:v>#N/A</c:v>
                </c:pt>
                <c:pt idx="6038">
                  <c:v>#N/A</c:v>
                </c:pt>
                <c:pt idx="6039">
                  <c:v>#N/A</c:v>
                </c:pt>
                <c:pt idx="6040">
                  <c:v>#N/A</c:v>
                </c:pt>
                <c:pt idx="6041">
                  <c:v>#N/A</c:v>
                </c:pt>
                <c:pt idx="6042">
                  <c:v>#N/A</c:v>
                </c:pt>
                <c:pt idx="6043">
                  <c:v>#N/A</c:v>
                </c:pt>
                <c:pt idx="6044">
                  <c:v>#N/A</c:v>
                </c:pt>
                <c:pt idx="6045">
                  <c:v>#N/A</c:v>
                </c:pt>
                <c:pt idx="6046">
                  <c:v>#N/A</c:v>
                </c:pt>
                <c:pt idx="6047">
                  <c:v>#N/A</c:v>
                </c:pt>
                <c:pt idx="6048">
                  <c:v>#N/A</c:v>
                </c:pt>
                <c:pt idx="6049">
                  <c:v>#N/A</c:v>
                </c:pt>
                <c:pt idx="6050">
                  <c:v>#N/A</c:v>
                </c:pt>
                <c:pt idx="6051">
                  <c:v>#N/A</c:v>
                </c:pt>
                <c:pt idx="6052">
                  <c:v>#N/A</c:v>
                </c:pt>
                <c:pt idx="6053">
                  <c:v>#N/A</c:v>
                </c:pt>
                <c:pt idx="6054">
                  <c:v>#N/A</c:v>
                </c:pt>
                <c:pt idx="6055">
                  <c:v>#N/A</c:v>
                </c:pt>
                <c:pt idx="6056">
                  <c:v>#N/A</c:v>
                </c:pt>
                <c:pt idx="6057">
                  <c:v>#N/A</c:v>
                </c:pt>
                <c:pt idx="6058">
                  <c:v>#N/A</c:v>
                </c:pt>
                <c:pt idx="6059">
                  <c:v>#N/A</c:v>
                </c:pt>
                <c:pt idx="6060">
                  <c:v>#N/A</c:v>
                </c:pt>
                <c:pt idx="6061">
                  <c:v>#N/A</c:v>
                </c:pt>
                <c:pt idx="6062">
                  <c:v>#N/A</c:v>
                </c:pt>
                <c:pt idx="6063">
                  <c:v>#N/A</c:v>
                </c:pt>
                <c:pt idx="6064">
                  <c:v>#N/A</c:v>
                </c:pt>
                <c:pt idx="6065">
                  <c:v>#N/A</c:v>
                </c:pt>
                <c:pt idx="6066">
                  <c:v>#N/A</c:v>
                </c:pt>
                <c:pt idx="6067">
                  <c:v>#N/A</c:v>
                </c:pt>
                <c:pt idx="6068">
                  <c:v>#N/A</c:v>
                </c:pt>
                <c:pt idx="6069">
                  <c:v>#N/A</c:v>
                </c:pt>
                <c:pt idx="6070">
                  <c:v>#N/A</c:v>
                </c:pt>
                <c:pt idx="6071">
                  <c:v>#N/A</c:v>
                </c:pt>
                <c:pt idx="6072">
                  <c:v>#N/A</c:v>
                </c:pt>
                <c:pt idx="6073">
                  <c:v>#N/A</c:v>
                </c:pt>
                <c:pt idx="6074">
                  <c:v>#N/A</c:v>
                </c:pt>
                <c:pt idx="6075">
                  <c:v>#N/A</c:v>
                </c:pt>
                <c:pt idx="6076">
                  <c:v>#N/A</c:v>
                </c:pt>
                <c:pt idx="6077">
                  <c:v>#N/A</c:v>
                </c:pt>
                <c:pt idx="6078">
                  <c:v>#N/A</c:v>
                </c:pt>
                <c:pt idx="6079">
                  <c:v>#N/A</c:v>
                </c:pt>
                <c:pt idx="6080">
                  <c:v>#N/A</c:v>
                </c:pt>
                <c:pt idx="6081">
                  <c:v>#N/A</c:v>
                </c:pt>
                <c:pt idx="6082">
                  <c:v>#N/A</c:v>
                </c:pt>
                <c:pt idx="6083">
                  <c:v>#N/A</c:v>
                </c:pt>
                <c:pt idx="6084">
                  <c:v>#N/A</c:v>
                </c:pt>
                <c:pt idx="6085">
                  <c:v>#N/A</c:v>
                </c:pt>
                <c:pt idx="6086">
                  <c:v>#N/A</c:v>
                </c:pt>
                <c:pt idx="6087">
                  <c:v>#N/A</c:v>
                </c:pt>
                <c:pt idx="6088">
                  <c:v>#N/A</c:v>
                </c:pt>
                <c:pt idx="6089">
                  <c:v>#N/A</c:v>
                </c:pt>
                <c:pt idx="6090">
                  <c:v>#N/A</c:v>
                </c:pt>
                <c:pt idx="6091">
                  <c:v>#N/A</c:v>
                </c:pt>
                <c:pt idx="6092">
                  <c:v>#N/A</c:v>
                </c:pt>
                <c:pt idx="6093">
                  <c:v>#N/A</c:v>
                </c:pt>
                <c:pt idx="6094">
                  <c:v>#N/A</c:v>
                </c:pt>
                <c:pt idx="6095">
                  <c:v>#N/A</c:v>
                </c:pt>
                <c:pt idx="6096">
                  <c:v>#N/A</c:v>
                </c:pt>
                <c:pt idx="6097">
                  <c:v>#N/A</c:v>
                </c:pt>
                <c:pt idx="6098">
                  <c:v>#N/A</c:v>
                </c:pt>
                <c:pt idx="6099">
                  <c:v>#N/A</c:v>
                </c:pt>
                <c:pt idx="6100">
                  <c:v>#N/A</c:v>
                </c:pt>
                <c:pt idx="6101">
                  <c:v>#N/A</c:v>
                </c:pt>
                <c:pt idx="6102">
                  <c:v>#N/A</c:v>
                </c:pt>
                <c:pt idx="6103">
                  <c:v>#N/A</c:v>
                </c:pt>
                <c:pt idx="6104">
                  <c:v>#N/A</c:v>
                </c:pt>
                <c:pt idx="6105">
                  <c:v>#N/A</c:v>
                </c:pt>
                <c:pt idx="6106">
                  <c:v>#N/A</c:v>
                </c:pt>
                <c:pt idx="6107">
                  <c:v>#N/A</c:v>
                </c:pt>
                <c:pt idx="6108">
                  <c:v>#N/A</c:v>
                </c:pt>
                <c:pt idx="6109">
                  <c:v>#N/A</c:v>
                </c:pt>
                <c:pt idx="6110">
                  <c:v>#N/A</c:v>
                </c:pt>
                <c:pt idx="6111">
                  <c:v>#N/A</c:v>
                </c:pt>
                <c:pt idx="6112">
                  <c:v>#N/A</c:v>
                </c:pt>
                <c:pt idx="6113">
                  <c:v>#N/A</c:v>
                </c:pt>
                <c:pt idx="6114">
                  <c:v>#N/A</c:v>
                </c:pt>
                <c:pt idx="6115">
                  <c:v>#N/A</c:v>
                </c:pt>
                <c:pt idx="6116">
                  <c:v>#N/A</c:v>
                </c:pt>
                <c:pt idx="6117">
                  <c:v>#N/A</c:v>
                </c:pt>
                <c:pt idx="6118">
                  <c:v>#N/A</c:v>
                </c:pt>
                <c:pt idx="6119">
                  <c:v>#N/A</c:v>
                </c:pt>
                <c:pt idx="6120">
                  <c:v>#N/A</c:v>
                </c:pt>
                <c:pt idx="6121">
                  <c:v>#N/A</c:v>
                </c:pt>
                <c:pt idx="6122">
                  <c:v>#N/A</c:v>
                </c:pt>
                <c:pt idx="6123">
                  <c:v>#N/A</c:v>
                </c:pt>
                <c:pt idx="6124">
                  <c:v>#N/A</c:v>
                </c:pt>
                <c:pt idx="6125">
                  <c:v>#N/A</c:v>
                </c:pt>
                <c:pt idx="6126">
                  <c:v>#N/A</c:v>
                </c:pt>
                <c:pt idx="6127">
                  <c:v>#N/A</c:v>
                </c:pt>
                <c:pt idx="6128">
                  <c:v>#N/A</c:v>
                </c:pt>
                <c:pt idx="6129">
                  <c:v>#N/A</c:v>
                </c:pt>
                <c:pt idx="6130">
                  <c:v>#N/A</c:v>
                </c:pt>
                <c:pt idx="6131">
                  <c:v>#N/A</c:v>
                </c:pt>
                <c:pt idx="6132">
                  <c:v>#N/A</c:v>
                </c:pt>
                <c:pt idx="6133">
                  <c:v>#N/A</c:v>
                </c:pt>
                <c:pt idx="6134">
                  <c:v>#N/A</c:v>
                </c:pt>
                <c:pt idx="6135">
                  <c:v>#N/A</c:v>
                </c:pt>
                <c:pt idx="6136">
                  <c:v>#N/A</c:v>
                </c:pt>
                <c:pt idx="6137">
                  <c:v>#N/A</c:v>
                </c:pt>
                <c:pt idx="6138">
                  <c:v>#N/A</c:v>
                </c:pt>
                <c:pt idx="6139">
                  <c:v>#N/A</c:v>
                </c:pt>
                <c:pt idx="6140">
                  <c:v>#N/A</c:v>
                </c:pt>
                <c:pt idx="6141">
                  <c:v>#N/A</c:v>
                </c:pt>
                <c:pt idx="6142">
                  <c:v>#N/A</c:v>
                </c:pt>
                <c:pt idx="6143">
                  <c:v>#N/A</c:v>
                </c:pt>
                <c:pt idx="6144">
                  <c:v>#N/A</c:v>
                </c:pt>
                <c:pt idx="6145">
                  <c:v>#N/A</c:v>
                </c:pt>
                <c:pt idx="6146">
                  <c:v>#N/A</c:v>
                </c:pt>
                <c:pt idx="6147">
                  <c:v>#N/A</c:v>
                </c:pt>
                <c:pt idx="6148">
                  <c:v>#N/A</c:v>
                </c:pt>
                <c:pt idx="6149">
                  <c:v>#N/A</c:v>
                </c:pt>
                <c:pt idx="6150">
                  <c:v>#N/A</c:v>
                </c:pt>
                <c:pt idx="6151">
                  <c:v>#N/A</c:v>
                </c:pt>
                <c:pt idx="6152">
                  <c:v>#N/A</c:v>
                </c:pt>
                <c:pt idx="6153">
                  <c:v>#N/A</c:v>
                </c:pt>
                <c:pt idx="6154">
                  <c:v>#N/A</c:v>
                </c:pt>
                <c:pt idx="6155">
                  <c:v>#N/A</c:v>
                </c:pt>
                <c:pt idx="6156">
                  <c:v>#N/A</c:v>
                </c:pt>
                <c:pt idx="6157">
                  <c:v>#N/A</c:v>
                </c:pt>
                <c:pt idx="6158">
                  <c:v>#N/A</c:v>
                </c:pt>
                <c:pt idx="6159">
                  <c:v>#N/A</c:v>
                </c:pt>
                <c:pt idx="6160">
                  <c:v>#N/A</c:v>
                </c:pt>
                <c:pt idx="6161">
                  <c:v>#N/A</c:v>
                </c:pt>
                <c:pt idx="6162">
                  <c:v>#N/A</c:v>
                </c:pt>
                <c:pt idx="6163">
                  <c:v>#N/A</c:v>
                </c:pt>
                <c:pt idx="6164">
                  <c:v>#N/A</c:v>
                </c:pt>
                <c:pt idx="6165">
                  <c:v>#N/A</c:v>
                </c:pt>
                <c:pt idx="6166">
                  <c:v>#N/A</c:v>
                </c:pt>
                <c:pt idx="6167">
                  <c:v>#N/A</c:v>
                </c:pt>
                <c:pt idx="6168">
                  <c:v>#N/A</c:v>
                </c:pt>
                <c:pt idx="6169">
                  <c:v>#N/A</c:v>
                </c:pt>
                <c:pt idx="6170">
                  <c:v>#N/A</c:v>
                </c:pt>
                <c:pt idx="6171">
                  <c:v>#N/A</c:v>
                </c:pt>
                <c:pt idx="6172">
                  <c:v>#N/A</c:v>
                </c:pt>
                <c:pt idx="6173">
                  <c:v>#N/A</c:v>
                </c:pt>
                <c:pt idx="6174">
                  <c:v>#N/A</c:v>
                </c:pt>
                <c:pt idx="6175">
                  <c:v>#N/A</c:v>
                </c:pt>
                <c:pt idx="6176">
                  <c:v>#N/A</c:v>
                </c:pt>
                <c:pt idx="6177">
                  <c:v>#N/A</c:v>
                </c:pt>
                <c:pt idx="6178">
                  <c:v>#N/A</c:v>
                </c:pt>
                <c:pt idx="6179">
                  <c:v>#N/A</c:v>
                </c:pt>
                <c:pt idx="6180">
                  <c:v>#N/A</c:v>
                </c:pt>
                <c:pt idx="6181">
                  <c:v>#N/A</c:v>
                </c:pt>
                <c:pt idx="6182">
                  <c:v>#N/A</c:v>
                </c:pt>
                <c:pt idx="6183">
                  <c:v>#N/A</c:v>
                </c:pt>
                <c:pt idx="6184">
                  <c:v>#N/A</c:v>
                </c:pt>
                <c:pt idx="6185">
                  <c:v>#N/A</c:v>
                </c:pt>
                <c:pt idx="6186">
                  <c:v>#N/A</c:v>
                </c:pt>
                <c:pt idx="6187">
                  <c:v>#N/A</c:v>
                </c:pt>
                <c:pt idx="6188">
                  <c:v>#N/A</c:v>
                </c:pt>
                <c:pt idx="6189">
                  <c:v>#N/A</c:v>
                </c:pt>
                <c:pt idx="6190">
                  <c:v>#N/A</c:v>
                </c:pt>
                <c:pt idx="6191">
                  <c:v>#N/A</c:v>
                </c:pt>
                <c:pt idx="6192">
                  <c:v>#N/A</c:v>
                </c:pt>
                <c:pt idx="6193">
                  <c:v>#N/A</c:v>
                </c:pt>
                <c:pt idx="6194">
                  <c:v>#N/A</c:v>
                </c:pt>
                <c:pt idx="6195">
                  <c:v>#N/A</c:v>
                </c:pt>
                <c:pt idx="6196">
                  <c:v>#N/A</c:v>
                </c:pt>
                <c:pt idx="6197">
                  <c:v>#N/A</c:v>
                </c:pt>
                <c:pt idx="6198">
                  <c:v>#N/A</c:v>
                </c:pt>
                <c:pt idx="6199">
                  <c:v>#N/A</c:v>
                </c:pt>
                <c:pt idx="6200">
                  <c:v>#N/A</c:v>
                </c:pt>
                <c:pt idx="6201">
                  <c:v>#N/A</c:v>
                </c:pt>
                <c:pt idx="6202">
                  <c:v>#N/A</c:v>
                </c:pt>
                <c:pt idx="6203">
                  <c:v>#N/A</c:v>
                </c:pt>
                <c:pt idx="6204">
                  <c:v>#N/A</c:v>
                </c:pt>
                <c:pt idx="6205">
                  <c:v>#N/A</c:v>
                </c:pt>
                <c:pt idx="6206">
                  <c:v>#N/A</c:v>
                </c:pt>
                <c:pt idx="6207">
                  <c:v>#N/A</c:v>
                </c:pt>
                <c:pt idx="6208">
                  <c:v>#N/A</c:v>
                </c:pt>
                <c:pt idx="6209">
                  <c:v>#N/A</c:v>
                </c:pt>
                <c:pt idx="6210">
                  <c:v>#N/A</c:v>
                </c:pt>
                <c:pt idx="6211">
                  <c:v>#N/A</c:v>
                </c:pt>
                <c:pt idx="6212">
                  <c:v>#N/A</c:v>
                </c:pt>
                <c:pt idx="6213">
                  <c:v>#N/A</c:v>
                </c:pt>
                <c:pt idx="6214">
                  <c:v>#N/A</c:v>
                </c:pt>
                <c:pt idx="6215">
                  <c:v>#N/A</c:v>
                </c:pt>
                <c:pt idx="6216">
                  <c:v>#N/A</c:v>
                </c:pt>
                <c:pt idx="6217">
                  <c:v>#N/A</c:v>
                </c:pt>
                <c:pt idx="6218">
                  <c:v>#N/A</c:v>
                </c:pt>
                <c:pt idx="6219">
                  <c:v>#N/A</c:v>
                </c:pt>
                <c:pt idx="6220">
                  <c:v>#N/A</c:v>
                </c:pt>
                <c:pt idx="6221">
                  <c:v>#N/A</c:v>
                </c:pt>
                <c:pt idx="6222">
                  <c:v>#N/A</c:v>
                </c:pt>
                <c:pt idx="6223">
                  <c:v>#N/A</c:v>
                </c:pt>
                <c:pt idx="6224">
                  <c:v>#N/A</c:v>
                </c:pt>
                <c:pt idx="6225">
                  <c:v>#N/A</c:v>
                </c:pt>
                <c:pt idx="6226">
                  <c:v>#N/A</c:v>
                </c:pt>
                <c:pt idx="6227">
                  <c:v>#N/A</c:v>
                </c:pt>
                <c:pt idx="6228">
                  <c:v>#N/A</c:v>
                </c:pt>
                <c:pt idx="6229">
                  <c:v>#N/A</c:v>
                </c:pt>
                <c:pt idx="6230">
                  <c:v>#N/A</c:v>
                </c:pt>
                <c:pt idx="6231">
                  <c:v>#N/A</c:v>
                </c:pt>
                <c:pt idx="6232">
                  <c:v>#N/A</c:v>
                </c:pt>
                <c:pt idx="6233">
                  <c:v>#N/A</c:v>
                </c:pt>
                <c:pt idx="6234">
                  <c:v>#N/A</c:v>
                </c:pt>
                <c:pt idx="6235">
                  <c:v>#N/A</c:v>
                </c:pt>
                <c:pt idx="6236">
                  <c:v>#N/A</c:v>
                </c:pt>
                <c:pt idx="6237">
                  <c:v>#N/A</c:v>
                </c:pt>
                <c:pt idx="6238">
                  <c:v>#N/A</c:v>
                </c:pt>
                <c:pt idx="6239">
                  <c:v>#N/A</c:v>
                </c:pt>
                <c:pt idx="6240">
                  <c:v>#N/A</c:v>
                </c:pt>
                <c:pt idx="6241">
                  <c:v>#N/A</c:v>
                </c:pt>
                <c:pt idx="6242">
                  <c:v>#N/A</c:v>
                </c:pt>
                <c:pt idx="6243">
                  <c:v>#N/A</c:v>
                </c:pt>
                <c:pt idx="6244">
                  <c:v>#N/A</c:v>
                </c:pt>
                <c:pt idx="6245">
                  <c:v>#N/A</c:v>
                </c:pt>
                <c:pt idx="6246">
                  <c:v>#N/A</c:v>
                </c:pt>
                <c:pt idx="6247">
                  <c:v>#N/A</c:v>
                </c:pt>
                <c:pt idx="6248">
                  <c:v>#N/A</c:v>
                </c:pt>
                <c:pt idx="6249">
                  <c:v>#N/A</c:v>
                </c:pt>
                <c:pt idx="6250">
                  <c:v>#N/A</c:v>
                </c:pt>
                <c:pt idx="6251">
                  <c:v>#N/A</c:v>
                </c:pt>
                <c:pt idx="6252">
                  <c:v>#N/A</c:v>
                </c:pt>
                <c:pt idx="6253">
                  <c:v>#N/A</c:v>
                </c:pt>
                <c:pt idx="6254">
                  <c:v>#N/A</c:v>
                </c:pt>
                <c:pt idx="6255">
                  <c:v>#N/A</c:v>
                </c:pt>
                <c:pt idx="6256">
                  <c:v>#N/A</c:v>
                </c:pt>
                <c:pt idx="6257">
                  <c:v>#N/A</c:v>
                </c:pt>
                <c:pt idx="6258">
                  <c:v>#N/A</c:v>
                </c:pt>
                <c:pt idx="6259">
                  <c:v>#N/A</c:v>
                </c:pt>
                <c:pt idx="6260">
                  <c:v>#N/A</c:v>
                </c:pt>
                <c:pt idx="6261">
                  <c:v>#N/A</c:v>
                </c:pt>
                <c:pt idx="6262">
                  <c:v>#N/A</c:v>
                </c:pt>
                <c:pt idx="6263">
                  <c:v>#N/A</c:v>
                </c:pt>
                <c:pt idx="6264">
                  <c:v>#N/A</c:v>
                </c:pt>
                <c:pt idx="6265">
                  <c:v>#N/A</c:v>
                </c:pt>
                <c:pt idx="6266">
                  <c:v>#N/A</c:v>
                </c:pt>
                <c:pt idx="6267">
                  <c:v>#N/A</c:v>
                </c:pt>
                <c:pt idx="6268">
                  <c:v>#N/A</c:v>
                </c:pt>
                <c:pt idx="6269">
                  <c:v>#N/A</c:v>
                </c:pt>
                <c:pt idx="6270">
                  <c:v>#N/A</c:v>
                </c:pt>
                <c:pt idx="6271">
                  <c:v>#N/A</c:v>
                </c:pt>
                <c:pt idx="6272">
                  <c:v>#N/A</c:v>
                </c:pt>
                <c:pt idx="6273">
                  <c:v>#N/A</c:v>
                </c:pt>
                <c:pt idx="6274">
                  <c:v>#N/A</c:v>
                </c:pt>
                <c:pt idx="6275">
                  <c:v>#N/A</c:v>
                </c:pt>
                <c:pt idx="6276">
                  <c:v>#N/A</c:v>
                </c:pt>
                <c:pt idx="6277">
                  <c:v>#N/A</c:v>
                </c:pt>
                <c:pt idx="6278">
                  <c:v>#N/A</c:v>
                </c:pt>
                <c:pt idx="6279">
                  <c:v>#N/A</c:v>
                </c:pt>
                <c:pt idx="6280">
                  <c:v>#N/A</c:v>
                </c:pt>
                <c:pt idx="6281">
                  <c:v>#N/A</c:v>
                </c:pt>
                <c:pt idx="6282">
                  <c:v>#N/A</c:v>
                </c:pt>
                <c:pt idx="6283">
                  <c:v>#N/A</c:v>
                </c:pt>
                <c:pt idx="6284">
                  <c:v>#N/A</c:v>
                </c:pt>
                <c:pt idx="6285">
                  <c:v>#N/A</c:v>
                </c:pt>
                <c:pt idx="6286">
                  <c:v>#N/A</c:v>
                </c:pt>
                <c:pt idx="6287">
                  <c:v>#N/A</c:v>
                </c:pt>
                <c:pt idx="6288">
                  <c:v>#N/A</c:v>
                </c:pt>
                <c:pt idx="6289">
                  <c:v>#N/A</c:v>
                </c:pt>
                <c:pt idx="6290">
                  <c:v>#N/A</c:v>
                </c:pt>
                <c:pt idx="6291">
                  <c:v>#N/A</c:v>
                </c:pt>
                <c:pt idx="6292">
                  <c:v>#N/A</c:v>
                </c:pt>
                <c:pt idx="6293">
                  <c:v>#N/A</c:v>
                </c:pt>
                <c:pt idx="6294">
                  <c:v>#N/A</c:v>
                </c:pt>
                <c:pt idx="6295">
                  <c:v>#N/A</c:v>
                </c:pt>
                <c:pt idx="6296">
                  <c:v>#N/A</c:v>
                </c:pt>
                <c:pt idx="6297">
                  <c:v>#N/A</c:v>
                </c:pt>
                <c:pt idx="6298">
                  <c:v>#N/A</c:v>
                </c:pt>
                <c:pt idx="6299">
                  <c:v>#N/A</c:v>
                </c:pt>
                <c:pt idx="6300">
                  <c:v>#N/A</c:v>
                </c:pt>
                <c:pt idx="6301">
                  <c:v>#N/A</c:v>
                </c:pt>
                <c:pt idx="6302">
                  <c:v>#N/A</c:v>
                </c:pt>
                <c:pt idx="6303">
                  <c:v>#N/A</c:v>
                </c:pt>
                <c:pt idx="6304">
                  <c:v>#N/A</c:v>
                </c:pt>
                <c:pt idx="6305">
                  <c:v>#N/A</c:v>
                </c:pt>
                <c:pt idx="6306">
                  <c:v>#N/A</c:v>
                </c:pt>
                <c:pt idx="6307">
                  <c:v>#N/A</c:v>
                </c:pt>
                <c:pt idx="6308">
                  <c:v>#N/A</c:v>
                </c:pt>
                <c:pt idx="6309">
                  <c:v>#N/A</c:v>
                </c:pt>
                <c:pt idx="6310">
                  <c:v>#N/A</c:v>
                </c:pt>
                <c:pt idx="6311">
                  <c:v>#N/A</c:v>
                </c:pt>
                <c:pt idx="6312">
                  <c:v>#N/A</c:v>
                </c:pt>
                <c:pt idx="6313">
                  <c:v>#N/A</c:v>
                </c:pt>
                <c:pt idx="6314">
                  <c:v>#N/A</c:v>
                </c:pt>
                <c:pt idx="6315">
                  <c:v>#N/A</c:v>
                </c:pt>
                <c:pt idx="6316">
                  <c:v>#N/A</c:v>
                </c:pt>
                <c:pt idx="6317">
                  <c:v>#N/A</c:v>
                </c:pt>
                <c:pt idx="6318">
                  <c:v>#N/A</c:v>
                </c:pt>
                <c:pt idx="6319">
                  <c:v>#N/A</c:v>
                </c:pt>
                <c:pt idx="6320">
                  <c:v>#N/A</c:v>
                </c:pt>
                <c:pt idx="6321">
                  <c:v>#N/A</c:v>
                </c:pt>
                <c:pt idx="6322">
                  <c:v>#N/A</c:v>
                </c:pt>
                <c:pt idx="6323">
                  <c:v>#N/A</c:v>
                </c:pt>
                <c:pt idx="6324">
                  <c:v>#N/A</c:v>
                </c:pt>
                <c:pt idx="6325">
                  <c:v>#N/A</c:v>
                </c:pt>
                <c:pt idx="6326">
                  <c:v>#N/A</c:v>
                </c:pt>
                <c:pt idx="6327">
                  <c:v>#N/A</c:v>
                </c:pt>
                <c:pt idx="6328">
                  <c:v>#N/A</c:v>
                </c:pt>
                <c:pt idx="6329">
                  <c:v>#N/A</c:v>
                </c:pt>
                <c:pt idx="6330">
                  <c:v>#N/A</c:v>
                </c:pt>
                <c:pt idx="6331">
                  <c:v>#N/A</c:v>
                </c:pt>
                <c:pt idx="6332">
                  <c:v>#N/A</c:v>
                </c:pt>
                <c:pt idx="6333">
                  <c:v>#N/A</c:v>
                </c:pt>
                <c:pt idx="6334">
                  <c:v>#N/A</c:v>
                </c:pt>
                <c:pt idx="6335">
                  <c:v>#N/A</c:v>
                </c:pt>
                <c:pt idx="6336">
                  <c:v>#N/A</c:v>
                </c:pt>
                <c:pt idx="6337">
                  <c:v>#N/A</c:v>
                </c:pt>
                <c:pt idx="6338">
                  <c:v>#N/A</c:v>
                </c:pt>
                <c:pt idx="6339">
                  <c:v>#N/A</c:v>
                </c:pt>
                <c:pt idx="6340">
                  <c:v>#N/A</c:v>
                </c:pt>
                <c:pt idx="6341">
                  <c:v>#N/A</c:v>
                </c:pt>
                <c:pt idx="6342">
                  <c:v>#N/A</c:v>
                </c:pt>
                <c:pt idx="6343">
                  <c:v>#N/A</c:v>
                </c:pt>
                <c:pt idx="6344">
                  <c:v>#N/A</c:v>
                </c:pt>
                <c:pt idx="6345">
                  <c:v>#N/A</c:v>
                </c:pt>
                <c:pt idx="6346">
                  <c:v>#N/A</c:v>
                </c:pt>
                <c:pt idx="6347">
                  <c:v>#N/A</c:v>
                </c:pt>
                <c:pt idx="6348">
                  <c:v>#N/A</c:v>
                </c:pt>
                <c:pt idx="6349">
                  <c:v>#N/A</c:v>
                </c:pt>
                <c:pt idx="6350">
                  <c:v>#N/A</c:v>
                </c:pt>
                <c:pt idx="6351">
                  <c:v>#N/A</c:v>
                </c:pt>
                <c:pt idx="6352">
                  <c:v>#N/A</c:v>
                </c:pt>
                <c:pt idx="6353">
                  <c:v>#N/A</c:v>
                </c:pt>
                <c:pt idx="6354">
                  <c:v>#N/A</c:v>
                </c:pt>
                <c:pt idx="6355">
                  <c:v>#N/A</c:v>
                </c:pt>
                <c:pt idx="6356">
                  <c:v>#N/A</c:v>
                </c:pt>
                <c:pt idx="6357">
                  <c:v>#N/A</c:v>
                </c:pt>
                <c:pt idx="6358">
                  <c:v>#N/A</c:v>
                </c:pt>
                <c:pt idx="6359">
                  <c:v>#N/A</c:v>
                </c:pt>
                <c:pt idx="6360">
                  <c:v>#N/A</c:v>
                </c:pt>
                <c:pt idx="6361">
                  <c:v>#N/A</c:v>
                </c:pt>
                <c:pt idx="6362">
                  <c:v>#N/A</c:v>
                </c:pt>
                <c:pt idx="6363">
                  <c:v>#N/A</c:v>
                </c:pt>
                <c:pt idx="6364">
                  <c:v>#N/A</c:v>
                </c:pt>
                <c:pt idx="6365">
                  <c:v>#N/A</c:v>
                </c:pt>
                <c:pt idx="6366">
                  <c:v>#N/A</c:v>
                </c:pt>
                <c:pt idx="6367">
                  <c:v>#N/A</c:v>
                </c:pt>
                <c:pt idx="6368">
                  <c:v>#N/A</c:v>
                </c:pt>
                <c:pt idx="6369">
                  <c:v>#N/A</c:v>
                </c:pt>
                <c:pt idx="6370">
                  <c:v>#N/A</c:v>
                </c:pt>
                <c:pt idx="6371">
                  <c:v>#N/A</c:v>
                </c:pt>
                <c:pt idx="6372">
                  <c:v>#N/A</c:v>
                </c:pt>
                <c:pt idx="6373">
                  <c:v>#N/A</c:v>
                </c:pt>
                <c:pt idx="6374">
                  <c:v>#N/A</c:v>
                </c:pt>
                <c:pt idx="6375">
                  <c:v>#N/A</c:v>
                </c:pt>
                <c:pt idx="6376">
                  <c:v>#N/A</c:v>
                </c:pt>
                <c:pt idx="6377">
                  <c:v>#N/A</c:v>
                </c:pt>
                <c:pt idx="6378">
                  <c:v>#N/A</c:v>
                </c:pt>
                <c:pt idx="6379">
                  <c:v>#N/A</c:v>
                </c:pt>
                <c:pt idx="6380">
                  <c:v>#N/A</c:v>
                </c:pt>
                <c:pt idx="6381">
                  <c:v>#N/A</c:v>
                </c:pt>
                <c:pt idx="6382">
                  <c:v>#N/A</c:v>
                </c:pt>
                <c:pt idx="6383">
                  <c:v>#N/A</c:v>
                </c:pt>
                <c:pt idx="6384">
                  <c:v>#N/A</c:v>
                </c:pt>
                <c:pt idx="6385">
                  <c:v>#N/A</c:v>
                </c:pt>
                <c:pt idx="6386">
                  <c:v>#N/A</c:v>
                </c:pt>
                <c:pt idx="6387">
                  <c:v>#N/A</c:v>
                </c:pt>
                <c:pt idx="6388">
                  <c:v>#N/A</c:v>
                </c:pt>
                <c:pt idx="6389">
                  <c:v>#N/A</c:v>
                </c:pt>
                <c:pt idx="6390">
                  <c:v>#N/A</c:v>
                </c:pt>
                <c:pt idx="6391">
                  <c:v>#N/A</c:v>
                </c:pt>
                <c:pt idx="6392">
                  <c:v>#N/A</c:v>
                </c:pt>
                <c:pt idx="6393">
                  <c:v>#N/A</c:v>
                </c:pt>
                <c:pt idx="6394">
                  <c:v>#N/A</c:v>
                </c:pt>
                <c:pt idx="6395">
                  <c:v>#N/A</c:v>
                </c:pt>
                <c:pt idx="6396">
                  <c:v>#N/A</c:v>
                </c:pt>
                <c:pt idx="6397">
                  <c:v>#N/A</c:v>
                </c:pt>
                <c:pt idx="6398">
                  <c:v>#N/A</c:v>
                </c:pt>
                <c:pt idx="6399">
                  <c:v>#N/A</c:v>
                </c:pt>
                <c:pt idx="6400">
                  <c:v>#N/A</c:v>
                </c:pt>
                <c:pt idx="6401">
                  <c:v>#N/A</c:v>
                </c:pt>
                <c:pt idx="6402">
                  <c:v>#N/A</c:v>
                </c:pt>
                <c:pt idx="6403">
                  <c:v>#N/A</c:v>
                </c:pt>
                <c:pt idx="6404">
                  <c:v>#N/A</c:v>
                </c:pt>
                <c:pt idx="6405">
                  <c:v>#N/A</c:v>
                </c:pt>
                <c:pt idx="6406">
                  <c:v>#N/A</c:v>
                </c:pt>
                <c:pt idx="6407">
                  <c:v>#N/A</c:v>
                </c:pt>
                <c:pt idx="6408">
                  <c:v>#N/A</c:v>
                </c:pt>
                <c:pt idx="6409">
                  <c:v>#N/A</c:v>
                </c:pt>
                <c:pt idx="6410">
                  <c:v>#N/A</c:v>
                </c:pt>
                <c:pt idx="6411">
                  <c:v>#N/A</c:v>
                </c:pt>
                <c:pt idx="6412">
                  <c:v>#N/A</c:v>
                </c:pt>
                <c:pt idx="6413">
                  <c:v>#N/A</c:v>
                </c:pt>
                <c:pt idx="6414">
                  <c:v>#N/A</c:v>
                </c:pt>
                <c:pt idx="6415">
                  <c:v>#N/A</c:v>
                </c:pt>
                <c:pt idx="6416">
                  <c:v>#N/A</c:v>
                </c:pt>
                <c:pt idx="6417">
                  <c:v>#N/A</c:v>
                </c:pt>
                <c:pt idx="6418">
                  <c:v>#N/A</c:v>
                </c:pt>
                <c:pt idx="6419">
                  <c:v>#N/A</c:v>
                </c:pt>
                <c:pt idx="6420">
                  <c:v>#N/A</c:v>
                </c:pt>
                <c:pt idx="6421">
                  <c:v>#N/A</c:v>
                </c:pt>
                <c:pt idx="6422">
                  <c:v>#N/A</c:v>
                </c:pt>
                <c:pt idx="6423">
                  <c:v>#N/A</c:v>
                </c:pt>
                <c:pt idx="6424">
                  <c:v>#N/A</c:v>
                </c:pt>
                <c:pt idx="6425">
                  <c:v>#N/A</c:v>
                </c:pt>
                <c:pt idx="6426">
                  <c:v>#N/A</c:v>
                </c:pt>
                <c:pt idx="6427">
                  <c:v>#N/A</c:v>
                </c:pt>
                <c:pt idx="6428">
                  <c:v>#N/A</c:v>
                </c:pt>
                <c:pt idx="6429">
                  <c:v>#N/A</c:v>
                </c:pt>
                <c:pt idx="6430">
                  <c:v>#N/A</c:v>
                </c:pt>
                <c:pt idx="6431">
                  <c:v>#N/A</c:v>
                </c:pt>
                <c:pt idx="6432">
                  <c:v>#N/A</c:v>
                </c:pt>
                <c:pt idx="6433">
                  <c:v>#N/A</c:v>
                </c:pt>
                <c:pt idx="6434">
                  <c:v>#N/A</c:v>
                </c:pt>
                <c:pt idx="6435">
                  <c:v>#N/A</c:v>
                </c:pt>
                <c:pt idx="6436">
                  <c:v>#N/A</c:v>
                </c:pt>
                <c:pt idx="6437">
                  <c:v>#N/A</c:v>
                </c:pt>
                <c:pt idx="6438">
                  <c:v>#N/A</c:v>
                </c:pt>
                <c:pt idx="6439">
                  <c:v>#N/A</c:v>
                </c:pt>
                <c:pt idx="6440">
                  <c:v>#N/A</c:v>
                </c:pt>
                <c:pt idx="6441">
                  <c:v>#N/A</c:v>
                </c:pt>
                <c:pt idx="6442">
                  <c:v>#N/A</c:v>
                </c:pt>
                <c:pt idx="6443">
                  <c:v>#N/A</c:v>
                </c:pt>
                <c:pt idx="6444">
                  <c:v>#N/A</c:v>
                </c:pt>
                <c:pt idx="6445">
                  <c:v>#N/A</c:v>
                </c:pt>
                <c:pt idx="6446">
                  <c:v>#N/A</c:v>
                </c:pt>
                <c:pt idx="6447">
                  <c:v>#N/A</c:v>
                </c:pt>
                <c:pt idx="6448">
                  <c:v>#N/A</c:v>
                </c:pt>
                <c:pt idx="6449">
                  <c:v>#N/A</c:v>
                </c:pt>
                <c:pt idx="6450">
                  <c:v>#N/A</c:v>
                </c:pt>
                <c:pt idx="6451">
                  <c:v>#N/A</c:v>
                </c:pt>
                <c:pt idx="6452">
                  <c:v>#N/A</c:v>
                </c:pt>
                <c:pt idx="6453">
                  <c:v>#N/A</c:v>
                </c:pt>
                <c:pt idx="6454">
                  <c:v>#N/A</c:v>
                </c:pt>
                <c:pt idx="6455">
                  <c:v>#N/A</c:v>
                </c:pt>
                <c:pt idx="6456">
                  <c:v>#N/A</c:v>
                </c:pt>
                <c:pt idx="6457">
                  <c:v>#N/A</c:v>
                </c:pt>
                <c:pt idx="6458">
                  <c:v>#N/A</c:v>
                </c:pt>
                <c:pt idx="6459">
                  <c:v>#N/A</c:v>
                </c:pt>
                <c:pt idx="6460">
                  <c:v>#N/A</c:v>
                </c:pt>
                <c:pt idx="6461">
                  <c:v>#N/A</c:v>
                </c:pt>
                <c:pt idx="6462">
                  <c:v>#N/A</c:v>
                </c:pt>
                <c:pt idx="6463">
                  <c:v>#N/A</c:v>
                </c:pt>
                <c:pt idx="6464">
                  <c:v>#N/A</c:v>
                </c:pt>
                <c:pt idx="6465">
                  <c:v>#N/A</c:v>
                </c:pt>
                <c:pt idx="6466">
                  <c:v>#N/A</c:v>
                </c:pt>
                <c:pt idx="6467">
                  <c:v>#N/A</c:v>
                </c:pt>
                <c:pt idx="6468">
                  <c:v>#N/A</c:v>
                </c:pt>
                <c:pt idx="6469">
                  <c:v>#N/A</c:v>
                </c:pt>
                <c:pt idx="6470">
                  <c:v>#N/A</c:v>
                </c:pt>
                <c:pt idx="6471">
                  <c:v>#N/A</c:v>
                </c:pt>
                <c:pt idx="6472">
                  <c:v>#N/A</c:v>
                </c:pt>
                <c:pt idx="6473">
                  <c:v>#N/A</c:v>
                </c:pt>
                <c:pt idx="6474">
                  <c:v>#N/A</c:v>
                </c:pt>
                <c:pt idx="6475">
                  <c:v>#N/A</c:v>
                </c:pt>
                <c:pt idx="6476">
                  <c:v>#N/A</c:v>
                </c:pt>
                <c:pt idx="6477">
                  <c:v>#N/A</c:v>
                </c:pt>
                <c:pt idx="6478">
                  <c:v>#N/A</c:v>
                </c:pt>
                <c:pt idx="6479">
                  <c:v>#N/A</c:v>
                </c:pt>
                <c:pt idx="6480">
                  <c:v>#N/A</c:v>
                </c:pt>
                <c:pt idx="6481">
                  <c:v>#N/A</c:v>
                </c:pt>
                <c:pt idx="6482">
                  <c:v>#N/A</c:v>
                </c:pt>
                <c:pt idx="6483">
                  <c:v>#N/A</c:v>
                </c:pt>
                <c:pt idx="6484">
                  <c:v>#N/A</c:v>
                </c:pt>
                <c:pt idx="6485">
                  <c:v>#N/A</c:v>
                </c:pt>
                <c:pt idx="6486">
                  <c:v>#N/A</c:v>
                </c:pt>
                <c:pt idx="6487">
                  <c:v>#N/A</c:v>
                </c:pt>
                <c:pt idx="6488">
                  <c:v>#N/A</c:v>
                </c:pt>
                <c:pt idx="6489">
                  <c:v>#N/A</c:v>
                </c:pt>
                <c:pt idx="6490">
                  <c:v>#N/A</c:v>
                </c:pt>
                <c:pt idx="6491">
                  <c:v>#N/A</c:v>
                </c:pt>
                <c:pt idx="6492">
                  <c:v>#N/A</c:v>
                </c:pt>
                <c:pt idx="6493">
                  <c:v>#N/A</c:v>
                </c:pt>
                <c:pt idx="6494">
                  <c:v>#N/A</c:v>
                </c:pt>
                <c:pt idx="6495">
                  <c:v>#N/A</c:v>
                </c:pt>
                <c:pt idx="6496">
                  <c:v>#N/A</c:v>
                </c:pt>
                <c:pt idx="6497">
                  <c:v>#N/A</c:v>
                </c:pt>
                <c:pt idx="6498">
                  <c:v>#N/A</c:v>
                </c:pt>
                <c:pt idx="6499">
                  <c:v>#N/A</c:v>
                </c:pt>
                <c:pt idx="6500">
                  <c:v>#N/A</c:v>
                </c:pt>
                <c:pt idx="6501">
                  <c:v>#N/A</c:v>
                </c:pt>
                <c:pt idx="6502">
                  <c:v>#N/A</c:v>
                </c:pt>
                <c:pt idx="6503">
                  <c:v>#N/A</c:v>
                </c:pt>
                <c:pt idx="6504">
                  <c:v>#N/A</c:v>
                </c:pt>
                <c:pt idx="6505">
                  <c:v>#N/A</c:v>
                </c:pt>
                <c:pt idx="6506">
                  <c:v>#N/A</c:v>
                </c:pt>
                <c:pt idx="6507">
                  <c:v>#N/A</c:v>
                </c:pt>
                <c:pt idx="6508">
                  <c:v>#N/A</c:v>
                </c:pt>
                <c:pt idx="6509">
                  <c:v>#N/A</c:v>
                </c:pt>
                <c:pt idx="6510">
                  <c:v>#N/A</c:v>
                </c:pt>
                <c:pt idx="6511">
                  <c:v>#N/A</c:v>
                </c:pt>
                <c:pt idx="6512">
                  <c:v>#N/A</c:v>
                </c:pt>
                <c:pt idx="6513">
                  <c:v>#N/A</c:v>
                </c:pt>
                <c:pt idx="6514">
                  <c:v>#N/A</c:v>
                </c:pt>
                <c:pt idx="6515">
                  <c:v>#N/A</c:v>
                </c:pt>
                <c:pt idx="6516">
                  <c:v>#N/A</c:v>
                </c:pt>
                <c:pt idx="6517">
                  <c:v>#N/A</c:v>
                </c:pt>
                <c:pt idx="6518">
                  <c:v>#N/A</c:v>
                </c:pt>
                <c:pt idx="6519">
                  <c:v>#N/A</c:v>
                </c:pt>
                <c:pt idx="6520">
                  <c:v>#N/A</c:v>
                </c:pt>
                <c:pt idx="6521">
                  <c:v>#N/A</c:v>
                </c:pt>
                <c:pt idx="6522">
                  <c:v>#N/A</c:v>
                </c:pt>
                <c:pt idx="6523">
                  <c:v>#N/A</c:v>
                </c:pt>
                <c:pt idx="6524">
                  <c:v>#N/A</c:v>
                </c:pt>
                <c:pt idx="6525">
                  <c:v>#N/A</c:v>
                </c:pt>
                <c:pt idx="6526">
                  <c:v>#N/A</c:v>
                </c:pt>
                <c:pt idx="6527">
                  <c:v>#N/A</c:v>
                </c:pt>
                <c:pt idx="6528">
                  <c:v>#N/A</c:v>
                </c:pt>
                <c:pt idx="6529">
                  <c:v>#N/A</c:v>
                </c:pt>
                <c:pt idx="6530">
                  <c:v>#N/A</c:v>
                </c:pt>
                <c:pt idx="6531">
                  <c:v>#N/A</c:v>
                </c:pt>
                <c:pt idx="6532">
                  <c:v>#N/A</c:v>
                </c:pt>
                <c:pt idx="6533">
                  <c:v>#N/A</c:v>
                </c:pt>
                <c:pt idx="6534">
                  <c:v>#N/A</c:v>
                </c:pt>
                <c:pt idx="6535">
                  <c:v>#N/A</c:v>
                </c:pt>
                <c:pt idx="6536">
                  <c:v>#N/A</c:v>
                </c:pt>
                <c:pt idx="6537">
                  <c:v>#N/A</c:v>
                </c:pt>
                <c:pt idx="6538">
                  <c:v>#N/A</c:v>
                </c:pt>
                <c:pt idx="6539">
                  <c:v>#N/A</c:v>
                </c:pt>
                <c:pt idx="6540">
                  <c:v>#N/A</c:v>
                </c:pt>
                <c:pt idx="6541">
                  <c:v>#N/A</c:v>
                </c:pt>
                <c:pt idx="6542">
                  <c:v>#N/A</c:v>
                </c:pt>
                <c:pt idx="6543">
                  <c:v>#N/A</c:v>
                </c:pt>
                <c:pt idx="6544">
                  <c:v>#N/A</c:v>
                </c:pt>
                <c:pt idx="6545">
                  <c:v>#N/A</c:v>
                </c:pt>
                <c:pt idx="6546">
                  <c:v>#N/A</c:v>
                </c:pt>
                <c:pt idx="6547">
                  <c:v>#N/A</c:v>
                </c:pt>
                <c:pt idx="6548">
                  <c:v>#N/A</c:v>
                </c:pt>
                <c:pt idx="6549">
                  <c:v>#N/A</c:v>
                </c:pt>
                <c:pt idx="6550">
                  <c:v>#N/A</c:v>
                </c:pt>
                <c:pt idx="6551">
                  <c:v>#N/A</c:v>
                </c:pt>
                <c:pt idx="6552">
                  <c:v>#N/A</c:v>
                </c:pt>
                <c:pt idx="6553">
                  <c:v>#N/A</c:v>
                </c:pt>
                <c:pt idx="6554">
                  <c:v>#N/A</c:v>
                </c:pt>
                <c:pt idx="6555">
                  <c:v>#N/A</c:v>
                </c:pt>
                <c:pt idx="6556">
                  <c:v>#N/A</c:v>
                </c:pt>
                <c:pt idx="6557">
                  <c:v>#N/A</c:v>
                </c:pt>
                <c:pt idx="6558">
                  <c:v>#N/A</c:v>
                </c:pt>
                <c:pt idx="6559">
                  <c:v>#N/A</c:v>
                </c:pt>
                <c:pt idx="6560">
                  <c:v>#N/A</c:v>
                </c:pt>
                <c:pt idx="6561">
                  <c:v>#N/A</c:v>
                </c:pt>
                <c:pt idx="6562">
                  <c:v>#N/A</c:v>
                </c:pt>
                <c:pt idx="6563">
                  <c:v>#N/A</c:v>
                </c:pt>
                <c:pt idx="6564">
                  <c:v>#N/A</c:v>
                </c:pt>
                <c:pt idx="6565">
                  <c:v>#N/A</c:v>
                </c:pt>
                <c:pt idx="6566">
                  <c:v>#N/A</c:v>
                </c:pt>
                <c:pt idx="6567">
                  <c:v>#N/A</c:v>
                </c:pt>
                <c:pt idx="6568">
                  <c:v>#N/A</c:v>
                </c:pt>
                <c:pt idx="6569">
                  <c:v>#N/A</c:v>
                </c:pt>
                <c:pt idx="6570">
                  <c:v>#N/A</c:v>
                </c:pt>
                <c:pt idx="6571">
                  <c:v>#N/A</c:v>
                </c:pt>
                <c:pt idx="6572">
                  <c:v>#N/A</c:v>
                </c:pt>
                <c:pt idx="6573">
                  <c:v>#N/A</c:v>
                </c:pt>
                <c:pt idx="6574">
                  <c:v>#N/A</c:v>
                </c:pt>
                <c:pt idx="6575">
                  <c:v>#N/A</c:v>
                </c:pt>
                <c:pt idx="6576">
                  <c:v>#N/A</c:v>
                </c:pt>
                <c:pt idx="6577">
                  <c:v>#N/A</c:v>
                </c:pt>
                <c:pt idx="6578">
                  <c:v>#N/A</c:v>
                </c:pt>
                <c:pt idx="6579">
                  <c:v>#N/A</c:v>
                </c:pt>
                <c:pt idx="6580">
                  <c:v>#N/A</c:v>
                </c:pt>
                <c:pt idx="6581">
                  <c:v>#N/A</c:v>
                </c:pt>
                <c:pt idx="6582">
                  <c:v>#N/A</c:v>
                </c:pt>
                <c:pt idx="6583">
                  <c:v>#N/A</c:v>
                </c:pt>
                <c:pt idx="6584">
                  <c:v>#N/A</c:v>
                </c:pt>
                <c:pt idx="6585">
                  <c:v>#N/A</c:v>
                </c:pt>
                <c:pt idx="6586">
                  <c:v>#N/A</c:v>
                </c:pt>
                <c:pt idx="6587">
                  <c:v>#N/A</c:v>
                </c:pt>
                <c:pt idx="6588">
                  <c:v>#N/A</c:v>
                </c:pt>
                <c:pt idx="6589">
                  <c:v>#N/A</c:v>
                </c:pt>
                <c:pt idx="6590">
                  <c:v>#N/A</c:v>
                </c:pt>
                <c:pt idx="6591">
                  <c:v>#N/A</c:v>
                </c:pt>
                <c:pt idx="6592">
                  <c:v>#N/A</c:v>
                </c:pt>
                <c:pt idx="6593">
                  <c:v>#N/A</c:v>
                </c:pt>
                <c:pt idx="6594">
                  <c:v>#N/A</c:v>
                </c:pt>
                <c:pt idx="6595">
                  <c:v>#N/A</c:v>
                </c:pt>
                <c:pt idx="6596">
                  <c:v>#N/A</c:v>
                </c:pt>
                <c:pt idx="6597">
                  <c:v>#N/A</c:v>
                </c:pt>
                <c:pt idx="6598">
                  <c:v>#N/A</c:v>
                </c:pt>
                <c:pt idx="6599">
                  <c:v>#N/A</c:v>
                </c:pt>
                <c:pt idx="6600">
                  <c:v>#N/A</c:v>
                </c:pt>
                <c:pt idx="6601">
                  <c:v>#N/A</c:v>
                </c:pt>
                <c:pt idx="6602">
                  <c:v>#N/A</c:v>
                </c:pt>
                <c:pt idx="6603">
                  <c:v>#N/A</c:v>
                </c:pt>
                <c:pt idx="6604">
                  <c:v>#N/A</c:v>
                </c:pt>
                <c:pt idx="6605">
                  <c:v>#N/A</c:v>
                </c:pt>
                <c:pt idx="6606">
                  <c:v>#N/A</c:v>
                </c:pt>
                <c:pt idx="6607">
                  <c:v>#N/A</c:v>
                </c:pt>
                <c:pt idx="6608">
                  <c:v>#N/A</c:v>
                </c:pt>
                <c:pt idx="6609">
                  <c:v>#N/A</c:v>
                </c:pt>
                <c:pt idx="6610">
                  <c:v>#N/A</c:v>
                </c:pt>
                <c:pt idx="6611">
                  <c:v>#N/A</c:v>
                </c:pt>
                <c:pt idx="6612">
                  <c:v>#N/A</c:v>
                </c:pt>
                <c:pt idx="6613">
                  <c:v>#N/A</c:v>
                </c:pt>
                <c:pt idx="6614">
                  <c:v>#N/A</c:v>
                </c:pt>
                <c:pt idx="6615">
                  <c:v>#N/A</c:v>
                </c:pt>
                <c:pt idx="6616">
                  <c:v>#N/A</c:v>
                </c:pt>
                <c:pt idx="6617">
                  <c:v>#N/A</c:v>
                </c:pt>
                <c:pt idx="6618">
                  <c:v>#N/A</c:v>
                </c:pt>
                <c:pt idx="6619">
                  <c:v>#N/A</c:v>
                </c:pt>
                <c:pt idx="6620">
                  <c:v>#N/A</c:v>
                </c:pt>
                <c:pt idx="6621">
                  <c:v>#N/A</c:v>
                </c:pt>
                <c:pt idx="6622">
                  <c:v>#N/A</c:v>
                </c:pt>
                <c:pt idx="6623">
                  <c:v>#N/A</c:v>
                </c:pt>
                <c:pt idx="6624">
                  <c:v>#N/A</c:v>
                </c:pt>
                <c:pt idx="6625">
                  <c:v>#N/A</c:v>
                </c:pt>
                <c:pt idx="6626">
                  <c:v>#N/A</c:v>
                </c:pt>
                <c:pt idx="6627">
                  <c:v>#N/A</c:v>
                </c:pt>
                <c:pt idx="6628">
                  <c:v>#N/A</c:v>
                </c:pt>
                <c:pt idx="6629">
                  <c:v>#N/A</c:v>
                </c:pt>
                <c:pt idx="6630">
                  <c:v>#N/A</c:v>
                </c:pt>
                <c:pt idx="6631">
                  <c:v>#N/A</c:v>
                </c:pt>
                <c:pt idx="6632">
                  <c:v>#N/A</c:v>
                </c:pt>
                <c:pt idx="6633">
                  <c:v>#N/A</c:v>
                </c:pt>
                <c:pt idx="6634">
                  <c:v>#N/A</c:v>
                </c:pt>
                <c:pt idx="6635">
                  <c:v>#N/A</c:v>
                </c:pt>
                <c:pt idx="6636">
                  <c:v>#N/A</c:v>
                </c:pt>
                <c:pt idx="6637">
                  <c:v>#N/A</c:v>
                </c:pt>
                <c:pt idx="6638">
                  <c:v>#N/A</c:v>
                </c:pt>
                <c:pt idx="6639">
                  <c:v>#N/A</c:v>
                </c:pt>
                <c:pt idx="6640">
                  <c:v>#N/A</c:v>
                </c:pt>
                <c:pt idx="6641">
                  <c:v>#N/A</c:v>
                </c:pt>
                <c:pt idx="6642">
                  <c:v>#N/A</c:v>
                </c:pt>
                <c:pt idx="6643">
                  <c:v>#N/A</c:v>
                </c:pt>
                <c:pt idx="6644">
                  <c:v>#N/A</c:v>
                </c:pt>
                <c:pt idx="6645">
                  <c:v>#N/A</c:v>
                </c:pt>
                <c:pt idx="6646">
                  <c:v>#N/A</c:v>
                </c:pt>
                <c:pt idx="6647">
                  <c:v>#N/A</c:v>
                </c:pt>
                <c:pt idx="6648">
                  <c:v>#N/A</c:v>
                </c:pt>
                <c:pt idx="6649">
                  <c:v>#N/A</c:v>
                </c:pt>
                <c:pt idx="6650">
                  <c:v>#N/A</c:v>
                </c:pt>
                <c:pt idx="6651">
                  <c:v>#N/A</c:v>
                </c:pt>
                <c:pt idx="6652">
                  <c:v>#N/A</c:v>
                </c:pt>
                <c:pt idx="6653">
                  <c:v>#N/A</c:v>
                </c:pt>
                <c:pt idx="6654">
                  <c:v>#N/A</c:v>
                </c:pt>
                <c:pt idx="6655">
                  <c:v>#N/A</c:v>
                </c:pt>
                <c:pt idx="6656">
                  <c:v>#N/A</c:v>
                </c:pt>
                <c:pt idx="6657">
                  <c:v>#N/A</c:v>
                </c:pt>
                <c:pt idx="6658">
                  <c:v>#N/A</c:v>
                </c:pt>
                <c:pt idx="6659">
                  <c:v>#N/A</c:v>
                </c:pt>
                <c:pt idx="6660">
                  <c:v>#N/A</c:v>
                </c:pt>
                <c:pt idx="6661">
                  <c:v>#N/A</c:v>
                </c:pt>
                <c:pt idx="6662">
                  <c:v>#N/A</c:v>
                </c:pt>
                <c:pt idx="6663">
                  <c:v>#N/A</c:v>
                </c:pt>
                <c:pt idx="6664">
                  <c:v>#N/A</c:v>
                </c:pt>
                <c:pt idx="6665">
                  <c:v>#N/A</c:v>
                </c:pt>
                <c:pt idx="6666">
                  <c:v>#N/A</c:v>
                </c:pt>
                <c:pt idx="6667">
                  <c:v>#N/A</c:v>
                </c:pt>
                <c:pt idx="6668">
                  <c:v>#N/A</c:v>
                </c:pt>
                <c:pt idx="6669">
                  <c:v>#N/A</c:v>
                </c:pt>
                <c:pt idx="6670">
                  <c:v>#N/A</c:v>
                </c:pt>
                <c:pt idx="6671">
                  <c:v>#N/A</c:v>
                </c:pt>
                <c:pt idx="6672">
                  <c:v>#N/A</c:v>
                </c:pt>
                <c:pt idx="6673">
                  <c:v>#N/A</c:v>
                </c:pt>
                <c:pt idx="6674">
                  <c:v>#N/A</c:v>
                </c:pt>
                <c:pt idx="6675">
                  <c:v>#N/A</c:v>
                </c:pt>
                <c:pt idx="6676">
                  <c:v>#N/A</c:v>
                </c:pt>
                <c:pt idx="6677">
                  <c:v>#N/A</c:v>
                </c:pt>
                <c:pt idx="6678">
                  <c:v>#N/A</c:v>
                </c:pt>
                <c:pt idx="6679">
                  <c:v>#N/A</c:v>
                </c:pt>
                <c:pt idx="6680">
                  <c:v>#N/A</c:v>
                </c:pt>
                <c:pt idx="6681">
                  <c:v>#N/A</c:v>
                </c:pt>
                <c:pt idx="6682">
                  <c:v>#N/A</c:v>
                </c:pt>
                <c:pt idx="6683">
                  <c:v>#N/A</c:v>
                </c:pt>
                <c:pt idx="6684">
                  <c:v>#N/A</c:v>
                </c:pt>
                <c:pt idx="6685">
                  <c:v>#N/A</c:v>
                </c:pt>
                <c:pt idx="6686">
                  <c:v>#N/A</c:v>
                </c:pt>
                <c:pt idx="6687">
                  <c:v>#N/A</c:v>
                </c:pt>
                <c:pt idx="6688">
                  <c:v>#N/A</c:v>
                </c:pt>
                <c:pt idx="6689">
                  <c:v>#N/A</c:v>
                </c:pt>
                <c:pt idx="6690">
                  <c:v>#N/A</c:v>
                </c:pt>
                <c:pt idx="6691">
                  <c:v>#N/A</c:v>
                </c:pt>
                <c:pt idx="6692">
                  <c:v>#N/A</c:v>
                </c:pt>
                <c:pt idx="6693">
                  <c:v>#N/A</c:v>
                </c:pt>
                <c:pt idx="6694">
                  <c:v>#N/A</c:v>
                </c:pt>
                <c:pt idx="6695">
                  <c:v>#N/A</c:v>
                </c:pt>
                <c:pt idx="6696">
                  <c:v>#N/A</c:v>
                </c:pt>
                <c:pt idx="6697">
                  <c:v>#N/A</c:v>
                </c:pt>
                <c:pt idx="6698">
                  <c:v>#N/A</c:v>
                </c:pt>
                <c:pt idx="6699">
                  <c:v>#N/A</c:v>
                </c:pt>
                <c:pt idx="6700">
                  <c:v>#N/A</c:v>
                </c:pt>
                <c:pt idx="6701">
                  <c:v>#N/A</c:v>
                </c:pt>
                <c:pt idx="6702">
                  <c:v>#N/A</c:v>
                </c:pt>
                <c:pt idx="6703">
                  <c:v>#N/A</c:v>
                </c:pt>
                <c:pt idx="6704">
                  <c:v>#N/A</c:v>
                </c:pt>
                <c:pt idx="6705">
                  <c:v>#N/A</c:v>
                </c:pt>
                <c:pt idx="6706">
                  <c:v>#N/A</c:v>
                </c:pt>
                <c:pt idx="6707">
                  <c:v>#N/A</c:v>
                </c:pt>
                <c:pt idx="6708">
                  <c:v>#N/A</c:v>
                </c:pt>
                <c:pt idx="6709">
                  <c:v>#N/A</c:v>
                </c:pt>
                <c:pt idx="6710">
                  <c:v>#N/A</c:v>
                </c:pt>
                <c:pt idx="6711">
                  <c:v>#N/A</c:v>
                </c:pt>
                <c:pt idx="6712">
                  <c:v>#N/A</c:v>
                </c:pt>
                <c:pt idx="6713">
                  <c:v>#N/A</c:v>
                </c:pt>
                <c:pt idx="6714">
                  <c:v>#N/A</c:v>
                </c:pt>
                <c:pt idx="6715">
                  <c:v>#N/A</c:v>
                </c:pt>
                <c:pt idx="6716">
                  <c:v>#N/A</c:v>
                </c:pt>
                <c:pt idx="6717">
                  <c:v>#N/A</c:v>
                </c:pt>
                <c:pt idx="6718">
                  <c:v>#N/A</c:v>
                </c:pt>
                <c:pt idx="6719">
                  <c:v>#N/A</c:v>
                </c:pt>
                <c:pt idx="6720">
                  <c:v>#N/A</c:v>
                </c:pt>
                <c:pt idx="6721">
                  <c:v>#N/A</c:v>
                </c:pt>
                <c:pt idx="6722">
                  <c:v>#N/A</c:v>
                </c:pt>
                <c:pt idx="6723">
                  <c:v>#N/A</c:v>
                </c:pt>
                <c:pt idx="6724">
                  <c:v>#N/A</c:v>
                </c:pt>
                <c:pt idx="6725">
                  <c:v>#N/A</c:v>
                </c:pt>
                <c:pt idx="6726">
                  <c:v>#N/A</c:v>
                </c:pt>
                <c:pt idx="6727">
                  <c:v>#N/A</c:v>
                </c:pt>
                <c:pt idx="6728">
                  <c:v>#N/A</c:v>
                </c:pt>
                <c:pt idx="6729">
                  <c:v>#N/A</c:v>
                </c:pt>
                <c:pt idx="6730">
                  <c:v>#N/A</c:v>
                </c:pt>
                <c:pt idx="6731">
                  <c:v>#N/A</c:v>
                </c:pt>
                <c:pt idx="6732">
                  <c:v>#N/A</c:v>
                </c:pt>
                <c:pt idx="6733">
                  <c:v>#N/A</c:v>
                </c:pt>
                <c:pt idx="6734">
                  <c:v>#N/A</c:v>
                </c:pt>
                <c:pt idx="6735">
                  <c:v>#N/A</c:v>
                </c:pt>
                <c:pt idx="6736">
                  <c:v>#N/A</c:v>
                </c:pt>
                <c:pt idx="6737">
                  <c:v>#N/A</c:v>
                </c:pt>
                <c:pt idx="6738">
                  <c:v>#N/A</c:v>
                </c:pt>
                <c:pt idx="6739">
                  <c:v>#N/A</c:v>
                </c:pt>
                <c:pt idx="6740">
                  <c:v>#N/A</c:v>
                </c:pt>
                <c:pt idx="6741">
                  <c:v>#N/A</c:v>
                </c:pt>
                <c:pt idx="6742">
                  <c:v>#N/A</c:v>
                </c:pt>
                <c:pt idx="6743">
                  <c:v>#N/A</c:v>
                </c:pt>
                <c:pt idx="6744">
                  <c:v>#N/A</c:v>
                </c:pt>
                <c:pt idx="6745">
                  <c:v>#N/A</c:v>
                </c:pt>
                <c:pt idx="6746">
                  <c:v>#N/A</c:v>
                </c:pt>
                <c:pt idx="6747">
                  <c:v>#N/A</c:v>
                </c:pt>
                <c:pt idx="6748">
                  <c:v>#N/A</c:v>
                </c:pt>
                <c:pt idx="6749">
                  <c:v>#N/A</c:v>
                </c:pt>
                <c:pt idx="6750">
                  <c:v>#N/A</c:v>
                </c:pt>
                <c:pt idx="6751">
                  <c:v>#N/A</c:v>
                </c:pt>
                <c:pt idx="6752">
                  <c:v>#N/A</c:v>
                </c:pt>
                <c:pt idx="6753">
                  <c:v>#N/A</c:v>
                </c:pt>
                <c:pt idx="6754">
                  <c:v>#N/A</c:v>
                </c:pt>
                <c:pt idx="6755">
                  <c:v>#N/A</c:v>
                </c:pt>
                <c:pt idx="6756">
                  <c:v>#N/A</c:v>
                </c:pt>
                <c:pt idx="6757">
                  <c:v>#N/A</c:v>
                </c:pt>
                <c:pt idx="6758">
                  <c:v>#N/A</c:v>
                </c:pt>
                <c:pt idx="6759">
                  <c:v>#N/A</c:v>
                </c:pt>
                <c:pt idx="6760">
                  <c:v>#N/A</c:v>
                </c:pt>
                <c:pt idx="6761">
                  <c:v>#N/A</c:v>
                </c:pt>
                <c:pt idx="6762">
                  <c:v>#N/A</c:v>
                </c:pt>
                <c:pt idx="6763">
                  <c:v>#N/A</c:v>
                </c:pt>
                <c:pt idx="6764">
                  <c:v>#N/A</c:v>
                </c:pt>
                <c:pt idx="6765">
                  <c:v>#N/A</c:v>
                </c:pt>
                <c:pt idx="6766">
                  <c:v>#N/A</c:v>
                </c:pt>
                <c:pt idx="6767">
                  <c:v>#N/A</c:v>
                </c:pt>
                <c:pt idx="6768">
                  <c:v>#N/A</c:v>
                </c:pt>
                <c:pt idx="6769">
                  <c:v>#N/A</c:v>
                </c:pt>
                <c:pt idx="6770">
                  <c:v>#N/A</c:v>
                </c:pt>
                <c:pt idx="6771">
                  <c:v>#N/A</c:v>
                </c:pt>
                <c:pt idx="6772">
                  <c:v>#N/A</c:v>
                </c:pt>
                <c:pt idx="6773">
                  <c:v>#N/A</c:v>
                </c:pt>
                <c:pt idx="6774">
                  <c:v>#N/A</c:v>
                </c:pt>
                <c:pt idx="6775">
                  <c:v>#N/A</c:v>
                </c:pt>
                <c:pt idx="6776">
                  <c:v>#N/A</c:v>
                </c:pt>
                <c:pt idx="6777">
                  <c:v>#N/A</c:v>
                </c:pt>
                <c:pt idx="6778">
                  <c:v>#N/A</c:v>
                </c:pt>
                <c:pt idx="6779">
                  <c:v>#N/A</c:v>
                </c:pt>
                <c:pt idx="6780">
                  <c:v>#N/A</c:v>
                </c:pt>
                <c:pt idx="6781">
                  <c:v>#N/A</c:v>
                </c:pt>
                <c:pt idx="6782">
                  <c:v>#N/A</c:v>
                </c:pt>
                <c:pt idx="6783">
                  <c:v>#N/A</c:v>
                </c:pt>
                <c:pt idx="6784">
                  <c:v>#N/A</c:v>
                </c:pt>
                <c:pt idx="6785">
                  <c:v>#N/A</c:v>
                </c:pt>
                <c:pt idx="6786">
                  <c:v>#N/A</c:v>
                </c:pt>
                <c:pt idx="6787">
                  <c:v>#N/A</c:v>
                </c:pt>
                <c:pt idx="6788">
                  <c:v>#N/A</c:v>
                </c:pt>
                <c:pt idx="6789">
                  <c:v>#N/A</c:v>
                </c:pt>
                <c:pt idx="6790">
                  <c:v>#N/A</c:v>
                </c:pt>
                <c:pt idx="6791">
                  <c:v>#N/A</c:v>
                </c:pt>
                <c:pt idx="6792">
                  <c:v>#N/A</c:v>
                </c:pt>
                <c:pt idx="6793">
                  <c:v>#N/A</c:v>
                </c:pt>
                <c:pt idx="6794">
                  <c:v>#N/A</c:v>
                </c:pt>
                <c:pt idx="6795">
                  <c:v>#N/A</c:v>
                </c:pt>
                <c:pt idx="6796">
                  <c:v>#N/A</c:v>
                </c:pt>
                <c:pt idx="6797">
                  <c:v>#N/A</c:v>
                </c:pt>
                <c:pt idx="6798">
                  <c:v>#N/A</c:v>
                </c:pt>
                <c:pt idx="6799">
                  <c:v>#N/A</c:v>
                </c:pt>
                <c:pt idx="6800">
                  <c:v>#N/A</c:v>
                </c:pt>
                <c:pt idx="6801">
                  <c:v>#N/A</c:v>
                </c:pt>
                <c:pt idx="6802">
                  <c:v>#N/A</c:v>
                </c:pt>
                <c:pt idx="6803">
                  <c:v>#N/A</c:v>
                </c:pt>
                <c:pt idx="6804">
                  <c:v>#N/A</c:v>
                </c:pt>
                <c:pt idx="6805">
                  <c:v>#N/A</c:v>
                </c:pt>
                <c:pt idx="6806">
                  <c:v>#N/A</c:v>
                </c:pt>
                <c:pt idx="6807">
                  <c:v>#N/A</c:v>
                </c:pt>
                <c:pt idx="6808">
                  <c:v>#N/A</c:v>
                </c:pt>
                <c:pt idx="6809">
                  <c:v>#N/A</c:v>
                </c:pt>
                <c:pt idx="6810">
                  <c:v>#N/A</c:v>
                </c:pt>
                <c:pt idx="6811">
                  <c:v>#N/A</c:v>
                </c:pt>
                <c:pt idx="6812">
                  <c:v>#N/A</c:v>
                </c:pt>
                <c:pt idx="6813">
                  <c:v>#N/A</c:v>
                </c:pt>
                <c:pt idx="6814">
                  <c:v>#N/A</c:v>
                </c:pt>
                <c:pt idx="6815">
                  <c:v>#N/A</c:v>
                </c:pt>
                <c:pt idx="6816">
                  <c:v>#N/A</c:v>
                </c:pt>
                <c:pt idx="6817">
                  <c:v>#N/A</c:v>
                </c:pt>
                <c:pt idx="6818">
                  <c:v>#N/A</c:v>
                </c:pt>
                <c:pt idx="6819">
                  <c:v>#N/A</c:v>
                </c:pt>
                <c:pt idx="6820">
                  <c:v>#N/A</c:v>
                </c:pt>
                <c:pt idx="6821">
                  <c:v>#N/A</c:v>
                </c:pt>
                <c:pt idx="6822">
                  <c:v>#N/A</c:v>
                </c:pt>
                <c:pt idx="6823">
                  <c:v>#N/A</c:v>
                </c:pt>
                <c:pt idx="6824">
                  <c:v>#N/A</c:v>
                </c:pt>
                <c:pt idx="6825">
                  <c:v>#N/A</c:v>
                </c:pt>
                <c:pt idx="6826">
                  <c:v>#N/A</c:v>
                </c:pt>
                <c:pt idx="6827">
                  <c:v>#N/A</c:v>
                </c:pt>
                <c:pt idx="6828">
                  <c:v>#N/A</c:v>
                </c:pt>
                <c:pt idx="6829">
                  <c:v>#N/A</c:v>
                </c:pt>
                <c:pt idx="6830">
                  <c:v>#N/A</c:v>
                </c:pt>
                <c:pt idx="6831">
                  <c:v>#N/A</c:v>
                </c:pt>
                <c:pt idx="6832">
                  <c:v>#N/A</c:v>
                </c:pt>
                <c:pt idx="6833">
                  <c:v>#N/A</c:v>
                </c:pt>
                <c:pt idx="6834">
                  <c:v>#N/A</c:v>
                </c:pt>
                <c:pt idx="6835">
                  <c:v>#N/A</c:v>
                </c:pt>
                <c:pt idx="6836">
                  <c:v>#N/A</c:v>
                </c:pt>
                <c:pt idx="6837">
                  <c:v>#N/A</c:v>
                </c:pt>
                <c:pt idx="6838">
                  <c:v>#N/A</c:v>
                </c:pt>
                <c:pt idx="6839">
                  <c:v>#N/A</c:v>
                </c:pt>
                <c:pt idx="6840">
                  <c:v>#N/A</c:v>
                </c:pt>
                <c:pt idx="6841">
                  <c:v>#N/A</c:v>
                </c:pt>
                <c:pt idx="6842">
                  <c:v>#N/A</c:v>
                </c:pt>
                <c:pt idx="6843">
                  <c:v>#N/A</c:v>
                </c:pt>
                <c:pt idx="6844">
                  <c:v>#N/A</c:v>
                </c:pt>
                <c:pt idx="6845">
                  <c:v>#N/A</c:v>
                </c:pt>
                <c:pt idx="6846">
                  <c:v>#N/A</c:v>
                </c:pt>
                <c:pt idx="6847">
                  <c:v>#N/A</c:v>
                </c:pt>
                <c:pt idx="6848">
                  <c:v>#N/A</c:v>
                </c:pt>
                <c:pt idx="6849">
                  <c:v>#N/A</c:v>
                </c:pt>
                <c:pt idx="6850">
                  <c:v>#N/A</c:v>
                </c:pt>
                <c:pt idx="6851">
                  <c:v>#N/A</c:v>
                </c:pt>
                <c:pt idx="6852">
                  <c:v>#N/A</c:v>
                </c:pt>
                <c:pt idx="6853">
                  <c:v>#N/A</c:v>
                </c:pt>
                <c:pt idx="6854">
                  <c:v>#N/A</c:v>
                </c:pt>
                <c:pt idx="6855">
                  <c:v>#N/A</c:v>
                </c:pt>
                <c:pt idx="6856">
                  <c:v>#N/A</c:v>
                </c:pt>
                <c:pt idx="6857">
                  <c:v>#N/A</c:v>
                </c:pt>
                <c:pt idx="6858">
                  <c:v>#N/A</c:v>
                </c:pt>
                <c:pt idx="6859">
                  <c:v>#N/A</c:v>
                </c:pt>
                <c:pt idx="6860">
                  <c:v>#N/A</c:v>
                </c:pt>
                <c:pt idx="6861">
                  <c:v>#N/A</c:v>
                </c:pt>
                <c:pt idx="6862">
                  <c:v>#N/A</c:v>
                </c:pt>
                <c:pt idx="6863">
                  <c:v>#N/A</c:v>
                </c:pt>
                <c:pt idx="6864">
                  <c:v>#N/A</c:v>
                </c:pt>
                <c:pt idx="6865">
                  <c:v>#N/A</c:v>
                </c:pt>
                <c:pt idx="6866">
                  <c:v>#N/A</c:v>
                </c:pt>
                <c:pt idx="6867">
                  <c:v>#N/A</c:v>
                </c:pt>
                <c:pt idx="6868">
                  <c:v>#N/A</c:v>
                </c:pt>
                <c:pt idx="6869">
                  <c:v>#N/A</c:v>
                </c:pt>
                <c:pt idx="6870">
                  <c:v>#N/A</c:v>
                </c:pt>
                <c:pt idx="6871">
                  <c:v>#N/A</c:v>
                </c:pt>
                <c:pt idx="6872">
                  <c:v>#N/A</c:v>
                </c:pt>
                <c:pt idx="6873">
                  <c:v>#N/A</c:v>
                </c:pt>
                <c:pt idx="6874">
                  <c:v>#N/A</c:v>
                </c:pt>
                <c:pt idx="6875">
                  <c:v>#N/A</c:v>
                </c:pt>
                <c:pt idx="6876">
                  <c:v>#N/A</c:v>
                </c:pt>
                <c:pt idx="6877">
                  <c:v>#N/A</c:v>
                </c:pt>
                <c:pt idx="6878">
                  <c:v>#N/A</c:v>
                </c:pt>
                <c:pt idx="6879">
                  <c:v>#N/A</c:v>
                </c:pt>
                <c:pt idx="6880">
                  <c:v>#N/A</c:v>
                </c:pt>
                <c:pt idx="6881">
                  <c:v>#N/A</c:v>
                </c:pt>
                <c:pt idx="6882">
                  <c:v>#N/A</c:v>
                </c:pt>
                <c:pt idx="6883">
                  <c:v>#N/A</c:v>
                </c:pt>
                <c:pt idx="6884">
                  <c:v>#N/A</c:v>
                </c:pt>
                <c:pt idx="6885">
                  <c:v>#N/A</c:v>
                </c:pt>
                <c:pt idx="6886">
                  <c:v>#N/A</c:v>
                </c:pt>
                <c:pt idx="6887">
                  <c:v>#N/A</c:v>
                </c:pt>
                <c:pt idx="6888">
                  <c:v>#N/A</c:v>
                </c:pt>
                <c:pt idx="6889">
                  <c:v>#N/A</c:v>
                </c:pt>
                <c:pt idx="6890">
                  <c:v>#N/A</c:v>
                </c:pt>
                <c:pt idx="6891">
                  <c:v>#N/A</c:v>
                </c:pt>
                <c:pt idx="6892">
                  <c:v>#N/A</c:v>
                </c:pt>
                <c:pt idx="6893">
                  <c:v>#N/A</c:v>
                </c:pt>
                <c:pt idx="6894">
                  <c:v>#N/A</c:v>
                </c:pt>
                <c:pt idx="6895">
                  <c:v>#N/A</c:v>
                </c:pt>
                <c:pt idx="6896">
                  <c:v>#N/A</c:v>
                </c:pt>
                <c:pt idx="6897">
                  <c:v>#N/A</c:v>
                </c:pt>
                <c:pt idx="6898">
                  <c:v>#N/A</c:v>
                </c:pt>
                <c:pt idx="6899">
                  <c:v>#N/A</c:v>
                </c:pt>
                <c:pt idx="6900">
                  <c:v>#N/A</c:v>
                </c:pt>
                <c:pt idx="6901">
                  <c:v>#N/A</c:v>
                </c:pt>
                <c:pt idx="6902">
                  <c:v>#N/A</c:v>
                </c:pt>
                <c:pt idx="6903">
                  <c:v>#N/A</c:v>
                </c:pt>
                <c:pt idx="6904">
                  <c:v>#N/A</c:v>
                </c:pt>
                <c:pt idx="6905">
                  <c:v>#N/A</c:v>
                </c:pt>
                <c:pt idx="6906">
                  <c:v>#N/A</c:v>
                </c:pt>
                <c:pt idx="6907">
                  <c:v>#N/A</c:v>
                </c:pt>
                <c:pt idx="6908">
                  <c:v>#N/A</c:v>
                </c:pt>
                <c:pt idx="6909">
                  <c:v>#N/A</c:v>
                </c:pt>
                <c:pt idx="6910">
                  <c:v>#N/A</c:v>
                </c:pt>
                <c:pt idx="6911">
                  <c:v>#N/A</c:v>
                </c:pt>
                <c:pt idx="6912">
                  <c:v>#N/A</c:v>
                </c:pt>
                <c:pt idx="6913">
                  <c:v>#N/A</c:v>
                </c:pt>
                <c:pt idx="6914">
                  <c:v>#N/A</c:v>
                </c:pt>
                <c:pt idx="6915">
                  <c:v>#N/A</c:v>
                </c:pt>
                <c:pt idx="6916">
                  <c:v>#N/A</c:v>
                </c:pt>
                <c:pt idx="6917">
                  <c:v>#N/A</c:v>
                </c:pt>
                <c:pt idx="6918">
                  <c:v>#N/A</c:v>
                </c:pt>
                <c:pt idx="6919">
                  <c:v>#N/A</c:v>
                </c:pt>
                <c:pt idx="6920">
                  <c:v>#N/A</c:v>
                </c:pt>
                <c:pt idx="6921">
                  <c:v>#N/A</c:v>
                </c:pt>
                <c:pt idx="6922">
                  <c:v>#N/A</c:v>
                </c:pt>
                <c:pt idx="6923">
                  <c:v>#N/A</c:v>
                </c:pt>
                <c:pt idx="6924">
                  <c:v>#N/A</c:v>
                </c:pt>
                <c:pt idx="6925">
                  <c:v>#N/A</c:v>
                </c:pt>
                <c:pt idx="6926">
                  <c:v>#N/A</c:v>
                </c:pt>
                <c:pt idx="6927">
                  <c:v>#N/A</c:v>
                </c:pt>
                <c:pt idx="6928">
                  <c:v>#N/A</c:v>
                </c:pt>
                <c:pt idx="6929">
                  <c:v>#N/A</c:v>
                </c:pt>
                <c:pt idx="6930">
                  <c:v>#N/A</c:v>
                </c:pt>
                <c:pt idx="6931">
                  <c:v>#N/A</c:v>
                </c:pt>
                <c:pt idx="6932">
                  <c:v>#N/A</c:v>
                </c:pt>
                <c:pt idx="6933">
                  <c:v>#N/A</c:v>
                </c:pt>
                <c:pt idx="6934">
                  <c:v>#N/A</c:v>
                </c:pt>
                <c:pt idx="6935">
                  <c:v>#N/A</c:v>
                </c:pt>
                <c:pt idx="6936">
                  <c:v>#N/A</c:v>
                </c:pt>
                <c:pt idx="6937">
                  <c:v>#N/A</c:v>
                </c:pt>
                <c:pt idx="6938">
                  <c:v>#N/A</c:v>
                </c:pt>
                <c:pt idx="6939">
                  <c:v>#N/A</c:v>
                </c:pt>
                <c:pt idx="6940">
                  <c:v>#N/A</c:v>
                </c:pt>
                <c:pt idx="6941">
                  <c:v>#N/A</c:v>
                </c:pt>
                <c:pt idx="6942">
                  <c:v>#N/A</c:v>
                </c:pt>
                <c:pt idx="6943">
                  <c:v>#N/A</c:v>
                </c:pt>
                <c:pt idx="6944">
                  <c:v>#N/A</c:v>
                </c:pt>
                <c:pt idx="6945">
                  <c:v>#N/A</c:v>
                </c:pt>
                <c:pt idx="6946">
                  <c:v>#N/A</c:v>
                </c:pt>
                <c:pt idx="6947">
                  <c:v>#N/A</c:v>
                </c:pt>
                <c:pt idx="6948">
                  <c:v>#N/A</c:v>
                </c:pt>
                <c:pt idx="6949">
                  <c:v>#N/A</c:v>
                </c:pt>
                <c:pt idx="6950">
                  <c:v>#N/A</c:v>
                </c:pt>
                <c:pt idx="6951">
                  <c:v>#N/A</c:v>
                </c:pt>
                <c:pt idx="6952">
                  <c:v>#N/A</c:v>
                </c:pt>
                <c:pt idx="6953">
                  <c:v>#N/A</c:v>
                </c:pt>
                <c:pt idx="6954">
                  <c:v>#N/A</c:v>
                </c:pt>
                <c:pt idx="6955">
                  <c:v>#N/A</c:v>
                </c:pt>
                <c:pt idx="6956">
                  <c:v>#N/A</c:v>
                </c:pt>
                <c:pt idx="6957">
                  <c:v>#N/A</c:v>
                </c:pt>
                <c:pt idx="6958">
                  <c:v>#N/A</c:v>
                </c:pt>
                <c:pt idx="6959">
                  <c:v>#N/A</c:v>
                </c:pt>
                <c:pt idx="6960">
                  <c:v>#N/A</c:v>
                </c:pt>
                <c:pt idx="6961">
                  <c:v>#N/A</c:v>
                </c:pt>
                <c:pt idx="6962">
                  <c:v>#N/A</c:v>
                </c:pt>
                <c:pt idx="6963">
                  <c:v>#N/A</c:v>
                </c:pt>
                <c:pt idx="6964">
                  <c:v>#N/A</c:v>
                </c:pt>
                <c:pt idx="6965">
                  <c:v>#N/A</c:v>
                </c:pt>
                <c:pt idx="6966">
                  <c:v>#N/A</c:v>
                </c:pt>
                <c:pt idx="6967">
                  <c:v>#N/A</c:v>
                </c:pt>
                <c:pt idx="6968">
                  <c:v>#N/A</c:v>
                </c:pt>
                <c:pt idx="6969">
                  <c:v>#N/A</c:v>
                </c:pt>
                <c:pt idx="6970">
                  <c:v>#N/A</c:v>
                </c:pt>
                <c:pt idx="6971">
                  <c:v>#N/A</c:v>
                </c:pt>
                <c:pt idx="6972">
                  <c:v>#N/A</c:v>
                </c:pt>
                <c:pt idx="6973">
                  <c:v>#N/A</c:v>
                </c:pt>
                <c:pt idx="6974">
                  <c:v>#N/A</c:v>
                </c:pt>
                <c:pt idx="6975">
                  <c:v>#N/A</c:v>
                </c:pt>
                <c:pt idx="6976">
                  <c:v>#N/A</c:v>
                </c:pt>
                <c:pt idx="6977">
                  <c:v>#N/A</c:v>
                </c:pt>
                <c:pt idx="6978">
                  <c:v>#N/A</c:v>
                </c:pt>
                <c:pt idx="6979">
                  <c:v>#N/A</c:v>
                </c:pt>
                <c:pt idx="6980">
                  <c:v>#N/A</c:v>
                </c:pt>
                <c:pt idx="6981">
                  <c:v>#N/A</c:v>
                </c:pt>
                <c:pt idx="6982">
                  <c:v>#N/A</c:v>
                </c:pt>
                <c:pt idx="6983">
                  <c:v>#N/A</c:v>
                </c:pt>
                <c:pt idx="6984">
                  <c:v>#N/A</c:v>
                </c:pt>
                <c:pt idx="6985">
                  <c:v>#N/A</c:v>
                </c:pt>
                <c:pt idx="6986">
                  <c:v>#N/A</c:v>
                </c:pt>
                <c:pt idx="6987">
                  <c:v>#N/A</c:v>
                </c:pt>
                <c:pt idx="6988">
                  <c:v>#N/A</c:v>
                </c:pt>
                <c:pt idx="6989">
                  <c:v>#N/A</c:v>
                </c:pt>
                <c:pt idx="6990">
                  <c:v>#N/A</c:v>
                </c:pt>
                <c:pt idx="6991">
                  <c:v>#N/A</c:v>
                </c:pt>
                <c:pt idx="6992">
                  <c:v>#N/A</c:v>
                </c:pt>
                <c:pt idx="6993">
                  <c:v>#N/A</c:v>
                </c:pt>
                <c:pt idx="6994">
                  <c:v>#N/A</c:v>
                </c:pt>
                <c:pt idx="6995">
                  <c:v>#N/A</c:v>
                </c:pt>
                <c:pt idx="6996">
                  <c:v>#N/A</c:v>
                </c:pt>
                <c:pt idx="6997">
                  <c:v>#N/A</c:v>
                </c:pt>
                <c:pt idx="6998">
                  <c:v>#N/A</c:v>
                </c:pt>
                <c:pt idx="6999">
                  <c:v>#N/A</c:v>
                </c:pt>
                <c:pt idx="7000">
                  <c:v>#N/A</c:v>
                </c:pt>
                <c:pt idx="7001">
                  <c:v>#N/A</c:v>
                </c:pt>
                <c:pt idx="7002">
                  <c:v>#N/A</c:v>
                </c:pt>
                <c:pt idx="7003">
                  <c:v>#N/A</c:v>
                </c:pt>
                <c:pt idx="7004">
                  <c:v>#N/A</c:v>
                </c:pt>
                <c:pt idx="7005">
                  <c:v>#N/A</c:v>
                </c:pt>
                <c:pt idx="7006">
                  <c:v>#N/A</c:v>
                </c:pt>
                <c:pt idx="7007">
                  <c:v>#N/A</c:v>
                </c:pt>
                <c:pt idx="7008">
                  <c:v>#N/A</c:v>
                </c:pt>
                <c:pt idx="7009">
                  <c:v>#N/A</c:v>
                </c:pt>
                <c:pt idx="7010">
                  <c:v>#N/A</c:v>
                </c:pt>
                <c:pt idx="7011">
                  <c:v>#N/A</c:v>
                </c:pt>
                <c:pt idx="7012">
                  <c:v>#N/A</c:v>
                </c:pt>
                <c:pt idx="7013">
                  <c:v>#N/A</c:v>
                </c:pt>
                <c:pt idx="7014">
                  <c:v>#N/A</c:v>
                </c:pt>
                <c:pt idx="7015">
                  <c:v>#N/A</c:v>
                </c:pt>
                <c:pt idx="7016">
                  <c:v>#N/A</c:v>
                </c:pt>
                <c:pt idx="7017">
                  <c:v>#N/A</c:v>
                </c:pt>
                <c:pt idx="7018">
                  <c:v>#N/A</c:v>
                </c:pt>
                <c:pt idx="7019">
                  <c:v>#N/A</c:v>
                </c:pt>
                <c:pt idx="7020">
                  <c:v>#N/A</c:v>
                </c:pt>
                <c:pt idx="7021">
                  <c:v>#N/A</c:v>
                </c:pt>
                <c:pt idx="7022">
                  <c:v>#N/A</c:v>
                </c:pt>
                <c:pt idx="7023">
                  <c:v>#N/A</c:v>
                </c:pt>
                <c:pt idx="7024">
                  <c:v>#N/A</c:v>
                </c:pt>
                <c:pt idx="7025">
                  <c:v>#N/A</c:v>
                </c:pt>
                <c:pt idx="7026">
                  <c:v>#N/A</c:v>
                </c:pt>
                <c:pt idx="7027">
                  <c:v>#N/A</c:v>
                </c:pt>
                <c:pt idx="7028">
                  <c:v>#N/A</c:v>
                </c:pt>
                <c:pt idx="7029">
                  <c:v>#N/A</c:v>
                </c:pt>
                <c:pt idx="7030">
                  <c:v>#N/A</c:v>
                </c:pt>
                <c:pt idx="7031">
                  <c:v>#N/A</c:v>
                </c:pt>
                <c:pt idx="7032">
                  <c:v>#N/A</c:v>
                </c:pt>
                <c:pt idx="7033">
                  <c:v>#N/A</c:v>
                </c:pt>
                <c:pt idx="7034">
                  <c:v>#N/A</c:v>
                </c:pt>
                <c:pt idx="7035">
                  <c:v>#N/A</c:v>
                </c:pt>
                <c:pt idx="7036">
                  <c:v>#N/A</c:v>
                </c:pt>
                <c:pt idx="7037">
                  <c:v>#N/A</c:v>
                </c:pt>
                <c:pt idx="7038">
                  <c:v>#N/A</c:v>
                </c:pt>
                <c:pt idx="7039">
                  <c:v>#N/A</c:v>
                </c:pt>
                <c:pt idx="7040">
                  <c:v>#N/A</c:v>
                </c:pt>
                <c:pt idx="7041">
                  <c:v>#N/A</c:v>
                </c:pt>
                <c:pt idx="7042">
                  <c:v>#N/A</c:v>
                </c:pt>
                <c:pt idx="7043">
                  <c:v>#N/A</c:v>
                </c:pt>
                <c:pt idx="7044">
                  <c:v>#N/A</c:v>
                </c:pt>
                <c:pt idx="7045">
                  <c:v>#N/A</c:v>
                </c:pt>
                <c:pt idx="7046">
                  <c:v>#N/A</c:v>
                </c:pt>
                <c:pt idx="7047">
                  <c:v>#N/A</c:v>
                </c:pt>
                <c:pt idx="7048">
                  <c:v>#N/A</c:v>
                </c:pt>
                <c:pt idx="7049">
                  <c:v>#N/A</c:v>
                </c:pt>
                <c:pt idx="7050">
                  <c:v>#N/A</c:v>
                </c:pt>
                <c:pt idx="7051">
                  <c:v>#N/A</c:v>
                </c:pt>
                <c:pt idx="7052">
                  <c:v>#N/A</c:v>
                </c:pt>
                <c:pt idx="7053">
                  <c:v>#N/A</c:v>
                </c:pt>
                <c:pt idx="7054">
                  <c:v>#N/A</c:v>
                </c:pt>
                <c:pt idx="7055">
                  <c:v>#N/A</c:v>
                </c:pt>
                <c:pt idx="7056">
                  <c:v>#N/A</c:v>
                </c:pt>
                <c:pt idx="7057">
                  <c:v>#N/A</c:v>
                </c:pt>
                <c:pt idx="7058">
                  <c:v>#N/A</c:v>
                </c:pt>
                <c:pt idx="7059">
                  <c:v>#N/A</c:v>
                </c:pt>
                <c:pt idx="7060">
                  <c:v>#N/A</c:v>
                </c:pt>
                <c:pt idx="7061">
                  <c:v>#N/A</c:v>
                </c:pt>
                <c:pt idx="7062">
                  <c:v>#N/A</c:v>
                </c:pt>
                <c:pt idx="7063">
                  <c:v>#N/A</c:v>
                </c:pt>
                <c:pt idx="7064">
                  <c:v>#N/A</c:v>
                </c:pt>
                <c:pt idx="7065">
                  <c:v>#N/A</c:v>
                </c:pt>
                <c:pt idx="7066">
                  <c:v>#N/A</c:v>
                </c:pt>
                <c:pt idx="7067">
                  <c:v>#N/A</c:v>
                </c:pt>
                <c:pt idx="7068">
                  <c:v>#N/A</c:v>
                </c:pt>
                <c:pt idx="7069">
                  <c:v>#N/A</c:v>
                </c:pt>
                <c:pt idx="7070">
                  <c:v>#N/A</c:v>
                </c:pt>
                <c:pt idx="7071">
                  <c:v>#N/A</c:v>
                </c:pt>
                <c:pt idx="7072">
                  <c:v>#N/A</c:v>
                </c:pt>
                <c:pt idx="7073">
                  <c:v>#N/A</c:v>
                </c:pt>
                <c:pt idx="7074">
                  <c:v>#N/A</c:v>
                </c:pt>
                <c:pt idx="7075">
                  <c:v>#N/A</c:v>
                </c:pt>
                <c:pt idx="7076">
                  <c:v>#N/A</c:v>
                </c:pt>
                <c:pt idx="7077">
                  <c:v>#N/A</c:v>
                </c:pt>
                <c:pt idx="7078">
                  <c:v>#N/A</c:v>
                </c:pt>
                <c:pt idx="7079">
                  <c:v>#N/A</c:v>
                </c:pt>
                <c:pt idx="7080">
                  <c:v>#N/A</c:v>
                </c:pt>
                <c:pt idx="7081">
                  <c:v>#N/A</c:v>
                </c:pt>
                <c:pt idx="7082">
                  <c:v>#N/A</c:v>
                </c:pt>
                <c:pt idx="7083">
                  <c:v>#N/A</c:v>
                </c:pt>
                <c:pt idx="7084">
                  <c:v>#N/A</c:v>
                </c:pt>
                <c:pt idx="7085">
                  <c:v>#N/A</c:v>
                </c:pt>
                <c:pt idx="7086">
                  <c:v>#N/A</c:v>
                </c:pt>
                <c:pt idx="7087">
                  <c:v>#N/A</c:v>
                </c:pt>
                <c:pt idx="7088">
                  <c:v>#N/A</c:v>
                </c:pt>
                <c:pt idx="7089">
                  <c:v>#N/A</c:v>
                </c:pt>
                <c:pt idx="7090">
                  <c:v>#N/A</c:v>
                </c:pt>
                <c:pt idx="7091">
                  <c:v>#N/A</c:v>
                </c:pt>
                <c:pt idx="7092">
                  <c:v>#N/A</c:v>
                </c:pt>
                <c:pt idx="7093">
                  <c:v>#N/A</c:v>
                </c:pt>
                <c:pt idx="7094">
                  <c:v>#N/A</c:v>
                </c:pt>
                <c:pt idx="7095">
                  <c:v>#N/A</c:v>
                </c:pt>
                <c:pt idx="7096">
                  <c:v>#N/A</c:v>
                </c:pt>
                <c:pt idx="7097">
                  <c:v>#N/A</c:v>
                </c:pt>
                <c:pt idx="7098">
                  <c:v>#N/A</c:v>
                </c:pt>
                <c:pt idx="7099">
                  <c:v>#N/A</c:v>
                </c:pt>
                <c:pt idx="7100">
                  <c:v>#N/A</c:v>
                </c:pt>
                <c:pt idx="7101">
                  <c:v>#N/A</c:v>
                </c:pt>
                <c:pt idx="7102">
                  <c:v>#N/A</c:v>
                </c:pt>
                <c:pt idx="7103">
                  <c:v>#N/A</c:v>
                </c:pt>
                <c:pt idx="7104">
                  <c:v>#N/A</c:v>
                </c:pt>
                <c:pt idx="7105">
                  <c:v>#N/A</c:v>
                </c:pt>
                <c:pt idx="7106">
                  <c:v>#N/A</c:v>
                </c:pt>
                <c:pt idx="7107">
                  <c:v>#N/A</c:v>
                </c:pt>
                <c:pt idx="7108">
                  <c:v>#N/A</c:v>
                </c:pt>
                <c:pt idx="7109">
                  <c:v>#N/A</c:v>
                </c:pt>
                <c:pt idx="7110">
                  <c:v>#N/A</c:v>
                </c:pt>
                <c:pt idx="7111">
                  <c:v>#N/A</c:v>
                </c:pt>
                <c:pt idx="7112">
                  <c:v>#N/A</c:v>
                </c:pt>
                <c:pt idx="7113">
                  <c:v>#N/A</c:v>
                </c:pt>
                <c:pt idx="7114">
                  <c:v>#N/A</c:v>
                </c:pt>
                <c:pt idx="7115">
                  <c:v>#N/A</c:v>
                </c:pt>
                <c:pt idx="7116">
                  <c:v>#N/A</c:v>
                </c:pt>
                <c:pt idx="7117">
                  <c:v>#N/A</c:v>
                </c:pt>
                <c:pt idx="7118">
                  <c:v>#N/A</c:v>
                </c:pt>
                <c:pt idx="7119">
                  <c:v>#N/A</c:v>
                </c:pt>
                <c:pt idx="7120">
                  <c:v>#N/A</c:v>
                </c:pt>
                <c:pt idx="7121">
                  <c:v>#N/A</c:v>
                </c:pt>
                <c:pt idx="7122">
                  <c:v>#N/A</c:v>
                </c:pt>
                <c:pt idx="7123">
                  <c:v>#N/A</c:v>
                </c:pt>
                <c:pt idx="7124">
                  <c:v>#N/A</c:v>
                </c:pt>
                <c:pt idx="7125">
                  <c:v>#N/A</c:v>
                </c:pt>
                <c:pt idx="7126">
                  <c:v>#N/A</c:v>
                </c:pt>
                <c:pt idx="7127">
                  <c:v>#N/A</c:v>
                </c:pt>
                <c:pt idx="7128">
                  <c:v>#N/A</c:v>
                </c:pt>
                <c:pt idx="7129">
                  <c:v>#N/A</c:v>
                </c:pt>
                <c:pt idx="7130">
                  <c:v>#N/A</c:v>
                </c:pt>
                <c:pt idx="7131">
                  <c:v>#N/A</c:v>
                </c:pt>
                <c:pt idx="7132">
                  <c:v>#N/A</c:v>
                </c:pt>
                <c:pt idx="7133">
                  <c:v>#N/A</c:v>
                </c:pt>
                <c:pt idx="7134">
                  <c:v>#N/A</c:v>
                </c:pt>
                <c:pt idx="7135">
                  <c:v>#N/A</c:v>
                </c:pt>
                <c:pt idx="7136">
                  <c:v>#N/A</c:v>
                </c:pt>
                <c:pt idx="7137">
                  <c:v>#N/A</c:v>
                </c:pt>
                <c:pt idx="7138">
                  <c:v>#N/A</c:v>
                </c:pt>
                <c:pt idx="7139">
                  <c:v>#N/A</c:v>
                </c:pt>
                <c:pt idx="7140">
                  <c:v>#N/A</c:v>
                </c:pt>
                <c:pt idx="7141">
                  <c:v>#N/A</c:v>
                </c:pt>
                <c:pt idx="7142">
                  <c:v>#N/A</c:v>
                </c:pt>
                <c:pt idx="7143">
                  <c:v>#N/A</c:v>
                </c:pt>
                <c:pt idx="7144">
                  <c:v>#N/A</c:v>
                </c:pt>
                <c:pt idx="7145">
                  <c:v>#N/A</c:v>
                </c:pt>
                <c:pt idx="7146">
                  <c:v>#N/A</c:v>
                </c:pt>
                <c:pt idx="7147">
                  <c:v>#N/A</c:v>
                </c:pt>
                <c:pt idx="7148">
                  <c:v>#N/A</c:v>
                </c:pt>
                <c:pt idx="7149">
                  <c:v>#N/A</c:v>
                </c:pt>
                <c:pt idx="7150">
                  <c:v>#N/A</c:v>
                </c:pt>
                <c:pt idx="7151">
                  <c:v>#N/A</c:v>
                </c:pt>
                <c:pt idx="7152">
                  <c:v>#N/A</c:v>
                </c:pt>
                <c:pt idx="7153">
                  <c:v>#N/A</c:v>
                </c:pt>
                <c:pt idx="7154">
                  <c:v>#N/A</c:v>
                </c:pt>
                <c:pt idx="7155">
                  <c:v>#N/A</c:v>
                </c:pt>
                <c:pt idx="7156">
                  <c:v>#N/A</c:v>
                </c:pt>
                <c:pt idx="7157">
                  <c:v>#N/A</c:v>
                </c:pt>
                <c:pt idx="7158">
                  <c:v>#N/A</c:v>
                </c:pt>
                <c:pt idx="7159">
                  <c:v>#N/A</c:v>
                </c:pt>
                <c:pt idx="7160">
                  <c:v>#N/A</c:v>
                </c:pt>
                <c:pt idx="7161">
                  <c:v>#N/A</c:v>
                </c:pt>
                <c:pt idx="7162">
                  <c:v>#N/A</c:v>
                </c:pt>
                <c:pt idx="7163">
                  <c:v>#N/A</c:v>
                </c:pt>
                <c:pt idx="7164">
                  <c:v>#N/A</c:v>
                </c:pt>
                <c:pt idx="7165">
                  <c:v>#N/A</c:v>
                </c:pt>
                <c:pt idx="7166">
                  <c:v>#N/A</c:v>
                </c:pt>
                <c:pt idx="7167">
                  <c:v>#N/A</c:v>
                </c:pt>
                <c:pt idx="7168">
                  <c:v>#N/A</c:v>
                </c:pt>
                <c:pt idx="7169">
                  <c:v>#N/A</c:v>
                </c:pt>
                <c:pt idx="7170">
                  <c:v>#N/A</c:v>
                </c:pt>
                <c:pt idx="7171">
                  <c:v>#N/A</c:v>
                </c:pt>
                <c:pt idx="7172">
                  <c:v>#N/A</c:v>
                </c:pt>
                <c:pt idx="7173">
                  <c:v>#N/A</c:v>
                </c:pt>
                <c:pt idx="7174">
                  <c:v>#N/A</c:v>
                </c:pt>
                <c:pt idx="7175">
                  <c:v>#N/A</c:v>
                </c:pt>
                <c:pt idx="7176">
                  <c:v>#N/A</c:v>
                </c:pt>
                <c:pt idx="7177">
                  <c:v>#N/A</c:v>
                </c:pt>
                <c:pt idx="7178">
                  <c:v>#N/A</c:v>
                </c:pt>
                <c:pt idx="7179">
                  <c:v>#N/A</c:v>
                </c:pt>
                <c:pt idx="7180">
                  <c:v>#N/A</c:v>
                </c:pt>
                <c:pt idx="7181">
                  <c:v>#N/A</c:v>
                </c:pt>
                <c:pt idx="7182">
                  <c:v>#N/A</c:v>
                </c:pt>
                <c:pt idx="7183">
                  <c:v>#N/A</c:v>
                </c:pt>
                <c:pt idx="7184">
                  <c:v>#N/A</c:v>
                </c:pt>
                <c:pt idx="7185">
                  <c:v>#N/A</c:v>
                </c:pt>
                <c:pt idx="7186">
                  <c:v>#N/A</c:v>
                </c:pt>
                <c:pt idx="7187">
                  <c:v>#N/A</c:v>
                </c:pt>
                <c:pt idx="7188">
                  <c:v>#N/A</c:v>
                </c:pt>
                <c:pt idx="7189">
                  <c:v>#N/A</c:v>
                </c:pt>
                <c:pt idx="7190">
                  <c:v>#N/A</c:v>
                </c:pt>
                <c:pt idx="7191">
                  <c:v>#N/A</c:v>
                </c:pt>
                <c:pt idx="7192">
                  <c:v>#N/A</c:v>
                </c:pt>
                <c:pt idx="7193">
                  <c:v>#N/A</c:v>
                </c:pt>
                <c:pt idx="7194">
                  <c:v>#N/A</c:v>
                </c:pt>
                <c:pt idx="7195">
                  <c:v>#N/A</c:v>
                </c:pt>
                <c:pt idx="7196">
                  <c:v>#N/A</c:v>
                </c:pt>
                <c:pt idx="7197">
                  <c:v>#N/A</c:v>
                </c:pt>
                <c:pt idx="7198">
                  <c:v>#N/A</c:v>
                </c:pt>
                <c:pt idx="7199">
                  <c:v>#N/A</c:v>
                </c:pt>
                <c:pt idx="7200">
                  <c:v>#N/A</c:v>
                </c:pt>
                <c:pt idx="7201">
                  <c:v>#N/A</c:v>
                </c:pt>
                <c:pt idx="7202">
                  <c:v>#N/A</c:v>
                </c:pt>
                <c:pt idx="7203">
                  <c:v>#N/A</c:v>
                </c:pt>
                <c:pt idx="7204">
                  <c:v>#N/A</c:v>
                </c:pt>
                <c:pt idx="7205">
                  <c:v>#N/A</c:v>
                </c:pt>
                <c:pt idx="7206">
                  <c:v>#N/A</c:v>
                </c:pt>
                <c:pt idx="7207">
                  <c:v>#N/A</c:v>
                </c:pt>
                <c:pt idx="7208">
                  <c:v>#N/A</c:v>
                </c:pt>
                <c:pt idx="7209">
                  <c:v>#N/A</c:v>
                </c:pt>
                <c:pt idx="7210">
                  <c:v>#N/A</c:v>
                </c:pt>
                <c:pt idx="7211">
                  <c:v>#N/A</c:v>
                </c:pt>
                <c:pt idx="7212">
                  <c:v>#N/A</c:v>
                </c:pt>
                <c:pt idx="7213">
                  <c:v>#N/A</c:v>
                </c:pt>
                <c:pt idx="7214">
                  <c:v>#N/A</c:v>
                </c:pt>
                <c:pt idx="7215">
                  <c:v>#N/A</c:v>
                </c:pt>
                <c:pt idx="7216">
                  <c:v>#N/A</c:v>
                </c:pt>
                <c:pt idx="7217">
                  <c:v>#N/A</c:v>
                </c:pt>
                <c:pt idx="7218">
                  <c:v>#N/A</c:v>
                </c:pt>
                <c:pt idx="7219">
                  <c:v>#N/A</c:v>
                </c:pt>
                <c:pt idx="7220">
                  <c:v>#N/A</c:v>
                </c:pt>
                <c:pt idx="7221">
                  <c:v>#N/A</c:v>
                </c:pt>
                <c:pt idx="7222">
                  <c:v>#N/A</c:v>
                </c:pt>
                <c:pt idx="7223">
                  <c:v>#N/A</c:v>
                </c:pt>
                <c:pt idx="7224">
                  <c:v>#N/A</c:v>
                </c:pt>
                <c:pt idx="7225">
                  <c:v>#N/A</c:v>
                </c:pt>
                <c:pt idx="7226">
                  <c:v>#N/A</c:v>
                </c:pt>
                <c:pt idx="7227">
                  <c:v>#N/A</c:v>
                </c:pt>
                <c:pt idx="7228">
                  <c:v>#N/A</c:v>
                </c:pt>
                <c:pt idx="7229">
                  <c:v>#N/A</c:v>
                </c:pt>
                <c:pt idx="7230">
                  <c:v>#N/A</c:v>
                </c:pt>
                <c:pt idx="7231">
                  <c:v>#N/A</c:v>
                </c:pt>
                <c:pt idx="7232">
                  <c:v>#N/A</c:v>
                </c:pt>
                <c:pt idx="7233">
                  <c:v>#N/A</c:v>
                </c:pt>
                <c:pt idx="7234">
                  <c:v>#N/A</c:v>
                </c:pt>
                <c:pt idx="7235">
                  <c:v>#N/A</c:v>
                </c:pt>
                <c:pt idx="7236">
                  <c:v>#N/A</c:v>
                </c:pt>
                <c:pt idx="7237">
                  <c:v>#N/A</c:v>
                </c:pt>
                <c:pt idx="7238">
                  <c:v>#N/A</c:v>
                </c:pt>
                <c:pt idx="7239">
                  <c:v>#N/A</c:v>
                </c:pt>
                <c:pt idx="7240">
                  <c:v>#N/A</c:v>
                </c:pt>
                <c:pt idx="7241">
                  <c:v>#N/A</c:v>
                </c:pt>
                <c:pt idx="7242">
                  <c:v>#N/A</c:v>
                </c:pt>
                <c:pt idx="7243">
                  <c:v>#N/A</c:v>
                </c:pt>
                <c:pt idx="7244">
                  <c:v>#N/A</c:v>
                </c:pt>
                <c:pt idx="7245">
                  <c:v>#N/A</c:v>
                </c:pt>
                <c:pt idx="7246">
                  <c:v>#N/A</c:v>
                </c:pt>
                <c:pt idx="7247">
                  <c:v>#N/A</c:v>
                </c:pt>
                <c:pt idx="7248">
                  <c:v>#N/A</c:v>
                </c:pt>
                <c:pt idx="7249">
                  <c:v>#N/A</c:v>
                </c:pt>
                <c:pt idx="7250">
                  <c:v>#N/A</c:v>
                </c:pt>
                <c:pt idx="7251">
                  <c:v>#N/A</c:v>
                </c:pt>
                <c:pt idx="7252">
                  <c:v>#N/A</c:v>
                </c:pt>
                <c:pt idx="7253">
                  <c:v>#N/A</c:v>
                </c:pt>
                <c:pt idx="7254">
                  <c:v>#N/A</c:v>
                </c:pt>
                <c:pt idx="7255">
                  <c:v>#N/A</c:v>
                </c:pt>
                <c:pt idx="7256">
                  <c:v>#N/A</c:v>
                </c:pt>
                <c:pt idx="7257">
                  <c:v>#N/A</c:v>
                </c:pt>
                <c:pt idx="7258">
                  <c:v>#N/A</c:v>
                </c:pt>
                <c:pt idx="7259">
                  <c:v>#N/A</c:v>
                </c:pt>
                <c:pt idx="7260">
                  <c:v>#N/A</c:v>
                </c:pt>
                <c:pt idx="7261">
                  <c:v>#N/A</c:v>
                </c:pt>
                <c:pt idx="7262">
                  <c:v>#N/A</c:v>
                </c:pt>
                <c:pt idx="7263">
                  <c:v>#N/A</c:v>
                </c:pt>
                <c:pt idx="7264">
                  <c:v>#N/A</c:v>
                </c:pt>
                <c:pt idx="7265">
                  <c:v>#N/A</c:v>
                </c:pt>
                <c:pt idx="7266">
                  <c:v>#N/A</c:v>
                </c:pt>
                <c:pt idx="7267">
                  <c:v>#N/A</c:v>
                </c:pt>
                <c:pt idx="7268">
                  <c:v>#N/A</c:v>
                </c:pt>
                <c:pt idx="7269">
                  <c:v>#N/A</c:v>
                </c:pt>
                <c:pt idx="7270">
                  <c:v>#N/A</c:v>
                </c:pt>
                <c:pt idx="7271">
                  <c:v>#N/A</c:v>
                </c:pt>
                <c:pt idx="7272">
                  <c:v>#N/A</c:v>
                </c:pt>
                <c:pt idx="7273">
                  <c:v>#N/A</c:v>
                </c:pt>
                <c:pt idx="7274">
                  <c:v>#N/A</c:v>
                </c:pt>
                <c:pt idx="7275">
                  <c:v>#N/A</c:v>
                </c:pt>
                <c:pt idx="7276">
                  <c:v>#N/A</c:v>
                </c:pt>
                <c:pt idx="7277">
                  <c:v>#N/A</c:v>
                </c:pt>
                <c:pt idx="7278">
                  <c:v>#N/A</c:v>
                </c:pt>
                <c:pt idx="7279">
                  <c:v>#N/A</c:v>
                </c:pt>
                <c:pt idx="7280">
                  <c:v>#N/A</c:v>
                </c:pt>
                <c:pt idx="7281">
                  <c:v>#N/A</c:v>
                </c:pt>
                <c:pt idx="7282">
                  <c:v>#N/A</c:v>
                </c:pt>
                <c:pt idx="7283">
                  <c:v>#N/A</c:v>
                </c:pt>
                <c:pt idx="7284">
                  <c:v>#N/A</c:v>
                </c:pt>
                <c:pt idx="7285">
                  <c:v>#N/A</c:v>
                </c:pt>
                <c:pt idx="7286">
                  <c:v>#N/A</c:v>
                </c:pt>
                <c:pt idx="7287">
                  <c:v>#N/A</c:v>
                </c:pt>
                <c:pt idx="7288">
                  <c:v>#N/A</c:v>
                </c:pt>
                <c:pt idx="7289">
                  <c:v>#N/A</c:v>
                </c:pt>
                <c:pt idx="7290">
                  <c:v>#N/A</c:v>
                </c:pt>
                <c:pt idx="7291">
                  <c:v>#N/A</c:v>
                </c:pt>
                <c:pt idx="7292">
                  <c:v>#N/A</c:v>
                </c:pt>
                <c:pt idx="7293">
                  <c:v>#N/A</c:v>
                </c:pt>
                <c:pt idx="7294">
                  <c:v>#N/A</c:v>
                </c:pt>
                <c:pt idx="7295">
                  <c:v>#N/A</c:v>
                </c:pt>
                <c:pt idx="7296">
                  <c:v>#N/A</c:v>
                </c:pt>
                <c:pt idx="7297">
                  <c:v>#N/A</c:v>
                </c:pt>
                <c:pt idx="7298">
                  <c:v>#N/A</c:v>
                </c:pt>
                <c:pt idx="7299">
                  <c:v>#N/A</c:v>
                </c:pt>
                <c:pt idx="7300">
                  <c:v>#N/A</c:v>
                </c:pt>
                <c:pt idx="7301">
                  <c:v>#N/A</c:v>
                </c:pt>
                <c:pt idx="7302">
                  <c:v>#N/A</c:v>
                </c:pt>
                <c:pt idx="7303">
                  <c:v>#N/A</c:v>
                </c:pt>
                <c:pt idx="7304">
                  <c:v>#N/A</c:v>
                </c:pt>
                <c:pt idx="7305">
                  <c:v>#N/A</c:v>
                </c:pt>
                <c:pt idx="7306">
                  <c:v>#N/A</c:v>
                </c:pt>
                <c:pt idx="7307">
                  <c:v>#N/A</c:v>
                </c:pt>
                <c:pt idx="7308">
                  <c:v>#N/A</c:v>
                </c:pt>
                <c:pt idx="7309">
                  <c:v>#N/A</c:v>
                </c:pt>
                <c:pt idx="7310">
                  <c:v>#N/A</c:v>
                </c:pt>
                <c:pt idx="7311">
                  <c:v>#N/A</c:v>
                </c:pt>
                <c:pt idx="7312">
                  <c:v>#N/A</c:v>
                </c:pt>
                <c:pt idx="7313">
                  <c:v>#N/A</c:v>
                </c:pt>
                <c:pt idx="7314">
                  <c:v>#N/A</c:v>
                </c:pt>
                <c:pt idx="7315">
                  <c:v>#N/A</c:v>
                </c:pt>
                <c:pt idx="7316">
                  <c:v>#N/A</c:v>
                </c:pt>
                <c:pt idx="7317">
                  <c:v>#N/A</c:v>
                </c:pt>
                <c:pt idx="7318">
                  <c:v>#N/A</c:v>
                </c:pt>
                <c:pt idx="7319">
                  <c:v>#N/A</c:v>
                </c:pt>
                <c:pt idx="7320">
                  <c:v>#N/A</c:v>
                </c:pt>
                <c:pt idx="7321">
                  <c:v>#N/A</c:v>
                </c:pt>
                <c:pt idx="7322">
                  <c:v>#N/A</c:v>
                </c:pt>
                <c:pt idx="7323">
                  <c:v>#N/A</c:v>
                </c:pt>
                <c:pt idx="7324">
                  <c:v>#N/A</c:v>
                </c:pt>
                <c:pt idx="7325">
                  <c:v>#N/A</c:v>
                </c:pt>
                <c:pt idx="7326">
                  <c:v>#N/A</c:v>
                </c:pt>
                <c:pt idx="7327">
                  <c:v>#N/A</c:v>
                </c:pt>
                <c:pt idx="7328">
                  <c:v>#N/A</c:v>
                </c:pt>
                <c:pt idx="7329">
                  <c:v>#N/A</c:v>
                </c:pt>
                <c:pt idx="7330">
                  <c:v>#N/A</c:v>
                </c:pt>
                <c:pt idx="7331">
                  <c:v>#N/A</c:v>
                </c:pt>
                <c:pt idx="7332">
                  <c:v>#N/A</c:v>
                </c:pt>
                <c:pt idx="7333">
                  <c:v>#N/A</c:v>
                </c:pt>
                <c:pt idx="7334">
                  <c:v>#N/A</c:v>
                </c:pt>
                <c:pt idx="7335">
                  <c:v>#N/A</c:v>
                </c:pt>
                <c:pt idx="7336">
                  <c:v>#N/A</c:v>
                </c:pt>
                <c:pt idx="7337">
                  <c:v>#N/A</c:v>
                </c:pt>
                <c:pt idx="7338">
                  <c:v>#N/A</c:v>
                </c:pt>
                <c:pt idx="7339">
                  <c:v>#N/A</c:v>
                </c:pt>
                <c:pt idx="7340">
                  <c:v>#N/A</c:v>
                </c:pt>
                <c:pt idx="7341">
                  <c:v>#N/A</c:v>
                </c:pt>
                <c:pt idx="7342">
                  <c:v>#N/A</c:v>
                </c:pt>
                <c:pt idx="7343">
                  <c:v>#N/A</c:v>
                </c:pt>
                <c:pt idx="7344">
                  <c:v>#N/A</c:v>
                </c:pt>
                <c:pt idx="7345">
                  <c:v>#N/A</c:v>
                </c:pt>
                <c:pt idx="7346">
                  <c:v>#N/A</c:v>
                </c:pt>
                <c:pt idx="7347">
                  <c:v>#N/A</c:v>
                </c:pt>
                <c:pt idx="7348">
                  <c:v>#N/A</c:v>
                </c:pt>
                <c:pt idx="7349">
                  <c:v>#N/A</c:v>
                </c:pt>
                <c:pt idx="7350">
                  <c:v>#N/A</c:v>
                </c:pt>
                <c:pt idx="7351">
                  <c:v>#N/A</c:v>
                </c:pt>
                <c:pt idx="7352">
                  <c:v>#N/A</c:v>
                </c:pt>
                <c:pt idx="7353">
                  <c:v>#N/A</c:v>
                </c:pt>
                <c:pt idx="7354">
                  <c:v>#N/A</c:v>
                </c:pt>
                <c:pt idx="7355">
                  <c:v>#N/A</c:v>
                </c:pt>
                <c:pt idx="7356">
                  <c:v>#N/A</c:v>
                </c:pt>
                <c:pt idx="7357">
                  <c:v>#N/A</c:v>
                </c:pt>
                <c:pt idx="7358">
                  <c:v>#N/A</c:v>
                </c:pt>
                <c:pt idx="7359">
                  <c:v>#N/A</c:v>
                </c:pt>
                <c:pt idx="7360">
                  <c:v>#N/A</c:v>
                </c:pt>
                <c:pt idx="7361">
                  <c:v>#N/A</c:v>
                </c:pt>
                <c:pt idx="7362">
                  <c:v>#N/A</c:v>
                </c:pt>
                <c:pt idx="7363">
                  <c:v>#N/A</c:v>
                </c:pt>
                <c:pt idx="7364">
                  <c:v>#N/A</c:v>
                </c:pt>
                <c:pt idx="7365">
                  <c:v>#N/A</c:v>
                </c:pt>
                <c:pt idx="7366">
                  <c:v>#N/A</c:v>
                </c:pt>
                <c:pt idx="7367">
                  <c:v>#N/A</c:v>
                </c:pt>
                <c:pt idx="7368">
                  <c:v>#N/A</c:v>
                </c:pt>
                <c:pt idx="7369">
                  <c:v>#N/A</c:v>
                </c:pt>
                <c:pt idx="7370">
                  <c:v>#N/A</c:v>
                </c:pt>
                <c:pt idx="7371">
                  <c:v>#N/A</c:v>
                </c:pt>
                <c:pt idx="7372">
                  <c:v>#N/A</c:v>
                </c:pt>
                <c:pt idx="7373">
                  <c:v>#N/A</c:v>
                </c:pt>
                <c:pt idx="7374">
                  <c:v>#N/A</c:v>
                </c:pt>
                <c:pt idx="7375">
                  <c:v>#N/A</c:v>
                </c:pt>
                <c:pt idx="7376">
                  <c:v>#N/A</c:v>
                </c:pt>
                <c:pt idx="7377">
                  <c:v>#N/A</c:v>
                </c:pt>
                <c:pt idx="7378">
                  <c:v>#N/A</c:v>
                </c:pt>
                <c:pt idx="7379">
                  <c:v>#N/A</c:v>
                </c:pt>
                <c:pt idx="7380">
                  <c:v>#N/A</c:v>
                </c:pt>
                <c:pt idx="7381">
                  <c:v>#N/A</c:v>
                </c:pt>
                <c:pt idx="7382">
                  <c:v>#N/A</c:v>
                </c:pt>
                <c:pt idx="7383">
                  <c:v>#N/A</c:v>
                </c:pt>
                <c:pt idx="7384">
                  <c:v>#N/A</c:v>
                </c:pt>
                <c:pt idx="7385">
                  <c:v>#N/A</c:v>
                </c:pt>
                <c:pt idx="7386">
                  <c:v>#N/A</c:v>
                </c:pt>
                <c:pt idx="7387">
                  <c:v>#N/A</c:v>
                </c:pt>
                <c:pt idx="7388">
                  <c:v>#N/A</c:v>
                </c:pt>
                <c:pt idx="7389">
                  <c:v>#N/A</c:v>
                </c:pt>
                <c:pt idx="7390">
                  <c:v>#N/A</c:v>
                </c:pt>
                <c:pt idx="7391">
                  <c:v>#N/A</c:v>
                </c:pt>
                <c:pt idx="7392">
                  <c:v>#N/A</c:v>
                </c:pt>
                <c:pt idx="7393">
                  <c:v>#N/A</c:v>
                </c:pt>
                <c:pt idx="7394">
                  <c:v>#N/A</c:v>
                </c:pt>
                <c:pt idx="7395">
                  <c:v>#N/A</c:v>
                </c:pt>
                <c:pt idx="7396">
                  <c:v>#N/A</c:v>
                </c:pt>
                <c:pt idx="7397">
                  <c:v>#N/A</c:v>
                </c:pt>
                <c:pt idx="7398">
                  <c:v>#N/A</c:v>
                </c:pt>
                <c:pt idx="7399">
                  <c:v>#N/A</c:v>
                </c:pt>
                <c:pt idx="7400">
                  <c:v>#N/A</c:v>
                </c:pt>
                <c:pt idx="7401">
                  <c:v>#N/A</c:v>
                </c:pt>
                <c:pt idx="7402">
                  <c:v>#N/A</c:v>
                </c:pt>
                <c:pt idx="7403">
                  <c:v>#N/A</c:v>
                </c:pt>
                <c:pt idx="7404">
                  <c:v>#N/A</c:v>
                </c:pt>
                <c:pt idx="7405">
                  <c:v>#N/A</c:v>
                </c:pt>
                <c:pt idx="7406">
                  <c:v>#N/A</c:v>
                </c:pt>
                <c:pt idx="7407">
                  <c:v>#N/A</c:v>
                </c:pt>
                <c:pt idx="7408">
                  <c:v>#N/A</c:v>
                </c:pt>
                <c:pt idx="7409">
                  <c:v>#N/A</c:v>
                </c:pt>
                <c:pt idx="7410">
                  <c:v>#N/A</c:v>
                </c:pt>
                <c:pt idx="7411">
                  <c:v>#N/A</c:v>
                </c:pt>
                <c:pt idx="7412">
                  <c:v>#N/A</c:v>
                </c:pt>
                <c:pt idx="7413">
                  <c:v>#N/A</c:v>
                </c:pt>
                <c:pt idx="7414">
                  <c:v>#N/A</c:v>
                </c:pt>
                <c:pt idx="7415">
                  <c:v>#N/A</c:v>
                </c:pt>
                <c:pt idx="7416">
                  <c:v>#N/A</c:v>
                </c:pt>
                <c:pt idx="7417">
                  <c:v>#N/A</c:v>
                </c:pt>
                <c:pt idx="7418">
                  <c:v>#N/A</c:v>
                </c:pt>
                <c:pt idx="7419">
                  <c:v>#N/A</c:v>
                </c:pt>
                <c:pt idx="7420">
                  <c:v>#N/A</c:v>
                </c:pt>
                <c:pt idx="7421">
                  <c:v>#N/A</c:v>
                </c:pt>
                <c:pt idx="7422">
                  <c:v>#N/A</c:v>
                </c:pt>
                <c:pt idx="7423">
                  <c:v>#N/A</c:v>
                </c:pt>
                <c:pt idx="7424">
                  <c:v>#N/A</c:v>
                </c:pt>
                <c:pt idx="7425">
                  <c:v>#N/A</c:v>
                </c:pt>
                <c:pt idx="7426">
                  <c:v>#N/A</c:v>
                </c:pt>
                <c:pt idx="7427">
                  <c:v>#N/A</c:v>
                </c:pt>
                <c:pt idx="7428">
                  <c:v>#N/A</c:v>
                </c:pt>
                <c:pt idx="7429">
                  <c:v>#N/A</c:v>
                </c:pt>
                <c:pt idx="7430">
                  <c:v>#N/A</c:v>
                </c:pt>
                <c:pt idx="7431">
                  <c:v>#N/A</c:v>
                </c:pt>
                <c:pt idx="7432">
                  <c:v>#N/A</c:v>
                </c:pt>
                <c:pt idx="7433">
                  <c:v>#N/A</c:v>
                </c:pt>
                <c:pt idx="7434">
                  <c:v>#N/A</c:v>
                </c:pt>
                <c:pt idx="7435">
                  <c:v>#N/A</c:v>
                </c:pt>
                <c:pt idx="7436">
                  <c:v>#N/A</c:v>
                </c:pt>
                <c:pt idx="7437">
                  <c:v>#N/A</c:v>
                </c:pt>
                <c:pt idx="7438">
                  <c:v>#N/A</c:v>
                </c:pt>
                <c:pt idx="7439">
                  <c:v>#N/A</c:v>
                </c:pt>
                <c:pt idx="7440">
                  <c:v>#N/A</c:v>
                </c:pt>
                <c:pt idx="7441">
                  <c:v>#N/A</c:v>
                </c:pt>
                <c:pt idx="7442">
                  <c:v>#N/A</c:v>
                </c:pt>
                <c:pt idx="7443">
                  <c:v>#N/A</c:v>
                </c:pt>
                <c:pt idx="7444">
                  <c:v>#N/A</c:v>
                </c:pt>
                <c:pt idx="7445">
                  <c:v>#N/A</c:v>
                </c:pt>
                <c:pt idx="7446">
                  <c:v>#N/A</c:v>
                </c:pt>
                <c:pt idx="7447">
                  <c:v>#N/A</c:v>
                </c:pt>
                <c:pt idx="7448">
                  <c:v>#N/A</c:v>
                </c:pt>
                <c:pt idx="7449">
                  <c:v>#N/A</c:v>
                </c:pt>
                <c:pt idx="7450">
                  <c:v>#N/A</c:v>
                </c:pt>
                <c:pt idx="7451">
                  <c:v>#N/A</c:v>
                </c:pt>
                <c:pt idx="7452">
                  <c:v>#N/A</c:v>
                </c:pt>
                <c:pt idx="7453">
                  <c:v>#N/A</c:v>
                </c:pt>
                <c:pt idx="7454">
                  <c:v>#N/A</c:v>
                </c:pt>
                <c:pt idx="7455">
                  <c:v>#N/A</c:v>
                </c:pt>
                <c:pt idx="7456">
                  <c:v>#N/A</c:v>
                </c:pt>
                <c:pt idx="7457">
                  <c:v>#N/A</c:v>
                </c:pt>
                <c:pt idx="7458">
                  <c:v>#N/A</c:v>
                </c:pt>
                <c:pt idx="7459">
                  <c:v>#N/A</c:v>
                </c:pt>
                <c:pt idx="7460">
                  <c:v>#N/A</c:v>
                </c:pt>
                <c:pt idx="7461">
                  <c:v>#N/A</c:v>
                </c:pt>
                <c:pt idx="7462">
                  <c:v>#N/A</c:v>
                </c:pt>
                <c:pt idx="7463">
                  <c:v>#N/A</c:v>
                </c:pt>
                <c:pt idx="7464">
                  <c:v>#N/A</c:v>
                </c:pt>
                <c:pt idx="7465">
                  <c:v>#N/A</c:v>
                </c:pt>
                <c:pt idx="7466">
                  <c:v>#N/A</c:v>
                </c:pt>
                <c:pt idx="7467">
                  <c:v>#N/A</c:v>
                </c:pt>
                <c:pt idx="7468">
                  <c:v>#N/A</c:v>
                </c:pt>
                <c:pt idx="7469">
                  <c:v>#N/A</c:v>
                </c:pt>
                <c:pt idx="7470">
                  <c:v>#N/A</c:v>
                </c:pt>
                <c:pt idx="7471">
                  <c:v>#N/A</c:v>
                </c:pt>
                <c:pt idx="7472">
                  <c:v>#N/A</c:v>
                </c:pt>
                <c:pt idx="7473">
                  <c:v>#N/A</c:v>
                </c:pt>
                <c:pt idx="7474">
                  <c:v>#N/A</c:v>
                </c:pt>
                <c:pt idx="7475">
                  <c:v>#N/A</c:v>
                </c:pt>
                <c:pt idx="7476">
                  <c:v>#N/A</c:v>
                </c:pt>
                <c:pt idx="7477">
                  <c:v>#N/A</c:v>
                </c:pt>
                <c:pt idx="7478">
                  <c:v>#N/A</c:v>
                </c:pt>
                <c:pt idx="7479">
                  <c:v>#N/A</c:v>
                </c:pt>
                <c:pt idx="7480">
                  <c:v>#N/A</c:v>
                </c:pt>
                <c:pt idx="7481">
                  <c:v>#N/A</c:v>
                </c:pt>
                <c:pt idx="7482">
                  <c:v>#N/A</c:v>
                </c:pt>
                <c:pt idx="7483">
                  <c:v>#N/A</c:v>
                </c:pt>
                <c:pt idx="7484">
                  <c:v>#N/A</c:v>
                </c:pt>
                <c:pt idx="7485">
                  <c:v>#N/A</c:v>
                </c:pt>
                <c:pt idx="7486">
                  <c:v>#N/A</c:v>
                </c:pt>
                <c:pt idx="7487">
                  <c:v>#N/A</c:v>
                </c:pt>
                <c:pt idx="7488">
                  <c:v>#N/A</c:v>
                </c:pt>
                <c:pt idx="7489">
                  <c:v>#N/A</c:v>
                </c:pt>
                <c:pt idx="7490">
                  <c:v>#N/A</c:v>
                </c:pt>
                <c:pt idx="7491">
                  <c:v>#N/A</c:v>
                </c:pt>
                <c:pt idx="7492">
                  <c:v>#N/A</c:v>
                </c:pt>
                <c:pt idx="7493">
                  <c:v>#N/A</c:v>
                </c:pt>
                <c:pt idx="7494">
                  <c:v>#N/A</c:v>
                </c:pt>
                <c:pt idx="7495">
                  <c:v>#N/A</c:v>
                </c:pt>
                <c:pt idx="7496">
                  <c:v>#N/A</c:v>
                </c:pt>
                <c:pt idx="7497">
                  <c:v>#N/A</c:v>
                </c:pt>
                <c:pt idx="7498">
                  <c:v>#N/A</c:v>
                </c:pt>
                <c:pt idx="7499">
                  <c:v>#N/A</c:v>
                </c:pt>
                <c:pt idx="7500">
                  <c:v>#N/A</c:v>
                </c:pt>
                <c:pt idx="7501">
                  <c:v>#N/A</c:v>
                </c:pt>
                <c:pt idx="7502">
                  <c:v>#N/A</c:v>
                </c:pt>
                <c:pt idx="7503">
                  <c:v>#N/A</c:v>
                </c:pt>
                <c:pt idx="7504">
                  <c:v>#N/A</c:v>
                </c:pt>
                <c:pt idx="7505">
                  <c:v>#N/A</c:v>
                </c:pt>
                <c:pt idx="7506">
                  <c:v>#N/A</c:v>
                </c:pt>
                <c:pt idx="7507">
                  <c:v>#N/A</c:v>
                </c:pt>
                <c:pt idx="7508">
                  <c:v>#N/A</c:v>
                </c:pt>
                <c:pt idx="7509">
                  <c:v>#N/A</c:v>
                </c:pt>
                <c:pt idx="7510">
                  <c:v>#N/A</c:v>
                </c:pt>
                <c:pt idx="7511">
                  <c:v>#N/A</c:v>
                </c:pt>
                <c:pt idx="7512">
                  <c:v>#N/A</c:v>
                </c:pt>
                <c:pt idx="7513">
                  <c:v>#N/A</c:v>
                </c:pt>
                <c:pt idx="7514">
                  <c:v>#N/A</c:v>
                </c:pt>
                <c:pt idx="7515">
                  <c:v>#N/A</c:v>
                </c:pt>
                <c:pt idx="7516">
                  <c:v>#N/A</c:v>
                </c:pt>
                <c:pt idx="7517">
                  <c:v>#N/A</c:v>
                </c:pt>
                <c:pt idx="7518">
                  <c:v>#N/A</c:v>
                </c:pt>
                <c:pt idx="7519">
                  <c:v>#N/A</c:v>
                </c:pt>
                <c:pt idx="7520">
                  <c:v>#N/A</c:v>
                </c:pt>
                <c:pt idx="7521">
                  <c:v>#N/A</c:v>
                </c:pt>
                <c:pt idx="7522">
                  <c:v>#N/A</c:v>
                </c:pt>
                <c:pt idx="7523">
                  <c:v>#N/A</c:v>
                </c:pt>
                <c:pt idx="7524">
                  <c:v>#N/A</c:v>
                </c:pt>
                <c:pt idx="7525">
                  <c:v>#N/A</c:v>
                </c:pt>
                <c:pt idx="7526">
                  <c:v>#N/A</c:v>
                </c:pt>
                <c:pt idx="7527">
                  <c:v>#N/A</c:v>
                </c:pt>
                <c:pt idx="7528">
                  <c:v>#N/A</c:v>
                </c:pt>
                <c:pt idx="7529">
                  <c:v>#N/A</c:v>
                </c:pt>
                <c:pt idx="7530">
                  <c:v>#N/A</c:v>
                </c:pt>
                <c:pt idx="7531">
                  <c:v>#N/A</c:v>
                </c:pt>
                <c:pt idx="7532">
                  <c:v>#N/A</c:v>
                </c:pt>
                <c:pt idx="7533">
                  <c:v>#N/A</c:v>
                </c:pt>
                <c:pt idx="7534">
                  <c:v>#N/A</c:v>
                </c:pt>
                <c:pt idx="7535">
                  <c:v>#N/A</c:v>
                </c:pt>
                <c:pt idx="7536">
                  <c:v>#N/A</c:v>
                </c:pt>
                <c:pt idx="7537">
                  <c:v>#N/A</c:v>
                </c:pt>
                <c:pt idx="7538">
                  <c:v>#N/A</c:v>
                </c:pt>
                <c:pt idx="7539">
                  <c:v>#N/A</c:v>
                </c:pt>
                <c:pt idx="7540">
                  <c:v>#N/A</c:v>
                </c:pt>
                <c:pt idx="7541">
                  <c:v>#N/A</c:v>
                </c:pt>
                <c:pt idx="7542">
                  <c:v>#N/A</c:v>
                </c:pt>
                <c:pt idx="7543">
                  <c:v>#N/A</c:v>
                </c:pt>
                <c:pt idx="7544">
                  <c:v>#N/A</c:v>
                </c:pt>
                <c:pt idx="7545">
                  <c:v>#N/A</c:v>
                </c:pt>
                <c:pt idx="7546">
                  <c:v>#N/A</c:v>
                </c:pt>
                <c:pt idx="7547">
                  <c:v>#N/A</c:v>
                </c:pt>
                <c:pt idx="7548">
                  <c:v>#N/A</c:v>
                </c:pt>
                <c:pt idx="7549">
                  <c:v>#N/A</c:v>
                </c:pt>
                <c:pt idx="7550">
                  <c:v>#N/A</c:v>
                </c:pt>
                <c:pt idx="7551">
                  <c:v>#N/A</c:v>
                </c:pt>
                <c:pt idx="7552">
                  <c:v>#N/A</c:v>
                </c:pt>
                <c:pt idx="7553">
                  <c:v>#N/A</c:v>
                </c:pt>
                <c:pt idx="7554">
                  <c:v>#N/A</c:v>
                </c:pt>
                <c:pt idx="7555">
                  <c:v>#N/A</c:v>
                </c:pt>
                <c:pt idx="7556">
                  <c:v>#N/A</c:v>
                </c:pt>
                <c:pt idx="7557">
                  <c:v>#N/A</c:v>
                </c:pt>
                <c:pt idx="7558">
                  <c:v>#N/A</c:v>
                </c:pt>
                <c:pt idx="7559">
                  <c:v>#N/A</c:v>
                </c:pt>
                <c:pt idx="7560">
                  <c:v>#N/A</c:v>
                </c:pt>
                <c:pt idx="7561">
                  <c:v>#N/A</c:v>
                </c:pt>
                <c:pt idx="7562">
                  <c:v>#N/A</c:v>
                </c:pt>
                <c:pt idx="7563">
                  <c:v>#N/A</c:v>
                </c:pt>
                <c:pt idx="7564">
                  <c:v>#N/A</c:v>
                </c:pt>
                <c:pt idx="7565">
                  <c:v>#N/A</c:v>
                </c:pt>
                <c:pt idx="7566">
                  <c:v>#N/A</c:v>
                </c:pt>
                <c:pt idx="7567">
                  <c:v>#N/A</c:v>
                </c:pt>
                <c:pt idx="7568">
                  <c:v>#N/A</c:v>
                </c:pt>
                <c:pt idx="7569">
                  <c:v>#N/A</c:v>
                </c:pt>
                <c:pt idx="7570">
                  <c:v>#N/A</c:v>
                </c:pt>
                <c:pt idx="7571">
                  <c:v>#N/A</c:v>
                </c:pt>
                <c:pt idx="7572">
                  <c:v>#N/A</c:v>
                </c:pt>
                <c:pt idx="7573">
                  <c:v>#N/A</c:v>
                </c:pt>
                <c:pt idx="7574">
                  <c:v>#N/A</c:v>
                </c:pt>
                <c:pt idx="7575">
                  <c:v>#N/A</c:v>
                </c:pt>
                <c:pt idx="7576">
                  <c:v>#N/A</c:v>
                </c:pt>
                <c:pt idx="7577">
                  <c:v>#N/A</c:v>
                </c:pt>
                <c:pt idx="7578">
                  <c:v>#N/A</c:v>
                </c:pt>
                <c:pt idx="7579">
                  <c:v>#N/A</c:v>
                </c:pt>
                <c:pt idx="7580">
                  <c:v>#N/A</c:v>
                </c:pt>
                <c:pt idx="7581">
                  <c:v>#N/A</c:v>
                </c:pt>
                <c:pt idx="7582">
                  <c:v>#N/A</c:v>
                </c:pt>
                <c:pt idx="7583">
                  <c:v>#N/A</c:v>
                </c:pt>
                <c:pt idx="7584">
                  <c:v>#N/A</c:v>
                </c:pt>
                <c:pt idx="7585">
                  <c:v>#N/A</c:v>
                </c:pt>
                <c:pt idx="7586">
                  <c:v>#N/A</c:v>
                </c:pt>
                <c:pt idx="7587">
                  <c:v>#N/A</c:v>
                </c:pt>
                <c:pt idx="7588">
                  <c:v>#N/A</c:v>
                </c:pt>
                <c:pt idx="7589">
                  <c:v>#N/A</c:v>
                </c:pt>
                <c:pt idx="7590">
                  <c:v>#N/A</c:v>
                </c:pt>
                <c:pt idx="7591">
                  <c:v>#N/A</c:v>
                </c:pt>
                <c:pt idx="7592">
                  <c:v>#N/A</c:v>
                </c:pt>
                <c:pt idx="7593">
                  <c:v>#N/A</c:v>
                </c:pt>
                <c:pt idx="7594">
                  <c:v>#N/A</c:v>
                </c:pt>
                <c:pt idx="7595">
                  <c:v>#N/A</c:v>
                </c:pt>
                <c:pt idx="7596">
                  <c:v>#N/A</c:v>
                </c:pt>
                <c:pt idx="7597">
                  <c:v>#N/A</c:v>
                </c:pt>
                <c:pt idx="7598">
                  <c:v>#N/A</c:v>
                </c:pt>
                <c:pt idx="7599">
                  <c:v>#N/A</c:v>
                </c:pt>
                <c:pt idx="7600">
                  <c:v>#N/A</c:v>
                </c:pt>
                <c:pt idx="7601">
                  <c:v>#N/A</c:v>
                </c:pt>
                <c:pt idx="7602">
                  <c:v>#N/A</c:v>
                </c:pt>
                <c:pt idx="7603">
                  <c:v>#N/A</c:v>
                </c:pt>
                <c:pt idx="7604">
                  <c:v>#N/A</c:v>
                </c:pt>
                <c:pt idx="7605">
                  <c:v>#N/A</c:v>
                </c:pt>
                <c:pt idx="7606">
                  <c:v>#N/A</c:v>
                </c:pt>
                <c:pt idx="7607">
                  <c:v>#N/A</c:v>
                </c:pt>
                <c:pt idx="7608">
                  <c:v>#N/A</c:v>
                </c:pt>
                <c:pt idx="7609">
                  <c:v>#N/A</c:v>
                </c:pt>
                <c:pt idx="7610">
                  <c:v>#N/A</c:v>
                </c:pt>
                <c:pt idx="7611">
                  <c:v>#N/A</c:v>
                </c:pt>
                <c:pt idx="7612">
                  <c:v>#N/A</c:v>
                </c:pt>
                <c:pt idx="7613">
                  <c:v>#N/A</c:v>
                </c:pt>
                <c:pt idx="7614">
                  <c:v>#N/A</c:v>
                </c:pt>
                <c:pt idx="7615">
                  <c:v>#N/A</c:v>
                </c:pt>
                <c:pt idx="7616">
                  <c:v>#N/A</c:v>
                </c:pt>
                <c:pt idx="7617">
                  <c:v>#N/A</c:v>
                </c:pt>
                <c:pt idx="7618">
                  <c:v>#N/A</c:v>
                </c:pt>
                <c:pt idx="7619">
                  <c:v>#N/A</c:v>
                </c:pt>
                <c:pt idx="7620">
                  <c:v>#N/A</c:v>
                </c:pt>
                <c:pt idx="7621">
                  <c:v>#N/A</c:v>
                </c:pt>
                <c:pt idx="7622">
                  <c:v>#N/A</c:v>
                </c:pt>
                <c:pt idx="7623">
                  <c:v>#N/A</c:v>
                </c:pt>
                <c:pt idx="7624">
                  <c:v>#N/A</c:v>
                </c:pt>
                <c:pt idx="7625">
                  <c:v>#N/A</c:v>
                </c:pt>
                <c:pt idx="7626">
                  <c:v>#N/A</c:v>
                </c:pt>
                <c:pt idx="7627">
                  <c:v>#N/A</c:v>
                </c:pt>
                <c:pt idx="7628">
                  <c:v>#N/A</c:v>
                </c:pt>
                <c:pt idx="7629">
                  <c:v>#N/A</c:v>
                </c:pt>
                <c:pt idx="7630">
                  <c:v>#N/A</c:v>
                </c:pt>
                <c:pt idx="7631">
                  <c:v>#N/A</c:v>
                </c:pt>
                <c:pt idx="7632">
                  <c:v>#N/A</c:v>
                </c:pt>
                <c:pt idx="7633">
                  <c:v>#N/A</c:v>
                </c:pt>
                <c:pt idx="7634">
                  <c:v>#N/A</c:v>
                </c:pt>
                <c:pt idx="7635">
                  <c:v>#N/A</c:v>
                </c:pt>
                <c:pt idx="7636">
                  <c:v>#N/A</c:v>
                </c:pt>
                <c:pt idx="7637">
                  <c:v>#N/A</c:v>
                </c:pt>
                <c:pt idx="7638">
                  <c:v>#N/A</c:v>
                </c:pt>
                <c:pt idx="7639">
                  <c:v>#N/A</c:v>
                </c:pt>
                <c:pt idx="7640">
                  <c:v>#N/A</c:v>
                </c:pt>
                <c:pt idx="7641">
                  <c:v>#N/A</c:v>
                </c:pt>
                <c:pt idx="7642">
                  <c:v>#N/A</c:v>
                </c:pt>
                <c:pt idx="7643">
                  <c:v>#N/A</c:v>
                </c:pt>
                <c:pt idx="7644">
                  <c:v>#N/A</c:v>
                </c:pt>
                <c:pt idx="7645">
                  <c:v>#N/A</c:v>
                </c:pt>
                <c:pt idx="7646">
                  <c:v>#N/A</c:v>
                </c:pt>
                <c:pt idx="7647">
                  <c:v>#N/A</c:v>
                </c:pt>
                <c:pt idx="7648">
                  <c:v>#N/A</c:v>
                </c:pt>
                <c:pt idx="7649">
                  <c:v>#N/A</c:v>
                </c:pt>
                <c:pt idx="7650">
                  <c:v>#N/A</c:v>
                </c:pt>
                <c:pt idx="7651">
                  <c:v>#N/A</c:v>
                </c:pt>
                <c:pt idx="7652">
                  <c:v>#N/A</c:v>
                </c:pt>
                <c:pt idx="7653">
                  <c:v>#N/A</c:v>
                </c:pt>
                <c:pt idx="7654">
                  <c:v>#N/A</c:v>
                </c:pt>
                <c:pt idx="7655">
                  <c:v>#N/A</c:v>
                </c:pt>
                <c:pt idx="7656">
                  <c:v>#N/A</c:v>
                </c:pt>
                <c:pt idx="7657">
                  <c:v>#N/A</c:v>
                </c:pt>
                <c:pt idx="7658">
                  <c:v>#N/A</c:v>
                </c:pt>
                <c:pt idx="7659">
                  <c:v>#N/A</c:v>
                </c:pt>
                <c:pt idx="7660">
                  <c:v>#N/A</c:v>
                </c:pt>
                <c:pt idx="7661">
                  <c:v>#N/A</c:v>
                </c:pt>
                <c:pt idx="7662">
                  <c:v>#N/A</c:v>
                </c:pt>
                <c:pt idx="7663">
                  <c:v>#N/A</c:v>
                </c:pt>
                <c:pt idx="7664">
                  <c:v>#N/A</c:v>
                </c:pt>
                <c:pt idx="7665">
                  <c:v>#N/A</c:v>
                </c:pt>
                <c:pt idx="7666">
                  <c:v>#N/A</c:v>
                </c:pt>
                <c:pt idx="7667">
                  <c:v>#N/A</c:v>
                </c:pt>
                <c:pt idx="7668">
                  <c:v>#N/A</c:v>
                </c:pt>
                <c:pt idx="7669">
                  <c:v>#N/A</c:v>
                </c:pt>
                <c:pt idx="7670">
                  <c:v>#N/A</c:v>
                </c:pt>
                <c:pt idx="7671">
                  <c:v>#N/A</c:v>
                </c:pt>
                <c:pt idx="7672">
                  <c:v>#N/A</c:v>
                </c:pt>
                <c:pt idx="7673">
                  <c:v>#N/A</c:v>
                </c:pt>
                <c:pt idx="7674">
                  <c:v>#N/A</c:v>
                </c:pt>
                <c:pt idx="7675">
                  <c:v>#N/A</c:v>
                </c:pt>
                <c:pt idx="7676">
                  <c:v>#N/A</c:v>
                </c:pt>
                <c:pt idx="7677">
                  <c:v>#N/A</c:v>
                </c:pt>
                <c:pt idx="7678">
                  <c:v>#N/A</c:v>
                </c:pt>
                <c:pt idx="7679">
                  <c:v>#N/A</c:v>
                </c:pt>
                <c:pt idx="7680">
                  <c:v>#N/A</c:v>
                </c:pt>
                <c:pt idx="7681">
                  <c:v>#N/A</c:v>
                </c:pt>
                <c:pt idx="7682">
                  <c:v>#N/A</c:v>
                </c:pt>
                <c:pt idx="7683">
                  <c:v>#N/A</c:v>
                </c:pt>
                <c:pt idx="7684">
                  <c:v>#N/A</c:v>
                </c:pt>
                <c:pt idx="7685">
                  <c:v>#N/A</c:v>
                </c:pt>
                <c:pt idx="7686">
                  <c:v>#N/A</c:v>
                </c:pt>
                <c:pt idx="7687">
                  <c:v>#N/A</c:v>
                </c:pt>
                <c:pt idx="7688">
                  <c:v>#N/A</c:v>
                </c:pt>
                <c:pt idx="7689">
                  <c:v>#N/A</c:v>
                </c:pt>
                <c:pt idx="7690">
                  <c:v>#N/A</c:v>
                </c:pt>
                <c:pt idx="7691">
                  <c:v>#N/A</c:v>
                </c:pt>
                <c:pt idx="7692">
                  <c:v>#N/A</c:v>
                </c:pt>
                <c:pt idx="7693">
                  <c:v>#N/A</c:v>
                </c:pt>
                <c:pt idx="7694">
                  <c:v>#N/A</c:v>
                </c:pt>
                <c:pt idx="7695">
                  <c:v>#N/A</c:v>
                </c:pt>
                <c:pt idx="7696">
                  <c:v>#N/A</c:v>
                </c:pt>
                <c:pt idx="7697">
                  <c:v>#N/A</c:v>
                </c:pt>
                <c:pt idx="7698">
                  <c:v>#N/A</c:v>
                </c:pt>
                <c:pt idx="7699">
                  <c:v>#N/A</c:v>
                </c:pt>
                <c:pt idx="7700">
                  <c:v>#N/A</c:v>
                </c:pt>
                <c:pt idx="7701">
                  <c:v>#N/A</c:v>
                </c:pt>
                <c:pt idx="7702">
                  <c:v>#N/A</c:v>
                </c:pt>
                <c:pt idx="7703">
                  <c:v>#N/A</c:v>
                </c:pt>
                <c:pt idx="7704">
                  <c:v>#N/A</c:v>
                </c:pt>
                <c:pt idx="7705">
                  <c:v>#N/A</c:v>
                </c:pt>
                <c:pt idx="7706">
                  <c:v>#N/A</c:v>
                </c:pt>
                <c:pt idx="7707">
                  <c:v>#N/A</c:v>
                </c:pt>
                <c:pt idx="7708">
                  <c:v>#N/A</c:v>
                </c:pt>
                <c:pt idx="7709">
                  <c:v>#N/A</c:v>
                </c:pt>
                <c:pt idx="7710">
                  <c:v>#N/A</c:v>
                </c:pt>
                <c:pt idx="7711">
                  <c:v>#N/A</c:v>
                </c:pt>
                <c:pt idx="7712">
                  <c:v>#N/A</c:v>
                </c:pt>
                <c:pt idx="7713">
                  <c:v>#N/A</c:v>
                </c:pt>
                <c:pt idx="7714">
                  <c:v>#N/A</c:v>
                </c:pt>
                <c:pt idx="7715">
                  <c:v>#N/A</c:v>
                </c:pt>
                <c:pt idx="7716">
                  <c:v>#N/A</c:v>
                </c:pt>
                <c:pt idx="7717">
                  <c:v>#N/A</c:v>
                </c:pt>
                <c:pt idx="7718">
                  <c:v>#N/A</c:v>
                </c:pt>
                <c:pt idx="7719">
                  <c:v>#N/A</c:v>
                </c:pt>
                <c:pt idx="7720">
                  <c:v>#N/A</c:v>
                </c:pt>
                <c:pt idx="7721">
                  <c:v>#N/A</c:v>
                </c:pt>
                <c:pt idx="7722">
                  <c:v>#N/A</c:v>
                </c:pt>
                <c:pt idx="7723">
                  <c:v>#N/A</c:v>
                </c:pt>
                <c:pt idx="7724">
                  <c:v>#N/A</c:v>
                </c:pt>
                <c:pt idx="7725">
                  <c:v>#N/A</c:v>
                </c:pt>
                <c:pt idx="7726">
                  <c:v>#N/A</c:v>
                </c:pt>
                <c:pt idx="7727">
                  <c:v>#N/A</c:v>
                </c:pt>
                <c:pt idx="7728">
                  <c:v>#N/A</c:v>
                </c:pt>
                <c:pt idx="7729">
                  <c:v>#N/A</c:v>
                </c:pt>
                <c:pt idx="7730">
                  <c:v>#N/A</c:v>
                </c:pt>
                <c:pt idx="7731">
                  <c:v>#N/A</c:v>
                </c:pt>
                <c:pt idx="7732">
                  <c:v>#N/A</c:v>
                </c:pt>
                <c:pt idx="7733">
                  <c:v>#N/A</c:v>
                </c:pt>
                <c:pt idx="7734">
                  <c:v>#N/A</c:v>
                </c:pt>
                <c:pt idx="7735">
                  <c:v>#N/A</c:v>
                </c:pt>
                <c:pt idx="7736">
                  <c:v>#N/A</c:v>
                </c:pt>
                <c:pt idx="7737">
                  <c:v>#N/A</c:v>
                </c:pt>
                <c:pt idx="7738">
                  <c:v>#N/A</c:v>
                </c:pt>
                <c:pt idx="7739">
                  <c:v>#N/A</c:v>
                </c:pt>
                <c:pt idx="7740">
                  <c:v>#N/A</c:v>
                </c:pt>
                <c:pt idx="7741">
                  <c:v>#N/A</c:v>
                </c:pt>
                <c:pt idx="7742">
                  <c:v>#N/A</c:v>
                </c:pt>
                <c:pt idx="7743">
                  <c:v>#N/A</c:v>
                </c:pt>
                <c:pt idx="7744">
                  <c:v>#N/A</c:v>
                </c:pt>
                <c:pt idx="7745">
                  <c:v>#N/A</c:v>
                </c:pt>
                <c:pt idx="7746">
                  <c:v>#N/A</c:v>
                </c:pt>
                <c:pt idx="7747">
                  <c:v>#N/A</c:v>
                </c:pt>
                <c:pt idx="7748">
                  <c:v>#N/A</c:v>
                </c:pt>
                <c:pt idx="7749">
                  <c:v>#N/A</c:v>
                </c:pt>
                <c:pt idx="7750">
                  <c:v>#N/A</c:v>
                </c:pt>
                <c:pt idx="7751">
                  <c:v>#N/A</c:v>
                </c:pt>
                <c:pt idx="7752">
                  <c:v>#N/A</c:v>
                </c:pt>
                <c:pt idx="7753">
                  <c:v>#N/A</c:v>
                </c:pt>
                <c:pt idx="7754">
                  <c:v>#N/A</c:v>
                </c:pt>
                <c:pt idx="7755">
                  <c:v>#N/A</c:v>
                </c:pt>
                <c:pt idx="7756">
                  <c:v>#N/A</c:v>
                </c:pt>
                <c:pt idx="7757">
                  <c:v>#N/A</c:v>
                </c:pt>
                <c:pt idx="7758">
                  <c:v>#N/A</c:v>
                </c:pt>
                <c:pt idx="7759">
                  <c:v>#N/A</c:v>
                </c:pt>
                <c:pt idx="7760">
                  <c:v>#N/A</c:v>
                </c:pt>
                <c:pt idx="7761">
                  <c:v>#N/A</c:v>
                </c:pt>
                <c:pt idx="7762">
                  <c:v>#N/A</c:v>
                </c:pt>
                <c:pt idx="7763">
                  <c:v>#N/A</c:v>
                </c:pt>
                <c:pt idx="7764">
                  <c:v>#N/A</c:v>
                </c:pt>
                <c:pt idx="7765">
                  <c:v>#N/A</c:v>
                </c:pt>
                <c:pt idx="7766">
                  <c:v>#N/A</c:v>
                </c:pt>
                <c:pt idx="7767">
                  <c:v>#N/A</c:v>
                </c:pt>
                <c:pt idx="7768">
                  <c:v>#N/A</c:v>
                </c:pt>
                <c:pt idx="7769">
                  <c:v>#N/A</c:v>
                </c:pt>
                <c:pt idx="7770">
                  <c:v>#N/A</c:v>
                </c:pt>
                <c:pt idx="7771">
                  <c:v>#N/A</c:v>
                </c:pt>
                <c:pt idx="7772">
                  <c:v>#N/A</c:v>
                </c:pt>
                <c:pt idx="7773">
                  <c:v>#N/A</c:v>
                </c:pt>
                <c:pt idx="7774">
                  <c:v>#N/A</c:v>
                </c:pt>
                <c:pt idx="7775">
                  <c:v>#N/A</c:v>
                </c:pt>
                <c:pt idx="7776">
                  <c:v>#N/A</c:v>
                </c:pt>
                <c:pt idx="7777">
                  <c:v>#N/A</c:v>
                </c:pt>
                <c:pt idx="7778">
                  <c:v>#N/A</c:v>
                </c:pt>
                <c:pt idx="7779">
                  <c:v>#N/A</c:v>
                </c:pt>
                <c:pt idx="7780">
                  <c:v>#N/A</c:v>
                </c:pt>
                <c:pt idx="7781">
                  <c:v>#N/A</c:v>
                </c:pt>
                <c:pt idx="7782">
                  <c:v>#N/A</c:v>
                </c:pt>
                <c:pt idx="7783">
                  <c:v>#N/A</c:v>
                </c:pt>
                <c:pt idx="7784">
                  <c:v>#N/A</c:v>
                </c:pt>
                <c:pt idx="7785">
                  <c:v>#N/A</c:v>
                </c:pt>
                <c:pt idx="7786">
                  <c:v>#N/A</c:v>
                </c:pt>
                <c:pt idx="7787">
                  <c:v>#N/A</c:v>
                </c:pt>
                <c:pt idx="7788">
                  <c:v>#N/A</c:v>
                </c:pt>
                <c:pt idx="7789">
                  <c:v>#N/A</c:v>
                </c:pt>
                <c:pt idx="7790">
                  <c:v>#N/A</c:v>
                </c:pt>
                <c:pt idx="7791">
                  <c:v>#N/A</c:v>
                </c:pt>
                <c:pt idx="7792">
                  <c:v>#N/A</c:v>
                </c:pt>
                <c:pt idx="7793">
                  <c:v>#N/A</c:v>
                </c:pt>
                <c:pt idx="7794">
                  <c:v>#N/A</c:v>
                </c:pt>
                <c:pt idx="7795">
                  <c:v>#N/A</c:v>
                </c:pt>
                <c:pt idx="7796">
                  <c:v>#N/A</c:v>
                </c:pt>
                <c:pt idx="7797">
                  <c:v>#N/A</c:v>
                </c:pt>
                <c:pt idx="7798">
                  <c:v>#N/A</c:v>
                </c:pt>
                <c:pt idx="7799">
                  <c:v>#N/A</c:v>
                </c:pt>
                <c:pt idx="7800">
                  <c:v>#N/A</c:v>
                </c:pt>
                <c:pt idx="7801">
                  <c:v>#N/A</c:v>
                </c:pt>
                <c:pt idx="7802">
                  <c:v>#N/A</c:v>
                </c:pt>
                <c:pt idx="7803">
                  <c:v>#N/A</c:v>
                </c:pt>
                <c:pt idx="7804">
                  <c:v>#N/A</c:v>
                </c:pt>
                <c:pt idx="7805">
                  <c:v>#N/A</c:v>
                </c:pt>
                <c:pt idx="7806">
                  <c:v>#N/A</c:v>
                </c:pt>
                <c:pt idx="7807">
                  <c:v>#N/A</c:v>
                </c:pt>
                <c:pt idx="7808">
                  <c:v>#N/A</c:v>
                </c:pt>
                <c:pt idx="7809">
                  <c:v>#N/A</c:v>
                </c:pt>
                <c:pt idx="7810">
                  <c:v>#N/A</c:v>
                </c:pt>
                <c:pt idx="7811">
                  <c:v>#N/A</c:v>
                </c:pt>
                <c:pt idx="7812">
                  <c:v>#N/A</c:v>
                </c:pt>
                <c:pt idx="7813">
                  <c:v>#N/A</c:v>
                </c:pt>
                <c:pt idx="7814">
                  <c:v>#N/A</c:v>
                </c:pt>
                <c:pt idx="7815">
                  <c:v>#N/A</c:v>
                </c:pt>
                <c:pt idx="7816">
                  <c:v>#N/A</c:v>
                </c:pt>
                <c:pt idx="7817">
                  <c:v>#N/A</c:v>
                </c:pt>
                <c:pt idx="7818">
                  <c:v>#N/A</c:v>
                </c:pt>
                <c:pt idx="7819">
                  <c:v>#N/A</c:v>
                </c:pt>
                <c:pt idx="7820">
                  <c:v>#N/A</c:v>
                </c:pt>
                <c:pt idx="7821">
                  <c:v>#N/A</c:v>
                </c:pt>
                <c:pt idx="7822">
                  <c:v>#N/A</c:v>
                </c:pt>
                <c:pt idx="7823">
                  <c:v>#N/A</c:v>
                </c:pt>
                <c:pt idx="7824">
                  <c:v>#N/A</c:v>
                </c:pt>
                <c:pt idx="7825">
                  <c:v>#N/A</c:v>
                </c:pt>
                <c:pt idx="7826">
                  <c:v>#N/A</c:v>
                </c:pt>
                <c:pt idx="7827">
                  <c:v>#N/A</c:v>
                </c:pt>
                <c:pt idx="7828">
                  <c:v>#N/A</c:v>
                </c:pt>
                <c:pt idx="7829">
                  <c:v>#N/A</c:v>
                </c:pt>
                <c:pt idx="7830">
                  <c:v>#N/A</c:v>
                </c:pt>
                <c:pt idx="7831">
                  <c:v>#N/A</c:v>
                </c:pt>
                <c:pt idx="7832">
                  <c:v>#N/A</c:v>
                </c:pt>
                <c:pt idx="7833">
                  <c:v>#N/A</c:v>
                </c:pt>
                <c:pt idx="7834">
                  <c:v>#N/A</c:v>
                </c:pt>
                <c:pt idx="7835">
                  <c:v>#N/A</c:v>
                </c:pt>
                <c:pt idx="7836">
                  <c:v>#N/A</c:v>
                </c:pt>
                <c:pt idx="7837">
                  <c:v>#N/A</c:v>
                </c:pt>
                <c:pt idx="7838">
                  <c:v>#N/A</c:v>
                </c:pt>
                <c:pt idx="7839">
                  <c:v>#N/A</c:v>
                </c:pt>
                <c:pt idx="7840">
                  <c:v>#N/A</c:v>
                </c:pt>
                <c:pt idx="7841">
                  <c:v>#N/A</c:v>
                </c:pt>
                <c:pt idx="7842">
                  <c:v>#N/A</c:v>
                </c:pt>
                <c:pt idx="7843">
                  <c:v>#N/A</c:v>
                </c:pt>
                <c:pt idx="7844">
                  <c:v>#N/A</c:v>
                </c:pt>
                <c:pt idx="7845">
                  <c:v>#N/A</c:v>
                </c:pt>
                <c:pt idx="7846">
                  <c:v>#N/A</c:v>
                </c:pt>
                <c:pt idx="7847">
                  <c:v>#N/A</c:v>
                </c:pt>
                <c:pt idx="7848">
                  <c:v>#N/A</c:v>
                </c:pt>
                <c:pt idx="7849">
                  <c:v>#N/A</c:v>
                </c:pt>
                <c:pt idx="7850">
                  <c:v>#N/A</c:v>
                </c:pt>
                <c:pt idx="7851">
                  <c:v>#N/A</c:v>
                </c:pt>
                <c:pt idx="7852">
                  <c:v>#N/A</c:v>
                </c:pt>
                <c:pt idx="7853">
                  <c:v>#N/A</c:v>
                </c:pt>
                <c:pt idx="7854">
                  <c:v>#N/A</c:v>
                </c:pt>
                <c:pt idx="7855">
                  <c:v>#N/A</c:v>
                </c:pt>
                <c:pt idx="7856">
                  <c:v>#N/A</c:v>
                </c:pt>
                <c:pt idx="7857">
                  <c:v>#N/A</c:v>
                </c:pt>
                <c:pt idx="7858">
                  <c:v>#N/A</c:v>
                </c:pt>
                <c:pt idx="7859">
                  <c:v>#N/A</c:v>
                </c:pt>
                <c:pt idx="7860">
                  <c:v>#N/A</c:v>
                </c:pt>
                <c:pt idx="7861">
                  <c:v>#N/A</c:v>
                </c:pt>
                <c:pt idx="7862">
                  <c:v>#N/A</c:v>
                </c:pt>
                <c:pt idx="7863">
                  <c:v>#N/A</c:v>
                </c:pt>
                <c:pt idx="7864">
                  <c:v>#N/A</c:v>
                </c:pt>
                <c:pt idx="7865">
                  <c:v>#N/A</c:v>
                </c:pt>
                <c:pt idx="7866">
                  <c:v>#N/A</c:v>
                </c:pt>
                <c:pt idx="7867">
                  <c:v>#N/A</c:v>
                </c:pt>
                <c:pt idx="7868">
                  <c:v>#N/A</c:v>
                </c:pt>
                <c:pt idx="7869">
                  <c:v>#N/A</c:v>
                </c:pt>
                <c:pt idx="7870">
                  <c:v>#N/A</c:v>
                </c:pt>
                <c:pt idx="7871">
                  <c:v>#N/A</c:v>
                </c:pt>
                <c:pt idx="7872">
                  <c:v>#N/A</c:v>
                </c:pt>
                <c:pt idx="7873">
                  <c:v>#N/A</c:v>
                </c:pt>
                <c:pt idx="7874">
                  <c:v>#N/A</c:v>
                </c:pt>
                <c:pt idx="7875">
                  <c:v>#N/A</c:v>
                </c:pt>
                <c:pt idx="7876">
                  <c:v>#N/A</c:v>
                </c:pt>
                <c:pt idx="7877">
                  <c:v>#N/A</c:v>
                </c:pt>
                <c:pt idx="7878">
                  <c:v>#N/A</c:v>
                </c:pt>
                <c:pt idx="7879">
                  <c:v>#N/A</c:v>
                </c:pt>
                <c:pt idx="7880">
                  <c:v>#N/A</c:v>
                </c:pt>
                <c:pt idx="7881">
                  <c:v>#N/A</c:v>
                </c:pt>
                <c:pt idx="7882">
                  <c:v>#N/A</c:v>
                </c:pt>
                <c:pt idx="7883">
                  <c:v>#N/A</c:v>
                </c:pt>
                <c:pt idx="7884">
                  <c:v>#N/A</c:v>
                </c:pt>
                <c:pt idx="7885">
                  <c:v>#N/A</c:v>
                </c:pt>
                <c:pt idx="7886">
                  <c:v>#N/A</c:v>
                </c:pt>
                <c:pt idx="7887">
                  <c:v>#N/A</c:v>
                </c:pt>
                <c:pt idx="7888">
                  <c:v>#N/A</c:v>
                </c:pt>
                <c:pt idx="7889">
                  <c:v>#N/A</c:v>
                </c:pt>
                <c:pt idx="7890">
                  <c:v>#N/A</c:v>
                </c:pt>
                <c:pt idx="7891">
                  <c:v>#N/A</c:v>
                </c:pt>
                <c:pt idx="7892">
                  <c:v>#N/A</c:v>
                </c:pt>
                <c:pt idx="7893">
                  <c:v>#N/A</c:v>
                </c:pt>
                <c:pt idx="7894">
                  <c:v>#N/A</c:v>
                </c:pt>
                <c:pt idx="7895">
                  <c:v>#N/A</c:v>
                </c:pt>
                <c:pt idx="7896">
                  <c:v>#N/A</c:v>
                </c:pt>
                <c:pt idx="7897">
                  <c:v>#N/A</c:v>
                </c:pt>
                <c:pt idx="7898">
                  <c:v>#N/A</c:v>
                </c:pt>
                <c:pt idx="7899">
                  <c:v>#N/A</c:v>
                </c:pt>
                <c:pt idx="7900">
                  <c:v>#N/A</c:v>
                </c:pt>
                <c:pt idx="7901">
                  <c:v>#N/A</c:v>
                </c:pt>
                <c:pt idx="7902">
                  <c:v>#N/A</c:v>
                </c:pt>
                <c:pt idx="7903">
                  <c:v>#N/A</c:v>
                </c:pt>
                <c:pt idx="7904">
                  <c:v>#N/A</c:v>
                </c:pt>
                <c:pt idx="7905">
                  <c:v>#N/A</c:v>
                </c:pt>
                <c:pt idx="7906">
                  <c:v>#N/A</c:v>
                </c:pt>
                <c:pt idx="7907">
                  <c:v>#N/A</c:v>
                </c:pt>
                <c:pt idx="7908">
                  <c:v>#N/A</c:v>
                </c:pt>
                <c:pt idx="7909">
                  <c:v>#N/A</c:v>
                </c:pt>
                <c:pt idx="7910">
                  <c:v>#N/A</c:v>
                </c:pt>
                <c:pt idx="7911">
                  <c:v>#N/A</c:v>
                </c:pt>
                <c:pt idx="7912">
                  <c:v>#N/A</c:v>
                </c:pt>
                <c:pt idx="7913">
                  <c:v>#N/A</c:v>
                </c:pt>
                <c:pt idx="7914">
                  <c:v>#N/A</c:v>
                </c:pt>
                <c:pt idx="7915">
                  <c:v>#N/A</c:v>
                </c:pt>
                <c:pt idx="7916">
                  <c:v>#N/A</c:v>
                </c:pt>
                <c:pt idx="7917">
                  <c:v>#N/A</c:v>
                </c:pt>
                <c:pt idx="7918">
                  <c:v>#N/A</c:v>
                </c:pt>
                <c:pt idx="7919">
                  <c:v>#N/A</c:v>
                </c:pt>
                <c:pt idx="7920">
                  <c:v>#N/A</c:v>
                </c:pt>
                <c:pt idx="7921">
                  <c:v>#N/A</c:v>
                </c:pt>
                <c:pt idx="7922">
                  <c:v>#N/A</c:v>
                </c:pt>
                <c:pt idx="7923">
                  <c:v>#N/A</c:v>
                </c:pt>
                <c:pt idx="7924">
                  <c:v>#N/A</c:v>
                </c:pt>
                <c:pt idx="7925">
                  <c:v>#N/A</c:v>
                </c:pt>
                <c:pt idx="7926">
                  <c:v>#N/A</c:v>
                </c:pt>
                <c:pt idx="7927">
                  <c:v>#N/A</c:v>
                </c:pt>
                <c:pt idx="7928">
                  <c:v>#N/A</c:v>
                </c:pt>
                <c:pt idx="7929">
                  <c:v>#N/A</c:v>
                </c:pt>
                <c:pt idx="7930">
                  <c:v>#N/A</c:v>
                </c:pt>
                <c:pt idx="7931">
                  <c:v>#N/A</c:v>
                </c:pt>
                <c:pt idx="7932">
                  <c:v>#N/A</c:v>
                </c:pt>
                <c:pt idx="7933">
                  <c:v>#N/A</c:v>
                </c:pt>
                <c:pt idx="7934">
                  <c:v>#N/A</c:v>
                </c:pt>
                <c:pt idx="7935">
                  <c:v>#N/A</c:v>
                </c:pt>
                <c:pt idx="7936">
                  <c:v>#N/A</c:v>
                </c:pt>
                <c:pt idx="7937">
                  <c:v>#N/A</c:v>
                </c:pt>
                <c:pt idx="7938">
                  <c:v>#N/A</c:v>
                </c:pt>
                <c:pt idx="7939">
                  <c:v>#N/A</c:v>
                </c:pt>
                <c:pt idx="7940">
                  <c:v>#N/A</c:v>
                </c:pt>
                <c:pt idx="7941">
                  <c:v>#N/A</c:v>
                </c:pt>
                <c:pt idx="7942">
                  <c:v>#N/A</c:v>
                </c:pt>
                <c:pt idx="7943">
                  <c:v>#N/A</c:v>
                </c:pt>
                <c:pt idx="7944">
                  <c:v>#N/A</c:v>
                </c:pt>
                <c:pt idx="7945">
                  <c:v>#N/A</c:v>
                </c:pt>
                <c:pt idx="7946">
                  <c:v>#N/A</c:v>
                </c:pt>
                <c:pt idx="7947">
                  <c:v>#N/A</c:v>
                </c:pt>
                <c:pt idx="7948">
                  <c:v>#N/A</c:v>
                </c:pt>
                <c:pt idx="7949">
                  <c:v>#N/A</c:v>
                </c:pt>
                <c:pt idx="7950">
                  <c:v>#N/A</c:v>
                </c:pt>
                <c:pt idx="7951">
                  <c:v>#N/A</c:v>
                </c:pt>
                <c:pt idx="7952">
                  <c:v>#N/A</c:v>
                </c:pt>
                <c:pt idx="7953">
                  <c:v>#N/A</c:v>
                </c:pt>
                <c:pt idx="7954">
                  <c:v>#N/A</c:v>
                </c:pt>
                <c:pt idx="7955">
                  <c:v>#N/A</c:v>
                </c:pt>
                <c:pt idx="7956">
                  <c:v>#N/A</c:v>
                </c:pt>
                <c:pt idx="7957">
                  <c:v>#N/A</c:v>
                </c:pt>
                <c:pt idx="7958">
                  <c:v>#N/A</c:v>
                </c:pt>
                <c:pt idx="7959">
                  <c:v>#N/A</c:v>
                </c:pt>
                <c:pt idx="7960">
                  <c:v>#N/A</c:v>
                </c:pt>
                <c:pt idx="7961">
                  <c:v>#N/A</c:v>
                </c:pt>
                <c:pt idx="7962">
                  <c:v>#N/A</c:v>
                </c:pt>
                <c:pt idx="7963">
                  <c:v>#N/A</c:v>
                </c:pt>
                <c:pt idx="7964">
                  <c:v>#N/A</c:v>
                </c:pt>
                <c:pt idx="7965">
                  <c:v>#N/A</c:v>
                </c:pt>
                <c:pt idx="7966">
                  <c:v>#N/A</c:v>
                </c:pt>
                <c:pt idx="7967">
                  <c:v>#N/A</c:v>
                </c:pt>
                <c:pt idx="7968">
                  <c:v>#N/A</c:v>
                </c:pt>
                <c:pt idx="7969">
                  <c:v>#N/A</c:v>
                </c:pt>
                <c:pt idx="7970">
                  <c:v>#N/A</c:v>
                </c:pt>
                <c:pt idx="7971">
                  <c:v>#N/A</c:v>
                </c:pt>
                <c:pt idx="7972">
                  <c:v>#N/A</c:v>
                </c:pt>
                <c:pt idx="7973">
                  <c:v>#N/A</c:v>
                </c:pt>
                <c:pt idx="7974">
                  <c:v>#N/A</c:v>
                </c:pt>
                <c:pt idx="7975">
                  <c:v>#N/A</c:v>
                </c:pt>
                <c:pt idx="7976">
                  <c:v>#N/A</c:v>
                </c:pt>
                <c:pt idx="7977">
                  <c:v>#N/A</c:v>
                </c:pt>
                <c:pt idx="7978">
                  <c:v>#N/A</c:v>
                </c:pt>
                <c:pt idx="7979">
                  <c:v>#N/A</c:v>
                </c:pt>
                <c:pt idx="7980">
                  <c:v>#N/A</c:v>
                </c:pt>
                <c:pt idx="7981">
                  <c:v>#N/A</c:v>
                </c:pt>
                <c:pt idx="7982">
                  <c:v>#N/A</c:v>
                </c:pt>
                <c:pt idx="7983">
                  <c:v>#N/A</c:v>
                </c:pt>
                <c:pt idx="7984">
                  <c:v>#N/A</c:v>
                </c:pt>
                <c:pt idx="7985">
                  <c:v>#N/A</c:v>
                </c:pt>
                <c:pt idx="7986">
                  <c:v>#N/A</c:v>
                </c:pt>
                <c:pt idx="7987">
                  <c:v>#N/A</c:v>
                </c:pt>
                <c:pt idx="7988">
                  <c:v>#N/A</c:v>
                </c:pt>
                <c:pt idx="7989">
                  <c:v>#N/A</c:v>
                </c:pt>
                <c:pt idx="7990">
                  <c:v>#N/A</c:v>
                </c:pt>
                <c:pt idx="7991">
                  <c:v>#N/A</c:v>
                </c:pt>
                <c:pt idx="7992">
                  <c:v>#N/A</c:v>
                </c:pt>
                <c:pt idx="7993">
                  <c:v>#N/A</c:v>
                </c:pt>
                <c:pt idx="7994">
                  <c:v>#N/A</c:v>
                </c:pt>
                <c:pt idx="7995">
                  <c:v>#N/A</c:v>
                </c:pt>
                <c:pt idx="7996">
                  <c:v>#N/A</c:v>
                </c:pt>
                <c:pt idx="7997">
                  <c:v>#N/A</c:v>
                </c:pt>
                <c:pt idx="7998">
                  <c:v>#N/A</c:v>
                </c:pt>
                <c:pt idx="7999">
                  <c:v>#N/A</c:v>
                </c:pt>
                <c:pt idx="8000">
                  <c:v>#N/A</c:v>
                </c:pt>
                <c:pt idx="8001">
                  <c:v>#N/A</c:v>
                </c:pt>
                <c:pt idx="8002">
                  <c:v>#N/A</c:v>
                </c:pt>
                <c:pt idx="8003">
                  <c:v>#N/A</c:v>
                </c:pt>
                <c:pt idx="8004">
                  <c:v>#N/A</c:v>
                </c:pt>
                <c:pt idx="8005">
                  <c:v>#N/A</c:v>
                </c:pt>
                <c:pt idx="8006">
                  <c:v>#N/A</c:v>
                </c:pt>
                <c:pt idx="8007">
                  <c:v>#N/A</c:v>
                </c:pt>
                <c:pt idx="8008">
                  <c:v>#N/A</c:v>
                </c:pt>
                <c:pt idx="8009">
                  <c:v>#N/A</c:v>
                </c:pt>
                <c:pt idx="8010">
                  <c:v>#N/A</c:v>
                </c:pt>
                <c:pt idx="8011">
                  <c:v>#N/A</c:v>
                </c:pt>
                <c:pt idx="8012">
                  <c:v>#N/A</c:v>
                </c:pt>
                <c:pt idx="8013">
                  <c:v>#N/A</c:v>
                </c:pt>
                <c:pt idx="8014">
                  <c:v>#N/A</c:v>
                </c:pt>
                <c:pt idx="8015">
                  <c:v>#N/A</c:v>
                </c:pt>
                <c:pt idx="8016">
                  <c:v>#N/A</c:v>
                </c:pt>
                <c:pt idx="8017">
                  <c:v>#N/A</c:v>
                </c:pt>
                <c:pt idx="8018">
                  <c:v>#N/A</c:v>
                </c:pt>
                <c:pt idx="8019">
                  <c:v>#N/A</c:v>
                </c:pt>
                <c:pt idx="8020">
                  <c:v>#N/A</c:v>
                </c:pt>
                <c:pt idx="8021">
                  <c:v>#N/A</c:v>
                </c:pt>
                <c:pt idx="8022">
                  <c:v>#N/A</c:v>
                </c:pt>
                <c:pt idx="8023">
                  <c:v>#N/A</c:v>
                </c:pt>
                <c:pt idx="8024">
                  <c:v>#N/A</c:v>
                </c:pt>
                <c:pt idx="8025">
                  <c:v>#N/A</c:v>
                </c:pt>
                <c:pt idx="8026">
                  <c:v>#N/A</c:v>
                </c:pt>
                <c:pt idx="8027">
                  <c:v>#N/A</c:v>
                </c:pt>
                <c:pt idx="8028">
                  <c:v>#N/A</c:v>
                </c:pt>
                <c:pt idx="8029">
                  <c:v>#N/A</c:v>
                </c:pt>
                <c:pt idx="8030">
                  <c:v>#N/A</c:v>
                </c:pt>
                <c:pt idx="8031">
                  <c:v>#N/A</c:v>
                </c:pt>
                <c:pt idx="8032">
                  <c:v>#N/A</c:v>
                </c:pt>
                <c:pt idx="8033">
                  <c:v>#N/A</c:v>
                </c:pt>
                <c:pt idx="8034">
                  <c:v>#N/A</c:v>
                </c:pt>
                <c:pt idx="8035">
                  <c:v>#N/A</c:v>
                </c:pt>
                <c:pt idx="8036">
                  <c:v>#N/A</c:v>
                </c:pt>
                <c:pt idx="8037">
                  <c:v>#N/A</c:v>
                </c:pt>
                <c:pt idx="8038">
                  <c:v>#N/A</c:v>
                </c:pt>
                <c:pt idx="8039">
                  <c:v>#N/A</c:v>
                </c:pt>
                <c:pt idx="8040">
                  <c:v>#N/A</c:v>
                </c:pt>
                <c:pt idx="8041">
                  <c:v>#N/A</c:v>
                </c:pt>
                <c:pt idx="8042">
                  <c:v>#N/A</c:v>
                </c:pt>
                <c:pt idx="8043">
                  <c:v>#N/A</c:v>
                </c:pt>
                <c:pt idx="8044">
                  <c:v>#N/A</c:v>
                </c:pt>
                <c:pt idx="8045">
                  <c:v>#N/A</c:v>
                </c:pt>
                <c:pt idx="8046">
                  <c:v>#N/A</c:v>
                </c:pt>
                <c:pt idx="8047">
                  <c:v>#N/A</c:v>
                </c:pt>
                <c:pt idx="8048">
                  <c:v>#N/A</c:v>
                </c:pt>
                <c:pt idx="8049">
                  <c:v>#N/A</c:v>
                </c:pt>
                <c:pt idx="8050">
                  <c:v>#N/A</c:v>
                </c:pt>
                <c:pt idx="8051">
                  <c:v>#N/A</c:v>
                </c:pt>
                <c:pt idx="8052">
                  <c:v>#N/A</c:v>
                </c:pt>
                <c:pt idx="8053">
                  <c:v>#N/A</c:v>
                </c:pt>
                <c:pt idx="8054">
                  <c:v>#N/A</c:v>
                </c:pt>
                <c:pt idx="8055">
                  <c:v>#N/A</c:v>
                </c:pt>
                <c:pt idx="8056">
                  <c:v>#N/A</c:v>
                </c:pt>
                <c:pt idx="8057">
                  <c:v>#N/A</c:v>
                </c:pt>
                <c:pt idx="8058">
                  <c:v>#N/A</c:v>
                </c:pt>
                <c:pt idx="8059">
                  <c:v>#N/A</c:v>
                </c:pt>
                <c:pt idx="8060">
                  <c:v>#N/A</c:v>
                </c:pt>
                <c:pt idx="8061">
                  <c:v>#N/A</c:v>
                </c:pt>
                <c:pt idx="8062">
                  <c:v>#N/A</c:v>
                </c:pt>
                <c:pt idx="8063">
                  <c:v>#N/A</c:v>
                </c:pt>
                <c:pt idx="8064">
                  <c:v>#N/A</c:v>
                </c:pt>
                <c:pt idx="8065">
                  <c:v>#N/A</c:v>
                </c:pt>
                <c:pt idx="8066">
                  <c:v>#N/A</c:v>
                </c:pt>
                <c:pt idx="8067">
                  <c:v>#N/A</c:v>
                </c:pt>
                <c:pt idx="8068">
                  <c:v>#N/A</c:v>
                </c:pt>
                <c:pt idx="8069">
                  <c:v>#N/A</c:v>
                </c:pt>
                <c:pt idx="8070">
                  <c:v>#N/A</c:v>
                </c:pt>
                <c:pt idx="8071">
                  <c:v>#N/A</c:v>
                </c:pt>
                <c:pt idx="8072">
                  <c:v>#N/A</c:v>
                </c:pt>
                <c:pt idx="8073">
                  <c:v>#N/A</c:v>
                </c:pt>
                <c:pt idx="8074">
                  <c:v>#N/A</c:v>
                </c:pt>
                <c:pt idx="8075">
                  <c:v>#N/A</c:v>
                </c:pt>
                <c:pt idx="8076">
                  <c:v>#N/A</c:v>
                </c:pt>
                <c:pt idx="8077">
                  <c:v>#N/A</c:v>
                </c:pt>
                <c:pt idx="8078">
                  <c:v>#N/A</c:v>
                </c:pt>
                <c:pt idx="8079">
                  <c:v>#N/A</c:v>
                </c:pt>
                <c:pt idx="8080">
                  <c:v>#N/A</c:v>
                </c:pt>
                <c:pt idx="8081">
                  <c:v>#N/A</c:v>
                </c:pt>
                <c:pt idx="8082">
                  <c:v>#N/A</c:v>
                </c:pt>
                <c:pt idx="8083">
                  <c:v>#N/A</c:v>
                </c:pt>
                <c:pt idx="8084">
                  <c:v>#N/A</c:v>
                </c:pt>
                <c:pt idx="8085">
                  <c:v>#N/A</c:v>
                </c:pt>
                <c:pt idx="8086">
                  <c:v>#N/A</c:v>
                </c:pt>
                <c:pt idx="8087">
                  <c:v>#N/A</c:v>
                </c:pt>
                <c:pt idx="8088">
                  <c:v>#N/A</c:v>
                </c:pt>
                <c:pt idx="8089">
                  <c:v>#N/A</c:v>
                </c:pt>
                <c:pt idx="8090">
                  <c:v>#N/A</c:v>
                </c:pt>
                <c:pt idx="8091">
                  <c:v>#N/A</c:v>
                </c:pt>
                <c:pt idx="8092">
                  <c:v>#N/A</c:v>
                </c:pt>
                <c:pt idx="8093">
                  <c:v>#N/A</c:v>
                </c:pt>
                <c:pt idx="8094">
                  <c:v>#N/A</c:v>
                </c:pt>
                <c:pt idx="8095">
                  <c:v>#N/A</c:v>
                </c:pt>
                <c:pt idx="8096">
                  <c:v>#N/A</c:v>
                </c:pt>
                <c:pt idx="8097">
                  <c:v>#N/A</c:v>
                </c:pt>
                <c:pt idx="8098">
                  <c:v>#N/A</c:v>
                </c:pt>
                <c:pt idx="8099">
                  <c:v>#N/A</c:v>
                </c:pt>
                <c:pt idx="8100">
                  <c:v>#N/A</c:v>
                </c:pt>
                <c:pt idx="8101">
                  <c:v>#N/A</c:v>
                </c:pt>
                <c:pt idx="8102">
                  <c:v>#N/A</c:v>
                </c:pt>
                <c:pt idx="8103">
                  <c:v>#N/A</c:v>
                </c:pt>
                <c:pt idx="8104">
                  <c:v>#N/A</c:v>
                </c:pt>
                <c:pt idx="8105">
                  <c:v>#N/A</c:v>
                </c:pt>
                <c:pt idx="8106">
                  <c:v>#N/A</c:v>
                </c:pt>
                <c:pt idx="8107">
                  <c:v>#N/A</c:v>
                </c:pt>
                <c:pt idx="8108">
                  <c:v>#N/A</c:v>
                </c:pt>
                <c:pt idx="8109">
                  <c:v>#N/A</c:v>
                </c:pt>
                <c:pt idx="8110">
                  <c:v>#N/A</c:v>
                </c:pt>
                <c:pt idx="8111">
                  <c:v>#N/A</c:v>
                </c:pt>
                <c:pt idx="8112">
                  <c:v>#N/A</c:v>
                </c:pt>
                <c:pt idx="8113">
                  <c:v>#N/A</c:v>
                </c:pt>
                <c:pt idx="8114">
                  <c:v>#N/A</c:v>
                </c:pt>
                <c:pt idx="8115">
                  <c:v>#N/A</c:v>
                </c:pt>
                <c:pt idx="8116">
                  <c:v>#N/A</c:v>
                </c:pt>
                <c:pt idx="8117">
                  <c:v>#N/A</c:v>
                </c:pt>
                <c:pt idx="8118">
                  <c:v>#N/A</c:v>
                </c:pt>
                <c:pt idx="8119">
                  <c:v>#N/A</c:v>
                </c:pt>
                <c:pt idx="8120">
                  <c:v>#N/A</c:v>
                </c:pt>
                <c:pt idx="8121">
                  <c:v>#N/A</c:v>
                </c:pt>
                <c:pt idx="8122">
                  <c:v>#N/A</c:v>
                </c:pt>
                <c:pt idx="8123">
                  <c:v>#N/A</c:v>
                </c:pt>
                <c:pt idx="8124">
                  <c:v>#N/A</c:v>
                </c:pt>
                <c:pt idx="8125">
                  <c:v>#N/A</c:v>
                </c:pt>
                <c:pt idx="8126">
                  <c:v>#N/A</c:v>
                </c:pt>
                <c:pt idx="8127">
                  <c:v>#N/A</c:v>
                </c:pt>
                <c:pt idx="8128">
                  <c:v>#N/A</c:v>
                </c:pt>
                <c:pt idx="8129">
                  <c:v>#N/A</c:v>
                </c:pt>
                <c:pt idx="8130">
                  <c:v>#N/A</c:v>
                </c:pt>
                <c:pt idx="8131">
                  <c:v>#N/A</c:v>
                </c:pt>
                <c:pt idx="8132">
                  <c:v>#N/A</c:v>
                </c:pt>
                <c:pt idx="8133">
                  <c:v>#N/A</c:v>
                </c:pt>
                <c:pt idx="8134">
                  <c:v>#N/A</c:v>
                </c:pt>
                <c:pt idx="8135">
                  <c:v>#N/A</c:v>
                </c:pt>
                <c:pt idx="8136">
                  <c:v>#N/A</c:v>
                </c:pt>
                <c:pt idx="8137">
                  <c:v>#N/A</c:v>
                </c:pt>
                <c:pt idx="8138">
                  <c:v>#N/A</c:v>
                </c:pt>
                <c:pt idx="8139">
                  <c:v>#N/A</c:v>
                </c:pt>
                <c:pt idx="8140">
                  <c:v>#N/A</c:v>
                </c:pt>
                <c:pt idx="8141">
                  <c:v>#N/A</c:v>
                </c:pt>
                <c:pt idx="8142">
                  <c:v>#N/A</c:v>
                </c:pt>
                <c:pt idx="8143">
                  <c:v>#N/A</c:v>
                </c:pt>
                <c:pt idx="8144">
                  <c:v>#N/A</c:v>
                </c:pt>
                <c:pt idx="8145">
                  <c:v>#N/A</c:v>
                </c:pt>
                <c:pt idx="8146">
                  <c:v>#N/A</c:v>
                </c:pt>
                <c:pt idx="8147">
                  <c:v>#N/A</c:v>
                </c:pt>
                <c:pt idx="8148">
                  <c:v>#N/A</c:v>
                </c:pt>
                <c:pt idx="8149">
                  <c:v>#N/A</c:v>
                </c:pt>
                <c:pt idx="8150">
                  <c:v>#N/A</c:v>
                </c:pt>
                <c:pt idx="8151">
                  <c:v>#N/A</c:v>
                </c:pt>
                <c:pt idx="8152">
                  <c:v>#N/A</c:v>
                </c:pt>
                <c:pt idx="8153">
                  <c:v>#N/A</c:v>
                </c:pt>
                <c:pt idx="8154">
                  <c:v>#N/A</c:v>
                </c:pt>
                <c:pt idx="8155">
                  <c:v>#N/A</c:v>
                </c:pt>
                <c:pt idx="8156">
                  <c:v>#N/A</c:v>
                </c:pt>
                <c:pt idx="8157">
                  <c:v>#N/A</c:v>
                </c:pt>
                <c:pt idx="8158">
                  <c:v>#N/A</c:v>
                </c:pt>
                <c:pt idx="8159">
                  <c:v>#N/A</c:v>
                </c:pt>
                <c:pt idx="8160">
                  <c:v>#N/A</c:v>
                </c:pt>
                <c:pt idx="8161">
                  <c:v>#N/A</c:v>
                </c:pt>
                <c:pt idx="8162">
                  <c:v>#N/A</c:v>
                </c:pt>
                <c:pt idx="8163">
                  <c:v>#N/A</c:v>
                </c:pt>
                <c:pt idx="8164">
                  <c:v>#N/A</c:v>
                </c:pt>
                <c:pt idx="8165">
                  <c:v>#N/A</c:v>
                </c:pt>
                <c:pt idx="8166">
                  <c:v>#N/A</c:v>
                </c:pt>
                <c:pt idx="8167">
                  <c:v>#N/A</c:v>
                </c:pt>
                <c:pt idx="8168">
                  <c:v>#N/A</c:v>
                </c:pt>
                <c:pt idx="8169">
                  <c:v>#N/A</c:v>
                </c:pt>
                <c:pt idx="8170">
                  <c:v>#N/A</c:v>
                </c:pt>
                <c:pt idx="8171">
                  <c:v>#N/A</c:v>
                </c:pt>
                <c:pt idx="8172">
                  <c:v>#N/A</c:v>
                </c:pt>
                <c:pt idx="8173">
                  <c:v>#N/A</c:v>
                </c:pt>
                <c:pt idx="8174">
                  <c:v>#N/A</c:v>
                </c:pt>
                <c:pt idx="8175">
                  <c:v>#N/A</c:v>
                </c:pt>
                <c:pt idx="8176">
                  <c:v>#N/A</c:v>
                </c:pt>
                <c:pt idx="8177">
                  <c:v>#N/A</c:v>
                </c:pt>
                <c:pt idx="8178">
                  <c:v>#N/A</c:v>
                </c:pt>
                <c:pt idx="8179">
                  <c:v>#N/A</c:v>
                </c:pt>
                <c:pt idx="8180">
                  <c:v>#N/A</c:v>
                </c:pt>
                <c:pt idx="8181">
                  <c:v>#N/A</c:v>
                </c:pt>
                <c:pt idx="8182">
                  <c:v>#N/A</c:v>
                </c:pt>
                <c:pt idx="8183">
                  <c:v>#N/A</c:v>
                </c:pt>
                <c:pt idx="8184">
                  <c:v>#N/A</c:v>
                </c:pt>
                <c:pt idx="8185">
                  <c:v>#N/A</c:v>
                </c:pt>
                <c:pt idx="8186">
                  <c:v>#N/A</c:v>
                </c:pt>
                <c:pt idx="8187">
                  <c:v>#N/A</c:v>
                </c:pt>
                <c:pt idx="8188">
                  <c:v>#N/A</c:v>
                </c:pt>
                <c:pt idx="8189">
                  <c:v>#N/A</c:v>
                </c:pt>
                <c:pt idx="8190">
                  <c:v>#N/A</c:v>
                </c:pt>
                <c:pt idx="8191">
                  <c:v>#N/A</c:v>
                </c:pt>
                <c:pt idx="8192">
                  <c:v>#N/A</c:v>
                </c:pt>
                <c:pt idx="8193">
                  <c:v>#N/A</c:v>
                </c:pt>
                <c:pt idx="8194">
                  <c:v>#N/A</c:v>
                </c:pt>
                <c:pt idx="8195">
                  <c:v>#N/A</c:v>
                </c:pt>
                <c:pt idx="8196">
                  <c:v>#N/A</c:v>
                </c:pt>
                <c:pt idx="8197">
                  <c:v>#N/A</c:v>
                </c:pt>
                <c:pt idx="8198">
                  <c:v>#N/A</c:v>
                </c:pt>
                <c:pt idx="8199">
                  <c:v>#N/A</c:v>
                </c:pt>
                <c:pt idx="8200">
                  <c:v>#N/A</c:v>
                </c:pt>
                <c:pt idx="8201">
                  <c:v>#N/A</c:v>
                </c:pt>
                <c:pt idx="8202">
                  <c:v>#N/A</c:v>
                </c:pt>
                <c:pt idx="8203">
                  <c:v>#N/A</c:v>
                </c:pt>
                <c:pt idx="8204">
                  <c:v>#N/A</c:v>
                </c:pt>
                <c:pt idx="8205">
                  <c:v>#N/A</c:v>
                </c:pt>
                <c:pt idx="8206">
                  <c:v>#N/A</c:v>
                </c:pt>
                <c:pt idx="8207">
                  <c:v>#N/A</c:v>
                </c:pt>
                <c:pt idx="8208">
                  <c:v>#N/A</c:v>
                </c:pt>
                <c:pt idx="8209">
                  <c:v>#N/A</c:v>
                </c:pt>
                <c:pt idx="8210">
                  <c:v>#N/A</c:v>
                </c:pt>
                <c:pt idx="8211">
                  <c:v>#N/A</c:v>
                </c:pt>
                <c:pt idx="8212">
                  <c:v>#N/A</c:v>
                </c:pt>
                <c:pt idx="8213">
                  <c:v>#N/A</c:v>
                </c:pt>
                <c:pt idx="8214">
                  <c:v>#N/A</c:v>
                </c:pt>
                <c:pt idx="8215">
                  <c:v>#N/A</c:v>
                </c:pt>
                <c:pt idx="8216">
                  <c:v>#N/A</c:v>
                </c:pt>
                <c:pt idx="8217">
                  <c:v>#N/A</c:v>
                </c:pt>
                <c:pt idx="8218">
                  <c:v>#N/A</c:v>
                </c:pt>
                <c:pt idx="8219">
                  <c:v>#N/A</c:v>
                </c:pt>
                <c:pt idx="8220">
                  <c:v>#N/A</c:v>
                </c:pt>
                <c:pt idx="8221">
                  <c:v>#N/A</c:v>
                </c:pt>
                <c:pt idx="8222">
                  <c:v>#N/A</c:v>
                </c:pt>
                <c:pt idx="8223">
                  <c:v>#N/A</c:v>
                </c:pt>
                <c:pt idx="8224">
                  <c:v>#N/A</c:v>
                </c:pt>
                <c:pt idx="8225">
                  <c:v>#N/A</c:v>
                </c:pt>
                <c:pt idx="8226">
                  <c:v>#N/A</c:v>
                </c:pt>
                <c:pt idx="8227">
                  <c:v>#N/A</c:v>
                </c:pt>
                <c:pt idx="8228">
                  <c:v>#N/A</c:v>
                </c:pt>
                <c:pt idx="8229">
                  <c:v>#N/A</c:v>
                </c:pt>
                <c:pt idx="8230">
                  <c:v>#N/A</c:v>
                </c:pt>
                <c:pt idx="8231">
                  <c:v>#N/A</c:v>
                </c:pt>
                <c:pt idx="8232">
                  <c:v>#N/A</c:v>
                </c:pt>
                <c:pt idx="8233">
                  <c:v>#N/A</c:v>
                </c:pt>
                <c:pt idx="8234">
                  <c:v>#N/A</c:v>
                </c:pt>
                <c:pt idx="8235">
                  <c:v>#N/A</c:v>
                </c:pt>
                <c:pt idx="8236">
                  <c:v>#N/A</c:v>
                </c:pt>
                <c:pt idx="8237">
                  <c:v>#N/A</c:v>
                </c:pt>
                <c:pt idx="8238">
                  <c:v>#N/A</c:v>
                </c:pt>
                <c:pt idx="8239">
                  <c:v>#N/A</c:v>
                </c:pt>
                <c:pt idx="8240">
                  <c:v>#N/A</c:v>
                </c:pt>
                <c:pt idx="8241">
                  <c:v>#N/A</c:v>
                </c:pt>
                <c:pt idx="8242">
                  <c:v>#N/A</c:v>
                </c:pt>
                <c:pt idx="8243">
                  <c:v>#N/A</c:v>
                </c:pt>
                <c:pt idx="8244">
                  <c:v>#N/A</c:v>
                </c:pt>
                <c:pt idx="8245">
                  <c:v>#N/A</c:v>
                </c:pt>
                <c:pt idx="8246">
                  <c:v>#N/A</c:v>
                </c:pt>
                <c:pt idx="8247">
                  <c:v>#N/A</c:v>
                </c:pt>
                <c:pt idx="8248">
                  <c:v>#N/A</c:v>
                </c:pt>
                <c:pt idx="8249">
                  <c:v>#N/A</c:v>
                </c:pt>
                <c:pt idx="8250">
                  <c:v>#N/A</c:v>
                </c:pt>
                <c:pt idx="8251">
                  <c:v>#N/A</c:v>
                </c:pt>
                <c:pt idx="8252">
                  <c:v>#N/A</c:v>
                </c:pt>
                <c:pt idx="8253">
                  <c:v>#N/A</c:v>
                </c:pt>
                <c:pt idx="8254">
                  <c:v>#N/A</c:v>
                </c:pt>
                <c:pt idx="8255">
                  <c:v>#N/A</c:v>
                </c:pt>
                <c:pt idx="8256">
                  <c:v>#N/A</c:v>
                </c:pt>
                <c:pt idx="8257">
                  <c:v>#N/A</c:v>
                </c:pt>
                <c:pt idx="8258">
                  <c:v>#N/A</c:v>
                </c:pt>
                <c:pt idx="8259">
                  <c:v>#N/A</c:v>
                </c:pt>
                <c:pt idx="8260">
                  <c:v>#N/A</c:v>
                </c:pt>
                <c:pt idx="8261">
                  <c:v>#N/A</c:v>
                </c:pt>
                <c:pt idx="8262">
                  <c:v>#N/A</c:v>
                </c:pt>
                <c:pt idx="8263">
                  <c:v>#N/A</c:v>
                </c:pt>
                <c:pt idx="8264">
                  <c:v>#N/A</c:v>
                </c:pt>
                <c:pt idx="8265">
                  <c:v>#N/A</c:v>
                </c:pt>
                <c:pt idx="8266">
                  <c:v>#N/A</c:v>
                </c:pt>
                <c:pt idx="8267">
                  <c:v>#N/A</c:v>
                </c:pt>
                <c:pt idx="8268">
                  <c:v>#N/A</c:v>
                </c:pt>
                <c:pt idx="8269">
                  <c:v>#N/A</c:v>
                </c:pt>
                <c:pt idx="8270">
                  <c:v>#N/A</c:v>
                </c:pt>
                <c:pt idx="8271">
                  <c:v>#N/A</c:v>
                </c:pt>
                <c:pt idx="8272">
                  <c:v>#N/A</c:v>
                </c:pt>
                <c:pt idx="8273">
                  <c:v>#N/A</c:v>
                </c:pt>
                <c:pt idx="8274">
                  <c:v>#N/A</c:v>
                </c:pt>
                <c:pt idx="8275">
                  <c:v>#N/A</c:v>
                </c:pt>
                <c:pt idx="8276">
                  <c:v>#N/A</c:v>
                </c:pt>
                <c:pt idx="8277">
                  <c:v>#N/A</c:v>
                </c:pt>
                <c:pt idx="8278">
                  <c:v>#N/A</c:v>
                </c:pt>
                <c:pt idx="8279">
                  <c:v>#N/A</c:v>
                </c:pt>
                <c:pt idx="8280">
                  <c:v>#N/A</c:v>
                </c:pt>
                <c:pt idx="8281">
                  <c:v>#N/A</c:v>
                </c:pt>
                <c:pt idx="8282">
                  <c:v>#N/A</c:v>
                </c:pt>
                <c:pt idx="8283">
                  <c:v>#N/A</c:v>
                </c:pt>
                <c:pt idx="8284">
                  <c:v>#N/A</c:v>
                </c:pt>
                <c:pt idx="8285">
                  <c:v>#N/A</c:v>
                </c:pt>
                <c:pt idx="8286">
                  <c:v>#N/A</c:v>
                </c:pt>
                <c:pt idx="8287">
                  <c:v>#N/A</c:v>
                </c:pt>
                <c:pt idx="8288">
                  <c:v>#N/A</c:v>
                </c:pt>
                <c:pt idx="8289">
                  <c:v>#N/A</c:v>
                </c:pt>
                <c:pt idx="8290">
                  <c:v>#N/A</c:v>
                </c:pt>
                <c:pt idx="8291">
                  <c:v>#N/A</c:v>
                </c:pt>
                <c:pt idx="8292">
                  <c:v>#N/A</c:v>
                </c:pt>
                <c:pt idx="8293">
                  <c:v>#N/A</c:v>
                </c:pt>
                <c:pt idx="8294">
                  <c:v>#N/A</c:v>
                </c:pt>
                <c:pt idx="8295">
                  <c:v>#N/A</c:v>
                </c:pt>
                <c:pt idx="8296">
                  <c:v>#N/A</c:v>
                </c:pt>
                <c:pt idx="8297">
                  <c:v>#N/A</c:v>
                </c:pt>
                <c:pt idx="8298">
                  <c:v>#N/A</c:v>
                </c:pt>
                <c:pt idx="8299">
                  <c:v>#N/A</c:v>
                </c:pt>
                <c:pt idx="8300">
                  <c:v>#N/A</c:v>
                </c:pt>
                <c:pt idx="8301">
                  <c:v>#N/A</c:v>
                </c:pt>
                <c:pt idx="8302">
                  <c:v>#N/A</c:v>
                </c:pt>
                <c:pt idx="8303">
                  <c:v>#N/A</c:v>
                </c:pt>
                <c:pt idx="8304">
                  <c:v>#N/A</c:v>
                </c:pt>
                <c:pt idx="8305">
                  <c:v>#N/A</c:v>
                </c:pt>
                <c:pt idx="8306">
                  <c:v>#N/A</c:v>
                </c:pt>
                <c:pt idx="8307">
                  <c:v>#N/A</c:v>
                </c:pt>
                <c:pt idx="8308">
                  <c:v>#N/A</c:v>
                </c:pt>
                <c:pt idx="8309">
                  <c:v>#N/A</c:v>
                </c:pt>
                <c:pt idx="8310">
                  <c:v>#N/A</c:v>
                </c:pt>
                <c:pt idx="8311">
                  <c:v>#N/A</c:v>
                </c:pt>
                <c:pt idx="8312">
                  <c:v>#N/A</c:v>
                </c:pt>
                <c:pt idx="8313">
                  <c:v>#N/A</c:v>
                </c:pt>
                <c:pt idx="8314">
                  <c:v>#N/A</c:v>
                </c:pt>
                <c:pt idx="8315">
                  <c:v>#N/A</c:v>
                </c:pt>
                <c:pt idx="8316">
                  <c:v>#N/A</c:v>
                </c:pt>
                <c:pt idx="8317">
                  <c:v>#N/A</c:v>
                </c:pt>
                <c:pt idx="8318">
                  <c:v>#N/A</c:v>
                </c:pt>
                <c:pt idx="8319">
                  <c:v>#N/A</c:v>
                </c:pt>
                <c:pt idx="8320">
                  <c:v>#N/A</c:v>
                </c:pt>
                <c:pt idx="8321">
                  <c:v>#N/A</c:v>
                </c:pt>
                <c:pt idx="8322">
                  <c:v>#N/A</c:v>
                </c:pt>
                <c:pt idx="8323">
                  <c:v>#N/A</c:v>
                </c:pt>
                <c:pt idx="8324">
                  <c:v>#N/A</c:v>
                </c:pt>
                <c:pt idx="8325">
                  <c:v>#N/A</c:v>
                </c:pt>
                <c:pt idx="8326">
                  <c:v>#N/A</c:v>
                </c:pt>
                <c:pt idx="8327">
                  <c:v>#N/A</c:v>
                </c:pt>
                <c:pt idx="8328">
                  <c:v>#N/A</c:v>
                </c:pt>
                <c:pt idx="8329">
                  <c:v>#N/A</c:v>
                </c:pt>
                <c:pt idx="8330">
                  <c:v>#N/A</c:v>
                </c:pt>
                <c:pt idx="8331">
                  <c:v>#N/A</c:v>
                </c:pt>
                <c:pt idx="8332">
                  <c:v>#N/A</c:v>
                </c:pt>
                <c:pt idx="8333">
                  <c:v>#N/A</c:v>
                </c:pt>
                <c:pt idx="8334">
                  <c:v>#N/A</c:v>
                </c:pt>
                <c:pt idx="8335">
                  <c:v>#N/A</c:v>
                </c:pt>
                <c:pt idx="8336">
                  <c:v>#N/A</c:v>
                </c:pt>
                <c:pt idx="8337">
                  <c:v>#N/A</c:v>
                </c:pt>
                <c:pt idx="8338">
                  <c:v>#N/A</c:v>
                </c:pt>
                <c:pt idx="8339">
                  <c:v>#N/A</c:v>
                </c:pt>
                <c:pt idx="8340">
                  <c:v>#N/A</c:v>
                </c:pt>
                <c:pt idx="8341">
                  <c:v>#N/A</c:v>
                </c:pt>
                <c:pt idx="8342">
                  <c:v>#N/A</c:v>
                </c:pt>
                <c:pt idx="8343">
                  <c:v>#N/A</c:v>
                </c:pt>
                <c:pt idx="8344">
                  <c:v>#N/A</c:v>
                </c:pt>
                <c:pt idx="8345">
                  <c:v>#N/A</c:v>
                </c:pt>
                <c:pt idx="8346">
                  <c:v>#N/A</c:v>
                </c:pt>
                <c:pt idx="8347">
                  <c:v>#N/A</c:v>
                </c:pt>
                <c:pt idx="8348">
                  <c:v>#N/A</c:v>
                </c:pt>
                <c:pt idx="8349">
                  <c:v>#N/A</c:v>
                </c:pt>
                <c:pt idx="8350">
                  <c:v>#N/A</c:v>
                </c:pt>
                <c:pt idx="8351">
                  <c:v>#N/A</c:v>
                </c:pt>
                <c:pt idx="8352">
                  <c:v>#N/A</c:v>
                </c:pt>
                <c:pt idx="8353">
                  <c:v>#N/A</c:v>
                </c:pt>
                <c:pt idx="8354">
                  <c:v>#N/A</c:v>
                </c:pt>
                <c:pt idx="8355">
                  <c:v>#N/A</c:v>
                </c:pt>
                <c:pt idx="8356">
                  <c:v>#N/A</c:v>
                </c:pt>
                <c:pt idx="8357">
                  <c:v>#N/A</c:v>
                </c:pt>
                <c:pt idx="8358">
                  <c:v>#N/A</c:v>
                </c:pt>
                <c:pt idx="8359">
                  <c:v>3.106849315068493</c:v>
                </c:pt>
                <c:pt idx="8360">
                  <c:v>#N/A</c:v>
                </c:pt>
                <c:pt idx="8361">
                  <c:v>#N/A</c:v>
                </c:pt>
                <c:pt idx="8362">
                  <c:v>#N/A</c:v>
                </c:pt>
                <c:pt idx="8363">
                  <c:v>#N/A</c:v>
                </c:pt>
                <c:pt idx="8364">
                  <c:v>#N/A</c:v>
                </c:pt>
                <c:pt idx="8365">
                  <c:v>#N/A</c:v>
                </c:pt>
                <c:pt idx="8366">
                  <c:v>#N/A</c:v>
                </c:pt>
                <c:pt idx="8367">
                  <c:v>#N/A</c:v>
                </c:pt>
                <c:pt idx="8368">
                  <c:v>#N/A</c:v>
                </c:pt>
                <c:pt idx="8369">
                  <c:v>#N/A</c:v>
                </c:pt>
                <c:pt idx="8370">
                  <c:v>#N/A</c:v>
                </c:pt>
                <c:pt idx="8371">
                  <c:v>#N/A</c:v>
                </c:pt>
                <c:pt idx="8372">
                  <c:v>#N/A</c:v>
                </c:pt>
                <c:pt idx="8373">
                  <c:v>#N/A</c:v>
                </c:pt>
                <c:pt idx="8374">
                  <c:v>#N/A</c:v>
                </c:pt>
                <c:pt idx="8375">
                  <c:v>#N/A</c:v>
                </c:pt>
                <c:pt idx="8376">
                  <c:v>#N/A</c:v>
                </c:pt>
                <c:pt idx="8377">
                  <c:v>#N/A</c:v>
                </c:pt>
                <c:pt idx="8378">
                  <c:v>#N/A</c:v>
                </c:pt>
                <c:pt idx="8379">
                  <c:v>#N/A</c:v>
                </c:pt>
                <c:pt idx="8380">
                  <c:v>#N/A</c:v>
                </c:pt>
                <c:pt idx="8381">
                  <c:v>#N/A</c:v>
                </c:pt>
                <c:pt idx="8382">
                  <c:v>#N/A</c:v>
                </c:pt>
                <c:pt idx="8383">
                  <c:v>#N/A</c:v>
                </c:pt>
                <c:pt idx="8384">
                  <c:v>#N/A</c:v>
                </c:pt>
                <c:pt idx="8385">
                  <c:v>#N/A</c:v>
                </c:pt>
                <c:pt idx="8386">
                  <c:v>#N/A</c:v>
                </c:pt>
                <c:pt idx="8387">
                  <c:v>#N/A</c:v>
                </c:pt>
                <c:pt idx="8388">
                  <c:v>#N/A</c:v>
                </c:pt>
                <c:pt idx="8389">
                  <c:v>#N/A</c:v>
                </c:pt>
                <c:pt idx="8390">
                  <c:v>#N/A</c:v>
                </c:pt>
                <c:pt idx="8391">
                  <c:v>#N/A</c:v>
                </c:pt>
                <c:pt idx="8392">
                  <c:v>#N/A</c:v>
                </c:pt>
                <c:pt idx="8393">
                  <c:v>#N/A</c:v>
                </c:pt>
                <c:pt idx="8394">
                  <c:v>#N/A</c:v>
                </c:pt>
                <c:pt idx="8395">
                  <c:v>#N/A</c:v>
                </c:pt>
                <c:pt idx="8396">
                  <c:v>#N/A</c:v>
                </c:pt>
                <c:pt idx="8397">
                  <c:v>#N/A</c:v>
                </c:pt>
                <c:pt idx="8398">
                  <c:v>#N/A</c:v>
                </c:pt>
                <c:pt idx="8399">
                  <c:v>#N/A</c:v>
                </c:pt>
                <c:pt idx="8400">
                  <c:v>#N/A</c:v>
                </c:pt>
                <c:pt idx="8401">
                  <c:v>#N/A</c:v>
                </c:pt>
                <c:pt idx="8402">
                  <c:v>#N/A</c:v>
                </c:pt>
                <c:pt idx="8403">
                  <c:v>#N/A</c:v>
                </c:pt>
                <c:pt idx="8404">
                  <c:v>#N/A</c:v>
                </c:pt>
                <c:pt idx="8405">
                  <c:v>#N/A</c:v>
                </c:pt>
                <c:pt idx="8406">
                  <c:v>#N/A</c:v>
                </c:pt>
                <c:pt idx="8407">
                  <c:v>#N/A</c:v>
                </c:pt>
                <c:pt idx="8408">
                  <c:v>#N/A</c:v>
                </c:pt>
                <c:pt idx="8409">
                  <c:v>#N/A</c:v>
                </c:pt>
                <c:pt idx="8410">
                  <c:v>#N/A</c:v>
                </c:pt>
                <c:pt idx="8411">
                  <c:v>#N/A</c:v>
                </c:pt>
                <c:pt idx="8412">
                  <c:v>#N/A</c:v>
                </c:pt>
                <c:pt idx="8413">
                  <c:v>#N/A</c:v>
                </c:pt>
                <c:pt idx="8414">
                  <c:v>#N/A</c:v>
                </c:pt>
                <c:pt idx="8415">
                  <c:v>#N/A</c:v>
                </c:pt>
                <c:pt idx="8416">
                  <c:v>#N/A</c:v>
                </c:pt>
                <c:pt idx="8417">
                  <c:v>#N/A</c:v>
                </c:pt>
                <c:pt idx="8418">
                  <c:v>#N/A</c:v>
                </c:pt>
                <c:pt idx="8419">
                  <c:v>#N/A</c:v>
                </c:pt>
                <c:pt idx="8420">
                  <c:v>#N/A</c:v>
                </c:pt>
                <c:pt idx="8421">
                  <c:v>#N/A</c:v>
                </c:pt>
                <c:pt idx="8422">
                  <c:v>#N/A</c:v>
                </c:pt>
                <c:pt idx="8423">
                  <c:v>#N/A</c:v>
                </c:pt>
                <c:pt idx="8424">
                  <c:v>#N/A</c:v>
                </c:pt>
                <c:pt idx="8425">
                  <c:v>#N/A</c:v>
                </c:pt>
                <c:pt idx="8426">
                  <c:v>#N/A</c:v>
                </c:pt>
                <c:pt idx="8427">
                  <c:v>#N/A</c:v>
                </c:pt>
                <c:pt idx="8428">
                  <c:v>#N/A</c:v>
                </c:pt>
                <c:pt idx="8429">
                  <c:v>#N/A</c:v>
                </c:pt>
                <c:pt idx="8430">
                  <c:v>#N/A</c:v>
                </c:pt>
                <c:pt idx="8431">
                  <c:v>#N/A</c:v>
                </c:pt>
                <c:pt idx="8432">
                  <c:v>#N/A</c:v>
                </c:pt>
                <c:pt idx="8433">
                  <c:v>#N/A</c:v>
                </c:pt>
                <c:pt idx="8434">
                  <c:v>#N/A</c:v>
                </c:pt>
                <c:pt idx="8435">
                  <c:v>#N/A</c:v>
                </c:pt>
                <c:pt idx="8436">
                  <c:v>#N/A</c:v>
                </c:pt>
                <c:pt idx="8437">
                  <c:v>#N/A</c:v>
                </c:pt>
                <c:pt idx="8438">
                  <c:v>#N/A</c:v>
                </c:pt>
                <c:pt idx="8439">
                  <c:v>#N/A</c:v>
                </c:pt>
                <c:pt idx="8440">
                  <c:v>#N/A</c:v>
                </c:pt>
                <c:pt idx="8441">
                  <c:v>#N/A</c:v>
                </c:pt>
                <c:pt idx="8442">
                  <c:v>#N/A</c:v>
                </c:pt>
                <c:pt idx="8443">
                  <c:v>#N/A</c:v>
                </c:pt>
                <c:pt idx="8444">
                  <c:v>#N/A</c:v>
                </c:pt>
                <c:pt idx="8445">
                  <c:v>#N/A</c:v>
                </c:pt>
                <c:pt idx="8446">
                  <c:v>#N/A</c:v>
                </c:pt>
                <c:pt idx="8447">
                  <c:v>#N/A</c:v>
                </c:pt>
                <c:pt idx="8448">
                  <c:v>#N/A</c:v>
                </c:pt>
                <c:pt idx="8449">
                  <c:v>#N/A</c:v>
                </c:pt>
                <c:pt idx="8450">
                  <c:v>#N/A</c:v>
                </c:pt>
                <c:pt idx="8451">
                  <c:v>#N/A</c:v>
                </c:pt>
                <c:pt idx="8452">
                  <c:v>#N/A</c:v>
                </c:pt>
                <c:pt idx="8453">
                  <c:v>#N/A</c:v>
                </c:pt>
                <c:pt idx="8454">
                  <c:v>#N/A</c:v>
                </c:pt>
                <c:pt idx="8455">
                  <c:v>#N/A</c:v>
                </c:pt>
                <c:pt idx="8456">
                  <c:v>#N/A</c:v>
                </c:pt>
                <c:pt idx="8457">
                  <c:v>#N/A</c:v>
                </c:pt>
                <c:pt idx="8458">
                  <c:v>#N/A</c:v>
                </c:pt>
                <c:pt idx="8459">
                  <c:v>#N/A</c:v>
                </c:pt>
                <c:pt idx="8460">
                  <c:v>#N/A</c:v>
                </c:pt>
                <c:pt idx="8461">
                  <c:v>#N/A</c:v>
                </c:pt>
                <c:pt idx="8462">
                  <c:v>#N/A</c:v>
                </c:pt>
                <c:pt idx="8463">
                  <c:v>#N/A</c:v>
                </c:pt>
                <c:pt idx="8464">
                  <c:v>#N/A</c:v>
                </c:pt>
                <c:pt idx="8465">
                  <c:v>#N/A</c:v>
                </c:pt>
                <c:pt idx="8466">
                  <c:v>#N/A</c:v>
                </c:pt>
                <c:pt idx="8467">
                  <c:v>#N/A</c:v>
                </c:pt>
                <c:pt idx="8468">
                  <c:v>#N/A</c:v>
                </c:pt>
                <c:pt idx="8469">
                  <c:v>#N/A</c:v>
                </c:pt>
                <c:pt idx="8470">
                  <c:v>#N/A</c:v>
                </c:pt>
                <c:pt idx="8471">
                  <c:v>#N/A</c:v>
                </c:pt>
                <c:pt idx="8472">
                  <c:v>#N/A</c:v>
                </c:pt>
                <c:pt idx="8473">
                  <c:v>#N/A</c:v>
                </c:pt>
                <c:pt idx="8474">
                  <c:v>#N/A</c:v>
                </c:pt>
                <c:pt idx="8475">
                  <c:v>#N/A</c:v>
                </c:pt>
                <c:pt idx="8476">
                  <c:v>#N/A</c:v>
                </c:pt>
                <c:pt idx="8477">
                  <c:v>#N/A</c:v>
                </c:pt>
                <c:pt idx="8478">
                  <c:v>#N/A</c:v>
                </c:pt>
                <c:pt idx="8479">
                  <c:v>#N/A</c:v>
                </c:pt>
                <c:pt idx="8480">
                  <c:v>#N/A</c:v>
                </c:pt>
                <c:pt idx="8481">
                  <c:v>#N/A</c:v>
                </c:pt>
                <c:pt idx="8482">
                  <c:v>#N/A</c:v>
                </c:pt>
                <c:pt idx="8483">
                  <c:v>#N/A</c:v>
                </c:pt>
                <c:pt idx="8484">
                  <c:v>#N/A</c:v>
                </c:pt>
                <c:pt idx="8485">
                  <c:v>#N/A</c:v>
                </c:pt>
                <c:pt idx="8486">
                  <c:v>#N/A</c:v>
                </c:pt>
                <c:pt idx="8487">
                  <c:v>#N/A</c:v>
                </c:pt>
                <c:pt idx="8488">
                  <c:v>#N/A</c:v>
                </c:pt>
                <c:pt idx="8489">
                  <c:v>#N/A</c:v>
                </c:pt>
                <c:pt idx="8490">
                  <c:v>#N/A</c:v>
                </c:pt>
                <c:pt idx="8491">
                  <c:v>#N/A</c:v>
                </c:pt>
                <c:pt idx="8492">
                  <c:v>#N/A</c:v>
                </c:pt>
                <c:pt idx="8493">
                  <c:v>#N/A</c:v>
                </c:pt>
                <c:pt idx="8494">
                  <c:v>#N/A</c:v>
                </c:pt>
                <c:pt idx="8495">
                  <c:v>#N/A</c:v>
                </c:pt>
                <c:pt idx="8496">
                  <c:v>#N/A</c:v>
                </c:pt>
                <c:pt idx="8497">
                  <c:v>#N/A</c:v>
                </c:pt>
                <c:pt idx="8498">
                  <c:v>#N/A</c:v>
                </c:pt>
                <c:pt idx="8499">
                  <c:v>#N/A</c:v>
                </c:pt>
                <c:pt idx="8500">
                  <c:v>#N/A</c:v>
                </c:pt>
                <c:pt idx="8501">
                  <c:v>#N/A</c:v>
                </c:pt>
                <c:pt idx="8502">
                  <c:v>#N/A</c:v>
                </c:pt>
                <c:pt idx="8503">
                  <c:v>#N/A</c:v>
                </c:pt>
                <c:pt idx="8504">
                  <c:v>#N/A</c:v>
                </c:pt>
                <c:pt idx="8505">
                  <c:v>#N/A</c:v>
                </c:pt>
                <c:pt idx="8506">
                  <c:v>#N/A</c:v>
                </c:pt>
                <c:pt idx="8507">
                  <c:v>#N/A</c:v>
                </c:pt>
                <c:pt idx="8508">
                  <c:v>#N/A</c:v>
                </c:pt>
                <c:pt idx="8509">
                  <c:v>#N/A</c:v>
                </c:pt>
                <c:pt idx="8510">
                  <c:v>#N/A</c:v>
                </c:pt>
                <c:pt idx="8511">
                  <c:v>#N/A</c:v>
                </c:pt>
                <c:pt idx="8512">
                  <c:v>#N/A</c:v>
                </c:pt>
                <c:pt idx="8513">
                  <c:v>#N/A</c:v>
                </c:pt>
                <c:pt idx="8514">
                  <c:v>#N/A</c:v>
                </c:pt>
                <c:pt idx="8515">
                  <c:v>#N/A</c:v>
                </c:pt>
                <c:pt idx="8516">
                  <c:v>#N/A</c:v>
                </c:pt>
                <c:pt idx="8517">
                  <c:v>#N/A</c:v>
                </c:pt>
                <c:pt idx="8518">
                  <c:v>#N/A</c:v>
                </c:pt>
                <c:pt idx="8519">
                  <c:v>#N/A</c:v>
                </c:pt>
                <c:pt idx="8520">
                  <c:v>#N/A</c:v>
                </c:pt>
                <c:pt idx="8521">
                  <c:v>#N/A</c:v>
                </c:pt>
                <c:pt idx="8522">
                  <c:v>#N/A</c:v>
                </c:pt>
                <c:pt idx="8523">
                  <c:v>#N/A</c:v>
                </c:pt>
                <c:pt idx="8524">
                  <c:v>#N/A</c:v>
                </c:pt>
                <c:pt idx="8525">
                  <c:v>#N/A</c:v>
                </c:pt>
                <c:pt idx="8526">
                  <c:v>#N/A</c:v>
                </c:pt>
                <c:pt idx="8527">
                  <c:v>#N/A</c:v>
                </c:pt>
                <c:pt idx="8528">
                  <c:v>#N/A</c:v>
                </c:pt>
                <c:pt idx="8529">
                  <c:v>#N/A</c:v>
                </c:pt>
                <c:pt idx="8530">
                  <c:v>#N/A</c:v>
                </c:pt>
                <c:pt idx="8531">
                  <c:v>#N/A</c:v>
                </c:pt>
                <c:pt idx="8532">
                  <c:v>#N/A</c:v>
                </c:pt>
                <c:pt idx="8533">
                  <c:v>#N/A</c:v>
                </c:pt>
                <c:pt idx="8534">
                  <c:v>#N/A</c:v>
                </c:pt>
                <c:pt idx="8535">
                  <c:v>#N/A</c:v>
                </c:pt>
                <c:pt idx="8536">
                  <c:v>#N/A</c:v>
                </c:pt>
                <c:pt idx="8537">
                  <c:v>#N/A</c:v>
                </c:pt>
                <c:pt idx="8538">
                  <c:v>#N/A</c:v>
                </c:pt>
                <c:pt idx="8539">
                  <c:v>#N/A</c:v>
                </c:pt>
                <c:pt idx="8540">
                  <c:v>#N/A</c:v>
                </c:pt>
                <c:pt idx="8541">
                  <c:v>#N/A</c:v>
                </c:pt>
                <c:pt idx="8542">
                  <c:v>#N/A</c:v>
                </c:pt>
                <c:pt idx="8543">
                  <c:v>#N/A</c:v>
                </c:pt>
                <c:pt idx="8544">
                  <c:v>#N/A</c:v>
                </c:pt>
                <c:pt idx="8545">
                  <c:v>#N/A</c:v>
                </c:pt>
                <c:pt idx="8546">
                  <c:v>#N/A</c:v>
                </c:pt>
                <c:pt idx="8547">
                  <c:v>#N/A</c:v>
                </c:pt>
                <c:pt idx="8548">
                  <c:v>#N/A</c:v>
                </c:pt>
                <c:pt idx="8549">
                  <c:v>#N/A</c:v>
                </c:pt>
                <c:pt idx="8550">
                  <c:v>#N/A</c:v>
                </c:pt>
                <c:pt idx="8551">
                  <c:v>#N/A</c:v>
                </c:pt>
                <c:pt idx="8552">
                  <c:v>#N/A</c:v>
                </c:pt>
                <c:pt idx="8553">
                  <c:v>#N/A</c:v>
                </c:pt>
                <c:pt idx="8554">
                  <c:v>#N/A</c:v>
                </c:pt>
                <c:pt idx="8555">
                  <c:v>#N/A</c:v>
                </c:pt>
                <c:pt idx="8556">
                  <c:v>#N/A</c:v>
                </c:pt>
                <c:pt idx="8557">
                  <c:v>#N/A</c:v>
                </c:pt>
                <c:pt idx="8558">
                  <c:v>#N/A</c:v>
                </c:pt>
                <c:pt idx="8559">
                  <c:v>#N/A</c:v>
                </c:pt>
                <c:pt idx="8560">
                  <c:v>#N/A</c:v>
                </c:pt>
                <c:pt idx="8561">
                  <c:v>#N/A</c:v>
                </c:pt>
                <c:pt idx="8562">
                  <c:v>#N/A</c:v>
                </c:pt>
                <c:pt idx="8563">
                  <c:v>#N/A</c:v>
                </c:pt>
                <c:pt idx="8564">
                  <c:v>#N/A</c:v>
                </c:pt>
                <c:pt idx="8565">
                  <c:v>#N/A</c:v>
                </c:pt>
                <c:pt idx="8566">
                  <c:v>#N/A</c:v>
                </c:pt>
                <c:pt idx="8567">
                  <c:v>#N/A</c:v>
                </c:pt>
                <c:pt idx="8568">
                  <c:v>#N/A</c:v>
                </c:pt>
                <c:pt idx="8569">
                  <c:v>#N/A</c:v>
                </c:pt>
                <c:pt idx="8570">
                  <c:v>#N/A</c:v>
                </c:pt>
                <c:pt idx="8571">
                  <c:v>#N/A</c:v>
                </c:pt>
                <c:pt idx="8572">
                  <c:v>#N/A</c:v>
                </c:pt>
                <c:pt idx="8573">
                  <c:v>#N/A</c:v>
                </c:pt>
                <c:pt idx="8574">
                  <c:v>#N/A</c:v>
                </c:pt>
                <c:pt idx="8575">
                  <c:v>#N/A</c:v>
                </c:pt>
                <c:pt idx="8576">
                  <c:v>#N/A</c:v>
                </c:pt>
                <c:pt idx="8577">
                  <c:v>#N/A</c:v>
                </c:pt>
                <c:pt idx="8578">
                  <c:v>#N/A</c:v>
                </c:pt>
                <c:pt idx="8579">
                  <c:v>#N/A</c:v>
                </c:pt>
                <c:pt idx="8580">
                  <c:v>#N/A</c:v>
                </c:pt>
                <c:pt idx="8581">
                  <c:v>#N/A</c:v>
                </c:pt>
                <c:pt idx="8582">
                  <c:v>#N/A</c:v>
                </c:pt>
                <c:pt idx="8583">
                  <c:v>#N/A</c:v>
                </c:pt>
                <c:pt idx="8584">
                  <c:v>#N/A</c:v>
                </c:pt>
                <c:pt idx="8585">
                  <c:v>#N/A</c:v>
                </c:pt>
                <c:pt idx="8586">
                  <c:v>#N/A</c:v>
                </c:pt>
                <c:pt idx="8587">
                  <c:v>#N/A</c:v>
                </c:pt>
                <c:pt idx="8588">
                  <c:v>#N/A</c:v>
                </c:pt>
                <c:pt idx="8589">
                  <c:v>#N/A</c:v>
                </c:pt>
                <c:pt idx="8590">
                  <c:v>#N/A</c:v>
                </c:pt>
                <c:pt idx="8591">
                  <c:v>#N/A</c:v>
                </c:pt>
                <c:pt idx="8592">
                  <c:v>#N/A</c:v>
                </c:pt>
                <c:pt idx="8593">
                  <c:v>#N/A</c:v>
                </c:pt>
                <c:pt idx="8594">
                  <c:v>#N/A</c:v>
                </c:pt>
                <c:pt idx="8595">
                  <c:v>#N/A</c:v>
                </c:pt>
                <c:pt idx="8596">
                  <c:v>#N/A</c:v>
                </c:pt>
                <c:pt idx="8597">
                  <c:v>#N/A</c:v>
                </c:pt>
                <c:pt idx="8598">
                  <c:v>#N/A</c:v>
                </c:pt>
                <c:pt idx="8599">
                  <c:v>#N/A</c:v>
                </c:pt>
                <c:pt idx="8600">
                  <c:v>#N/A</c:v>
                </c:pt>
                <c:pt idx="8601">
                  <c:v>#N/A</c:v>
                </c:pt>
                <c:pt idx="8602">
                  <c:v>#N/A</c:v>
                </c:pt>
                <c:pt idx="8603">
                  <c:v>#N/A</c:v>
                </c:pt>
                <c:pt idx="8604">
                  <c:v>#N/A</c:v>
                </c:pt>
                <c:pt idx="8605">
                  <c:v>#N/A</c:v>
                </c:pt>
                <c:pt idx="8606">
                  <c:v>#N/A</c:v>
                </c:pt>
                <c:pt idx="8607">
                  <c:v>#N/A</c:v>
                </c:pt>
                <c:pt idx="8608">
                  <c:v>#N/A</c:v>
                </c:pt>
                <c:pt idx="8609">
                  <c:v>#N/A</c:v>
                </c:pt>
                <c:pt idx="8610">
                  <c:v>#N/A</c:v>
                </c:pt>
                <c:pt idx="8611">
                  <c:v>#N/A</c:v>
                </c:pt>
                <c:pt idx="8612">
                  <c:v>#N/A</c:v>
                </c:pt>
                <c:pt idx="8613">
                  <c:v>#N/A</c:v>
                </c:pt>
                <c:pt idx="8614">
                  <c:v>#N/A</c:v>
                </c:pt>
                <c:pt idx="8615">
                  <c:v>#N/A</c:v>
                </c:pt>
                <c:pt idx="8616">
                  <c:v>#N/A</c:v>
                </c:pt>
                <c:pt idx="8617">
                  <c:v>#N/A</c:v>
                </c:pt>
                <c:pt idx="8618">
                  <c:v>#N/A</c:v>
                </c:pt>
                <c:pt idx="8619">
                  <c:v>#N/A</c:v>
                </c:pt>
                <c:pt idx="8620">
                  <c:v>#N/A</c:v>
                </c:pt>
                <c:pt idx="8621">
                  <c:v>#N/A</c:v>
                </c:pt>
                <c:pt idx="8622">
                  <c:v>#N/A</c:v>
                </c:pt>
                <c:pt idx="8623">
                  <c:v>#N/A</c:v>
                </c:pt>
                <c:pt idx="8624">
                  <c:v>#N/A</c:v>
                </c:pt>
                <c:pt idx="8625">
                  <c:v>#N/A</c:v>
                </c:pt>
                <c:pt idx="8626">
                  <c:v>#N/A</c:v>
                </c:pt>
                <c:pt idx="8627">
                  <c:v>#N/A</c:v>
                </c:pt>
                <c:pt idx="8628">
                  <c:v>#N/A</c:v>
                </c:pt>
                <c:pt idx="8629">
                  <c:v>#N/A</c:v>
                </c:pt>
                <c:pt idx="8630">
                  <c:v>#N/A</c:v>
                </c:pt>
                <c:pt idx="8631">
                  <c:v>#N/A</c:v>
                </c:pt>
                <c:pt idx="8632">
                  <c:v>#N/A</c:v>
                </c:pt>
                <c:pt idx="8633">
                  <c:v>#N/A</c:v>
                </c:pt>
                <c:pt idx="8634">
                  <c:v>#N/A</c:v>
                </c:pt>
                <c:pt idx="8635">
                  <c:v>#N/A</c:v>
                </c:pt>
                <c:pt idx="8636">
                  <c:v>#N/A</c:v>
                </c:pt>
                <c:pt idx="8637">
                  <c:v>#N/A</c:v>
                </c:pt>
                <c:pt idx="8638">
                  <c:v>#N/A</c:v>
                </c:pt>
                <c:pt idx="8639">
                  <c:v>#N/A</c:v>
                </c:pt>
                <c:pt idx="8640">
                  <c:v>#N/A</c:v>
                </c:pt>
                <c:pt idx="8641">
                  <c:v>#N/A</c:v>
                </c:pt>
                <c:pt idx="8642">
                  <c:v>#N/A</c:v>
                </c:pt>
                <c:pt idx="8643">
                  <c:v>#N/A</c:v>
                </c:pt>
                <c:pt idx="8644">
                  <c:v>#N/A</c:v>
                </c:pt>
                <c:pt idx="8645">
                  <c:v>#N/A</c:v>
                </c:pt>
                <c:pt idx="8646">
                  <c:v>#N/A</c:v>
                </c:pt>
                <c:pt idx="8647">
                  <c:v>#N/A</c:v>
                </c:pt>
                <c:pt idx="8648">
                  <c:v>#N/A</c:v>
                </c:pt>
                <c:pt idx="8649">
                  <c:v>#N/A</c:v>
                </c:pt>
                <c:pt idx="8650">
                  <c:v>#N/A</c:v>
                </c:pt>
                <c:pt idx="8651">
                  <c:v>#N/A</c:v>
                </c:pt>
                <c:pt idx="8652">
                  <c:v>#N/A</c:v>
                </c:pt>
                <c:pt idx="8653">
                  <c:v>#N/A</c:v>
                </c:pt>
                <c:pt idx="8654">
                  <c:v>#N/A</c:v>
                </c:pt>
                <c:pt idx="8655">
                  <c:v>#N/A</c:v>
                </c:pt>
                <c:pt idx="8656">
                  <c:v>#N/A</c:v>
                </c:pt>
                <c:pt idx="8657">
                  <c:v>#N/A</c:v>
                </c:pt>
                <c:pt idx="8658">
                  <c:v>#N/A</c:v>
                </c:pt>
                <c:pt idx="8659">
                  <c:v>#N/A</c:v>
                </c:pt>
                <c:pt idx="8660">
                  <c:v>#N/A</c:v>
                </c:pt>
                <c:pt idx="8661">
                  <c:v>#N/A</c:v>
                </c:pt>
                <c:pt idx="8662">
                  <c:v>#N/A</c:v>
                </c:pt>
                <c:pt idx="8663">
                  <c:v>#N/A</c:v>
                </c:pt>
                <c:pt idx="8664">
                  <c:v>#N/A</c:v>
                </c:pt>
                <c:pt idx="8665">
                  <c:v>#N/A</c:v>
                </c:pt>
                <c:pt idx="8666">
                  <c:v>#N/A</c:v>
                </c:pt>
                <c:pt idx="8667">
                  <c:v>#N/A</c:v>
                </c:pt>
                <c:pt idx="8668">
                  <c:v>#N/A</c:v>
                </c:pt>
                <c:pt idx="8669">
                  <c:v>#N/A</c:v>
                </c:pt>
                <c:pt idx="8670">
                  <c:v>#N/A</c:v>
                </c:pt>
                <c:pt idx="8671">
                  <c:v>#N/A</c:v>
                </c:pt>
                <c:pt idx="8672">
                  <c:v>#N/A</c:v>
                </c:pt>
                <c:pt idx="8673">
                  <c:v>#N/A</c:v>
                </c:pt>
                <c:pt idx="8674">
                  <c:v>#N/A</c:v>
                </c:pt>
                <c:pt idx="8675">
                  <c:v>#N/A</c:v>
                </c:pt>
                <c:pt idx="8676">
                  <c:v>#N/A</c:v>
                </c:pt>
                <c:pt idx="8677">
                  <c:v>#N/A</c:v>
                </c:pt>
                <c:pt idx="8678">
                  <c:v>#N/A</c:v>
                </c:pt>
                <c:pt idx="8679">
                  <c:v>#N/A</c:v>
                </c:pt>
                <c:pt idx="8680">
                  <c:v>#N/A</c:v>
                </c:pt>
                <c:pt idx="8681">
                  <c:v>#N/A</c:v>
                </c:pt>
                <c:pt idx="8682">
                  <c:v>#N/A</c:v>
                </c:pt>
                <c:pt idx="8683">
                  <c:v>#N/A</c:v>
                </c:pt>
                <c:pt idx="8684">
                  <c:v>#N/A</c:v>
                </c:pt>
                <c:pt idx="8685">
                  <c:v>#N/A</c:v>
                </c:pt>
                <c:pt idx="8686">
                  <c:v>#N/A</c:v>
                </c:pt>
                <c:pt idx="8687">
                  <c:v>#N/A</c:v>
                </c:pt>
                <c:pt idx="8688">
                  <c:v>#N/A</c:v>
                </c:pt>
                <c:pt idx="8689">
                  <c:v>#N/A</c:v>
                </c:pt>
                <c:pt idx="8690">
                  <c:v>#N/A</c:v>
                </c:pt>
                <c:pt idx="8691">
                  <c:v>#N/A</c:v>
                </c:pt>
                <c:pt idx="8692">
                  <c:v>#N/A</c:v>
                </c:pt>
                <c:pt idx="8693">
                  <c:v>#N/A</c:v>
                </c:pt>
                <c:pt idx="8694">
                  <c:v>#N/A</c:v>
                </c:pt>
                <c:pt idx="8695">
                  <c:v>#N/A</c:v>
                </c:pt>
                <c:pt idx="8696">
                  <c:v>#N/A</c:v>
                </c:pt>
                <c:pt idx="8697">
                  <c:v>#N/A</c:v>
                </c:pt>
                <c:pt idx="8698">
                  <c:v>#N/A</c:v>
                </c:pt>
                <c:pt idx="8699">
                  <c:v>#N/A</c:v>
                </c:pt>
                <c:pt idx="8700">
                  <c:v>#N/A</c:v>
                </c:pt>
                <c:pt idx="8701">
                  <c:v>#N/A</c:v>
                </c:pt>
                <c:pt idx="8702">
                  <c:v>#N/A</c:v>
                </c:pt>
                <c:pt idx="8703">
                  <c:v>#N/A</c:v>
                </c:pt>
                <c:pt idx="8704">
                  <c:v>#N/A</c:v>
                </c:pt>
                <c:pt idx="8705">
                  <c:v>#N/A</c:v>
                </c:pt>
                <c:pt idx="8706">
                  <c:v>#N/A</c:v>
                </c:pt>
                <c:pt idx="8707">
                  <c:v>#N/A</c:v>
                </c:pt>
                <c:pt idx="8708">
                  <c:v>#N/A</c:v>
                </c:pt>
                <c:pt idx="8709">
                  <c:v>#N/A</c:v>
                </c:pt>
                <c:pt idx="8710">
                  <c:v>#N/A</c:v>
                </c:pt>
                <c:pt idx="8711">
                  <c:v>#N/A</c:v>
                </c:pt>
                <c:pt idx="8712">
                  <c:v>#N/A</c:v>
                </c:pt>
                <c:pt idx="8713">
                  <c:v>#N/A</c:v>
                </c:pt>
                <c:pt idx="8714">
                  <c:v>#N/A</c:v>
                </c:pt>
                <c:pt idx="8715">
                  <c:v>#N/A</c:v>
                </c:pt>
                <c:pt idx="8716">
                  <c:v>#N/A</c:v>
                </c:pt>
                <c:pt idx="8717">
                  <c:v>#N/A</c:v>
                </c:pt>
                <c:pt idx="8718">
                  <c:v>#N/A</c:v>
                </c:pt>
                <c:pt idx="8719">
                  <c:v>#N/A</c:v>
                </c:pt>
                <c:pt idx="8720">
                  <c:v>#N/A</c:v>
                </c:pt>
                <c:pt idx="8721">
                  <c:v>#N/A</c:v>
                </c:pt>
                <c:pt idx="8722">
                  <c:v>#N/A</c:v>
                </c:pt>
                <c:pt idx="8723">
                  <c:v>#N/A</c:v>
                </c:pt>
                <c:pt idx="8724">
                  <c:v>#N/A</c:v>
                </c:pt>
                <c:pt idx="8725">
                  <c:v>#N/A</c:v>
                </c:pt>
                <c:pt idx="8726">
                  <c:v>#N/A</c:v>
                </c:pt>
                <c:pt idx="8727">
                  <c:v>#N/A</c:v>
                </c:pt>
                <c:pt idx="8728">
                  <c:v>#N/A</c:v>
                </c:pt>
                <c:pt idx="8729">
                  <c:v>#N/A</c:v>
                </c:pt>
                <c:pt idx="8730">
                  <c:v>#N/A</c:v>
                </c:pt>
                <c:pt idx="8731">
                  <c:v>#N/A</c:v>
                </c:pt>
                <c:pt idx="8732">
                  <c:v>#N/A</c:v>
                </c:pt>
                <c:pt idx="8733">
                  <c:v>#N/A</c:v>
                </c:pt>
                <c:pt idx="8734">
                  <c:v>#N/A</c:v>
                </c:pt>
                <c:pt idx="8735">
                  <c:v>#N/A</c:v>
                </c:pt>
                <c:pt idx="8736">
                  <c:v>#N/A</c:v>
                </c:pt>
                <c:pt idx="8737">
                  <c:v>#N/A</c:v>
                </c:pt>
                <c:pt idx="8738">
                  <c:v>#N/A</c:v>
                </c:pt>
                <c:pt idx="8739">
                  <c:v>#N/A</c:v>
                </c:pt>
                <c:pt idx="8740">
                  <c:v>#N/A</c:v>
                </c:pt>
                <c:pt idx="8741">
                  <c:v>#N/A</c:v>
                </c:pt>
                <c:pt idx="8742">
                  <c:v>#N/A</c:v>
                </c:pt>
                <c:pt idx="8743">
                  <c:v>#N/A</c:v>
                </c:pt>
                <c:pt idx="8744">
                  <c:v>#N/A</c:v>
                </c:pt>
                <c:pt idx="8745">
                  <c:v>#N/A</c:v>
                </c:pt>
                <c:pt idx="8746">
                  <c:v>#N/A</c:v>
                </c:pt>
                <c:pt idx="8747">
                  <c:v>#N/A</c:v>
                </c:pt>
                <c:pt idx="8748">
                  <c:v>#N/A</c:v>
                </c:pt>
                <c:pt idx="8749">
                  <c:v>#N/A</c:v>
                </c:pt>
                <c:pt idx="8750">
                  <c:v>#N/A</c:v>
                </c:pt>
                <c:pt idx="8751">
                  <c:v>#N/A</c:v>
                </c:pt>
                <c:pt idx="8752">
                  <c:v>#N/A</c:v>
                </c:pt>
                <c:pt idx="8753">
                  <c:v>#N/A</c:v>
                </c:pt>
                <c:pt idx="8754">
                  <c:v>#N/A</c:v>
                </c:pt>
                <c:pt idx="8755">
                  <c:v>#N/A</c:v>
                </c:pt>
                <c:pt idx="8756">
                  <c:v>#N/A</c:v>
                </c:pt>
                <c:pt idx="8757">
                  <c:v>#N/A</c:v>
                </c:pt>
                <c:pt idx="8758">
                  <c:v>#N/A</c:v>
                </c:pt>
                <c:pt idx="8759">
                  <c:v>#N/A</c:v>
                </c:pt>
                <c:pt idx="8760">
                  <c:v>#N/A</c:v>
                </c:pt>
                <c:pt idx="8761">
                  <c:v>#N/A</c:v>
                </c:pt>
                <c:pt idx="8762">
                  <c:v>#N/A</c:v>
                </c:pt>
                <c:pt idx="8763">
                  <c:v>#N/A</c:v>
                </c:pt>
                <c:pt idx="8764">
                  <c:v>#N/A</c:v>
                </c:pt>
                <c:pt idx="8765">
                  <c:v>#N/A</c:v>
                </c:pt>
                <c:pt idx="8766">
                  <c:v>#N/A</c:v>
                </c:pt>
                <c:pt idx="8767">
                  <c:v>#N/A</c:v>
                </c:pt>
                <c:pt idx="8768">
                  <c:v>#N/A</c:v>
                </c:pt>
                <c:pt idx="8769">
                  <c:v>#N/A</c:v>
                </c:pt>
                <c:pt idx="8770">
                  <c:v>#N/A</c:v>
                </c:pt>
                <c:pt idx="8771">
                  <c:v>#N/A</c:v>
                </c:pt>
                <c:pt idx="8772">
                  <c:v>#N/A</c:v>
                </c:pt>
                <c:pt idx="8773">
                  <c:v>#N/A</c:v>
                </c:pt>
                <c:pt idx="8774">
                  <c:v>#N/A</c:v>
                </c:pt>
                <c:pt idx="8775">
                  <c:v>#N/A</c:v>
                </c:pt>
                <c:pt idx="8776">
                  <c:v>#N/A</c:v>
                </c:pt>
                <c:pt idx="8777">
                  <c:v>#N/A</c:v>
                </c:pt>
                <c:pt idx="8778">
                  <c:v>#N/A</c:v>
                </c:pt>
                <c:pt idx="8779">
                  <c:v>#N/A</c:v>
                </c:pt>
                <c:pt idx="8780">
                  <c:v>#N/A</c:v>
                </c:pt>
                <c:pt idx="8781">
                  <c:v>#N/A</c:v>
                </c:pt>
                <c:pt idx="8782">
                  <c:v>#N/A</c:v>
                </c:pt>
                <c:pt idx="8783">
                  <c:v>#N/A</c:v>
                </c:pt>
                <c:pt idx="8784">
                  <c:v>#N/A</c:v>
                </c:pt>
                <c:pt idx="8785">
                  <c:v>#N/A</c:v>
                </c:pt>
                <c:pt idx="8786">
                  <c:v>#N/A</c:v>
                </c:pt>
                <c:pt idx="8787">
                  <c:v>#N/A</c:v>
                </c:pt>
                <c:pt idx="8788">
                  <c:v>#N/A</c:v>
                </c:pt>
                <c:pt idx="8789">
                  <c:v>#N/A</c:v>
                </c:pt>
                <c:pt idx="8790">
                  <c:v>#N/A</c:v>
                </c:pt>
                <c:pt idx="8791">
                  <c:v>#N/A</c:v>
                </c:pt>
                <c:pt idx="8792">
                  <c:v>#N/A</c:v>
                </c:pt>
                <c:pt idx="8793">
                  <c:v>#N/A</c:v>
                </c:pt>
                <c:pt idx="8794">
                  <c:v>#N/A</c:v>
                </c:pt>
                <c:pt idx="8795">
                  <c:v>#N/A</c:v>
                </c:pt>
                <c:pt idx="8796">
                  <c:v>#N/A</c:v>
                </c:pt>
                <c:pt idx="8797">
                  <c:v>#N/A</c:v>
                </c:pt>
                <c:pt idx="8798">
                  <c:v>#N/A</c:v>
                </c:pt>
                <c:pt idx="8799">
                  <c:v>#N/A</c:v>
                </c:pt>
                <c:pt idx="8800">
                  <c:v>#N/A</c:v>
                </c:pt>
                <c:pt idx="8801">
                  <c:v>#N/A</c:v>
                </c:pt>
                <c:pt idx="8802">
                  <c:v>#N/A</c:v>
                </c:pt>
                <c:pt idx="8803">
                  <c:v>#N/A</c:v>
                </c:pt>
                <c:pt idx="8804">
                  <c:v>#N/A</c:v>
                </c:pt>
                <c:pt idx="8805">
                  <c:v>#N/A</c:v>
                </c:pt>
                <c:pt idx="8806">
                  <c:v>#N/A</c:v>
                </c:pt>
                <c:pt idx="8807">
                  <c:v>#N/A</c:v>
                </c:pt>
                <c:pt idx="8808">
                  <c:v>#N/A</c:v>
                </c:pt>
                <c:pt idx="8809">
                  <c:v>#N/A</c:v>
                </c:pt>
                <c:pt idx="8810">
                  <c:v>#N/A</c:v>
                </c:pt>
                <c:pt idx="8811">
                  <c:v>#N/A</c:v>
                </c:pt>
                <c:pt idx="8812">
                  <c:v>#N/A</c:v>
                </c:pt>
                <c:pt idx="8813">
                  <c:v>#N/A</c:v>
                </c:pt>
                <c:pt idx="8814">
                  <c:v>#N/A</c:v>
                </c:pt>
                <c:pt idx="8815">
                  <c:v>#N/A</c:v>
                </c:pt>
                <c:pt idx="8816">
                  <c:v>#N/A</c:v>
                </c:pt>
                <c:pt idx="8817">
                  <c:v>#N/A</c:v>
                </c:pt>
                <c:pt idx="8818">
                  <c:v>#N/A</c:v>
                </c:pt>
                <c:pt idx="8819">
                  <c:v>#N/A</c:v>
                </c:pt>
                <c:pt idx="8820">
                  <c:v>#N/A</c:v>
                </c:pt>
                <c:pt idx="8821">
                  <c:v>#N/A</c:v>
                </c:pt>
                <c:pt idx="8822">
                  <c:v>#N/A</c:v>
                </c:pt>
                <c:pt idx="8823">
                  <c:v>#N/A</c:v>
                </c:pt>
                <c:pt idx="8824">
                  <c:v>#N/A</c:v>
                </c:pt>
                <c:pt idx="8825">
                  <c:v>#N/A</c:v>
                </c:pt>
                <c:pt idx="8826">
                  <c:v>#N/A</c:v>
                </c:pt>
                <c:pt idx="8827">
                  <c:v>#N/A</c:v>
                </c:pt>
                <c:pt idx="8828">
                  <c:v>#N/A</c:v>
                </c:pt>
                <c:pt idx="8829">
                  <c:v>#N/A</c:v>
                </c:pt>
                <c:pt idx="8830">
                  <c:v>#N/A</c:v>
                </c:pt>
                <c:pt idx="8831">
                  <c:v>#N/A</c:v>
                </c:pt>
                <c:pt idx="8832">
                  <c:v>#N/A</c:v>
                </c:pt>
                <c:pt idx="8833">
                  <c:v>#N/A</c:v>
                </c:pt>
                <c:pt idx="8834">
                  <c:v>#N/A</c:v>
                </c:pt>
                <c:pt idx="8835">
                  <c:v>#N/A</c:v>
                </c:pt>
                <c:pt idx="8836">
                  <c:v>#N/A</c:v>
                </c:pt>
                <c:pt idx="8837">
                  <c:v>#N/A</c:v>
                </c:pt>
                <c:pt idx="8838">
                  <c:v>#N/A</c:v>
                </c:pt>
                <c:pt idx="8839">
                  <c:v>#N/A</c:v>
                </c:pt>
                <c:pt idx="8840">
                  <c:v>#N/A</c:v>
                </c:pt>
                <c:pt idx="8841">
                  <c:v>#N/A</c:v>
                </c:pt>
                <c:pt idx="8842">
                  <c:v>#N/A</c:v>
                </c:pt>
                <c:pt idx="8843">
                  <c:v>#N/A</c:v>
                </c:pt>
                <c:pt idx="8844">
                  <c:v>#N/A</c:v>
                </c:pt>
                <c:pt idx="8845">
                  <c:v>#N/A</c:v>
                </c:pt>
                <c:pt idx="8846">
                  <c:v>#N/A</c:v>
                </c:pt>
                <c:pt idx="8847">
                  <c:v>#N/A</c:v>
                </c:pt>
                <c:pt idx="8848">
                  <c:v>#N/A</c:v>
                </c:pt>
                <c:pt idx="8849">
                  <c:v>#N/A</c:v>
                </c:pt>
                <c:pt idx="8850">
                  <c:v>#N/A</c:v>
                </c:pt>
                <c:pt idx="8851">
                  <c:v>#N/A</c:v>
                </c:pt>
                <c:pt idx="8852">
                  <c:v>#N/A</c:v>
                </c:pt>
                <c:pt idx="8853">
                  <c:v>#N/A</c:v>
                </c:pt>
                <c:pt idx="8854">
                  <c:v>#N/A</c:v>
                </c:pt>
                <c:pt idx="8855">
                  <c:v>#N/A</c:v>
                </c:pt>
                <c:pt idx="8856">
                  <c:v>#N/A</c:v>
                </c:pt>
                <c:pt idx="8857">
                  <c:v>#N/A</c:v>
                </c:pt>
                <c:pt idx="8858">
                  <c:v>#N/A</c:v>
                </c:pt>
                <c:pt idx="8859">
                  <c:v>#N/A</c:v>
                </c:pt>
                <c:pt idx="8860">
                  <c:v>#N/A</c:v>
                </c:pt>
                <c:pt idx="8861">
                  <c:v>#N/A</c:v>
                </c:pt>
                <c:pt idx="8862">
                  <c:v>#N/A</c:v>
                </c:pt>
                <c:pt idx="8863">
                  <c:v>#N/A</c:v>
                </c:pt>
                <c:pt idx="8864">
                  <c:v>#N/A</c:v>
                </c:pt>
                <c:pt idx="8865">
                  <c:v>#N/A</c:v>
                </c:pt>
                <c:pt idx="8866">
                  <c:v>#N/A</c:v>
                </c:pt>
                <c:pt idx="8867">
                  <c:v>#N/A</c:v>
                </c:pt>
                <c:pt idx="8868">
                  <c:v>#N/A</c:v>
                </c:pt>
                <c:pt idx="8869">
                  <c:v>#N/A</c:v>
                </c:pt>
                <c:pt idx="8870">
                  <c:v>#N/A</c:v>
                </c:pt>
                <c:pt idx="8871">
                  <c:v>#N/A</c:v>
                </c:pt>
                <c:pt idx="8872">
                  <c:v>#N/A</c:v>
                </c:pt>
                <c:pt idx="8873">
                  <c:v>#N/A</c:v>
                </c:pt>
                <c:pt idx="8874">
                  <c:v>#N/A</c:v>
                </c:pt>
                <c:pt idx="8875">
                  <c:v>#N/A</c:v>
                </c:pt>
                <c:pt idx="8876">
                  <c:v>#N/A</c:v>
                </c:pt>
                <c:pt idx="8877">
                  <c:v>#N/A</c:v>
                </c:pt>
                <c:pt idx="8878">
                  <c:v>#N/A</c:v>
                </c:pt>
                <c:pt idx="8879">
                  <c:v>#N/A</c:v>
                </c:pt>
                <c:pt idx="8880">
                  <c:v>#N/A</c:v>
                </c:pt>
                <c:pt idx="8881">
                  <c:v>#N/A</c:v>
                </c:pt>
                <c:pt idx="8882">
                  <c:v>#N/A</c:v>
                </c:pt>
                <c:pt idx="8883">
                  <c:v>#N/A</c:v>
                </c:pt>
                <c:pt idx="8884">
                  <c:v>#N/A</c:v>
                </c:pt>
                <c:pt idx="8885">
                  <c:v>#N/A</c:v>
                </c:pt>
                <c:pt idx="8886">
                  <c:v>#N/A</c:v>
                </c:pt>
                <c:pt idx="8887">
                  <c:v>#N/A</c:v>
                </c:pt>
                <c:pt idx="8888">
                  <c:v>#N/A</c:v>
                </c:pt>
                <c:pt idx="8889">
                  <c:v>#N/A</c:v>
                </c:pt>
                <c:pt idx="8890">
                  <c:v>#N/A</c:v>
                </c:pt>
                <c:pt idx="8891">
                  <c:v>#N/A</c:v>
                </c:pt>
                <c:pt idx="8892">
                  <c:v>#N/A</c:v>
                </c:pt>
                <c:pt idx="8893">
                  <c:v>#N/A</c:v>
                </c:pt>
                <c:pt idx="8894">
                  <c:v>#N/A</c:v>
                </c:pt>
                <c:pt idx="8895">
                  <c:v>#N/A</c:v>
                </c:pt>
                <c:pt idx="8896">
                  <c:v>#N/A</c:v>
                </c:pt>
                <c:pt idx="8897">
                  <c:v>#N/A</c:v>
                </c:pt>
                <c:pt idx="8898">
                  <c:v>#N/A</c:v>
                </c:pt>
                <c:pt idx="8899">
                  <c:v>#N/A</c:v>
                </c:pt>
                <c:pt idx="8900">
                  <c:v>#N/A</c:v>
                </c:pt>
                <c:pt idx="8901">
                  <c:v>#N/A</c:v>
                </c:pt>
                <c:pt idx="8902">
                  <c:v>#N/A</c:v>
                </c:pt>
                <c:pt idx="8903">
                  <c:v>#N/A</c:v>
                </c:pt>
                <c:pt idx="8904">
                  <c:v>#N/A</c:v>
                </c:pt>
                <c:pt idx="8905">
                  <c:v>#N/A</c:v>
                </c:pt>
                <c:pt idx="8906">
                  <c:v>#N/A</c:v>
                </c:pt>
                <c:pt idx="8907">
                  <c:v>#N/A</c:v>
                </c:pt>
                <c:pt idx="8908">
                  <c:v>#N/A</c:v>
                </c:pt>
                <c:pt idx="8909">
                  <c:v>#N/A</c:v>
                </c:pt>
                <c:pt idx="8910">
                  <c:v>#N/A</c:v>
                </c:pt>
                <c:pt idx="8911">
                  <c:v>#N/A</c:v>
                </c:pt>
                <c:pt idx="8912">
                  <c:v>#N/A</c:v>
                </c:pt>
                <c:pt idx="8913">
                  <c:v>#N/A</c:v>
                </c:pt>
                <c:pt idx="8914">
                  <c:v>#N/A</c:v>
                </c:pt>
                <c:pt idx="8915">
                  <c:v>#N/A</c:v>
                </c:pt>
                <c:pt idx="8916">
                  <c:v>#N/A</c:v>
                </c:pt>
                <c:pt idx="8917">
                  <c:v>#N/A</c:v>
                </c:pt>
                <c:pt idx="8918">
                  <c:v>#N/A</c:v>
                </c:pt>
                <c:pt idx="8919">
                  <c:v>#N/A</c:v>
                </c:pt>
                <c:pt idx="8920">
                  <c:v>#N/A</c:v>
                </c:pt>
                <c:pt idx="8921">
                  <c:v>#N/A</c:v>
                </c:pt>
                <c:pt idx="8922">
                  <c:v>#N/A</c:v>
                </c:pt>
                <c:pt idx="8923">
                  <c:v>#N/A</c:v>
                </c:pt>
                <c:pt idx="8924">
                  <c:v>#N/A</c:v>
                </c:pt>
                <c:pt idx="8925">
                  <c:v>#N/A</c:v>
                </c:pt>
                <c:pt idx="8926">
                  <c:v>#N/A</c:v>
                </c:pt>
                <c:pt idx="8927">
                  <c:v>#N/A</c:v>
                </c:pt>
                <c:pt idx="8928">
                  <c:v>#N/A</c:v>
                </c:pt>
                <c:pt idx="8929">
                  <c:v>#N/A</c:v>
                </c:pt>
                <c:pt idx="8930">
                  <c:v>#N/A</c:v>
                </c:pt>
                <c:pt idx="8931">
                  <c:v>#N/A</c:v>
                </c:pt>
                <c:pt idx="8932">
                  <c:v>#N/A</c:v>
                </c:pt>
                <c:pt idx="8933">
                  <c:v>#N/A</c:v>
                </c:pt>
                <c:pt idx="8934">
                  <c:v>#N/A</c:v>
                </c:pt>
                <c:pt idx="8935">
                  <c:v>#N/A</c:v>
                </c:pt>
                <c:pt idx="8936">
                  <c:v>#N/A</c:v>
                </c:pt>
                <c:pt idx="8937">
                  <c:v>#N/A</c:v>
                </c:pt>
                <c:pt idx="8938">
                  <c:v>#N/A</c:v>
                </c:pt>
                <c:pt idx="8939">
                  <c:v>#N/A</c:v>
                </c:pt>
                <c:pt idx="8940">
                  <c:v>#N/A</c:v>
                </c:pt>
                <c:pt idx="8941">
                  <c:v>#N/A</c:v>
                </c:pt>
                <c:pt idx="8942">
                  <c:v>#N/A</c:v>
                </c:pt>
                <c:pt idx="8943">
                  <c:v>#N/A</c:v>
                </c:pt>
                <c:pt idx="8944">
                  <c:v>#N/A</c:v>
                </c:pt>
                <c:pt idx="8945">
                  <c:v>#N/A</c:v>
                </c:pt>
                <c:pt idx="8946">
                  <c:v>#N/A</c:v>
                </c:pt>
                <c:pt idx="8947">
                  <c:v>#N/A</c:v>
                </c:pt>
                <c:pt idx="8948">
                  <c:v>#N/A</c:v>
                </c:pt>
                <c:pt idx="8949">
                  <c:v>#N/A</c:v>
                </c:pt>
                <c:pt idx="8950">
                  <c:v>#N/A</c:v>
                </c:pt>
                <c:pt idx="8951">
                  <c:v>#N/A</c:v>
                </c:pt>
                <c:pt idx="8952">
                  <c:v>#N/A</c:v>
                </c:pt>
                <c:pt idx="8953">
                  <c:v>#N/A</c:v>
                </c:pt>
                <c:pt idx="8954">
                  <c:v>#N/A</c:v>
                </c:pt>
                <c:pt idx="8955">
                  <c:v>#N/A</c:v>
                </c:pt>
                <c:pt idx="8956">
                  <c:v>#N/A</c:v>
                </c:pt>
                <c:pt idx="8957">
                  <c:v>#N/A</c:v>
                </c:pt>
                <c:pt idx="8958">
                  <c:v>#N/A</c:v>
                </c:pt>
                <c:pt idx="8959">
                  <c:v>#N/A</c:v>
                </c:pt>
                <c:pt idx="8960">
                  <c:v>#N/A</c:v>
                </c:pt>
                <c:pt idx="8961">
                  <c:v>#N/A</c:v>
                </c:pt>
                <c:pt idx="8962">
                  <c:v>#N/A</c:v>
                </c:pt>
                <c:pt idx="8963">
                  <c:v>#N/A</c:v>
                </c:pt>
                <c:pt idx="8964">
                  <c:v>#N/A</c:v>
                </c:pt>
                <c:pt idx="8965">
                  <c:v>#N/A</c:v>
                </c:pt>
                <c:pt idx="8966">
                  <c:v>#N/A</c:v>
                </c:pt>
                <c:pt idx="8967">
                  <c:v>#N/A</c:v>
                </c:pt>
                <c:pt idx="8968">
                  <c:v>#N/A</c:v>
                </c:pt>
                <c:pt idx="8969">
                  <c:v>#N/A</c:v>
                </c:pt>
                <c:pt idx="8970">
                  <c:v>#N/A</c:v>
                </c:pt>
                <c:pt idx="8971">
                  <c:v>#N/A</c:v>
                </c:pt>
                <c:pt idx="8972">
                  <c:v>#N/A</c:v>
                </c:pt>
                <c:pt idx="8973">
                  <c:v>#N/A</c:v>
                </c:pt>
                <c:pt idx="8974">
                  <c:v>#N/A</c:v>
                </c:pt>
                <c:pt idx="8975">
                  <c:v>#N/A</c:v>
                </c:pt>
                <c:pt idx="8976">
                  <c:v>#N/A</c:v>
                </c:pt>
                <c:pt idx="8977">
                  <c:v>#N/A</c:v>
                </c:pt>
                <c:pt idx="8978">
                  <c:v>#N/A</c:v>
                </c:pt>
                <c:pt idx="8979">
                  <c:v>#N/A</c:v>
                </c:pt>
                <c:pt idx="8980">
                  <c:v>#N/A</c:v>
                </c:pt>
                <c:pt idx="8981">
                  <c:v>#N/A</c:v>
                </c:pt>
                <c:pt idx="8982">
                  <c:v>#N/A</c:v>
                </c:pt>
                <c:pt idx="8983">
                  <c:v>#N/A</c:v>
                </c:pt>
                <c:pt idx="8984">
                  <c:v>#N/A</c:v>
                </c:pt>
                <c:pt idx="8985">
                  <c:v>#N/A</c:v>
                </c:pt>
                <c:pt idx="8986">
                  <c:v>#N/A</c:v>
                </c:pt>
                <c:pt idx="8987">
                  <c:v>#N/A</c:v>
                </c:pt>
                <c:pt idx="8988">
                  <c:v>#N/A</c:v>
                </c:pt>
                <c:pt idx="8989">
                  <c:v>#N/A</c:v>
                </c:pt>
                <c:pt idx="8990">
                  <c:v>#N/A</c:v>
                </c:pt>
                <c:pt idx="8991">
                  <c:v>#N/A</c:v>
                </c:pt>
                <c:pt idx="8992">
                  <c:v>#N/A</c:v>
                </c:pt>
                <c:pt idx="8993">
                  <c:v>#N/A</c:v>
                </c:pt>
                <c:pt idx="8994">
                  <c:v>#N/A</c:v>
                </c:pt>
                <c:pt idx="8995">
                  <c:v>#N/A</c:v>
                </c:pt>
                <c:pt idx="8996">
                  <c:v>#N/A</c:v>
                </c:pt>
                <c:pt idx="8997">
                  <c:v>#N/A</c:v>
                </c:pt>
                <c:pt idx="8998">
                  <c:v>#N/A</c:v>
                </c:pt>
                <c:pt idx="8999">
                  <c:v>#N/A</c:v>
                </c:pt>
                <c:pt idx="9000">
                  <c:v>#N/A</c:v>
                </c:pt>
                <c:pt idx="9001">
                  <c:v>#N/A</c:v>
                </c:pt>
                <c:pt idx="9002">
                  <c:v>#N/A</c:v>
                </c:pt>
                <c:pt idx="9003">
                  <c:v>#N/A</c:v>
                </c:pt>
                <c:pt idx="9004">
                  <c:v>#N/A</c:v>
                </c:pt>
                <c:pt idx="9005">
                  <c:v>#N/A</c:v>
                </c:pt>
                <c:pt idx="9006">
                  <c:v>#N/A</c:v>
                </c:pt>
                <c:pt idx="9007">
                  <c:v>#N/A</c:v>
                </c:pt>
                <c:pt idx="9008">
                  <c:v>#N/A</c:v>
                </c:pt>
                <c:pt idx="9009">
                  <c:v>#N/A</c:v>
                </c:pt>
                <c:pt idx="9010">
                  <c:v>#N/A</c:v>
                </c:pt>
                <c:pt idx="9011">
                  <c:v>#N/A</c:v>
                </c:pt>
                <c:pt idx="9012">
                  <c:v>#N/A</c:v>
                </c:pt>
                <c:pt idx="9013">
                  <c:v>#N/A</c:v>
                </c:pt>
                <c:pt idx="9014">
                  <c:v>#N/A</c:v>
                </c:pt>
                <c:pt idx="9015">
                  <c:v>#N/A</c:v>
                </c:pt>
                <c:pt idx="9016">
                  <c:v>#N/A</c:v>
                </c:pt>
                <c:pt idx="9017">
                  <c:v>#N/A</c:v>
                </c:pt>
                <c:pt idx="9018">
                  <c:v>#N/A</c:v>
                </c:pt>
                <c:pt idx="9019">
                  <c:v>#N/A</c:v>
                </c:pt>
                <c:pt idx="9020">
                  <c:v>#N/A</c:v>
                </c:pt>
                <c:pt idx="9021">
                  <c:v>#N/A</c:v>
                </c:pt>
                <c:pt idx="9022">
                  <c:v>#N/A</c:v>
                </c:pt>
                <c:pt idx="9023">
                  <c:v>#N/A</c:v>
                </c:pt>
                <c:pt idx="9024">
                  <c:v>#N/A</c:v>
                </c:pt>
                <c:pt idx="9025">
                  <c:v>#N/A</c:v>
                </c:pt>
                <c:pt idx="9026">
                  <c:v>#N/A</c:v>
                </c:pt>
                <c:pt idx="9027">
                  <c:v>#N/A</c:v>
                </c:pt>
                <c:pt idx="9028">
                  <c:v>#N/A</c:v>
                </c:pt>
                <c:pt idx="9029">
                  <c:v>#N/A</c:v>
                </c:pt>
                <c:pt idx="9030">
                  <c:v>#N/A</c:v>
                </c:pt>
                <c:pt idx="9031">
                  <c:v>#N/A</c:v>
                </c:pt>
                <c:pt idx="9032">
                  <c:v>#N/A</c:v>
                </c:pt>
                <c:pt idx="9033">
                  <c:v>#N/A</c:v>
                </c:pt>
                <c:pt idx="9034">
                  <c:v>#N/A</c:v>
                </c:pt>
                <c:pt idx="9035">
                  <c:v>#N/A</c:v>
                </c:pt>
                <c:pt idx="9036">
                  <c:v>#N/A</c:v>
                </c:pt>
                <c:pt idx="9037">
                  <c:v>#N/A</c:v>
                </c:pt>
                <c:pt idx="9038">
                  <c:v>#N/A</c:v>
                </c:pt>
                <c:pt idx="9039">
                  <c:v>#N/A</c:v>
                </c:pt>
                <c:pt idx="9040">
                  <c:v>#N/A</c:v>
                </c:pt>
                <c:pt idx="9041">
                  <c:v>#N/A</c:v>
                </c:pt>
                <c:pt idx="9042">
                  <c:v>#N/A</c:v>
                </c:pt>
                <c:pt idx="9043">
                  <c:v>#N/A</c:v>
                </c:pt>
                <c:pt idx="9044">
                  <c:v>#N/A</c:v>
                </c:pt>
                <c:pt idx="9045">
                  <c:v>#N/A</c:v>
                </c:pt>
                <c:pt idx="9046">
                  <c:v>#N/A</c:v>
                </c:pt>
                <c:pt idx="9047">
                  <c:v>#N/A</c:v>
                </c:pt>
                <c:pt idx="9048">
                  <c:v>#N/A</c:v>
                </c:pt>
                <c:pt idx="9049">
                  <c:v>#N/A</c:v>
                </c:pt>
                <c:pt idx="9050">
                  <c:v>#N/A</c:v>
                </c:pt>
                <c:pt idx="9051">
                  <c:v>#N/A</c:v>
                </c:pt>
                <c:pt idx="9052">
                  <c:v>#N/A</c:v>
                </c:pt>
                <c:pt idx="9053">
                  <c:v>#N/A</c:v>
                </c:pt>
                <c:pt idx="9054">
                  <c:v>#N/A</c:v>
                </c:pt>
                <c:pt idx="9055">
                  <c:v>#N/A</c:v>
                </c:pt>
                <c:pt idx="9056">
                  <c:v>#N/A</c:v>
                </c:pt>
                <c:pt idx="9057">
                  <c:v>#N/A</c:v>
                </c:pt>
                <c:pt idx="9058">
                  <c:v>#N/A</c:v>
                </c:pt>
                <c:pt idx="9059">
                  <c:v>#N/A</c:v>
                </c:pt>
                <c:pt idx="9060">
                  <c:v>#N/A</c:v>
                </c:pt>
                <c:pt idx="9061">
                  <c:v>#N/A</c:v>
                </c:pt>
                <c:pt idx="9062">
                  <c:v>#N/A</c:v>
                </c:pt>
                <c:pt idx="9063">
                  <c:v>#N/A</c:v>
                </c:pt>
                <c:pt idx="9064">
                  <c:v>#N/A</c:v>
                </c:pt>
                <c:pt idx="9065">
                  <c:v>#N/A</c:v>
                </c:pt>
                <c:pt idx="9066">
                  <c:v>#N/A</c:v>
                </c:pt>
                <c:pt idx="9067">
                  <c:v>#N/A</c:v>
                </c:pt>
                <c:pt idx="9068">
                  <c:v>#N/A</c:v>
                </c:pt>
                <c:pt idx="9069">
                  <c:v>#N/A</c:v>
                </c:pt>
                <c:pt idx="9070">
                  <c:v>#N/A</c:v>
                </c:pt>
                <c:pt idx="9071">
                  <c:v>#N/A</c:v>
                </c:pt>
                <c:pt idx="9072">
                  <c:v>#N/A</c:v>
                </c:pt>
                <c:pt idx="9073">
                  <c:v>#N/A</c:v>
                </c:pt>
                <c:pt idx="9074">
                  <c:v>#N/A</c:v>
                </c:pt>
                <c:pt idx="9075">
                  <c:v>#N/A</c:v>
                </c:pt>
                <c:pt idx="9076">
                  <c:v>#N/A</c:v>
                </c:pt>
                <c:pt idx="9077">
                  <c:v>#N/A</c:v>
                </c:pt>
                <c:pt idx="9078">
                  <c:v>#N/A</c:v>
                </c:pt>
                <c:pt idx="9079">
                  <c:v>#N/A</c:v>
                </c:pt>
                <c:pt idx="9080">
                  <c:v>#N/A</c:v>
                </c:pt>
                <c:pt idx="9081">
                  <c:v>#N/A</c:v>
                </c:pt>
                <c:pt idx="9082">
                  <c:v>#N/A</c:v>
                </c:pt>
                <c:pt idx="9083">
                  <c:v>#N/A</c:v>
                </c:pt>
                <c:pt idx="9084">
                  <c:v>#N/A</c:v>
                </c:pt>
                <c:pt idx="9085">
                  <c:v>#N/A</c:v>
                </c:pt>
                <c:pt idx="9086">
                  <c:v>#N/A</c:v>
                </c:pt>
                <c:pt idx="9087">
                  <c:v>#N/A</c:v>
                </c:pt>
                <c:pt idx="9088">
                  <c:v>#N/A</c:v>
                </c:pt>
                <c:pt idx="9089">
                  <c:v>#N/A</c:v>
                </c:pt>
                <c:pt idx="9090">
                  <c:v>#N/A</c:v>
                </c:pt>
                <c:pt idx="9091">
                  <c:v>#N/A</c:v>
                </c:pt>
                <c:pt idx="9092">
                  <c:v>#N/A</c:v>
                </c:pt>
                <c:pt idx="9093">
                  <c:v>#N/A</c:v>
                </c:pt>
                <c:pt idx="9094">
                  <c:v>#N/A</c:v>
                </c:pt>
                <c:pt idx="9095">
                  <c:v>#N/A</c:v>
                </c:pt>
                <c:pt idx="9096">
                  <c:v>#N/A</c:v>
                </c:pt>
                <c:pt idx="9097">
                  <c:v>#N/A</c:v>
                </c:pt>
                <c:pt idx="9098">
                  <c:v>#N/A</c:v>
                </c:pt>
                <c:pt idx="9099">
                  <c:v>#N/A</c:v>
                </c:pt>
                <c:pt idx="9100">
                  <c:v>#N/A</c:v>
                </c:pt>
                <c:pt idx="9101">
                  <c:v>#N/A</c:v>
                </c:pt>
                <c:pt idx="9102">
                  <c:v>#N/A</c:v>
                </c:pt>
                <c:pt idx="9103">
                  <c:v>#N/A</c:v>
                </c:pt>
                <c:pt idx="9104">
                  <c:v>#N/A</c:v>
                </c:pt>
                <c:pt idx="9105">
                  <c:v>#N/A</c:v>
                </c:pt>
                <c:pt idx="9106">
                  <c:v>#N/A</c:v>
                </c:pt>
                <c:pt idx="9107">
                  <c:v>#N/A</c:v>
                </c:pt>
                <c:pt idx="9108">
                  <c:v>#N/A</c:v>
                </c:pt>
                <c:pt idx="9109">
                  <c:v>#N/A</c:v>
                </c:pt>
                <c:pt idx="9110">
                  <c:v>#N/A</c:v>
                </c:pt>
                <c:pt idx="9111">
                  <c:v>#N/A</c:v>
                </c:pt>
                <c:pt idx="9112">
                  <c:v>#N/A</c:v>
                </c:pt>
                <c:pt idx="9113">
                  <c:v>#N/A</c:v>
                </c:pt>
                <c:pt idx="9114">
                  <c:v>#N/A</c:v>
                </c:pt>
                <c:pt idx="9115">
                  <c:v>#N/A</c:v>
                </c:pt>
                <c:pt idx="9116">
                  <c:v>#N/A</c:v>
                </c:pt>
                <c:pt idx="9117">
                  <c:v>#N/A</c:v>
                </c:pt>
                <c:pt idx="9118">
                  <c:v>#N/A</c:v>
                </c:pt>
                <c:pt idx="9119">
                  <c:v>#N/A</c:v>
                </c:pt>
                <c:pt idx="9120">
                  <c:v>#N/A</c:v>
                </c:pt>
                <c:pt idx="9121">
                  <c:v>#N/A</c:v>
                </c:pt>
                <c:pt idx="9122">
                  <c:v>#N/A</c:v>
                </c:pt>
                <c:pt idx="9123">
                  <c:v>#N/A</c:v>
                </c:pt>
                <c:pt idx="9124">
                  <c:v>#N/A</c:v>
                </c:pt>
                <c:pt idx="9125">
                  <c:v>#N/A</c:v>
                </c:pt>
                <c:pt idx="9126">
                  <c:v>#N/A</c:v>
                </c:pt>
                <c:pt idx="9127">
                  <c:v>#N/A</c:v>
                </c:pt>
                <c:pt idx="9128">
                  <c:v>#N/A</c:v>
                </c:pt>
                <c:pt idx="9129">
                  <c:v>#N/A</c:v>
                </c:pt>
                <c:pt idx="9130">
                  <c:v>#N/A</c:v>
                </c:pt>
                <c:pt idx="9131">
                  <c:v>#N/A</c:v>
                </c:pt>
                <c:pt idx="9132">
                  <c:v>#N/A</c:v>
                </c:pt>
                <c:pt idx="9133">
                  <c:v>#N/A</c:v>
                </c:pt>
                <c:pt idx="9134">
                  <c:v>#N/A</c:v>
                </c:pt>
                <c:pt idx="9135">
                  <c:v>#N/A</c:v>
                </c:pt>
                <c:pt idx="9136">
                  <c:v>#N/A</c:v>
                </c:pt>
                <c:pt idx="9137">
                  <c:v>#N/A</c:v>
                </c:pt>
                <c:pt idx="9138">
                  <c:v>#N/A</c:v>
                </c:pt>
                <c:pt idx="9139">
                  <c:v>#N/A</c:v>
                </c:pt>
                <c:pt idx="9140">
                  <c:v>#N/A</c:v>
                </c:pt>
                <c:pt idx="9141">
                  <c:v>#N/A</c:v>
                </c:pt>
                <c:pt idx="9142">
                  <c:v>#N/A</c:v>
                </c:pt>
                <c:pt idx="9143">
                  <c:v>#N/A</c:v>
                </c:pt>
                <c:pt idx="9144">
                  <c:v>#N/A</c:v>
                </c:pt>
                <c:pt idx="9145">
                  <c:v>#N/A</c:v>
                </c:pt>
                <c:pt idx="9146">
                  <c:v>#N/A</c:v>
                </c:pt>
                <c:pt idx="9147">
                  <c:v>#N/A</c:v>
                </c:pt>
                <c:pt idx="9148">
                  <c:v>#N/A</c:v>
                </c:pt>
                <c:pt idx="9149">
                  <c:v>#N/A</c:v>
                </c:pt>
                <c:pt idx="9150">
                  <c:v>#N/A</c:v>
                </c:pt>
                <c:pt idx="9151">
                  <c:v>#N/A</c:v>
                </c:pt>
                <c:pt idx="9152">
                  <c:v>#N/A</c:v>
                </c:pt>
                <c:pt idx="9153">
                  <c:v>#N/A</c:v>
                </c:pt>
                <c:pt idx="9154">
                  <c:v>#N/A</c:v>
                </c:pt>
                <c:pt idx="9155">
                  <c:v>#N/A</c:v>
                </c:pt>
                <c:pt idx="9156">
                  <c:v>#N/A</c:v>
                </c:pt>
                <c:pt idx="9157">
                  <c:v>#N/A</c:v>
                </c:pt>
                <c:pt idx="9158">
                  <c:v>#N/A</c:v>
                </c:pt>
                <c:pt idx="9159">
                  <c:v>#N/A</c:v>
                </c:pt>
                <c:pt idx="9160">
                  <c:v>#N/A</c:v>
                </c:pt>
                <c:pt idx="9161">
                  <c:v>#N/A</c:v>
                </c:pt>
                <c:pt idx="9162">
                  <c:v>#N/A</c:v>
                </c:pt>
                <c:pt idx="9163">
                  <c:v>#N/A</c:v>
                </c:pt>
                <c:pt idx="9164">
                  <c:v>#N/A</c:v>
                </c:pt>
                <c:pt idx="9165">
                  <c:v>#N/A</c:v>
                </c:pt>
                <c:pt idx="9166">
                  <c:v>#N/A</c:v>
                </c:pt>
                <c:pt idx="9167">
                  <c:v>#N/A</c:v>
                </c:pt>
                <c:pt idx="9168">
                  <c:v>#N/A</c:v>
                </c:pt>
                <c:pt idx="9169">
                  <c:v>#N/A</c:v>
                </c:pt>
                <c:pt idx="9170">
                  <c:v>#N/A</c:v>
                </c:pt>
                <c:pt idx="9171">
                  <c:v>#N/A</c:v>
                </c:pt>
                <c:pt idx="9172">
                  <c:v>#N/A</c:v>
                </c:pt>
                <c:pt idx="9173">
                  <c:v>#N/A</c:v>
                </c:pt>
                <c:pt idx="9174">
                  <c:v>#N/A</c:v>
                </c:pt>
                <c:pt idx="9175">
                  <c:v>#N/A</c:v>
                </c:pt>
                <c:pt idx="9176">
                  <c:v>#N/A</c:v>
                </c:pt>
                <c:pt idx="9177">
                  <c:v>#N/A</c:v>
                </c:pt>
                <c:pt idx="9178">
                  <c:v>#N/A</c:v>
                </c:pt>
                <c:pt idx="9179">
                  <c:v>#N/A</c:v>
                </c:pt>
                <c:pt idx="9180">
                  <c:v>#N/A</c:v>
                </c:pt>
                <c:pt idx="9181">
                  <c:v>#N/A</c:v>
                </c:pt>
                <c:pt idx="9182">
                  <c:v>#N/A</c:v>
                </c:pt>
                <c:pt idx="9183">
                  <c:v>#N/A</c:v>
                </c:pt>
                <c:pt idx="9184">
                  <c:v>#N/A</c:v>
                </c:pt>
                <c:pt idx="9185">
                  <c:v>#N/A</c:v>
                </c:pt>
                <c:pt idx="9186">
                  <c:v>#N/A</c:v>
                </c:pt>
                <c:pt idx="9187">
                  <c:v>#N/A</c:v>
                </c:pt>
                <c:pt idx="9188">
                  <c:v>#N/A</c:v>
                </c:pt>
                <c:pt idx="9189">
                  <c:v>#N/A</c:v>
                </c:pt>
                <c:pt idx="9190">
                  <c:v>#N/A</c:v>
                </c:pt>
                <c:pt idx="9191">
                  <c:v>#N/A</c:v>
                </c:pt>
                <c:pt idx="9192">
                  <c:v>#N/A</c:v>
                </c:pt>
                <c:pt idx="9193">
                  <c:v>#N/A</c:v>
                </c:pt>
                <c:pt idx="9194">
                  <c:v>#N/A</c:v>
                </c:pt>
                <c:pt idx="9195">
                  <c:v>#N/A</c:v>
                </c:pt>
                <c:pt idx="9196">
                  <c:v>#N/A</c:v>
                </c:pt>
                <c:pt idx="9197">
                  <c:v>#N/A</c:v>
                </c:pt>
                <c:pt idx="9198">
                  <c:v>#N/A</c:v>
                </c:pt>
                <c:pt idx="9199">
                  <c:v>#N/A</c:v>
                </c:pt>
                <c:pt idx="9200">
                  <c:v>#N/A</c:v>
                </c:pt>
                <c:pt idx="9201">
                  <c:v>#N/A</c:v>
                </c:pt>
                <c:pt idx="9202">
                  <c:v>#N/A</c:v>
                </c:pt>
                <c:pt idx="9203">
                  <c:v>#N/A</c:v>
                </c:pt>
                <c:pt idx="9204">
                  <c:v>#N/A</c:v>
                </c:pt>
                <c:pt idx="9205">
                  <c:v>#N/A</c:v>
                </c:pt>
                <c:pt idx="9206">
                  <c:v>#N/A</c:v>
                </c:pt>
                <c:pt idx="9207">
                  <c:v>#N/A</c:v>
                </c:pt>
                <c:pt idx="9208">
                  <c:v>#N/A</c:v>
                </c:pt>
                <c:pt idx="9209">
                  <c:v>#N/A</c:v>
                </c:pt>
                <c:pt idx="9210">
                  <c:v>#N/A</c:v>
                </c:pt>
                <c:pt idx="9211">
                  <c:v>#N/A</c:v>
                </c:pt>
                <c:pt idx="9212">
                  <c:v>#N/A</c:v>
                </c:pt>
                <c:pt idx="9213">
                  <c:v>#N/A</c:v>
                </c:pt>
                <c:pt idx="9214">
                  <c:v>#N/A</c:v>
                </c:pt>
                <c:pt idx="9215">
                  <c:v>#N/A</c:v>
                </c:pt>
                <c:pt idx="9216">
                  <c:v>#N/A</c:v>
                </c:pt>
                <c:pt idx="9217">
                  <c:v>#N/A</c:v>
                </c:pt>
                <c:pt idx="9218">
                  <c:v>#N/A</c:v>
                </c:pt>
                <c:pt idx="9219">
                  <c:v>#N/A</c:v>
                </c:pt>
                <c:pt idx="9220">
                  <c:v>#N/A</c:v>
                </c:pt>
                <c:pt idx="9221">
                  <c:v>#N/A</c:v>
                </c:pt>
                <c:pt idx="9222">
                  <c:v>#N/A</c:v>
                </c:pt>
                <c:pt idx="9223">
                  <c:v>#N/A</c:v>
                </c:pt>
                <c:pt idx="9224">
                  <c:v>#N/A</c:v>
                </c:pt>
                <c:pt idx="9225">
                  <c:v>#N/A</c:v>
                </c:pt>
                <c:pt idx="9226">
                  <c:v>#N/A</c:v>
                </c:pt>
                <c:pt idx="9227">
                  <c:v>#N/A</c:v>
                </c:pt>
                <c:pt idx="9228">
                  <c:v>#N/A</c:v>
                </c:pt>
                <c:pt idx="9229">
                  <c:v>#N/A</c:v>
                </c:pt>
                <c:pt idx="9230">
                  <c:v>#N/A</c:v>
                </c:pt>
                <c:pt idx="9231">
                  <c:v>#N/A</c:v>
                </c:pt>
                <c:pt idx="9232">
                  <c:v>#N/A</c:v>
                </c:pt>
                <c:pt idx="9233">
                  <c:v>#N/A</c:v>
                </c:pt>
                <c:pt idx="9234">
                  <c:v>#N/A</c:v>
                </c:pt>
                <c:pt idx="9235">
                  <c:v>#N/A</c:v>
                </c:pt>
                <c:pt idx="9236">
                  <c:v>#N/A</c:v>
                </c:pt>
                <c:pt idx="9237">
                  <c:v>#N/A</c:v>
                </c:pt>
                <c:pt idx="9238">
                  <c:v>#N/A</c:v>
                </c:pt>
                <c:pt idx="9239">
                  <c:v>#N/A</c:v>
                </c:pt>
                <c:pt idx="9240">
                  <c:v>#N/A</c:v>
                </c:pt>
                <c:pt idx="9241">
                  <c:v>#N/A</c:v>
                </c:pt>
                <c:pt idx="9242">
                  <c:v>#N/A</c:v>
                </c:pt>
                <c:pt idx="9243">
                  <c:v>#N/A</c:v>
                </c:pt>
                <c:pt idx="9244">
                  <c:v>#N/A</c:v>
                </c:pt>
                <c:pt idx="9245">
                  <c:v>#N/A</c:v>
                </c:pt>
                <c:pt idx="9246">
                  <c:v>#N/A</c:v>
                </c:pt>
                <c:pt idx="9247">
                  <c:v>#N/A</c:v>
                </c:pt>
                <c:pt idx="9248">
                  <c:v>#N/A</c:v>
                </c:pt>
                <c:pt idx="9249">
                  <c:v>#N/A</c:v>
                </c:pt>
                <c:pt idx="9250">
                  <c:v>#N/A</c:v>
                </c:pt>
                <c:pt idx="9251">
                  <c:v>#N/A</c:v>
                </c:pt>
                <c:pt idx="9252">
                  <c:v>#N/A</c:v>
                </c:pt>
                <c:pt idx="9253">
                  <c:v>#N/A</c:v>
                </c:pt>
                <c:pt idx="9254">
                  <c:v>#N/A</c:v>
                </c:pt>
                <c:pt idx="9255">
                  <c:v>#N/A</c:v>
                </c:pt>
                <c:pt idx="9256">
                  <c:v>#N/A</c:v>
                </c:pt>
                <c:pt idx="9257">
                  <c:v>#N/A</c:v>
                </c:pt>
                <c:pt idx="9258">
                  <c:v>#N/A</c:v>
                </c:pt>
                <c:pt idx="9259">
                  <c:v>#N/A</c:v>
                </c:pt>
                <c:pt idx="9260">
                  <c:v>#N/A</c:v>
                </c:pt>
                <c:pt idx="9261">
                  <c:v>#N/A</c:v>
                </c:pt>
                <c:pt idx="9262">
                  <c:v>#N/A</c:v>
                </c:pt>
                <c:pt idx="9263">
                  <c:v>#N/A</c:v>
                </c:pt>
                <c:pt idx="9264">
                  <c:v>#N/A</c:v>
                </c:pt>
                <c:pt idx="9265">
                  <c:v>#N/A</c:v>
                </c:pt>
                <c:pt idx="9266">
                  <c:v>#N/A</c:v>
                </c:pt>
                <c:pt idx="9267">
                  <c:v>#N/A</c:v>
                </c:pt>
                <c:pt idx="9268">
                  <c:v>#N/A</c:v>
                </c:pt>
                <c:pt idx="9269">
                  <c:v>#N/A</c:v>
                </c:pt>
                <c:pt idx="9270">
                  <c:v>#N/A</c:v>
                </c:pt>
                <c:pt idx="9271">
                  <c:v>#N/A</c:v>
                </c:pt>
                <c:pt idx="9272">
                  <c:v>#N/A</c:v>
                </c:pt>
                <c:pt idx="9273">
                  <c:v>#N/A</c:v>
                </c:pt>
                <c:pt idx="9274">
                  <c:v>#N/A</c:v>
                </c:pt>
                <c:pt idx="9275">
                  <c:v>#N/A</c:v>
                </c:pt>
                <c:pt idx="9276">
                  <c:v>#N/A</c:v>
                </c:pt>
                <c:pt idx="9277">
                  <c:v>#N/A</c:v>
                </c:pt>
                <c:pt idx="9278">
                  <c:v>#N/A</c:v>
                </c:pt>
                <c:pt idx="9279">
                  <c:v>#N/A</c:v>
                </c:pt>
                <c:pt idx="9280">
                  <c:v>#N/A</c:v>
                </c:pt>
                <c:pt idx="9281">
                  <c:v>#N/A</c:v>
                </c:pt>
                <c:pt idx="9282">
                  <c:v>#N/A</c:v>
                </c:pt>
                <c:pt idx="9283">
                  <c:v>#N/A</c:v>
                </c:pt>
                <c:pt idx="9284">
                  <c:v>#N/A</c:v>
                </c:pt>
                <c:pt idx="9285">
                  <c:v>#N/A</c:v>
                </c:pt>
                <c:pt idx="9286">
                  <c:v>#N/A</c:v>
                </c:pt>
                <c:pt idx="9287">
                  <c:v>#N/A</c:v>
                </c:pt>
                <c:pt idx="9288">
                  <c:v>#N/A</c:v>
                </c:pt>
                <c:pt idx="9289">
                  <c:v>#N/A</c:v>
                </c:pt>
                <c:pt idx="9290">
                  <c:v>#N/A</c:v>
                </c:pt>
                <c:pt idx="9291">
                  <c:v>#N/A</c:v>
                </c:pt>
                <c:pt idx="9292">
                  <c:v>#N/A</c:v>
                </c:pt>
                <c:pt idx="9293">
                  <c:v>#N/A</c:v>
                </c:pt>
                <c:pt idx="9294">
                  <c:v>#N/A</c:v>
                </c:pt>
                <c:pt idx="9295">
                  <c:v>#N/A</c:v>
                </c:pt>
                <c:pt idx="9296">
                  <c:v>#N/A</c:v>
                </c:pt>
                <c:pt idx="9297">
                  <c:v>#N/A</c:v>
                </c:pt>
                <c:pt idx="9298">
                  <c:v>#N/A</c:v>
                </c:pt>
                <c:pt idx="9299">
                  <c:v>#N/A</c:v>
                </c:pt>
                <c:pt idx="9300">
                  <c:v>#N/A</c:v>
                </c:pt>
                <c:pt idx="9301">
                  <c:v>#N/A</c:v>
                </c:pt>
                <c:pt idx="9302">
                  <c:v>#N/A</c:v>
                </c:pt>
                <c:pt idx="9303">
                  <c:v>#N/A</c:v>
                </c:pt>
                <c:pt idx="9304">
                  <c:v>#N/A</c:v>
                </c:pt>
                <c:pt idx="9305">
                  <c:v>#N/A</c:v>
                </c:pt>
                <c:pt idx="9306">
                  <c:v>#N/A</c:v>
                </c:pt>
                <c:pt idx="9307">
                  <c:v>#N/A</c:v>
                </c:pt>
                <c:pt idx="9308">
                  <c:v>#N/A</c:v>
                </c:pt>
                <c:pt idx="9309">
                  <c:v>#N/A</c:v>
                </c:pt>
                <c:pt idx="9310">
                  <c:v>#N/A</c:v>
                </c:pt>
                <c:pt idx="9311">
                  <c:v>#N/A</c:v>
                </c:pt>
                <c:pt idx="9312">
                  <c:v>#N/A</c:v>
                </c:pt>
                <c:pt idx="9313">
                  <c:v>#N/A</c:v>
                </c:pt>
                <c:pt idx="9314">
                  <c:v>#N/A</c:v>
                </c:pt>
                <c:pt idx="9315">
                  <c:v>#N/A</c:v>
                </c:pt>
                <c:pt idx="9316">
                  <c:v>#N/A</c:v>
                </c:pt>
                <c:pt idx="9317">
                  <c:v>#N/A</c:v>
                </c:pt>
                <c:pt idx="9318">
                  <c:v>#N/A</c:v>
                </c:pt>
                <c:pt idx="9319">
                  <c:v>#N/A</c:v>
                </c:pt>
                <c:pt idx="9320">
                  <c:v>#N/A</c:v>
                </c:pt>
                <c:pt idx="9321">
                  <c:v>#N/A</c:v>
                </c:pt>
                <c:pt idx="9322">
                  <c:v>#N/A</c:v>
                </c:pt>
                <c:pt idx="9323">
                  <c:v>#N/A</c:v>
                </c:pt>
                <c:pt idx="9324">
                  <c:v>#N/A</c:v>
                </c:pt>
                <c:pt idx="9325">
                  <c:v>#N/A</c:v>
                </c:pt>
                <c:pt idx="9326">
                  <c:v>#N/A</c:v>
                </c:pt>
                <c:pt idx="9327">
                  <c:v>#N/A</c:v>
                </c:pt>
                <c:pt idx="9328">
                  <c:v>#N/A</c:v>
                </c:pt>
                <c:pt idx="9329">
                  <c:v>#N/A</c:v>
                </c:pt>
                <c:pt idx="9330">
                  <c:v>#N/A</c:v>
                </c:pt>
                <c:pt idx="9331">
                  <c:v>#N/A</c:v>
                </c:pt>
                <c:pt idx="9332">
                  <c:v>#N/A</c:v>
                </c:pt>
                <c:pt idx="9333">
                  <c:v>#N/A</c:v>
                </c:pt>
                <c:pt idx="9334">
                  <c:v>#N/A</c:v>
                </c:pt>
                <c:pt idx="9335">
                  <c:v>#N/A</c:v>
                </c:pt>
                <c:pt idx="9336">
                  <c:v>#N/A</c:v>
                </c:pt>
                <c:pt idx="9337">
                  <c:v>#N/A</c:v>
                </c:pt>
                <c:pt idx="9338">
                  <c:v>#N/A</c:v>
                </c:pt>
                <c:pt idx="9339">
                  <c:v>#N/A</c:v>
                </c:pt>
                <c:pt idx="9340">
                  <c:v>#N/A</c:v>
                </c:pt>
                <c:pt idx="9341">
                  <c:v>#N/A</c:v>
                </c:pt>
                <c:pt idx="9342">
                  <c:v>#N/A</c:v>
                </c:pt>
                <c:pt idx="9343">
                  <c:v>#N/A</c:v>
                </c:pt>
                <c:pt idx="9344">
                  <c:v>#N/A</c:v>
                </c:pt>
                <c:pt idx="9345">
                  <c:v>#N/A</c:v>
                </c:pt>
                <c:pt idx="9346">
                  <c:v>#N/A</c:v>
                </c:pt>
                <c:pt idx="9347">
                  <c:v>#N/A</c:v>
                </c:pt>
                <c:pt idx="9348">
                  <c:v>#N/A</c:v>
                </c:pt>
                <c:pt idx="9349">
                  <c:v>#N/A</c:v>
                </c:pt>
                <c:pt idx="9350">
                  <c:v>#N/A</c:v>
                </c:pt>
                <c:pt idx="9351">
                  <c:v>#N/A</c:v>
                </c:pt>
                <c:pt idx="9352">
                  <c:v>#N/A</c:v>
                </c:pt>
                <c:pt idx="9353">
                  <c:v>#N/A</c:v>
                </c:pt>
                <c:pt idx="9354">
                  <c:v>#N/A</c:v>
                </c:pt>
                <c:pt idx="9355">
                  <c:v>#N/A</c:v>
                </c:pt>
                <c:pt idx="9356">
                  <c:v>#N/A</c:v>
                </c:pt>
                <c:pt idx="9357">
                  <c:v>#N/A</c:v>
                </c:pt>
                <c:pt idx="9358">
                  <c:v>#N/A</c:v>
                </c:pt>
                <c:pt idx="9359">
                  <c:v>#N/A</c:v>
                </c:pt>
                <c:pt idx="9360">
                  <c:v>#N/A</c:v>
                </c:pt>
                <c:pt idx="9361">
                  <c:v>#N/A</c:v>
                </c:pt>
                <c:pt idx="9362">
                  <c:v>#N/A</c:v>
                </c:pt>
                <c:pt idx="9363">
                  <c:v>#N/A</c:v>
                </c:pt>
                <c:pt idx="9364">
                  <c:v>#N/A</c:v>
                </c:pt>
                <c:pt idx="9365">
                  <c:v>#N/A</c:v>
                </c:pt>
                <c:pt idx="9366">
                  <c:v>#N/A</c:v>
                </c:pt>
                <c:pt idx="9367">
                  <c:v>#N/A</c:v>
                </c:pt>
                <c:pt idx="9368">
                  <c:v>#N/A</c:v>
                </c:pt>
                <c:pt idx="9369">
                  <c:v>#N/A</c:v>
                </c:pt>
                <c:pt idx="9370">
                  <c:v>#N/A</c:v>
                </c:pt>
                <c:pt idx="9371">
                  <c:v>#N/A</c:v>
                </c:pt>
                <c:pt idx="9372">
                  <c:v>#N/A</c:v>
                </c:pt>
                <c:pt idx="9373">
                  <c:v>#N/A</c:v>
                </c:pt>
                <c:pt idx="9374">
                  <c:v>#N/A</c:v>
                </c:pt>
                <c:pt idx="9375">
                  <c:v>#N/A</c:v>
                </c:pt>
                <c:pt idx="9376">
                  <c:v>#N/A</c:v>
                </c:pt>
                <c:pt idx="9377">
                  <c:v>#N/A</c:v>
                </c:pt>
                <c:pt idx="9378">
                  <c:v>#N/A</c:v>
                </c:pt>
                <c:pt idx="9379">
                  <c:v>#N/A</c:v>
                </c:pt>
                <c:pt idx="9380">
                  <c:v>#N/A</c:v>
                </c:pt>
                <c:pt idx="9381">
                  <c:v>#N/A</c:v>
                </c:pt>
                <c:pt idx="9382">
                  <c:v>#N/A</c:v>
                </c:pt>
                <c:pt idx="9383">
                  <c:v>#N/A</c:v>
                </c:pt>
                <c:pt idx="9384">
                  <c:v>#N/A</c:v>
                </c:pt>
                <c:pt idx="9385">
                  <c:v>#N/A</c:v>
                </c:pt>
                <c:pt idx="9386">
                  <c:v>#N/A</c:v>
                </c:pt>
                <c:pt idx="9387">
                  <c:v>#N/A</c:v>
                </c:pt>
                <c:pt idx="9388">
                  <c:v>#N/A</c:v>
                </c:pt>
                <c:pt idx="9389">
                  <c:v>#N/A</c:v>
                </c:pt>
                <c:pt idx="9390">
                  <c:v>#N/A</c:v>
                </c:pt>
                <c:pt idx="9391">
                  <c:v>#N/A</c:v>
                </c:pt>
                <c:pt idx="9392">
                  <c:v>#N/A</c:v>
                </c:pt>
                <c:pt idx="9393">
                  <c:v>#N/A</c:v>
                </c:pt>
                <c:pt idx="9394">
                  <c:v>#N/A</c:v>
                </c:pt>
                <c:pt idx="9395">
                  <c:v>#N/A</c:v>
                </c:pt>
                <c:pt idx="9396">
                  <c:v>#N/A</c:v>
                </c:pt>
                <c:pt idx="9397">
                  <c:v>#N/A</c:v>
                </c:pt>
                <c:pt idx="9398">
                  <c:v>#N/A</c:v>
                </c:pt>
                <c:pt idx="9399">
                  <c:v>#N/A</c:v>
                </c:pt>
                <c:pt idx="9400">
                  <c:v>#N/A</c:v>
                </c:pt>
                <c:pt idx="9401">
                  <c:v>#N/A</c:v>
                </c:pt>
                <c:pt idx="9402">
                  <c:v>#N/A</c:v>
                </c:pt>
                <c:pt idx="9403">
                  <c:v>#N/A</c:v>
                </c:pt>
                <c:pt idx="9404">
                  <c:v>#N/A</c:v>
                </c:pt>
                <c:pt idx="9405">
                  <c:v>#N/A</c:v>
                </c:pt>
                <c:pt idx="9406">
                  <c:v>#N/A</c:v>
                </c:pt>
                <c:pt idx="9407">
                  <c:v>#N/A</c:v>
                </c:pt>
                <c:pt idx="9408">
                  <c:v>#N/A</c:v>
                </c:pt>
                <c:pt idx="9409">
                  <c:v>#N/A</c:v>
                </c:pt>
                <c:pt idx="9410">
                  <c:v>#N/A</c:v>
                </c:pt>
                <c:pt idx="9411">
                  <c:v>#N/A</c:v>
                </c:pt>
                <c:pt idx="9412">
                  <c:v>#N/A</c:v>
                </c:pt>
                <c:pt idx="9413">
                  <c:v>#N/A</c:v>
                </c:pt>
                <c:pt idx="9414">
                  <c:v>#N/A</c:v>
                </c:pt>
                <c:pt idx="9415">
                  <c:v>#N/A</c:v>
                </c:pt>
                <c:pt idx="9416">
                  <c:v>#N/A</c:v>
                </c:pt>
                <c:pt idx="9417">
                  <c:v>#N/A</c:v>
                </c:pt>
                <c:pt idx="9418">
                  <c:v>#N/A</c:v>
                </c:pt>
                <c:pt idx="9419">
                  <c:v>#N/A</c:v>
                </c:pt>
                <c:pt idx="9420">
                  <c:v>#N/A</c:v>
                </c:pt>
                <c:pt idx="9421">
                  <c:v>#N/A</c:v>
                </c:pt>
                <c:pt idx="9422">
                  <c:v>#N/A</c:v>
                </c:pt>
                <c:pt idx="9423">
                  <c:v>#N/A</c:v>
                </c:pt>
                <c:pt idx="9424">
                  <c:v>#N/A</c:v>
                </c:pt>
                <c:pt idx="9425">
                  <c:v>#N/A</c:v>
                </c:pt>
                <c:pt idx="9426">
                  <c:v>#N/A</c:v>
                </c:pt>
                <c:pt idx="9427">
                  <c:v>#N/A</c:v>
                </c:pt>
                <c:pt idx="9428">
                  <c:v>#N/A</c:v>
                </c:pt>
                <c:pt idx="9429">
                  <c:v>#N/A</c:v>
                </c:pt>
                <c:pt idx="9430">
                  <c:v>#N/A</c:v>
                </c:pt>
                <c:pt idx="9431">
                  <c:v>#N/A</c:v>
                </c:pt>
                <c:pt idx="9432">
                  <c:v>#N/A</c:v>
                </c:pt>
                <c:pt idx="9433">
                  <c:v>#N/A</c:v>
                </c:pt>
                <c:pt idx="9434">
                  <c:v>#N/A</c:v>
                </c:pt>
                <c:pt idx="9435">
                  <c:v>#N/A</c:v>
                </c:pt>
                <c:pt idx="9436">
                  <c:v>#N/A</c:v>
                </c:pt>
                <c:pt idx="9437">
                  <c:v>#N/A</c:v>
                </c:pt>
                <c:pt idx="9438">
                  <c:v>#N/A</c:v>
                </c:pt>
                <c:pt idx="9439">
                  <c:v>#N/A</c:v>
                </c:pt>
                <c:pt idx="9440">
                  <c:v>#N/A</c:v>
                </c:pt>
                <c:pt idx="9441">
                  <c:v>#N/A</c:v>
                </c:pt>
                <c:pt idx="9442">
                  <c:v>#N/A</c:v>
                </c:pt>
                <c:pt idx="9443">
                  <c:v>#N/A</c:v>
                </c:pt>
                <c:pt idx="9444">
                  <c:v>#N/A</c:v>
                </c:pt>
                <c:pt idx="9445">
                  <c:v>#N/A</c:v>
                </c:pt>
                <c:pt idx="9446">
                  <c:v>#N/A</c:v>
                </c:pt>
                <c:pt idx="9447">
                  <c:v>#N/A</c:v>
                </c:pt>
                <c:pt idx="9448">
                  <c:v>#N/A</c:v>
                </c:pt>
                <c:pt idx="9449">
                  <c:v>#N/A</c:v>
                </c:pt>
                <c:pt idx="9450">
                  <c:v>#N/A</c:v>
                </c:pt>
                <c:pt idx="9451">
                  <c:v>#N/A</c:v>
                </c:pt>
                <c:pt idx="9452">
                  <c:v>#N/A</c:v>
                </c:pt>
                <c:pt idx="9453">
                  <c:v>#N/A</c:v>
                </c:pt>
                <c:pt idx="9454">
                  <c:v>#N/A</c:v>
                </c:pt>
                <c:pt idx="9455">
                  <c:v>#N/A</c:v>
                </c:pt>
                <c:pt idx="9456">
                  <c:v>#N/A</c:v>
                </c:pt>
                <c:pt idx="9457">
                  <c:v>#N/A</c:v>
                </c:pt>
                <c:pt idx="9458">
                  <c:v>#N/A</c:v>
                </c:pt>
                <c:pt idx="9459">
                  <c:v>#N/A</c:v>
                </c:pt>
                <c:pt idx="9460">
                  <c:v>#N/A</c:v>
                </c:pt>
                <c:pt idx="9461">
                  <c:v>#N/A</c:v>
                </c:pt>
                <c:pt idx="9462">
                  <c:v>#N/A</c:v>
                </c:pt>
                <c:pt idx="9463">
                  <c:v>#N/A</c:v>
                </c:pt>
                <c:pt idx="9464">
                  <c:v>#N/A</c:v>
                </c:pt>
                <c:pt idx="9465">
                  <c:v>#N/A</c:v>
                </c:pt>
                <c:pt idx="9466">
                  <c:v>#N/A</c:v>
                </c:pt>
                <c:pt idx="9467">
                  <c:v>#N/A</c:v>
                </c:pt>
                <c:pt idx="9468">
                  <c:v>#N/A</c:v>
                </c:pt>
                <c:pt idx="9469">
                  <c:v>#N/A</c:v>
                </c:pt>
                <c:pt idx="9470">
                  <c:v>#N/A</c:v>
                </c:pt>
                <c:pt idx="9471">
                  <c:v>#N/A</c:v>
                </c:pt>
                <c:pt idx="9472">
                  <c:v>#N/A</c:v>
                </c:pt>
                <c:pt idx="9473">
                  <c:v>#N/A</c:v>
                </c:pt>
                <c:pt idx="9474">
                  <c:v>#N/A</c:v>
                </c:pt>
                <c:pt idx="9475">
                  <c:v>#N/A</c:v>
                </c:pt>
                <c:pt idx="9476">
                  <c:v>#N/A</c:v>
                </c:pt>
                <c:pt idx="9477">
                  <c:v>#N/A</c:v>
                </c:pt>
                <c:pt idx="9478">
                  <c:v>#N/A</c:v>
                </c:pt>
                <c:pt idx="9479">
                  <c:v>#N/A</c:v>
                </c:pt>
                <c:pt idx="9480">
                  <c:v>#N/A</c:v>
                </c:pt>
                <c:pt idx="9481">
                  <c:v>#N/A</c:v>
                </c:pt>
                <c:pt idx="9482">
                  <c:v>#N/A</c:v>
                </c:pt>
                <c:pt idx="9483">
                  <c:v>#N/A</c:v>
                </c:pt>
                <c:pt idx="9484">
                  <c:v>#N/A</c:v>
                </c:pt>
                <c:pt idx="9485">
                  <c:v>#N/A</c:v>
                </c:pt>
                <c:pt idx="9486">
                  <c:v>#N/A</c:v>
                </c:pt>
                <c:pt idx="9487">
                  <c:v>#N/A</c:v>
                </c:pt>
                <c:pt idx="9488">
                  <c:v>#N/A</c:v>
                </c:pt>
                <c:pt idx="9489">
                  <c:v>#N/A</c:v>
                </c:pt>
                <c:pt idx="9490">
                  <c:v>#N/A</c:v>
                </c:pt>
                <c:pt idx="9491">
                  <c:v>#N/A</c:v>
                </c:pt>
                <c:pt idx="9492">
                  <c:v>#N/A</c:v>
                </c:pt>
                <c:pt idx="9493">
                  <c:v>#N/A</c:v>
                </c:pt>
                <c:pt idx="9494">
                  <c:v>#N/A</c:v>
                </c:pt>
                <c:pt idx="9495">
                  <c:v>#N/A</c:v>
                </c:pt>
                <c:pt idx="9496">
                  <c:v>#N/A</c:v>
                </c:pt>
                <c:pt idx="9497">
                  <c:v>#N/A</c:v>
                </c:pt>
                <c:pt idx="9498">
                  <c:v>#N/A</c:v>
                </c:pt>
                <c:pt idx="9499">
                  <c:v>#N/A</c:v>
                </c:pt>
                <c:pt idx="9500">
                  <c:v>#N/A</c:v>
                </c:pt>
                <c:pt idx="9501">
                  <c:v>#N/A</c:v>
                </c:pt>
                <c:pt idx="9502">
                  <c:v>#N/A</c:v>
                </c:pt>
                <c:pt idx="9503">
                  <c:v>#N/A</c:v>
                </c:pt>
                <c:pt idx="9504">
                  <c:v>#N/A</c:v>
                </c:pt>
                <c:pt idx="9505">
                  <c:v>#N/A</c:v>
                </c:pt>
                <c:pt idx="9506">
                  <c:v>#N/A</c:v>
                </c:pt>
                <c:pt idx="9507">
                  <c:v>#N/A</c:v>
                </c:pt>
                <c:pt idx="9508">
                  <c:v>#N/A</c:v>
                </c:pt>
                <c:pt idx="9509">
                  <c:v>#N/A</c:v>
                </c:pt>
                <c:pt idx="9510">
                  <c:v>#N/A</c:v>
                </c:pt>
                <c:pt idx="9511">
                  <c:v>#N/A</c:v>
                </c:pt>
                <c:pt idx="9512">
                  <c:v>#N/A</c:v>
                </c:pt>
                <c:pt idx="9513">
                  <c:v>#N/A</c:v>
                </c:pt>
                <c:pt idx="9514">
                  <c:v>#N/A</c:v>
                </c:pt>
                <c:pt idx="9515">
                  <c:v>#N/A</c:v>
                </c:pt>
                <c:pt idx="9516">
                  <c:v>#N/A</c:v>
                </c:pt>
                <c:pt idx="9517">
                  <c:v>#N/A</c:v>
                </c:pt>
                <c:pt idx="9518">
                  <c:v>#N/A</c:v>
                </c:pt>
                <c:pt idx="9519">
                  <c:v>#N/A</c:v>
                </c:pt>
                <c:pt idx="9520">
                  <c:v>#N/A</c:v>
                </c:pt>
                <c:pt idx="9521">
                  <c:v>#N/A</c:v>
                </c:pt>
                <c:pt idx="9522">
                  <c:v>#N/A</c:v>
                </c:pt>
                <c:pt idx="9523">
                  <c:v>#N/A</c:v>
                </c:pt>
                <c:pt idx="9524">
                  <c:v>#N/A</c:v>
                </c:pt>
                <c:pt idx="9525">
                  <c:v>#N/A</c:v>
                </c:pt>
                <c:pt idx="9526">
                  <c:v>#N/A</c:v>
                </c:pt>
                <c:pt idx="9527">
                  <c:v>#N/A</c:v>
                </c:pt>
                <c:pt idx="9528">
                  <c:v>#N/A</c:v>
                </c:pt>
                <c:pt idx="9529">
                  <c:v>#N/A</c:v>
                </c:pt>
                <c:pt idx="9530">
                  <c:v>#N/A</c:v>
                </c:pt>
                <c:pt idx="9531">
                  <c:v>#N/A</c:v>
                </c:pt>
                <c:pt idx="9532">
                  <c:v>#N/A</c:v>
                </c:pt>
                <c:pt idx="9533">
                  <c:v>#N/A</c:v>
                </c:pt>
                <c:pt idx="9534">
                  <c:v>#N/A</c:v>
                </c:pt>
                <c:pt idx="9535">
                  <c:v>#N/A</c:v>
                </c:pt>
                <c:pt idx="9536">
                  <c:v>#N/A</c:v>
                </c:pt>
                <c:pt idx="9537">
                  <c:v>#N/A</c:v>
                </c:pt>
                <c:pt idx="9538">
                  <c:v>#N/A</c:v>
                </c:pt>
                <c:pt idx="9539">
                  <c:v>#N/A</c:v>
                </c:pt>
                <c:pt idx="9540">
                  <c:v>#N/A</c:v>
                </c:pt>
                <c:pt idx="9541">
                  <c:v>#N/A</c:v>
                </c:pt>
                <c:pt idx="9542">
                  <c:v>#N/A</c:v>
                </c:pt>
                <c:pt idx="9543">
                  <c:v>#N/A</c:v>
                </c:pt>
                <c:pt idx="9544">
                  <c:v>#N/A</c:v>
                </c:pt>
                <c:pt idx="9545">
                  <c:v>#N/A</c:v>
                </c:pt>
                <c:pt idx="9546">
                  <c:v>#N/A</c:v>
                </c:pt>
                <c:pt idx="9547">
                  <c:v>#N/A</c:v>
                </c:pt>
                <c:pt idx="9548">
                  <c:v>#N/A</c:v>
                </c:pt>
                <c:pt idx="9549">
                  <c:v>#N/A</c:v>
                </c:pt>
                <c:pt idx="9550">
                  <c:v>#N/A</c:v>
                </c:pt>
                <c:pt idx="9551">
                  <c:v>#N/A</c:v>
                </c:pt>
                <c:pt idx="9552">
                  <c:v>#N/A</c:v>
                </c:pt>
                <c:pt idx="9553">
                  <c:v>#N/A</c:v>
                </c:pt>
                <c:pt idx="9554">
                  <c:v>#N/A</c:v>
                </c:pt>
                <c:pt idx="9555">
                  <c:v>#N/A</c:v>
                </c:pt>
                <c:pt idx="9556">
                  <c:v>#N/A</c:v>
                </c:pt>
                <c:pt idx="9557">
                  <c:v>#N/A</c:v>
                </c:pt>
                <c:pt idx="9558">
                  <c:v>#N/A</c:v>
                </c:pt>
                <c:pt idx="9559">
                  <c:v>#N/A</c:v>
                </c:pt>
                <c:pt idx="9560">
                  <c:v>#N/A</c:v>
                </c:pt>
                <c:pt idx="9561">
                  <c:v>#N/A</c:v>
                </c:pt>
                <c:pt idx="9562">
                  <c:v>#N/A</c:v>
                </c:pt>
                <c:pt idx="9563">
                  <c:v>#N/A</c:v>
                </c:pt>
                <c:pt idx="9564">
                  <c:v>#N/A</c:v>
                </c:pt>
                <c:pt idx="9565">
                  <c:v>#N/A</c:v>
                </c:pt>
                <c:pt idx="9566">
                  <c:v>#N/A</c:v>
                </c:pt>
                <c:pt idx="9567">
                  <c:v>#N/A</c:v>
                </c:pt>
                <c:pt idx="9568">
                  <c:v>#N/A</c:v>
                </c:pt>
                <c:pt idx="9569">
                  <c:v>#N/A</c:v>
                </c:pt>
                <c:pt idx="9570">
                  <c:v>#N/A</c:v>
                </c:pt>
                <c:pt idx="9571">
                  <c:v>#N/A</c:v>
                </c:pt>
                <c:pt idx="9572">
                  <c:v>#N/A</c:v>
                </c:pt>
                <c:pt idx="9573">
                  <c:v>#N/A</c:v>
                </c:pt>
                <c:pt idx="9574">
                  <c:v>#N/A</c:v>
                </c:pt>
                <c:pt idx="9575">
                  <c:v>#N/A</c:v>
                </c:pt>
                <c:pt idx="9576">
                  <c:v>#N/A</c:v>
                </c:pt>
                <c:pt idx="9577">
                  <c:v>#N/A</c:v>
                </c:pt>
                <c:pt idx="9578">
                  <c:v>#N/A</c:v>
                </c:pt>
                <c:pt idx="9579">
                  <c:v>#N/A</c:v>
                </c:pt>
                <c:pt idx="9580">
                  <c:v>#N/A</c:v>
                </c:pt>
                <c:pt idx="9581">
                  <c:v>#N/A</c:v>
                </c:pt>
                <c:pt idx="9582">
                  <c:v>#N/A</c:v>
                </c:pt>
                <c:pt idx="9583">
                  <c:v>#N/A</c:v>
                </c:pt>
                <c:pt idx="9584">
                  <c:v>#N/A</c:v>
                </c:pt>
                <c:pt idx="9585">
                  <c:v>#N/A</c:v>
                </c:pt>
                <c:pt idx="9586">
                  <c:v>#N/A</c:v>
                </c:pt>
                <c:pt idx="9587">
                  <c:v>#N/A</c:v>
                </c:pt>
                <c:pt idx="9588">
                  <c:v>#N/A</c:v>
                </c:pt>
                <c:pt idx="9589">
                  <c:v>#N/A</c:v>
                </c:pt>
                <c:pt idx="9590">
                  <c:v>#N/A</c:v>
                </c:pt>
                <c:pt idx="9591">
                  <c:v>#N/A</c:v>
                </c:pt>
                <c:pt idx="9592">
                  <c:v>#N/A</c:v>
                </c:pt>
                <c:pt idx="9593">
                  <c:v>#N/A</c:v>
                </c:pt>
                <c:pt idx="9594">
                  <c:v>#N/A</c:v>
                </c:pt>
                <c:pt idx="9595">
                  <c:v>#N/A</c:v>
                </c:pt>
                <c:pt idx="9596">
                  <c:v>#N/A</c:v>
                </c:pt>
                <c:pt idx="9597">
                  <c:v>#N/A</c:v>
                </c:pt>
                <c:pt idx="9598">
                  <c:v>#N/A</c:v>
                </c:pt>
                <c:pt idx="9599">
                  <c:v>#N/A</c:v>
                </c:pt>
                <c:pt idx="9600">
                  <c:v>#N/A</c:v>
                </c:pt>
                <c:pt idx="9601">
                  <c:v>#N/A</c:v>
                </c:pt>
                <c:pt idx="9602">
                  <c:v>#N/A</c:v>
                </c:pt>
                <c:pt idx="9603">
                  <c:v>#N/A</c:v>
                </c:pt>
                <c:pt idx="9604">
                  <c:v>#N/A</c:v>
                </c:pt>
                <c:pt idx="9605">
                  <c:v>#N/A</c:v>
                </c:pt>
                <c:pt idx="9606">
                  <c:v>#N/A</c:v>
                </c:pt>
                <c:pt idx="9607">
                  <c:v>#N/A</c:v>
                </c:pt>
                <c:pt idx="9608">
                  <c:v>#N/A</c:v>
                </c:pt>
                <c:pt idx="9609">
                  <c:v>#N/A</c:v>
                </c:pt>
                <c:pt idx="9610">
                  <c:v>#N/A</c:v>
                </c:pt>
                <c:pt idx="9611">
                  <c:v>#N/A</c:v>
                </c:pt>
                <c:pt idx="9612">
                  <c:v>#N/A</c:v>
                </c:pt>
                <c:pt idx="9613">
                  <c:v>#N/A</c:v>
                </c:pt>
                <c:pt idx="9614">
                  <c:v>#N/A</c:v>
                </c:pt>
                <c:pt idx="9615">
                  <c:v>#N/A</c:v>
                </c:pt>
                <c:pt idx="9616">
                  <c:v>#N/A</c:v>
                </c:pt>
                <c:pt idx="9617">
                  <c:v>#N/A</c:v>
                </c:pt>
                <c:pt idx="9618">
                  <c:v>#N/A</c:v>
                </c:pt>
                <c:pt idx="9619">
                  <c:v>#N/A</c:v>
                </c:pt>
                <c:pt idx="9620">
                  <c:v>#N/A</c:v>
                </c:pt>
                <c:pt idx="9621">
                  <c:v>#N/A</c:v>
                </c:pt>
                <c:pt idx="9622">
                  <c:v>#N/A</c:v>
                </c:pt>
                <c:pt idx="9623">
                  <c:v>#N/A</c:v>
                </c:pt>
                <c:pt idx="9624">
                  <c:v>#N/A</c:v>
                </c:pt>
                <c:pt idx="9625">
                  <c:v>#N/A</c:v>
                </c:pt>
                <c:pt idx="9626">
                  <c:v>#N/A</c:v>
                </c:pt>
                <c:pt idx="9627">
                  <c:v>#N/A</c:v>
                </c:pt>
                <c:pt idx="9628">
                  <c:v>#N/A</c:v>
                </c:pt>
                <c:pt idx="9629">
                  <c:v>#N/A</c:v>
                </c:pt>
                <c:pt idx="9630">
                  <c:v>#N/A</c:v>
                </c:pt>
                <c:pt idx="9631">
                  <c:v>#N/A</c:v>
                </c:pt>
                <c:pt idx="9632">
                  <c:v>#N/A</c:v>
                </c:pt>
                <c:pt idx="9633">
                  <c:v>#N/A</c:v>
                </c:pt>
                <c:pt idx="9634">
                  <c:v>#N/A</c:v>
                </c:pt>
                <c:pt idx="9635">
                  <c:v>#N/A</c:v>
                </c:pt>
                <c:pt idx="9636">
                  <c:v>#N/A</c:v>
                </c:pt>
                <c:pt idx="9637">
                  <c:v>#N/A</c:v>
                </c:pt>
                <c:pt idx="9638">
                  <c:v>#N/A</c:v>
                </c:pt>
                <c:pt idx="9639">
                  <c:v>#N/A</c:v>
                </c:pt>
                <c:pt idx="9640">
                  <c:v>#N/A</c:v>
                </c:pt>
                <c:pt idx="9641">
                  <c:v>#N/A</c:v>
                </c:pt>
                <c:pt idx="9642">
                  <c:v>#N/A</c:v>
                </c:pt>
                <c:pt idx="9643">
                  <c:v>#N/A</c:v>
                </c:pt>
                <c:pt idx="9644">
                  <c:v>#N/A</c:v>
                </c:pt>
                <c:pt idx="9645">
                  <c:v>#N/A</c:v>
                </c:pt>
                <c:pt idx="9646">
                  <c:v>#N/A</c:v>
                </c:pt>
                <c:pt idx="9647">
                  <c:v>#N/A</c:v>
                </c:pt>
                <c:pt idx="9648">
                  <c:v>#N/A</c:v>
                </c:pt>
                <c:pt idx="9649">
                  <c:v>#N/A</c:v>
                </c:pt>
                <c:pt idx="9650">
                  <c:v>#N/A</c:v>
                </c:pt>
                <c:pt idx="9651">
                  <c:v>#N/A</c:v>
                </c:pt>
                <c:pt idx="9652">
                  <c:v>#N/A</c:v>
                </c:pt>
                <c:pt idx="9653">
                  <c:v>#N/A</c:v>
                </c:pt>
                <c:pt idx="9654">
                  <c:v>#N/A</c:v>
                </c:pt>
                <c:pt idx="9655">
                  <c:v>#N/A</c:v>
                </c:pt>
                <c:pt idx="9656">
                  <c:v>#N/A</c:v>
                </c:pt>
                <c:pt idx="9657">
                  <c:v>#N/A</c:v>
                </c:pt>
                <c:pt idx="9658">
                  <c:v>#N/A</c:v>
                </c:pt>
                <c:pt idx="9659">
                  <c:v>#N/A</c:v>
                </c:pt>
                <c:pt idx="9660">
                  <c:v>#N/A</c:v>
                </c:pt>
                <c:pt idx="9661">
                  <c:v>#N/A</c:v>
                </c:pt>
                <c:pt idx="9662">
                  <c:v>#N/A</c:v>
                </c:pt>
                <c:pt idx="9663">
                  <c:v>#N/A</c:v>
                </c:pt>
                <c:pt idx="9664">
                  <c:v>#N/A</c:v>
                </c:pt>
                <c:pt idx="9665">
                  <c:v>#N/A</c:v>
                </c:pt>
                <c:pt idx="9666">
                  <c:v>#N/A</c:v>
                </c:pt>
                <c:pt idx="9667">
                  <c:v>#N/A</c:v>
                </c:pt>
                <c:pt idx="9668">
                  <c:v>#N/A</c:v>
                </c:pt>
                <c:pt idx="9669">
                  <c:v>#N/A</c:v>
                </c:pt>
                <c:pt idx="9670">
                  <c:v>#N/A</c:v>
                </c:pt>
                <c:pt idx="9671">
                  <c:v>#N/A</c:v>
                </c:pt>
                <c:pt idx="9672">
                  <c:v>#N/A</c:v>
                </c:pt>
                <c:pt idx="9673">
                  <c:v>#N/A</c:v>
                </c:pt>
                <c:pt idx="9674">
                  <c:v>#N/A</c:v>
                </c:pt>
                <c:pt idx="9675">
                  <c:v>#N/A</c:v>
                </c:pt>
                <c:pt idx="9676">
                  <c:v>#N/A</c:v>
                </c:pt>
                <c:pt idx="9677">
                  <c:v>#N/A</c:v>
                </c:pt>
                <c:pt idx="9678">
                  <c:v>#N/A</c:v>
                </c:pt>
                <c:pt idx="9679">
                  <c:v>#N/A</c:v>
                </c:pt>
                <c:pt idx="9680">
                  <c:v>#N/A</c:v>
                </c:pt>
                <c:pt idx="9681">
                  <c:v>#N/A</c:v>
                </c:pt>
                <c:pt idx="9682">
                  <c:v>#N/A</c:v>
                </c:pt>
                <c:pt idx="9683">
                  <c:v>#N/A</c:v>
                </c:pt>
                <c:pt idx="9684">
                  <c:v>#N/A</c:v>
                </c:pt>
                <c:pt idx="9685">
                  <c:v>#N/A</c:v>
                </c:pt>
                <c:pt idx="9686">
                  <c:v>#N/A</c:v>
                </c:pt>
                <c:pt idx="9687">
                  <c:v>#N/A</c:v>
                </c:pt>
                <c:pt idx="9688">
                  <c:v>#N/A</c:v>
                </c:pt>
                <c:pt idx="9689">
                  <c:v>#N/A</c:v>
                </c:pt>
                <c:pt idx="9690">
                  <c:v>#N/A</c:v>
                </c:pt>
                <c:pt idx="9691">
                  <c:v>#N/A</c:v>
                </c:pt>
                <c:pt idx="9692">
                  <c:v>#N/A</c:v>
                </c:pt>
                <c:pt idx="9693">
                  <c:v>#N/A</c:v>
                </c:pt>
                <c:pt idx="9694">
                  <c:v>#N/A</c:v>
                </c:pt>
                <c:pt idx="9695">
                  <c:v>#N/A</c:v>
                </c:pt>
                <c:pt idx="9696">
                  <c:v>#N/A</c:v>
                </c:pt>
                <c:pt idx="9697">
                  <c:v>#N/A</c:v>
                </c:pt>
                <c:pt idx="9698">
                  <c:v>#N/A</c:v>
                </c:pt>
                <c:pt idx="9699">
                  <c:v>#N/A</c:v>
                </c:pt>
                <c:pt idx="9700">
                  <c:v>#N/A</c:v>
                </c:pt>
                <c:pt idx="9701">
                  <c:v>#N/A</c:v>
                </c:pt>
                <c:pt idx="9702">
                  <c:v>#N/A</c:v>
                </c:pt>
                <c:pt idx="9703">
                  <c:v>#N/A</c:v>
                </c:pt>
                <c:pt idx="9704">
                  <c:v>#N/A</c:v>
                </c:pt>
                <c:pt idx="9705">
                  <c:v>#N/A</c:v>
                </c:pt>
                <c:pt idx="9706">
                  <c:v>#N/A</c:v>
                </c:pt>
                <c:pt idx="9707">
                  <c:v>#N/A</c:v>
                </c:pt>
                <c:pt idx="9708">
                  <c:v>#N/A</c:v>
                </c:pt>
                <c:pt idx="9709">
                  <c:v>#N/A</c:v>
                </c:pt>
                <c:pt idx="9710">
                  <c:v>#N/A</c:v>
                </c:pt>
                <c:pt idx="9711">
                  <c:v>#N/A</c:v>
                </c:pt>
                <c:pt idx="9712">
                  <c:v>#N/A</c:v>
                </c:pt>
                <c:pt idx="9713">
                  <c:v>#N/A</c:v>
                </c:pt>
                <c:pt idx="9714">
                  <c:v>#N/A</c:v>
                </c:pt>
                <c:pt idx="9715">
                  <c:v>#N/A</c:v>
                </c:pt>
                <c:pt idx="9716">
                  <c:v>#N/A</c:v>
                </c:pt>
                <c:pt idx="9717">
                  <c:v>#N/A</c:v>
                </c:pt>
                <c:pt idx="9718">
                  <c:v>#N/A</c:v>
                </c:pt>
                <c:pt idx="9719">
                  <c:v>#N/A</c:v>
                </c:pt>
                <c:pt idx="9720">
                  <c:v>#N/A</c:v>
                </c:pt>
                <c:pt idx="9721">
                  <c:v>#N/A</c:v>
                </c:pt>
                <c:pt idx="9722">
                  <c:v>#N/A</c:v>
                </c:pt>
                <c:pt idx="9723">
                  <c:v>#N/A</c:v>
                </c:pt>
                <c:pt idx="9724">
                  <c:v>#N/A</c:v>
                </c:pt>
                <c:pt idx="9725">
                  <c:v>#N/A</c:v>
                </c:pt>
                <c:pt idx="9726">
                  <c:v>#N/A</c:v>
                </c:pt>
                <c:pt idx="9727">
                  <c:v>#N/A</c:v>
                </c:pt>
                <c:pt idx="9728">
                  <c:v>#N/A</c:v>
                </c:pt>
                <c:pt idx="9729">
                  <c:v>#N/A</c:v>
                </c:pt>
                <c:pt idx="9730">
                  <c:v>#N/A</c:v>
                </c:pt>
                <c:pt idx="9731">
                  <c:v>#N/A</c:v>
                </c:pt>
                <c:pt idx="9732">
                  <c:v>#N/A</c:v>
                </c:pt>
                <c:pt idx="9733">
                  <c:v>#N/A</c:v>
                </c:pt>
                <c:pt idx="9734">
                  <c:v>#N/A</c:v>
                </c:pt>
                <c:pt idx="9735">
                  <c:v>#N/A</c:v>
                </c:pt>
                <c:pt idx="9736">
                  <c:v>#N/A</c:v>
                </c:pt>
                <c:pt idx="9737">
                  <c:v>#N/A</c:v>
                </c:pt>
                <c:pt idx="9738">
                  <c:v>#N/A</c:v>
                </c:pt>
                <c:pt idx="9739">
                  <c:v>#N/A</c:v>
                </c:pt>
                <c:pt idx="9740">
                  <c:v>#N/A</c:v>
                </c:pt>
                <c:pt idx="9741">
                  <c:v>#N/A</c:v>
                </c:pt>
                <c:pt idx="9742">
                  <c:v>#N/A</c:v>
                </c:pt>
                <c:pt idx="9743">
                  <c:v>#N/A</c:v>
                </c:pt>
                <c:pt idx="9744">
                  <c:v>#N/A</c:v>
                </c:pt>
                <c:pt idx="9745">
                  <c:v>#N/A</c:v>
                </c:pt>
                <c:pt idx="9746">
                  <c:v>#N/A</c:v>
                </c:pt>
                <c:pt idx="9747">
                  <c:v>#N/A</c:v>
                </c:pt>
                <c:pt idx="9748">
                  <c:v>#N/A</c:v>
                </c:pt>
                <c:pt idx="9749">
                  <c:v>#N/A</c:v>
                </c:pt>
                <c:pt idx="9750">
                  <c:v>#N/A</c:v>
                </c:pt>
                <c:pt idx="9751">
                  <c:v>#N/A</c:v>
                </c:pt>
                <c:pt idx="9752">
                  <c:v>#N/A</c:v>
                </c:pt>
                <c:pt idx="9753">
                  <c:v>#N/A</c:v>
                </c:pt>
                <c:pt idx="9754">
                  <c:v>#N/A</c:v>
                </c:pt>
                <c:pt idx="9755">
                  <c:v>#N/A</c:v>
                </c:pt>
                <c:pt idx="9756">
                  <c:v>#N/A</c:v>
                </c:pt>
                <c:pt idx="9757">
                  <c:v>#N/A</c:v>
                </c:pt>
                <c:pt idx="9758">
                  <c:v>#N/A</c:v>
                </c:pt>
                <c:pt idx="9759">
                  <c:v>#N/A</c:v>
                </c:pt>
                <c:pt idx="9760">
                  <c:v>#N/A</c:v>
                </c:pt>
                <c:pt idx="9761">
                  <c:v>#N/A</c:v>
                </c:pt>
                <c:pt idx="9762">
                  <c:v>#N/A</c:v>
                </c:pt>
                <c:pt idx="9763">
                  <c:v>#N/A</c:v>
                </c:pt>
                <c:pt idx="9764">
                  <c:v>#N/A</c:v>
                </c:pt>
                <c:pt idx="9765">
                  <c:v>#N/A</c:v>
                </c:pt>
                <c:pt idx="9766">
                  <c:v>#N/A</c:v>
                </c:pt>
                <c:pt idx="9767">
                  <c:v>#N/A</c:v>
                </c:pt>
                <c:pt idx="9768">
                  <c:v>#N/A</c:v>
                </c:pt>
                <c:pt idx="9769">
                  <c:v>#N/A</c:v>
                </c:pt>
                <c:pt idx="9770">
                  <c:v>#N/A</c:v>
                </c:pt>
                <c:pt idx="9771">
                  <c:v>#N/A</c:v>
                </c:pt>
                <c:pt idx="9772">
                  <c:v>#N/A</c:v>
                </c:pt>
                <c:pt idx="9773">
                  <c:v>#N/A</c:v>
                </c:pt>
                <c:pt idx="9774">
                  <c:v>#N/A</c:v>
                </c:pt>
                <c:pt idx="9775">
                  <c:v>#N/A</c:v>
                </c:pt>
                <c:pt idx="9776">
                  <c:v>#N/A</c:v>
                </c:pt>
                <c:pt idx="9777">
                  <c:v>#N/A</c:v>
                </c:pt>
                <c:pt idx="9778">
                  <c:v>#N/A</c:v>
                </c:pt>
                <c:pt idx="9779">
                  <c:v>#N/A</c:v>
                </c:pt>
                <c:pt idx="9780">
                  <c:v>#N/A</c:v>
                </c:pt>
                <c:pt idx="9781">
                  <c:v>#N/A</c:v>
                </c:pt>
                <c:pt idx="9782">
                  <c:v>#N/A</c:v>
                </c:pt>
                <c:pt idx="9783">
                  <c:v>#N/A</c:v>
                </c:pt>
                <c:pt idx="9784">
                  <c:v>#N/A</c:v>
                </c:pt>
                <c:pt idx="9785">
                  <c:v>#N/A</c:v>
                </c:pt>
                <c:pt idx="9786">
                  <c:v>#N/A</c:v>
                </c:pt>
                <c:pt idx="9787">
                  <c:v>#N/A</c:v>
                </c:pt>
                <c:pt idx="9788">
                  <c:v>#N/A</c:v>
                </c:pt>
                <c:pt idx="9789">
                  <c:v>#N/A</c:v>
                </c:pt>
                <c:pt idx="9790">
                  <c:v>#N/A</c:v>
                </c:pt>
                <c:pt idx="9791">
                  <c:v>#N/A</c:v>
                </c:pt>
                <c:pt idx="9792">
                  <c:v>#N/A</c:v>
                </c:pt>
                <c:pt idx="9793">
                  <c:v>#N/A</c:v>
                </c:pt>
                <c:pt idx="9794">
                  <c:v>#N/A</c:v>
                </c:pt>
                <c:pt idx="9795">
                  <c:v>#N/A</c:v>
                </c:pt>
                <c:pt idx="9796">
                  <c:v>#N/A</c:v>
                </c:pt>
                <c:pt idx="9797">
                  <c:v>#N/A</c:v>
                </c:pt>
                <c:pt idx="9798">
                  <c:v>#N/A</c:v>
                </c:pt>
                <c:pt idx="9799">
                  <c:v>#N/A</c:v>
                </c:pt>
                <c:pt idx="9800">
                  <c:v>#N/A</c:v>
                </c:pt>
                <c:pt idx="9801">
                  <c:v>#N/A</c:v>
                </c:pt>
                <c:pt idx="9802">
                  <c:v>#N/A</c:v>
                </c:pt>
                <c:pt idx="9803">
                  <c:v>#N/A</c:v>
                </c:pt>
                <c:pt idx="9804">
                  <c:v>#N/A</c:v>
                </c:pt>
                <c:pt idx="9805">
                  <c:v>#N/A</c:v>
                </c:pt>
                <c:pt idx="9806">
                  <c:v>#N/A</c:v>
                </c:pt>
                <c:pt idx="9807">
                  <c:v>#N/A</c:v>
                </c:pt>
                <c:pt idx="9808">
                  <c:v>#N/A</c:v>
                </c:pt>
                <c:pt idx="9809">
                  <c:v>#N/A</c:v>
                </c:pt>
                <c:pt idx="9810">
                  <c:v>#N/A</c:v>
                </c:pt>
                <c:pt idx="9811">
                  <c:v>#N/A</c:v>
                </c:pt>
                <c:pt idx="9812">
                  <c:v>#N/A</c:v>
                </c:pt>
                <c:pt idx="9813">
                  <c:v>#N/A</c:v>
                </c:pt>
                <c:pt idx="9814">
                  <c:v>#N/A</c:v>
                </c:pt>
                <c:pt idx="9815">
                  <c:v>#N/A</c:v>
                </c:pt>
                <c:pt idx="9816">
                  <c:v>#N/A</c:v>
                </c:pt>
                <c:pt idx="9817">
                  <c:v>#N/A</c:v>
                </c:pt>
                <c:pt idx="9818">
                  <c:v>#N/A</c:v>
                </c:pt>
                <c:pt idx="9819">
                  <c:v>#N/A</c:v>
                </c:pt>
                <c:pt idx="9820">
                  <c:v>#N/A</c:v>
                </c:pt>
                <c:pt idx="9821">
                  <c:v>#N/A</c:v>
                </c:pt>
                <c:pt idx="9822">
                  <c:v>#N/A</c:v>
                </c:pt>
                <c:pt idx="9823">
                  <c:v>#N/A</c:v>
                </c:pt>
                <c:pt idx="9824">
                  <c:v>#N/A</c:v>
                </c:pt>
                <c:pt idx="9825">
                  <c:v>#N/A</c:v>
                </c:pt>
                <c:pt idx="9826">
                  <c:v>#N/A</c:v>
                </c:pt>
                <c:pt idx="9827">
                  <c:v>#N/A</c:v>
                </c:pt>
                <c:pt idx="9828">
                  <c:v>#N/A</c:v>
                </c:pt>
                <c:pt idx="9829">
                  <c:v>#N/A</c:v>
                </c:pt>
                <c:pt idx="9830">
                  <c:v>#N/A</c:v>
                </c:pt>
                <c:pt idx="9831">
                  <c:v>#N/A</c:v>
                </c:pt>
                <c:pt idx="9832">
                  <c:v>#N/A</c:v>
                </c:pt>
                <c:pt idx="9833">
                  <c:v>#N/A</c:v>
                </c:pt>
                <c:pt idx="9834">
                  <c:v>#N/A</c:v>
                </c:pt>
                <c:pt idx="9835">
                  <c:v>#N/A</c:v>
                </c:pt>
                <c:pt idx="9836">
                  <c:v>#N/A</c:v>
                </c:pt>
                <c:pt idx="9837">
                  <c:v>#N/A</c:v>
                </c:pt>
                <c:pt idx="9838">
                  <c:v>#N/A</c:v>
                </c:pt>
                <c:pt idx="9839">
                  <c:v>#N/A</c:v>
                </c:pt>
                <c:pt idx="9840">
                  <c:v>#N/A</c:v>
                </c:pt>
                <c:pt idx="9841">
                  <c:v>#N/A</c:v>
                </c:pt>
                <c:pt idx="9842">
                  <c:v>#N/A</c:v>
                </c:pt>
                <c:pt idx="9843">
                  <c:v>#N/A</c:v>
                </c:pt>
                <c:pt idx="9844">
                  <c:v>#N/A</c:v>
                </c:pt>
                <c:pt idx="9845">
                  <c:v>#N/A</c:v>
                </c:pt>
                <c:pt idx="9846">
                  <c:v>#N/A</c:v>
                </c:pt>
                <c:pt idx="9847">
                  <c:v>#N/A</c:v>
                </c:pt>
                <c:pt idx="9848">
                  <c:v>#N/A</c:v>
                </c:pt>
                <c:pt idx="9849">
                  <c:v>#N/A</c:v>
                </c:pt>
                <c:pt idx="9850">
                  <c:v>#N/A</c:v>
                </c:pt>
                <c:pt idx="9851">
                  <c:v>#N/A</c:v>
                </c:pt>
                <c:pt idx="9852">
                  <c:v>#N/A</c:v>
                </c:pt>
                <c:pt idx="9853">
                  <c:v>#N/A</c:v>
                </c:pt>
                <c:pt idx="9854">
                  <c:v>#N/A</c:v>
                </c:pt>
                <c:pt idx="9855">
                  <c:v>#N/A</c:v>
                </c:pt>
                <c:pt idx="9856">
                  <c:v>#N/A</c:v>
                </c:pt>
                <c:pt idx="9857">
                  <c:v>#N/A</c:v>
                </c:pt>
                <c:pt idx="9858">
                  <c:v>#N/A</c:v>
                </c:pt>
                <c:pt idx="9859">
                  <c:v>#N/A</c:v>
                </c:pt>
                <c:pt idx="9860">
                  <c:v>#N/A</c:v>
                </c:pt>
                <c:pt idx="9861">
                  <c:v>#N/A</c:v>
                </c:pt>
                <c:pt idx="9862">
                  <c:v>#N/A</c:v>
                </c:pt>
                <c:pt idx="9863">
                  <c:v>#N/A</c:v>
                </c:pt>
                <c:pt idx="9864">
                  <c:v>#N/A</c:v>
                </c:pt>
                <c:pt idx="9865">
                  <c:v>#N/A</c:v>
                </c:pt>
                <c:pt idx="9866">
                  <c:v>#N/A</c:v>
                </c:pt>
                <c:pt idx="9867">
                  <c:v>#N/A</c:v>
                </c:pt>
                <c:pt idx="9868">
                  <c:v>#N/A</c:v>
                </c:pt>
                <c:pt idx="9869">
                  <c:v>#N/A</c:v>
                </c:pt>
                <c:pt idx="9870">
                  <c:v>#N/A</c:v>
                </c:pt>
                <c:pt idx="9871">
                  <c:v>#N/A</c:v>
                </c:pt>
                <c:pt idx="9872">
                  <c:v>#N/A</c:v>
                </c:pt>
                <c:pt idx="9873">
                  <c:v>#N/A</c:v>
                </c:pt>
                <c:pt idx="9874">
                  <c:v>#N/A</c:v>
                </c:pt>
                <c:pt idx="9875">
                  <c:v>#N/A</c:v>
                </c:pt>
                <c:pt idx="9876">
                  <c:v>#N/A</c:v>
                </c:pt>
                <c:pt idx="9877">
                  <c:v>#N/A</c:v>
                </c:pt>
                <c:pt idx="9878">
                  <c:v>#N/A</c:v>
                </c:pt>
                <c:pt idx="9879">
                  <c:v>#N/A</c:v>
                </c:pt>
                <c:pt idx="9880">
                  <c:v>#N/A</c:v>
                </c:pt>
                <c:pt idx="9881">
                  <c:v>#N/A</c:v>
                </c:pt>
                <c:pt idx="9882">
                  <c:v>#N/A</c:v>
                </c:pt>
                <c:pt idx="9883">
                  <c:v>#N/A</c:v>
                </c:pt>
                <c:pt idx="9884">
                  <c:v>#N/A</c:v>
                </c:pt>
                <c:pt idx="9885">
                  <c:v>#N/A</c:v>
                </c:pt>
                <c:pt idx="9886">
                  <c:v>#N/A</c:v>
                </c:pt>
                <c:pt idx="9887">
                  <c:v>#N/A</c:v>
                </c:pt>
                <c:pt idx="9888">
                  <c:v>#N/A</c:v>
                </c:pt>
                <c:pt idx="9889">
                  <c:v>#N/A</c:v>
                </c:pt>
                <c:pt idx="9890">
                  <c:v>#N/A</c:v>
                </c:pt>
                <c:pt idx="9891">
                  <c:v>#N/A</c:v>
                </c:pt>
                <c:pt idx="9892">
                  <c:v>#N/A</c:v>
                </c:pt>
                <c:pt idx="9893">
                  <c:v>#N/A</c:v>
                </c:pt>
                <c:pt idx="9894">
                  <c:v>#N/A</c:v>
                </c:pt>
                <c:pt idx="9895">
                  <c:v>#N/A</c:v>
                </c:pt>
                <c:pt idx="9896">
                  <c:v>#N/A</c:v>
                </c:pt>
                <c:pt idx="9897">
                  <c:v>#N/A</c:v>
                </c:pt>
                <c:pt idx="9898">
                  <c:v>#N/A</c:v>
                </c:pt>
                <c:pt idx="9899">
                  <c:v>#N/A</c:v>
                </c:pt>
                <c:pt idx="9900">
                  <c:v>#N/A</c:v>
                </c:pt>
                <c:pt idx="9901">
                  <c:v>#N/A</c:v>
                </c:pt>
                <c:pt idx="9902">
                  <c:v>#N/A</c:v>
                </c:pt>
                <c:pt idx="9903">
                  <c:v>#N/A</c:v>
                </c:pt>
                <c:pt idx="9904">
                  <c:v>#N/A</c:v>
                </c:pt>
                <c:pt idx="9905">
                  <c:v>#N/A</c:v>
                </c:pt>
                <c:pt idx="9906">
                  <c:v>#N/A</c:v>
                </c:pt>
                <c:pt idx="9907">
                  <c:v>#N/A</c:v>
                </c:pt>
                <c:pt idx="9908">
                  <c:v>#N/A</c:v>
                </c:pt>
                <c:pt idx="9909">
                  <c:v>#N/A</c:v>
                </c:pt>
                <c:pt idx="9910">
                  <c:v>#N/A</c:v>
                </c:pt>
                <c:pt idx="9911">
                  <c:v>#N/A</c:v>
                </c:pt>
                <c:pt idx="9912">
                  <c:v>#N/A</c:v>
                </c:pt>
                <c:pt idx="9913">
                  <c:v>#N/A</c:v>
                </c:pt>
                <c:pt idx="9914">
                  <c:v>#N/A</c:v>
                </c:pt>
                <c:pt idx="9915">
                  <c:v>#N/A</c:v>
                </c:pt>
                <c:pt idx="9916">
                  <c:v>#N/A</c:v>
                </c:pt>
                <c:pt idx="9917">
                  <c:v>#N/A</c:v>
                </c:pt>
                <c:pt idx="9918">
                  <c:v>#N/A</c:v>
                </c:pt>
                <c:pt idx="9919">
                  <c:v>#N/A</c:v>
                </c:pt>
                <c:pt idx="9920">
                  <c:v>#N/A</c:v>
                </c:pt>
                <c:pt idx="9921">
                  <c:v>#N/A</c:v>
                </c:pt>
                <c:pt idx="9922">
                  <c:v>#N/A</c:v>
                </c:pt>
                <c:pt idx="9923">
                  <c:v>#N/A</c:v>
                </c:pt>
                <c:pt idx="9924">
                  <c:v>#N/A</c:v>
                </c:pt>
                <c:pt idx="9925">
                  <c:v>#N/A</c:v>
                </c:pt>
                <c:pt idx="9926">
                  <c:v>#N/A</c:v>
                </c:pt>
                <c:pt idx="9927">
                  <c:v>#N/A</c:v>
                </c:pt>
                <c:pt idx="9928">
                  <c:v>#N/A</c:v>
                </c:pt>
                <c:pt idx="9929">
                  <c:v>#N/A</c:v>
                </c:pt>
                <c:pt idx="9930">
                  <c:v>#N/A</c:v>
                </c:pt>
                <c:pt idx="9931">
                  <c:v>#N/A</c:v>
                </c:pt>
                <c:pt idx="9932">
                  <c:v>#N/A</c:v>
                </c:pt>
                <c:pt idx="9933">
                  <c:v>#N/A</c:v>
                </c:pt>
                <c:pt idx="9934">
                  <c:v>#N/A</c:v>
                </c:pt>
                <c:pt idx="9935">
                  <c:v>#N/A</c:v>
                </c:pt>
                <c:pt idx="9936">
                  <c:v>#N/A</c:v>
                </c:pt>
                <c:pt idx="9937">
                  <c:v>#N/A</c:v>
                </c:pt>
                <c:pt idx="9938">
                  <c:v>#N/A</c:v>
                </c:pt>
                <c:pt idx="9939">
                  <c:v>#N/A</c:v>
                </c:pt>
                <c:pt idx="9940">
                  <c:v>#N/A</c:v>
                </c:pt>
                <c:pt idx="9941">
                  <c:v>#N/A</c:v>
                </c:pt>
                <c:pt idx="9942">
                  <c:v>#N/A</c:v>
                </c:pt>
                <c:pt idx="9943">
                  <c:v>#N/A</c:v>
                </c:pt>
                <c:pt idx="9944">
                  <c:v>#N/A</c:v>
                </c:pt>
                <c:pt idx="9945">
                  <c:v>#N/A</c:v>
                </c:pt>
                <c:pt idx="9946">
                  <c:v>#N/A</c:v>
                </c:pt>
                <c:pt idx="9947">
                  <c:v>#N/A</c:v>
                </c:pt>
                <c:pt idx="9948">
                  <c:v>#N/A</c:v>
                </c:pt>
                <c:pt idx="9949">
                  <c:v>#N/A</c:v>
                </c:pt>
                <c:pt idx="9950">
                  <c:v>#N/A</c:v>
                </c:pt>
                <c:pt idx="9951">
                  <c:v>#N/A</c:v>
                </c:pt>
                <c:pt idx="9952">
                  <c:v>#N/A</c:v>
                </c:pt>
                <c:pt idx="9953">
                  <c:v>#N/A</c:v>
                </c:pt>
                <c:pt idx="9954">
                  <c:v>#N/A</c:v>
                </c:pt>
                <c:pt idx="9955">
                  <c:v>#N/A</c:v>
                </c:pt>
                <c:pt idx="9956">
                  <c:v>#N/A</c:v>
                </c:pt>
                <c:pt idx="9957">
                  <c:v>#N/A</c:v>
                </c:pt>
                <c:pt idx="9958">
                  <c:v>#N/A</c:v>
                </c:pt>
                <c:pt idx="9959">
                  <c:v>#N/A</c:v>
                </c:pt>
                <c:pt idx="9960">
                  <c:v>#N/A</c:v>
                </c:pt>
                <c:pt idx="9961">
                  <c:v>#N/A</c:v>
                </c:pt>
                <c:pt idx="9962">
                  <c:v>#N/A</c:v>
                </c:pt>
                <c:pt idx="9963">
                  <c:v>#N/A</c:v>
                </c:pt>
                <c:pt idx="9964">
                  <c:v>#N/A</c:v>
                </c:pt>
                <c:pt idx="9965">
                  <c:v>#N/A</c:v>
                </c:pt>
                <c:pt idx="9966">
                  <c:v>#N/A</c:v>
                </c:pt>
                <c:pt idx="9967">
                  <c:v>#N/A</c:v>
                </c:pt>
                <c:pt idx="9968">
                  <c:v>#N/A</c:v>
                </c:pt>
                <c:pt idx="9969">
                  <c:v>#N/A</c:v>
                </c:pt>
                <c:pt idx="9970">
                  <c:v>#N/A</c:v>
                </c:pt>
                <c:pt idx="9971">
                  <c:v>#N/A</c:v>
                </c:pt>
                <c:pt idx="9972">
                  <c:v>#N/A</c:v>
                </c:pt>
                <c:pt idx="9973">
                  <c:v>#N/A</c:v>
                </c:pt>
                <c:pt idx="9974">
                  <c:v>#N/A</c:v>
                </c:pt>
                <c:pt idx="9975">
                  <c:v>#N/A</c:v>
                </c:pt>
                <c:pt idx="9976">
                  <c:v>#N/A</c:v>
                </c:pt>
                <c:pt idx="9977">
                  <c:v>#N/A</c:v>
                </c:pt>
                <c:pt idx="9978">
                  <c:v>#N/A</c:v>
                </c:pt>
                <c:pt idx="9979">
                  <c:v>#N/A</c:v>
                </c:pt>
                <c:pt idx="9980">
                  <c:v>#N/A</c:v>
                </c:pt>
                <c:pt idx="9981">
                  <c:v>#N/A</c:v>
                </c:pt>
                <c:pt idx="9982">
                  <c:v>#N/A</c:v>
                </c:pt>
                <c:pt idx="9983">
                  <c:v>#N/A</c:v>
                </c:pt>
                <c:pt idx="9984">
                  <c:v>#N/A</c:v>
                </c:pt>
                <c:pt idx="9985">
                  <c:v>#N/A</c:v>
                </c:pt>
                <c:pt idx="9986">
                  <c:v>#N/A</c:v>
                </c:pt>
                <c:pt idx="9987">
                  <c:v>#N/A</c:v>
                </c:pt>
                <c:pt idx="9988">
                  <c:v>#N/A</c:v>
                </c:pt>
                <c:pt idx="9989">
                  <c:v>#N/A</c:v>
                </c:pt>
                <c:pt idx="9990">
                  <c:v>#N/A</c:v>
                </c:pt>
                <c:pt idx="9991">
                  <c:v>#N/A</c:v>
                </c:pt>
                <c:pt idx="9992">
                  <c:v>#N/A</c:v>
                </c:pt>
                <c:pt idx="9993">
                  <c:v>#N/A</c:v>
                </c:pt>
                <c:pt idx="9994">
                  <c:v>#N/A</c:v>
                </c:pt>
                <c:pt idx="9995">
                  <c:v>#N/A</c:v>
                </c:pt>
                <c:pt idx="9996">
                  <c:v>#N/A</c:v>
                </c:pt>
                <c:pt idx="9997">
                  <c:v>#N/A</c:v>
                </c:pt>
                <c:pt idx="9998">
                  <c:v>#N/A</c:v>
                </c:pt>
                <c:pt idx="9999">
                  <c:v>#N/A</c:v>
                </c:pt>
                <c:pt idx="10000">
                  <c:v>#N/A</c:v>
                </c:pt>
                <c:pt idx="10001">
                  <c:v>#N/A</c:v>
                </c:pt>
                <c:pt idx="10002">
                  <c:v>#N/A</c:v>
                </c:pt>
                <c:pt idx="10003">
                  <c:v>#N/A</c:v>
                </c:pt>
                <c:pt idx="10004">
                  <c:v>#N/A</c:v>
                </c:pt>
                <c:pt idx="10005">
                  <c:v>#N/A</c:v>
                </c:pt>
                <c:pt idx="10006">
                  <c:v>#N/A</c:v>
                </c:pt>
                <c:pt idx="10007">
                  <c:v>#N/A</c:v>
                </c:pt>
                <c:pt idx="10008">
                  <c:v>#N/A</c:v>
                </c:pt>
                <c:pt idx="10009">
                  <c:v>#N/A</c:v>
                </c:pt>
                <c:pt idx="10010">
                  <c:v>#N/A</c:v>
                </c:pt>
                <c:pt idx="10011">
                  <c:v>#N/A</c:v>
                </c:pt>
                <c:pt idx="10012">
                  <c:v>#N/A</c:v>
                </c:pt>
                <c:pt idx="10013">
                  <c:v>#N/A</c:v>
                </c:pt>
                <c:pt idx="10014">
                  <c:v>#N/A</c:v>
                </c:pt>
                <c:pt idx="10015">
                  <c:v>#N/A</c:v>
                </c:pt>
                <c:pt idx="10016">
                  <c:v>#N/A</c:v>
                </c:pt>
                <c:pt idx="10017">
                  <c:v>#N/A</c:v>
                </c:pt>
                <c:pt idx="10018">
                  <c:v>#N/A</c:v>
                </c:pt>
                <c:pt idx="10019">
                  <c:v>#N/A</c:v>
                </c:pt>
                <c:pt idx="10020">
                  <c:v>#N/A</c:v>
                </c:pt>
                <c:pt idx="10021">
                  <c:v>#N/A</c:v>
                </c:pt>
                <c:pt idx="10022">
                  <c:v>#N/A</c:v>
                </c:pt>
                <c:pt idx="10023">
                  <c:v>#N/A</c:v>
                </c:pt>
                <c:pt idx="10024">
                  <c:v>#N/A</c:v>
                </c:pt>
                <c:pt idx="10025">
                  <c:v>#N/A</c:v>
                </c:pt>
                <c:pt idx="10026">
                  <c:v>#N/A</c:v>
                </c:pt>
                <c:pt idx="10027">
                  <c:v>#N/A</c:v>
                </c:pt>
                <c:pt idx="10028">
                  <c:v>#N/A</c:v>
                </c:pt>
                <c:pt idx="10029">
                  <c:v>#N/A</c:v>
                </c:pt>
                <c:pt idx="10030">
                  <c:v>#N/A</c:v>
                </c:pt>
                <c:pt idx="10031">
                  <c:v>#N/A</c:v>
                </c:pt>
                <c:pt idx="10032">
                  <c:v>#N/A</c:v>
                </c:pt>
                <c:pt idx="10033">
                  <c:v>#N/A</c:v>
                </c:pt>
                <c:pt idx="10034">
                  <c:v>#N/A</c:v>
                </c:pt>
                <c:pt idx="10035">
                  <c:v>#N/A</c:v>
                </c:pt>
                <c:pt idx="10036">
                  <c:v>#N/A</c:v>
                </c:pt>
                <c:pt idx="10037">
                  <c:v>#N/A</c:v>
                </c:pt>
                <c:pt idx="10038">
                  <c:v>#N/A</c:v>
                </c:pt>
                <c:pt idx="10039">
                  <c:v>#N/A</c:v>
                </c:pt>
                <c:pt idx="10040">
                  <c:v>#N/A</c:v>
                </c:pt>
                <c:pt idx="10041">
                  <c:v>#N/A</c:v>
                </c:pt>
                <c:pt idx="10042">
                  <c:v>#N/A</c:v>
                </c:pt>
                <c:pt idx="10043">
                  <c:v>#N/A</c:v>
                </c:pt>
                <c:pt idx="10044">
                  <c:v>#N/A</c:v>
                </c:pt>
                <c:pt idx="10045">
                  <c:v>#N/A</c:v>
                </c:pt>
                <c:pt idx="10046">
                  <c:v>#N/A</c:v>
                </c:pt>
                <c:pt idx="10047">
                  <c:v>#N/A</c:v>
                </c:pt>
                <c:pt idx="10048">
                  <c:v>#N/A</c:v>
                </c:pt>
                <c:pt idx="10049">
                  <c:v>#N/A</c:v>
                </c:pt>
                <c:pt idx="10050">
                  <c:v>#N/A</c:v>
                </c:pt>
                <c:pt idx="10051">
                  <c:v>#N/A</c:v>
                </c:pt>
                <c:pt idx="10052">
                  <c:v>#N/A</c:v>
                </c:pt>
                <c:pt idx="10053">
                  <c:v>#N/A</c:v>
                </c:pt>
                <c:pt idx="10054">
                  <c:v>#N/A</c:v>
                </c:pt>
                <c:pt idx="10055">
                  <c:v>#N/A</c:v>
                </c:pt>
                <c:pt idx="10056">
                  <c:v>#N/A</c:v>
                </c:pt>
                <c:pt idx="10057">
                  <c:v>#N/A</c:v>
                </c:pt>
                <c:pt idx="10058">
                  <c:v>#N/A</c:v>
                </c:pt>
                <c:pt idx="10059">
                  <c:v>#N/A</c:v>
                </c:pt>
                <c:pt idx="10060">
                  <c:v>#N/A</c:v>
                </c:pt>
                <c:pt idx="10061">
                  <c:v>#N/A</c:v>
                </c:pt>
                <c:pt idx="10062">
                  <c:v>#N/A</c:v>
                </c:pt>
                <c:pt idx="10063">
                  <c:v>#N/A</c:v>
                </c:pt>
                <c:pt idx="10064">
                  <c:v>#N/A</c:v>
                </c:pt>
                <c:pt idx="10065">
                  <c:v>#N/A</c:v>
                </c:pt>
                <c:pt idx="10066">
                  <c:v>#N/A</c:v>
                </c:pt>
                <c:pt idx="10067">
                  <c:v>#N/A</c:v>
                </c:pt>
                <c:pt idx="10068">
                  <c:v>#N/A</c:v>
                </c:pt>
                <c:pt idx="10069">
                  <c:v>#N/A</c:v>
                </c:pt>
                <c:pt idx="10070">
                  <c:v>#N/A</c:v>
                </c:pt>
                <c:pt idx="10071">
                  <c:v>#N/A</c:v>
                </c:pt>
                <c:pt idx="10072">
                  <c:v>#N/A</c:v>
                </c:pt>
                <c:pt idx="10073">
                  <c:v>#N/A</c:v>
                </c:pt>
                <c:pt idx="10074">
                  <c:v>#N/A</c:v>
                </c:pt>
                <c:pt idx="10075">
                  <c:v>#N/A</c:v>
                </c:pt>
                <c:pt idx="10076">
                  <c:v>#N/A</c:v>
                </c:pt>
                <c:pt idx="10077">
                  <c:v>#N/A</c:v>
                </c:pt>
                <c:pt idx="10078">
                  <c:v>#N/A</c:v>
                </c:pt>
                <c:pt idx="10079">
                  <c:v>#N/A</c:v>
                </c:pt>
                <c:pt idx="10080">
                  <c:v>#N/A</c:v>
                </c:pt>
                <c:pt idx="10081">
                  <c:v>#N/A</c:v>
                </c:pt>
                <c:pt idx="10082">
                  <c:v>#N/A</c:v>
                </c:pt>
                <c:pt idx="10083">
                  <c:v>#N/A</c:v>
                </c:pt>
                <c:pt idx="10084">
                  <c:v>#N/A</c:v>
                </c:pt>
                <c:pt idx="10085">
                  <c:v>#N/A</c:v>
                </c:pt>
                <c:pt idx="10086">
                  <c:v>#N/A</c:v>
                </c:pt>
                <c:pt idx="10087">
                  <c:v>#N/A</c:v>
                </c:pt>
                <c:pt idx="10088">
                  <c:v>#N/A</c:v>
                </c:pt>
                <c:pt idx="10089">
                  <c:v>#N/A</c:v>
                </c:pt>
                <c:pt idx="10090">
                  <c:v>#N/A</c:v>
                </c:pt>
                <c:pt idx="10091">
                  <c:v>#N/A</c:v>
                </c:pt>
                <c:pt idx="10092">
                  <c:v>#N/A</c:v>
                </c:pt>
                <c:pt idx="10093">
                  <c:v>#N/A</c:v>
                </c:pt>
                <c:pt idx="10094">
                  <c:v>#N/A</c:v>
                </c:pt>
                <c:pt idx="10095">
                  <c:v>#N/A</c:v>
                </c:pt>
                <c:pt idx="10096">
                  <c:v>#N/A</c:v>
                </c:pt>
                <c:pt idx="10097">
                  <c:v>#N/A</c:v>
                </c:pt>
                <c:pt idx="10098">
                  <c:v>#N/A</c:v>
                </c:pt>
                <c:pt idx="10099">
                  <c:v>#N/A</c:v>
                </c:pt>
                <c:pt idx="10100">
                  <c:v>#N/A</c:v>
                </c:pt>
                <c:pt idx="10101">
                  <c:v>#N/A</c:v>
                </c:pt>
                <c:pt idx="10102">
                  <c:v>#N/A</c:v>
                </c:pt>
                <c:pt idx="10103">
                  <c:v>#N/A</c:v>
                </c:pt>
                <c:pt idx="10104">
                  <c:v>#N/A</c:v>
                </c:pt>
                <c:pt idx="10105">
                  <c:v>#N/A</c:v>
                </c:pt>
                <c:pt idx="10106">
                  <c:v>#N/A</c:v>
                </c:pt>
                <c:pt idx="10107">
                  <c:v>#N/A</c:v>
                </c:pt>
                <c:pt idx="10108">
                  <c:v>#N/A</c:v>
                </c:pt>
                <c:pt idx="10109">
                  <c:v>#N/A</c:v>
                </c:pt>
                <c:pt idx="10110">
                  <c:v>#N/A</c:v>
                </c:pt>
                <c:pt idx="10111">
                  <c:v>#N/A</c:v>
                </c:pt>
                <c:pt idx="10112">
                  <c:v>#N/A</c:v>
                </c:pt>
                <c:pt idx="10113">
                  <c:v>#N/A</c:v>
                </c:pt>
                <c:pt idx="10114">
                  <c:v>#N/A</c:v>
                </c:pt>
                <c:pt idx="10115">
                  <c:v>#N/A</c:v>
                </c:pt>
                <c:pt idx="10116">
                  <c:v>#N/A</c:v>
                </c:pt>
                <c:pt idx="10117">
                  <c:v>#N/A</c:v>
                </c:pt>
                <c:pt idx="10118">
                  <c:v>#N/A</c:v>
                </c:pt>
                <c:pt idx="10119">
                  <c:v>#N/A</c:v>
                </c:pt>
                <c:pt idx="10120">
                  <c:v>#N/A</c:v>
                </c:pt>
                <c:pt idx="10121">
                  <c:v>#N/A</c:v>
                </c:pt>
                <c:pt idx="10122">
                  <c:v>#N/A</c:v>
                </c:pt>
                <c:pt idx="10123">
                  <c:v>#N/A</c:v>
                </c:pt>
                <c:pt idx="10124">
                  <c:v>#N/A</c:v>
                </c:pt>
                <c:pt idx="10125">
                  <c:v>#N/A</c:v>
                </c:pt>
                <c:pt idx="10126">
                  <c:v>#N/A</c:v>
                </c:pt>
                <c:pt idx="10127">
                  <c:v>#N/A</c:v>
                </c:pt>
                <c:pt idx="10128">
                  <c:v>#N/A</c:v>
                </c:pt>
                <c:pt idx="10129">
                  <c:v>#N/A</c:v>
                </c:pt>
                <c:pt idx="10130">
                  <c:v>#N/A</c:v>
                </c:pt>
                <c:pt idx="10131">
                  <c:v>#N/A</c:v>
                </c:pt>
                <c:pt idx="10132">
                  <c:v>#N/A</c:v>
                </c:pt>
                <c:pt idx="10133">
                  <c:v>#N/A</c:v>
                </c:pt>
                <c:pt idx="10134">
                  <c:v>#N/A</c:v>
                </c:pt>
                <c:pt idx="10135">
                  <c:v>#N/A</c:v>
                </c:pt>
                <c:pt idx="10136">
                  <c:v>#N/A</c:v>
                </c:pt>
                <c:pt idx="10137">
                  <c:v>#N/A</c:v>
                </c:pt>
                <c:pt idx="10138">
                  <c:v>#N/A</c:v>
                </c:pt>
                <c:pt idx="10139">
                  <c:v>#N/A</c:v>
                </c:pt>
                <c:pt idx="10140">
                  <c:v>#N/A</c:v>
                </c:pt>
                <c:pt idx="10141">
                  <c:v>#N/A</c:v>
                </c:pt>
                <c:pt idx="10142">
                  <c:v>#N/A</c:v>
                </c:pt>
                <c:pt idx="10143">
                  <c:v>#N/A</c:v>
                </c:pt>
                <c:pt idx="10144">
                  <c:v>#N/A</c:v>
                </c:pt>
                <c:pt idx="10145">
                  <c:v>#N/A</c:v>
                </c:pt>
                <c:pt idx="10146">
                  <c:v>#N/A</c:v>
                </c:pt>
                <c:pt idx="10147">
                  <c:v>#N/A</c:v>
                </c:pt>
                <c:pt idx="10148">
                  <c:v>#N/A</c:v>
                </c:pt>
                <c:pt idx="10149">
                  <c:v>#N/A</c:v>
                </c:pt>
                <c:pt idx="10150">
                  <c:v>#N/A</c:v>
                </c:pt>
                <c:pt idx="10151">
                  <c:v>#N/A</c:v>
                </c:pt>
                <c:pt idx="10152">
                  <c:v>#N/A</c:v>
                </c:pt>
                <c:pt idx="10153">
                  <c:v>#N/A</c:v>
                </c:pt>
                <c:pt idx="10154">
                  <c:v>#N/A</c:v>
                </c:pt>
                <c:pt idx="10155">
                  <c:v>#N/A</c:v>
                </c:pt>
                <c:pt idx="10156">
                  <c:v>#N/A</c:v>
                </c:pt>
                <c:pt idx="10157">
                  <c:v>#N/A</c:v>
                </c:pt>
                <c:pt idx="10158">
                  <c:v>#N/A</c:v>
                </c:pt>
                <c:pt idx="10159">
                  <c:v>#N/A</c:v>
                </c:pt>
                <c:pt idx="10160">
                  <c:v>#N/A</c:v>
                </c:pt>
                <c:pt idx="10161">
                  <c:v>#N/A</c:v>
                </c:pt>
                <c:pt idx="10162">
                  <c:v>#N/A</c:v>
                </c:pt>
                <c:pt idx="10163">
                  <c:v>#N/A</c:v>
                </c:pt>
                <c:pt idx="10164">
                  <c:v>#N/A</c:v>
                </c:pt>
                <c:pt idx="10165">
                  <c:v>#N/A</c:v>
                </c:pt>
                <c:pt idx="10166">
                  <c:v>#N/A</c:v>
                </c:pt>
                <c:pt idx="10167">
                  <c:v>#N/A</c:v>
                </c:pt>
                <c:pt idx="10168">
                  <c:v>#N/A</c:v>
                </c:pt>
                <c:pt idx="10169">
                  <c:v>#N/A</c:v>
                </c:pt>
                <c:pt idx="10170">
                  <c:v>#N/A</c:v>
                </c:pt>
                <c:pt idx="10171">
                  <c:v>#N/A</c:v>
                </c:pt>
                <c:pt idx="10172">
                  <c:v>#N/A</c:v>
                </c:pt>
                <c:pt idx="10173">
                  <c:v>#N/A</c:v>
                </c:pt>
                <c:pt idx="10174">
                  <c:v>#N/A</c:v>
                </c:pt>
                <c:pt idx="10175">
                  <c:v>#N/A</c:v>
                </c:pt>
                <c:pt idx="10176">
                  <c:v>#N/A</c:v>
                </c:pt>
                <c:pt idx="10177">
                  <c:v>#N/A</c:v>
                </c:pt>
                <c:pt idx="10178">
                  <c:v>#N/A</c:v>
                </c:pt>
                <c:pt idx="10179">
                  <c:v>#N/A</c:v>
                </c:pt>
                <c:pt idx="10180">
                  <c:v>#N/A</c:v>
                </c:pt>
                <c:pt idx="10181">
                  <c:v>#N/A</c:v>
                </c:pt>
                <c:pt idx="10182">
                  <c:v>#N/A</c:v>
                </c:pt>
                <c:pt idx="10183">
                  <c:v>#N/A</c:v>
                </c:pt>
                <c:pt idx="10184">
                  <c:v>#N/A</c:v>
                </c:pt>
                <c:pt idx="10185">
                  <c:v>#N/A</c:v>
                </c:pt>
                <c:pt idx="10186">
                  <c:v>#N/A</c:v>
                </c:pt>
                <c:pt idx="10187">
                  <c:v>#N/A</c:v>
                </c:pt>
                <c:pt idx="10188">
                  <c:v>#N/A</c:v>
                </c:pt>
                <c:pt idx="10189">
                  <c:v>#N/A</c:v>
                </c:pt>
                <c:pt idx="10190">
                  <c:v>#N/A</c:v>
                </c:pt>
                <c:pt idx="10191">
                  <c:v>#N/A</c:v>
                </c:pt>
                <c:pt idx="10192">
                  <c:v>#N/A</c:v>
                </c:pt>
                <c:pt idx="10193">
                  <c:v>#N/A</c:v>
                </c:pt>
                <c:pt idx="10194">
                  <c:v>#N/A</c:v>
                </c:pt>
                <c:pt idx="10195">
                  <c:v>#N/A</c:v>
                </c:pt>
                <c:pt idx="10196">
                  <c:v>#N/A</c:v>
                </c:pt>
                <c:pt idx="10197">
                  <c:v>#N/A</c:v>
                </c:pt>
                <c:pt idx="10198">
                  <c:v>#N/A</c:v>
                </c:pt>
                <c:pt idx="10199">
                  <c:v>#N/A</c:v>
                </c:pt>
                <c:pt idx="10200">
                  <c:v>#N/A</c:v>
                </c:pt>
                <c:pt idx="10201">
                  <c:v>#N/A</c:v>
                </c:pt>
                <c:pt idx="10202">
                  <c:v>#N/A</c:v>
                </c:pt>
                <c:pt idx="10203">
                  <c:v>#N/A</c:v>
                </c:pt>
                <c:pt idx="10204">
                  <c:v>#N/A</c:v>
                </c:pt>
                <c:pt idx="10205">
                  <c:v>#N/A</c:v>
                </c:pt>
                <c:pt idx="10206">
                  <c:v>#N/A</c:v>
                </c:pt>
                <c:pt idx="10207">
                  <c:v>#N/A</c:v>
                </c:pt>
                <c:pt idx="10208">
                  <c:v>#N/A</c:v>
                </c:pt>
                <c:pt idx="10209">
                  <c:v>#N/A</c:v>
                </c:pt>
                <c:pt idx="10210">
                  <c:v>#N/A</c:v>
                </c:pt>
                <c:pt idx="10211">
                  <c:v>#N/A</c:v>
                </c:pt>
                <c:pt idx="10212">
                  <c:v>#N/A</c:v>
                </c:pt>
                <c:pt idx="10213">
                  <c:v>#N/A</c:v>
                </c:pt>
                <c:pt idx="10214">
                  <c:v>#N/A</c:v>
                </c:pt>
                <c:pt idx="10215">
                  <c:v>#N/A</c:v>
                </c:pt>
                <c:pt idx="10216">
                  <c:v>#N/A</c:v>
                </c:pt>
                <c:pt idx="10217">
                  <c:v>#N/A</c:v>
                </c:pt>
                <c:pt idx="10218">
                  <c:v>#N/A</c:v>
                </c:pt>
                <c:pt idx="10219">
                  <c:v>#N/A</c:v>
                </c:pt>
                <c:pt idx="10220">
                  <c:v>#N/A</c:v>
                </c:pt>
                <c:pt idx="10221">
                  <c:v>#N/A</c:v>
                </c:pt>
                <c:pt idx="10222">
                  <c:v>#N/A</c:v>
                </c:pt>
                <c:pt idx="10223">
                  <c:v>#N/A</c:v>
                </c:pt>
                <c:pt idx="10224">
                  <c:v>#N/A</c:v>
                </c:pt>
                <c:pt idx="10225">
                  <c:v>#N/A</c:v>
                </c:pt>
                <c:pt idx="10226">
                  <c:v>#N/A</c:v>
                </c:pt>
                <c:pt idx="10227">
                  <c:v>#N/A</c:v>
                </c:pt>
                <c:pt idx="10228">
                  <c:v>#N/A</c:v>
                </c:pt>
                <c:pt idx="10229">
                  <c:v>#N/A</c:v>
                </c:pt>
                <c:pt idx="10230">
                  <c:v>#N/A</c:v>
                </c:pt>
                <c:pt idx="10231">
                  <c:v>#N/A</c:v>
                </c:pt>
                <c:pt idx="10232">
                  <c:v>#N/A</c:v>
                </c:pt>
                <c:pt idx="10233">
                  <c:v>#N/A</c:v>
                </c:pt>
                <c:pt idx="10234">
                  <c:v>#N/A</c:v>
                </c:pt>
                <c:pt idx="10235">
                  <c:v>#N/A</c:v>
                </c:pt>
                <c:pt idx="10236">
                  <c:v>#N/A</c:v>
                </c:pt>
                <c:pt idx="10237">
                  <c:v>#N/A</c:v>
                </c:pt>
                <c:pt idx="10238">
                  <c:v>#N/A</c:v>
                </c:pt>
                <c:pt idx="10239">
                  <c:v>#N/A</c:v>
                </c:pt>
                <c:pt idx="10240">
                  <c:v>#N/A</c:v>
                </c:pt>
                <c:pt idx="10241">
                  <c:v>#N/A</c:v>
                </c:pt>
                <c:pt idx="10242">
                  <c:v>#N/A</c:v>
                </c:pt>
                <c:pt idx="10243">
                  <c:v>#N/A</c:v>
                </c:pt>
                <c:pt idx="10244">
                  <c:v>#N/A</c:v>
                </c:pt>
                <c:pt idx="10245">
                  <c:v>#N/A</c:v>
                </c:pt>
                <c:pt idx="10246">
                  <c:v>#N/A</c:v>
                </c:pt>
                <c:pt idx="10247">
                  <c:v>#N/A</c:v>
                </c:pt>
                <c:pt idx="10248">
                  <c:v>#N/A</c:v>
                </c:pt>
                <c:pt idx="10249">
                  <c:v>#N/A</c:v>
                </c:pt>
                <c:pt idx="10250">
                  <c:v>#N/A</c:v>
                </c:pt>
                <c:pt idx="10251">
                  <c:v>#N/A</c:v>
                </c:pt>
                <c:pt idx="10252">
                  <c:v>#N/A</c:v>
                </c:pt>
                <c:pt idx="10253">
                  <c:v>#N/A</c:v>
                </c:pt>
                <c:pt idx="10254">
                  <c:v>#N/A</c:v>
                </c:pt>
                <c:pt idx="10255">
                  <c:v>#N/A</c:v>
                </c:pt>
                <c:pt idx="10256">
                  <c:v>#N/A</c:v>
                </c:pt>
                <c:pt idx="10257">
                  <c:v>#N/A</c:v>
                </c:pt>
                <c:pt idx="10258">
                  <c:v>#N/A</c:v>
                </c:pt>
                <c:pt idx="10259">
                  <c:v>#N/A</c:v>
                </c:pt>
                <c:pt idx="10260">
                  <c:v>#N/A</c:v>
                </c:pt>
                <c:pt idx="10261">
                  <c:v>#N/A</c:v>
                </c:pt>
                <c:pt idx="10262">
                  <c:v>#N/A</c:v>
                </c:pt>
                <c:pt idx="10263">
                  <c:v>#N/A</c:v>
                </c:pt>
                <c:pt idx="10264">
                  <c:v>#N/A</c:v>
                </c:pt>
                <c:pt idx="10265">
                  <c:v>#N/A</c:v>
                </c:pt>
                <c:pt idx="10266">
                  <c:v>#N/A</c:v>
                </c:pt>
                <c:pt idx="10267">
                  <c:v>#N/A</c:v>
                </c:pt>
                <c:pt idx="10268">
                  <c:v>#N/A</c:v>
                </c:pt>
                <c:pt idx="10269">
                  <c:v>#N/A</c:v>
                </c:pt>
                <c:pt idx="10270">
                  <c:v>#N/A</c:v>
                </c:pt>
                <c:pt idx="10271">
                  <c:v>#N/A</c:v>
                </c:pt>
                <c:pt idx="10272">
                  <c:v>#N/A</c:v>
                </c:pt>
                <c:pt idx="10273">
                  <c:v>#N/A</c:v>
                </c:pt>
                <c:pt idx="10274">
                  <c:v>#N/A</c:v>
                </c:pt>
                <c:pt idx="10275">
                  <c:v>#N/A</c:v>
                </c:pt>
                <c:pt idx="10276">
                  <c:v>#N/A</c:v>
                </c:pt>
                <c:pt idx="10277">
                  <c:v>#N/A</c:v>
                </c:pt>
                <c:pt idx="10278">
                  <c:v>#N/A</c:v>
                </c:pt>
                <c:pt idx="10279">
                  <c:v>#N/A</c:v>
                </c:pt>
                <c:pt idx="10280">
                  <c:v>#N/A</c:v>
                </c:pt>
                <c:pt idx="10281">
                  <c:v>#N/A</c:v>
                </c:pt>
                <c:pt idx="10282">
                  <c:v>#N/A</c:v>
                </c:pt>
                <c:pt idx="10283">
                  <c:v>#N/A</c:v>
                </c:pt>
                <c:pt idx="10284">
                  <c:v>#N/A</c:v>
                </c:pt>
                <c:pt idx="10285">
                  <c:v>#N/A</c:v>
                </c:pt>
                <c:pt idx="10286">
                  <c:v>#N/A</c:v>
                </c:pt>
                <c:pt idx="10287">
                  <c:v>#N/A</c:v>
                </c:pt>
                <c:pt idx="10288">
                  <c:v>#N/A</c:v>
                </c:pt>
                <c:pt idx="10289">
                  <c:v>#N/A</c:v>
                </c:pt>
                <c:pt idx="10290">
                  <c:v>#N/A</c:v>
                </c:pt>
                <c:pt idx="10291">
                  <c:v>#N/A</c:v>
                </c:pt>
                <c:pt idx="10292">
                  <c:v>#N/A</c:v>
                </c:pt>
                <c:pt idx="10293">
                  <c:v>#N/A</c:v>
                </c:pt>
                <c:pt idx="10294">
                  <c:v>#N/A</c:v>
                </c:pt>
                <c:pt idx="10295">
                  <c:v>#N/A</c:v>
                </c:pt>
                <c:pt idx="10296">
                  <c:v>#N/A</c:v>
                </c:pt>
                <c:pt idx="10297">
                  <c:v>#N/A</c:v>
                </c:pt>
                <c:pt idx="10298">
                  <c:v>#N/A</c:v>
                </c:pt>
                <c:pt idx="10299">
                  <c:v>#N/A</c:v>
                </c:pt>
                <c:pt idx="10300">
                  <c:v>#N/A</c:v>
                </c:pt>
                <c:pt idx="10301">
                  <c:v>#N/A</c:v>
                </c:pt>
                <c:pt idx="10302">
                  <c:v>#N/A</c:v>
                </c:pt>
                <c:pt idx="10303">
                  <c:v>#N/A</c:v>
                </c:pt>
                <c:pt idx="10304">
                  <c:v>#N/A</c:v>
                </c:pt>
                <c:pt idx="10305">
                  <c:v>#N/A</c:v>
                </c:pt>
                <c:pt idx="10306">
                  <c:v>#N/A</c:v>
                </c:pt>
                <c:pt idx="10307">
                  <c:v>#N/A</c:v>
                </c:pt>
                <c:pt idx="10308">
                  <c:v>#N/A</c:v>
                </c:pt>
                <c:pt idx="10309">
                  <c:v>#N/A</c:v>
                </c:pt>
                <c:pt idx="10310">
                  <c:v>#N/A</c:v>
                </c:pt>
                <c:pt idx="10311">
                  <c:v>#N/A</c:v>
                </c:pt>
                <c:pt idx="10312">
                  <c:v>#N/A</c:v>
                </c:pt>
                <c:pt idx="10313">
                  <c:v>#N/A</c:v>
                </c:pt>
                <c:pt idx="10314">
                  <c:v>#N/A</c:v>
                </c:pt>
                <c:pt idx="10315">
                  <c:v>#N/A</c:v>
                </c:pt>
                <c:pt idx="10316">
                  <c:v>#N/A</c:v>
                </c:pt>
                <c:pt idx="10317">
                  <c:v>#N/A</c:v>
                </c:pt>
                <c:pt idx="10318">
                  <c:v>#N/A</c:v>
                </c:pt>
                <c:pt idx="10319">
                  <c:v>#N/A</c:v>
                </c:pt>
                <c:pt idx="10320">
                  <c:v>#N/A</c:v>
                </c:pt>
                <c:pt idx="10321">
                  <c:v>#N/A</c:v>
                </c:pt>
                <c:pt idx="10322">
                  <c:v>#N/A</c:v>
                </c:pt>
                <c:pt idx="10323">
                  <c:v>#N/A</c:v>
                </c:pt>
                <c:pt idx="10324">
                  <c:v>#N/A</c:v>
                </c:pt>
                <c:pt idx="10325">
                  <c:v>#N/A</c:v>
                </c:pt>
                <c:pt idx="10326">
                  <c:v>#N/A</c:v>
                </c:pt>
                <c:pt idx="10327">
                  <c:v>#N/A</c:v>
                </c:pt>
                <c:pt idx="10328">
                  <c:v>#N/A</c:v>
                </c:pt>
                <c:pt idx="10329">
                  <c:v>#N/A</c:v>
                </c:pt>
                <c:pt idx="10330">
                  <c:v>#N/A</c:v>
                </c:pt>
                <c:pt idx="10331">
                  <c:v>#N/A</c:v>
                </c:pt>
                <c:pt idx="10332">
                  <c:v>#N/A</c:v>
                </c:pt>
                <c:pt idx="10333">
                  <c:v>#N/A</c:v>
                </c:pt>
                <c:pt idx="10334">
                  <c:v>#N/A</c:v>
                </c:pt>
                <c:pt idx="10335">
                  <c:v>#N/A</c:v>
                </c:pt>
                <c:pt idx="10336">
                  <c:v>#N/A</c:v>
                </c:pt>
                <c:pt idx="10337">
                  <c:v>#N/A</c:v>
                </c:pt>
                <c:pt idx="10338">
                  <c:v>#N/A</c:v>
                </c:pt>
                <c:pt idx="10339">
                  <c:v>#N/A</c:v>
                </c:pt>
                <c:pt idx="10340">
                  <c:v>#N/A</c:v>
                </c:pt>
                <c:pt idx="10341">
                  <c:v>#N/A</c:v>
                </c:pt>
                <c:pt idx="10342">
                  <c:v>#N/A</c:v>
                </c:pt>
                <c:pt idx="10343">
                  <c:v>#N/A</c:v>
                </c:pt>
                <c:pt idx="10344">
                  <c:v>#N/A</c:v>
                </c:pt>
                <c:pt idx="10345">
                  <c:v>#N/A</c:v>
                </c:pt>
                <c:pt idx="10346">
                  <c:v>#N/A</c:v>
                </c:pt>
                <c:pt idx="10347">
                  <c:v>#N/A</c:v>
                </c:pt>
                <c:pt idx="10348">
                  <c:v>#N/A</c:v>
                </c:pt>
                <c:pt idx="10349">
                  <c:v>#N/A</c:v>
                </c:pt>
                <c:pt idx="10350">
                  <c:v>#N/A</c:v>
                </c:pt>
                <c:pt idx="10351">
                  <c:v>#N/A</c:v>
                </c:pt>
                <c:pt idx="10352">
                  <c:v>#N/A</c:v>
                </c:pt>
                <c:pt idx="10353">
                  <c:v>#N/A</c:v>
                </c:pt>
                <c:pt idx="10354">
                  <c:v>#N/A</c:v>
                </c:pt>
                <c:pt idx="10355">
                  <c:v>#N/A</c:v>
                </c:pt>
                <c:pt idx="10356">
                  <c:v>#N/A</c:v>
                </c:pt>
                <c:pt idx="10357">
                  <c:v>#N/A</c:v>
                </c:pt>
                <c:pt idx="10358">
                  <c:v>#N/A</c:v>
                </c:pt>
                <c:pt idx="10359">
                  <c:v>#N/A</c:v>
                </c:pt>
                <c:pt idx="10360">
                  <c:v>#N/A</c:v>
                </c:pt>
                <c:pt idx="10361">
                  <c:v>#N/A</c:v>
                </c:pt>
                <c:pt idx="10362">
                  <c:v>#N/A</c:v>
                </c:pt>
                <c:pt idx="10363">
                  <c:v>#N/A</c:v>
                </c:pt>
                <c:pt idx="10364">
                  <c:v>#N/A</c:v>
                </c:pt>
                <c:pt idx="10365">
                  <c:v>#N/A</c:v>
                </c:pt>
                <c:pt idx="10366">
                  <c:v>#N/A</c:v>
                </c:pt>
                <c:pt idx="10367">
                  <c:v>#N/A</c:v>
                </c:pt>
                <c:pt idx="10368">
                  <c:v>#N/A</c:v>
                </c:pt>
                <c:pt idx="10369">
                  <c:v>#N/A</c:v>
                </c:pt>
                <c:pt idx="10370">
                  <c:v>#N/A</c:v>
                </c:pt>
                <c:pt idx="10371">
                  <c:v>#N/A</c:v>
                </c:pt>
                <c:pt idx="10372">
                  <c:v>#N/A</c:v>
                </c:pt>
                <c:pt idx="10373">
                  <c:v>#N/A</c:v>
                </c:pt>
                <c:pt idx="10374">
                  <c:v>#N/A</c:v>
                </c:pt>
                <c:pt idx="10375">
                  <c:v>#N/A</c:v>
                </c:pt>
                <c:pt idx="10376">
                  <c:v>#N/A</c:v>
                </c:pt>
                <c:pt idx="10377">
                  <c:v>#N/A</c:v>
                </c:pt>
                <c:pt idx="10378">
                  <c:v>#N/A</c:v>
                </c:pt>
                <c:pt idx="10379">
                  <c:v>#N/A</c:v>
                </c:pt>
                <c:pt idx="10380">
                  <c:v>#N/A</c:v>
                </c:pt>
                <c:pt idx="10381">
                  <c:v>#N/A</c:v>
                </c:pt>
                <c:pt idx="10382">
                  <c:v>#N/A</c:v>
                </c:pt>
                <c:pt idx="10383">
                  <c:v>#N/A</c:v>
                </c:pt>
                <c:pt idx="10384">
                  <c:v>#N/A</c:v>
                </c:pt>
                <c:pt idx="10385">
                  <c:v>#N/A</c:v>
                </c:pt>
                <c:pt idx="10386">
                  <c:v>#N/A</c:v>
                </c:pt>
                <c:pt idx="10387">
                  <c:v>#N/A</c:v>
                </c:pt>
                <c:pt idx="10388">
                  <c:v>#N/A</c:v>
                </c:pt>
                <c:pt idx="10389">
                  <c:v>#N/A</c:v>
                </c:pt>
                <c:pt idx="10390">
                  <c:v>#N/A</c:v>
                </c:pt>
                <c:pt idx="10391">
                  <c:v>#N/A</c:v>
                </c:pt>
                <c:pt idx="10392">
                  <c:v>#N/A</c:v>
                </c:pt>
                <c:pt idx="10393">
                  <c:v>#N/A</c:v>
                </c:pt>
                <c:pt idx="10394">
                  <c:v>#N/A</c:v>
                </c:pt>
                <c:pt idx="10395">
                  <c:v>#N/A</c:v>
                </c:pt>
                <c:pt idx="10396">
                  <c:v>#N/A</c:v>
                </c:pt>
                <c:pt idx="10397">
                  <c:v>#N/A</c:v>
                </c:pt>
                <c:pt idx="10398">
                  <c:v>#N/A</c:v>
                </c:pt>
                <c:pt idx="10399">
                  <c:v>#N/A</c:v>
                </c:pt>
                <c:pt idx="10400">
                  <c:v>#N/A</c:v>
                </c:pt>
                <c:pt idx="10401">
                  <c:v>#N/A</c:v>
                </c:pt>
                <c:pt idx="10402">
                  <c:v>#N/A</c:v>
                </c:pt>
                <c:pt idx="10403">
                  <c:v>#N/A</c:v>
                </c:pt>
                <c:pt idx="10404">
                  <c:v>#N/A</c:v>
                </c:pt>
                <c:pt idx="10405">
                  <c:v>#N/A</c:v>
                </c:pt>
                <c:pt idx="10406">
                  <c:v>#N/A</c:v>
                </c:pt>
                <c:pt idx="10407">
                  <c:v>#N/A</c:v>
                </c:pt>
                <c:pt idx="10408">
                  <c:v>#N/A</c:v>
                </c:pt>
                <c:pt idx="10409">
                  <c:v>#N/A</c:v>
                </c:pt>
                <c:pt idx="10410">
                  <c:v>#N/A</c:v>
                </c:pt>
                <c:pt idx="10411">
                  <c:v>#N/A</c:v>
                </c:pt>
                <c:pt idx="10412">
                  <c:v>#N/A</c:v>
                </c:pt>
                <c:pt idx="10413">
                  <c:v>#N/A</c:v>
                </c:pt>
                <c:pt idx="10414">
                  <c:v>#N/A</c:v>
                </c:pt>
                <c:pt idx="10415">
                  <c:v>#N/A</c:v>
                </c:pt>
                <c:pt idx="10416">
                  <c:v>#N/A</c:v>
                </c:pt>
                <c:pt idx="10417">
                  <c:v>#N/A</c:v>
                </c:pt>
                <c:pt idx="10418">
                  <c:v>#N/A</c:v>
                </c:pt>
                <c:pt idx="10419">
                  <c:v>#N/A</c:v>
                </c:pt>
                <c:pt idx="10420">
                  <c:v>#N/A</c:v>
                </c:pt>
                <c:pt idx="10421">
                  <c:v>#N/A</c:v>
                </c:pt>
                <c:pt idx="10422">
                  <c:v>#N/A</c:v>
                </c:pt>
                <c:pt idx="10423">
                  <c:v>#N/A</c:v>
                </c:pt>
                <c:pt idx="10424">
                  <c:v>#N/A</c:v>
                </c:pt>
                <c:pt idx="10425">
                  <c:v>#N/A</c:v>
                </c:pt>
                <c:pt idx="10426">
                  <c:v>#N/A</c:v>
                </c:pt>
                <c:pt idx="10427">
                  <c:v>#N/A</c:v>
                </c:pt>
                <c:pt idx="10428">
                  <c:v>#N/A</c:v>
                </c:pt>
                <c:pt idx="10429">
                  <c:v>#N/A</c:v>
                </c:pt>
                <c:pt idx="10430">
                  <c:v>#N/A</c:v>
                </c:pt>
                <c:pt idx="10431">
                  <c:v>#N/A</c:v>
                </c:pt>
                <c:pt idx="10432">
                  <c:v>#N/A</c:v>
                </c:pt>
                <c:pt idx="10433">
                  <c:v>#N/A</c:v>
                </c:pt>
                <c:pt idx="10434">
                  <c:v>#N/A</c:v>
                </c:pt>
                <c:pt idx="10435">
                  <c:v>#N/A</c:v>
                </c:pt>
                <c:pt idx="10436">
                  <c:v>#N/A</c:v>
                </c:pt>
                <c:pt idx="10437">
                  <c:v>#N/A</c:v>
                </c:pt>
                <c:pt idx="10438">
                  <c:v>#N/A</c:v>
                </c:pt>
                <c:pt idx="10439">
                  <c:v>#N/A</c:v>
                </c:pt>
                <c:pt idx="10440">
                  <c:v>#N/A</c:v>
                </c:pt>
                <c:pt idx="10441">
                  <c:v>#N/A</c:v>
                </c:pt>
                <c:pt idx="10442">
                  <c:v>#N/A</c:v>
                </c:pt>
                <c:pt idx="10443">
                  <c:v>#N/A</c:v>
                </c:pt>
                <c:pt idx="10444">
                  <c:v>#N/A</c:v>
                </c:pt>
                <c:pt idx="10445">
                  <c:v>#N/A</c:v>
                </c:pt>
                <c:pt idx="10446">
                  <c:v>#N/A</c:v>
                </c:pt>
                <c:pt idx="10447">
                  <c:v>#N/A</c:v>
                </c:pt>
                <c:pt idx="10448">
                  <c:v>#N/A</c:v>
                </c:pt>
                <c:pt idx="10449">
                  <c:v>#N/A</c:v>
                </c:pt>
                <c:pt idx="10450">
                  <c:v>#N/A</c:v>
                </c:pt>
                <c:pt idx="10451">
                  <c:v>#N/A</c:v>
                </c:pt>
                <c:pt idx="10452">
                  <c:v>#N/A</c:v>
                </c:pt>
                <c:pt idx="10453">
                  <c:v>#N/A</c:v>
                </c:pt>
                <c:pt idx="10454">
                  <c:v>#N/A</c:v>
                </c:pt>
                <c:pt idx="10455">
                  <c:v>#N/A</c:v>
                </c:pt>
                <c:pt idx="10456">
                  <c:v>#N/A</c:v>
                </c:pt>
                <c:pt idx="10457">
                  <c:v>#N/A</c:v>
                </c:pt>
                <c:pt idx="10458">
                  <c:v>#N/A</c:v>
                </c:pt>
                <c:pt idx="10459">
                  <c:v>#N/A</c:v>
                </c:pt>
                <c:pt idx="10460">
                  <c:v>#N/A</c:v>
                </c:pt>
                <c:pt idx="10461">
                  <c:v>#N/A</c:v>
                </c:pt>
                <c:pt idx="10462">
                  <c:v>#N/A</c:v>
                </c:pt>
                <c:pt idx="10463">
                  <c:v>#N/A</c:v>
                </c:pt>
                <c:pt idx="10464">
                  <c:v>#N/A</c:v>
                </c:pt>
                <c:pt idx="10465">
                  <c:v>#N/A</c:v>
                </c:pt>
                <c:pt idx="10466">
                  <c:v>#N/A</c:v>
                </c:pt>
                <c:pt idx="10467">
                  <c:v>#N/A</c:v>
                </c:pt>
                <c:pt idx="10468">
                  <c:v>#N/A</c:v>
                </c:pt>
                <c:pt idx="10469">
                  <c:v>#N/A</c:v>
                </c:pt>
                <c:pt idx="10470">
                  <c:v>#N/A</c:v>
                </c:pt>
                <c:pt idx="10471">
                  <c:v>#N/A</c:v>
                </c:pt>
                <c:pt idx="10472">
                  <c:v>#N/A</c:v>
                </c:pt>
                <c:pt idx="10473">
                  <c:v>#N/A</c:v>
                </c:pt>
                <c:pt idx="10474">
                  <c:v>#N/A</c:v>
                </c:pt>
                <c:pt idx="10475">
                  <c:v>#N/A</c:v>
                </c:pt>
                <c:pt idx="10476">
                  <c:v>#N/A</c:v>
                </c:pt>
                <c:pt idx="10477">
                  <c:v>#N/A</c:v>
                </c:pt>
                <c:pt idx="10478">
                  <c:v>#N/A</c:v>
                </c:pt>
                <c:pt idx="10479">
                  <c:v>#N/A</c:v>
                </c:pt>
                <c:pt idx="10480">
                  <c:v>#N/A</c:v>
                </c:pt>
                <c:pt idx="10481">
                  <c:v>#N/A</c:v>
                </c:pt>
                <c:pt idx="10482">
                  <c:v>#N/A</c:v>
                </c:pt>
                <c:pt idx="10483">
                  <c:v>#N/A</c:v>
                </c:pt>
                <c:pt idx="10484">
                  <c:v>#N/A</c:v>
                </c:pt>
                <c:pt idx="10485">
                  <c:v>#N/A</c:v>
                </c:pt>
                <c:pt idx="10486">
                  <c:v>#N/A</c:v>
                </c:pt>
                <c:pt idx="10487">
                  <c:v>#N/A</c:v>
                </c:pt>
                <c:pt idx="10488">
                  <c:v>#N/A</c:v>
                </c:pt>
                <c:pt idx="10489">
                  <c:v>#N/A</c:v>
                </c:pt>
                <c:pt idx="10490">
                  <c:v>#N/A</c:v>
                </c:pt>
                <c:pt idx="10491">
                  <c:v>#N/A</c:v>
                </c:pt>
                <c:pt idx="10492">
                  <c:v>#N/A</c:v>
                </c:pt>
                <c:pt idx="10493">
                  <c:v>#N/A</c:v>
                </c:pt>
                <c:pt idx="10494">
                  <c:v>#N/A</c:v>
                </c:pt>
                <c:pt idx="10495">
                  <c:v>#N/A</c:v>
                </c:pt>
                <c:pt idx="10496">
                  <c:v>#N/A</c:v>
                </c:pt>
                <c:pt idx="10497">
                  <c:v>#N/A</c:v>
                </c:pt>
                <c:pt idx="10498">
                  <c:v>#N/A</c:v>
                </c:pt>
                <c:pt idx="10499">
                  <c:v>#N/A</c:v>
                </c:pt>
                <c:pt idx="10500">
                  <c:v>#N/A</c:v>
                </c:pt>
                <c:pt idx="10501">
                  <c:v>#N/A</c:v>
                </c:pt>
                <c:pt idx="10502">
                  <c:v>#N/A</c:v>
                </c:pt>
                <c:pt idx="10503">
                  <c:v>#N/A</c:v>
                </c:pt>
                <c:pt idx="10504">
                  <c:v>#N/A</c:v>
                </c:pt>
                <c:pt idx="10505">
                  <c:v>#N/A</c:v>
                </c:pt>
                <c:pt idx="10506">
                  <c:v>#N/A</c:v>
                </c:pt>
                <c:pt idx="10507">
                  <c:v>#N/A</c:v>
                </c:pt>
                <c:pt idx="10508">
                  <c:v>#N/A</c:v>
                </c:pt>
                <c:pt idx="10509">
                  <c:v>#N/A</c:v>
                </c:pt>
                <c:pt idx="10510">
                  <c:v>#N/A</c:v>
                </c:pt>
                <c:pt idx="10511">
                  <c:v>#N/A</c:v>
                </c:pt>
                <c:pt idx="10512">
                  <c:v>#N/A</c:v>
                </c:pt>
                <c:pt idx="10513">
                  <c:v>#N/A</c:v>
                </c:pt>
                <c:pt idx="10514">
                  <c:v>#N/A</c:v>
                </c:pt>
                <c:pt idx="10515">
                  <c:v>#N/A</c:v>
                </c:pt>
                <c:pt idx="10516">
                  <c:v>#N/A</c:v>
                </c:pt>
                <c:pt idx="10517">
                  <c:v>#N/A</c:v>
                </c:pt>
                <c:pt idx="10518">
                  <c:v>#N/A</c:v>
                </c:pt>
                <c:pt idx="10519">
                  <c:v>#N/A</c:v>
                </c:pt>
                <c:pt idx="10520">
                  <c:v>#N/A</c:v>
                </c:pt>
                <c:pt idx="10521">
                  <c:v>#N/A</c:v>
                </c:pt>
                <c:pt idx="10522">
                  <c:v>#N/A</c:v>
                </c:pt>
                <c:pt idx="10523">
                  <c:v>#N/A</c:v>
                </c:pt>
                <c:pt idx="10524">
                  <c:v>#N/A</c:v>
                </c:pt>
                <c:pt idx="10525">
                  <c:v>#N/A</c:v>
                </c:pt>
                <c:pt idx="10526">
                  <c:v>#N/A</c:v>
                </c:pt>
                <c:pt idx="10527">
                  <c:v>#N/A</c:v>
                </c:pt>
                <c:pt idx="10528">
                  <c:v>#N/A</c:v>
                </c:pt>
                <c:pt idx="10529">
                  <c:v>#N/A</c:v>
                </c:pt>
                <c:pt idx="10530">
                  <c:v>#N/A</c:v>
                </c:pt>
                <c:pt idx="10531">
                  <c:v>#N/A</c:v>
                </c:pt>
                <c:pt idx="10532">
                  <c:v>#N/A</c:v>
                </c:pt>
                <c:pt idx="10533">
                  <c:v>#N/A</c:v>
                </c:pt>
                <c:pt idx="10534">
                  <c:v>#N/A</c:v>
                </c:pt>
                <c:pt idx="10535">
                  <c:v>#N/A</c:v>
                </c:pt>
                <c:pt idx="10536">
                  <c:v>#N/A</c:v>
                </c:pt>
                <c:pt idx="10537">
                  <c:v>#N/A</c:v>
                </c:pt>
                <c:pt idx="10538">
                  <c:v>#N/A</c:v>
                </c:pt>
                <c:pt idx="10539">
                  <c:v>#N/A</c:v>
                </c:pt>
                <c:pt idx="10540">
                  <c:v>#N/A</c:v>
                </c:pt>
                <c:pt idx="10541">
                  <c:v>#N/A</c:v>
                </c:pt>
                <c:pt idx="10542">
                  <c:v>#N/A</c:v>
                </c:pt>
                <c:pt idx="10543">
                  <c:v>#N/A</c:v>
                </c:pt>
                <c:pt idx="10544">
                  <c:v>#N/A</c:v>
                </c:pt>
                <c:pt idx="10545">
                  <c:v>#N/A</c:v>
                </c:pt>
                <c:pt idx="10546">
                  <c:v>#N/A</c:v>
                </c:pt>
                <c:pt idx="10547">
                  <c:v>#N/A</c:v>
                </c:pt>
                <c:pt idx="10548">
                  <c:v>#N/A</c:v>
                </c:pt>
                <c:pt idx="10549">
                  <c:v>#N/A</c:v>
                </c:pt>
                <c:pt idx="10550">
                  <c:v>#N/A</c:v>
                </c:pt>
                <c:pt idx="10551">
                  <c:v>#N/A</c:v>
                </c:pt>
                <c:pt idx="10552">
                  <c:v>#N/A</c:v>
                </c:pt>
                <c:pt idx="10553">
                  <c:v>#N/A</c:v>
                </c:pt>
                <c:pt idx="10554">
                  <c:v>#N/A</c:v>
                </c:pt>
                <c:pt idx="10555">
                  <c:v>#N/A</c:v>
                </c:pt>
                <c:pt idx="10556">
                  <c:v>#N/A</c:v>
                </c:pt>
                <c:pt idx="10557">
                  <c:v>#N/A</c:v>
                </c:pt>
                <c:pt idx="10558">
                  <c:v>#N/A</c:v>
                </c:pt>
                <c:pt idx="10559">
                  <c:v>#N/A</c:v>
                </c:pt>
                <c:pt idx="10560">
                  <c:v>#N/A</c:v>
                </c:pt>
                <c:pt idx="10561">
                  <c:v>#N/A</c:v>
                </c:pt>
                <c:pt idx="10562">
                  <c:v>#N/A</c:v>
                </c:pt>
                <c:pt idx="10563">
                  <c:v>#N/A</c:v>
                </c:pt>
                <c:pt idx="10564">
                  <c:v>#N/A</c:v>
                </c:pt>
                <c:pt idx="10565">
                  <c:v>#N/A</c:v>
                </c:pt>
                <c:pt idx="10566">
                  <c:v>#N/A</c:v>
                </c:pt>
                <c:pt idx="10567">
                  <c:v>#N/A</c:v>
                </c:pt>
                <c:pt idx="10568">
                  <c:v>#N/A</c:v>
                </c:pt>
                <c:pt idx="10569">
                  <c:v>#N/A</c:v>
                </c:pt>
                <c:pt idx="10570">
                  <c:v>#N/A</c:v>
                </c:pt>
                <c:pt idx="10571">
                  <c:v>#N/A</c:v>
                </c:pt>
                <c:pt idx="10572">
                  <c:v>#N/A</c:v>
                </c:pt>
                <c:pt idx="10573">
                  <c:v>#N/A</c:v>
                </c:pt>
                <c:pt idx="10574">
                  <c:v>#N/A</c:v>
                </c:pt>
                <c:pt idx="10575">
                  <c:v>#N/A</c:v>
                </c:pt>
                <c:pt idx="10576">
                  <c:v>#N/A</c:v>
                </c:pt>
                <c:pt idx="10577">
                  <c:v>#N/A</c:v>
                </c:pt>
                <c:pt idx="10578">
                  <c:v>#N/A</c:v>
                </c:pt>
                <c:pt idx="10579">
                  <c:v>#N/A</c:v>
                </c:pt>
                <c:pt idx="10580">
                  <c:v>#N/A</c:v>
                </c:pt>
                <c:pt idx="10581">
                  <c:v>#N/A</c:v>
                </c:pt>
                <c:pt idx="10582">
                  <c:v>#N/A</c:v>
                </c:pt>
                <c:pt idx="10583">
                  <c:v>#N/A</c:v>
                </c:pt>
                <c:pt idx="10584">
                  <c:v>#N/A</c:v>
                </c:pt>
                <c:pt idx="10585">
                  <c:v>#N/A</c:v>
                </c:pt>
                <c:pt idx="10586">
                  <c:v>#N/A</c:v>
                </c:pt>
                <c:pt idx="10587">
                  <c:v>#N/A</c:v>
                </c:pt>
                <c:pt idx="10588">
                  <c:v>#N/A</c:v>
                </c:pt>
                <c:pt idx="10589">
                  <c:v>#N/A</c:v>
                </c:pt>
                <c:pt idx="10590">
                  <c:v>#N/A</c:v>
                </c:pt>
                <c:pt idx="10591">
                  <c:v>#N/A</c:v>
                </c:pt>
                <c:pt idx="10592">
                  <c:v>#N/A</c:v>
                </c:pt>
                <c:pt idx="10593">
                  <c:v>#N/A</c:v>
                </c:pt>
                <c:pt idx="10594">
                  <c:v>#N/A</c:v>
                </c:pt>
                <c:pt idx="10595">
                  <c:v>#N/A</c:v>
                </c:pt>
                <c:pt idx="10596">
                  <c:v>#N/A</c:v>
                </c:pt>
                <c:pt idx="10597">
                  <c:v>#N/A</c:v>
                </c:pt>
                <c:pt idx="10598">
                  <c:v>#N/A</c:v>
                </c:pt>
                <c:pt idx="10599">
                  <c:v>#N/A</c:v>
                </c:pt>
                <c:pt idx="10600">
                  <c:v>#N/A</c:v>
                </c:pt>
                <c:pt idx="10601">
                  <c:v>#N/A</c:v>
                </c:pt>
                <c:pt idx="10602">
                  <c:v>#N/A</c:v>
                </c:pt>
                <c:pt idx="10603">
                  <c:v>#N/A</c:v>
                </c:pt>
                <c:pt idx="10604">
                  <c:v>#N/A</c:v>
                </c:pt>
                <c:pt idx="10605">
                  <c:v>#N/A</c:v>
                </c:pt>
                <c:pt idx="10606">
                  <c:v>#N/A</c:v>
                </c:pt>
                <c:pt idx="10607">
                  <c:v>#N/A</c:v>
                </c:pt>
                <c:pt idx="10608">
                  <c:v>#N/A</c:v>
                </c:pt>
                <c:pt idx="10609">
                  <c:v>#N/A</c:v>
                </c:pt>
                <c:pt idx="10610">
                  <c:v>#N/A</c:v>
                </c:pt>
                <c:pt idx="10611">
                  <c:v>#N/A</c:v>
                </c:pt>
                <c:pt idx="10612">
                  <c:v>#N/A</c:v>
                </c:pt>
                <c:pt idx="10613">
                  <c:v>#N/A</c:v>
                </c:pt>
                <c:pt idx="10614">
                  <c:v>#N/A</c:v>
                </c:pt>
                <c:pt idx="10615">
                  <c:v>#N/A</c:v>
                </c:pt>
                <c:pt idx="10616">
                  <c:v>#N/A</c:v>
                </c:pt>
                <c:pt idx="10617">
                  <c:v>#N/A</c:v>
                </c:pt>
                <c:pt idx="10618">
                  <c:v>#N/A</c:v>
                </c:pt>
                <c:pt idx="10619">
                  <c:v>#N/A</c:v>
                </c:pt>
                <c:pt idx="10620">
                  <c:v>#N/A</c:v>
                </c:pt>
                <c:pt idx="10621">
                  <c:v>#N/A</c:v>
                </c:pt>
                <c:pt idx="10622">
                  <c:v>#N/A</c:v>
                </c:pt>
                <c:pt idx="10623">
                  <c:v>#N/A</c:v>
                </c:pt>
                <c:pt idx="10624">
                  <c:v>#N/A</c:v>
                </c:pt>
                <c:pt idx="10625">
                  <c:v>#N/A</c:v>
                </c:pt>
                <c:pt idx="10626">
                  <c:v>#N/A</c:v>
                </c:pt>
                <c:pt idx="10627">
                  <c:v>#N/A</c:v>
                </c:pt>
                <c:pt idx="10628">
                  <c:v>#N/A</c:v>
                </c:pt>
                <c:pt idx="10629">
                  <c:v>#N/A</c:v>
                </c:pt>
                <c:pt idx="10630">
                  <c:v>#N/A</c:v>
                </c:pt>
                <c:pt idx="10631">
                  <c:v>#N/A</c:v>
                </c:pt>
                <c:pt idx="10632">
                  <c:v>#N/A</c:v>
                </c:pt>
                <c:pt idx="10633">
                  <c:v>#N/A</c:v>
                </c:pt>
                <c:pt idx="10634">
                  <c:v>#N/A</c:v>
                </c:pt>
                <c:pt idx="10635">
                  <c:v>#N/A</c:v>
                </c:pt>
                <c:pt idx="10636">
                  <c:v>#N/A</c:v>
                </c:pt>
                <c:pt idx="10637">
                  <c:v>#N/A</c:v>
                </c:pt>
                <c:pt idx="10638">
                  <c:v>#N/A</c:v>
                </c:pt>
                <c:pt idx="10639">
                  <c:v>#N/A</c:v>
                </c:pt>
                <c:pt idx="10640">
                  <c:v>#N/A</c:v>
                </c:pt>
                <c:pt idx="10641">
                  <c:v>#N/A</c:v>
                </c:pt>
                <c:pt idx="10642">
                  <c:v>#N/A</c:v>
                </c:pt>
                <c:pt idx="10643">
                  <c:v>#N/A</c:v>
                </c:pt>
                <c:pt idx="10644">
                  <c:v>#N/A</c:v>
                </c:pt>
                <c:pt idx="10645">
                  <c:v>#N/A</c:v>
                </c:pt>
                <c:pt idx="10646">
                  <c:v>#N/A</c:v>
                </c:pt>
                <c:pt idx="10647">
                  <c:v>#N/A</c:v>
                </c:pt>
                <c:pt idx="10648">
                  <c:v>#N/A</c:v>
                </c:pt>
                <c:pt idx="10649">
                  <c:v>#N/A</c:v>
                </c:pt>
                <c:pt idx="10650">
                  <c:v>#N/A</c:v>
                </c:pt>
                <c:pt idx="10651">
                  <c:v>#N/A</c:v>
                </c:pt>
                <c:pt idx="10652">
                  <c:v>#N/A</c:v>
                </c:pt>
                <c:pt idx="10653">
                  <c:v>#N/A</c:v>
                </c:pt>
                <c:pt idx="10654">
                  <c:v>#N/A</c:v>
                </c:pt>
                <c:pt idx="10655">
                  <c:v>#N/A</c:v>
                </c:pt>
                <c:pt idx="10656">
                  <c:v>#N/A</c:v>
                </c:pt>
                <c:pt idx="10657">
                  <c:v>#N/A</c:v>
                </c:pt>
                <c:pt idx="10658">
                  <c:v>#N/A</c:v>
                </c:pt>
                <c:pt idx="10659">
                  <c:v>#N/A</c:v>
                </c:pt>
                <c:pt idx="10660">
                  <c:v>#N/A</c:v>
                </c:pt>
                <c:pt idx="10661">
                  <c:v>#N/A</c:v>
                </c:pt>
                <c:pt idx="10662">
                  <c:v>#N/A</c:v>
                </c:pt>
                <c:pt idx="10663">
                  <c:v>#N/A</c:v>
                </c:pt>
                <c:pt idx="10664">
                  <c:v>#N/A</c:v>
                </c:pt>
                <c:pt idx="10665">
                  <c:v>#N/A</c:v>
                </c:pt>
                <c:pt idx="10666">
                  <c:v>#N/A</c:v>
                </c:pt>
                <c:pt idx="10667">
                  <c:v>#N/A</c:v>
                </c:pt>
                <c:pt idx="10668">
                  <c:v>#N/A</c:v>
                </c:pt>
                <c:pt idx="10669">
                  <c:v>#N/A</c:v>
                </c:pt>
                <c:pt idx="10670">
                  <c:v>#N/A</c:v>
                </c:pt>
                <c:pt idx="10671">
                  <c:v>#N/A</c:v>
                </c:pt>
                <c:pt idx="10672">
                  <c:v>#N/A</c:v>
                </c:pt>
                <c:pt idx="10673">
                  <c:v>#N/A</c:v>
                </c:pt>
                <c:pt idx="10674">
                  <c:v>#N/A</c:v>
                </c:pt>
                <c:pt idx="10675">
                  <c:v>#N/A</c:v>
                </c:pt>
                <c:pt idx="10676">
                  <c:v>#N/A</c:v>
                </c:pt>
                <c:pt idx="10677">
                  <c:v>#N/A</c:v>
                </c:pt>
                <c:pt idx="10678">
                  <c:v>#N/A</c:v>
                </c:pt>
                <c:pt idx="10679">
                  <c:v>#N/A</c:v>
                </c:pt>
                <c:pt idx="10680">
                  <c:v>#N/A</c:v>
                </c:pt>
                <c:pt idx="10681">
                  <c:v>#N/A</c:v>
                </c:pt>
                <c:pt idx="10682">
                  <c:v>#N/A</c:v>
                </c:pt>
                <c:pt idx="10683">
                  <c:v>#N/A</c:v>
                </c:pt>
                <c:pt idx="10684">
                  <c:v>#N/A</c:v>
                </c:pt>
                <c:pt idx="10685">
                  <c:v>#N/A</c:v>
                </c:pt>
                <c:pt idx="10686">
                  <c:v>#N/A</c:v>
                </c:pt>
                <c:pt idx="10687">
                  <c:v>#N/A</c:v>
                </c:pt>
                <c:pt idx="10688">
                  <c:v>#N/A</c:v>
                </c:pt>
                <c:pt idx="10689">
                  <c:v>#N/A</c:v>
                </c:pt>
                <c:pt idx="10690">
                  <c:v>#N/A</c:v>
                </c:pt>
                <c:pt idx="10691">
                  <c:v>#N/A</c:v>
                </c:pt>
                <c:pt idx="10692">
                  <c:v>#N/A</c:v>
                </c:pt>
                <c:pt idx="10693">
                  <c:v>#N/A</c:v>
                </c:pt>
                <c:pt idx="10694">
                  <c:v>#N/A</c:v>
                </c:pt>
                <c:pt idx="10695">
                  <c:v>#N/A</c:v>
                </c:pt>
                <c:pt idx="10696">
                  <c:v>#N/A</c:v>
                </c:pt>
                <c:pt idx="10697">
                  <c:v>#N/A</c:v>
                </c:pt>
                <c:pt idx="10698">
                  <c:v>#N/A</c:v>
                </c:pt>
                <c:pt idx="10699">
                  <c:v>#N/A</c:v>
                </c:pt>
                <c:pt idx="10700">
                  <c:v>#N/A</c:v>
                </c:pt>
                <c:pt idx="10701">
                  <c:v>#N/A</c:v>
                </c:pt>
                <c:pt idx="10702">
                  <c:v>#N/A</c:v>
                </c:pt>
                <c:pt idx="10703">
                  <c:v>#N/A</c:v>
                </c:pt>
                <c:pt idx="10704">
                  <c:v>#N/A</c:v>
                </c:pt>
                <c:pt idx="10705">
                  <c:v>#N/A</c:v>
                </c:pt>
                <c:pt idx="10706">
                  <c:v>#N/A</c:v>
                </c:pt>
                <c:pt idx="10707">
                  <c:v>#N/A</c:v>
                </c:pt>
                <c:pt idx="10708">
                  <c:v>#N/A</c:v>
                </c:pt>
                <c:pt idx="10709">
                  <c:v>#N/A</c:v>
                </c:pt>
                <c:pt idx="10710">
                  <c:v>#N/A</c:v>
                </c:pt>
                <c:pt idx="10711">
                  <c:v>#N/A</c:v>
                </c:pt>
                <c:pt idx="10712">
                  <c:v>#N/A</c:v>
                </c:pt>
                <c:pt idx="10713">
                  <c:v>#N/A</c:v>
                </c:pt>
                <c:pt idx="10714">
                  <c:v>#N/A</c:v>
                </c:pt>
                <c:pt idx="10715">
                  <c:v>#N/A</c:v>
                </c:pt>
                <c:pt idx="10716">
                  <c:v>#N/A</c:v>
                </c:pt>
                <c:pt idx="10717">
                  <c:v>#N/A</c:v>
                </c:pt>
                <c:pt idx="10718">
                  <c:v>#N/A</c:v>
                </c:pt>
                <c:pt idx="10719">
                  <c:v>#N/A</c:v>
                </c:pt>
                <c:pt idx="10720">
                  <c:v>#N/A</c:v>
                </c:pt>
                <c:pt idx="10721">
                  <c:v>#N/A</c:v>
                </c:pt>
                <c:pt idx="10722">
                  <c:v>#N/A</c:v>
                </c:pt>
                <c:pt idx="10723">
                  <c:v>#N/A</c:v>
                </c:pt>
                <c:pt idx="10724">
                  <c:v>#N/A</c:v>
                </c:pt>
                <c:pt idx="10725">
                  <c:v>#N/A</c:v>
                </c:pt>
                <c:pt idx="10726">
                  <c:v>#N/A</c:v>
                </c:pt>
                <c:pt idx="10727">
                  <c:v>#N/A</c:v>
                </c:pt>
                <c:pt idx="10728">
                  <c:v>#N/A</c:v>
                </c:pt>
                <c:pt idx="10729">
                  <c:v>#N/A</c:v>
                </c:pt>
                <c:pt idx="10730">
                  <c:v>#N/A</c:v>
                </c:pt>
                <c:pt idx="10731">
                  <c:v>#N/A</c:v>
                </c:pt>
                <c:pt idx="10732">
                  <c:v>#N/A</c:v>
                </c:pt>
                <c:pt idx="10733">
                  <c:v>#N/A</c:v>
                </c:pt>
                <c:pt idx="10734">
                  <c:v>#N/A</c:v>
                </c:pt>
                <c:pt idx="10735">
                  <c:v>#N/A</c:v>
                </c:pt>
                <c:pt idx="10736">
                  <c:v>#N/A</c:v>
                </c:pt>
                <c:pt idx="10737">
                  <c:v>#N/A</c:v>
                </c:pt>
                <c:pt idx="10738">
                  <c:v>#N/A</c:v>
                </c:pt>
                <c:pt idx="10739">
                  <c:v>#N/A</c:v>
                </c:pt>
                <c:pt idx="10740">
                  <c:v>#N/A</c:v>
                </c:pt>
                <c:pt idx="10741">
                  <c:v>#N/A</c:v>
                </c:pt>
                <c:pt idx="10742">
                  <c:v>#N/A</c:v>
                </c:pt>
                <c:pt idx="10743">
                  <c:v>#N/A</c:v>
                </c:pt>
                <c:pt idx="10744">
                  <c:v>#N/A</c:v>
                </c:pt>
                <c:pt idx="10745">
                  <c:v>#N/A</c:v>
                </c:pt>
                <c:pt idx="10746">
                  <c:v>#N/A</c:v>
                </c:pt>
                <c:pt idx="10747">
                  <c:v>#N/A</c:v>
                </c:pt>
                <c:pt idx="10748">
                  <c:v>#N/A</c:v>
                </c:pt>
                <c:pt idx="10749">
                  <c:v>#N/A</c:v>
                </c:pt>
                <c:pt idx="10750">
                  <c:v>#N/A</c:v>
                </c:pt>
                <c:pt idx="10751">
                  <c:v>#N/A</c:v>
                </c:pt>
                <c:pt idx="10752">
                  <c:v>#N/A</c:v>
                </c:pt>
                <c:pt idx="10753">
                  <c:v>#N/A</c:v>
                </c:pt>
                <c:pt idx="10754">
                  <c:v>#N/A</c:v>
                </c:pt>
                <c:pt idx="10755">
                  <c:v>#N/A</c:v>
                </c:pt>
                <c:pt idx="10756">
                  <c:v>#N/A</c:v>
                </c:pt>
                <c:pt idx="10757">
                  <c:v>#N/A</c:v>
                </c:pt>
                <c:pt idx="10758">
                  <c:v>#N/A</c:v>
                </c:pt>
                <c:pt idx="10759">
                  <c:v>#N/A</c:v>
                </c:pt>
                <c:pt idx="10760">
                  <c:v>#N/A</c:v>
                </c:pt>
                <c:pt idx="10761">
                  <c:v>#N/A</c:v>
                </c:pt>
                <c:pt idx="10762">
                  <c:v>#N/A</c:v>
                </c:pt>
                <c:pt idx="10763">
                  <c:v>#N/A</c:v>
                </c:pt>
                <c:pt idx="10764">
                  <c:v>#N/A</c:v>
                </c:pt>
                <c:pt idx="10765">
                  <c:v>#N/A</c:v>
                </c:pt>
                <c:pt idx="10766">
                  <c:v>#N/A</c:v>
                </c:pt>
                <c:pt idx="10767">
                  <c:v>#N/A</c:v>
                </c:pt>
                <c:pt idx="10768">
                  <c:v>#N/A</c:v>
                </c:pt>
                <c:pt idx="10769">
                  <c:v>#N/A</c:v>
                </c:pt>
                <c:pt idx="10770">
                  <c:v>#N/A</c:v>
                </c:pt>
                <c:pt idx="10771">
                  <c:v>#N/A</c:v>
                </c:pt>
                <c:pt idx="10772">
                  <c:v>#N/A</c:v>
                </c:pt>
                <c:pt idx="10773">
                  <c:v>#N/A</c:v>
                </c:pt>
                <c:pt idx="10774">
                  <c:v>#N/A</c:v>
                </c:pt>
                <c:pt idx="10775">
                  <c:v>#N/A</c:v>
                </c:pt>
                <c:pt idx="10776">
                  <c:v>#N/A</c:v>
                </c:pt>
                <c:pt idx="10777">
                  <c:v>#N/A</c:v>
                </c:pt>
                <c:pt idx="10778">
                  <c:v>#N/A</c:v>
                </c:pt>
                <c:pt idx="10779">
                  <c:v>#N/A</c:v>
                </c:pt>
                <c:pt idx="10780">
                  <c:v>#N/A</c:v>
                </c:pt>
                <c:pt idx="10781">
                  <c:v>#N/A</c:v>
                </c:pt>
                <c:pt idx="10782">
                  <c:v>#N/A</c:v>
                </c:pt>
                <c:pt idx="10783">
                  <c:v>#N/A</c:v>
                </c:pt>
                <c:pt idx="10784">
                  <c:v>#N/A</c:v>
                </c:pt>
                <c:pt idx="10785">
                  <c:v>#N/A</c:v>
                </c:pt>
                <c:pt idx="10786">
                  <c:v>#N/A</c:v>
                </c:pt>
                <c:pt idx="10787">
                  <c:v>#N/A</c:v>
                </c:pt>
                <c:pt idx="10788">
                  <c:v>#N/A</c:v>
                </c:pt>
                <c:pt idx="10789">
                  <c:v>#N/A</c:v>
                </c:pt>
                <c:pt idx="10790">
                  <c:v>#N/A</c:v>
                </c:pt>
                <c:pt idx="10791">
                  <c:v>#N/A</c:v>
                </c:pt>
                <c:pt idx="10792">
                  <c:v>#N/A</c:v>
                </c:pt>
                <c:pt idx="10793">
                  <c:v>#N/A</c:v>
                </c:pt>
                <c:pt idx="10794">
                  <c:v>#N/A</c:v>
                </c:pt>
                <c:pt idx="10795">
                  <c:v>#N/A</c:v>
                </c:pt>
                <c:pt idx="10796">
                  <c:v>#N/A</c:v>
                </c:pt>
                <c:pt idx="10797">
                  <c:v>#N/A</c:v>
                </c:pt>
                <c:pt idx="10798">
                  <c:v>#N/A</c:v>
                </c:pt>
                <c:pt idx="10799">
                  <c:v>#N/A</c:v>
                </c:pt>
                <c:pt idx="10800">
                  <c:v>#N/A</c:v>
                </c:pt>
                <c:pt idx="10801">
                  <c:v>#N/A</c:v>
                </c:pt>
                <c:pt idx="10802">
                  <c:v>#N/A</c:v>
                </c:pt>
                <c:pt idx="10803">
                  <c:v>#N/A</c:v>
                </c:pt>
                <c:pt idx="10804">
                  <c:v>#N/A</c:v>
                </c:pt>
                <c:pt idx="10805">
                  <c:v>#N/A</c:v>
                </c:pt>
                <c:pt idx="10806">
                  <c:v>#N/A</c:v>
                </c:pt>
                <c:pt idx="10807">
                  <c:v>#N/A</c:v>
                </c:pt>
                <c:pt idx="10808">
                  <c:v>#N/A</c:v>
                </c:pt>
                <c:pt idx="10809">
                  <c:v>#N/A</c:v>
                </c:pt>
                <c:pt idx="10810">
                  <c:v>#N/A</c:v>
                </c:pt>
                <c:pt idx="10811">
                  <c:v>#N/A</c:v>
                </c:pt>
                <c:pt idx="10812">
                  <c:v>#N/A</c:v>
                </c:pt>
                <c:pt idx="10813">
                  <c:v>#N/A</c:v>
                </c:pt>
                <c:pt idx="10814">
                  <c:v>#N/A</c:v>
                </c:pt>
                <c:pt idx="10815">
                  <c:v>#N/A</c:v>
                </c:pt>
                <c:pt idx="10816">
                  <c:v>#N/A</c:v>
                </c:pt>
                <c:pt idx="10817">
                  <c:v>#N/A</c:v>
                </c:pt>
                <c:pt idx="10818">
                  <c:v>#N/A</c:v>
                </c:pt>
                <c:pt idx="10819">
                  <c:v>#N/A</c:v>
                </c:pt>
                <c:pt idx="10820">
                  <c:v>#N/A</c:v>
                </c:pt>
                <c:pt idx="10821">
                  <c:v>#N/A</c:v>
                </c:pt>
                <c:pt idx="10822">
                  <c:v>#N/A</c:v>
                </c:pt>
                <c:pt idx="10823">
                  <c:v>#N/A</c:v>
                </c:pt>
                <c:pt idx="10824">
                  <c:v>#N/A</c:v>
                </c:pt>
                <c:pt idx="10825">
                  <c:v>#N/A</c:v>
                </c:pt>
                <c:pt idx="10826">
                  <c:v>#N/A</c:v>
                </c:pt>
                <c:pt idx="10827">
                  <c:v>#N/A</c:v>
                </c:pt>
                <c:pt idx="10828">
                  <c:v>#N/A</c:v>
                </c:pt>
                <c:pt idx="10829">
                  <c:v>#N/A</c:v>
                </c:pt>
                <c:pt idx="10830">
                  <c:v>#N/A</c:v>
                </c:pt>
                <c:pt idx="10831">
                  <c:v>#N/A</c:v>
                </c:pt>
                <c:pt idx="10832">
                  <c:v>#N/A</c:v>
                </c:pt>
                <c:pt idx="10833">
                  <c:v>#N/A</c:v>
                </c:pt>
                <c:pt idx="10834">
                  <c:v>#N/A</c:v>
                </c:pt>
                <c:pt idx="10835">
                  <c:v>#N/A</c:v>
                </c:pt>
                <c:pt idx="10836">
                  <c:v>#N/A</c:v>
                </c:pt>
                <c:pt idx="10837">
                  <c:v>#N/A</c:v>
                </c:pt>
                <c:pt idx="10838">
                  <c:v>#N/A</c:v>
                </c:pt>
                <c:pt idx="10839">
                  <c:v>#N/A</c:v>
                </c:pt>
                <c:pt idx="10840">
                  <c:v>#N/A</c:v>
                </c:pt>
                <c:pt idx="10841">
                  <c:v>#N/A</c:v>
                </c:pt>
                <c:pt idx="10842">
                  <c:v>#N/A</c:v>
                </c:pt>
                <c:pt idx="10843">
                  <c:v>#N/A</c:v>
                </c:pt>
                <c:pt idx="10844">
                  <c:v>#N/A</c:v>
                </c:pt>
                <c:pt idx="10845">
                  <c:v>#N/A</c:v>
                </c:pt>
                <c:pt idx="10846">
                  <c:v>#N/A</c:v>
                </c:pt>
                <c:pt idx="10847">
                  <c:v>#N/A</c:v>
                </c:pt>
                <c:pt idx="10848">
                  <c:v>#N/A</c:v>
                </c:pt>
                <c:pt idx="10849">
                  <c:v>#N/A</c:v>
                </c:pt>
                <c:pt idx="10850">
                  <c:v>#N/A</c:v>
                </c:pt>
                <c:pt idx="10851">
                  <c:v>#N/A</c:v>
                </c:pt>
                <c:pt idx="10852">
                  <c:v>#N/A</c:v>
                </c:pt>
                <c:pt idx="10853">
                  <c:v>#N/A</c:v>
                </c:pt>
                <c:pt idx="10854">
                  <c:v>#N/A</c:v>
                </c:pt>
                <c:pt idx="10855">
                  <c:v>#N/A</c:v>
                </c:pt>
                <c:pt idx="10856">
                  <c:v>#N/A</c:v>
                </c:pt>
                <c:pt idx="10857">
                  <c:v>#N/A</c:v>
                </c:pt>
                <c:pt idx="10858">
                  <c:v>#N/A</c:v>
                </c:pt>
                <c:pt idx="10859">
                  <c:v>#N/A</c:v>
                </c:pt>
                <c:pt idx="10860">
                  <c:v>#N/A</c:v>
                </c:pt>
                <c:pt idx="10861">
                  <c:v>#N/A</c:v>
                </c:pt>
                <c:pt idx="10862">
                  <c:v>#N/A</c:v>
                </c:pt>
                <c:pt idx="10863">
                  <c:v>#N/A</c:v>
                </c:pt>
                <c:pt idx="10864">
                  <c:v>#N/A</c:v>
                </c:pt>
                <c:pt idx="10865">
                  <c:v>#N/A</c:v>
                </c:pt>
                <c:pt idx="10866">
                  <c:v>#N/A</c:v>
                </c:pt>
                <c:pt idx="10867">
                  <c:v>#N/A</c:v>
                </c:pt>
                <c:pt idx="10868">
                  <c:v>#N/A</c:v>
                </c:pt>
                <c:pt idx="10869">
                  <c:v>#N/A</c:v>
                </c:pt>
                <c:pt idx="10870">
                  <c:v>#N/A</c:v>
                </c:pt>
                <c:pt idx="10871">
                  <c:v>#N/A</c:v>
                </c:pt>
                <c:pt idx="10872">
                  <c:v>#N/A</c:v>
                </c:pt>
                <c:pt idx="10873">
                  <c:v>#N/A</c:v>
                </c:pt>
                <c:pt idx="10874">
                  <c:v>#N/A</c:v>
                </c:pt>
                <c:pt idx="10875">
                  <c:v>#N/A</c:v>
                </c:pt>
                <c:pt idx="10876">
                  <c:v>#N/A</c:v>
                </c:pt>
                <c:pt idx="10877">
                  <c:v>#N/A</c:v>
                </c:pt>
                <c:pt idx="10878">
                  <c:v>#N/A</c:v>
                </c:pt>
                <c:pt idx="10879">
                  <c:v>#N/A</c:v>
                </c:pt>
                <c:pt idx="10880">
                  <c:v>#N/A</c:v>
                </c:pt>
                <c:pt idx="10881">
                  <c:v>#N/A</c:v>
                </c:pt>
                <c:pt idx="10882">
                  <c:v>#N/A</c:v>
                </c:pt>
                <c:pt idx="10883">
                  <c:v>#N/A</c:v>
                </c:pt>
                <c:pt idx="10884">
                  <c:v>#N/A</c:v>
                </c:pt>
                <c:pt idx="10885">
                  <c:v>#N/A</c:v>
                </c:pt>
                <c:pt idx="10886">
                  <c:v>#N/A</c:v>
                </c:pt>
                <c:pt idx="10887">
                  <c:v>#N/A</c:v>
                </c:pt>
                <c:pt idx="10888">
                  <c:v>#N/A</c:v>
                </c:pt>
                <c:pt idx="10889">
                  <c:v>#N/A</c:v>
                </c:pt>
                <c:pt idx="10890">
                  <c:v>#N/A</c:v>
                </c:pt>
                <c:pt idx="10891">
                  <c:v>#N/A</c:v>
                </c:pt>
                <c:pt idx="10892">
                  <c:v>#N/A</c:v>
                </c:pt>
                <c:pt idx="10893">
                  <c:v>#N/A</c:v>
                </c:pt>
                <c:pt idx="10894">
                  <c:v>#N/A</c:v>
                </c:pt>
                <c:pt idx="10895">
                  <c:v>#N/A</c:v>
                </c:pt>
                <c:pt idx="10896">
                  <c:v>#N/A</c:v>
                </c:pt>
                <c:pt idx="10897">
                  <c:v>#N/A</c:v>
                </c:pt>
                <c:pt idx="10898">
                  <c:v>#N/A</c:v>
                </c:pt>
                <c:pt idx="10899">
                  <c:v>#N/A</c:v>
                </c:pt>
                <c:pt idx="10900">
                  <c:v>#N/A</c:v>
                </c:pt>
                <c:pt idx="10901">
                  <c:v>#N/A</c:v>
                </c:pt>
                <c:pt idx="10902">
                  <c:v>#N/A</c:v>
                </c:pt>
                <c:pt idx="10903">
                  <c:v>#N/A</c:v>
                </c:pt>
                <c:pt idx="10904">
                  <c:v>#N/A</c:v>
                </c:pt>
                <c:pt idx="10905">
                  <c:v>#N/A</c:v>
                </c:pt>
                <c:pt idx="10906">
                  <c:v>#N/A</c:v>
                </c:pt>
                <c:pt idx="10907">
                  <c:v>#N/A</c:v>
                </c:pt>
                <c:pt idx="10908">
                  <c:v>#N/A</c:v>
                </c:pt>
                <c:pt idx="10909">
                  <c:v>#N/A</c:v>
                </c:pt>
                <c:pt idx="10910">
                  <c:v>#N/A</c:v>
                </c:pt>
                <c:pt idx="10911">
                  <c:v>#N/A</c:v>
                </c:pt>
                <c:pt idx="10912">
                  <c:v>#N/A</c:v>
                </c:pt>
                <c:pt idx="10913">
                  <c:v>#N/A</c:v>
                </c:pt>
                <c:pt idx="10914">
                  <c:v>#N/A</c:v>
                </c:pt>
                <c:pt idx="10915">
                  <c:v>#N/A</c:v>
                </c:pt>
                <c:pt idx="10916">
                  <c:v>#N/A</c:v>
                </c:pt>
                <c:pt idx="10917">
                  <c:v>#N/A</c:v>
                </c:pt>
                <c:pt idx="10918">
                  <c:v>#N/A</c:v>
                </c:pt>
                <c:pt idx="10919">
                  <c:v>#N/A</c:v>
                </c:pt>
                <c:pt idx="10920">
                  <c:v>#N/A</c:v>
                </c:pt>
                <c:pt idx="10921">
                  <c:v>#N/A</c:v>
                </c:pt>
                <c:pt idx="10922">
                  <c:v>#N/A</c:v>
                </c:pt>
                <c:pt idx="10923">
                  <c:v>#N/A</c:v>
                </c:pt>
                <c:pt idx="10924">
                  <c:v>#N/A</c:v>
                </c:pt>
                <c:pt idx="10925">
                  <c:v>#N/A</c:v>
                </c:pt>
                <c:pt idx="10926">
                  <c:v>#N/A</c:v>
                </c:pt>
                <c:pt idx="10927">
                  <c:v>#N/A</c:v>
                </c:pt>
                <c:pt idx="10928">
                  <c:v>#N/A</c:v>
                </c:pt>
                <c:pt idx="10929">
                  <c:v>#N/A</c:v>
                </c:pt>
                <c:pt idx="10930">
                  <c:v>#N/A</c:v>
                </c:pt>
                <c:pt idx="10931">
                  <c:v>#N/A</c:v>
                </c:pt>
                <c:pt idx="10932">
                  <c:v>#N/A</c:v>
                </c:pt>
                <c:pt idx="10933">
                  <c:v>#N/A</c:v>
                </c:pt>
                <c:pt idx="10934">
                  <c:v>#N/A</c:v>
                </c:pt>
                <c:pt idx="10935">
                  <c:v>#N/A</c:v>
                </c:pt>
                <c:pt idx="10936">
                  <c:v>#N/A</c:v>
                </c:pt>
                <c:pt idx="10937">
                  <c:v>#N/A</c:v>
                </c:pt>
                <c:pt idx="10938">
                  <c:v>#N/A</c:v>
                </c:pt>
                <c:pt idx="10939">
                  <c:v>#N/A</c:v>
                </c:pt>
                <c:pt idx="10940">
                  <c:v>#N/A</c:v>
                </c:pt>
                <c:pt idx="10941">
                  <c:v>#N/A</c:v>
                </c:pt>
                <c:pt idx="10942">
                  <c:v>#N/A</c:v>
                </c:pt>
                <c:pt idx="10943">
                  <c:v>#N/A</c:v>
                </c:pt>
                <c:pt idx="10944">
                  <c:v>#N/A</c:v>
                </c:pt>
                <c:pt idx="10945">
                  <c:v>#N/A</c:v>
                </c:pt>
                <c:pt idx="10946">
                  <c:v>#N/A</c:v>
                </c:pt>
                <c:pt idx="10947">
                  <c:v>#N/A</c:v>
                </c:pt>
                <c:pt idx="10948">
                  <c:v>#N/A</c:v>
                </c:pt>
                <c:pt idx="10949">
                  <c:v>#N/A</c:v>
                </c:pt>
                <c:pt idx="10950">
                  <c:v>#N/A</c:v>
                </c:pt>
                <c:pt idx="10951">
                  <c:v>#N/A</c:v>
                </c:pt>
                <c:pt idx="10952">
                  <c:v>#N/A</c:v>
                </c:pt>
                <c:pt idx="10953">
                  <c:v>#N/A</c:v>
                </c:pt>
                <c:pt idx="10954">
                  <c:v>#N/A</c:v>
                </c:pt>
                <c:pt idx="10955">
                  <c:v>#N/A</c:v>
                </c:pt>
                <c:pt idx="10956">
                  <c:v>#N/A</c:v>
                </c:pt>
                <c:pt idx="10957">
                  <c:v>#N/A</c:v>
                </c:pt>
                <c:pt idx="10958">
                  <c:v>#N/A</c:v>
                </c:pt>
                <c:pt idx="10959">
                  <c:v>#N/A</c:v>
                </c:pt>
                <c:pt idx="10960">
                  <c:v>#N/A</c:v>
                </c:pt>
                <c:pt idx="10961">
                  <c:v>#N/A</c:v>
                </c:pt>
                <c:pt idx="10962">
                  <c:v>#N/A</c:v>
                </c:pt>
                <c:pt idx="10963">
                  <c:v>#N/A</c:v>
                </c:pt>
                <c:pt idx="10964">
                  <c:v>#N/A</c:v>
                </c:pt>
                <c:pt idx="10965">
                  <c:v>#N/A</c:v>
                </c:pt>
                <c:pt idx="10966">
                  <c:v>#N/A</c:v>
                </c:pt>
                <c:pt idx="10967">
                  <c:v>#N/A</c:v>
                </c:pt>
                <c:pt idx="10968">
                  <c:v>#N/A</c:v>
                </c:pt>
                <c:pt idx="10969">
                  <c:v>#N/A</c:v>
                </c:pt>
                <c:pt idx="10970">
                  <c:v>#N/A</c:v>
                </c:pt>
                <c:pt idx="10971">
                  <c:v>#N/A</c:v>
                </c:pt>
                <c:pt idx="10972">
                  <c:v>#N/A</c:v>
                </c:pt>
                <c:pt idx="10973">
                  <c:v>#N/A</c:v>
                </c:pt>
                <c:pt idx="10974">
                  <c:v>#N/A</c:v>
                </c:pt>
                <c:pt idx="10975">
                  <c:v>#N/A</c:v>
                </c:pt>
                <c:pt idx="10976">
                  <c:v>#N/A</c:v>
                </c:pt>
                <c:pt idx="10977">
                  <c:v>#N/A</c:v>
                </c:pt>
                <c:pt idx="10978">
                  <c:v>#N/A</c:v>
                </c:pt>
                <c:pt idx="10979">
                  <c:v>#N/A</c:v>
                </c:pt>
                <c:pt idx="10980">
                  <c:v>#N/A</c:v>
                </c:pt>
                <c:pt idx="10981">
                  <c:v>#N/A</c:v>
                </c:pt>
                <c:pt idx="10982">
                  <c:v>#N/A</c:v>
                </c:pt>
                <c:pt idx="10983">
                  <c:v>#N/A</c:v>
                </c:pt>
                <c:pt idx="10984">
                  <c:v>#N/A</c:v>
                </c:pt>
                <c:pt idx="10985">
                  <c:v>#N/A</c:v>
                </c:pt>
                <c:pt idx="10986">
                  <c:v>#N/A</c:v>
                </c:pt>
                <c:pt idx="10987">
                  <c:v>#N/A</c:v>
                </c:pt>
                <c:pt idx="10988">
                  <c:v>#N/A</c:v>
                </c:pt>
                <c:pt idx="10989">
                  <c:v>#N/A</c:v>
                </c:pt>
                <c:pt idx="10990">
                  <c:v>#N/A</c:v>
                </c:pt>
                <c:pt idx="10991">
                  <c:v>#N/A</c:v>
                </c:pt>
                <c:pt idx="10992">
                  <c:v>#N/A</c:v>
                </c:pt>
                <c:pt idx="10993">
                  <c:v>#N/A</c:v>
                </c:pt>
                <c:pt idx="10994">
                  <c:v>#N/A</c:v>
                </c:pt>
                <c:pt idx="10995">
                  <c:v>#N/A</c:v>
                </c:pt>
                <c:pt idx="10996">
                  <c:v>#N/A</c:v>
                </c:pt>
                <c:pt idx="10997">
                  <c:v>#N/A</c:v>
                </c:pt>
                <c:pt idx="10998">
                  <c:v>#N/A</c:v>
                </c:pt>
                <c:pt idx="10999">
                  <c:v>#N/A</c:v>
                </c:pt>
                <c:pt idx="11000">
                  <c:v>#N/A</c:v>
                </c:pt>
                <c:pt idx="11001">
                  <c:v>#N/A</c:v>
                </c:pt>
                <c:pt idx="11002">
                  <c:v>#N/A</c:v>
                </c:pt>
                <c:pt idx="11003">
                  <c:v>#N/A</c:v>
                </c:pt>
                <c:pt idx="11004">
                  <c:v>#N/A</c:v>
                </c:pt>
                <c:pt idx="11005">
                  <c:v>#N/A</c:v>
                </c:pt>
                <c:pt idx="11006">
                  <c:v>#N/A</c:v>
                </c:pt>
                <c:pt idx="11007">
                  <c:v>#N/A</c:v>
                </c:pt>
                <c:pt idx="11008">
                  <c:v>#N/A</c:v>
                </c:pt>
                <c:pt idx="11009">
                  <c:v>#N/A</c:v>
                </c:pt>
                <c:pt idx="11010">
                  <c:v>#N/A</c:v>
                </c:pt>
                <c:pt idx="11011">
                  <c:v>#N/A</c:v>
                </c:pt>
                <c:pt idx="11012">
                  <c:v>#N/A</c:v>
                </c:pt>
                <c:pt idx="11013">
                  <c:v>#N/A</c:v>
                </c:pt>
                <c:pt idx="11014">
                  <c:v>#N/A</c:v>
                </c:pt>
                <c:pt idx="11015">
                  <c:v>#N/A</c:v>
                </c:pt>
                <c:pt idx="11016">
                  <c:v>#N/A</c:v>
                </c:pt>
                <c:pt idx="11017">
                  <c:v>#N/A</c:v>
                </c:pt>
                <c:pt idx="11018">
                  <c:v>#N/A</c:v>
                </c:pt>
                <c:pt idx="11019">
                  <c:v>#N/A</c:v>
                </c:pt>
                <c:pt idx="11020">
                  <c:v>#N/A</c:v>
                </c:pt>
                <c:pt idx="11021">
                  <c:v>#N/A</c:v>
                </c:pt>
                <c:pt idx="11022">
                  <c:v>#N/A</c:v>
                </c:pt>
                <c:pt idx="11023">
                  <c:v>#N/A</c:v>
                </c:pt>
                <c:pt idx="11024">
                  <c:v>#N/A</c:v>
                </c:pt>
                <c:pt idx="11025">
                  <c:v>#N/A</c:v>
                </c:pt>
                <c:pt idx="11026">
                  <c:v>#N/A</c:v>
                </c:pt>
                <c:pt idx="11027">
                  <c:v>#N/A</c:v>
                </c:pt>
                <c:pt idx="11028">
                  <c:v>#N/A</c:v>
                </c:pt>
                <c:pt idx="11029">
                  <c:v>#N/A</c:v>
                </c:pt>
                <c:pt idx="11030">
                  <c:v>#N/A</c:v>
                </c:pt>
                <c:pt idx="11031">
                  <c:v>#N/A</c:v>
                </c:pt>
                <c:pt idx="11032">
                  <c:v>#N/A</c:v>
                </c:pt>
                <c:pt idx="11033">
                  <c:v>#N/A</c:v>
                </c:pt>
                <c:pt idx="11034">
                  <c:v>#N/A</c:v>
                </c:pt>
                <c:pt idx="11035">
                  <c:v>#N/A</c:v>
                </c:pt>
                <c:pt idx="11036">
                  <c:v>#N/A</c:v>
                </c:pt>
                <c:pt idx="11037">
                  <c:v>#N/A</c:v>
                </c:pt>
                <c:pt idx="11038">
                  <c:v>#N/A</c:v>
                </c:pt>
                <c:pt idx="11039">
                  <c:v>#N/A</c:v>
                </c:pt>
                <c:pt idx="11040">
                  <c:v>#N/A</c:v>
                </c:pt>
                <c:pt idx="11041">
                  <c:v>#N/A</c:v>
                </c:pt>
                <c:pt idx="11042">
                  <c:v>#N/A</c:v>
                </c:pt>
                <c:pt idx="11043">
                  <c:v>#N/A</c:v>
                </c:pt>
                <c:pt idx="11044">
                  <c:v>#N/A</c:v>
                </c:pt>
                <c:pt idx="11045">
                  <c:v>#N/A</c:v>
                </c:pt>
                <c:pt idx="11046">
                  <c:v>#N/A</c:v>
                </c:pt>
                <c:pt idx="11047">
                  <c:v>#N/A</c:v>
                </c:pt>
                <c:pt idx="11048">
                  <c:v>#N/A</c:v>
                </c:pt>
                <c:pt idx="11049">
                  <c:v>#N/A</c:v>
                </c:pt>
                <c:pt idx="11050">
                  <c:v>#N/A</c:v>
                </c:pt>
                <c:pt idx="11051">
                  <c:v>#N/A</c:v>
                </c:pt>
                <c:pt idx="11052">
                  <c:v>#N/A</c:v>
                </c:pt>
                <c:pt idx="11053">
                  <c:v>#N/A</c:v>
                </c:pt>
                <c:pt idx="11054">
                  <c:v>#N/A</c:v>
                </c:pt>
                <c:pt idx="11055">
                  <c:v>#N/A</c:v>
                </c:pt>
                <c:pt idx="11056">
                  <c:v>#N/A</c:v>
                </c:pt>
                <c:pt idx="11057">
                  <c:v>#N/A</c:v>
                </c:pt>
                <c:pt idx="11058">
                  <c:v>#N/A</c:v>
                </c:pt>
                <c:pt idx="11059">
                  <c:v>#N/A</c:v>
                </c:pt>
                <c:pt idx="11060">
                  <c:v>#N/A</c:v>
                </c:pt>
                <c:pt idx="11061">
                  <c:v>#N/A</c:v>
                </c:pt>
                <c:pt idx="11062">
                  <c:v>#N/A</c:v>
                </c:pt>
                <c:pt idx="11063">
                  <c:v>#N/A</c:v>
                </c:pt>
                <c:pt idx="11064">
                  <c:v>#N/A</c:v>
                </c:pt>
                <c:pt idx="11065">
                  <c:v>#N/A</c:v>
                </c:pt>
                <c:pt idx="11066">
                  <c:v>#N/A</c:v>
                </c:pt>
                <c:pt idx="11067">
                  <c:v>#N/A</c:v>
                </c:pt>
                <c:pt idx="11068">
                  <c:v>#N/A</c:v>
                </c:pt>
                <c:pt idx="11069">
                  <c:v>#N/A</c:v>
                </c:pt>
                <c:pt idx="11070">
                  <c:v>#N/A</c:v>
                </c:pt>
                <c:pt idx="11071">
                  <c:v>#N/A</c:v>
                </c:pt>
                <c:pt idx="11072">
                  <c:v>#N/A</c:v>
                </c:pt>
                <c:pt idx="11073">
                  <c:v>#N/A</c:v>
                </c:pt>
                <c:pt idx="11074">
                  <c:v>#N/A</c:v>
                </c:pt>
                <c:pt idx="11075">
                  <c:v>#N/A</c:v>
                </c:pt>
                <c:pt idx="11076">
                  <c:v>#N/A</c:v>
                </c:pt>
                <c:pt idx="11077">
                  <c:v>#N/A</c:v>
                </c:pt>
                <c:pt idx="11078">
                  <c:v>#N/A</c:v>
                </c:pt>
                <c:pt idx="11079">
                  <c:v>#N/A</c:v>
                </c:pt>
                <c:pt idx="11080">
                  <c:v>#N/A</c:v>
                </c:pt>
                <c:pt idx="11081">
                  <c:v>#N/A</c:v>
                </c:pt>
                <c:pt idx="11082">
                  <c:v>#N/A</c:v>
                </c:pt>
                <c:pt idx="11083">
                  <c:v>#N/A</c:v>
                </c:pt>
                <c:pt idx="11084">
                  <c:v>#N/A</c:v>
                </c:pt>
                <c:pt idx="11085">
                  <c:v>#N/A</c:v>
                </c:pt>
                <c:pt idx="11086">
                  <c:v>#N/A</c:v>
                </c:pt>
                <c:pt idx="11087">
                  <c:v>#N/A</c:v>
                </c:pt>
                <c:pt idx="11088">
                  <c:v>#N/A</c:v>
                </c:pt>
                <c:pt idx="11089">
                  <c:v>#N/A</c:v>
                </c:pt>
                <c:pt idx="11090">
                  <c:v>#N/A</c:v>
                </c:pt>
                <c:pt idx="11091">
                  <c:v>#N/A</c:v>
                </c:pt>
                <c:pt idx="11092">
                  <c:v>#N/A</c:v>
                </c:pt>
                <c:pt idx="11093">
                  <c:v>#N/A</c:v>
                </c:pt>
                <c:pt idx="11094">
                  <c:v>#N/A</c:v>
                </c:pt>
                <c:pt idx="11095">
                  <c:v>#N/A</c:v>
                </c:pt>
                <c:pt idx="11096">
                  <c:v>#N/A</c:v>
                </c:pt>
                <c:pt idx="11097">
                  <c:v>#N/A</c:v>
                </c:pt>
                <c:pt idx="11098">
                  <c:v>#N/A</c:v>
                </c:pt>
                <c:pt idx="11099">
                  <c:v>#N/A</c:v>
                </c:pt>
                <c:pt idx="11100">
                  <c:v>#N/A</c:v>
                </c:pt>
                <c:pt idx="11101">
                  <c:v>#N/A</c:v>
                </c:pt>
                <c:pt idx="11102">
                  <c:v>#N/A</c:v>
                </c:pt>
                <c:pt idx="11103">
                  <c:v>#N/A</c:v>
                </c:pt>
                <c:pt idx="11104">
                  <c:v>#N/A</c:v>
                </c:pt>
                <c:pt idx="11105">
                  <c:v>#N/A</c:v>
                </c:pt>
                <c:pt idx="11106">
                  <c:v>#N/A</c:v>
                </c:pt>
                <c:pt idx="11107">
                  <c:v>#N/A</c:v>
                </c:pt>
                <c:pt idx="11108">
                  <c:v>#N/A</c:v>
                </c:pt>
                <c:pt idx="11109">
                  <c:v>#N/A</c:v>
                </c:pt>
                <c:pt idx="11110">
                  <c:v>#N/A</c:v>
                </c:pt>
                <c:pt idx="11111">
                  <c:v>#N/A</c:v>
                </c:pt>
                <c:pt idx="11112">
                  <c:v>#N/A</c:v>
                </c:pt>
                <c:pt idx="11113">
                  <c:v>#N/A</c:v>
                </c:pt>
                <c:pt idx="11114">
                  <c:v>#N/A</c:v>
                </c:pt>
                <c:pt idx="11115">
                  <c:v>#N/A</c:v>
                </c:pt>
                <c:pt idx="11116">
                  <c:v>#N/A</c:v>
                </c:pt>
                <c:pt idx="11117">
                  <c:v>#N/A</c:v>
                </c:pt>
                <c:pt idx="11118">
                  <c:v>#N/A</c:v>
                </c:pt>
                <c:pt idx="11119">
                  <c:v>#N/A</c:v>
                </c:pt>
                <c:pt idx="11120">
                  <c:v>#N/A</c:v>
                </c:pt>
                <c:pt idx="11121">
                  <c:v>#N/A</c:v>
                </c:pt>
                <c:pt idx="11122">
                  <c:v>#N/A</c:v>
                </c:pt>
                <c:pt idx="11123">
                  <c:v>#N/A</c:v>
                </c:pt>
                <c:pt idx="11124">
                  <c:v>#N/A</c:v>
                </c:pt>
                <c:pt idx="11125">
                  <c:v>#N/A</c:v>
                </c:pt>
                <c:pt idx="11126">
                  <c:v>#N/A</c:v>
                </c:pt>
                <c:pt idx="11127">
                  <c:v>#N/A</c:v>
                </c:pt>
                <c:pt idx="11128">
                  <c:v>#N/A</c:v>
                </c:pt>
                <c:pt idx="11129">
                  <c:v>#N/A</c:v>
                </c:pt>
                <c:pt idx="11130">
                  <c:v>#N/A</c:v>
                </c:pt>
                <c:pt idx="11131">
                  <c:v>#N/A</c:v>
                </c:pt>
                <c:pt idx="11132">
                  <c:v>#N/A</c:v>
                </c:pt>
                <c:pt idx="11133">
                  <c:v>#N/A</c:v>
                </c:pt>
                <c:pt idx="11134">
                  <c:v>#N/A</c:v>
                </c:pt>
                <c:pt idx="11135">
                  <c:v>#N/A</c:v>
                </c:pt>
                <c:pt idx="11136">
                  <c:v>#N/A</c:v>
                </c:pt>
                <c:pt idx="11137">
                  <c:v>#N/A</c:v>
                </c:pt>
                <c:pt idx="11138">
                  <c:v>#N/A</c:v>
                </c:pt>
                <c:pt idx="11139">
                  <c:v>#N/A</c:v>
                </c:pt>
                <c:pt idx="11140">
                  <c:v>#N/A</c:v>
                </c:pt>
                <c:pt idx="11141">
                  <c:v>#N/A</c:v>
                </c:pt>
                <c:pt idx="11142">
                  <c:v>#N/A</c:v>
                </c:pt>
                <c:pt idx="11143">
                  <c:v>#N/A</c:v>
                </c:pt>
                <c:pt idx="11144">
                  <c:v>#N/A</c:v>
                </c:pt>
                <c:pt idx="11145">
                  <c:v>#N/A</c:v>
                </c:pt>
                <c:pt idx="11146">
                  <c:v>#N/A</c:v>
                </c:pt>
                <c:pt idx="11147">
                  <c:v>#N/A</c:v>
                </c:pt>
                <c:pt idx="11148">
                  <c:v>#N/A</c:v>
                </c:pt>
                <c:pt idx="11149">
                  <c:v>#N/A</c:v>
                </c:pt>
                <c:pt idx="11150">
                  <c:v>#N/A</c:v>
                </c:pt>
                <c:pt idx="11151">
                  <c:v>#N/A</c:v>
                </c:pt>
                <c:pt idx="11152">
                  <c:v>#N/A</c:v>
                </c:pt>
                <c:pt idx="11153">
                  <c:v>#N/A</c:v>
                </c:pt>
                <c:pt idx="11154">
                  <c:v>#N/A</c:v>
                </c:pt>
                <c:pt idx="11155">
                  <c:v>#N/A</c:v>
                </c:pt>
                <c:pt idx="11156">
                  <c:v>#N/A</c:v>
                </c:pt>
                <c:pt idx="11157">
                  <c:v>#N/A</c:v>
                </c:pt>
                <c:pt idx="11158">
                  <c:v>#N/A</c:v>
                </c:pt>
                <c:pt idx="11159">
                  <c:v>#N/A</c:v>
                </c:pt>
                <c:pt idx="11160">
                  <c:v>#N/A</c:v>
                </c:pt>
                <c:pt idx="11161">
                  <c:v>#N/A</c:v>
                </c:pt>
                <c:pt idx="11162">
                  <c:v>#N/A</c:v>
                </c:pt>
                <c:pt idx="11163">
                  <c:v>#N/A</c:v>
                </c:pt>
                <c:pt idx="11164">
                  <c:v>#N/A</c:v>
                </c:pt>
                <c:pt idx="11165">
                  <c:v>#N/A</c:v>
                </c:pt>
                <c:pt idx="11166">
                  <c:v>#N/A</c:v>
                </c:pt>
                <c:pt idx="11167">
                  <c:v>#N/A</c:v>
                </c:pt>
                <c:pt idx="11168">
                  <c:v>#N/A</c:v>
                </c:pt>
                <c:pt idx="11169">
                  <c:v>#N/A</c:v>
                </c:pt>
                <c:pt idx="11170">
                  <c:v>#N/A</c:v>
                </c:pt>
                <c:pt idx="11171">
                  <c:v>#N/A</c:v>
                </c:pt>
                <c:pt idx="11172">
                  <c:v>#N/A</c:v>
                </c:pt>
                <c:pt idx="11173">
                  <c:v>#N/A</c:v>
                </c:pt>
                <c:pt idx="11174">
                  <c:v>#N/A</c:v>
                </c:pt>
                <c:pt idx="11175">
                  <c:v>#N/A</c:v>
                </c:pt>
                <c:pt idx="11176">
                  <c:v>#N/A</c:v>
                </c:pt>
                <c:pt idx="11177">
                  <c:v>#N/A</c:v>
                </c:pt>
                <c:pt idx="11178">
                  <c:v>#N/A</c:v>
                </c:pt>
                <c:pt idx="11179">
                  <c:v>#N/A</c:v>
                </c:pt>
                <c:pt idx="11180">
                  <c:v>#N/A</c:v>
                </c:pt>
                <c:pt idx="11181">
                  <c:v>#N/A</c:v>
                </c:pt>
                <c:pt idx="11182">
                  <c:v>#N/A</c:v>
                </c:pt>
                <c:pt idx="11183">
                  <c:v>#N/A</c:v>
                </c:pt>
                <c:pt idx="11184">
                  <c:v>#N/A</c:v>
                </c:pt>
                <c:pt idx="11185">
                  <c:v>#N/A</c:v>
                </c:pt>
                <c:pt idx="11186">
                  <c:v>#N/A</c:v>
                </c:pt>
                <c:pt idx="11187">
                  <c:v>#N/A</c:v>
                </c:pt>
                <c:pt idx="11188">
                  <c:v>#N/A</c:v>
                </c:pt>
                <c:pt idx="11189">
                  <c:v>#N/A</c:v>
                </c:pt>
                <c:pt idx="11190">
                  <c:v>#N/A</c:v>
                </c:pt>
                <c:pt idx="11191">
                  <c:v>#N/A</c:v>
                </c:pt>
                <c:pt idx="11192">
                  <c:v>#N/A</c:v>
                </c:pt>
                <c:pt idx="11193">
                  <c:v>#N/A</c:v>
                </c:pt>
                <c:pt idx="11194">
                  <c:v>#N/A</c:v>
                </c:pt>
                <c:pt idx="11195">
                  <c:v>#N/A</c:v>
                </c:pt>
                <c:pt idx="11196">
                  <c:v>#N/A</c:v>
                </c:pt>
                <c:pt idx="11197">
                  <c:v>#N/A</c:v>
                </c:pt>
                <c:pt idx="11198">
                  <c:v>#N/A</c:v>
                </c:pt>
                <c:pt idx="11199">
                  <c:v>#N/A</c:v>
                </c:pt>
                <c:pt idx="11200">
                  <c:v>#N/A</c:v>
                </c:pt>
                <c:pt idx="11201">
                  <c:v>#N/A</c:v>
                </c:pt>
                <c:pt idx="11202">
                  <c:v>#N/A</c:v>
                </c:pt>
                <c:pt idx="11203">
                  <c:v>#N/A</c:v>
                </c:pt>
                <c:pt idx="11204">
                  <c:v>#N/A</c:v>
                </c:pt>
                <c:pt idx="11205">
                  <c:v>#N/A</c:v>
                </c:pt>
                <c:pt idx="11206">
                  <c:v>#N/A</c:v>
                </c:pt>
                <c:pt idx="11207">
                  <c:v>#N/A</c:v>
                </c:pt>
                <c:pt idx="11208">
                  <c:v>#N/A</c:v>
                </c:pt>
                <c:pt idx="11209">
                  <c:v>#N/A</c:v>
                </c:pt>
                <c:pt idx="11210">
                  <c:v>#N/A</c:v>
                </c:pt>
                <c:pt idx="11211">
                  <c:v>#N/A</c:v>
                </c:pt>
                <c:pt idx="11212">
                  <c:v>#N/A</c:v>
                </c:pt>
                <c:pt idx="11213">
                  <c:v>#N/A</c:v>
                </c:pt>
                <c:pt idx="11214">
                  <c:v>#N/A</c:v>
                </c:pt>
                <c:pt idx="11215">
                  <c:v>#N/A</c:v>
                </c:pt>
                <c:pt idx="11216">
                  <c:v>#N/A</c:v>
                </c:pt>
                <c:pt idx="11217">
                  <c:v>#N/A</c:v>
                </c:pt>
                <c:pt idx="11218">
                  <c:v>#N/A</c:v>
                </c:pt>
                <c:pt idx="11219">
                  <c:v>#N/A</c:v>
                </c:pt>
                <c:pt idx="11220">
                  <c:v>#N/A</c:v>
                </c:pt>
                <c:pt idx="11221">
                  <c:v>#N/A</c:v>
                </c:pt>
                <c:pt idx="11222">
                  <c:v>#N/A</c:v>
                </c:pt>
                <c:pt idx="11223">
                  <c:v>#N/A</c:v>
                </c:pt>
                <c:pt idx="11224">
                  <c:v>#N/A</c:v>
                </c:pt>
                <c:pt idx="11225">
                  <c:v>#N/A</c:v>
                </c:pt>
                <c:pt idx="11226">
                  <c:v>#N/A</c:v>
                </c:pt>
                <c:pt idx="11227">
                  <c:v>#N/A</c:v>
                </c:pt>
                <c:pt idx="11228">
                  <c:v>#N/A</c:v>
                </c:pt>
                <c:pt idx="11229">
                  <c:v>#N/A</c:v>
                </c:pt>
                <c:pt idx="11230">
                  <c:v>#N/A</c:v>
                </c:pt>
                <c:pt idx="11231">
                  <c:v>#N/A</c:v>
                </c:pt>
                <c:pt idx="11232">
                  <c:v>#N/A</c:v>
                </c:pt>
                <c:pt idx="11233">
                  <c:v>#N/A</c:v>
                </c:pt>
                <c:pt idx="11234">
                  <c:v>#N/A</c:v>
                </c:pt>
                <c:pt idx="11235">
                  <c:v>#N/A</c:v>
                </c:pt>
                <c:pt idx="11236">
                  <c:v>#N/A</c:v>
                </c:pt>
                <c:pt idx="11237">
                  <c:v>#N/A</c:v>
                </c:pt>
                <c:pt idx="11238">
                  <c:v>#N/A</c:v>
                </c:pt>
                <c:pt idx="11239">
                  <c:v>#N/A</c:v>
                </c:pt>
                <c:pt idx="11240">
                  <c:v>#N/A</c:v>
                </c:pt>
                <c:pt idx="11241">
                  <c:v>#N/A</c:v>
                </c:pt>
                <c:pt idx="11242">
                  <c:v>#N/A</c:v>
                </c:pt>
                <c:pt idx="11243">
                  <c:v>#N/A</c:v>
                </c:pt>
                <c:pt idx="11244">
                  <c:v>#N/A</c:v>
                </c:pt>
                <c:pt idx="11245">
                  <c:v>#N/A</c:v>
                </c:pt>
                <c:pt idx="11246">
                  <c:v>#N/A</c:v>
                </c:pt>
                <c:pt idx="11247">
                  <c:v>#N/A</c:v>
                </c:pt>
                <c:pt idx="11248">
                  <c:v>#N/A</c:v>
                </c:pt>
                <c:pt idx="11249">
                  <c:v>#N/A</c:v>
                </c:pt>
                <c:pt idx="11250">
                  <c:v>#N/A</c:v>
                </c:pt>
                <c:pt idx="11251">
                  <c:v>#N/A</c:v>
                </c:pt>
                <c:pt idx="11252">
                  <c:v>#N/A</c:v>
                </c:pt>
                <c:pt idx="11253">
                  <c:v>#N/A</c:v>
                </c:pt>
                <c:pt idx="11254">
                  <c:v>#N/A</c:v>
                </c:pt>
                <c:pt idx="11255">
                  <c:v>#N/A</c:v>
                </c:pt>
                <c:pt idx="11256">
                  <c:v>#N/A</c:v>
                </c:pt>
                <c:pt idx="11257">
                  <c:v>#N/A</c:v>
                </c:pt>
                <c:pt idx="11258">
                  <c:v>#N/A</c:v>
                </c:pt>
                <c:pt idx="11259">
                  <c:v>#N/A</c:v>
                </c:pt>
                <c:pt idx="11260">
                  <c:v>#N/A</c:v>
                </c:pt>
                <c:pt idx="11261">
                  <c:v>#N/A</c:v>
                </c:pt>
                <c:pt idx="11262">
                  <c:v>#N/A</c:v>
                </c:pt>
                <c:pt idx="11263">
                  <c:v>#N/A</c:v>
                </c:pt>
                <c:pt idx="11264">
                  <c:v>#N/A</c:v>
                </c:pt>
                <c:pt idx="11265">
                  <c:v>#N/A</c:v>
                </c:pt>
                <c:pt idx="11266">
                  <c:v>#N/A</c:v>
                </c:pt>
                <c:pt idx="11267">
                  <c:v>#N/A</c:v>
                </c:pt>
                <c:pt idx="11268">
                  <c:v>#N/A</c:v>
                </c:pt>
                <c:pt idx="11269">
                  <c:v>#N/A</c:v>
                </c:pt>
                <c:pt idx="11270">
                  <c:v>#N/A</c:v>
                </c:pt>
                <c:pt idx="11271">
                  <c:v>#N/A</c:v>
                </c:pt>
                <c:pt idx="11272">
                  <c:v>#N/A</c:v>
                </c:pt>
                <c:pt idx="11273">
                  <c:v>#N/A</c:v>
                </c:pt>
                <c:pt idx="11274">
                  <c:v>#N/A</c:v>
                </c:pt>
                <c:pt idx="11275">
                  <c:v>#N/A</c:v>
                </c:pt>
                <c:pt idx="11276">
                  <c:v>#N/A</c:v>
                </c:pt>
                <c:pt idx="11277">
                  <c:v>#N/A</c:v>
                </c:pt>
                <c:pt idx="11278">
                  <c:v>#N/A</c:v>
                </c:pt>
                <c:pt idx="11279">
                  <c:v>#N/A</c:v>
                </c:pt>
                <c:pt idx="11280">
                  <c:v>#N/A</c:v>
                </c:pt>
                <c:pt idx="11281">
                  <c:v>#N/A</c:v>
                </c:pt>
                <c:pt idx="11282">
                  <c:v>#N/A</c:v>
                </c:pt>
                <c:pt idx="11283">
                  <c:v>#N/A</c:v>
                </c:pt>
                <c:pt idx="11284">
                  <c:v>#N/A</c:v>
                </c:pt>
                <c:pt idx="11285">
                  <c:v>#N/A</c:v>
                </c:pt>
                <c:pt idx="11286">
                  <c:v>#N/A</c:v>
                </c:pt>
                <c:pt idx="11287">
                  <c:v>#N/A</c:v>
                </c:pt>
                <c:pt idx="11288">
                  <c:v>#N/A</c:v>
                </c:pt>
                <c:pt idx="11289">
                  <c:v>#N/A</c:v>
                </c:pt>
                <c:pt idx="11290">
                  <c:v>#N/A</c:v>
                </c:pt>
                <c:pt idx="11291">
                  <c:v>#N/A</c:v>
                </c:pt>
                <c:pt idx="11292">
                  <c:v>#N/A</c:v>
                </c:pt>
                <c:pt idx="11293">
                  <c:v>#N/A</c:v>
                </c:pt>
                <c:pt idx="11294">
                  <c:v>#N/A</c:v>
                </c:pt>
                <c:pt idx="11295">
                  <c:v>#N/A</c:v>
                </c:pt>
                <c:pt idx="11296">
                  <c:v>#N/A</c:v>
                </c:pt>
                <c:pt idx="11297">
                  <c:v>#N/A</c:v>
                </c:pt>
                <c:pt idx="11298">
                  <c:v>#N/A</c:v>
                </c:pt>
                <c:pt idx="11299">
                  <c:v>#N/A</c:v>
                </c:pt>
                <c:pt idx="11300">
                  <c:v>#N/A</c:v>
                </c:pt>
                <c:pt idx="11301">
                  <c:v>#N/A</c:v>
                </c:pt>
                <c:pt idx="11302">
                  <c:v>#N/A</c:v>
                </c:pt>
                <c:pt idx="11303">
                  <c:v>#N/A</c:v>
                </c:pt>
                <c:pt idx="11304">
                  <c:v>#N/A</c:v>
                </c:pt>
                <c:pt idx="11305">
                  <c:v>#N/A</c:v>
                </c:pt>
                <c:pt idx="11306">
                  <c:v>#N/A</c:v>
                </c:pt>
                <c:pt idx="11307">
                  <c:v>#N/A</c:v>
                </c:pt>
                <c:pt idx="11308">
                  <c:v>#N/A</c:v>
                </c:pt>
                <c:pt idx="11309">
                  <c:v>#N/A</c:v>
                </c:pt>
                <c:pt idx="11310">
                  <c:v>#N/A</c:v>
                </c:pt>
                <c:pt idx="11311">
                  <c:v>#N/A</c:v>
                </c:pt>
                <c:pt idx="11312">
                  <c:v>#N/A</c:v>
                </c:pt>
                <c:pt idx="11313">
                  <c:v>#N/A</c:v>
                </c:pt>
                <c:pt idx="11314">
                  <c:v>#N/A</c:v>
                </c:pt>
                <c:pt idx="11315">
                  <c:v>#N/A</c:v>
                </c:pt>
                <c:pt idx="11316">
                  <c:v>#N/A</c:v>
                </c:pt>
                <c:pt idx="11317">
                  <c:v>#N/A</c:v>
                </c:pt>
                <c:pt idx="11318">
                  <c:v>#N/A</c:v>
                </c:pt>
                <c:pt idx="11319">
                  <c:v>#N/A</c:v>
                </c:pt>
                <c:pt idx="11320">
                  <c:v>#N/A</c:v>
                </c:pt>
                <c:pt idx="11321">
                  <c:v>#N/A</c:v>
                </c:pt>
                <c:pt idx="11322">
                  <c:v>#N/A</c:v>
                </c:pt>
                <c:pt idx="11323">
                  <c:v>#N/A</c:v>
                </c:pt>
                <c:pt idx="11324">
                  <c:v>#N/A</c:v>
                </c:pt>
                <c:pt idx="11325">
                  <c:v>#N/A</c:v>
                </c:pt>
                <c:pt idx="11326">
                  <c:v>#N/A</c:v>
                </c:pt>
                <c:pt idx="11327">
                  <c:v>#N/A</c:v>
                </c:pt>
                <c:pt idx="11328">
                  <c:v>#N/A</c:v>
                </c:pt>
                <c:pt idx="11329">
                  <c:v>#N/A</c:v>
                </c:pt>
                <c:pt idx="11330">
                  <c:v>#N/A</c:v>
                </c:pt>
                <c:pt idx="11331">
                  <c:v>#N/A</c:v>
                </c:pt>
                <c:pt idx="11332">
                  <c:v>#N/A</c:v>
                </c:pt>
                <c:pt idx="11333">
                  <c:v>#N/A</c:v>
                </c:pt>
                <c:pt idx="11334">
                  <c:v>#N/A</c:v>
                </c:pt>
                <c:pt idx="11335">
                  <c:v>#N/A</c:v>
                </c:pt>
                <c:pt idx="11336">
                  <c:v>#N/A</c:v>
                </c:pt>
                <c:pt idx="11337">
                  <c:v>#N/A</c:v>
                </c:pt>
                <c:pt idx="11338">
                  <c:v>#N/A</c:v>
                </c:pt>
                <c:pt idx="11339">
                  <c:v>#N/A</c:v>
                </c:pt>
                <c:pt idx="11340">
                  <c:v>#N/A</c:v>
                </c:pt>
                <c:pt idx="11341">
                  <c:v>#N/A</c:v>
                </c:pt>
                <c:pt idx="11342">
                  <c:v>#N/A</c:v>
                </c:pt>
                <c:pt idx="11343">
                  <c:v>#N/A</c:v>
                </c:pt>
                <c:pt idx="11344">
                  <c:v>#N/A</c:v>
                </c:pt>
                <c:pt idx="11345">
                  <c:v>#N/A</c:v>
                </c:pt>
                <c:pt idx="11346">
                  <c:v>#N/A</c:v>
                </c:pt>
                <c:pt idx="11347">
                  <c:v>#N/A</c:v>
                </c:pt>
                <c:pt idx="11348">
                  <c:v>#N/A</c:v>
                </c:pt>
                <c:pt idx="11349">
                  <c:v>#N/A</c:v>
                </c:pt>
                <c:pt idx="11350">
                  <c:v>#N/A</c:v>
                </c:pt>
                <c:pt idx="11351">
                  <c:v>#N/A</c:v>
                </c:pt>
                <c:pt idx="11352">
                  <c:v>#N/A</c:v>
                </c:pt>
                <c:pt idx="11353">
                  <c:v>#N/A</c:v>
                </c:pt>
                <c:pt idx="11354">
                  <c:v>#N/A</c:v>
                </c:pt>
                <c:pt idx="11355">
                  <c:v>#N/A</c:v>
                </c:pt>
                <c:pt idx="11356">
                  <c:v>#N/A</c:v>
                </c:pt>
                <c:pt idx="11357">
                  <c:v>#N/A</c:v>
                </c:pt>
                <c:pt idx="11358">
                  <c:v>#N/A</c:v>
                </c:pt>
                <c:pt idx="11359">
                  <c:v>#N/A</c:v>
                </c:pt>
                <c:pt idx="11360">
                  <c:v>#N/A</c:v>
                </c:pt>
                <c:pt idx="11361">
                  <c:v>#N/A</c:v>
                </c:pt>
                <c:pt idx="11362">
                  <c:v>#N/A</c:v>
                </c:pt>
                <c:pt idx="11363">
                  <c:v>#N/A</c:v>
                </c:pt>
                <c:pt idx="11364">
                  <c:v>#N/A</c:v>
                </c:pt>
                <c:pt idx="11365">
                  <c:v>#N/A</c:v>
                </c:pt>
                <c:pt idx="11366">
                  <c:v>#N/A</c:v>
                </c:pt>
                <c:pt idx="11367">
                  <c:v>#N/A</c:v>
                </c:pt>
                <c:pt idx="11368">
                  <c:v>#N/A</c:v>
                </c:pt>
                <c:pt idx="11369">
                  <c:v>#N/A</c:v>
                </c:pt>
                <c:pt idx="11370">
                  <c:v>#N/A</c:v>
                </c:pt>
                <c:pt idx="11371">
                  <c:v>#N/A</c:v>
                </c:pt>
                <c:pt idx="11372">
                  <c:v>#N/A</c:v>
                </c:pt>
                <c:pt idx="11373">
                  <c:v>#N/A</c:v>
                </c:pt>
                <c:pt idx="11374">
                  <c:v>#N/A</c:v>
                </c:pt>
                <c:pt idx="11375">
                  <c:v>#N/A</c:v>
                </c:pt>
                <c:pt idx="11376">
                  <c:v>#N/A</c:v>
                </c:pt>
                <c:pt idx="11377">
                  <c:v>#N/A</c:v>
                </c:pt>
                <c:pt idx="11378">
                  <c:v>#N/A</c:v>
                </c:pt>
                <c:pt idx="11379">
                  <c:v>#N/A</c:v>
                </c:pt>
                <c:pt idx="11380">
                  <c:v>#N/A</c:v>
                </c:pt>
                <c:pt idx="11381">
                  <c:v>#N/A</c:v>
                </c:pt>
                <c:pt idx="11382">
                  <c:v>#N/A</c:v>
                </c:pt>
                <c:pt idx="11383">
                  <c:v>#N/A</c:v>
                </c:pt>
                <c:pt idx="11384">
                  <c:v>#N/A</c:v>
                </c:pt>
                <c:pt idx="11385">
                  <c:v>#N/A</c:v>
                </c:pt>
                <c:pt idx="11386">
                  <c:v>#N/A</c:v>
                </c:pt>
                <c:pt idx="11387">
                  <c:v>#N/A</c:v>
                </c:pt>
                <c:pt idx="11388">
                  <c:v>#N/A</c:v>
                </c:pt>
                <c:pt idx="11389">
                  <c:v>#N/A</c:v>
                </c:pt>
                <c:pt idx="11390">
                  <c:v>#N/A</c:v>
                </c:pt>
                <c:pt idx="11391">
                  <c:v>#N/A</c:v>
                </c:pt>
                <c:pt idx="11392">
                  <c:v>#N/A</c:v>
                </c:pt>
                <c:pt idx="11393">
                  <c:v>#N/A</c:v>
                </c:pt>
                <c:pt idx="11394">
                  <c:v>#N/A</c:v>
                </c:pt>
                <c:pt idx="11395">
                  <c:v>#N/A</c:v>
                </c:pt>
                <c:pt idx="11396">
                  <c:v>#N/A</c:v>
                </c:pt>
                <c:pt idx="11397">
                  <c:v>#N/A</c:v>
                </c:pt>
                <c:pt idx="11398">
                  <c:v>#N/A</c:v>
                </c:pt>
                <c:pt idx="11399">
                  <c:v>#N/A</c:v>
                </c:pt>
                <c:pt idx="11400">
                  <c:v>#N/A</c:v>
                </c:pt>
                <c:pt idx="11401">
                  <c:v>#N/A</c:v>
                </c:pt>
                <c:pt idx="11402">
                  <c:v>#N/A</c:v>
                </c:pt>
                <c:pt idx="11403">
                  <c:v>#N/A</c:v>
                </c:pt>
                <c:pt idx="11404">
                  <c:v>#N/A</c:v>
                </c:pt>
                <c:pt idx="11405">
                  <c:v>#N/A</c:v>
                </c:pt>
                <c:pt idx="11406">
                  <c:v>#N/A</c:v>
                </c:pt>
                <c:pt idx="11407">
                  <c:v>#N/A</c:v>
                </c:pt>
                <c:pt idx="11408">
                  <c:v>#N/A</c:v>
                </c:pt>
                <c:pt idx="11409">
                  <c:v>#N/A</c:v>
                </c:pt>
                <c:pt idx="11410">
                  <c:v>#N/A</c:v>
                </c:pt>
                <c:pt idx="11411">
                  <c:v>#N/A</c:v>
                </c:pt>
                <c:pt idx="11412">
                  <c:v>#N/A</c:v>
                </c:pt>
                <c:pt idx="11413">
                  <c:v>#N/A</c:v>
                </c:pt>
                <c:pt idx="11414">
                  <c:v>#N/A</c:v>
                </c:pt>
                <c:pt idx="11415">
                  <c:v>#N/A</c:v>
                </c:pt>
                <c:pt idx="11416">
                  <c:v>#N/A</c:v>
                </c:pt>
                <c:pt idx="11417">
                  <c:v>#N/A</c:v>
                </c:pt>
                <c:pt idx="11418">
                  <c:v>#N/A</c:v>
                </c:pt>
                <c:pt idx="11419">
                  <c:v>#N/A</c:v>
                </c:pt>
                <c:pt idx="11420">
                  <c:v>#N/A</c:v>
                </c:pt>
                <c:pt idx="11421">
                  <c:v>#N/A</c:v>
                </c:pt>
                <c:pt idx="11422">
                  <c:v>#N/A</c:v>
                </c:pt>
                <c:pt idx="11423">
                  <c:v>#N/A</c:v>
                </c:pt>
                <c:pt idx="11424">
                  <c:v>#N/A</c:v>
                </c:pt>
                <c:pt idx="11425">
                  <c:v>#N/A</c:v>
                </c:pt>
                <c:pt idx="11426">
                  <c:v>#N/A</c:v>
                </c:pt>
                <c:pt idx="11427">
                  <c:v>#N/A</c:v>
                </c:pt>
                <c:pt idx="11428">
                  <c:v>#N/A</c:v>
                </c:pt>
                <c:pt idx="11429">
                  <c:v>#N/A</c:v>
                </c:pt>
                <c:pt idx="11430">
                  <c:v>#N/A</c:v>
                </c:pt>
                <c:pt idx="11431">
                  <c:v>#N/A</c:v>
                </c:pt>
                <c:pt idx="11432">
                  <c:v>#N/A</c:v>
                </c:pt>
                <c:pt idx="11433">
                  <c:v>#N/A</c:v>
                </c:pt>
                <c:pt idx="11434">
                  <c:v>#N/A</c:v>
                </c:pt>
                <c:pt idx="11435">
                  <c:v>#N/A</c:v>
                </c:pt>
                <c:pt idx="11436">
                  <c:v>#N/A</c:v>
                </c:pt>
                <c:pt idx="11437">
                  <c:v>#N/A</c:v>
                </c:pt>
                <c:pt idx="11438">
                  <c:v>#N/A</c:v>
                </c:pt>
                <c:pt idx="11439">
                  <c:v>#N/A</c:v>
                </c:pt>
                <c:pt idx="11440">
                  <c:v>#N/A</c:v>
                </c:pt>
                <c:pt idx="11441">
                  <c:v>#N/A</c:v>
                </c:pt>
                <c:pt idx="11442">
                  <c:v>#N/A</c:v>
                </c:pt>
                <c:pt idx="11443">
                  <c:v>#N/A</c:v>
                </c:pt>
                <c:pt idx="11444">
                  <c:v>#N/A</c:v>
                </c:pt>
                <c:pt idx="11445">
                  <c:v>#N/A</c:v>
                </c:pt>
                <c:pt idx="11446">
                  <c:v>#N/A</c:v>
                </c:pt>
                <c:pt idx="11447">
                  <c:v>#N/A</c:v>
                </c:pt>
                <c:pt idx="11448">
                  <c:v>#N/A</c:v>
                </c:pt>
                <c:pt idx="11449">
                  <c:v>#N/A</c:v>
                </c:pt>
                <c:pt idx="11450">
                  <c:v>#N/A</c:v>
                </c:pt>
                <c:pt idx="11451">
                  <c:v>#N/A</c:v>
                </c:pt>
                <c:pt idx="11452">
                  <c:v>#N/A</c:v>
                </c:pt>
                <c:pt idx="11453">
                  <c:v>#N/A</c:v>
                </c:pt>
                <c:pt idx="11454">
                  <c:v>#N/A</c:v>
                </c:pt>
                <c:pt idx="11455">
                  <c:v>#N/A</c:v>
                </c:pt>
                <c:pt idx="11456">
                  <c:v>#N/A</c:v>
                </c:pt>
                <c:pt idx="11457">
                  <c:v>#N/A</c:v>
                </c:pt>
                <c:pt idx="11458">
                  <c:v>#N/A</c:v>
                </c:pt>
                <c:pt idx="11459">
                  <c:v>#N/A</c:v>
                </c:pt>
                <c:pt idx="11460">
                  <c:v>#N/A</c:v>
                </c:pt>
                <c:pt idx="11461">
                  <c:v>#N/A</c:v>
                </c:pt>
                <c:pt idx="11462">
                  <c:v>#N/A</c:v>
                </c:pt>
                <c:pt idx="11463">
                  <c:v>#N/A</c:v>
                </c:pt>
                <c:pt idx="11464">
                  <c:v>#N/A</c:v>
                </c:pt>
                <c:pt idx="11465">
                  <c:v>#N/A</c:v>
                </c:pt>
                <c:pt idx="11466">
                  <c:v>#N/A</c:v>
                </c:pt>
                <c:pt idx="11467">
                  <c:v>#N/A</c:v>
                </c:pt>
                <c:pt idx="11468">
                  <c:v>#N/A</c:v>
                </c:pt>
                <c:pt idx="11469">
                  <c:v>#N/A</c:v>
                </c:pt>
                <c:pt idx="11470">
                  <c:v>#N/A</c:v>
                </c:pt>
                <c:pt idx="11471">
                  <c:v>#N/A</c:v>
                </c:pt>
                <c:pt idx="11472">
                  <c:v>#N/A</c:v>
                </c:pt>
                <c:pt idx="11473">
                  <c:v>#N/A</c:v>
                </c:pt>
                <c:pt idx="11474">
                  <c:v>#N/A</c:v>
                </c:pt>
                <c:pt idx="11475">
                  <c:v>#N/A</c:v>
                </c:pt>
                <c:pt idx="11476">
                  <c:v>#N/A</c:v>
                </c:pt>
                <c:pt idx="11477">
                  <c:v>#N/A</c:v>
                </c:pt>
                <c:pt idx="11478">
                  <c:v>#N/A</c:v>
                </c:pt>
                <c:pt idx="11479">
                  <c:v>#N/A</c:v>
                </c:pt>
                <c:pt idx="11480">
                  <c:v>#N/A</c:v>
                </c:pt>
                <c:pt idx="11481">
                  <c:v>#N/A</c:v>
                </c:pt>
                <c:pt idx="11482">
                  <c:v>#N/A</c:v>
                </c:pt>
                <c:pt idx="11483">
                  <c:v>#N/A</c:v>
                </c:pt>
                <c:pt idx="11484">
                  <c:v>#N/A</c:v>
                </c:pt>
                <c:pt idx="11485">
                  <c:v>#N/A</c:v>
                </c:pt>
                <c:pt idx="11486">
                  <c:v>#N/A</c:v>
                </c:pt>
                <c:pt idx="11487">
                  <c:v>#N/A</c:v>
                </c:pt>
                <c:pt idx="11488">
                  <c:v>#N/A</c:v>
                </c:pt>
                <c:pt idx="11489">
                  <c:v>#N/A</c:v>
                </c:pt>
                <c:pt idx="11490">
                  <c:v>#N/A</c:v>
                </c:pt>
                <c:pt idx="11491">
                  <c:v>#N/A</c:v>
                </c:pt>
                <c:pt idx="11492">
                  <c:v>#N/A</c:v>
                </c:pt>
                <c:pt idx="11493">
                  <c:v>#N/A</c:v>
                </c:pt>
                <c:pt idx="11494">
                  <c:v>#N/A</c:v>
                </c:pt>
                <c:pt idx="11495">
                  <c:v>#N/A</c:v>
                </c:pt>
                <c:pt idx="11496">
                  <c:v>#N/A</c:v>
                </c:pt>
                <c:pt idx="11497">
                  <c:v>#N/A</c:v>
                </c:pt>
                <c:pt idx="11498">
                  <c:v>#N/A</c:v>
                </c:pt>
                <c:pt idx="11499">
                  <c:v>#N/A</c:v>
                </c:pt>
                <c:pt idx="11500">
                  <c:v>#N/A</c:v>
                </c:pt>
                <c:pt idx="11501">
                  <c:v>#N/A</c:v>
                </c:pt>
                <c:pt idx="11502">
                  <c:v>#N/A</c:v>
                </c:pt>
                <c:pt idx="11503">
                  <c:v>#N/A</c:v>
                </c:pt>
                <c:pt idx="11504">
                  <c:v>#N/A</c:v>
                </c:pt>
                <c:pt idx="11505">
                  <c:v>#N/A</c:v>
                </c:pt>
                <c:pt idx="11506">
                  <c:v>#N/A</c:v>
                </c:pt>
                <c:pt idx="11507">
                  <c:v>#N/A</c:v>
                </c:pt>
                <c:pt idx="11508">
                  <c:v>#N/A</c:v>
                </c:pt>
                <c:pt idx="11509">
                  <c:v>#N/A</c:v>
                </c:pt>
                <c:pt idx="11510">
                  <c:v>#N/A</c:v>
                </c:pt>
                <c:pt idx="11511">
                  <c:v>#N/A</c:v>
                </c:pt>
                <c:pt idx="11512">
                  <c:v>#N/A</c:v>
                </c:pt>
                <c:pt idx="11513">
                  <c:v>#N/A</c:v>
                </c:pt>
                <c:pt idx="11514">
                  <c:v>#N/A</c:v>
                </c:pt>
                <c:pt idx="11515">
                  <c:v>#N/A</c:v>
                </c:pt>
                <c:pt idx="11516">
                  <c:v>#N/A</c:v>
                </c:pt>
                <c:pt idx="11517">
                  <c:v>#N/A</c:v>
                </c:pt>
                <c:pt idx="11518">
                  <c:v>#N/A</c:v>
                </c:pt>
                <c:pt idx="11519">
                  <c:v>#N/A</c:v>
                </c:pt>
                <c:pt idx="11520">
                  <c:v>#N/A</c:v>
                </c:pt>
                <c:pt idx="11521">
                  <c:v>#N/A</c:v>
                </c:pt>
                <c:pt idx="11522">
                  <c:v>#N/A</c:v>
                </c:pt>
                <c:pt idx="11523">
                  <c:v>#N/A</c:v>
                </c:pt>
                <c:pt idx="11524">
                  <c:v>#N/A</c:v>
                </c:pt>
                <c:pt idx="11525">
                  <c:v>#N/A</c:v>
                </c:pt>
                <c:pt idx="11526">
                  <c:v>#N/A</c:v>
                </c:pt>
                <c:pt idx="11527">
                  <c:v>#N/A</c:v>
                </c:pt>
                <c:pt idx="11528">
                  <c:v>#N/A</c:v>
                </c:pt>
                <c:pt idx="11529">
                  <c:v>#N/A</c:v>
                </c:pt>
                <c:pt idx="11530">
                  <c:v>#N/A</c:v>
                </c:pt>
                <c:pt idx="11531">
                  <c:v>#N/A</c:v>
                </c:pt>
                <c:pt idx="11532">
                  <c:v>#N/A</c:v>
                </c:pt>
                <c:pt idx="11533">
                  <c:v>#N/A</c:v>
                </c:pt>
                <c:pt idx="11534">
                  <c:v>#N/A</c:v>
                </c:pt>
                <c:pt idx="11535">
                  <c:v>#N/A</c:v>
                </c:pt>
                <c:pt idx="11536">
                  <c:v>#N/A</c:v>
                </c:pt>
                <c:pt idx="11537">
                  <c:v>#N/A</c:v>
                </c:pt>
                <c:pt idx="11538">
                  <c:v>5.2273972602739729</c:v>
                </c:pt>
                <c:pt idx="11539">
                  <c:v>#N/A</c:v>
                </c:pt>
                <c:pt idx="11540">
                  <c:v>#N/A</c:v>
                </c:pt>
                <c:pt idx="11541">
                  <c:v>#N/A</c:v>
                </c:pt>
                <c:pt idx="11542">
                  <c:v>#N/A</c:v>
                </c:pt>
                <c:pt idx="11543">
                  <c:v>#N/A</c:v>
                </c:pt>
                <c:pt idx="11544">
                  <c:v>#N/A</c:v>
                </c:pt>
                <c:pt idx="11545">
                  <c:v>#N/A</c:v>
                </c:pt>
                <c:pt idx="11546">
                  <c:v>#N/A</c:v>
                </c:pt>
                <c:pt idx="11547">
                  <c:v>#N/A</c:v>
                </c:pt>
                <c:pt idx="11548">
                  <c:v>#N/A</c:v>
                </c:pt>
                <c:pt idx="11549">
                  <c:v>#N/A</c:v>
                </c:pt>
                <c:pt idx="11550">
                  <c:v>#N/A</c:v>
                </c:pt>
                <c:pt idx="11551">
                  <c:v>#N/A</c:v>
                </c:pt>
                <c:pt idx="11552">
                  <c:v>#N/A</c:v>
                </c:pt>
                <c:pt idx="11553">
                  <c:v>#N/A</c:v>
                </c:pt>
                <c:pt idx="11554">
                  <c:v>#N/A</c:v>
                </c:pt>
                <c:pt idx="11555">
                  <c:v>#N/A</c:v>
                </c:pt>
                <c:pt idx="11556">
                  <c:v>#N/A</c:v>
                </c:pt>
                <c:pt idx="11557">
                  <c:v>#N/A</c:v>
                </c:pt>
                <c:pt idx="11558">
                  <c:v>#N/A</c:v>
                </c:pt>
                <c:pt idx="11559">
                  <c:v>#N/A</c:v>
                </c:pt>
                <c:pt idx="11560">
                  <c:v>#N/A</c:v>
                </c:pt>
                <c:pt idx="11561">
                  <c:v>#N/A</c:v>
                </c:pt>
                <c:pt idx="11562">
                  <c:v>#N/A</c:v>
                </c:pt>
                <c:pt idx="11563">
                  <c:v>#N/A</c:v>
                </c:pt>
                <c:pt idx="11564">
                  <c:v>#N/A</c:v>
                </c:pt>
                <c:pt idx="11565">
                  <c:v>#N/A</c:v>
                </c:pt>
                <c:pt idx="11566">
                  <c:v>#N/A</c:v>
                </c:pt>
                <c:pt idx="11567">
                  <c:v>#N/A</c:v>
                </c:pt>
                <c:pt idx="11568">
                  <c:v>#N/A</c:v>
                </c:pt>
                <c:pt idx="11569">
                  <c:v>#N/A</c:v>
                </c:pt>
                <c:pt idx="11570">
                  <c:v>#N/A</c:v>
                </c:pt>
                <c:pt idx="11571">
                  <c:v>#N/A</c:v>
                </c:pt>
                <c:pt idx="11572">
                  <c:v>#N/A</c:v>
                </c:pt>
                <c:pt idx="11573">
                  <c:v>#N/A</c:v>
                </c:pt>
                <c:pt idx="11574">
                  <c:v>#N/A</c:v>
                </c:pt>
                <c:pt idx="11575">
                  <c:v>#N/A</c:v>
                </c:pt>
                <c:pt idx="11576">
                  <c:v>#N/A</c:v>
                </c:pt>
                <c:pt idx="11577">
                  <c:v>#N/A</c:v>
                </c:pt>
                <c:pt idx="11578">
                  <c:v>#N/A</c:v>
                </c:pt>
                <c:pt idx="11579">
                  <c:v>#N/A</c:v>
                </c:pt>
                <c:pt idx="11580">
                  <c:v>#N/A</c:v>
                </c:pt>
                <c:pt idx="11581">
                  <c:v>#N/A</c:v>
                </c:pt>
                <c:pt idx="11582">
                  <c:v>#N/A</c:v>
                </c:pt>
                <c:pt idx="11583">
                  <c:v>#N/A</c:v>
                </c:pt>
                <c:pt idx="11584">
                  <c:v>#N/A</c:v>
                </c:pt>
                <c:pt idx="11585">
                  <c:v>#N/A</c:v>
                </c:pt>
                <c:pt idx="11586">
                  <c:v>#N/A</c:v>
                </c:pt>
                <c:pt idx="11587">
                  <c:v>#N/A</c:v>
                </c:pt>
                <c:pt idx="11588">
                  <c:v>#N/A</c:v>
                </c:pt>
                <c:pt idx="11589">
                  <c:v>#N/A</c:v>
                </c:pt>
                <c:pt idx="11590">
                  <c:v>#N/A</c:v>
                </c:pt>
                <c:pt idx="11591">
                  <c:v>#N/A</c:v>
                </c:pt>
                <c:pt idx="11592">
                  <c:v>#N/A</c:v>
                </c:pt>
                <c:pt idx="11593">
                  <c:v>#N/A</c:v>
                </c:pt>
                <c:pt idx="11594">
                  <c:v>#N/A</c:v>
                </c:pt>
                <c:pt idx="11595">
                  <c:v>#N/A</c:v>
                </c:pt>
                <c:pt idx="11596">
                  <c:v>#N/A</c:v>
                </c:pt>
                <c:pt idx="11597">
                  <c:v>#N/A</c:v>
                </c:pt>
                <c:pt idx="11598">
                  <c:v>#N/A</c:v>
                </c:pt>
                <c:pt idx="11599">
                  <c:v>#N/A</c:v>
                </c:pt>
                <c:pt idx="11600">
                  <c:v>#N/A</c:v>
                </c:pt>
                <c:pt idx="11601">
                  <c:v>#N/A</c:v>
                </c:pt>
                <c:pt idx="11602">
                  <c:v>#N/A</c:v>
                </c:pt>
                <c:pt idx="11603">
                  <c:v>#N/A</c:v>
                </c:pt>
                <c:pt idx="11604">
                  <c:v>#N/A</c:v>
                </c:pt>
                <c:pt idx="11605">
                  <c:v>#N/A</c:v>
                </c:pt>
                <c:pt idx="11606">
                  <c:v>#N/A</c:v>
                </c:pt>
                <c:pt idx="11607">
                  <c:v>#N/A</c:v>
                </c:pt>
                <c:pt idx="11608">
                  <c:v>#N/A</c:v>
                </c:pt>
                <c:pt idx="11609">
                  <c:v>#N/A</c:v>
                </c:pt>
                <c:pt idx="11610">
                  <c:v>#N/A</c:v>
                </c:pt>
                <c:pt idx="11611">
                  <c:v>#N/A</c:v>
                </c:pt>
                <c:pt idx="11612">
                  <c:v>#N/A</c:v>
                </c:pt>
                <c:pt idx="11613">
                  <c:v>#N/A</c:v>
                </c:pt>
                <c:pt idx="11614">
                  <c:v>#N/A</c:v>
                </c:pt>
                <c:pt idx="11615">
                  <c:v>#N/A</c:v>
                </c:pt>
                <c:pt idx="11616">
                  <c:v>#N/A</c:v>
                </c:pt>
                <c:pt idx="11617">
                  <c:v>#N/A</c:v>
                </c:pt>
                <c:pt idx="11618">
                  <c:v>#N/A</c:v>
                </c:pt>
                <c:pt idx="11619">
                  <c:v>#N/A</c:v>
                </c:pt>
                <c:pt idx="11620">
                  <c:v>#N/A</c:v>
                </c:pt>
                <c:pt idx="11621">
                  <c:v>#N/A</c:v>
                </c:pt>
                <c:pt idx="11622">
                  <c:v>#N/A</c:v>
                </c:pt>
                <c:pt idx="11623">
                  <c:v>#N/A</c:v>
                </c:pt>
                <c:pt idx="11624">
                  <c:v>#N/A</c:v>
                </c:pt>
                <c:pt idx="11625">
                  <c:v>#N/A</c:v>
                </c:pt>
                <c:pt idx="11626">
                  <c:v>#N/A</c:v>
                </c:pt>
                <c:pt idx="11627">
                  <c:v>#N/A</c:v>
                </c:pt>
                <c:pt idx="11628">
                  <c:v>#N/A</c:v>
                </c:pt>
                <c:pt idx="11629">
                  <c:v>#N/A</c:v>
                </c:pt>
                <c:pt idx="11630">
                  <c:v>#N/A</c:v>
                </c:pt>
                <c:pt idx="11631">
                  <c:v>#N/A</c:v>
                </c:pt>
                <c:pt idx="11632">
                  <c:v>#N/A</c:v>
                </c:pt>
                <c:pt idx="11633">
                  <c:v>#N/A</c:v>
                </c:pt>
                <c:pt idx="11634">
                  <c:v>#N/A</c:v>
                </c:pt>
                <c:pt idx="11635">
                  <c:v>#N/A</c:v>
                </c:pt>
                <c:pt idx="11636">
                  <c:v>#N/A</c:v>
                </c:pt>
                <c:pt idx="11637">
                  <c:v>#N/A</c:v>
                </c:pt>
                <c:pt idx="11638">
                  <c:v>#N/A</c:v>
                </c:pt>
                <c:pt idx="11639">
                  <c:v>#N/A</c:v>
                </c:pt>
                <c:pt idx="11640">
                  <c:v>#N/A</c:v>
                </c:pt>
                <c:pt idx="11641">
                  <c:v>#N/A</c:v>
                </c:pt>
                <c:pt idx="11642">
                  <c:v>#N/A</c:v>
                </c:pt>
                <c:pt idx="11643">
                  <c:v>#N/A</c:v>
                </c:pt>
                <c:pt idx="11644">
                  <c:v>#N/A</c:v>
                </c:pt>
                <c:pt idx="11645">
                  <c:v>#N/A</c:v>
                </c:pt>
                <c:pt idx="11646">
                  <c:v>#N/A</c:v>
                </c:pt>
                <c:pt idx="11647">
                  <c:v>#N/A</c:v>
                </c:pt>
                <c:pt idx="11648">
                  <c:v>#N/A</c:v>
                </c:pt>
                <c:pt idx="11649">
                  <c:v>#N/A</c:v>
                </c:pt>
                <c:pt idx="11650">
                  <c:v>#N/A</c:v>
                </c:pt>
                <c:pt idx="11651">
                  <c:v>#N/A</c:v>
                </c:pt>
                <c:pt idx="11652">
                  <c:v>#N/A</c:v>
                </c:pt>
                <c:pt idx="11653">
                  <c:v>#N/A</c:v>
                </c:pt>
                <c:pt idx="11654">
                  <c:v>#N/A</c:v>
                </c:pt>
                <c:pt idx="11655">
                  <c:v>#N/A</c:v>
                </c:pt>
                <c:pt idx="11656">
                  <c:v>#N/A</c:v>
                </c:pt>
                <c:pt idx="11657">
                  <c:v>#N/A</c:v>
                </c:pt>
                <c:pt idx="11658">
                  <c:v>#N/A</c:v>
                </c:pt>
                <c:pt idx="11659">
                  <c:v>#N/A</c:v>
                </c:pt>
                <c:pt idx="11660">
                  <c:v>#N/A</c:v>
                </c:pt>
                <c:pt idx="11661">
                  <c:v>#N/A</c:v>
                </c:pt>
                <c:pt idx="11662">
                  <c:v>#N/A</c:v>
                </c:pt>
                <c:pt idx="11663">
                  <c:v>#N/A</c:v>
                </c:pt>
                <c:pt idx="11664">
                  <c:v>#N/A</c:v>
                </c:pt>
                <c:pt idx="11665">
                  <c:v>#N/A</c:v>
                </c:pt>
                <c:pt idx="11666">
                  <c:v>#N/A</c:v>
                </c:pt>
                <c:pt idx="11667">
                  <c:v>#N/A</c:v>
                </c:pt>
                <c:pt idx="11668">
                  <c:v>#N/A</c:v>
                </c:pt>
                <c:pt idx="11669">
                  <c:v>#N/A</c:v>
                </c:pt>
                <c:pt idx="11670">
                  <c:v>#N/A</c:v>
                </c:pt>
                <c:pt idx="11671">
                  <c:v>#N/A</c:v>
                </c:pt>
                <c:pt idx="11672">
                  <c:v>#N/A</c:v>
                </c:pt>
                <c:pt idx="11673">
                  <c:v>#N/A</c:v>
                </c:pt>
                <c:pt idx="11674">
                  <c:v>#N/A</c:v>
                </c:pt>
                <c:pt idx="11675">
                  <c:v>#N/A</c:v>
                </c:pt>
                <c:pt idx="11676">
                  <c:v>#N/A</c:v>
                </c:pt>
                <c:pt idx="11677">
                  <c:v>#N/A</c:v>
                </c:pt>
                <c:pt idx="11678">
                  <c:v>#N/A</c:v>
                </c:pt>
                <c:pt idx="11679">
                  <c:v>#N/A</c:v>
                </c:pt>
                <c:pt idx="11680">
                  <c:v>#N/A</c:v>
                </c:pt>
                <c:pt idx="11681">
                  <c:v>#N/A</c:v>
                </c:pt>
                <c:pt idx="11682">
                  <c:v>#N/A</c:v>
                </c:pt>
                <c:pt idx="11683">
                  <c:v>#N/A</c:v>
                </c:pt>
                <c:pt idx="11684">
                  <c:v>#N/A</c:v>
                </c:pt>
                <c:pt idx="11685">
                  <c:v>#N/A</c:v>
                </c:pt>
                <c:pt idx="11686">
                  <c:v>#N/A</c:v>
                </c:pt>
                <c:pt idx="11687">
                  <c:v>#N/A</c:v>
                </c:pt>
                <c:pt idx="11688">
                  <c:v>#N/A</c:v>
                </c:pt>
                <c:pt idx="11689">
                  <c:v>#N/A</c:v>
                </c:pt>
                <c:pt idx="11690">
                  <c:v>#N/A</c:v>
                </c:pt>
                <c:pt idx="11691">
                  <c:v>#N/A</c:v>
                </c:pt>
                <c:pt idx="11692">
                  <c:v>#N/A</c:v>
                </c:pt>
                <c:pt idx="11693">
                  <c:v>#N/A</c:v>
                </c:pt>
                <c:pt idx="11694">
                  <c:v>#N/A</c:v>
                </c:pt>
                <c:pt idx="11695">
                  <c:v>#N/A</c:v>
                </c:pt>
                <c:pt idx="11696">
                  <c:v>#N/A</c:v>
                </c:pt>
                <c:pt idx="11697">
                  <c:v>#N/A</c:v>
                </c:pt>
                <c:pt idx="11698">
                  <c:v>#N/A</c:v>
                </c:pt>
                <c:pt idx="11699">
                  <c:v>#N/A</c:v>
                </c:pt>
                <c:pt idx="11700">
                  <c:v>#N/A</c:v>
                </c:pt>
                <c:pt idx="11701">
                  <c:v>#N/A</c:v>
                </c:pt>
                <c:pt idx="11702">
                  <c:v>#N/A</c:v>
                </c:pt>
                <c:pt idx="11703">
                  <c:v>#N/A</c:v>
                </c:pt>
                <c:pt idx="11704">
                  <c:v>#N/A</c:v>
                </c:pt>
                <c:pt idx="11705">
                  <c:v>#N/A</c:v>
                </c:pt>
                <c:pt idx="11706">
                  <c:v>#N/A</c:v>
                </c:pt>
                <c:pt idx="11707">
                  <c:v>#N/A</c:v>
                </c:pt>
                <c:pt idx="11708">
                  <c:v>#N/A</c:v>
                </c:pt>
                <c:pt idx="11709">
                  <c:v>#N/A</c:v>
                </c:pt>
                <c:pt idx="11710">
                  <c:v>#N/A</c:v>
                </c:pt>
                <c:pt idx="11711">
                  <c:v>#N/A</c:v>
                </c:pt>
                <c:pt idx="11712">
                  <c:v>#N/A</c:v>
                </c:pt>
                <c:pt idx="11713">
                  <c:v>#N/A</c:v>
                </c:pt>
                <c:pt idx="11714">
                  <c:v>#N/A</c:v>
                </c:pt>
                <c:pt idx="11715">
                  <c:v>#N/A</c:v>
                </c:pt>
                <c:pt idx="11716">
                  <c:v>#N/A</c:v>
                </c:pt>
                <c:pt idx="11717">
                  <c:v>#N/A</c:v>
                </c:pt>
                <c:pt idx="11718">
                  <c:v>#N/A</c:v>
                </c:pt>
                <c:pt idx="11719">
                  <c:v>#N/A</c:v>
                </c:pt>
                <c:pt idx="11720">
                  <c:v>#N/A</c:v>
                </c:pt>
                <c:pt idx="11721">
                  <c:v>#N/A</c:v>
                </c:pt>
                <c:pt idx="11722">
                  <c:v>#N/A</c:v>
                </c:pt>
                <c:pt idx="11723">
                  <c:v>#N/A</c:v>
                </c:pt>
                <c:pt idx="11724">
                  <c:v>#N/A</c:v>
                </c:pt>
                <c:pt idx="11725">
                  <c:v>#N/A</c:v>
                </c:pt>
                <c:pt idx="11726">
                  <c:v>#N/A</c:v>
                </c:pt>
                <c:pt idx="11727">
                  <c:v>#N/A</c:v>
                </c:pt>
                <c:pt idx="11728">
                  <c:v>#N/A</c:v>
                </c:pt>
                <c:pt idx="11729">
                  <c:v>#N/A</c:v>
                </c:pt>
                <c:pt idx="11730">
                  <c:v>#N/A</c:v>
                </c:pt>
                <c:pt idx="11731">
                  <c:v>#N/A</c:v>
                </c:pt>
                <c:pt idx="11732">
                  <c:v>#N/A</c:v>
                </c:pt>
                <c:pt idx="11733">
                  <c:v>#N/A</c:v>
                </c:pt>
                <c:pt idx="11734">
                  <c:v>#N/A</c:v>
                </c:pt>
                <c:pt idx="11735">
                  <c:v>#N/A</c:v>
                </c:pt>
                <c:pt idx="11736">
                  <c:v>#N/A</c:v>
                </c:pt>
                <c:pt idx="11737">
                  <c:v>#N/A</c:v>
                </c:pt>
                <c:pt idx="11738">
                  <c:v>#N/A</c:v>
                </c:pt>
                <c:pt idx="11739">
                  <c:v>#N/A</c:v>
                </c:pt>
                <c:pt idx="11740">
                  <c:v>#N/A</c:v>
                </c:pt>
                <c:pt idx="11741">
                  <c:v>#N/A</c:v>
                </c:pt>
                <c:pt idx="11742">
                  <c:v>#N/A</c:v>
                </c:pt>
                <c:pt idx="11743">
                  <c:v>#N/A</c:v>
                </c:pt>
                <c:pt idx="11744">
                  <c:v>#N/A</c:v>
                </c:pt>
                <c:pt idx="11745">
                  <c:v>#N/A</c:v>
                </c:pt>
                <c:pt idx="11746">
                  <c:v>#N/A</c:v>
                </c:pt>
                <c:pt idx="11747">
                  <c:v>#N/A</c:v>
                </c:pt>
                <c:pt idx="11748">
                  <c:v>#N/A</c:v>
                </c:pt>
                <c:pt idx="11749">
                  <c:v>#N/A</c:v>
                </c:pt>
                <c:pt idx="11750">
                  <c:v>#N/A</c:v>
                </c:pt>
                <c:pt idx="11751">
                  <c:v>#N/A</c:v>
                </c:pt>
                <c:pt idx="11752">
                  <c:v>#N/A</c:v>
                </c:pt>
                <c:pt idx="11753">
                  <c:v>#N/A</c:v>
                </c:pt>
                <c:pt idx="11754">
                  <c:v>#N/A</c:v>
                </c:pt>
                <c:pt idx="11755">
                  <c:v>#N/A</c:v>
                </c:pt>
                <c:pt idx="11756">
                  <c:v>#N/A</c:v>
                </c:pt>
                <c:pt idx="11757">
                  <c:v>#N/A</c:v>
                </c:pt>
                <c:pt idx="11758">
                  <c:v>#N/A</c:v>
                </c:pt>
                <c:pt idx="11759">
                  <c:v>#N/A</c:v>
                </c:pt>
                <c:pt idx="11760">
                  <c:v>#N/A</c:v>
                </c:pt>
                <c:pt idx="11761">
                  <c:v>#N/A</c:v>
                </c:pt>
                <c:pt idx="11762">
                  <c:v>#N/A</c:v>
                </c:pt>
                <c:pt idx="11763">
                  <c:v>#N/A</c:v>
                </c:pt>
                <c:pt idx="11764">
                  <c:v>#N/A</c:v>
                </c:pt>
                <c:pt idx="11765">
                  <c:v>#N/A</c:v>
                </c:pt>
                <c:pt idx="11766">
                  <c:v>#N/A</c:v>
                </c:pt>
                <c:pt idx="11767">
                  <c:v>#N/A</c:v>
                </c:pt>
                <c:pt idx="11768">
                  <c:v>#N/A</c:v>
                </c:pt>
                <c:pt idx="11769">
                  <c:v>#N/A</c:v>
                </c:pt>
                <c:pt idx="11770">
                  <c:v>#N/A</c:v>
                </c:pt>
                <c:pt idx="11771">
                  <c:v>#N/A</c:v>
                </c:pt>
                <c:pt idx="11772">
                  <c:v>#N/A</c:v>
                </c:pt>
                <c:pt idx="11773">
                  <c:v>#N/A</c:v>
                </c:pt>
                <c:pt idx="11774">
                  <c:v>#N/A</c:v>
                </c:pt>
                <c:pt idx="11775">
                  <c:v>#N/A</c:v>
                </c:pt>
                <c:pt idx="11776">
                  <c:v>#N/A</c:v>
                </c:pt>
                <c:pt idx="11777">
                  <c:v>#N/A</c:v>
                </c:pt>
                <c:pt idx="11778">
                  <c:v>#N/A</c:v>
                </c:pt>
                <c:pt idx="11779">
                  <c:v>#N/A</c:v>
                </c:pt>
                <c:pt idx="11780">
                  <c:v>#N/A</c:v>
                </c:pt>
                <c:pt idx="11781">
                  <c:v>#N/A</c:v>
                </c:pt>
                <c:pt idx="11782">
                  <c:v>#N/A</c:v>
                </c:pt>
                <c:pt idx="11783">
                  <c:v>#N/A</c:v>
                </c:pt>
                <c:pt idx="11784">
                  <c:v>#N/A</c:v>
                </c:pt>
                <c:pt idx="11785">
                  <c:v>#N/A</c:v>
                </c:pt>
                <c:pt idx="11786">
                  <c:v>#N/A</c:v>
                </c:pt>
                <c:pt idx="11787">
                  <c:v>#N/A</c:v>
                </c:pt>
                <c:pt idx="11788">
                  <c:v>#N/A</c:v>
                </c:pt>
                <c:pt idx="11789">
                  <c:v>#N/A</c:v>
                </c:pt>
                <c:pt idx="11790">
                  <c:v>#N/A</c:v>
                </c:pt>
                <c:pt idx="11791">
                  <c:v>#N/A</c:v>
                </c:pt>
                <c:pt idx="11792">
                  <c:v>#N/A</c:v>
                </c:pt>
                <c:pt idx="11793">
                  <c:v>#N/A</c:v>
                </c:pt>
                <c:pt idx="11794">
                  <c:v>#N/A</c:v>
                </c:pt>
                <c:pt idx="11795">
                  <c:v>#N/A</c:v>
                </c:pt>
                <c:pt idx="11796">
                  <c:v>#N/A</c:v>
                </c:pt>
                <c:pt idx="11797">
                  <c:v>#N/A</c:v>
                </c:pt>
                <c:pt idx="11798">
                  <c:v>#N/A</c:v>
                </c:pt>
                <c:pt idx="11799">
                  <c:v>#N/A</c:v>
                </c:pt>
                <c:pt idx="11800">
                  <c:v>#N/A</c:v>
                </c:pt>
                <c:pt idx="11801">
                  <c:v>#N/A</c:v>
                </c:pt>
                <c:pt idx="11802">
                  <c:v>#N/A</c:v>
                </c:pt>
                <c:pt idx="11803">
                  <c:v>#N/A</c:v>
                </c:pt>
                <c:pt idx="11804">
                  <c:v>#N/A</c:v>
                </c:pt>
                <c:pt idx="11805">
                  <c:v>#N/A</c:v>
                </c:pt>
                <c:pt idx="11806">
                  <c:v>#N/A</c:v>
                </c:pt>
                <c:pt idx="11807">
                  <c:v>#N/A</c:v>
                </c:pt>
                <c:pt idx="11808">
                  <c:v>#N/A</c:v>
                </c:pt>
                <c:pt idx="11809">
                  <c:v>#N/A</c:v>
                </c:pt>
                <c:pt idx="11810">
                  <c:v>#N/A</c:v>
                </c:pt>
                <c:pt idx="11811">
                  <c:v>#N/A</c:v>
                </c:pt>
                <c:pt idx="11812">
                  <c:v>#N/A</c:v>
                </c:pt>
                <c:pt idx="11813">
                  <c:v>#N/A</c:v>
                </c:pt>
                <c:pt idx="11814">
                  <c:v>#N/A</c:v>
                </c:pt>
                <c:pt idx="11815">
                  <c:v>#N/A</c:v>
                </c:pt>
                <c:pt idx="11816">
                  <c:v>#N/A</c:v>
                </c:pt>
                <c:pt idx="11817">
                  <c:v>#N/A</c:v>
                </c:pt>
                <c:pt idx="11818">
                  <c:v>#N/A</c:v>
                </c:pt>
                <c:pt idx="11819">
                  <c:v>#N/A</c:v>
                </c:pt>
                <c:pt idx="11820">
                  <c:v>#N/A</c:v>
                </c:pt>
                <c:pt idx="11821">
                  <c:v>#N/A</c:v>
                </c:pt>
                <c:pt idx="11822">
                  <c:v>#N/A</c:v>
                </c:pt>
                <c:pt idx="11823">
                  <c:v>#N/A</c:v>
                </c:pt>
                <c:pt idx="11824">
                  <c:v>#N/A</c:v>
                </c:pt>
                <c:pt idx="11825">
                  <c:v>#N/A</c:v>
                </c:pt>
                <c:pt idx="11826">
                  <c:v>#N/A</c:v>
                </c:pt>
                <c:pt idx="11827">
                  <c:v>#N/A</c:v>
                </c:pt>
                <c:pt idx="11828">
                  <c:v>#N/A</c:v>
                </c:pt>
                <c:pt idx="11829">
                  <c:v>#N/A</c:v>
                </c:pt>
                <c:pt idx="11830">
                  <c:v>#N/A</c:v>
                </c:pt>
                <c:pt idx="11831">
                  <c:v>#N/A</c:v>
                </c:pt>
                <c:pt idx="11832">
                  <c:v>#N/A</c:v>
                </c:pt>
                <c:pt idx="11833">
                  <c:v>#N/A</c:v>
                </c:pt>
                <c:pt idx="11834">
                  <c:v>#N/A</c:v>
                </c:pt>
                <c:pt idx="11835">
                  <c:v>#N/A</c:v>
                </c:pt>
                <c:pt idx="11836">
                  <c:v>#N/A</c:v>
                </c:pt>
                <c:pt idx="11837">
                  <c:v>#N/A</c:v>
                </c:pt>
                <c:pt idx="11838">
                  <c:v>#N/A</c:v>
                </c:pt>
                <c:pt idx="11839">
                  <c:v>#N/A</c:v>
                </c:pt>
                <c:pt idx="11840">
                  <c:v>#N/A</c:v>
                </c:pt>
                <c:pt idx="11841">
                  <c:v>#N/A</c:v>
                </c:pt>
                <c:pt idx="11842">
                  <c:v>#N/A</c:v>
                </c:pt>
                <c:pt idx="11843">
                  <c:v>#N/A</c:v>
                </c:pt>
                <c:pt idx="11844">
                  <c:v>#N/A</c:v>
                </c:pt>
                <c:pt idx="11845">
                  <c:v>#N/A</c:v>
                </c:pt>
                <c:pt idx="11846">
                  <c:v>#N/A</c:v>
                </c:pt>
                <c:pt idx="11847">
                  <c:v>#N/A</c:v>
                </c:pt>
                <c:pt idx="11848">
                  <c:v>#N/A</c:v>
                </c:pt>
                <c:pt idx="11849">
                  <c:v>#N/A</c:v>
                </c:pt>
                <c:pt idx="11850">
                  <c:v>#N/A</c:v>
                </c:pt>
                <c:pt idx="11851">
                  <c:v>#N/A</c:v>
                </c:pt>
                <c:pt idx="11852">
                  <c:v>#N/A</c:v>
                </c:pt>
                <c:pt idx="11853">
                  <c:v>#N/A</c:v>
                </c:pt>
                <c:pt idx="11854">
                  <c:v>#N/A</c:v>
                </c:pt>
                <c:pt idx="11855">
                  <c:v>#N/A</c:v>
                </c:pt>
                <c:pt idx="11856">
                  <c:v>#N/A</c:v>
                </c:pt>
                <c:pt idx="11857">
                  <c:v>#N/A</c:v>
                </c:pt>
                <c:pt idx="11858">
                  <c:v>#N/A</c:v>
                </c:pt>
                <c:pt idx="11859">
                  <c:v>#N/A</c:v>
                </c:pt>
                <c:pt idx="11860">
                  <c:v>#N/A</c:v>
                </c:pt>
                <c:pt idx="11861">
                  <c:v>#N/A</c:v>
                </c:pt>
                <c:pt idx="11862">
                  <c:v>#N/A</c:v>
                </c:pt>
                <c:pt idx="11863">
                  <c:v>#N/A</c:v>
                </c:pt>
                <c:pt idx="11864">
                  <c:v>#N/A</c:v>
                </c:pt>
                <c:pt idx="11865">
                  <c:v>#N/A</c:v>
                </c:pt>
                <c:pt idx="11866">
                  <c:v>#N/A</c:v>
                </c:pt>
                <c:pt idx="11867">
                  <c:v>#N/A</c:v>
                </c:pt>
                <c:pt idx="11868">
                  <c:v>#N/A</c:v>
                </c:pt>
                <c:pt idx="11869">
                  <c:v>#N/A</c:v>
                </c:pt>
                <c:pt idx="11870">
                  <c:v>#N/A</c:v>
                </c:pt>
                <c:pt idx="11871">
                  <c:v>#N/A</c:v>
                </c:pt>
                <c:pt idx="11872">
                  <c:v>#N/A</c:v>
                </c:pt>
                <c:pt idx="11873">
                  <c:v>#N/A</c:v>
                </c:pt>
                <c:pt idx="11874">
                  <c:v>#N/A</c:v>
                </c:pt>
                <c:pt idx="11875">
                  <c:v>#N/A</c:v>
                </c:pt>
                <c:pt idx="11876">
                  <c:v>#N/A</c:v>
                </c:pt>
                <c:pt idx="11877">
                  <c:v>#N/A</c:v>
                </c:pt>
                <c:pt idx="11878">
                  <c:v>#N/A</c:v>
                </c:pt>
                <c:pt idx="11879">
                  <c:v>#N/A</c:v>
                </c:pt>
                <c:pt idx="11880">
                  <c:v>#N/A</c:v>
                </c:pt>
                <c:pt idx="11881">
                  <c:v>#N/A</c:v>
                </c:pt>
                <c:pt idx="11882">
                  <c:v>#N/A</c:v>
                </c:pt>
                <c:pt idx="11883">
                  <c:v>#N/A</c:v>
                </c:pt>
                <c:pt idx="11884">
                  <c:v>#N/A</c:v>
                </c:pt>
                <c:pt idx="11885">
                  <c:v>#N/A</c:v>
                </c:pt>
                <c:pt idx="11886">
                  <c:v>#N/A</c:v>
                </c:pt>
                <c:pt idx="11887">
                  <c:v>#N/A</c:v>
                </c:pt>
                <c:pt idx="11888">
                  <c:v>#N/A</c:v>
                </c:pt>
                <c:pt idx="11889">
                  <c:v>#N/A</c:v>
                </c:pt>
                <c:pt idx="11890">
                  <c:v>#N/A</c:v>
                </c:pt>
                <c:pt idx="11891">
                  <c:v>#N/A</c:v>
                </c:pt>
                <c:pt idx="11892">
                  <c:v>#N/A</c:v>
                </c:pt>
                <c:pt idx="11893">
                  <c:v>#N/A</c:v>
                </c:pt>
                <c:pt idx="11894">
                  <c:v>#N/A</c:v>
                </c:pt>
                <c:pt idx="11895">
                  <c:v>#N/A</c:v>
                </c:pt>
                <c:pt idx="11896">
                  <c:v>#N/A</c:v>
                </c:pt>
                <c:pt idx="11897">
                  <c:v>#N/A</c:v>
                </c:pt>
                <c:pt idx="11898">
                  <c:v>#N/A</c:v>
                </c:pt>
                <c:pt idx="11899">
                  <c:v>#N/A</c:v>
                </c:pt>
                <c:pt idx="11900">
                  <c:v>#N/A</c:v>
                </c:pt>
                <c:pt idx="11901">
                  <c:v>#N/A</c:v>
                </c:pt>
                <c:pt idx="11902">
                  <c:v>#N/A</c:v>
                </c:pt>
                <c:pt idx="11903">
                  <c:v>#N/A</c:v>
                </c:pt>
                <c:pt idx="11904">
                  <c:v>#N/A</c:v>
                </c:pt>
                <c:pt idx="11905">
                  <c:v>#N/A</c:v>
                </c:pt>
                <c:pt idx="11906">
                  <c:v>#N/A</c:v>
                </c:pt>
                <c:pt idx="11907">
                  <c:v>#N/A</c:v>
                </c:pt>
                <c:pt idx="11908">
                  <c:v>#N/A</c:v>
                </c:pt>
                <c:pt idx="11909">
                  <c:v>#N/A</c:v>
                </c:pt>
                <c:pt idx="11910">
                  <c:v>#N/A</c:v>
                </c:pt>
                <c:pt idx="11911">
                  <c:v>#N/A</c:v>
                </c:pt>
                <c:pt idx="11912">
                  <c:v>#N/A</c:v>
                </c:pt>
                <c:pt idx="11913">
                  <c:v>#N/A</c:v>
                </c:pt>
                <c:pt idx="11914">
                  <c:v>#N/A</c:v>
                </c:pt>
                <c:pt idx="11915">
                  <c:v>#N/A</c:v>
                </c:pt>
                <c:pt idx="11916">
                  <c:v>#N/A</c:v>
                </c:pt>
                <c:pt idx="11917">
                  <c:v>#N/A</c:v>
                </c:pt>
                <c:pt idx="11918">
                  <c:v>#N/A</c:v>
                </c:pt>
                <c:pt idx="11919">
                  <c:v>#N/A</c:v>
                </c:pt>
                <c:pt idx="11920">
                  <c:v>#N/A</c:v>
                </c:pt>
                <c:pt idx="11921">
                  <c:v>#N/A</c:v>
                </c:pt>
                <c:pt idx="11922">
                  <c:v>#N/A</c:v>
                </c:pt>
                <c:pt idx="11923">
                  <c:v>#N/A</c:v>
                </c:pt>
                <c:pt idx="11924">
                  <c:v>#N/A</c:v>
                </c:pt>
                <c:pt idx="11925">
                  <c:v>#N/A</c:v>
                </c:pt>
                <c:pt idx="11926">
                  <c:v>#N/A</c:v>
                </c:pt>
                <c:pt idx="11927">
                  <c:v>#N/A</c:v>
                </c:pt>
                <c:pt idx="11928">
                  <c:v>#N/A</c:v>
                </c:pt>
                <c:pt idx="11929">
                  <c:v>#N/A</c:v>
                </c:pt>
                <c:pt idx="11930">
                  <c:v>#N/A</c:v>
                </c:pt>
                <c:pt idx="11931">
                  <c:v>#N/A</c:v>
                </c:pt>
                <c:pt idx="11932">
                  <c:v>#N/A</c:v>
                </c:pt>
                <c:pt idx="11933">
                  <c:v>#N/A</c:v>
                </c:pt>
                <c:pt idx="11934">
                  <c:v>#N/A</c:v>
                </c:pt>
                <c:pt idx="11935">
                  <c:v>#N/A</c:v>
                </c:pt>
                <c:pt idx="11936">
                  <c:v>#N/A</c:v>
                </c:pt>
                <c:pt idx="11937">
                  <c:v>#N/A</c:v>
                </c:pt>
                <c:pt idx="11938">
                  <c:v>#N/A</c:v>
                </c:pt>
                <c:pt idx="11939">
                  <c:v>#N/A</c:v>
                </c:pt>
                <c:pt idx="11940">
                  <c:v>#N/A</c:v>
                </c:pt>
                <c:pt idx="11941">
                  <c:v>#N/A</c:v>
                </c:pt>
                <c:pt idx="11942">
                  <c:v>#N/A</c:v>
                </c:pt>
                <c:pt idx="11943">
                  <c:v>#N/A</c:v>
                </c:pt>
                <c:pt idx="11944">
                  <c:v>#N/A</c:v>
                </c:pt>
                <c:pt idx="11945">
                  <c:v>#N/A</c:v>
                </c:pt>
                <c:pt idx="11946">
                  <c:v>#N/A</c:v>
                </c:pt>
                <c:pt idx="11947">
                  <c:v>#N/A</c:v>
                </c:pt>
                <c:pt idx="11948">
                  <c:v>#N/A</c:v>
                </c:pt>
                <c:pt idx="11949">
                  <c:v>#N/A</c:v>
                </c:pt>
                <c:pt idx="11950">
                  <c:v>#N/A</c:v>
                </c:pt>
                <c:pt idx="11951">
                  <c:v>#N/A</c:v>
                </c:pt>
                <c:pt idx="11952">
                  <c:v>#N/A</c:v>
                </c:pt>
                <c:pt idx="11953">
                  <c:v>#N/A</c:v>
                </c:pt>
                <c:pt idx="11954">
                  <c:v>#N/A</c:v>
                </c:pt>
                <c:pt idx="11955">
                  <c:v>#N/A</c:v>
                </c:pt>
                <c:pt idx="11956">
                  <c:v>#N/A</c:v>
                </c:pt>
                <c:pt idx="11957">
                  <c:v>#N/A</c:v>
                </c:pt>
                <c:pt idx="11958">
                  <c:v>#N/A</c:v>
                </c:pt>
                <c:pt idx="11959">
                  <c:v>#N/A</c:v>
                </c:pt>
                <c:pt idx="11960">
                  <c:v>#N/A</c:v>
                </c:pt>
                <c:pt idx="11961">
                  <c:v>#N/A</c:v>
                </c:pt>
                <c:pt idx="11962">
                  <c:v>#N/A</c:v>
                </c:pt>
                <c:pt idx="11963">
                  <c:v>#N/A</c:v>
                </c:pt>
                <c:pt idx="11964">
                  <c:v>#N/A</c:v>
                </c:pt>
                <c:pt idx="11965">
                  <c:v>#N/A</c:v>
                </c:pt>
                <c:pt idx="11966">
                  <c:v>#N/A</c:v>
                </c:pt>
                <c:pt idx="11967">
                  <c:v>#N/A</c:v>
                </c:pt>
                <c:pt idx="11968">
                  <c:v>#N/A</c:v>
                </c:pt>
                <c:pt idx="11969">
                  <c:v>#N/A</c:v>
                </c:pt>
                <c:pt idx="11970">
                  <c:v>#N/A</c:v>
                </c:pt>
                <c:pt idx="11971">
                  <c:v>#N/A</c:v>
                </c:pt>
                <c:pt idx="11972">
                  <c:v>#N/A</c:v>
                </c:pt>
                <c:pt idx="11973">
                  <c:v>#N/A</c:v>
                </c:pt>
                <c:pt idx="11974">
                  <c:v>#N/A</c:v>
                </c:pt>
                <c:pt idx="11975">
                  <c:v>#N/A</c:v>
                </c:pt>
                <c:pt idx="11976">
                  <c:v>#N/A</c:v>
                </c:pt>
                <c:pt idx="11977">
                  <c:v>#N/A</c:v>
                </c:pt>
                <c:pt idx="11978">
                  <c:v>#N/A</c:v>
                </c:pt>
                <c:pt idx="11979">
                  <c:v>#N/A</c:v>
                </c:pt>
                <c:pt idx="11980">
                  <c:v>#N/A</c:v>
                </c:pt>
                <c:pt idx="11981">
                  <c:v>#N/A</c:v>
                </c:pt>
                <c:pt idx="11982">
                  <c:v>#N/A</c:v>
                </c:pt>
                <c:pt idx="11983">
                  <c:v>#N/A</c:v>
                </c:pt>
                <c:pt idx="11984">
                  <c:v>#N/A</c:v>
                </c:pt>
                <c:pt idx="11985">
                  <c:v>#N/A</c:v>
                </c:pt>
                <c:pt idx="11986">
                  <c:v>#N/A</c:v>
                </c:pt>
                <c:pt idx="11987">
                  <c:v>#N/A</c:v>
                </c:pt>
                <c:pt idx="11988">
                  <c:v>#N/A</c:v>
                </c:pt>
                <c:pt idx="11989">
                  <c:v>#N/A</c:v>
                </c:pt>
                <c:pt idx="11990">
                  <c:v>#N/A</c:v>
                </c:pt>
                <c:pt idx="11991">
                  <c:v>#N/A</c:v>
                </c:pt>
                <c:pt idx="11992">
                  <c:v>#N/A</c:v>
                </c:pt>
                <c:pt idx="11993">
                  <c:v>#N/A</c:v>
                </c:pt>
                <c:pt idx="11994">
                  <c:v>#N/A</c:v>
                </c:pt>
                <c:pt idx="11995">
                  <c:v>#N/A</c:v>
                </c:pt>
                <c:pt idx="11996">
                  <c:v>#N/A</c:v>
                </c:pt>
                <c:pt idx="11997">
                  <c:v>#N/A</c:v>
                </c:pt>
                <c:pt idx="11998">
                  <c:v>#N/A</c:v>
                </c:pt>
                <c:pt idx="11999">
                  <c:v>#N/A</c:v>
                </c:pt>
                <c:pt idx="12000">
                  <c:v>#N/A</c:v>
                </c:pt>
                <c:pt idx="12001">
                  <c:v>#N/A</c:v>
                </c:pt>
                <c:pt idx="12002">
                  <c:v>#N/A</c:v>
                </c:pt>
                <c:pt idx="12003">
                  <c:v>#N/A</c:v>
                </c:pt>
                <c:pt idx="12004">
                  <c:v>#N/A</c:v>
                </c:pt>
                <c:pt idx="12005">
                  <c:v>#N/A</c:v>
                </c:pt>
                <c:pt idx="12006">
                  <c:v>#N/A</c:v>
                </c:pt>
                <c:pt idx="12007">
                  <c:v>#N/A</c:v>
                </c:pt>
                <c:pt idx="12008">
                  <c:v>#N/A</c:v>
                </c:pt>
                <c:pt idx="12009">
                  <c:v>#N/A</c:v>
                </c:pt>
                <c:pt idx="12010">
                  <c:v>#N/A</c:v>
                </c:pt>
                <c:pt idx="12011">
                  <c:v>#N/A</c:v>
                </c:pt>
                <c:pt idx="12012">
                  <c:v>#N/A</c:v>
                </c:pt>
                <c:pt idx="12013">
                  <c:v>#N/A</c:v>
                </c:pt>
                <c:pt idx="12014">
                  <c:v>#N/A</c:v>
                </c:pt>
                <c:pt idx="12015">
                  <c:v>#N/A</c:v>
                </c:pt>
                <c:pt idx="12016">
                  <c:v>#N/A</c:v>
                </c:pt>
                <c:pt idx="12017">
                  <c:v>#N/A</c:v>
                </c:pt>
                <c:pt idx="12018">
                  <c:v>#N/A</c:v>
                </c:pt>
                <c:pt idx="12019">
                  <c:v>#N/A</c:v>
                </c:pt>
                <c:pt idx="12020">
                  <c:v>#N/A</c:v>
                </c:pt>
                <c:pt idx="12021">
                  <c:v>#N/A</c:v>
                </c:pt>
                <c:pt idx="12022">
                  <c:v>#N/A</c:v>
                </c:pt>
                <c:pt idx="12023">
                  <c:v>#N/A</c:v>
                </c:pt>
                <c:pt idx="12024">
                  <c:v>#N/A</c:v>
                </c:pt>
                <c:pt idx="12025">
                  <c:v>#N/A</c:v>
                </c:pt>
                <c:pt idx="12026">
                  <c:v>#N/A</c:v>
                </c:pt>
                <c:pt idx="12027">
                  <c:v>#N/A</c:v>
                </c:pt>
                <c:pt idx="12028">
                  <c:v>#N/A</c:v>
                </c:pt>
                <c:pt idx="12029">
                  <c:v>#N/A</c:v>
                </c:pt>
                <c:pt idx="12030">
                  <c:v>#N/A</c:v>
                </c:pt>
                <c:pt idx="12031">
                  <c:v>#N/A</c:v>
                </c:pt>
                <c:pt idx="12032">
                  <c:v>#N/A</c:v>
                </c:pt>
                <c:pt idx="12033">
                  <c:v>#N/A</c:v>
                </c:pt>
                <c:pt idx="12034">
                  <c:v>#N/A</c:v>
                </c:pt>
                <c:pt idx="12035">
                  <c:v>#N/A</c:v>
                </c:pt>
                <c:pt idx="12036">
                  <c:v>#N/A</c:v>
                </c:pt>
                <c:pt idx="12037">
                  <c:v>#N/A</c:v>
                </c:pt>
                <c:pt idx="12038">
                  <c:v>#N/A</c:v>
                </c:pt>
                <c:pt idx="12039">
                  <c:v>#N/A</c:v>
                </c:pt>
                <c:pt idx="12040">
                  <c:v>#N/A</c:v>
                </c:pt>
                <c:pt idx="12041">
                  <c:v>#N/A</c:v>
                </c:pt>
                <c:pt idx="12042">
                  <c:v>#N/A</c:v>
                </c:pt>
                <c:pt idx="12043">
                  <c:v>#N/A</c:v>
                </c:pt>
                <c:pt idx="12044">
                  <c:v>#N/A</c:v>
                </c:pt>
                <c:pt idx="12045">
                  <c:v>#N/A</c:v>
                </c:pt>
                <c:pt idx="12046">
                  <c:v>#N/A</c:v>
                </c:pt>
                <c:pt idx="12047">
                  <c:v>#N/A</c:v>
                </c:pt>
                <c:pt idx="12048">
                  <c:v>#N/A</c:v>
                </c:pt>
                <c:pt idx="12049">
                  <c:v>#N/A</c:v>
                </c:pt>
                <c:pt idx="12050">
                  <c:v>#N/A</c:v>
                </c:pt>
                <c:pt idx="12051">
                  <c:v>#N/A</c:v>
                </c:pt>
                <c:pt idx="12052">
                  <c:v>#N/A</c:v>
                </c:pt>
                <c:pt idx="12053">
                  <c:v>#N/A</c:v>
                </c:pt>
                <c:pt idx="12054">
                  <c:v>#N/A</c:v>
                </c:pt>
                <c:pt idx="12055">
                  <c:v>#N/A</c:v>
                </c:pt>
                <c:pt idx="12056">
                  <c:v>#N/A</c:v>
                </c:pt>
                <c:pt idx="12057">
                  <c:v>#N/A</c:v>
                </c:pt>
                <c:pt idx="12058">
                  <c:v>#N/A</c:v>
                </c:pt>
                <c:pt idx="12059">
                  <c:v>#N/A</c:v>
                </c:pt>
                <c:pt idx="12060">
                  <c:v>#N/A</c:v>
                </c:pt>
                <c:pt idx="12061">
                  <c:v>#N/A</c:v>
                </c:pt>
                <c:pt idx="12062">
                  <c:v>#N/A</c:v>
                </c:pt>
                <c:pt idx="12063">
                  <c:v>#N/A</c:v>
                </c:pt>
                <c:pt idx="12064">
                  <c:v>#N/A</c:v>
                </c:pt>
                <c:pt idx="12065">
                  <c:v>#N/A</c:v>
                </c:pt>
                <c:pt idx="12066">
                  <c:v>#N/A</c:v>
                </c:pt>
                <c:pt idx="12067">
                  <c:v>#N/A</c:v>
                </c:pt>
                <c:pt idx="12068">
                  <c:v>#N/A</c:v>
                </c:pt>
                <c:pt idx="12069">
                  <c:v>#N/A</c:v>
                </c:pt>
                <c:pt idx="12070">
                  <c:v>#N/A</c:v>
                </c:pt>
                <c:pt idx="12071">
                  <c:v>#N/A</c:v>
                </c:pt>
                <c:pt idx="12072">
                  <c:v>#N/A</c:v>
                </c:pt>
                <c:pt idx="12073">
                  <c:v>#N/A</c:v>
                </c:pt>
                <c:pt idx="12074">
                  <c:v>#N/A</c:v>
                </c:pt>
                <c:pt idx="12075">
                  <c:v>#N/A</c:v>
                </c:pt>
                <c:pt idx="12076">
                  <c:v>#N/A</c:v>
                </c:pt>
                <c:pt idx="12077">
                  <c:v>#N/A</c:v>
                </c:pt>
                <c:pt idx="12078">
                  <c:v>#N/A</c:v>
                </c:pt>
                <c:pt idx="12079">
                  <c:v>#N/A</c:v>
                </c:pt>
                <c:pt idx="12080">
                  <c:v>#N/A</c:v>
                </c:pt>
                <c:pt idx="12081">
                  <c:v>#N/A</c:v>
                </c:pt>
                <c:pt idx="12082">
                  <c:v>#N/A</c:v>
                </c:pt>
                <c:pt idx="12083">
                  <c:v>#N/A</c:v>
                </c:pt>
                <c:pt idx="12084">
                  <c:v>#N/A</c:v>
                </c:pt>
                <c:pt idx="12085">
                  <c:v>#N/A</c:v>
                </c:pt>
                <c:pt idx="12086">
                  <c:v>#N/A</c:v>
                </c:pt>
                <c:pt idx="12087">
                  <c:v>#N/A</c:v>
                </c:pt>
                <c:pt idx="12088">
                  <c:v>#N/A</c:v>
                </c:pt>
                <c:pt idx="12089">
                  <c:v>#N/A</c:v>
                </c:pt>
                <c:pt idx="12090">
                  <c:v>#N/A</c:v>
                </c:pt>
                <c:pt idx="12091">
                  <c:v>#N/A</c:v>
                </c:pt>
                <c:pt idx="12092">
                  <c:v>#N/A</c:v>
                </c:pt>
                <c:pt idx="12093">
                  <c:v>#N/A</c:v>
                </c:pt>
                <c:pt idx="12094">
                  <c:v>#N/A</c:v>
                </c:pt>
                <c:pt idx="12095">
                  <c:v>#N/A</c:v>
                </c:pt>
                <c:pt idx="12096">
                  <c:v>#N/A</c:v>
                </c:pt>
                <c:pt idx="12097">
                  <c:v>#N/A</c:v>
                </c:pt>
                <c:pt idx="12098">
                  <c:v>#N/A</c:v>
                </c:pt>
                <c:pt idx="12099">
                  <c:v>#N/A</c:v>
                </c:pt>
                <c:pt idx="12100">
                  <c:v>#N/A</c:v>
                </c:pt>
                <c:pt idx="12101">
                  <c:v>#N/A</c:v>
                </c:pt>
                <c:pt idx="12102">
                  <c:v>#N/A</c:v>
                </c:pt>
                <c:pt idx="12103">
                  <c:v>#N/A</c:v>
                </c:pt>
                <c:pt idx="12104">
                  <c:v>#N/A</c:v>
                </c:pt>
                <c:pt idx="12105">
                  <c:v>#N/A</c:v>
                </c:pt>
                <c:pt idx="12106">
                  <c:v>#N/A</c:v>
                </c:pt>
                <c:pt idx="12107">
                  <c:v>#N/A</c:v>
                </c:pt>
                <c:pt idx="12108">
                  <c:v>#N/A</c:v>
                </c:pt>
                <c:pt idx="12109">
                  <c:v>#N/A</c:v>
                </c:pt>
                <c:pt idx="12110">
                  <c:v>#N/A</c:v>
                </c:pt>
                <c:pt idx="12111">
                  <c:v>#N/A</c:v>
                </c:pt>
                <c:pt idx="12112">
                  <c:v>#N/A</c:v>
                </c:pt>
                <c:pt idx="12113">
                  <c:v>#N/A</c:v>
                </c:pt>
                <c:pt idx="12114">
                  <c:v>#N/A</c:v>
                </c:pt>
                <c:pt idx="12115">
                  <c:v>#N/A</c:v>
                </c:pt>
                <c:pt idx="12116">
                  <c:v>#N/A</c:v>
                </c:pt>
                <c:pt idx="12117">
                  <c:v>#N/A</c:v>
                </c:pt>
                <c:pt idx="12118">
                  <c:v>#N/A</c:v>
                </c:pt>
                <c:pt idx="12119">
                  <c:v>#N/A</c:v>
                </c:pt>
                <c:pt idx="12120">
                  <c:v>#N/A</c:v>
                </c:pt>
                <c:pt idx="12121">
                  <c:v>#N/A</c:v>
                </c:pt>
                <c:pt idx="12122">
                  <c:v>#N/A</c:v>
                </c:pt>
                <c:pt idx="12123">
                  <c:v>#N/A</c:v>
                </c:pt>
                <c:pt idx="12124">
                  <c:v>#N/A</c:v>
                </c:pt>
                <c:pt idx="12125">
                  <c:v>#N/A</c:v>
                </c:pt>
                <c:pt idx="12126">
                  <c:v>#N/A</c:v>
                </c:pt>
                <c:pt idx="12127">
                  <c:v>#N/A</c:v>
                </c:pt>
                <c:pt idx="12128">
                  <c:v>#N/A</c:v>
                </c:pt>
                <c:pt idx="12129">
                  <c:v>#N/A</c:v>
                </c:pt>
                <c:pt idx="12130">
                  <c:v>#N/A</c:v>
                </c:pt>
                <c:pt idx="12131">
                  <c:v>#N/A</c:v>
                </c:pt>
                <c:pt idx="12132">
                  <c:v>#N/A</c:v>
                </c:pt>
                <c:pt idx="12133">
                  <c:v>#N/A</c:v>
                </c:pt>
                <c:pt idx="12134">
                  <c:v>#N/A</c:v>
                </c:pt>
                <c:pt idx="12135">
                  <c:v>#N/A</c:v>
                </c:pt>
                <c:pt idx="12136">
                  <c:v>#N/A</c:v>
                </c:pt>
                <c:pt idx="12137">
                  <c:v>#N/A</c:v>
                </c:pt>
                <c:pt idx="12138">
                  <c:v>#N/A</c:v>
                </c:pt>
                <c:pt idx="12139">
                  <c:v>#N/A</c:v>
                </c:pt>
                <c:pt idx="12140">
                  <c:v>#N/A</c:v>
                </c:pt>
                <c:pt idx="12141">
                  <c:v>#N/A</c:v>
                </c:pt>
                <c:pt idx="12142">
                  <c:v>#N/A</c:v>
                </c:pt>
                <c:pt idx="12143">
                  <c:v>#N/A</c:v>
                </c:pt>
                <c:pt idx="12144">
                  <c:v>#N/A</c:v>
                </c:pt>
                <c:pt idx="12145">
                  <c:v>#N/A</c:v>
                </c:pt>
                <c:pt idx="12146">
                  <c:v>#N/A</c:v>
                </c:pt>
                <c:pt idx="12147">
                  <c:v>#N/A</c:v>
                </c:pt>
                <c:pt idx="12148">
                  <c:v>#N/A</c:v>
                </c:pt>
                <c:pt idx="12149">
                  <c:v>#N/A</c:v>
                </c:pt>
                <c:pt idx="12150">
                  <c:v>#N/A</c:v>
                </c:pt>
                <c:pt idx="12151">
                  <c:v>#N/A</c:v>
                </c:pt>
                <c:pt idx="12152">
                  <c:v>#N/A</c:v>
                </c:pt>
                <c:pt idx="12153">
                  <c:v>#N/A</c:v>
                </c:pt>
                <c:pt idx="12154">
                  <c:v>#N/A</c:v>
                </c:pt>
                <c:pt idx="12155">
                  <c:v>#N/A</c:v>
                </c:pt>
                <c:pt idx="12156">
                  <c:v>#N/A</c:v>
                </c:pt>
                <c:pt idx="12157">
                  <c:v>#N/A</c:v>
                </c:pt>
                <c:pt idx="12158">
                  <c:v>#N/A</c:v>
                </c:pt>
                <c:pt idx="12159">
                  <c:v>#N/A</c:v>
                </c:pt>
                <c:pt idx="12160">
                  <c:v>#N/A</c:v>
                </c:pt>
                <c:pt idx="12161">
                  <c:v>#N/A</c:v>
                </c:pt>
                <c:pt idx="12162">
                  <c:v>#N/A</c:v>
                </c:pt>
                <c:pt idx="12163">
                  <c:v>#N/A</c:v>
                </c:pt>
                <c:pt idx="12164">
                  <c:v>#N/A</c:v>
                </c:pt>
                <c:pt idx="12165">
                  <c:v>#N/A</c:v>
                </c:pt>
                <c:pt idx="12166">
                  <c:v>#N/A</c:v>
                </c:pt>
                <c:pt idx="12167">
                  <c:v>#N/A</c:v>
                </c:pt>
                <c:pt idx="12168">
                  <c:v>#N/A</c:v>
                </c:pt>
                <c:pt idx="12169">
                  <c:v>#N/A</c:v>
                </c:pt>
                <c:pt idx="12170">
                  <c:v>#N/A</c:v>
                </c:pt>
                <c:pt idx="12171">
                  <c:v>#N/A</c:v>
                </c:pt>
                <c:pt idx="12172">
                  <c:v>#N/A</c:v>
                </c:pt>
                <c:pt idx="12173">
                  <c:v>#N/A</c:v>
                </c:pt>
                <c:pt idx="12174">
                  <c:v>#N/A</c:v>
                </c:pt>
                <c:pt idx="12175">
                  <c:v>#N/A</c:v>
                </c:pt>
                <c:pt idx="12176">
                  <c:v>#N/A</c:v>
                </c:pt>
                <c:pt idx="12177">
                  <c:v>#N/A</c:v>
                </c:pt>
                <c:pt idx="12178">
                  <c:v>#N/A</c:v>
                </c:pt>
                <c:pt idx="12179">
                  <c:v>#N/A</c:v>
                </c:pt>
                <c:pt idx="12180">
                  <c:v>#N/A</c:v>
                </c:pt>
                <c:pt idx="12181">
                  <c:v>#N/A</c:v>
                </c:pt>
                <c:pt idx="12182">
                  <c:v>#N/A</c:v>
                </c:pt>
                <c:pt idx="12183">
                  <c:v>#N/A</c:v>
                </c:pt>
                <c:pt idx="12184">
                  <c:v>#N/A</c:v>
                </c:pt>
                <c:pt idx="12185">
                  <c:v>#N/A</c:v>
                </c:pt>
                <c:pt idx="12186">
                  <c:v>#N/A</c:v>
                </c:pt>
                <c:pt idx="12187">
                  <c:v>#N/A</c:v>
                </c:pt>
                <c:pt idx="12188">
                  <c:v>#N/A</c:v>
                </c:pt>
                <c:pt idx="12189">
                  <c:v>#N/A</c:v>
                </c:pt>
                <c:pt idx="12190">
                  <c:v>#N/A</c:v>
                </c:pt>
                <c:pt idx="12191">
                  <c:v>#N/A</c:v>
                </c:pt>
                <c:pt idx="12192">
                  <c:v>#N/A</c:v>
                </c:pt>
                <c:pt idx="12193">
                  <c:v>#N/A</c:v>
                </c:pt>
                <c:pt idx="12194">
                  <c:v>#N/A</c:v>
                </c:pt>
                <c:pt idx="12195">
                  <c:v>#N/A</c:v>
                </c:pt>
                <c:pt idx="12196">
                  <c:v>#N/A</c:v>
                </c:pt>
                <c:pt idx="12197">
                  <c:v>#N/A</c:v>
                </c:pt>
                <c:pt idx="12198">
                  <c:v>#N/A</c:v>
                </c:pt>
                <c:pt idx="12199">
                  <c:v>#N/A</c:v>
                </c:pt>
                <c:pt idx="12200">
                  <c:v>#N/A</c:v>
                </c:pt>
                <c:pt idx="12201">
                  <c:v>#N/A</c:v>
                </c:pt>
                <c:pt idx="12202">
                  <c:v>#N/A</c:v>
                </c:pt>
                <c:pt idx="12203">
                  <c:v>#N/A</c:v>
                </c:pt>
                <c:pt idx="12204">
                  <c:v>#N/A</c:v>
                </c:pt>
                <c:pt idx="12205">
                  <c:v>#N/A</c:v>
                </c:pt>
                <c:pt idx="12206">
                  <c:v>#N/A</c:v>
                </c:pt>
                <c:pt idx="12207">
                  <c:v>#N/A</c:v>
                </c:pt>
                <c:pt idx="12208">
                  <c:v>#N/A</c:v>
                </c:pt>
                <c:pt idx="12209">
                  <c:v>#N/A</c:v>
                </c:pt>
                <c:pt idx="12210">
                  <c:v>#N/A</c:v>
                </c:pt>
                <c:pt idx="12211">
                  <c:v>#N/A</c:v>
                </c:pt>
                <c:pt idx="12212">
                  <c:v>#N/A</c:v>
                </c:pt>
                <c:pt idx="12213">
                  <c:v>#N/A</c:v>
                </c:pt>
                <c:pt idx="12214">
                  <c:v>#N/A</c:v>
                </c:pt>
                <c:pt idx="12215">
                  <c:v>#N/A</c:v>
                </c:pt>
                <c:pt idx="12216">
                  <c:v>#N/A</c:v>
                </c:pt>
                <c:pt idx="12217">
                  <c:v>#N/A</c:v>
                </c:pt>
                <c:pt idx="12218">
                  <c:v>#N/A</c:v>
                </c:pt>
                <c:pt idx="12219">
                  <c:v>#N/A</c:v>
                </c:pt>
                <c:pt idx="12220">
                  <c:v>#N/A</c:v>
                </c:pt>
                <c:pt idx="12221">
                  <c:v>#N/A</c:v>
                </c:pt>
                <c:pt idx="12222">
                  <c:v>#N/A</c:v>
                </c:pt>
                <c:pt idx="12223">
                  <c:v>#N/A</c:v>
                </c:pt>
                <c:pt idx="12224">
                  <c:v>#N/A</c:v>
                </c:pt>
                <c:pt idx="12225">
                  <c:v>#N/A</c:v>
                </c:pt>
                <c:pt idx="12226">
                  <c:v>#N/A</c:v>
                </c:pt>
                <c:pt idx="12227">
                  <c:v>#N/A</c:v>
                </c:pt>
                <c:pt idx="12228">
                  <c:v>#N/A</c:v>
                </c:pt>
                <c:pt idx="12229">
                  <c:v>#N/A</c:v>
                </c:pt>
                <c:pt idx="12230">
                  <c:v>#N/A</c:v>
                </c:pt>
                <c:pt idx="12231">
                  <c:v>#N/A</c:v>
                </c:pt>
                <c:pt idx="12232">
                  <c:v>#N/A</c:v>
                </c:pt>
                <c:pt idx="12233">
                  <c:v>#N/A</c:v>
                </c:pt>
                <c:pt idx="12234">
                  <c:v>#N/A</c:v>
                </c:pt>
                <c:pt idx="12235">
                  <c:v>#N/A</c:v>
                </c:pt>
                <c:pt idx="12236">
                  <c:v>#N/A</c:v>
                </c:pt>
                <c:pt idx="12237">
                  <c:v>#N/A</c:v>
                </c:pt>
                <c:pt idx="12238">
                  <c:v>#N/A</c:v>
                </c:pt>
                <c:pt idx="12239">
                  <c:v>#N/A</c:v>
                </c:pt>
                <c:pt idx="12240">
                  <c:v>#N/A</c:v>
                </c:pt>
                <c:pt idx="12241">
                  <c:v>#N/A</c:v>
                </c:pt>
                <c:pt idx="12242">
                  <c:v>#N/A</c:v>
                </c:pt>
                <c:pt idx="12243">
                  <c:v>#N/A</c:v>
                </c:pt>
                <c:pt idx="12244">
                  <c:v>#N/A</c:v>
                </c:pt>
                <c:pt idx="12245">
                  <c:v>6.2082191780821914</c:v>
                </c:pt>
                <c:pt idx="12246">
                  <c:v>#N/A</c:v>
                </c:pt>
                <c:pt idx="12247">
                  <c:v>#N/A</c:v>
                </c:pt>
                <c:pt idx="12248">
                  <c:v>#N/A</c:v>
                </c:pt>
                <c:pt idx="12249">
                  <c:v>#N/A</c:v>
                </c:pt>
                <c:pt idx="12250">
                  <c:v>#N/A</c:v>
                </c:pt>
                <c:pt idx="12251">
                  <c:v>#N/A</c:v>
                </c:pt>
                <c:pt idx="12252">
                  <c:v>#N/A</c:v>
                </c:pt>
                <c:pt idx="12253">
                  <c:v>#N/A</c:v>
                </c:pt>
                <c:pt idx="12254">
                  <c:v>#N/A</c:v>
                </c:pt>
                <c:pt idx="12255">
                  <c:v>#N/A</c:v>
                </c:pt>
                <c:pt idx="12256">
                  <c:v>#N/A</c:v>
                </c:pt>
                <c:pt idx="12257">
                  <c:v>#N/A</c:v>
                </c:pt>
                <c:pt idx="12258">
                  <c:v>#N/A</c:v>
                </c:pt>
                <c:pt idx="12259">
                  <c:v>#N/A</c:v>
                </c:pt>
                <c:pt idx="12260">
                  <c:v>#N/A</c:v>
                </c:pt>
                <c:pt idx="12261">
                  <c:v>#N/A</c:v>
                </c:pt>
                <c:pt idx="12262">
                  <c:v>#N/A</c:v>
                </c:pt>
                <c:pt idx="12263">
                  <c:v>#N/A</c:v>
                </c:pt>
                <c:pt idx="12264">
                  <c:v>#N/A</c:v>
                </c:pt>
                <c:pt idx="12265">
                  <c:v>#N/A</c:v>
                </c:pt>
                <c:pt idx="12266">
                  <c:v>#N/A</c:v>
                </c:pt>
                <c:pt idx="12267">
                  <c:v>#N/A</c:v>
                </c:pt>
                <c:pt idx="12268">
                  <c:v>#N/A</c:v>
                </c:pt>
                <c:pt idx="12269">
                  <c:v>#N/A</c:v>
                </c:pt>
                <c:pt idx="12270">
                  <c:v>#N/A</c:v>
                </c:pt>
                <c:pt idx="12271">
                  <c:v>#N/A</c:v>
                </c:pt>
                <c:pt idx="12272">
                  <c:v>#N/A</c:v>
                </c:pt>
                <c:pt idx="12273">
                  <c:v>#N/A</c:v>
                </c:pt>
                <c:pt idx="12274">
                  <c:v>#N/A</c:v>
                </c:pt>
                <c:pt idx="12275">
                  <c:v>#N/A</c:v>
                </c:pt>
                <c:pt idx="12276">
                  <c:v>#N/A</c:v>
                </c:pt>
                <c:pt idx="12277">
                  <c:v>#N/A</c:v>
                </c:pt>
                <c:pt idx="12278">
                  <c:v>#N/A</c:v>
                </c:pt>
                <c:pt idx="12279">
                  <c:v>#N/A</c:v>
                </c:pt>
                <c:pt idx="12280">
                  <c:v>#N/A</c:v>
                </c:pt>
                <c:pt idx="12281">
                  <c:v>#N/A</c:v>
                </c:pt>
                <c:pt idx="12282">
                  <c:v>#N/A</c:v>
                </c:pt>
                <c:pt idx="12283">
                  <c:v>#N/A</c:v>
                </c:pt>
                <c:pt idx="12284">
                  <c:v>#N/A</c:v>
                </c:pt>
                <c:pt idx="12285">
                  <c:v>#N/A</c:v>
                </c:pt>
                <c:pt idx="12286">
                  <c:v>#N/A</c:v>
                </c:pt>
                <c:pt idx="12287">
                  <c:v>#N/A</c:v>
                </c:pt>
                <c:pt idx="12288">
                  <c:v>#N/A</c:v>
                </c:pt>
                <c:pt idx="12289">
                  <c:v>#N/A</c:v>
                </c:pt>
                <c:pt idx="12290">
                  <c:v>#N/A</c:v>
                </c:pt>
                <c:pt idx="12291">
                  <c:v>#N/A</c:v>
                </c:pt>
                <c:pt idx="12292">
                  <c:v>#N/A</c:v>
                </c:pt>
                <c:pt idx="12293">
                  <c:v>#N/A</c:v>
                </c:pt>
                <c:pt idx="12294">
                  <c:v>#N/A</c:v>
                </c:pt>
                <c:pt idx="12295">
                  <c:v>#N/A</c:v>
                </c:pt>
                <c:pt idx="12296">
                  <c:v>#N/A</c:v>
                </c:pt>
                <c:pt idx="12297">
                  <c:v>#N/A</c:v>
                </c:pt>
                <c:pt idx="12298">
                  <c:v>#N/A</c:v>
                </c:pt>
                <c:pt idx="12299">
                  <c:v>#N/A</c:v>
                </c:pt>
                <c:pt idx="12300">
                  <c:v>#N/A</c:v>
                </c:pt>
                <c:pt idx="12301">
                  <c:v>#N/A</c:v>
                </c:pt>
                <c:pt idx="12302">
                  <c:v>#N/A</c:v>
                </c:pt>
                <c:pt idx="12303">
                  <c:v>#N/A</c:v>
                </c:pt>
                <c:pt idx="12304">
                  <c:v>#N/A</c:v>
                </c:pt>
                <c:pt idx="12305">
                  <c:v>#N/A</c:v>
                </c:pt>
                <c:pt idx="12306">
                  <c:v>#N/A</c:v>
                </c:pt>
                <c:pt idx="12307">
                  <c:v>#N/A</c:v>
                </c:pt>
                <c:pt idx="12308">
                  <c:v>#N/A</c:v>
                </c:pt>
                <c:pt idx="12309">
                  <c:v>#N/A</c:v>
                </c:pt>
                <c:pt idx="12310">
                  <c:v>#N/A</c:v>
                </c:pt>
                <c:pt idx="12311">
                  <c:v>#N/A</c:v>
                </c:pt>
                <c:pt idx="12312">
                  <c:v>#N/A</c:v>
                </c:pt>
                <c:pt idx="12313">
                  <c:v>#N/A</c:v>
                </c:pt>
                <c:pt idx="12314">
                  <c:v>#N/A</c:v>
                </c:pt>
                <c:pt idx="12315">
                  <c:v>#N/A</c:v>
                </c:pt>
                <c:pt idx="12316">
                  <c:v>#N/A</c:v>
                </c:pt>
                <c:pt idx="12317">
                  <c:v>#N/A</c:v>
                </c:pt>
                <c:pt idx="12318">
                  <c:v>#N/A</c:v>
                </c:pt>
                <c:pt idx="12319">
                  <c:v>#N/A</c:v>
                </c:pt>
                <c:pt idx="12320">
                  <c:v>#N/A</c:v>
                </c:pt>
                <c:pt idx="12321">
                  <c:v>#N/A</c:v>
                </c:pt>
                <c:pt idx="12322">
                  <c:v>#N/A</c:v>
                </c:pt>
                <c:pt idx="12323">
                  <c:v>#N/A</c:v>
                </c:pt>
                <c:pt idx="12324">
                  <c:v>#N/A</c:v>
                </c:pt>
                <c:pt idx="12325">
                  <c:v>#N/A</c:v>
                </c:pt>
                <c:pt idx="12326">
                  <c:v>#N/A</c:v>
                </c:pt>
                <c:pt idx="12327">
                  <c:v>#N/A</c:v>
                </c:pt>
                <c:pt idx="12328">
                  <c:v>#N/A</c:v>
                </c:pt>
                <c:pt idx="12329">
                  <c:v>#N/A</c:v>
                </c:pt>
                <c:pt idx="12330">
                  <c:v>#N/A</c:v>
                </c:pt>
                <c:pt idx="12331">
                  <c:v>#N/A</c:v>
                </c:pt>
                <c:pt idx="12332">
                  <c:v>#N/A</c:v>
                </c:pt>
                <c:pt idx="12333">
                  <c:v>#N/A</c:v>
                </c:pt>
                <c:pt idx="12334">
                  <c:v>#N/A</c:v>
                </c:pt>
                <c:pt idx="12335">
                  <c:v>#N/A</c:v>
                </c:pt>
                <c:pt idx="12336">
                  <c:v>#N/A</c:v>
                </c:pt>
                <c:pt idx="12337">
                  <c:v>#N/A</c:v>
                </c:pt>
                <c:pt idx="12338">
                  <c:v>#N/A</c:v>
                </c:pt>
                <c:pt idx="12339">
                  <c:v>#N/A</c:v>
                </c:pt>
                <c:pt idx="12340">
                  <c:v>#N/A</c:v>
                </c:pt>
                <c:pt idx="12341">
                  <c:v>#N/A</c:v>
                </c:pt>
                <c:pt idx="12342">
                  <c:v>#N/A</c:v>
                </c:pt>
                <c:pt idx="12343">
                  <c:v>#N/A</c:v>
                </c:pt>
                <c:pt idx="12344">
                  <c:v>#N/A</c:v>
                </c:pt>
                <c:pt idx="12345">
                  <c:v>#N/A</c:v>
                </c:pt>
                <c:pt idx="12346">
                  <c:v>#N/A</c:v>
                </c:pt>
                <c:pt idx="12347">
                  <c:v>#N/A</c:v>
                </c:pt>
                <c:pt idx="12348">
                  <c:v>#N/A</c:v>
                </c:pt>
                <c:pt idx="12349">
                  <c:v>#N/A</c:v>
                </c:pt>
                <c:pt idx="12350">
                  <c:v>#N/A</c:v>
                </c:pt>
                <c:pt idx="12351">
                  <c:v>#N/A</c:v>
                </c:pt>
                <c:pt idx="12352">
                  <c:v>#N/A</c:v>
                </c:pt>
                <c:pt idx="12353">
                  <c:v>#N/A</c:v>
                </c:pt>
                <c:pt idx="12354">
                  <c:v>#N/A</c:v>
                </c:pt>
                <c:pt idx="12355">
                  <c:v>#N/A</c:v>
                </c:pt>
                <c:pt idx="12356">
                  <c:v>#N/A</c:v>
                </c:pt>
                <c:pt idx="12357">
                  <c:v>#N/A</c:v>
                </c:pt>
                <c:pt idx="12358">
                  <c:v>#N/A</c:v>
                </c:pt>
                <c:pt idx="12359">
                  <c:v>#N/A</c:v>
                </c:pt>
                <c:pt idx="12360">
                  <c:v>#N/A</c:v>
                </c:pt>
                <c:pt idx="12361">
                  <c:v>#N/A</c:v>
                </c:pt>
                <c:pt idx="12362">
                  <c:v>#N/A</c:v>
                </c:pt>
                <c:pt idx="12363">
                  <c:v>#N/A</c:v>
                </c:pt>
                <c:pt idx="12364">
                  <c:v>#N/A</c:v>
                </c:pt>
                <c:pt idx="12365">
                  <c:v>#N/A</c:v>
                </c:pt>
                <c:pt idx="12366">
                  <c:v>#N/A</c:v>
                </c:pt>
                <c:pt idx="12367">
                  <c:v>#N/A</c:v>
                </c:pt>
                <c:pt idx="12368">
                  <c:v>#N/A</c:v>
                </c:pt>
                <c:pt idx="12369">
                  <c:v>#N/A</c:v>
                </c:pt>
                <c:pt idx="12370">
                  <c:v>#N/A</c:v>
                </c:pt>
                <c:pt idx="12371">
                  <c:v>#N/A</c:v>
                </c:pt>
                <c:pt idx="12372">
                  <c:v>#N/A</c:v>
                </c:pt>
                <c:pt idx="12373">
                  <c:v>#N/A</c:v>
                </c:pt>
                <c:pt idx="12374">
                  <c:v>#N/A</c:v>
                </c:pt>
                <c:pt idx="12375">
                  <c:v>#N/A</c:v>
                </c:pt>
                <c:pt idx="12376">
                  <c:v>#N/A</c:v>
                </c:pt>
                <c:pt idx="12377">
                  <c:v>#N/A</c:v>
                </c:pt>
                <c:pt idx="12378">
                  <c:v>#N/A</c:v>
                </c:pt>
                <c:pt idx="12379">
                  <c:v>#N/A</c:v>
                </c:pt>
                <c:pt idx="12380">
                  <c:v>#N/A</c:v>
                </c:pt>
                <c:pt idx="12381">
                  <c:v>#N/A</c:v>
                </c:pt>
                <c:pt idx="12382">
                  <c:v>#N/A</c:v>
                </c:pt>
                <c:pt idx="12383">
                  <c:v>#N/A</c:v>
                </c:pt>
                <c:pt idx="12384">
                  <c:v>#N/A</c:v>
                </c:pt>
                <c:pt idx="12385">
                  <c:v>#N/A</c:v>
                </c:pt>
                <c:pt idx="12386">
                  <c:v>#N/A</c:v>
                </c:pt>
                <c:pt idx="12387">
                  <c:v>#N/A</c:v>
                </c:pt>
                <c:pt idx="12388">
                  <c:v>#N/A</c:v>
                </c:pt>
                <c:pt idx="12389">
                  <c:v>#N/A</c:v>
                </c:pt>
                <c:pt idx="12390">
                  <c:v>#N/A</c:v>
                </c:pt>
                <c:pt idx="12391">
                  <c:v>#N/A</c:v>
                </c:pt>
                <c:pt idx="12392">
                  <c:v>#N/A</c:v>
                </c:pt>
                <c:pt idx="12393">
                  <c:v>#N/A</c:v>
                </c:pt>
                <c:pt idx="12394">
                  <c:v>#N/A</c:v>
                </c:pt>
                <c:pt idx="12395">
                  <c:v>#N/A</c:v>
                </c:pt>
                <c:pt idx="12396">
                  <c:v>#N/A</c:v>
                </c:pt>
                <c:pt idx="12397">
                  <c:v>#N/A</c:v>
                </c:pt>
                <c:pt idx="12398">
                  <c:v>#N/A</c:v>
                </c:pt>
                <c:pt idx="12399">
                  <c:v>#N/A</c:v>
                </c:pt>
                <c:pt idx="12400">
                  <c:v>#N/A</c:v>
                </c:pt>
                <c:pt idx="12401">
                  <c:v>#N/A</c:v>
                </c:pt>
                <c:pt idx="12402">
                  <c:v>#N/A</c:v>
                </c:pt>
                <c:pt idx="12403">
                  <c:v>#N/A</c:v>
                </c:pt>
                <c:pt idx="12404">
                  <c:v>#N/A</c:v>
                </c:pt>
                <c:pt idx="12405">
                  <c:v>#N/A</c:v>
                </c:pt>
                <c:pt idx="12406">
                  <c:v>#N/A</c:v>
                </c:pt>
                <c:pt idx="12407">
                  <c:v>#N/A</c:v>
                </c:pt>
                <c:pt idx="12408">
                  <c:v>#N/A</c:v>
                </c:pt>
                <c:pt idx="12409">
                  <c:v>#N/A</c:v>
                </c:pt>
                <c:pt idx="12410">
                  <c:v>#N/A</c:v>
                </c:pt>
                <c:pt idx="12411">
                  <c:v>#N/A</c:v>
                </c:pt>
                <c:pt idx="12412">
                  <c:v>#N/A</c:v>
                </c:pt>
                <c:pt idx="12413">
                  <c:v>#N/A</c:v>
                </c:pt>
                <c:pt idx="12414">
                  <c:v>#N/A</c:v>
                </c:pt>
                <c:pt idx="12415">
                  <c:v>#N/A</c:v>
                </c:pt>
                <c:pt idx="12416">
                  <c:v>#N/A</c:v>
                </c:pt>
                <c:pt idx="12417">
                  <c:v>#N/A</c:v>
                </c:pt>
                <c:pt idx="12418">
                  <c:v>#N/A</c:v>
                </c:pt>
                <c:pt idx="12419">
                  <c:v>#N/A</c:v>
                </c:pt>
                <c:pt idx="12420">
                  <c:v>#N/A</c:v>
                </c:pt>
                <c:pt idx="12421">
                  <c:v>#N/A</c:v>
                </c:pt>
                <c:pt idx="12422">
                  <c:v>#N/A</c:v>
                </c:pt>
                <c:pt idx="12423">
                  <c:v>#N/A</c:v>
                </c:pt>
                <c:pt idx="12424">
                  <c:v>#N/A</c:v>
                </c:pt>
                <c:pt idx="12425">
                  <c:v>#N/A</c:v>
                </c:pt>
                <c:pt idx="12426">
                  <c:v>#N/A</c:v>
                </c:pt>
                <c:pt idx="12427">
                  <c:v>#N/A</c:v>
                </c:pt>
                <c:pt idx="12428">
                  <c:v>#N/A</c:v>
                </c:pt>
                <c:pt idx="12429">
                  <c:v>#N/A</c:v>
                </c:pt>
                <c:pt idx="12430">
                  <c:v>#N/A</c:v>
                </c:pt>
                <c:pt idx="12431">
                  <c:v>#N/A</c:v>
                </c:pt>
                <c:pt idx="12432">
                  <c:v>#N/A</c:v>
                </c:pt>
                <c:pt idx="12433">
                  <c:v>#N/A</c:v>
                </c:pt>
                <c:pt idx="12434">
                  <c:v>#N/A</c:v>
                </c:pt>
                <c:pt idx="12435">
                  <c:v>#N/A</c:v>
                </c:pt>
                <c:pt idx="12436">
                  <c:v>#N/A</c:v>
                </c:pt>
                <c:pt idx="12437">
                  <c:v>#N/A</c:v>
                </c:pt>
                <c:pt idx="12438">
                  <c:v>#N/A</c:v>
                </c:pt>
                <c:pt idx="12439">
                  <c:v>#N/A</c:v>
                </c:pt>
                <c:pt idx="12440">
                  <c:v>#N/A</c:v>
                </c:pt>
                <c:pt idx="12441">
                  <c:v>#N/A</c:v>
                </c:pt>
                <c:pt idx="12442">
                  <c:v>#N/A</c:v>
                </c:pt>
                <c:pt idx="12443">
                  <c:v>#N/A</c:v>
                </c:pt>
                <c:pt idx="12444">
                  <c:v>#N/A</c:v>
                </c:pt>
                <c:pt idx="12445">
                  <c:v>#N/A</c:v>
                </c:pt>
                <c:pt idx="12446">
                  <c:v>#N/A</c:v>
                </c:pt>
                <c:pt idx="12447">
                  <c:v>#N/A</c:v>
                </c:pt>
                <c:pt idx="12448">
                  <c:v>#N/A</c:v>
                </c:pt>
                <c:pt idx="12449">
                  <c:v>#N/A</c:v>
                </c:pt>
                <c:pt idx="12450">
                  <c:v>#N/A</c:v>
                </c:pt>
                <c:pt idx="12451">
                  <c:v>#N/A</c:v>
                </c:pt>
                <c:pt idx="12452">
                  <c:v>#N/A</c:v>
                </c:pt>
                <c:pt idx="12453">
                  <c:v>#N/A</c:v>
                </c:pt>
                <c:pt idx="12454">
                  <c:v>#N/A</c:v>
                </c:pt>
                <c:pt idx="12455">
                  <c:v>#N/A</c:v>
                </c:pt>
                <c:pt idx="12456">
                  <c:v>#N/A</c:v>
                </c:pt>
                <c:pt idx="12457">
                  <c:v>#N/A</c:v>
                </c:pt>
                <c:pt idx="12458">
                  <c:v>#N/A</c:v>
                </c:pt>
                <c:pt idx="12459">
                  <c:v>#N/A</c:v>
                </c:pt>
                <c:pt idx="12460">
                  <c:v>#N/A</c:v>
                </c:pt>
                <c:pt idx="12461">
                  <c:v>#N/A</c:v>
                </c:pt>
                <c:pt idx="12462">
                  <c:v>#N/A</c:v>
                </c:pt>
                <c:pt idx="12463">
                  <c:v>#N/A</c:v>
                </c:pt>
                <c:pt idx="12464">
                  <c:v>#N/A</c:v>
                </c:pt>
                <c:pt idx="12465">
                  <c:v>#N/A</c:v>
                </c:pt>
                <c:pt idx="12466">
                  <c:v>#N/A</c:v>
                </c:pt>
                <c:pt idx="12467">
                  <c:v>#N/A</c:v>
                </c:pt>
                <c:pt idx="12468">
                  <c:v>#N/A</c:v>
                </c:pt>
                <c:pt idx="12469">
                  <c:v>#N/A</c:v>
                </c:pt>
                <c:pt idx="12470">
                  <c:v>#N/A</c:v>
                </c:pt>
                <c:pt idx="12471">
                  <c:v>#N/A</c:v>
                </c:pt>
                <c:pt idx="12472">
                  <c:v>#N/A</c:v>
                </c:pt>
                <c:pt idx="12473">
                  <c:v>#N/A</c:v>
                </c:pt>
                <c:pt idx="12474">
                  <c:v>#N/A</c:v>
                </c:pt>
                <c:pt idx="12475">
                  <c:v>#N/A</c:v>
                </c:pt>
                <c:pt idx="12476">
                  <c:v>#N/A</c:v>
                </c:pt>
                <c:pt idx="12477">
                  <c:v>#N/A</c:v>
                </c:pt>
                <c:pt idx="12478">
                  <c:v>#N/A</c:v>
                </c:pt>
                <c:pt idx="12479">
                  <c:v>#N/A</c:v>
                </c:pt>
                <c:pt idx="12480">
                  <c:v>#N/A</c:v>
                </c:pt>
                <c:pt idx="12481">
                  <c:v>#N/A</c:v>
                </c:pt>
                <c:pt idx="12482">
                  <c:v>#N/A</c:v>
                </c:pt>
                <c:pt idx="12483">
                  <c:v>#N/A</c:v>
                </c:pt>
                <c:pt idx="12484">
                  <c:v>#N/A</c:v>
                </c:pt>
                <c:pt idx="12485">
                  <c:v>#N/A</c:v>
                </c:pt>
                <c:pt idx="12486">
                  <c:v>#N/A</c:v>
                </c:pt>
                <c:pt idx="12487">
                  <c:v>#N/A</c:v>
                </c:pt>
                <c:pt idx="12488">
                  <c:v>#N/A</c:v>
                </c:pt>
                <c:pt idx="12489">
                  <c:v>#N/A</c:v>
                </c:pt>
                <c:pt idx="12490">
                  <c:v>#N/A</c:v>
                </c:pt>
                <c:pt idx="12491">
                  <c:v>#N/A</c:v>
                </c:pt>
                <c:pt idx="12492">
                  <c:v>#N/A</c:v>
                </c:pt>
                <c:pt idx="12493">
                  <c:v>#N/A</c:v>
                </c:pt>
                <c:pt idx="12494">
                  <c:v>#N/A</c:v>
                </c:pt>
                <c:pt idx="12495">
                  <c:v>#N/A</c:v>
                </c:pt>
                <c:pt idx="12496">
                  <c:v>#N/A</c:v>
                </c:pt>
                <c:pt idx="12497">
                  <c:v>#N/A</c:v>
                </c:pt>
                <c:pt idx="12498">
                  <c:v>#N/A</c:v>
                </c:pt>
                <c:pt idx="12499">
                  <c:v>#N/A</c:v>
                </c:pt>
                <c:pt idx="12500">
                  <c:v>#N/A</c:v>
                </c:pt>
                <c:pt idx="12501">
                  <c:v>#N/A</c:v>
                </c:pt>
                <c:pt idx="12502">
                  <c:v>#N/A</c:v>
                </c:pt>
                <c:pt idx="12503">
                  <c:v>#N/A</c:v>
                </c:pt>
                <c:pt idx="12504">
                  <c:v>#N/A</c:v>
                </c:pt>
                <c:pt idx="12505">
                  <c:v>#N/A</c:v>
                </c:pt>
                <c:pt idx="12506">
                  <c:v>#N/A</c:v>
                </c:pt>
                <c:pt idx="12507">
                  <c:v>#N/A</c:v>
                </c:pt>
                <c:pt idx="12508">
                  <c:v>#N/A</c:v>
                </c:pt>
                <c:pt idx="12509">
                  <c:v>#N/A</c:v>
                </c:pt>
                <c:pt idx="12510">
                  <c:v>#N/A</c:v>
                </c:pt>
                <c:pt idx="12511">
                  <c:v>#N/A</c:v>
                </c:pt>
                <c:pt idx="12512">
                  <c:v>#N/A</c:v>
                </c:pt>
                <c:pt idx="12513">
                  <c:v>#N/A</c:v>
                </c:pt>
                <c:pt idx="12514">
                  <c:v>#N/A</c:v>
                </c:pt>
                <c:pt idx="12515">
                  <c:v>#N/A</c:v>
                </c:pt>
                <c:pt idx="12516">
                  <c:v>#N/A</c:v>
                </c:pt>
                <c:pt idx="12517">
                  <c:v>#N/A</c:v>
                </c:pt>
                <c:pt idx="12518">
                  <c:v>#N/A</c:v>
                </c:pt>
                <c:pt idx="12519">
                  <c:v>#N/A</c:v>
                </c:pt>
                <c:pt idx="12520">
                  <c:v>#N/A</c:v>
                </c:pt>
                <c:pt idx="12521">
                  <c:v>#N/A</c:v>
                </c:pt>
                <c:pt idx="12522">
                  <c:v>#N/A</c:v>
                </c:pt>
                <c:pt idx="12523">
                  <c:v>#N/A</c:v>
                </c:pt>
                <c:pt idx="12524">
                  <c:v>#N/A</c:v>
                </c:pt>
                <c:pt idx="12525">
                  <c:v>#N/A</c:v>
                </c:pt>
                <c:pt idx="12526">
                  <c:v>#N/A</c:v>
                </c:pt>
                <c:pt idx="12527">
                  <c:v>#N/A</c:v>
                </c:pt>
                <c:pt idx="12528">
                  <c:v>#N/A</c:v>
                </c:pt>
                <c:pt idx="12529">
                  <c:v>#N/A</c:v>
                </c:pt>
                <c:pt idx="12530">
                  <c:v>#N/A</c:v>
                </c:pt>
                <c:pt idx="12531">
                  <c:v>#N/A</c:v>
                </c:pt>
                <c:pt idx="12532">
                  <c:v>#N/A</c:v>
                </c:pt>
                <c:pt idx="12533">
                  <c:v>#N/A</c:v>
                </c:pt>
                <c:pt idx="12534">
                  <c:v>#N/A</c:v>
                </c:pt>
                <c:pt idx="12535">
                  <c:v>#N/A</c:v>
                </c:pt>
                <c:pt idx="12536">
                  <c:v>#N/A</c:v>
                </c:pt>
                <c:pt idx="12537">
                  <c:v>#N/A</c:v>
                </c:pt>
                <c:pt idx="12538">
                  <c:v>#N/A</c:v>
                </c:pt>
                <c:pt idx="12539">
                  <c:v>#N/A</c:v>
                </c:pt>
                <c:pt idx="12540">
                  <c:v>#N/A</c:v>
                </c:pt>
                <c:pt idx="12541">
                  <c:v>#N/A</c:v>
                </c:pt>
                <c:pt idx="12542">
                  <c:v>#N/A</c:v>
                </c:pt>
                <c:pt idx="12543">
                  <c:v>#N/A</c:v>
                </c:pt>
                <c:pt idx="12544">
                  <c:v>#N/A</c:v>
                </c:pt>
                <c:pt idx="12545">
                  <c:v>#N/A</c:v>
                </c:pt>
                <c:pt idx="12546">
                  <c:v>#N/A</c:v>
                </c:pt>
                <c:pt idx="12547">
                  <c:v>#N/A</c:v>
                </c:pt>
                <c:pt idx="12548">
                  <c:v>#N/A</c:v>
                </c:pt>
                <c:pt idx="12549">
                  <c:v>#N/A</c:v>
                </c:pt>
                <c:pt idx="12550">
                  <c:v>#N/A</c:v>
                </c:pt>
                <c:pt idx="12551">
                  <c:v>#N/A</c:v>
                </c:pt>
                <c:pt idx="12552">
                  <c:v>#N/A</c:v>
                </c:pt>
                <c:pt idx="12553">
                  <c:v>#N/A</c:v>
                </c:pt>
                <c:pt idx="12554">
                  <c:v>#N/A</c:v>
                </c:pt>
                <c:pt idx="12555">
                  <c:v>#N/A</c:v>
                </c:pt>
                <c:pt idx="12556">
                  <c:v>#N/A</c:v>
                </c:pt>
                <c:pt idx="12557">
                  <c:v>#N/A</c:v>
                </c:pt>
                <c:pt idx="12558">
                  <c:v>#N/A</c:v>
                </c:pt>
                <c:pt idx="12559">
                  <c:v>#N/A</c:v>
                </c:pt>
                <c:pt idx="12560">
                  <c:v>#N/A</c:v>
                </c:pt>
                <c:pt idx="12561">
                  <c:v>#N/A</c:v>
                </c:pt>
                <c:pt idx="12562">
                  <c:v>#N/A</c:v>
                </c:pt>
                <c:pt idx="12563">
                  <c:v>#N/A</c:v>
                </c:pt>
                <c:pt idx="12564">
                  <c:v>#N/A</c:v>
                </c:pt>
                <c:pt idx="12565">
                  <c:v>#N/A</c:v>
                </c:pt>
                <c:pt idx="12566">
                  <c:v>#N/A</c:v>
                </c:pt>
                <c:pt idx="12567">
                  <c:v>#N/A</c:v>
                </c:pt>
                <c:pt idx="12568">
                  <c:v>#N/A</c:v>
                </c:pt>
                <c:pt idx="12569">
                  <c:v>#N/A</c:v>
                </c:pt>
                <c:pt idx="12570">
                  <c:v>#N/A</c:v>
                </c:pt>
                <c:pt idx="12571">
                  <c:v>#N/A</c:v>
                </c:pt>
                <c:pt idx="12572">
                  <c:v>#N/A</c:v>
                </c:pt>
                <c:pt idx="12573">
                  <c:v>#N/A</c:v>
                </c:pt>
                <c:pt idx="12574">
                  <c:v>#N/A</c:v>
                </c:pt>
                <c:pt idx="12575">
                  <c:v>#N/A</c:v>
                </c:pt>
                <c:pt idx="12576">
                  <c:v>#N/A</c:v>
                </c:pt>
                <c:pt idx="12577">
                  <c:v>#N/A</c:v>
                </c:pt>
                <c:pt idx="12578">
                  <c:v>#N/A</c:v>
                </c:pt>
                <c:pt idx="12579">
                  <c:v>#N/A</c:v>
                </c:pt>
                <c:pt idx="12580">
                  <c:v>#N/A</c:v>
                </c:pt>
                <c:pt idx="12581">
                  <c:v>#N/A</c:v>
                </c:pt>
                <c:pt idx="12582">
                  <c:v>#N/A</c:v>
                </c:pt>
                <c:pt idx="12583">
                  <c:v>#N/A</c:v>
                </c:pt>
                <c:pt idx="12584">
                  <c:v>#N/A</c:v>
                </c:pt>
                <c:pt idx="12585">
                  <c:v>#N/A</c:v>
                </c:pt>
                <c:pt idx="12586">
                  <c:v>#N/A</c:v>
                </c:pt>
                <c:pt idx="12587">
                  <c:v>#N/A</c:v>
                </c:pt>
                <c:pt idx="12588">
                  <c:v>#N/A</c:v>
                </c:pt>
                <c:pt idx="12589">
                  <c:v>#N/A</c:v>
                </c:pt>
                <c:pt idx="12590">
                  <c:v>#N/A</c:v>
                </c:pt>
                <c:pt idx="12591">
                  <c:v>#N/A</c:v>
                </c:pt>
                <c:pt idx="12592">
                  <c:v>#N/A</c:v>
                </c:pt>
                <c:pt idx="12593">
                  <c:v>#N/A</c:v>
                </c:pt>
                <c:pt idx="12594">
                  <c:v>#N/A</c:v>
                </c:pt>
                <c:pt idx="12595">
                  <c:v>#N/A</c:v>
                </c:pt>
                <c:pt idx="12596">
                  <c:v>#N/A</c:v>
                </c:pt>
                <c:pt idx="12597">
                  <c:v>#N/A</c:v>
                </c:pt>
                <c:pt idx="12598">
                  <c:v>#N/A</c:v>
                </c:pt>
                <c:pt idx="12599">
                  <c:v>#N/A</c:v>
                </c:pt>
                <c:pt idx="12600">
                  <c:v>#N/A</c:v>
                </c:pt>
                <c:pt idx="12601">
                  <c:v>#N/A</c:v>
                </c:pt>
                <c:pt idx="12602">
                  <c:v>#N/A</c:v>
                </c:pt>
                <c:pt idx="12603">
                  <c:v>#N/A</c:v>
                </c:pt>
                <c:pt idx="12604">
                  <c:v>#N/A</c:v>
                </c:pt>
                <c:pt idx="12605">
                  <c:v>#N/A</c:v>
                </c:pt>
                <c:pt idx="12606">
                  <c:v>#N/A</c:v>
                </c:pt>
                <c:pt idx="12607">
                  <c:v>#N/A</c:v>
                </c:pt>
                <c:pt idx="12608">
                  <c:v>#N/A</c:v>
                </c:pt>
                <c:pt idx="12609">
                  <c:v>#N/A</c:v>
                </c:pt>
                <c:pt idx="12610">
                  <c:v>#N/A</c:v>
                </c:pt>
                <c:pt idx="12611">
                  <c:v>#N/A</c:v>
                </c:pt>
                <c:pt idx="12612">
                  <c:v>#N/A</c:v>
                </c:pt>
                <c:pt idx="12613">
                  <c:v>#N/A</c:v>
                </c:pt>
                <c:pt idx="12614">
                  <c:v>#N/A</c:v>
                </c:pt>
                <c:pt idx="12615">
                  <c:v>#N/A</c:v>
                </c:pt>
                <c:pt idx="12616">
                  <c:v>#N/A</c:v>
                </c:pt>
                <c:pt idx="12617">
                  <c:v>#N/A</c:v>
                </c:pt>
                <c:pt idx="12618">
                  <c:v>#N/A</c:v>
                </c:pt>
                <c:pt idx="12619">
                  <c:v>#N/A</c:v>
                </c:pt>
                <c:pt idx="12620">
                  <c:v>#N/A</c:v>
                </c:pt>
                <c:pt idx="12621">
                  <c:v>#N/A</c:v>
                </c:pt>
                <c:pt idx="12622">
                  <c:v>#N/A</c:v>
                </c:pt>
                <c:pt idx="12623">
                  <c:v>#N/A</c:v>
                </c:pt>
                <c:pt idx="12624">
                  <c:v>#N/A</c:v>
                </c:pt>
                <c:pt idx="12625">
                  <c:v>#N/A</c:v>
                </c:pt>
                <c:pt idx="12626">
                  <c:v>#N/A</c:v>
                </c:pt>
                <c:pt idx="12627">
                  <c:v>#N/A</c:v>
                </c:pt>
                <c:pt idx="12628">
                  <c:v>#N/A</c:v>
                </c:pt>
                <c:pt idx="12629">
                  <c:v>#N/A</c:v>
                </c:pt>
                <c:pt idx="12630">
                  <c:v>#N/A</c:v>
                </c:pt>
                <c:pt idx="12631">
                  <c:v>#N/A</c:v>
                </c:pt>
                <c:pt idx="12632">
                  <c:v>#N/A</c:v>
                </c:pt>
                <c:pt idx="12633">
                  <c:v>#N/A</c:v>
                </c:pt>
                <c:pt idx="12634">
                  <c:v>#N/A</c:v>
                </c:pt>
                <c:pt idx="12635">
                  <c:v>#N/A</c:v>
                </c:pt>
                <c:pt idx="12636">
                  <c:v>#N/A</c:v>
                </c:pt>
                <c:pt idx="12637">
                  <c:v>#N/A</c:v>
                </c:pt>
                <c:pt idx="12638">
                  <c:v>#N/A</c:v>
                </c:pt>
                <c:pt idx="12639">
                  <c:v>#N/A</c:v>
                </c:pt>
                <c:pt idx="12640">
                  <c:v>#N/A</c:v>
                </c:pt>
                <c:pt idx="12641">
                  <c:v>#N/A</c:v>
                </c:pt>
                <c:pt idx="12642">
                  <c:v>#N/A</c:v>
                </c:pt>
                <c:pt idx="12643">
                  <c:v>#N/A</c:v>
                </c:pt>
                <c:pt idx="12644">
                  <c:v>#N/A</c:v>
                </c:pt>
                <c:pt idx="12645">
                  <c:v>#N/A</c:v>
                </c:pt>
                <c:pt idx="12646">
                  <c:v>#N/A</c:v>
                </c:pt>
                <c:pt idx="12647">
                  <c:v>#N/A</c:v>
                </c:pt>
                <c:pt idx="12648">
                  <c:v>#N/A</c:v>
                </c:pt>
                <c:pt idx="12649">
                  <c:v>#N/A</c:v>
                </c:pt>
                <c:pt idx="12650">
                  <c:v>#N/A</c:v>
                </c:pt>
                <c:pt idx="12651">
                  <c:v>#N/A</c:v>
                </c:pt>
                <c:pt idx="12652">
                  <c:v>#N/A</c:v>
                </c:pt>
                <c:pt idx="12653">
                  <c:v>#N/A</c:v>
                </c:pt>
                <c:pt idx="12654">
                  <c:v>#N/A</c:v>
                </c:pt>
                <c:pt idx="12655">
                  <c:v>#N/A</c:v>
                </c:pt>
                <c:pt idx="12656">
                  <c:v>#N/A</c:v>
                </c:pt>
                <c:pt idx="12657">
                  <c:v>#N/A</c:v>
                </c:pt>
                <c:pt idx="12658">
                  <c:v>#N/A</c:v>
                </c:pt>
                <c:pt idx="12659">
                  <c:v>#N/A</c:v>
                </c:pt>
                <c:pt idx="12660">
                  <c:v>#N/A</c:v>
                </c:pt>
                <c:pt idx="12661">
                  <c:v>#N/A</c:v>
                </c:pt>
                <c:pt idx="12662">
                  <c:v>#N/A</c:v>
                </c:pt>
                <c:pt idx="12663">
                  <c:v>#N/A</c:v>
                </c:pt>
                <c:pt idx="12664">
                  <c:v>#N/A</c:v>
                </c:pt>
                <c:pt idx="12665">
                  <c:v>#N/A</c:v>
                </c:pt>
                <c:pt idx="12666">
                  <c:v>#N/A</c:v>
                </c:pt>
                <c:pt idx="12667">
                  <c:v>#N/A</c:v>
                </c:pt>
                <c:pt idx="12668">
                  <c:v>#N/A</c:v>
                </c:pt>
                <c:pt idx="12669">
                  <c:v>#N/A</c:v>
                </c:pt>
                <c:pt idx="12670">
                  <c:v>#N/A</c:v>
                </c:pt>
                <c:pt idx="12671">
                  <c:v>#N/A</c:v>
                </c:pt>
                <c:pt idx="12672">
                  <c:v>#N/A</c:v>
                </c:pt>
                <c:pt idx="12673">
                  <c:v>#N/A</c:v>
                </c:pt>
                <c:pt idx="12674">
                  <c:v>#N/A</c:v>
                </c:pt>
                <c:pt idx="12675">
                  <c:v>#N/A</c:v>
                </c:pt>
                <c:pt idx="12676">
                  <c:v>#N/A</c:v>
                </c:pt>
                <c:pt idx="12677">
                  <c:v>#N/A</c:v>
                </c:pt>
                <c:pt idx="12678">
                  <c:v>#N/A</c:v>
                </c:pt>
                <c:pt idx="12679">
                  <c:v>#N/A</c:v>
                </c:pt>
                <c:pt idx="12680">
                  <c:v>#N/A</c:v>
                </c:pt>
                <c:pt idx="12681">
                  <c:v>#N/A</c:v>
                </c:pt>
                <c:pt idx="12682">
                  <c:v>#N/A</c:v>
                </c:pt>
                <c:pt idx="12683">
                  <c:v>#N/A</c:v>
                </c:pt>
                <c:pt idx="12684">
                  <c:v>#N/A</c:v>
                </c:pt>
                <c:pt idx="12685">
                  <c:v>#N/A</c:v>
                </c:pt>
                <c:pt idx="12686">
                  <c:v>#N/A</c:v>
                </c:pt>
                <c:pt idx="12687">
                  <c:v>#N/A</c:v>
                </c:pt>
                <c:pt idx="12688">
                  <c:v>#N/A</c:v>
                </c:pt>
                <c:pt idx="12689">
                  <c:v>#N/A</c:v>
                </c:pt>
                <c:pt idx="12690">
                  <c:v>#N/A</c:v>
                </c:pt>
                <c:pt idx="12691">
                  <c:v>#N/A</c:v>
                </c:pt>
                <c:pt idx="12692">
                  <c:v>#N/A</c:v>
                </c:pt>
                <c:pt idx="12693">
                  <c:v>#N/A</c:v>
                </c:pt>
                <c:pt idx="12694">
                  <c:v>#N/A</c:v>
                </c:pt>
                <c:pt idx="12695">
                  <c:v>#N/A</c:v>
                </c:pt>
                <c:pt idx="12696">
                  <c:v>#N/A</c:v>
                </c:pt>
                <c:pt idx="12697">
                  <c:v>#N/A</c:v>
                </c:pt>
                <c:pt idx="12698">
                  <c:v>#N/A</c:v>
                </c:pt>
                <c:pt idx="12699">
                  <c:v>#N/A</c:v>
                </c:pt>
                <c:pt idx="12700">
                  <c:v>#N/A</c:v>
                </c:pt>
                <c:pt idx="12701">
                  <c:v>#N/A</c:v>
                </c:pt>
                <c:pt idx="12702">
                  <c:v>#N/A</c:v>
                </c:pt>
                <c:pt idx="12703">
                  <c:v>#N/A</c:v>
                </c:pt>
                <c:pt idx="12704">
                  <c:v>#N/A</c:v>
                </c:pt>
                <c:pt idx="12705">
                  <c:v>#N/A</c:v>
                </c:pt>
                <c:pt idx="12706">
                  <c:v>#N/A</c:v>
                </c:pt>
                <c:pt idx="12707">
                  <c:v>#N/A</c:v>
                </c:pt>
                <c:pt idx="12708">
                  <c:v>#N/A</c:v>
                </c:pt>
                <c:pt idx="12709">
                  <c:v>#N/A</c:v>
                </c:pt>
                <c:pt idx="12710">
                  <c:v>#N/A</c:v>
                </c:pt>
                <c:pt idx="12711">
                  <c:v>#N/A</c:v>
                </c:pt>
                <c:pt idx="12712">
                  <c:v>#N/A</c:v>
                </c:pt>
                <c:pt idx="12713">
                  <c:v>#N/A</c:v>
                </c:pt>
                <c:pt idx="12714">
                  <c:v>#N/A</c:v>
                </c:pt>
                <c:pt idx="12715">
                  <c:v>#N/A</c:v>
                </c:pt>
                <c:pt idx="12716">
                  <c:v>#N/A</c:v>
                </c:pt>
                <c:pt idx="12717">
                  <c:v>#N/A</c:v>
                </c:pt>
                <c:pt idx="12718">
                  <c:v>#N/A</c:v>
                </c:pt>
                <c:pt idx="12719">
                  <c:v>#N/A</c:v>
                </c:pt>
                <c:pt idx="12720">
                  <c:v>#N/A</c:v>
                </c:pt>
                <c:pt idx="12721">
                  <c:v>#N/A</c:v>
                </c:pt>
                <c:pt idx="12722">
                  <c:v>#N/A</c:v>
                </c:pt>
                <c:pt idx="12723">
                  <c:v>#N/A</c:v>
                </c:pt>
                <c:pt idx="12724">
                  <c:v>#N/A</c:v>
                </c:pt>
                <c:pt idx="12725">
                  <c:v>#N/A</c:v>
                </c:pt>
                <c:pt idx="12726">
                  <c:v>#N/A</c:v>
                </c:pt>
                <c:pt idx="12727">
                  <c:v>#N/A</c:v>
                </c:pt>
                <c:pt idx="12728">
                  <c:v>#N/A</c:v>
                </c:pt>
                <c:pt idx="12729">
                  <c:v>#N/A</c:v>
                </c:pt>
                <c:pt idx="12730">
                  <c:v>#N/A</c:v>
                </c:pt>
                <c:pt idx="12731">
                  <c:v>#N/A</c:v>
                </c:pt>
                <c:pt idx="12732">
                  <c:v>#N/A</c:v>
                </c:pt>
                <c:pt idx="12733">
                  <c:v>#N/A</c:v>
                </c:pt>
                <c:pt idx="12734">
                  <c:v>#N/A</c:v>
                </c:pt>
                <c:pt idx="12735">
                  <c:v>#N/A</c:v>
                </c:pt>
                <c:pt idx="12736">
                  <c:v>#N/A</c:v>
                </c:pt>
                <c:pt idx="12737">
                  <c:v>#N/A</c:v>
                </c:pt>
                <c:pt idx="12738">
                  <c:v>#N/A</c:v>
                </c:pt>
                <c:pt idx="12739">
                  <c:v>#N/A</c:v>
                </c:pt>
                <c:pt idx="12740">
                  <c:v>#N/A</c:v>
                </c:pt>
                <c:pt idx="12741">
                  <c:v>#N/A</c:v>
                </c:pt>
                <c:pt idx="12742">
                  <c:v>#N/A</c:v>
                </c:pt>
                <c:pt idx="12743">
                  <c:v>#N/A</c:v>
                </c:pt>
                <c:pt idx="12744">
                  <c:v>#N/A</c:v>
                </c:pt>
                <c:pt idx="12745">
                  <c:v>#N/A</c:v>
                </c:pt>
                <c:pt idx="12746">
                  <c:v>#N/A</c:v>
                </c:pt>
                <c:pt idx="12747">
                  <c:v>#N/A</c:v>
                </c:pt>
                <c:pt idx="12748">
                  <c:v>#N/A</c:v>
                </c:pt>
                <c:pt idx="12749">
                  <c:v>#N/A</c:v>
                </c:pt>
                <c:pt idx="12750">
                  <c:v>#N/A</c:v>
                </c:pt>
                <c:pt idx="12751">
                  <c:v>#N/A</c:v>
                </c:pt>
                <c:pt idx="12752">
                  <c:v>#N/A</c:v>
                </c:pt>
                <c:pt idx="12753">
                  <c:v>#N/A</c:v>
                </c:pt>
                <c:pt idx="12754">
                  <c:v>#N/A</c:v>
                </c:pt>
                <c:pt idx="12755">
                  <c:v>#N/A</c:v>
                </c:pt>
                <c:pt idx="12756">
                  <c:v>#N/A</c:v>
                </c:pt>
                <c:pt idx="12757">
                  <c:v>#N/A</c:v>
                </c:pt>
                <c:pt idx="12758">
                  <c:v>#N/A</c:v>
                </c:pt>
                <c:pt idx="12759">
                  <c:v>#N/A</c:v>
                </c:pt>
                <c:pt idx="12760">
                  <c:v>#N/A</c:v>
                </c:pt>
                <c:pt idx="12761">
                  <c:v>#N/A</c:v>
                </c:pt>
                <c:pt idx="12762">
                  <c:v>#N/A</c:v>
                </c:pt>
                <c:pt idx="12763">
                  <c:v>#N/A</c:v>
                </c:pt>
                <c:pt idx="12764">
                  <c:v>#N/A</c:v>
                </c:pt>
                <c:pt idx="12765">
                  <c:v>#N/A</c:v>
                </c:pt>
                <c:pt idx="12766">
                  <c:v>#N/A</c:v>
                </c:pt>
                <c:pt idx="12767">
                  <c:v>#N/A</c:v>
                </c:pt>
                <c:pt idx="12768">
                  <c:v>#N/A</c:v>
                </c:pt>
                <c:pt idx="12769">
                  <c:v>#N/A</c:v>
                </c:pt>
                <c:pt idx="12770">
                  <c:v>#N/A</c:v>
                </c:pt>
                <c:pt idx="12771">
                  <c:v>#N/A</c:v>
                </c:pt>
                <c:pt idx="12772">
                  <c:v>#N/A</c:v>
                </c:pt>
                <c:pt idx="12773">
                  <c:v>#N/A</c:v>
                </c:pt>
                <c:pt idx="12774">
                  <c:v>#N/A</c:v>
                </c:pt>
                <c:pt idx="12775">
                  <c:v>#N/A</c:v>
                </c:pt>
                <c:pt idx="12776">
                  <c:v>#N/A</c:v>
                </c:pt>
                <c:pt idx="12777">
                  <c:v>#N/A</c:v>
                </c:pt>
                <c:pt idx="12778">
                  <c:v>#N/A</c:v>
                </c:pt>
                <c:pt idx="12779">
                  <c:v>#N/A</c:v>
                </c:pt>
                <c:pt idx="12780">
                  <c:v>#N/A</c:v>
                </c:pt>
                <c:pt idx="12781">
                  <c:v>#N/A</c:v>
                </c:pt>
                <c:pt idx="12782">
                  <c:v>#N/A</c:v>
                </c:pt>
                <c:pt idx="12783">
                  <c:v>#N/A</c:v>
                </c:pt>
                <c:pt idx="12784">
                  <c:v>#N/A</c:v>
                </c:pt>
                <c:pt idx="12785">
                  <c:v>#N/A</c:v>
                </c:pt>
                <c:pt idx="12786">
                  <c:v>#N/A</c:v>
                </c:pt>
                <c:pt idx="12787">
                  <c:v>#N/A</c:v>
                </c:pt>
                <c:pt idx="12788">
                  <c:v>#N/A</c:v>
                </c:pt>
                <c:pt idx="12789">
                  <c:v>#N/A</c:v>
                </c:pt>
                <c:pt idx="12790">
                  <c:v>#N/A</c:v>
                </c:pt>
                <c:pt idx="12791">
                  <c:v>#N/A</c:v>
                </c:pt>
                <c:pt idx="12792">
                  <c:v>#N/A</c:v>
                </c:pt>
                <c:pt idx="12793">
                  <c:v>#N/A</c:v>
                </c:pt>
                <c:pt idx="12794">
                  <c:v>#N/A</c:v>
                </c:pt>
                <c:pt idx="12795">
                  <c:v>#N/A</c:v>
                </c:pt>
                <c:pt idx="12796">
                  <c:v>#N/A</c:v>
                </c:pt>
                <c:pt idx="12797">
                  <c:v>#N/A</c:v>
                </c:pt>
                <c:pt idx="12798">
                  <c:v>#N/A</c:v>
                </c:pt>
                <c:pt idx="12799">
                  <c:v>#N/A</c:v>
                </c:pt>
                <c:pt idx="12800">
                  <c:v>#N/A</c:v>
                </c:pt>
                <c:pt idx="12801">
                  <c:v>#N/A</c:v>
                </c:pt>
                <c:pt idx="12802">
                  <c:v>#N/A</c:v>
                </c:pt>
                <c:pt idx="12803">
                  <c:v>#N/A</c:v>
                </c:pt>
                <c:pt idx="12804">
                  <c:v>#N/A</c:v>
                </c:pt>
                <c:pt idx="12805">
                  <c:v>#N/A</c:v>
                </c:pt>
                <c:pt idx="12806">
                  <c:v>#N/A</c:v>
                </c:pt>
                <c:pt idx="12807">
                  <c:v>#N/A</c:v>
                </c:pt>
                <c:pt idx="12808">
                  <c:v>#N/A</c:v>
                </c:pt>
                <c:pt idx="12809">
                  <c:v>#N/A</c:v>
                </c:pt>
                <c:pt idx="12810">
                  <c:v>#N/A</c:v>
                </c:pt>
                <c:pt idx="12811">
                  <c:v>#N/A</c:v>
                </c:pt>
                <c:pt idx="12812">
                  <c:v>#N/A</c:v>
                </c:pt>
                <c:pt idx="12813">
                  <c:v>#N/A</c:v>
                </c:pt>
                <c:pt idx="12814">
                  <c:v>#N/A</c:v>
                </c:pt>
                <c:pt idx="12815">
                  <c:v>#N/A</c:v>
                </c:pt>
                <c:pt idx="12816">
                  <c:v>#N/A</c:v>
                </c:pt>
                <c:pt idx="12817">
                  <c:v>#N/A</c:v>
                </c:pt>
                <c:pt idx="12818">
                  <c:v>#N/A</c:v>
                </c:pt>
                <c:pt idx="12819">
                  <c:v>#N/A</c:v>
                </c:pt>
                <c:pt idx="12820">
                  <c:v>#N/A</c:v>
                </c:pt>
                <c:pt idx="12821">
                  <c:v>#N/A</c:v>
                </c:pt>
                <c:pt idx="12822">
                  <c:v>#N/A</c:v>
                </c:pt>
                <c:pt idx="12823">
                  <c:v>#N/A</c:v>
                </c:pt>
                <c:pt idx="12824">
                  <c:v>#N/A</c:v>
                </c:pt>
                <c:pt idx="12825">
                  <c:v>#N/A</c:v>
                </c:pt>
                <c:pt idx="12826">
                  <c:v>#N/A</c:v>
                </c:pt>
                <c:pt idx="12827">
                  <c:v>#N/A</c:v>
                </c:pt>
                <c:pt idx="12828">
                  <c:v>#N/A</c:v>
                </c:pt>
                <c:pt idx="12829">
                  <c:v>#N/A</c:v>
                </c:pt>
                <c:pt idx="12830">
                  <c:v>#N/A</c:v>
                </c:pt>
                <c:pt idx="12831">
                  <c:v>#N/A</c:v>
                </c:pt>
                <c:pt idx="12832">
                  <c:v>#N/A</c:v>
                </c:pt>
                <c:pt idx="12833">
                  <c:v>#N/A</c:v>
                </c:pt>
                <c:pt idx="12834">
                  <c:v>#N/A</c:v>
                </c:pt>
                <c:pt idx="12835">
                  <c:v>#N/A</c:v>
                </c:pt>
                <c:pt idx="12836">
                  <c:v>#N/A</c:v>
                </c:pt>
                <c:pt idx="12837">
                  <c:v>#N/A</c:v>
                </c:pt>
                <c:pt idx="12838">
                  <c:v>#N/A</c:v>
                </c:pt>
                <c:pt idx="12839">
                  <c:v>#N/A</c:v>
                </c:pt>
                <c:pt idx="12840">
                  <c:v>#N/A</c:v>
                </c:pt>
                <c:pt idx="12841">
                  <c:v>#N/A</c:v>
                </c:pt>
                <c:pt idx="12842">
                  <c:v>#N/A</c:v>
                </c:pt>
                <c:pt idx="12843">
                  <c:v>#N/A</c:v>
                </c:pt>
                <c:pt idx="12844">
                  <c:v>#N/A</c:v>
                </c:pt>
                <c:pt idx="12845">
                  <c:v>#N/A</c:v>
                </c:pt>
                <c:pt idx="12846">
                  <c:v>#N/A</c:v>
                </c:pt>
                <c:pt idx="12847">
                  <c:v>#N/A</c:v>
                </c:pt>
                <c:pt idx="12848">
                  <c:v>#N/A</c:v>
                </c:pt>
                <c:pt idx="12849">
                  <c:v>#N/A</c:v>
                </c:pt>
                <c:pt idx="12850">
                  <c:v>#N/A</c:v>
                </c:pt>
                <c:pt idx="12851">
                  <c:v>#N/A</c:v>
                </c:pt>
                <c:pt idx="12852">
                  <c:v>#N/A</c:v>
                </c:pt>
                <c:pt idx="12853">
                  <c:v>#N/A</c:v>
                </c:pt>
                <c:pt idx="12854">
                  <c:v>#N/A</c:v>
                </c:pt>
                <c:pt idx="12855">
                  <c:v>#N/A</c:v>
                </c:pt>
                <c:pt idx="12856">
                  <c:v>#N/A</c:v>
                </c:pt>
                <c:pt idx="12857">
                  <c:v>#N/A</c:v>
                </c:pt>
                <c:pt idx="12858">
                  <c:v>#N/A</c:v>
                </c:pt>
                <c:pt idx="12859">
                  <c:v>#N/A</c:v>
                </c:pt>
                <c:pt idx="12860">
                  <c:v>#N/A</c:v>
                </c:pt>
                <c:pt idx="12861">
                  <c:v>#N/A</c:v>
                </c:pt>
                <c:pt idx="12862">
                  <c:v>#N/A</c:v>
                </c:pt>
                <c:pt idx="12863">
                  <c:v>#N/A</c:v>
                </c:pt>
                <c:pt idx="12864">
                  <c:v>#N/A</c:v>
                </c:pt>
                <c:pt idx="12865">
                  <c:v>#N/A</c:v>
                </c:pt>
                <c:pt idx="12866">
                  <c:v>#N/A</c:v>
                </c:pt>
                <c:pt idx="12867">
                  <c:v>#N/A</c:v>
                </c:pt>
                <c:pt idx="12868">
                  <c:v>#N/A</c:v>
                </c:pt>
                <c:pt idx="12869">
                  <c:v>#N/A</c:v>
                </c:pt>
                <c:pt idx="12870">
                  <c:v>#N/A</c:v>
                </c:pt>
                <c:pt idx="12871">
                  <c:v>#N/A</c:v>
                </c:pt>
                <c:pt idx="12872">
                  <c:v>#N/A</c:v>
                </c:pt>
                <c:pt idx="12873">
                  <c:v>#N/A</c:v>
                </c:pt>
                <c:pt idx="12874">
                  <c:v>#N/A</c:v>
                </c:pt>
                <c:pt idx="12875">
                  <c:v>#N/A</c:v>
                </c:pt>
                <c:pt idx="12876">
                  <c:v>#N/A</c:v>
                </c:pt>
                <c:pt idx="12877">
                  <c:v>#N/A</c:v>
                </c:pt>
                <c:pt idx="12878">
                  <c:v>#N/A</c:v>
                </c:pt>
                <c:pt idx="12879">
                  <c:v>#N/A</c:v>
                </c:pt>
                <c:pt idx="12880">
                  <c:v>#N/A</c:v>
                </c:pt>
                <c:pt idx="12881">
                  <c:v>#N/A</c:v>
                </c:pt>
                <c:pt idx="12882">
                  <c:v>#N/A</c:v>
                </c:pt>
                <c:pt idx="12883">
                  <c:v>#N/A</c:v>
                </c:pt>
                <c:pt idx="12884">
                  <c:v>#N/A</c:v>
                </c:pt>
                <c:pt idx="12885">
                  <c:v>#N/A</c:v>
                </c:pt>
                <c:pt idx="12886">
                  <c:v>#N/A</c:v>
                </c:pt>
                <c:pt idx="12887">
                  <c:v>#N/A</c:v>
                </c:pt>
                <c:pt idx="12888">
                  <c:v>#N/A</c:v>
                </c:pt>
                <c:pt idx="12889">
                  <c:v>#N/A</c:v>
                </c:pt>
                <c:pt idx="12890">
                  <c:v>#N/A</c:v>
                </c:pt>
                <c:pt idx="12891">
                  <c:v>#N/A</c:v>
                </c:pt>
                <c:pt idx="12892">
                  <c:v>#N/A</c:v>
                </c:pt>
                <c:pt idx="12893">
                  <c:v>#N/A</c:v>
                </c:pt>
                <c:pt idx="12894">
                  <c:v>#N/A</c:v>
                </c:pt>
                <c:pt idx="12895">
                  <c:v>#N/A</c:v>
                </c:pt>
                <c:pt idx="12896">
                  <c:v>#N/A</c:v>
                </c:pt>
                <c:pt idx="12897">
                  <c:v>#N/A</c:v>
                </c:pt>
                <c:pt idx="12898">
                  <c:v>#N/A</c:v>
                </c:pt>
                <c:pt idx="12899">
                  <c:v>#N/A</c:v>
                </c:pt>
                <c:pt idx="12900">
                  <c:v>#N/A</c:v>
                </c:pt>
                <c:pt idx="12901">
                  <c:v>#N/A</c:v>
                </c:pt>
                <c:pt idx="12902">
                  <c:v>#N/A</c:v>
                </c:pt>
                <c:pt idx="12903">
                  <c:v>#N/A</c:v>
                </c:pt>
                <c:pt idx="12904">
                  <c:v>#N/A</c:v>
                </c:pt>
                <c:pt idx="12905">
                  <c:v>#N/A</c:v>
                </c:pt>
                <c:pt idx="12906">
                  <c:v>#N/A</c:v>
                </c:pt>
                <c:pt idx="12907">
                  <c:v>#N/A</c:v>
                </c:pt>
                <c:pt idx="12908">
                  <c:v>#N/A</c:v>
                </c:pt>
                <c:pt idx="12909">
                  <c:v>#N/A</c:v>
                </c:pt>
                <c:pt idx="12910">
                  <c:v>#N/A</c:v>
                </c:pt>
                <c:pt idx="12911">
                  <c:v>#N/A</c:v>
                </c:pt>
                <c:pt idx="12912">
                  <c:v>#N/A</c:v>
                </c:pt>
                <c:pt idx="12913">
                  <c:v>#N/A</c:v>
                </c:pt>
                <c:pt idx="12914">
                  <c:v>#N/A</c:v>
                </c:pt>
                <c:pt idx="12915">
                  <c:v>#N/A</c:v>
                </c:pt>
                <c:pt idx="12916">
                  <c:v>#N/A</c:v>
                </c:pt>
                <c:pt idx="12917">
                  <c:v>#N/A</c:v>
                </c:pt>
                <c:pt idx="12918">
                  <c:v>#N/A</c:v>
                </c:pt>
                <c:pt idx="12919">
                  <c:v>#N/A</c:v>
                </c:pt>
                <c:pt idx="12920">
                  <c:v>#N/A</c:v>
                </c:pt>
                <c:pt idx="12921">
                  <c:v>#N/A</c:v>
                </c:pt>
                <c:pt idx="12922">
                  <c:v>#N/A</c:v>
                </c:pt>
                <c:pt idx="12923">
                  <c:v>#N/A</c:v>
                </c:pt>
                <c:pt idx="12924">
                  <c:v>#N/A</c:v>
                </c:pt>
                <c:pt idx="12925">
                  <c:v>#N/A</c:v>
                </c:pt>
                <c:pt idx="12926">
                  <c:v>#N/A</c:v>
                </c:pt>
                <c:pt idx="12927">
                  <c:v>#N/A</c:v>
                </c:pt>
                <c:pt idx="12928">
                  <c:v>8.9424657534246581</c:v>
                </c:pt>
                <c:pt idx="12929">
                  <c:v>#N/A</c:v>
                </c:pt>
                <c:pt idx="12930">
                  <c:v>#N/A</c:v>
                </c:pt>
                <c:pt idx="12931">
                  <c:v>#N/A</c:v>
                </c:pt>
                <c:pt idx="12932">
                  <c:v>#N/A</c:v>
                </c:pt>
                <c:pt idx="12933">
                  <c:v>#N/A</c:v>
                </c:pt>
                <c:pt idx="12934">
                  <c:v>#N/A</c:v>
                </c:pt>
                <c:pt idx="12935">
                  <c:v>#N/A</c:v>
                </c:pt>
                <c:pt idx="12936">
                  <c:v>#N/A</c:v>
                </c:pt>
                <c:pt idx="12937">
                  <c:v>#N/A</c:v>
                </c:pt>
                <c:pt idx="12938">
                  <c:v>#N/A</c:v>
                </c:pt>
                <c:pt idx="12939">
                  <c:v>#N/A</c:v>
                </c:pt>
                <c:pt idx="12940">
                  <c:v>#N/A</c:v>
                </c:pt>
                <c:pt idx="12941">
                  <c:v>#N/A</c:v>
                </c:pt>
                <c:pt idx="12942">
                  <c:v>#N/A</c:v>
                </c:pt>
                <c:pt idx="12943">
                  <c:v>#N/A</c:v>
                </c:pt>
                <c:pt idx="12944">
                  <c:v>#N/A</c:v>
                </c:pt>
                <c:pt idx="12945">
                  <c:v>#N/A</c:v>
                </c:pt>
                <c:pt idx="12946">
                  <c:v>#N/A</c:v>
                </c:pt>
                <c:pt idx="12947">
                  <c:v>#N/A</c:v>
                </c:pt>
                <c:pt idx="12948">
                  <c:v>#N/A</c:v>
                </c:pt>
                <c:pt idx="12949">
                  <c:v>#N/A</c:v>
                </c:pt>
                <c:pt idx="12950">
                  <c:v>#N/A</c:v>
                </c:pt>
                <c:pt idx="12951">
                  <c:v>#N/A</c:v>
                </c:pt>
                <c:pt idx="12952">
                  <c:v>#N/A</c:v>
                </c:pt>
                <c:pt idx="12953">
                  <c:v>#N/A</c:v>
                </c:pt>
                <c:pt idx="12954">
                  <c:v>#N/A</c:v>
                </c:pt>
                <c:pt idx="12955">
                  <c:v>#N/A</c:v>
                </c:pt>
                <c:pt idx="12956">
                  <c:v>#N/A</c:v>
                </c:pt>
                <c:pt idx="12957">
                  <c:v>#N/A</c:v>
                </c:pt>
                <c:pt idx="12958">
                  <c:v>#N/A</c:v>
                </c:pt>
                <c:pt idx="12959">
                  <c:v>#N/A</c:v>
                </c:pt>
                <c:pt idx="12960">
                  <c:v>#N/A</c:v>
                </c:pt>
                <c:pt idx="12961">
                  <c:v>#N/A</c:v>
                </c:pt>
                <c:pt idx="12962">
                  <c:v>#N/A</c:v>
                </c:pt>
                <c:pt idx="12963">
                  <c:v>#N/A</c:v>
                </c:pt>
                <c:pt idx="12964">
                  <c:v>#N/A</c:v>
                </c:pt>
                <c:pt idx="12965">
                  <c:v>#N/A</c:v>
                </c:pt>
                <c:pt idx="12966">
                  <c:v>#N/A</c:v>
                </c:pt>
                <c:pt idx="12967">
                  <c:v>#N/A</c:v>
                </c:pt>
                <c:pt idx="12968">
                  <c:v>#N/A</c:v>
                </c:pt>
                <c:pt idx="12969">
                  <c:v>#N/A</c:v>
                </c:pt>
                <c:pt idx="12970">
                  <c:v>#N/A</c:v>
                </c:pt>
                <c:pt idx="12971">
                  <c:v>#N/A</c:v>
                </c:pt>
                <c:pt idx="12972">
                  <c:v>#N/A</c:v>
                </c:pt>
                <c:pt idx="12973">
                  <c:v>#N/A</c:v>
                </c:pt>
                <c:pt idx="12974">
                  <c:v>#N/A</c:v>
                </c:pt>
                <c:pt idx="12975">
                  <c:v>#N/A</c:v>
                </c:pt>
                <c:pt idx="12976">
                  <c:v>#N/A</c:v>
                </c:pt>
                <c:pt idx="12977">
                  <c:v>#N/A</c:v>
                </c:pt>
                <c:pt idx="12978">
                  <c:v>#N/A</c:v>
                </c:pt>
                <c:pt idx="12979">
                  <c:v>#N/A</c:v>
                </c:pt>
                <c:pt idx="12980">
                  <c:v>#N/A</c:v>
                </c:pt>
                <c:pt idx="12981">
                  <c:v>#N/A</c:v>
                </c:pt>
                <c:pt idx="12982">
                  <c:v>#N/A</c:v>
                </c:pt>
                <c:pt idx="12983">
                  <c:v>#N/A</c:v>
                </c:pt>
                <c:pt idx="12984">
                  <c:v>#N/A</c:v>
                </c:pt>
                <c:pt idx="12985">
                  <c:v>#N/A</c:v>
                </c:pt>
                <c:pt idx="12986">
                  <c:v>#N/A</c:v>
                </c:pt>
                <c:pt idx="12987">
                  <c:v>#N/A</c:v>
                </c:pt>
                <c:pt idx="12988">
                  <c:v>#N/A</c:v>
                </c:pt>
                <c:pt idx="12989">
                  <c:v>#N/A</c:v>
                </c:pt>
                <c:pt idx="12990">
                  <c:v>#N/A</c:v>
                </c:pt>
                <c:pt idx="12991">
                  <c:v>#N/A</c:v>
                </c:pt>
                <c:pt idx="12992">
                  <c:v>#N/A</c:v>
                </c:pt>
                <c:pt idx="12993">
                  <c:v>#N/A</c:v>
                </c:pt>
                <c:pt idx="12994">
                  <c:v>#N/A</c:v>
                </c:pt>
                <c:pt idx="12995">
                  <c:v>#N/A</c:v>
                </c:pt>
                <c:pt idx="12996">
                  <c:v>#N/A</c:v>
                </c:pt>
                <c:pt idx="12997">
                  <c:v>#N/A</c:v>
                </c:pt>
                <c:pt idx="12998">
                  <c:v>#N/A</c:v>
                </c:pt>
                <c:pt idx="12999">
                  <c:v>#N/A</c:v>
                </c:pt>
                <c:pt idx="13000">
                  <c:v>#N/A</c:v>
                </c:pt>
                <c:pt idx="13001">
                  <c:v>#N/A</c:v>
                </c:pt>
                <c:pt idx="13002">
                  <c:v>#N/A</c:v>
                </c:pt>
                <c:pt idx="13003">
                  <c:v>#N/A</c:v>
                </c:pt>
                <c:pt idx="13004">
                  <c:v>#N/A</c:v>
                </c:pt>
                <c:pt idx="13005">
                  <c:v>#N/A</c:v>
                </c:pt>
                <c:pt idx="13006">
                  <c:v>#N/A</c:v>
                </c:pt>
                <c:pt idx="13007">
                  <c:v>#N/A</c:v>
                </c:pt>
                <c:pt idx="13008">
                  <c:v>#N/A</c:v>
                </c:pt>
                <c:pt idx="13009">
                  <c:v>#N/A</c:v>
                </c:pt>
                <c:pt idx="13010">
                  <c:v>#N/A</c:v>
                </c:pt>
                <c:pt idx="13011">
                  <c:v>#N/A</c:v>
                </c:pt>
                <c:pt idx="13012">
                  <c:v>#N/A</c:v>
                </c:pt>
                <c:pt idx="13013">
                  <c:v>#N/A</c:v>
                </c:pt>
                <c:pt idx="13014">
                  <c:v>#N/A</c:v>
                </c:pt>
                <c:pt idx="13015">
                  <c:v>#N/A</c:v>
                </c:pt>
                <c:pt idx="13016">
                  <c:v>11.991780821917809</c:v>
                </c:pt>
                <c:pt idx="13017">
                  <c:v>#N/A</c:v>
                </c:pt>
                <c:pt idx="13018">
                  <c:v>#N/A</c:v>
                </c:pt>
                <c:pt idx="13019">
                  <c:v>#N/A</c:v>
                </c:pt>
                <c:pt idx="13020">
                  <c:v>#N/A</c:v>
                </c:pt>
                <c:pt idx="13021">
                  <c:v>#N/A</c:v>
                </c:pt>
                <c:pt idx="13022">
                  <c:v>#N/A</c:v>
                </c:pt>
                <c:pt idx="13023">
                  <c:v>#N/A</c:v>
                </c:pt>
                <c:pt idx="13024">
                  <c:v>#N/A</c:v>
                </c:pt>
                <c:pt idx="13025">
                  <c:v>#N/A</c:v>
                </c:pt>
                <c:pt idx="13026">
                  <c:v>#N/A</c:v>
                </c:pt>
                <c:pt idx="13027">
                  <c:v>#N/A</c:v>
                </c:pt>
                <c:pt idx="13028">
                  <c:v>#N/A</c:v>
                </c:pt>
                <c:pt idx="13029">
                  <c:v>#N/A</c:v>
                </c:pt>
                <c:pt idx="13030">
                  <c:v>#N/A</c:v>
                </c:pt>
                <c:pt idx="13031">
                  <c:v>#N/A</c:v>
                </c:pt>
                <c:pt idx="13032">
                  <c:v>#N/A</c:v>
                </c:pt>
                <c:pt idx="13033">
                  <c:v>#N/A</c:v>
                </c:pt>
                <c:pt idx="13034">
                  <c:v>#N/A</c:v>
                </c:pt>
                <c:pt idx="13035">
                  <c:v>#N/A</c:v>
                </c:pt>
                <c:pt idx="13036">
                  <c:v>#N/A</c:v>
                </c:pt>
                <c:pt idx="13037">
                  <c:v>#N/A</c:v>
                </c:pt>
                <c:pt idx="13038">
                  <c:v>#N/A</c:v>
                </c:pt>
                <c:pt idx="13039">
                  <c:v>#N/A</c:v>
                </c:pt>
                <c:pt idx="13040">
                  <c:v>14.920547945205479</c:v>
                </c:pt>
                <c:pt idx="13041">
                  <c:v>14.920547945205479</c:v>
                </c:pt>
                <c:pt idx="13042">
                  <c:v>14.950684931506849</c:v>
                </c:pt>
                <c:pt idx="13043">
                  <c:v>14.950684931506849</c:v>
                </c:pt>
                <c:pt idx="13044">
                  <c:v>14.950684931506849</c:v>
                </c:pt>
                <c:pt idx="13045">
                  <c:v>#N/A</c:v>
                </c:pt>
                <c:pt idx="13046">
                  <c:v>#N/A</c:v>
                </c:pt>
                <c:pt idx="13047">
                  <c:v>#N/A</c:v>
                </c:pt>
                <c:pt idx="13048">
                  <c:v>#N/A</c:v>
                </c:pt>
                <c:pt idx="13049">
                  <c:v>#N/A</c:v>
                </c:pt>
                <c:pt idx="13050">
                  <c:v>#N/A</c:v>
                </c:pt>
                <c:pt idx="13051">
                  <c:v>#N/A</c:v>
                </c:pt>
                <c:pt idx="13052">
                  <c:v>#N/A</c:v>
                </c:pt>
                <c:pt idx="13053">
                  <c:v>#N/A</c:v>
                </c:pt>
                <c:pt idx="13054">
                  <c:v>#N/A</c:v>
                </c:pt>
                <c:pt idx="13055">
                  <c:v>#N/A</c:v>
                </c:pt>
                <c:pt idx="13056">
                  <c:v>#N/A</c:v>
                </c:pt>
                <c:pt idx="13057">
                  <c:v>#N/A</c:v>
                </c:pt>
                <c:pt idx="13058">
                  <c:v>#N/A</c:v>
                </c:pt>
                <c:pt idx="13059">
                  <c:v>#N/A</c:v>
                </c:pt>
                <c:pt idx="13060">
                  <c:v>#N/A</c:v>
                </c:pt>
                <c:pt idx="13061">
                  <c:v>#N/A</c:v>
                </c:pt>
                <c:pt idx="13062">
                  <c:v>#N/A</c:v>
                </c:pt>
                <c:pt idx="13063">
                  <c:v>#N/A</c:v>
                </c:pt>
                <c:pt idx="13064">
                  <c:v>#N/A</c:v>
                </c:pt>
                <c:pt idx="13065">
                  <c:v>#N/A</c:v>
                </c:pt>
                <c:pt idx="13066">
                  <c:v>#N/A</c:v>
                </c:pt>
                <c:pt idx="13067">
                  <c:v>#N/A</c:v>
                </c:pt>
                <c:pt idx="13068">
                  <c:v>#N/A</c:v>
                </c:pt>
                <c:pt idx="13069">
                  <c:v>#N/A</c:v>
                </c:pt>
                <c:pt idx="13070">
                  <c:v>#N/A</c:v>
                </c:pt>
                <c:pt idx="13071">
                  <c:v>#N/A</c:v>
                </c:pt>
                <c:pt idx="13072">
                  <c:v>#N/A</c:v>
                </c:pt>
                <c:pt idx="13073">
                  <c:v>#N/A</c:v>
                </c:pt>
                <c:pt idx="13074">
                  <c:v>#N/A</c:v>
                </c:pt>
                <c:pt idx="13075">
                  <c:v>#N/A</c:v>
                </c:pt>
                <c:pt idx="13076">
                  <c:v>#N/A</c:v>
                </c:pt>
                <c:pt idx="13077">
                  <c:v>#N/A</c:v>
                </c:pt>
                <c:pt idx="13078">
                  <c:v>#N/A</c:v>
                </c:pt>
                <c:pt idx="13079">
                  <c:v>#N/A</c:v>
                </c:pt>
                <c:pt idx="13080">
                  <c:v>#N/A</c:v>
                </c:pt>
              </c:numCache>
            </c:numRef>
          </c:xVal>
          <c:yVal>
            <c:numRef>
              <c:f>'power_generator-2024-09-23T (2)'!$U$2:$U$13082</c:f>
              <c:numCache>
                <c:formatCode>General</c:formatCode>
                <c:ptCount val="13081"/>
                <c:pt idx="0">
                  <c:v>5.0423620058489318</c:v>
                </c:pt>
                <c:pt idx="1">
                  <c:v>5.9984969734300204</c:v>
                </c:pt>
                <c:pt idx="2">
                  <c:v>6.028243266869449</c:v>
                </c:pt>
                <c:pt idx="3">
                  <c:v>6.027615680892267</c:v>
                </c:pt>
                <c:pt idx="4">
                  <c:v>6.0968802963641044</c:v>
                </c:pt>
                <c:pt idx="5">
                  <c:v>5.0833740576969442</c:v>
                </c:pt>
                <c:pt idx="6">
                  <c:v>4.8649706859237121</c:v>
                </c:pt>
                <c:pt idx="7">
                  <c:v>4.9838127763822371</c:v>
                </c:pt>
                <c:pt idx="8">
                  <c:v>3.9330733837753398</c:v>
                </c:pt>
                <c:pt idx="9">
                  <c:v>5.0274272656549748</c:v>
                </c:pt>
                <c:pt idx="10">
                  <c:v>4.2713519971552012</c:v>
                </c:pt>
                <c:pt idx="11">
                  <c:v>4.0230424193938301</c:v>
                </c:pt>
                <c:pt idx="12">
                  <c:v>5.1093266698785786</c:v>
                </c:pt>
                <c:pt idx="13">
                  <c:v>3.7789549155485394</c:v>
                </c:pt>
                <c:pt idx="14">
                  <c:v>5.1135823180669</c:v>
                </c:pt>
                <c:pt idx="15">
                  <c:v>5.1470967119613782</c:v>
                </c:pt>
                <c:pt idx="16">
                  <c:v>5.0933798732621636</c:v>
                </c:pt>
                <c:pt idx="17">
                  <c:v>6.1148849603222679</c:v>
                </c:pt>
                <c:pt idx="18">
                  <c:v>5.1840351127786324</c:v>
                </c:pt>
                <c:pt idx="19">
                  <c:v>4.9326101929562061</c:v>
                </c:pt>
                <c:pt idx="20">
                  <c:v>4.891495675253843</c:v>
                </c:pt>
                <c:pt idx="21">
                  <c:v>5.0342251415695536</c:v>
                </c:pt>
                <c:pt idx="22">
                  <c:v>5.0857390895175936</c:v>
                </c:pt>
                <c:pt idx="23">
                  <c:v>6.0305374433227987</c:v>
                </c:pt>
                <c:pt idx="24">
                  <c:v>5.867703502113379</c:v>
                </c:pt>
                <c:pt idx="25">
                  <c:v>5.2281367546392428</c:v>
                </c:pt>
                <c:pt idx="26">
                  <c:v>6.0403565569171107</c:v>
                </c:pt>
                <c:pt idx="27">
                  <c:v>4.9230729141968723</c:v>
                </c:pt>
                <c:pt idx="28">
                  <c:v>5.0047761039437617</c:v>
                </c:pt>
                <c:pt idx="29">
                  <c:v>4.1601352771088891</c:v>
                </c:pt>
                <c:pt idx="30">
                  <c:v>4.8531316785957088</c:v>
                </c:pt>
                <c:pt idx="31">
                  <c:v>5.1731757707995758</c:v>
                </c:pt>
                <c:pt idx="32">
                  <c:v>3.8841641575482173</c:v>
                </c:pt>
                <c:pt idx="33">
                  <c:v>4.9633263593285042</c:v>
                </c:pt>
                <c:pt idx="34">
                  <c:v>5.7934833686737042</c:v>
                </c:pt>
                <c:pt idx="35">
                  <c:v>5.776250892404355</c:v>
                </c:pt>
                <c:pt idx="36">
                  <c:v>4.9795114960604261</c:v>
                </c:pt>
                <c:pt idx="37">
                  <c:v>7.0567515492551678</c:v>
                </c:pt>
                <c:pt idx="38">
                  <c:v>5.9107818677330508</c:v>
                </c:pt>
                <c:pt idx="39">
                  <c:v>3.9863828012207243</c:v>
                </c:pt>
                <c:pt idx="40">
                  <c:v>5.0730218962980711</c:v>
                </c:pt>
                <c:pt idx="41">
                  <c:v>4.912029944991863</c:v>
                </c:pt>
                <c:pt idx="42">
                  <c:v>5.0048101777829253</c:v>
                </c:pt>
                <c:pt idx="43">
                  <c:v>5.8595127855509057</c:v>
                </c:pt>
                <c:pt idx="44">
                  <c:v>4.1076766125286248</c:v>
                </c:pt>
                <c:pt idx="45">
                  <c:v>6.9813927063759165</c:v>
                </c:pt>
                <c:pt idx="46">
                  <c:v>6.1455680024709345</c:v>
                </c:pt>
                <c:pt idx="47">
                  <c:v>5.002322790238539</c:v>
                </c:pt>
                <c:pt idx="48">
                  <c:v>3.9556188004152095</c:v>
                </c:pt>
                <c:pt idx="49">
                  <c:v>5.9668690691198574</c:v>
                </c:pt>
                <c:pt idx="50">
                  <c:v>6.1061528519625874</c:v>
                </c:pt>
                <c:pt idx="51">
                  <c:v>4.9568554683781558</c:v>
                </c:pt>
                <c:pt idx="52">
                  <c:v>5.9705560961442199</c:v>
                </c:pt>
                <c:pt idx="53">
                  <c:v>3.8649575757968564</c:v>
                </c:pt>
                <c:pt idx="54">
                  <c:v>5.0505858619730901</c:v>
                </c:pt>
                <c:pt idx="55">
                  <c:v>5.094145874629155</c:v>
                </c:pt>
                <c:pt idx="56">
                  <c:v>5.8074269643065435</c:v>
                </c:pt>
                <c:pt idx="57">
                  <c:v>5.953659090889821</c:v>
                </c:pt>
                <c:pt idx="58">
                  <c:v>4.8031963268992515</c:v>
                </c:pt>
                <c:pt idx="59">
                  <c:v>4.0680530396243464</c:v>
                </c:pt>
                <c:pt idx="60">
                  <c:v>5.1313087767133325</c:v>
                </c:pt>
                <c:pt idx="61">
                  <c:v>3.8579803787173397</c:v>
                </c:pt>
                <c:pt idx="62">
                  <c:v>5.8664847588884204</c:v>
                </c:pt>
                <c:pt idx="63">
                  <c:v>9.0794018642177576</c:v>
                </c:pt>
                <c:pt idx="64">
                  <c:v>5.0592714449641276</c:v>
                </c:pt>
                <c:pt idx="65">
                  <c:v>6.1206365581012303</c:v>
                </c:pt>
                <c:pt idx="66">
                  <c:v>4.8865991374950877</c:v>
                </c:pt>
                <c:pt idx="67">
                  <c:v>4.9021862801652549</c:v>
                </c:pt>
                <c:pt idx="68">
                  <c:v>5.1710506636393925</c:v>
                </c:pt>
                <c:pt idx="69">
                  <c:v>6.1361049125818008</c:v>
                </c:pt>
                <c:pt idx="70">
                  <c:v>5.9186018762335406</c:v>
                </c:pt>
                <c:pt idx="71">
                  <c:v>6.0127675753564214</c:v>
                </c:pt>
                <c:pt idx="72">
                  <c:v>5.9751240711200326</c:v>
                </c:pt>
                <c:pt idx="73">
                  <c:v>5.9048754423423997</c:v>
                </c:pt>
                <c:pt idx="74">
                  <c:v>6.0030827812151504</c:v>
                </c:pt>
                <c:pt idx="75">
                  <c:v>5.9356058018936881</c:v>
                </c:pt>
                <c:pt idx="76">
                  <c:v>4.9025467418290649</c:v>
                </c:pt>
                <c:pt idx="77">
                  <c:v>5.8577519470087003</c:v>
                </c:pt>
                <c:pt idx="78">
                  <c:v>4.917646632103513</c:v>
                </c:pt>
                <c:pt idx="79">
                  <c:v>4.9490580642890647</c:v>
                </c:pt>
                <c:pt idx="80">
                  <c:v>5.0974975255379489</c:v>
                </c:pt>
                <c:pt idx="81">
                  <c:v>5.9318785407512555</c:v>
                </c:pt>
                <c:pt idx="82">
                  <c:v>4.9220516310285447</c:v>
                </c:pt>
                <c:pt idx="83">
                  <c:v>5.078016067201184</c:v>
                </c:pt>
                <c:pt idx="84">
                  <c:v>5.1051260061440606</c:v>
                </c:pt>
                <c:pt idx="85">
                  <c:v>4.9754304970155259</c:v>
                </c:pt>
                <c:pt idx="86">
                  <c:v>5.9431455999129463</c:v>
                </c:pt>
                <c:pt idx="87">
                  <c:v>6.0190873451923839</c:v>
                </c:pt>
                <c:pt idx="88">
                  <c:v>5.1276009043277524</c:v>
                </c:pt>
                <c:pt idx="89">
                  <c:v>6.0970598419303919</c:v>
                </c:pt>
                <c:pt idx="90">
                  <c:v>5.0061002985165173</c:v>
                </c:pt>
                <c:pt idx="91">
                  <c:v>6.0247791384179923</c:v>
                </c:pt>
                <c:pt idx="92">
                  <c:v>5.9782425106237085</c:v>
                </c:pt>
                <c:pt idx="93">
                  <c:v>4.9007286570651205</c:v>
                </c:pt>
                <c:pt idx="94">
                  <c:v>5.962445986496177</c:v>
                </c:pt>
                <c:pt idx="95">
                  <c:v>6.1226960261946486</c:v>
                </c:pt>
                <c:pt idx="96">
                  <c:v>5.0999749424204692</c:v>
                </c:pt>
                <c:pt idx="97">
                  <c:v>5.0223016162710925</c:v>
                </c:pt>
                <c:pt idx="98">
                  <c:v>5.925556808952706</c:v>
                </c:pt>
                <c:pt idx="99">
                  <c:v>5.9122627195450885</c:v>
                </c:pt>
                <c:pt idx="100">
                  <c:v>5.9604077256928312</c:v>
                </c:pt>
                <c:pt idx="101">
                  <c:v>6.0114538526580734</c:v>
                </c:pt>
                <c:pt idx="102">
                  <c:v>6.2095468873314248</c:v>
                </c:pt>
                <c:pt idx="103">
                  <c:v>4.9598970253977299</c:v>
                </c:pt>
                <c:pt idx="104">
                  <c:v>6.1295661774850361</c:v>
                </c:pt>
                <c:pt idx="105">
                  <c:v>6.0973062095551605</c:v>
                </c:pt>
                <c:pt idx="106">
                  <c:v>4.973498553324597</c:v>
                </c:pt>
                <c:pt idx="107">
                  <c:v>4.9186300478743785</c:v>
                </c:pt>
                <c:pt idx="108">
                  <c:v>5.0099753647069001</c:v>
                </c:pt>
                <c:pt idx="109">
                  <c:v>4.9343798874746421</c:v>
                </c:pt>
                <c:pt idx="110">
                  <c:v>4.8266720303695108</c:v>
                </c:pt>
                <c:pt idx="111">
                  <c:v>4.9887374921046366</c:v>
                </c:pt>
                <c:pt idx="112">
                  <c:v>5.9214695848801044</c:v>
                </c:pt>
                <c:pt idx="113">
                  <c:v>5.2496843542288083</c:v>
                </c:pt>
                <c:pt idx="114">
                  <c:v>6.9017115400496101</c:v>
                </c:pt>
                <c:pt idx="115">
                  <c:v>4.8642807759450353</c:v>
                </c:pt>
                <c:pt idx="116">
                  <c:v>4.0107633082364842</c:v>
                </c:pt>
                <c:pt idx="117">
                  <c:v>5.716100812085207</c:v>
                </c:pt>
                <c:pt idx="118">
                  <c:v>3.9643128178614315</c:v>
                </c:pt>
                <c:pt idx="119">
                  <c:v>4.9274400474862983</c:v>
                </c:pt>
                <c:pt idx="120">
                  <c:v>5.9118105434917032</c:v>
                </c:pt>
                <c:pt idx="121">
                  <c:v>4.9687323800346315</c:v>
                </c:pt>
                <c:pt idx="122">
                  <c:v>5.0709090838859856</c:v>
                </c:pt>
                <c:pt idx="123">
                  <c:v>6.1895441805595812</c:v>
                </c:pt>
                <c:pt idx="124">
                  <c:v>5.0240952862107973</c:v>
                </c:pt>
                <c:pt idx="125">
                  <c:v>5.0158145501548654</c:v>
                </c:pt>
                <c:pt idx="126">
                  <c:v>4.9110702561664219</c:v>
                </c:pt>
                <c:pt idx="127">
                  <c:v>4.9505232340569609</c:v>
                </c:pt>
                <c:pt idx="128">
                  <c:v>4.9914528394628972</c:v>
                </c:pt>
                <c:pt idx="129">
                  <c:v>5.0485988376627606</c:v>
                </c:pt>
                <c:pt idx="130">
                  <c:v>5.9040392126915098</c:v>
                </c:pt>
                <c:pt idx="131">
                  <c:v>5.1263152877492377</c:v>
                </c:pt>
                <c:pt idx="132">
                  <c:v>3.8780653190770926</c:v>
                </c:pt>
                <c:pt idx="133">
                  <c:v>7.0810924603937728</c:v>
                </c:pt>
                <c:pt idx="134">
                  <c:v>4.1695790557500478</c:v>
                </c:pt>
                <c:pt idx="135">
                  <c:v>4.8333544444253231</c:v>
                </c:pt>
                <c:pt idx="136">
                  <c:v>5.047786140001068</c:v>
                </c:pt>
                <c:pt idx="137">
                  <c:v>4.9850374742404373</c:v>
                </c:pt>
                <c:pt idx="138">
                  <c:v>5.9966655440644159</c:v>
                </c:pt>
                <c:pt idx="139">
                  <c:v>5.9464070761871151</c:v>
                </c:pt>
                <c:pt idx="140">
                  <c:v>5.0261577459183897</c:v>
                </c:pt>
                <c:pt idx="141">
                  <c:v>6.0492630038458195</c:v>
                </c:pt>
                <c:pt idx="142">
                  <c:v>5.9904079223632039</c:v>
                </c:pt>
                <c:pt idx="143">
                  <c:v>5.1123386361373644</c:v>
                </c:pt>
                <c:pt idx="144">
                  <c:v>5.9627487621356012</c:v>
                </c:pt>
                <c:pt idx="145">
                  <c:v>5.0191285834595094</c:v>
                </c:pt>
                <c:pt idx="146">
                  <c:v>4.8464054626331707</c:v>
                </c:pt>
                <c:pt idx="147">
                  <c:v>6.1887514766896352</c:v>
                </c:pt>
                <c:pt idx="148">
                  <c:v>5.0198268604449474</c:v>
                </c:pt>
                <c:pt idx="149">
                  <c:v>4.9449494860754672</c:v>
                </c:pt>
                <c:pt idx="150">
                  <c:v>6.0367281491066711</c:v>
                </c:pt>
                <c:pt idx="151">
                  <c:v>5.0934908623560897</c:v>
                </c:pt>
                <c:pt idx="152">
                  <c:v>3.9807678242223608</c:v>
                </c:pt>
                <c:pt idx="153">
                  <c:v>6.0355725917546055</c:v>
                </c:pt>
                <c:pt idx="154">
                  <c:v>5.9603480468779209</c:v>
                </c:pt>
                <c:pt idx="155">
                  <c:v>5.9638408615907457</c:v>
                </c:pt>
                <c:pt idx="156">
                  <c:v>3.9539837663113113</c:v>
                </c:pt>
                <c:pt idx="157">
                  <c:v>4.1731656536706145</c:v>
                </c:pt>
                <c:pt idx="158">
                  <c:v>4.0214970395963894</c:v>
                </c:pt>
                <c:pt idx="159">
                  <c:v>6.8408029881742465</c:v>
                </c:pt>
                <c:pt idx="160">
                  <c:v>4.910736369240956</c:v>
                </c:pt>
                <c:pt idx="161">
                  <c:v>3.803027586613863</c:v>
                </c:pt>
                <c:pt idx="162">
                  <c:v>4.8912904841671416</c:v>
                </c:pt>
                <c:pt idx="163">
                  <c:v>5.0828837914567213</c:v>
                </c:pt>
                <c:pt idx="164">
                  <c:v>5.9008980929160826</c:v>
                </c:pt>
                <c:pt idx="165">
                  <c:v>5.0204716450650793</c:v>
                </c:pt>
                <c:pt idx="166">
                  <c:v>5.8305132069850591</c:v>
                </c:pt>
                <c:pt idx="167">
                  <c:v>7.0406017735940996</c:v>
                </c:pt>
                <c:pt idx="168">
                  <c:v>5.9859054573296024</c:v>
                </c:pt>
                <c:pt idx="169">
                  <c:v>4.9997223872251988</c:v>
                </c:pt>
                <c:pt idx="170">
                  <c:v>6.0103278301842487</c:v>
                </c:pt>
                <c:pt idx="171">
                  <c:v>7.1055740348015242</c:v>
                </c:pt>
                <c:pt idx="172">
                  <c:v>5.0173008044384222</c:v>
                </c:pt>
                <c:pt idx="173">
                  <c:v>6.1730306603458152</c:v>
                </c:pt>
                <c:pt idx="174">
                  <c:v>6.1826816457524929</c:v>
                </c:pt>
                <c:pt idx="175">
                  <c:v>4.9729191662701808</c:v>
                </c:pt>
                <c:pt idx="176">
                  <c:v>5.0330274337650973</c:v>
                </c:pt>
                <c:pt idx="177">
                  <c:v>7.1317304266108064</c:v>
                </c:pt>
                <c:pt idx="178">
                  <c:v>5.0889509198750593</c:v>
                </c:pt>
                <c:pt idx="179">
                  <c:v>6.8172523782089272</c:v>
                </c:pt>
                <c:pt idx="180">
                  <c:v>6.1648282916004895</c:v>
                </c:pt>
                <c:pt idx="181">
                  <c:v>6.9722014193880693</c:v>
                </c:pt>
                <c:pt idx="182">
                  <c:v>4.9969252129256176</c:v>
                </c:pt>
                <c:pt idx="183">
                  <c:v>4.8497439597186318</c:v>
                </c:pt>
                <c:pt idx="184">
                  <c:v>6.1491410038074044</c:v>
                </c:pt>
                <c:pt idx="185">
                  <c:v>6.8212694297105489</c:v>
                </c:pt>
                <c:pt idx="186">
                  <c:v>4.9067617809449633</c:v>
                </c:pt>
                <c:pt idx="187">
                  <c:v>5.9926035340808115</c:v>
                </c:pt>
                <c:pt idx="188">
                  <c:v>5.1682307987036351</c:v>
                </c:pt>
                <c:pt idx="189">
                  <c:v>4.9957825970204937</c:v>
                </c:pt>
                <c:pt idx="190">
                  <c:v>5.0982241597762847</c:v>
                </c:pt>
                <c:pt idx="191">
                  <c:v>6.0282998980335787</c:v>
                </c:pt>
                <c:pt idx="192">
                  <c:v>5.0541895358524371</c:v>
                </c:pt>
                <c:pt idx="193">
                  <c:v>4.9970709057776794</c:v>
                </c:pt>
                <c:pt idx="194">
                  <c:v>3.8003804184922676</c:v>
                </c:pt>
                <c:pt idx="195">
                  <c:v>7.0466582274554277</c:v>
                </c:pt>
                <c:pt idx="196">
                  <c:v>6.0212963952618574</c:v>
                </c:pt>
                <c:pt idx="197">
                  <c:v>4.793230031026722</c:v>
                </c:pt>
                <c:pt idx="198">
                  <c:v>6.080865798418067</c:v>
                </c:pt>
                <c:pt idx="199">
                  <c:v>4.8861636674611866</c:v>
                </c:pt>
                <c:pt idx="200">
                  <c:v>6.1234908645295203</c:v>
                </c:pt>
                <c:pt idx="201">
                  <c:v>4.999357389225942</c:v>
                </c:pt>
                <c:pt idx="202">
                  <c:v>5.980716292650639</c:v>
                </c:pt>
                <c:pt idx="203">
                  <c:v>6.0332082211200744</c:v>
                </c:pt>
                <c:pt idx="204">
                  <c:v>6.0915285932885723</c:v>
                </c:pt>
                <c:pt idx="205">
                  <c:v>6.0278542981032821</c:v>
                </c:pt>
                <c:pt idx="206">
                  <c:v>2.9477775731227913</c:v>
                </c:pt>
                <c:pt idx="207">
                  <c:v>6.0840400342303207</c:v>
                </c:pt>
                <c:pt idx="208">
                  <c:v>6.1682895985196717</c:v>
                </c:pt>
                <c:pt idx="209">
                  <c:v>5.0584110563120026</c:v>
                </c:pt>
                <c:pt idx="210">
                  <c:v>5.9020192961825133</c:v>
                </c:pt>
                <c:pt idx="211">
                  <c:v>5.0820017355251439</c:v>
                </c:pt>
                <c:pt idx="212">
                  <c:v>6.1041879349566557</c:v>
                </c:pt>
                <c:pt idx="213">
                  <c:v>4.842808517381517</c:v>
                </c:pt>
                <c:pt idx="214">
                  <c:v>5.0700700097661784</c:v>
                </c:pt>
                <c:pt idx="215">
                  <c:v>5.9056577603186318</c:v>
                </c:pt>
                <c:pt idx="216">
                  <c:v>5.9642940476681057</c:v>
                </c:pt>
                <c:pt idx="217">
                  <c:v>5.8165689246558028</c:v>
                </c:pt>
                <c:pt idx="218">
                  <c:v>6.0108322739224</c:v>
                </c:pt>
                <c:pt idx="219">
                  <c:v>4.8831536474413122</c:v>
                </c:pt>
                <c:pt idx="220">
                  <c:v>4.9390785790196503</c:v>
                </c:pt>
                <c:pt idx="221">
                  <c:v>6.8765981783800934</c:v>
                </c:pt>
                <c:pt idx="222">
                  <c:v>5.8793298720437672</c:v>
                </c:pt>
                <c:pt idx="223">
                  <c:v>5.962042194731616</c:v>
                </c:pt>
                <c:pt idx="224">
                  <c:v>7.1114495938419244</c:v>
                </c:pt>
                <c:pt idx="225">
                  <c:v>4.9892365360762199</c:v>
                </c:pt>
                <c:pt idx="226">
                  <c:v>4.9188345427678497</c:v>
                </c:pt>
                <c:pt idx="227">
                  <c:v>4.843636773135592</c:v>
                </c:pt>
                <c:pt idx="228">
                  <c:v>4.8146486174694072</c:v>
                </c:pt>
                <c:pt idx="229">
                  <c:v>6.9030673957482822</c:v>
                </c:pt>
                <c:pt idx="230">
                  <c:v>4.880718752787109</c:v>
                </c:pt>
                <c:pt idx="231">
                  <c:v>4.9002960353052485</c:v>
                </c:pt>
                <c:pt idx="232">
                  <c:v>4.7193027084078878</c:v>
                </c:pt>
                <c:pt idx="233">
                  <c:v>2.8697434451342234</c:v>
                </c:pt>
                <c:pt idx="234">
                  <c:v>5.0756071344489966</c:v>
                </c:pt>
                <c:pt idx="235">
                  <c:v>5.8944544926968101</c:v>
                </c:pt>
                <c:pt idx="236">
                  <c:v>4.9127453877650717</c:v>
                </c:pt>
                <c:pt idx="237">
                  <c:v>4.8017985781301844</c:v>
                </c:pt>
                <c:pt idx="238">
                  <c:v>5.9327315458412953</c:v>
                </c:pt>
                <c:pt idx="239">
                  <c:v>5.9041896594131291</c:v>
                </c:pt>
                <c:pt idx="240">
                  <c:v>4.8016771338059607</c:v>
                </c:pt>
                <c:pt idx="241">
                  <c:v>5.9641380952762617</c:v>
                </c:pt>
                <c:pt idx="242">
                  <c:v>5.952300035164785</c:v>
                </c:pt>
                <c:pt idx="243">
                  <c:v>6.0619676921819243</c:v>
                </c:pt>
                <c:pt idx="244">
                  <c:v>6.0111006631843953</c:v>
                </c:pt>
                <c:pt idx="245">
                  <c:v>4.851244598195402</c:v>
                </c:pt>
                <c:pt idx="246">
                  <c:v>4.9906080186302466</c:v>
                </c:pt>
                <c:pt idx="247">
                  <c:v>4.9064243993438685</c:v>
                </c:pt>
                <c:pt idx="248">
                  <c:v>5.8970273293123032</c:v>
                </c:pt>
                <c:pt idx="249">
                  <c:v>5.0452739296327449</c:v>
                </c:pt>
                <c:pt idx="250">
                  <c:v>5.1689640835037789</c:v>
                </c:pt>
                <c:pt idx="251">
                  <c:v>5.7823981166963154</c:v>
                </c:pt>
                <c:pt idx="252">
                  <c:v>5.9882387546657707</c:v>
                </c:pt>
                <c:pt idx="253">
                  <c:v>4.9312738496139774</c:v>
                </c:pt>
                <c:pt idx="254">
                  <c:v>4.9625860723113746</c:v>
                </c:pt>
                <c:pt idx="255">
                  <c:v>5.0109173225453576</c:v>
                </c:pt>
                <c:pt idx="256">
                  <c:v>5.2733558191826919</c:v>
                </c:pt>
                <c:pt idx="257">
                  <c:v>4.9274546571206894</c:v>
                </c:pt>
                <c:pt idx="258">
                  <c:v>5.9450012077590904</c:v>
                </c:pt>
                <c:pt idx="259">
                  <c:v>4.7775452926105935</c:v>
                </c:pt>
                <c:pt idx="260">
                  <c:v>5.073238990658262</c:v>
                </c:pt>
                <c:pt idx="261">
                  <c:v>5.0522821710366914</c:v>
                </c:pt>
                <c:pt idx="262">
                  <c:v>5.2364283529770788</c:v>
                </c:pt>
                <c:pt idx="263">
                  <c:v>5.0524473201889153</c:v>
                </c:pt>
                <c:pt idx="264">
                  <c:v>5.9465842556328274</c:v>
                </c:pt>
                <c:pt idx="265">
                  <c:v>4.8895291818552256</c:v>
                </c:pt>
                <c:pt idx="266">
                  <c:v>5.0805123652886399</c:v>
                </c:pt>
                <c:pt idx="267">
                  <c:v>4.8794320382777912</c:v>
                </c:pt>
                <c:pt idx="268">
                  <c:v>5.01838177870472</c:v>
                </c:pt>
                <c:pt idx="269">
                  <c:v>4.9918274488573955</c:v>
                </c:pt>
                <c:pt idx="270">
                  <c:v>6.1200409172211074</c:v>
                </c:pt>
                <c:pt idx="271">
                  <c:v>5.932653920391326</c:v>
                </c:pt>
                <c:pt idx="272">
                  <c:v>5.9701727787049306</c:v>
                </c:pt>
                <c:pt idx="273">
                  <c:v>6.1478878161993809</c:v>
                </c:pt>
                <c:pt idx="274">
                  <c:v>4.8317009545328231</c:v>
                </c:pt>
                <c:pt idx="275">
                  <c:v>2.9634620591025471</c:v>
                </c:pt>
                <c:pt idx="276">
                  <c:v>3.9806464797880272</c:v>
                </c:pt>
                <c:pt idx="277">
                  <c:v>5.9867573979320845</c:v>
                </c:pt>
                <c:pt idx="278">
                  <c:v>6.0781911475850325</c:v>
                </c:pt>
                <c:pt idx="279">
                  <c:v>6.0342051834257191</c:v>
                </c:pt>
                <c:pt idx="280">
                  <c:v>5.9271561542908229</c:v>
                </c:pt>
                <c:pt idx="281">
                  <c:v>6.1122342121904909</c:v>
                </c:pt>
                <c:pt idx="282">
                  <c:v>5.815451475759053</c:v>
                </c:pt>
                <c:pt idx="283">
                  <c:v>5.8798628396886503</c:v>
                </c:pt>
                <c:pt idx="284">
                  <c:v>4.9700053532855195</c:v>
                </c:pt>
                <c:pt idx="285">
                  <c:v>5.1303753972439967</c:v>
                </c:pt>
                <c:pt idx="286">
                  <c:v>4.9920553925093136</c:v>
                </c:pt>
                <c:pt idx="287">
                  <c:v>6.9827118123280414</c:v>
                </c:pt>
                <c:pt idx="288">
                  <c:v>5.9880190527504773</c:v>
                </c:pt>
                <c:pt idx="289">
                  <c:v>3.9919881112683298</c:v>
                </c:pt>
                <c:pt idx="290">
                  <c:v>6.0840417778173324</c:v>
                </c:pt>
                <c:pt idx="291">
                  <c:v>6.0194571192955193</c:v>
                </c:pt>
                <c:pt idx="292">
                  <c:v>6.1022896422957089</c:v>
                </c:pt>
                <c:pt idx="293">
                  <c:v>5.0392997264935273</c:v>
                </c:pt>
                <c:pt idx="294">
                  <c:v>6.0363952575660953</c:v>
                </c:pt>
                <c:pt idx="295">
                  <c:v>4.9871365582278697</c:v>
                </c:pt>
                <c:pt idx="296">
                  <c:v>6.0088966354097133</c:v>
                </c:pt>
                <c:pt idx="297">
                  <c:v>5.0622778632756074</c:v>
                </c:pt>
                <c:pt idx="298">
                  <c:v>3.9427991134193787</c:v>
                </c:pt>
                <c:pt idx="299">
                  <c:v>4.8892441963980575</c:v>
                </c:pt>
                <c:pt idx="300">
                  <c:v>5.0413153770015597</c:v>
                </c:pt>
                <c:pt idx="301">
                  <c:v>5.0652707849752199</c:v>
                </c:pt>
                <c:pt idx="302">
                  <c:v>5.0239740289447949</c:v>
                </c:pt>
                <c:pt idx="303">
                  <c:v>5.968839313017182</c:v>
                </c:pt>
                <c:pt idx="304">
                  <c:v>6.033625409387751</c:v>
                </c:pt>
                <c:pt idx="305">
                  <c:v>4.9154251328101868</c:v>
                </c:pt>
                <c:pt idx="306">
                  <c:v>5.0960135237818402</c:v>
                </c:pt>
                <c:pt idx="307">
                  <c:v>4.9013306189490136</c:v>
                </c:pt>
                <c:pt idx="308">
                  <c:v>5.8767408005972879</c:v>
                </c:pt>
                <c:pt idx="309">
                  <c:v>3.8219548454663124</c:v>
                </c:pt>
                <c:pt idx="310">
                  <c:v>5.1852830532321361</c:v>
                </c:pt>
                <c:pt idx="311">
                  <c:v>5.9895204201191588</c:v>
                </c:pt>
                <c:pt idx="312">
                  <c:v>6.2069554504064888</c:v>
                </c:pt>
                <c:pt idx="313">
                  <c:v>5.161462854999523</c:v>
                </c:pt>
                <c:pt idx="314">
                  <c:v>5.1493373094064729</c:v>
                </c:pt>
                <c:pt idx="315">
                  <c:v>4.8440120114589256</c:v>
                </c:pt>
                <c:pt idx="316">
                  <c:v>3.9032997784716916</c:v>
                </c:pt>
                <c:pt idx="317">
                  <c:v>4.9576213770016144</c:v>
                </c:pt>
                <c:pt idx="318">
                  <c:v>4.8503244241720846</c:v>
                </c:pt>
                <c:pt idx="319">
                  <c:v>5.9600145107325364</c:v>
                </c:pt>
                <c:pt idx="320">
                  <c:v>5.8987295344287523</c:v>
                </c:pt>
                <c:pt idx="321">
                  <c:v>6.057050866882923</c:v>
                </c:pt>
                <c:pt idx="322">
                  <c:v>6.0487230419033526</c:v>
                </c:pt>
                <c:pt idx="323">
                  <c:v>6.1336847944682846</c:v>
                </c:pt>
                <c:pt idx="324">
                  <c:v>6.9544399674089181</c:v>
                </c:pt>
                <c:pt idx="325">
                  <c:v>4.808816710036723</c:v>
                </c:pt>
                <c:pt idx="326">
                  <c:v>4.9794913942623946</c:v>
                </c:pt>
                <c:pt idx="327">
                  <c:v>6.1644405081891041</c:v>
                </c:pt>
                <c:pt idx="328">
                  <c:v>3.9218760587372112</c:v>
                </c:pt>
                <c:pt idx="329">
                  <c:v>4.8872602261411595</c:v>
                </c:pt>
                <c:pt idx="330">
                  <c:v>4.9853337761105507</c:v>
                </c:pt>
                <c:pt idx="331">
                  <c:v>7.065037717679794</c:v>
                </c:pt>
                <c:pt idx="332">
                  <c:v>5.2737874926974966</c:v>
                </c:pt>
                <c:pt idx="333">
                  <c:v>6.0572261608642428</c:v>
                </c:pt>
                <c:pt idx="334">
                  <c:v>4.8764830148170111</c:v>
                </c:pt>
                <c:pt idx="335">
                  <c:v>5.9679167828210709</c:v>
                </c:pt>
                <c:pt idx="336">
                  <c:v>5.1131043128302176</c:v>
                </c:pt>
                <c:pt idx="337">
                  <c:v>6.1343592522027919</c:v>
                </c:pt>
                <c:pt idx="338">
                  <c:v>6.0301297223411812</c:v>
                </c:pt>
                <c:pt idx="339">
                  <c:v>4.9457066337093911</c:v>
                </c:pt>
                <c:pt idx="340">
                  <c:v>5.0605160671991198</c:v>
                </c:pt>
                <c:pt idx="341">
                  <c:v>5.9550894755082133</c:v>
                </c:pt>
                <c:pt idx="342">
                  <c:v>6.0746855578257133</c:v>
                </c:pt>
                <c:pt idx="343">
                  <c:v>6.0978608957887674</c:v>
                </c:pt>
                <c:pt idx="344">
                  <c:v>5.8756101884225522</c:v>
                </c:pt>
                <c:pt idx="345">
                  <c:v>4.9188368870531995</c:v>
                </c:pt>
                <c:pt idx="346">
                  <c:v>5.0844212910354836</c:v>
                </c:pt>
                <c:pt idx="347">
                  <c:v>4.9181079764859836</c:v>
                </c:pt>
                <c:pt idx="348">
                  <c:v>5.044646254830921</c:v>
                </c:pt>
                <c:pt idx="349">
                  <c:v>5.8356833278369562</c:v>
                </c:pt>
                <c:pt idx="350">
                  <c:v>5.0884302924375566</c:v>
                </c:pt>
                <c:pt idx="351">
                  <c:v>5.0422446718746547</c:v>
                </c:pt>
                <c:pt idx="352">
                  <c:v>4.9106652376792059</c:v>
                </c:pt>
                <c:pt idx="353">
                  <c:v>6.0630771991423824</c:v>
                </c:pt>
                <c:pt idx="354">
                  <c:v>6.1129968480713783</c:v>
                </c:pt>
                <c:pt idx="355">
                  <c:v>6.0094966980013664</c:v>
                </c:pt>
                <c:pt idx="356">
                  <c:v>4.9610035780420514</c:v>
                </c:pt>
                <c:pt idx="357">
                  <c:v>4.9157121492655946</c:v>
                </c:pt>
                <c:pt idx="358">
                  <c:v>5.8033729384724273</c:v>
                </c:pt>
                <c:pt idx="359">
                  <c:v>4.9302084871776231</c:v>
                </c:pt>
                <c:pt idx="360">
                  <c:v>6.1025270978055346</c:v>
                </c:pt>
                <c:pt idx="361">
                  <c:v>5.0724853358064692</c:v>
                </c:pt>
                <c:pt idx="362">
                  <c:v>5.9053768351829614</c:v>
                </c:pt>
                <c:pt idx="363">
                  <c:v>5.926839235613806</c:v>
                </c:pt>
                <c:pt idx="364">
                  <c:v>6.0328040695080274</c:v>
                </c:pt>
                <c:pt idx="365">
                  <c:v>5.0406055666312701</c:v>
                </c:pt>
                <c:pt idx="366">
                  <c:v>4.9025989861004344</c:v>
                </c:pt>
                <c:pt idx="367">
                  <c:v>5.0939324641028891</c:v>
                </c:pt>
                <c:pt idx="368">
                  <c:v>4.9662255802727948</c:v>
                </c:pt>
                <c:pt idx="369">
                  <c:v>4.8765438556883014</c:v>
                </c:pt>
                <c:pt idx="370">
                  <c:v>4.9015945723515708</c:v>
                </c:pt>
                <c:pt idx="371">
                  <c:v>5.9417459041058338</c:v>
                </c:pt>
                <c:pt idx="372">
                  <c:v>4.9331555610057825</c:v>
                </c:pt>
                <c:pt idx="373">
                  <c:v>4.7366043874871453</c:v>
                </c:pt>
                <c:pt idx="374">
                  <c:v>6.0078344154387979</c:v>
                </c:pt>
                <c:pt idx="375">
                  <c:v>6.0603739624748609</c:v>
                </c:pt>
                <c:pt idx="376">
                  <c:v>6.0991121085320419</c:v>
                </c:pt>
                <c:pt idx="377">
                  <c:v>5.9089415303033306</c:v>
                </c:pt>
                <c:pt idx="378">
                  <c:v>5.0495417255407711</c:v>
                </c:pt>
                <c:pt idx="379">
                  <c:v>6.93794890130473</c:v>
                </c:pt>
                <c:pt idx="380">
                  <c:v>6.0602720675591666</c:v>
                </c:pt>
                <c:pt idx="381">
                  <c:v>5.0993048867104873</c:v>
                </c:pt>
                <c:pt idx="382">
                  <c:v>4.9905666272203675</c:v>
                </c:pt>
                <c:pt idx="383">
                  <c:v>6.1090324312273285</c:v>
                </c:pt>
                <c:pt idx="384">
                  <c:v>5.9780361767082599</c:v>
                </c:pt>
                <c:pt idx="385">
                  <c:v>5.8890602924289173</c:v>
                </c:pt>
                <c:pt idx="386">
                  <c:v>5.056646385808234</c:v>
                </c:pt>
                <c:pt idx="387">
                  <c:v>5.284458925171287</c:v>
                </c:pt>
                <c:pt idx="388">
                  <c:v>5.1113687628078281</c:v>
                </c:pt>
                <c:pt idx="389">
                  <c:v>4.9183420952386276</c:v>
                </c:pt>
                <c:pt idx="390">
                  <c:v>5.030871823904314</c:v>
                </c:pt>
                <c:pt idx="391">
                  <c:v>4.8765433610651749</c:v>
                </c:pt>
                <c:pt idx="392">
                  <c:v>7.0124312933875661</c:v>
                </c:pt>
                <c:pt idx="393">
                  <c:v>7.0693160854753057</c:v>
                </c:pt>
                <c:pt idx="394">
                  <c:v>6.9371584626636755</c:v>
                </c:pt>
                <c:pt idx="395">
                  <c:v>6.0898278013704354</c:v>
                </c:pt>
                <c:pt idx="396">
                  <c:v>6.0426094078689827</c:v>
                </c:pt>
                <c:pt idx="397">
                  <c:v>5.9611745825794724</c:v>
                </c:pt>
                <c:pt idx="398">
                  <c:v>7.0412816939840264</c:v>
                </c:pt>
                <c:pt idx="399">
                  <c:v>4.9447325019026582</c:v>
                </c:pt>
                <c:pt idx="400">
                  <c:v>6.2075700765928659</c:v>
                </c:pt>
                <c:pt idx="401">
                  <c:v>5.0110885648677801</c:v>
                </c:pt>
                <c:pt idx="402">
                  <c:v>4.9623912758908704</c:v>
                </c:pt>
                <c:pt idx="403">
                  <c:v>6.9167230423717045</c:v>
                </c:pt>
                <c:pt idx="404">
                  <c:v>5.9956243446709019</c:v>
                </c:pt>
                <c:pt idx="405">
                  <c:v>3.9446384928454195</c:v>
                </c:pt>
                <c:pt idx="406">
                  <c:v>3.9870649018227589</c:v>
                </c:pt>
                <c:pt idx="407">
                  <c:v>5.0742112911596777</c:v>
                </c:pt>
                <c:pt idx="408">
                  <c:v>1.7600022717928372</c:v>
                </c:pt>
                <c:pt idx="409">
                  <c:v>5.9346645359748305</c:v>
                </c:pt>
                <c:pt idx="410">
                  <c:v>6.0801702978504073</c:v>
                </c:pt>
                <c:pt idx="411">
                  <c:v>5.0839586460577895</c:v>
                </c:pt>
                <c:pt idx="412">
                  <c:v>4.9558819881149896</c:v>
                </c:pt>
                <c:pt idx="413">
                  <c:v>4.8559971816590046</c:v>
                </c:pt>
                <c:pt idx="414">
                  <c:v>5.0313173037435819</c:v>
                </c:pt>
                <c:pt idx="415">
                  <c:v>6.1549351502432712</c:v>
                </c:pt>
                <c:pt idx="416">
                  <c:v>4.8927343512993247</c:v>
                </c:pt>
                <c:pt idx="417">
                  <c:v>5.8652685620920781</c:v>
                </c:pt>
                <c:pt idx="418">
                  <c:v>4.7475229628460927</c:v>
                </c:pt>
                <c:pt idx="419">
                  <c:v>6.1363518309517993</c:v>
                </c:pt>
                <c:pt idx="420">
                  <c:v>6.2697334490773962</c:v>
                </c:pt>
                <c:pt idx="421">
                  <c:v>6.0831397145979444</c:v>
                </c:pt>
                <c:pt idx="422">
                  <c:v>4.8768987171812483</c:v>
                </c:pt>
                <c:pt idx="423">
                  <c:v>4.9988179492249971</c:v>
                </c:pt>
                <c:pt idx="424">
                  <c:v>5.1273767037704152</c:v>
                </c:pt>
                <c:pt idx="425">
                  <c:v>6.0770025717210405</c:v>
                </c:pt>
                <c:pt idx="426">
                  <c:v>5.0407145733156238</c:v>
                </c:pt>
                <c:pt idx="427">
                  <c:v>6.0124995025209005</c:v>
                </c:pt>
                <c:pt idx="428">
                  <c:v>4.95841273892598</c:v>
                </c:pt>
                <c:pt idx="429">
                  <c:v>5.9838594759965966</c:v>
                </c:pt>
                <c:pt idx="430">
                  <c:v>5.1257689989498116</c:v>
                </c:pt>
                <c:pt idx="431">
                  <c:v>6.1442562333815882</c:v>
                </c:pt>
                <c:pt idx="432">
                  <c:v>4.9527336553167869</c:v>
                </c:pt>
                <c:pt idx="433">
                  <c:v>4.8830023036906276</c:v>
                </c:pt>
                <c:pt idx="434">
                  <c:v>6.0424297172320465</c:v>
                </c:pt>
                <c:pt idx="435">
                  <c:v>7.0730754837387675</c:v>
                </c:pt>
                <c:pt idx="436">
                  <c:v>5.1106844708238697</c:v>
                </c:pt>
                <c:pt idx="437">
                  <c:v>4.9243033397499616</c:v>
                </c:pt>
                <c:pt idx="438">
                  <c:v>7.142942607756491</c:v>
                </c:pt>
                <c:pt idx="439">
                  <c:v>4.9392168898925641</c:v>
                </c:pt>
                <c:pt idx="440">
                  <c:v>4.9087847398426492</c:v>
                </c:pt>
                <c:pt idx="441">
                  <c:v>4.9832167176425646</c:v>
                </c:pt>
                <c:pt idx="442">
                  <c:v>4.976125437489392</c:v>
                </c:pt>
                <c:pt idx="443">
                  <c:v>6.9590335179699041</c:v>
                </c:pt>
                <c:pt idx="444">
                  <c:v>5.9202017444246904</c:v>
                </c:pt>
                <c:pt idx="445">
                  <c:v>4.9046364658992578</c:v>
                </c:pt>
                <c:pt idx="446">
                  <c:v>4.7539650406056442</c:v>
                </c:pt>
                <c:pt idx="447">
                  <c:v>4.8640678087130818</c:v>
                </c:pt>
                <c:pt idx="448">
                  <c:v>4.9710367438373471</c:v>
                </c:pt>
                <c:pt idx="449">
                  <c:v>5.046449567870396</c:v>
                </c:pt>
                <c:pt idx="450">
                  <c:v>6.0133449032723583</c:v>
                </c:pt>
                <c:pt idx="451">
                  <c:v>4.9882724840849413</c:v>
                </c:pt>
                <c:pt idx="452">
                  <c:v>6.0699392675876291</c:v>
                </c:pt>
                <c:pt idx="453">
                  <c:v>5.9879698578349432</c:v>
                </c:pt>
                <c:pt idx="454">
                  <c:v>4.8818067925804618</c:v>
                </c:pt>
                <c:pt idx="455">
                  <c:v>5.1562528075250125</c:v>
                </c:pt>
                <c:pt idx="456">
                  <c:v>5.0053652935344379</c:v>
                </c:pt>
                <c:pt idx="457">
                  <c:v>5.8727677645621474</c:v>
                </c:pt>
                <c:pt idx="458">
                  <c:v>5.0227111564056708</c:v>
                </c:pt>
                <c:pt idx="459">
                  <c:v>5.1001965331268959</c:v>
                </c:pt>
                <c:pt idx="460">
                  <c:v>5.9644951933147752</c:v>
                </c:pt>
                <c:pt idx="461">
                  <c:v>5.932992221100875</c:v>
                </c:pt>
                <c:pt idx="462">
                  <c:v>5.9399762568550099</c:v>
                </c:pt>
                <c:pt idx="463">
                  <c:v>6.2171061850162017</c:v>
                </c:pt>
                <c:pt idx="464">
                  <c:v>4.9800882624731342</c:v>
                </c:pt>
                <c:pt idx="465">
                  <c:v>5.8591225369495694</c:v>
                </c:pt>
                <c:pt idx="466">
                  <c:v>7.0686959545127346</c:v>
                </c:pt>
                <c:pt idx="467">
                  <c:v>4.8891792626019779</c:v>
                </c:pt>
                <c:pt idx="468">
                  <c:v>2.0789821234075188</c:v>
                </c:pt>
                <c:pt idx="469">
                  <c:v>5.144535094063575</c:v>
                </c:pt>
                <c:pt idx="470">
                  <c:v>5.8112500471987278</c:v>
                </c:pt>
                <c:pt idx="471">
                  <c:v>5.0253740512820171</c:v>
                </c:pt>
                <c:pt idx="472">
                  <c:v>5.0038668143292737</c:v>
                </c:pt>
                <c:pt idx="473">
                  <c:v>5.9977404018087057</c:v>
                </c:pt>
                <c:pt idx="474">
                  <c:v>4.9569426596837083</c:v>
                </c:pt>
                <c:pt idx="475">
                  <c:v>7.1971207960538592</c:v>
                </c:pt>
                <c:pt idx="476">
                  <c:v>5.9641893202534995</c:v>
                </c:pt>
                <c:pt idx="477">
                  <c:v>7.0047404854594966</c:v>
                </c:pt>
                <c:pt idx="478">
                  <c:v>6.0773687954956026</c:v>
                </c:pt>
                <c:pt idx="479">
                  <c:v>4.8875322584532306</c:v>
                </c:pt>
                <c:pt idx="480">
                  <c:v>4.8729472162900382</c:v>
                </c:pt>
                <c:pt idx="481">
                  <c:v>4.955627760016867</c:v>
                </c:pt>
                <c:pt idx="482">
                  <c:v>4.0566347213905187</c:v>
                </c:pt>
                <c:pt idx="483">
                  <c:v>4.8760667485759575</c:v>
                </c:pt>
                <c:pt idx="484">
                  <c:v>5.1049491871044372</c:v>
                </c:pt>
                <c:pt idx="485">
                  <c:v>5.7092205972022043</c:v>
                </c:pt>
                <c:pt idx="486">
                  <c:v>4.9594590522043731</c:v>
                </c:pt>
                <c:pt idx="487">
                  <c:v>4.9845482241049632</c:v>
                </c:pt>
                <c:pt idx="488">
                  <c:v>6.0150473616108071</c:v>
                </c:pt>
                <c:pt idx="489">
                  <c:v>4.174348773748056</c:v>
                </c:pt>
                <c:pt idx="490">
                  <c:v>6.9914659195835176</c:v>
                </c:pt>
                <c:pt idx="491">
                  <c:v>5.9400590151004051</c:v>
                </c:pt>
                <c:pt idx="492">
                  <c:v>4.9900032418761509</c:v>
                </c:pt>
                <c:pt idx="493">
                  <c:v>5.9498861002395707</c:v>
                </c:pt>
                <c:pt idx="494">
                  <c:v>4.8429191507405829</c:v>
                </c:pt>
                <c:pt idx="495">
                  <c:v>6.010832665229441</c:v>
                </c:pt>
                <c:pt idx="496">
                  <c:v>5.0234638782179513</c:v>
                </c:pt>
                <c:pt idx="497">
                  <c:v>5.9791631416215747</c:v>
                </c:pt>
                <c:pt idx="498">
                  <c:v>5.8490511271560894</c:v>
                </c:pt>
                <c:pt idx="499">
                  <c:v>4.8819831735620518</c:v>
                </c:pt>
                <c:pt idx="500">
                  <c:v>5.99716102455087</c:v>
                </c:pt>
                <c:pt idx="501">
                  <c:v>4.9830454288073369</c:v>
                </c:pt>
                <c:pt idx="502">
                  <c:v>4.9558829228165244</c:v>
                </c:pt>
                <c:pt idx="503">
                  <c:v>6.0557071127145399</c:v>
                </c:pt>
                <c:pt idx="504">
                  <c:v>6.0418878242014182</c:v>
                </c:pt>
                <c:pt idx="505">
                  <c:v>4.9783429164453548</c:v>
                </c:pt>
                <c:pt idx="506">
                  <c:v>5.8539470259696778</c:v>
                </c:pt>
                <c:pt idx="507">
                  <c:v>5.9516471558783577</c:v>
                </c:pt>
                <c:pt idx="508">
                  <c:v>5.9596734318073983</c:v>
                </c:pt>
                <c:pt idx="509">
                  <c:v>4.9641565685302149</c:v>
                </c:pt>
                <c:pt idx="510">
                  <c:v>6.9370217508740888</c:v>
                </c:pt>
                <c:pt idx="511">
                  <c:v>4.9280293121360668</c:v>
                </c:pt>
                <c:pt idx="512">
                  <c:v>4.9972366971669961</c:v>
                </c:pt>
                <c:pt idx="513">
                  <c:v>4.9268457886269648</c:v>
                </c:pt>
                <c:pt idx="514">
                  <c:v>5.9818627829398769</c:v>
                </c:pt>
                <c:pt idx="515">
                  <c:v>5.8209843973272148</c:v>
                </c:pt>
                <c:pt idx="516">
                  <c:v>5.9691501049851512</c:v>
                </c:pt>
                <c:pt idx="517">
                  <c:v>5.864935341405797</c:v>
                </c:pt>
                <c:pt idx="518">
                  <c:v>4.9843645371099674</c:v>
                </c:pt>
                <c:pt idx="519">
                  <c:v>4.09479677216813</c:v>
                </c:pt>
                <c:pt idx="520">
                  <c:v>6.1147883997539214</c:v>
                </c:pt>
                <c:pt idx="521">
                  <c:v>6.1117924724012855</c:v>
                </c:pt>
                <c:pt idx="522">
                  <c:v>5.1571815579707181</c:v>
                </c:pt>
                <c:pt idx="523">
                  <c:v>6.0620587845262177</c:v>
                </c:pt>
                <c:pt idx="524">
                  <c:v>4.9390376884006697</c:v>
                </c:pt>
                <c:pt idx="525">
                  <c:v>6.0779986422861629</c:v>
                </c:pt>
                <c:pt idx="526">
                  <c:v>6.0761853083399675</c:v>
                </c:pt>
                <c:pt idx="527">
                  <c:v>5.836437396181795</c:v>
                </c:pt>
                <c:pt idx="528">
                  <c:v>5.089248381933249</c:v>
                </c:pt>
                <c:pt idx="529">
                  <c:v>4.8920484673590945</c:v>
                </c:pt>
                <c:pt idx="530">
                  <c:v>5.0069960578263428</c:v>
                </c:pt>
                <c:pt idx="531">
                  <c:v>5.0705690019953193</c:v>
                </c:pt>
                <c:pt idx="532">
                  <c:v>5.9311126295820946</c:v>
                </c:pt>
                <c:pt idx="533">
                  <c:v>6.1071057909256607</c:v>
                </c:pt>
                <c:pt idx="534">
                  <c:v>7.1907957106306268</c:v>
                </c:pt>
                <c:pt idx="535">
                  <c:v>5.967270109776976</c:v>
                </c:pt>
                <c:pt idx="536">
                  <c:v>6.8813375871100027</c:v>
                </c:pt>
                <c:pt idx="537">
                  <c:v>6.1119370594381772</c:v>
                </c:pt>
                <c:pt idx="538">
                  <c:v>4.9812148007211556</c:v>
                </c:pt>
                <c:pt idx="539">
                  <c:v>4.9429126646839352</c:v>
                </c:pt>
                <c:pt idx="540">
                  <c:v>4.9320082423108946</c:v>
                </c:pt>
                <c:pt idx="541">
                  <c:v>6.0601631704968622</c:v>
                </c:pt>
                <c:pt idx="542">
                  <c:v>6.0556232472663432</c:v>
                </c:pt>
                <c:pt idx="543">
                  <c:v>5.1511358126799012</c:v>
                </c:pt>
                <c:pt idx="544">
                  <c:v>6.1293449254959667</c:v>
                </c:pt>
                <c:pt idx="545">
                  <c:v>4.9243692058923338</c:v>
                </c:pt>
                <c:pt idx="546">
                  <c:v>6.1027027544233379</c:v>
                </c:pt>
                <c:pt idx="547">
                  <c:v>6.0018490055461706</c:v>
                </c:pt>
                <c:pt idx="548">
                  <c:v>5.9663473222944203</c:v>
                </c:pt>
                <c:pt idx="549">
                  <c:v>6.1427213087020904</c:v>
                </c:pt>
                <c:pt idx="550">
                  <c:v>5.0047458646239464</c:v>
                </c:pt>
                <c:pt idx="551">
                  <c:v>5.8326016540467611</c:v>
                </c:pt>
                <c:pt idx="552">
                  <c:v>5.0193388266842085</c:v>
                </c:pt>
                <c:pt idx="553">
                  <c:v>6.0663035500825657</c:v>
                </c:pt>
                <c:pt idx="554">
                  <c:v>7.0357569489189942</c:v>
                </c:pt>
                <c:pt idx="555">
                  <c:v>5.9285337621616705</c:v>
                </c:pt>
                <c:pt idx="556">
                  <c:v>4.1234153126108888</c:v>
                </c:pt>
                <c:pt idx="557">
                  <c:v>5.8927965560181841</c:v>
                </c:pt>
                <c:pt idx="558">
                  <c:v>4.9718655718117288</c:v>
                </c:pt>
                <c:pt idx="559">
                  <c:v>7.1178711692216599</c:v>
                </c:pt>
                <c:pt idx="560">
                  <c:v>5.92141689027462</c:v>
                </c:pt>
                <c:pt idx="561">
                  <c:v>6.9773375268472062</c:v>
                </c:pt>
                <c:pt idx="562">
                  <c:v>7.0036115778822632</c:v>
                </c:pt>
                <c:pt idx="563">
                  <c:v>6.0197897211962292</c:v>
                </c:pt>
                <c:pt idx="564">
                  <c:v>6.1235295898718629</c:v>
                </c:pt>
                <c:pt idx="565">
                  <c:v>5.0927209876131938</c:v>
                </c:pt>
                <c:pt idx="566">
                  <c:v>5.1281030787682367</c:v>
                </c:pt>
                <c:pt idx="567">
                  <c:v>6.8730891328019066</c:v>
                </c:pt>
                <c:pt idx="568">
                  <c:v>5.9686392646104345</c:v>
                </c:pt>
                <c:pt idx="569">
                  <c:v>4.971714375725556</c:v>
                </c:pt>
                <c:pt idx="570">
                  <c:v>5.8854602361295667</c:v>
                </c:pt>
                <c:pt idx="571">
                  <c:v>7.0398045222047756</c:v>
                </c:pt>
                <c:pt idx="572">
                  <c:v>5.9335411534803546</c:v>
                </c:pt>
                <c:pt idx="573">
                  <c:v>6.0035084357344166</c:v>
                </c:pt>
                <c:pt idx="574">
                  <c:v>7.1612744563814932</c:v>
                </c:pt>
                <c:pt idx="575">
                  <c:v>5.9452007217816636</c:v>
                </c:pt>
                <c:pt idx="576">
                  <c:v>7.055492723278312</c:v>
                </c:pt>
                <c:pt idx="577">
                  <c:v>5.8867145007453718</c:v>
                </c:pt>
                <c:pt idx="578">
                  <c:v>6.980548029110988</c:v>
                </c:pt>
                <c:pt idx="579">
                  <c:v>5.8752362394512714</c:v>
                </c:pt>
                <c:pt idx="580">
                  <c:v>5.8603638362785668</c:v>
                </c:pt>
                <c:pt idx="581">
                  <c:v>5.8677916975003814</c:v>
                </c:pt>
                <c:pt idx="582">
                  <c:v>5.9861379334826763</c:v>
                </c:pt>
                <c:pt idx="583">
                  <c:v>7.0565611747645836</c:v>
                </c:pt>
                <c:pt idx="584">
                  <c:v>5.8768930731023001</c:v>
                </c:pt>
                <c:pt idx="585">
                  <c:v>7.0621236672951646</c:v>
                </c:pt>
                <c:pt idx="586">
                  <c:v>5.089166866244045</c:v>
                </c:pt>
                <c:pt idx="587">
                  <c:v>5.9636188153419383</c:v>
                </c:pt>
                <c:pt idx="588">
                  <c:v>4.8648246674029867</c:v>
                </c:pt>
                <c:pt idx="589">
                  <c:v>6.0143599725321515</c:v>
                </c:pt>
                <c:pt idx="590">
                  <c:v>4.8998527678363448</c:v>
                </c:pt>
                <c:pt idx="591">
                  <c:v>6.8797959050947535</c:v>
                </c:pt>
                <c:pt idx="592">
                  <c:v>5.029047616128377</c:v>
                </c:pt>
                <c:pt idx="593">
                  <c:v>7.0347699581971446</c:v>
                </c:pt>
                <c:pt idx="594">
                  <c:v>4.8291517897494671</c:v>
                </c:pt>
                <c:pt idx="595">
                  <c:v>4.031403780656226</c:v>
                </c:pt>
                <c:pt idx="596">
                  <c:v>6.1269427418719715</c:v>
                </c:pt>
                <c:pt idx="597">
                  <c:v>4.9142345699245169</c:v>
                </c:pt>
                <c:pt idx="598">
                  <c:v>6.1943912085750386</c:v>
                </c:pt>
                <c:pt idx="599">
                  <c:v>6.7639804192699682</c:v>
                </c:pt>
                <c:pt idx="600">
                  <c:v>5.7436495356945851</c:v>
                </c:pt>
                <c:pt idx="601">
                  <c:v>5.9006472239152803</c:v>
                </c:pt>
                <c:pt idx="602">
                  <c:v>6.8903700477329828</c:v>
                </c:pt>
                <c:pt idx="603">
                  <c:v>5.9847035858058328</c:v>
                </c:pt>
                <c:pt idx="604">
                  <c:v>6.1014073460012321</c:v>
                </c:pt>
                <c:pt idx="605">
                  <c:v>6.9476119244658614</c:v>
                </c:pt>
                <c:pt idx="606">
                  <c:v>5.9183023279340778</c:v>
                </c:pt>
                <c:pt idx="607">
                  <c:v>6.9949621686481036</c:v>
                </c:pt>
                <c:pt idx="608">
                  <c:v>4.8182265516766343</c:v>
                </c:pt>
                <c:pt idx="609">
                  <c:v>6.0707340111036299</c:v>
                </c:pt>
                <c:pt idx="610">
                  <c:v>5.0141668880829009</c:v>
                </c:pt>
                <c:pt idx="611">
                  <c:v>6.0134030899012973</c:v>
                </c:pt>
                <c:pt idx="612">
                  <c:v>5.7998851498196577</c:v>
                </c:pt>
                <c:pt idx="613">
                  <c:v>5.9863590122170613</c:v>
                </c:pt>
                <c:pt idx="614">
                  <c:v>4.9356085556178781</c:v>
                </c:pt>
                <c:pt idx="615">
                  <c:v>4.8900164311956553</c:v>
                </c:pt>
                <c:pt idx="616">
                  <c:v>7.1121094455930685</c:v>
                </c:pt>
                <c:pt idx="617">
                  <c:v>4.8710757785302858</c:v>
                </c:pt>
                <c:pt idx="618">
                  <c:v>6.023599076821478</c:v>
                </c:pt>
                <c:pt idx="619">
                  <c:v>3.030097819577978</c:v>
                </c:pt>
                <c:pt idx="620">
                  <c:v>5.0438936748186922</c:v>
                </c:pt>
                <c:pt idx="621">
                  <c:v>4.8237993741904495</c:v>
                </c:pt>
                <c:pt idx="622">
                  <c:v>5.0269797190947543</c:v>
                </c:pt>
                <c:pt idx="623">
                  <c:v>6.0275580308425916</c:v>
                </c:pt>
                <c:pt idx="624">
                  <c:v>7.1054191459963194</c:v>
                </c:pt>
                <c:pt idx="625">
                  <c:v>6.0152244191930873</c:v>
                </c:pt>
                <c:pt idx="626">
                  <c:v>6.0580160494681419</c:v>
                </c:pt>
                <c:pt idx="627">
                  <c:v>6.9082141625157547</c:v>
                </c:pt>
                <c:pt idx="628">
                  <c:v>5.0435697615513568</c:v>
                </c:pt>
                <c:pt idx="629">
                  <c:v>4.8827759191360167</c:v>
                </c:pt>
                <c:pt idx="630">
                  <c:v>4.9174590834182901</c:v>
                </c:pt>
                <c:pt idx="631">
                  <c:v>6.0576916913892918</c:v>
                </c:pt>
                <c:pt idx="632">
                  <c:v>5.8728421651923384</c:v>
                </c:pt>
                <c:pt idx="633">
                  <c:v>6.9778702641966337</c:v>
                </c:pt>
                <c:pt idx="634">
                  <c:v>5.9792270220913908</c:v>
                </c:pt>
                <c:pt idx="635">
                  <c:v>5.997971492755326</c:v>
                </c:pt>
                <c:pt idx="636">
                  <c:v>5.0679384448401565</c:v>
                </c:pt>
                <c:pt idx="637">
                  <c:v>6.9044002479461462</c:v>
                </c:pt>
                <c:pt idx="638">
                  <c:v>5.7691517499992608</c:v>
                </c:pt>
                <c:pt idx="639">
                  <c:v>7.096003893743382</c:v>
                </c:pt>
                <c:pt idx="640">
                  <c:v>4.9027893845836044</c:v>
                </c:pt>
                <c:pt idx="641">
                  <c:v>6.0980826625567834</c:v>
                </c:pt>
                <c:pt idx="642">
                  <c:v>5.9331690126096257</c:v>
                </c:pt>
                <c:pt idx="643">
                  <c:v>5.0583774211971164</c:v>
                </c:pt>
                <c:pt idx="644">
                  <c:v>5.9593419816854363</c:v>
                </c:pt>
                <c:pt idx="645">
                  <c:v>4.9867513000124042</c:v>
                </c:pt>
                <c:pt idx="646">
                  <c:v>6.0504145213085572</c:v>
                </c:pt>
                <c:pt idx="647">
                  <c:v>5.0125710764540754</c:v>
                </c:pt>
                <c:pt idx="648">
                  <c:v>6.0214535101464532</c:v>
                </c:pt>
                <c:pt idx="649">
                  <c:v>7.013959127165835</c:v>
                </c:pt>
                <c:pt idx="650">
                  <c:v>5.1181213579530249</c:v>
                </c:pt>
                <c:pt idx="651">
                  <c:v>5.8899754547095826</c:v>
                </c:pt>
                <c:pt idx="652">
                  <c:v>7.0677057228342699</c:v>
                </c:pt>
                <c:pt idx="653">
                  <c:v>5.0297295721735544</c:v>
                </c:pt>
                <c:pt idx="654">
                  <c:v>5.9521601889807512</c:v>
                </c:pt>
                <c:pt idx="655">
                  <c:v>5.8833212712352916</c:v>
                </c:pt>
                <c:pt idx="656">
                  <c:v>6.1239388457086781</c:v>
                </c:pt>
                <c:pt idx="657">
                  <c:v>5.8651524146257907</c:v>
                </c:pt>
                <c:pt idx="658">
                  <c:v>5.8538554542600352</c:v>
                </c:pt>
                <c:pt idx="659">
                  <c:v>5.9516342646591021</c:v>
                </c:pt>
                <c:pt idx="660">
                  <c:v>4.8607865505231613</c:v>
                </c:pt>
                <c:pt idx="661">
                  <c:v>7.0454579172298297</c:v>
                </c:pt>
                <c:pt idx="662">
                  <c:v>4.9037723259106434</c:v>
                </c:pt>
                <c:pt idx="663">
                  <c:v>5.9861973870843954</c:v>
                </c:pt>
                <c:pt idx="664">
                  <c:v>5.8659859631213065</c:v>
                </c:pt>
                <c:pt idx="665">
                  <c:v>7.1094859313012355</c:v>
                </c:pt>
                <c:pt idx="666">
                  <c:v>6.0834839658043203</c:v>
                </c:pt>
                <c:pt idx="667">
                  <c:v>6.012323560754127</c:v>
                </c:pt>
                <c:pt idx="668">
                  <c:v>6.0103491501487598</c:v>
                </c:pt>
                <c:pt idx="669">
                  <c:v>4.8930707977688952</c:v>
                </c:pt>
                <c:pt idx="670">
                  <c:v>6.0846969200908889</c:v>
                </c:pt>
                <c:pt idx="671">
                  <c:v>6.0475143532445577</c:v>
                </c:pt>
                <c:pt idx="672">
                  <c:v>4.0327839027679211</c:v>
                </c:pt>
                <c:pt idx="673">
                  <c:v>4.9152307621705917</c:v>
                </c:pt>
                <c:pt idx="674">
                  <c:v>6.1517742633524408</c:v>
                </c:pt>
                <c:pt idx="675">
                  <c:v>5.789051433536323</c:v>
                </c:pt>
                <c:pt idx="676">
                  <c:v>5.9784793280406721</c:v>
                </c:pt>
                <c:pt idx="677">
                  <c:v>4.9556223170404055</c:v>
                </c:pt>
                <c:pt idx="678">
                  <c:v>4.979502177483476</c:v>
                </c:pt>
                <c:pt idx="679">
                  <c:v>5.7842397610883216</c:v>
                </c:pt>
                <c:pt idx="680">
                  <c:v>5.077071400108883</c:v>
                </c:pt>
                <c:pt idx="681">
                  <c:v>4.852694990757815</c:v>
                </c:pt>
                <c:pt idx="682">
                  <c:v>6.1605018138623064</c:v>
                </c:pt>
                <c:pt idx="683">
                  <c:v>4.9516845940075589</c:v>
                </c:pt>
                <c:pt idx="684">
                  <c:v>5.8998864420676229</c:v>
                </c:pt>
                <c:pt idx="685">
                  <c:v>6.9503215079455209</c:v>
                </c:pt>
                <c:pt idx="686">
                  <c:v>7.0085356648546933</c:v>
                </c:pt>
                <c:pt idx="687">
                  <c:v>3.9778997973554486</c:v>
                </c:pt>
                <c:pt idx="688">
                  <c:v>4.8399531395618522</c:v>
                </c:pt>
                <c:pt idx="689">
                  <c:v>6.16960366363051</c:v>
                </c:pt>
                <c:pt idx="690">
                  <c:v>5.9020755639961333</c:v>
                </c:pt>
                <c:pt idx="691">
                  <c:v>5.985567106456573</c:v>
                </c:pt>
                <c:pt idx="692">
                  <c:v>5.240237020499106</c:v>
                </c:pt>
                <c:pt idx="693">
                  <c:v>6.1141759877248854</c:v>
                </c:pt>
                <c:pt idx="694">
                  <c:v>5.9548714025466847</c:v>
                </c:pt>
                <c:pt idx="695">
                  <c:v>5.2447775159633645</c:v>
                </c:pt>
                <c:pt idx="696">
                  <c:v>5.8271842296203431</c:v>
                </c:pt>
                <c:pt idx="697">
                  <c:v>4.9248630477986426</c:v>
                </c:pt>
                <c:pt idx="698">
                  <c:v>5.7138960203288987</c:v>
                </c:pt>
                <c:pt idx="699">
                  <c:v>6.062984410203522</c:v>
                </c:pt>
                <c:pt idx="700">
                  <c:v>5.071695813188084</c:v>
                </c:pt>
                <c:pt idx="701">
                  <c:v>5.0393378175552161</c:v>
                </c:pt>
                <c:pt idx="702">
                  <c:v>5.8839010460873507</c:v>
                </c:pt>
                <c:pt idx="703">
                  <c:v>4.9160592059606332</c:v>
                </c:pt>
                <c:pt idx="704">
                  <c:v>7.001859122520858</c:v>
                </c:pt>
                <c:pt idx="705">
                  <c:v>5.9583545022985716</c:v>
                </c:pt>
                <c:pt idx="706">
                  <c:v>5.9485476612870398</c:v>
                </c:pt>
                <c:pt idx="707">
                  <c:v>5.7671051006638931</c:v>
                </c:pt>
                <c:pt idx="708">
                  <c:v>4.1087069779647249</c:v>
                </c:pt>
                <c:pt idx="709">
                  <c:v>5.8203750980134012</c:v>
                </c:pt>
                <c:pt idx="710">
                  <c:v>5.9367377825053653</c:v>
                </c:pt>
                <c:pt idx="711">
                  <c:v>5.9574234285617624</c:v>
                </c:pt>
                <c:pt idx="712">
                  <c:v>4.8816364909532748</c:v>
                </c:pt>
                <c:pt idx="713">
                  <c:v>4.966545764200375</c:v>
                </c:pt>
                <c:pt idx="714">
                  <c:v>7.0494294721736388</c:v>
                </c:pt>
                <c:pt idx="715">
                  <c:v>5.997431175120207</c:v>
                </c:pt>
                <c:pt idx="716">
                  <c:v>6.1705777825956272</c:v>
                </c:pt>
                <c:pt idx="717">
                  <c:v>7.0527832885124928</c:v>
                </c:pt>
                <c:pt idx="718">
                  <c:v>4.9335782430709729</c:v>
                </c:pt>
                <c:pt idx="719">
                  <c:v>5.9674931496114079</c:v>
                </c:pt>
                <c:pt idx="720">
                  <c:v>5.1360164023790382</c:v>
                </c:pt>
                <c:pt idx="721">
                  <c:v>5.0405618615207493</c:v>
                </c:pt>
                <c:pt idx="722">
                  <c:v>6.1827801898479207</c:v>
                </c:pt>
                <c:pt idx="723">
                  <c:v>5.0406365618325184</c:v>
                </c:pt>
                <c:pt idx="724">
                  <c:v>5.8609124534205419</c:v>
                </c:pt>
                <c:pt idx="725">
                  <c:v>5.9130838098849345</c:v>
                </c:pt>
                <c:pt idx="726">
                  <c:v>5.0553302493755554</c:v>
                </c:pt>
                <c:pt idx="727">
                  <c:v>6.015942493556719</c:v>
                </c:pt>
                <c:pt idx="728">
                  <c:v>5.0513696387559595</c:v>
                </c:pt>
                <c:pt idx="729">
                  <c:v>7.1277211120771549</c:v>
                </c:pt>
                <c:pt idx="730">
                  <c:v>7.1348879575039135</c:v>
                </c:pt>
                <c:pt idx="731">
                  <c:v>7.0458042552761073</c:v>
                </c:pt>
                <c:pt idx="732">
                  <c:v>6.046245962920473</c:v>
                </c:pt>
                <c:pt idx="733">
                  <c:v>3.8544608910195532</c:v>
                </c:pt>
                <c:pt idx="734">
                  <c:v>7.1207531400216855</c:v>
                </c:pt>
                <c:pt idx="735">
                  <c:v>7.0614368142566812</c:v>
                </c:pt>
                <c:pt idx="736">
                  <c:v>5.9369369946447179</c:v>
                </c:pt>
                <c:pt idx="737">
                  <c:v>4.9066319239341363</c:v>
                </c:pt>
                <c:pt idx="738">
                  <c:v>5.1040302234343242</c:v>
                </c:pt>
                <c:pt idx="739">
                  <c:v>6.1776592527352356</c:v>
                </c:pt>
                <c:pt idx="740">
                  <c:v>7.0776761252081224</c:v>
                </c:pt>
                <c:pt idx="741">
                  <c:v>4.9735445587587606</c:v>
                </c:pt>
                <c:pt idx="742">
                  <c:v>3.9638340558752256</c:v>
                </c:pt>
                <c:pt idx="743">
                  <c:v>4.0282277927915757</c:v>
                </c:pt>
                <c:pt idx="744">
                  <c:v>6.978967942546995</c:v>
                </c:pt>
                <c:pt idx="745">
                  <c:v>5.9287941896140728</c:v>
                </c:pt>
                <c:pt idx="746">
                  <c:v>3.9830338785105321</c:v>
                </c:pt>
                <c:pt idx="747">
                  <c:v>5.9372304509173057</c:v>
                </c:pt>
                <c:pt idx="748">
                  <c:v>6.0499601620319892</c:v>
                </c:pt>
                <c:pt idx="749">
                  <c:v>6.0287392345630169</c:v>
                </c:pt>
                <c:pt idx="750">
                  <c:v>3.9785380952296183</c:v>
                </c:pt>
                <c:pt idx="751">
                  <c:v>4.8558962662704142</c:v>
                </c:pt>
                <c:pt idx="752">
                  <c:v>5.8872295683394498</c:v>
                </c:pt>
                <c:pt idx="753">
                  <c:v>4.0286727066372725</c:v>
                </c:pt>
                <c:pt idx="754">
                  <c:v>6.1007255320643781</c:v>
                </c:pt>
                <c:pt idx="755">
                  <c:v>6.1142092748035726</c:v>
                </c:pt>
                <c:pt idx="756">
                  <c:v>6.7647031750322757</c:v>
                </c:pt>
                <c:pt idx="757">
                  <c:v>4.8579594584882555</c:v>
                </c:pt>
                <c:pt idx="758">
                  <c:v>6.9875093373978263</c:v>
                </c:pt>
                <c:pt idx="759">
                  <c:v>6.0348146587576332</c:v>
                </c:pt>
                <c:pt idx="760">
                  <c:v>7.0420993778991186</c:v>
                </c:pt>
                <c:pt idx="761">
                  <c:v>6.9875112787319225</c:v>
                </c:pt>
                <c:pt idx="762">
                  <c:v>6.1150124822105631</c:v>
                </c:pt>
                <c:pt idx="763">
                  <c:v>6.1124094299093414</c:v>
                </c:pt>
                <c:pt idx="764">
                  <c:v>5.1241850666039879</c:v>
                </c:pt>
                <c:pt idx="765">
                  <c:v>5.9969423478700232</c:v>
                </c:pt>
                <c:pt idx="766">
                  <c:v>4.0288689739788888</c:v>
                </c:pt>
                <c:pt idx="767">
                  <c:v>7.1657511020335001</c:v>
                </c:pt>
                <c:pt idx="768">
                  <c:v>6.0248594583677448</c:v>
                </c:pt>
                <c:pt idx="769">
                  <c:v>6.0620097518403826</c:v>
                </c:pt>
                <c:pt idx="770">
                  <c:v>6.0631564673239033</c:v>
                </c:pt>
                <c:pt idx="771">
                  <c:v>5.9602952854345395</c:v>
                </c:pt>
                <c:pt idx="772">
                  <c:v>6.022706270436017</c:v>
                </c:pt>
                <c:pt idx="773">
                  <c:v>7.1620687599989177</c:v>
                </c:pt>
                <c:pt idx="774">
                  <c:v>5.8756435383941801</c:v>
                </c:pt>
                <c:pt idx="775">
                  <c:v>4.9639742620202281</c:v>
                </c:pt>
                <c:pt idx="776">
                  <c:v>6.1838736033217536</c:v>
                </c:pt>
                <c:pt idx="777">
                  <c:v>5.9639107702160201</c:v>
                </c:pt>
                <c:pt idx="778">
                  <c:v>4.9368071688932904</c:v>
                </c:pt>
                <c:pt idx="779">
                  <c:v>5.0621748528312072</c:v>
                </c:pt>
                <c:pt idx="780">
                  <c:v>5.856551748277699</c:v>
                </c:pt>
                <c:pt idx="781">
                  <c:v>4.9505028481606432</c:v>
                </c:pt>
                <c:pt idx="782">
                  <c:v>5.8756016234608008</c:v>
                </c:pt>
                <c:pt idx="783">
                  <c:v>4.0509162802827658</c:v>
                </c:pt>
                <c:pt idx="784">
                  <c:v>5.0178427292095273</c:v>
                </c:pt>
                <c:pt idx="785">
                  <c:v>4.8952445371369961</c:v>
                </c:pt>
                <c:pt idx="786">
                  <c:v>4.8973502476456012</c:v>
                </c:pt>
                <c:pt idx="787">
                  <c:v>6.0263964982924492</c:v>
                </c:pt>
                <c:pt idx="788">
                  <c:v>4.8297668107338509</c:v>
                </c:pt>
                <c:pt idx="789">
                  <c:v>6.0141083970772442</c:v>
                </c:pt>
                <c:pt idx="790">
                  <c:v>4.0112816868375889</c:v>
                </c:pt>
                <c:pt idx="791">
                  <c:v>6.0379931744781041</c:v>
                </c:pt>
                <c:pt idx="792">
                  <c:v>4.9770591439736682</c:v>
                </c:pt>
                <c:pt idx="793">
                  <c:v>6.0007836547433433</c:v>
                </c:pt>
                <c:pt idx="794">
                  <c:v>5.9813766968460298</c:v>
                </c:pt>
                <c:pt idx="795">
                  <c:v>6.1089928407146417</c:v>
                </c:pt>
                <c:pt idx="796">
                  <c:v>6.122121980080216</c:v>
                </c:pt>
                <c:pt idx="797">
                  <c:v>4.1055534308908053</c:v>
                </c:pt>
                <c:pt idx="798">
                  <c:v>6.0349238720149927</c:v>
                </c:pt>
                <c:pt idx="799">
                  <c:v>4.9973939743865516</c:v>
                </c:pt>
                <c:pt idx="800">
                  <c:v>5.1067164232216999</c:v>
                </c:pt>
                <c:pt idx="801">
                  <c:v>6.1934782714673293</c:v>
                </c:pt>
                <c:pt idx="802">
                  <c:v>6.006057224487952</c:v>
                </c:pt>
                <c:pt idx="803">
                  <c:v>6.8252063077723424</c:v>
                </c:pt>
                <c:pt idx="804">
                  <c:v>6.0643699451897941</c:v>
                </c:pt>
                <c:pt idx="805">
                  <c:v>6.043804330140671</c:v>
                </c:pt>
                <c:pt idx="806">
                  <c:v>5.116290615961133</c:v>
                </c:pt>
                <c:pt idx="807">
                  <c:v>5.9150392433899839</c:v>
                </c:pt>
                <c:pt idx="808">
                  <c:v>5.1623743612193653</c:v>
                </c:pt>
                <c:pt idx="809">
                  <c:v>5.1306127339122742</c:v>
                </c:pt>
                <c:pt idx="810">
                  <c:v>5.0023875144900858</c:v>
                </c:pt>
                <c:pt idx="811">
                  <c:v>6.0000242496083205</c:v>
                </c:pt>
                <c:pt idx="812">
                  <c:v>3.7911259443148637</c:v>
                </c:pt>
                <c:pt idx="813">
                  <c:v>6.1140787335836873</c:v>
                </c:pt>
                <c:pt idx="814">
                  <c:v>5.0190798336904745</c:v>
                </c:pt>
                <c:pt idx="815">
                  <c:v>6.0280939314997095</c:v>
                </c:pt>
                <c:pt idx="816">
                  <c:v>7.1194130032016325</c:v>
                </c:pt>
                <c:pt idx="817">
                  <c:v>6.068858140036915</c:v>
                </c:pt>
                <c:pt idx="818">
                  <c:v>6.9848586749113659</c:v>
                </c:pt>
                <c:pt idx="819">
                  <c:v>6.1318449598935976</c:v>
                </c:pt>
                <c:pt idx="820">
                  <c:v>5.0177554448607999</c:v>
                </c:pt>
                <c:pt idx="821">
                  <c:v>5.005417260514502</c:v>
                </c:pt>
                <c:pt idx="822">
                  <c:v>6.1003114967705532</c:v>
                </c:pt>
                <c:pt idx="823">
                  <c:v>6.0207621682761232</c:v>
                </c:pt>
                <c:pt idx="824">
                  <c:v>5.9971871915989308</c:v>
                </c:pt>
                <c:pt idx="825">
                  <c:v>6.0593277441675006</c:v>
                </c:pt>
                <c:pt idx="826">
                  <c:v>5.0494401026641951</c:v>
                </c:pt>
                <c:pt idx="827">
                  <c:v>5.9066200881038089</c:v>
                </c:pt>
                <c:pt idx="828">
                  <c:v>6.0512585448868128</c:v>
                </c:pt>
                <c:pt idx="829">
                  <c:v>6.0614691645466703</c:v>
                </c:pt>
                <c:pt idx="830">
                  <c:v>5.0018436561632678</c:v>
                </c:pt>
                <c:pt idx="831">
                  <c:v>7.1135294376657425</c:v>
                </c:pt>
                <c:pt idx="832">
                  <c:v>5.0589578424734363</c:v>
                </c:pt>
                <c:pt idx="833">
                  <c:v>5.1023055811659974</c:v>
                </c:pt>
                <c:pt idx="834">
                  <c:v>5.0237768638580169</c:v>
                </c:pt>
                <c:pt idx="835">
                  <c:v>5.0701649328321849</c:v>
                </c:pt>
                <c:pt idx="836">
                  <c:v>6.0126540138380058</c:v>
                </c:pt>
                <c:pt idx="837">
                  <c:v>7.0630501682634481</c:v>
                </c:pt>
                <c:pt idx="838">
                  <c:v>4.9567667568314393</c:v>
                </c:pt>
                <c:pt idx="839">
                  <c:v>4.9640115256924764</c:v>
                </c:pt>
                <c:pt idx="840">
                  <c:v>5.0414799214725585</c:v>
                </c:pt>
                <c:pt idx="841">
                  <c:v>4.8477445209853309</c:v>
                </c:pt>
                <c:pt idx="842">
                  <c:v>5.1204633024957893</c:v>
                </c:pt>
                <c:pt idx="843">
                  <c:v>4.9043029658105182</c:v>
                </c:pt>
                <c:pt idx="844">
                  <c:v>5.0210310522825052</c:v>
                </c:pt>
                <c:pt idx="845">
                  <c:v>4.0134933752688369</c:v>
                </c:pt>
                <c:pt idx="846">
                  <c:v>5.9650133408702271</c:v>
                </c:pt>
                <c:pt idx="847">
                  <c:v>5.9473834304652478</c:v>
                </c:pt>
                <c:pt idx="848">
                  <c:v>6.9080573491115524</c:v>
                </c:pt>
                <c:pt idx="849">
                  <c:v>4.964684548303544</c:v>
                </c:pt>
                <c:pt idx="850">
                  <c:v>4.0003085600062898</c:v>
                </c:pt>
                <c:pt idx="851">
                  <c:v>6.1365548992331327</c:v>
                </c:pt>
                <c:pt idx="852">
                  <c:v>5.9173810314860118</c:v>
                </c:pt>
                <c:pt idx="853">
                  <c:v>6.0059492824562994</c:v>
                </c:pt>
                <c:pt idx="854">
                  <c:v>6.0967667345234391</c:v>
                </c:pt>
                <c:pt idx="855">
                  <c:v>6.0779837494195537</c:v>
                </c:pt>
                <c:pt idx="856">
                  <c:v>5.0498823639165868</c:v>
                </c:pt>
                <c:pt idx="857">
                  <c:v>3.9670239660117046</c:v>
                </c:pt>
                <c:pt idx="858">
                  <c:v>4.9188677274937422</c:v>
                </c:pt>
                <c:pt idx="859">
                  <c:v>5.9754812553843504</c:v>
                </c:pt>
                <c:pt idx="860">
                  <c:v>5.2847792141901859</c:v>
                </c:pt>
                <c:pt idx="861">
                  <c:v>5.8712158286888041</c:v>
                </c:pt>
                <c:pt idx="862">
                  <c:v>6.0301776063826606</c:v>
                </c:pt>
                <c:pt idx="863">
                  <c:v>4.8600828078083245</c:v>
                </c:pt>
                <c:pt idx="864">
                  <c:v>6.0030917777830952</c:v>
                </c:pt>
                <c:pt idx="865">
                  <c:v>6.0585358897557144</c:v>
                </c:pt>
                <c:pt idx="866">
                  <c:v>6.0553802398676622</c:v>
                </c:pt>
                <c:pt idx="867">
                  <c:v>6.9486274246651636</c:v>
                </c:pt>
                <c:pt idx="868">
                  <c:v>5.0723803958118152</c:v>
                </c:pt>
                <c:pt idx="869">
                  <c:v>3.8382710890088449</c:v>
                </c:pt>
                <c:pt idx="870">
                  <c:v>5.9516736415968037</c:v>
                </c:pt>
                <c:pt idx="871">
                  <c:v>5.9050895065832449</c:v>
                </c:pt>
                <c:pt idx="872">
                  <c:v>7.0277092355540942</c:v>
                </c:pt>
                <c:pt idx="873">
                  <c:v>6.1219900202880373</c:v>
                </c:pt>
                <c:pt idx="874">
                  <c:v>6.9758359612121961</c:v>
                </c:pt>
                <c:pt idx="875">
                  <c:v>6.1207044627386988</c:v>
                </c:pt>
                <c:pt idx="876">
                  <c:v>6.1228377691718059</c:v>
                </c:pt>
                <c:pt idx="877">
                  <c:v>6.0578642215836851</c:v>
                </c:pt>
                <c:pt idx="878">
                  <c:v>4.844428767952019</c:v>
                </c:pt>
                <c:pt idx="879">
                  <c:v>6.9535215737507841</c:v>
                </c:pt>
                <c:pt idx="880">
                  <c:v>5.8793146336187467</c:v>
                </c:pt>
                <c:pt idx="881">
                  <c:v>6.1475129872445873</c:v>
                </c:pt>
                <c:pt idx="882">
                  <c:v>6.0948848599190208</c:v>
                </c:pt>
                <c:pt idx="883">
                  <c:v>6.0572501991170133</c:v>
                </c:pt>
                <c:pt idx="884">
                  <c:v>5.9295454518542305</c:v>
                </c:pt>
                <c:pt idx="885">
                  <c:v>7.1386272851174475</c:v>
                </c:pt>
                <c:pt idx="886">
                  <c:v>5.9000831533647382</c:v>
                </c:pt>
                <c:pt idx="887">
                  <c:v>6.1030878441115597</c:v>
                </c:pt>
                <c:pt idx="888">
                  <c:v>6.1534991448845968</c:v>
                </c:pt>
                <c:pt idx="889">
                  <c:v>4.9525350316955956</c:v>
                </c:pt>
                <c:pt idx="890">
                  <c:v>4.0460458038214098</c:v>
                </c:pt>
                <c:pt idx="891">
                  <c:v>4.978883531507444</c:v>
                </c:pt>
                <c:pt idx="892">
                  <c:v>4.8946780322056389</c:v>
                </c:pt>
                <c:pt idx="893">
                  <c:v>6.0859875182900653</c:v>
                </c:pt>
                <c:pt idx="894">
                  <c:v>4.071537229956494</c:v>
                </c:pt>
                <c:pt idx="895">
                  <c:v>5.0762892116051761</c:v>
                </c:pt>
                <c:pt idx="896">
                  <c:v>4.9652310584216712</c:v>
                </c:pt>
                <c:pt idx="897">
                  <c:v>6.959391390476414</c:v>
                </c:pt>
                <c:pt idx="898">
                  <c:v>6.09071639422221</c:v>
                </c:pt>
                <c:pt idx="899">
                  <c:v>6.0470404938803224</c:v>
                </c:pt>
                <c:pt idx="900">
                  <c:v>7.0601493640390673</c:v>
                </c:pt>
                <c:pt idx="901">
                  <c:v>6.1641700429508361</c:v>
                </c:pt>
                <c:pt idx="902">
                  <c:v>7.1149391367029571</c:v>
                </c:pt>
                <c:pt idx="903">
                  <c:v>4.8354568202326949</c:v>
                </c:pt>
                <c:pt idx="904">
                  <c:v>4.9854366724571113</c:v>
                </c:pt>
                <c:pt idx="905">
                  <c:v>6.0306160859396494</c:v>
                </c:pt>
                <c:pt idx="906">
                  <c:v>5.8142483484516987</c:v>
                </c:pt>
                <c:pt idx="907">
                  <c:v>6.0442836243940237</c:v>
                </c:pt>
                <c:pt idx="908">
                  <c:v>4.6804394592949006</c:v>
                </c:pt>
                <c:pt idx="909">
                  <c:v>5.863265140007738</c:v>
                </c:pt>
                <c:pt idx="910">
                  <c:v>4.8624745337823629</c:v>
                </c:pt>
                <c:pt idx="911">
                  <c:v>4.9438793167837964</c:v>
                </c:pt>
                <c:pt idx="912">
                  <c:v>5.7433109205260191</c:v>
                </c:pt>
                <c:pt idx="913">
                  <c:v>6.1871972408344833</c:v>
                </c:pt>
                <c:pt idx="914">
                  <c:v>4.9824725284955491</c:v>
                </c:pt>
                <c:pt idx="915">
                  <c:v>6.2691389178725165</c:v>
                </c:pt>
                <c:pt idx="916">
                  <c:v>5.0204197926301886</c:v>
                </c:pt>
                <c:pt idx="917">
                  <c:v>5.00337170300197</c:v>
                </c:pt>
                <c:pt idx="918">
                  <c:v>5.0079438060825865</c:v>
                </c:pt>
                <c:pt idx="919">
                  <c:v>5.6966615132923168</c:v>
                </c:pt>
                <c:pt idx="920">
                  <c:v>6.1076127106342115</c:v>
                </c:pt>
                <c:pt idx="921">
                  <c:v>7.0739069323434629</c:v>
                </c:pt>
                <c:pt idx="922">
                  <c:v>5.0312090146245625</c:v>
                </c:pt>
                <c:pt idx="923">
                  <c:v>4.7094172847978832</c:v>
                </c:pt>
                <c:pt idx="924">
                  <c:v>6.7958250194545382</c:v>
                </c:pt>
                <c:pt idx="925">
                  <c:v>6.990700684606252</c:v>
                </c:pt>
                <c:pt idx="926">
                  <c:v>6.970441882034244</c:v>
                </c:pt>
                <c:pt idx="927">
                  <c:v>6.0299929431429211</c:v>
                </c:pt>
                <c:pt idx="928">
                  <c:v>6.312741385739864</c:v>
                </c:pt>
                <c:pt idx="929">
                  <c:v>6.053224781560635</c:v>
                </c:pt>
                <c:pt idx="930">
                  <c:v>5.174974989632152</c:v>
                </c:pt>
                <c:pt idx="931">
                  <c:v>5.1747556327084725</c:v>
                </c:pt>
                <c:pt idx="932">
                  <c:v>5.0801015988579152</c:v>
                </c:pt>
                <c:pt idx="933">
                  <c:v>5.7619396679183419</c:v>
                </c:pt>
                <c:pt idx="934">
                  <c:v>5.9213350058212937</c:v>
                </c:pt>
                <c:pt idx="935">
                  <c:v>6.0514727486381394</c:v>
                </c:pt>
                <c:pt idx="936">
                  <c:v>5.0174263034462028</c:v>
                </c:pt>
                <c:pt idx="937">
                  <c:v>5.9095902500144684</c:v>
                </c:pt>
                <c:pt idx="938">
                  <c:v>7.017391779112593</c:v>
                </c:pt>
                <c:pt idx="939">
                  <c:v>5.0872515108566176</c:v>
                </c:pt>
                <c:pt idx="940">
                  <c:v>5.9071605665773559</c:v>
                </c:pt>
                <c:pt idx="941">
                  <c:v>5.1005728985179317</c:v>
                </c:pt>
                <c:pt idx="942">
                  <c:v>4.8685566156969546</c:v>
                </c:pt>
                <c:pt idx="943">
                  <c:v>6.156165719566113</c:v>
                </c:pt>
                <c:pt idx="944">
                  <c:v>5.8647693934870828</c:v>
                </c:pt>
                <c:pt idx="945">
                  <c:v>5.9843310335340147</c:v>
                </c:pt>
                <c:pt idx="946">
                  <c:v>7.0155951698143131</c:v>
                </c:pt>
                <c:pt idx="947">
                  <c:v>6.1119619242546346</c:v>
                </c:pt>
                <c:pt idx="948">
                  <c:v>5.9713134176075293</c:v>
                </c:pt>
                <c:pt idx="949">
                  <c:v>5.1921044650501988</c:v>
                </c:pt>
                <c:pt idx="950">
                  <c:v>4.9517360047542516</c:v>
                </c:pt>
                <c:pt idx="951">
                  <c:v>4.8640810556490699</c:v>
                </c:pt>
                <c:pt idx="952">
                  <c:v>4.9567643580437837</c:v>
                </c:pt>
                <c:pt idx="953">
                  <c:v>5.8654044329838504</c:v>
                </c:pt>
                <c:pt idx="954">
                  <c:v>4.988333021295885</c:v>
                </c:pt>
                <c:pt idx="955">
                  <c:v>6.037842134619325</c:v>
                </c:pt>
                <c:pt idx="956">
                  <c:v>4.9807179799714874</c:v>
                </c:pt>
                <c:pt idx="957">
                  <c:v>6.1216887893635166</c:v>
                </c:pt>
                <c:pt idx="958">
                  <c:v>4.920965192217726</c:v>
                </c:pt>
                <c:pt idx="959">
                  <c:v>5.8224171278872481</c:v>
                </c:pt>
                <c:pt idx="960">
                  <c:v>7.1666342108251042</c:v>
                </c:pt>
                <c:pt idx="961">
                  <c:v>6.8545225042416424</c:v>
                </c:pt>
                <c:pt idx="962">
                  <c:v>5.9519490479133728</c:v>
                </c:pt>
                <c:pt idx="963">
                  <c:v>6.0461278506257115</c:v>
                </c:pt>
                <c:pt idx="964">
                  <c:v>4.8565759163348075</c:v>
                </c:pt>
                <c:pt idx="965">
                  <c:v>5.908935374250512</c:v>
                </c:pt>
                <c:pt idx="966">
                  <c:v>5.7845222864471335</c:v>
                </c:pt>
                <c:pt idx="967">
                  <c:v>6.065377642791554</c:v>
                </c:pt>
                <c:pt idx="968">
                  <c:v>6.0504867611032829</c:v>
                </c:pt>
                <c:pt idx="969">
                  <c:v>7.0101787763309931</c:v>
                </c:pt>
                <c:pt idx="970">
                  <c:v>4.9968760136781425</c:v>
                </c:pt>
                <c:pt idx="971">
                  <c:v>4.9214411420843795</c:v>
                </c:pt>
                <c:pt idx="972">
                  <c:v>7.0553312560323498</c:v>
                </c:pt>
                <c:pt idx="973">
                  <c:v>4.9716817422120565</c:v>
                </c:pt>
                <c:pt idx="974">
                  <c:v>4.839310295791619</c:v>
                </c:pt>
                <c:pt idx="975">
                  <c:v>6.0168149141882461</c:v>
                </c:pt>
                <c:pt idx="976">
                  <c:v>5.0547430271997049</c:v>
                </c:pt>
                <c:pt idx="977">
                  <c:v>6.0755411528715326</c:v>
                </c:pt>
                <c:pt idx="978">
                  <c:v>5.1546814934983587</c:v>
                </c:pt>
                <c:pt idx="979">
                  <c:v>5.1836480298721712</c:v>
                </c:pt>
                <c:pt idx="980">
                  <c:v>5.0004366801315658</c:v>
                </c:pt>
                <c:pt idx="981">
                  <c:v>4.9802795943895353</c:v>
                </c:pt>
                <c:pt idx="982">
                  <c:v>5.0451624051801991</c:v>
                </c:pt>
                <c:pt idx="983">
                  <c:v>6.1000362388280109</c:v>
                </c:pt>
                <c:pt idx="984">
                  <c:v>4.9029631448508253</c:v>
                </c:pt>
                <c:pt idx="985">
                  <c:v>6.0547112734188975</c:v>
                </c:pt>
                <c:pt idx="986">
                  <c:v>4.9525064308429583</c:v>
                </c:pt>
                <c:pt idx="987">
                  <c:v>5.8488194596365819</c:v>
                </c:pt>
                <c:pt idx="988">
                  <c:v>6.0460220774941016</c:v>
                </c:pt>
                <c:pt idx="989">
                  <c:v>4.9966243890728173</c:v>
                </c:pt>
                <c:pt idx="990">
                  <c:v>5.9987729705280586</c:v>
                </c:pt>
                <c:pt idx="991">
                  <c:v>4.9817285880514799</c:v>
                </c:pt>
                <c:pt idx="992">
                  <c:v>6.0300810672983651</c:v>
                </c:pt>
                <c:pt idx="993">
                  <c:v>5.0245837035817873</c:v>
                </c:pt>
                <c:pt idx="994">
                  <c:v>4.6962356533655987</c:v>
                </c:pt>
                <c:pt idx="995">
                  <c:v>6.0806397384360347</c:v>
                </c:pt>
                <c:pt idx="996">
                  <c:v>6.0384929110691239</c:v>
                </c:pt>
                <c:pt idx="997">
                  <c:v>4.8857231785234889</c:v>
                </c:pt>
                <c:pt idx="998">
                  <c:v>5.9624120036314681</c:v>
                </c:pt>
                <c:pt idx="999">
                  <c:v>6.0876370056968581</c:v>
                </c:pt>
                <c:pt idx="1000">
                  <c:v>6.00750628026596</c:v>
                </c:pt>
                <c:pt idx="1001">
                  <c:v>6.0598575542225008</c:v>
                </c:pt>
                <c:pt idx="1002">
                  <c:v>6.118437401325262</c:v>
                </c:pt>
                <c:pt idx="1003">
                  <c:v>5.9781909117473671</c:v>
                </c:pt>
                <c:pt idx="1004">
                  <c:v>6.0182884812290451</c:v>
                </c:pt>
                <c:pt idx="1005">
                  <c:v>5.037060460229128</c:v>
                </c:pt>
                <c:pt idx="1006">
                  <c:v>6.034238654538699</c:v>
                </c:pt>
                <c:pt idx="1007">
                  <c:v>5.1357186012924458</c:v>
                </c:pt>
                <c:pt idx="1008">
                  <c:v>5.9683448823380134</c:v>
                </c:pt>
                <c:pt idx="1009">
                  <c:v>5.0172715460527808</c:v>
                </c:pt>
                <c:pt idx="1010">
                  <c:v>4.9366325934173743</c:v>
                </c:pt>
                <c:pt idx="1011">
                  <c:v>4.8600545734431915</c:v>
                </c:pt>
                <c:pt idx="1012">
                  <c:v>4.9682970041332046</c:v>
                </c:pt>
                <c:pt idx="1013">
                  <c:v>5.0105608574516065</c:v>
                </c:pt>
                <c:pt idx="1014">
                  <c:v>4.9423992236916554</c:v>
                </c:pt>
                <c:pt idx="1015">
                  <c:v>5.9445190236830756</c:v>
                </c:pt>
                <c:pt idx="1016">
                  <c:v>6.0801427988981338</c:v>
                </c:pt>
                <c:pt idx="1017">
                  <c:v>5.1329012867515802</c:v>
                </c:pt>
                <c:pt idx="1018">
                  <c:v>6.004748960132086</c:v>
                </c:pt>
                <c:pt idx="1019">
                  <c:v>4.9595290805728469</c:v>
                </c:pt>
                <c:pt idx="1020">
                  <c:v>5.9740008951881265</c:v>
                </c:pt>
                <c:pt idx="1021">
                  <c:v>5.0004176042915685</c:v>
                </c:pt>
                <c:pt idx="1022">
                  <c:v>6.2001474738687818</c:v>
                </c:pt>
                <c:pt idx="1023">
                  <c:v>4.8819066741586612</c:v>
                </c:pt>
                <c:pt idx="1024">
                  <c:v>4.9495867344097784</c:v>
                </c:pt>
                <c:pt idx="1025">
                  <c:v>5.9159248409278229</c:v>
                </c:pt>
                <c:pt idx="1026">
                  <c:v>5.0048953091008892</c:v>
                </c:pt>
                <c:pt idx="1027">
                  <c:v>6.053598410237119</c:v>
                </c:pt>
                <c:pt idx="1028">
                  <c:v>6.0332816011095884</c:v>
                </c:pt>
                <c:pt idx="1029">
                  <c:v>5.1112891395629223</c:v>
                </c:pt>
                <c:pt idx="1030">
                  <c:v>4.9223358018006733</c:v>
                </c:pt>
                <c:pt idx="1031">
                  <c:v>4.8852460864742495</c:v>
                </c:pt>
                <c:pt idx="1032">
                  <c:v>6.1218974448867742</c:v>
                </c:pt>
                <c:pt idx="1033">
                  <c:v>5.0881465611073518</c:v>
                </c:pt>
                <c:pt idx="1034">
                  <c:v>5.1133327137901867</c:v>
                </c:pt>
                <c:pt idx="1035">
                  <c:v>4.9415019277643166</c:v>
                </c:pt>
                <c:pt idx="1036">
                  <c:v>6.0480171780265195</c:v>
                </c:pt>
                <c:pt idx="1037">
                  <c:v>5.2435714191000455</c:v>
                </c:pt>
                <c:pt idx="1038">
                  <c:v>4.8690930718758567</c:v>
                </c:pt>
                <c:pt idx="1039">
                  <c:v>5.9460558520155624</c:v>
                </c:pt>
                <c:pt idx="1040">
                  <c:v>6.9279696608418897</c:v>
                </c:pt>
                <c:pt idx="1041">
                  <c:v>6.8402356024202238</c:v>
                </c:pt>
                <c:pt idx="1042">
                  <c:v>6.0364155301419746</c:v>
                </c:pt>
                <c:pt idx="1043">
                  <c:v>4.9785560646985081</c:v>
                </c:pt>
                <c:pt idx="1044">
                  <c:v>4.9392511284872533</c:v>
                </c:pt>
                <c:pt idx="1045">
                  <c:v>5.1020693786701008</c:v>
                </c:pt>
                <c:pt idx="1046">
                  <c:v>4.8769594640057843</c:v>
                </c:pt>
                <c:pt idx="1047">
                  <c:v>6.0933982771622617</c:v>
                </c:pt>
                <c:pt idx="1048">
                  <c:v>5.0848456254239593</c:v>
                </c:pt>
                <c:pt idx="1049">
                  <c:v>6.1289201227865018</c:v>
                </c:pt>
                <c:pt idx="1050">
                  <c:v>5.061692310818291</c:v>
                </c:pt>
                <c:pt idx="1051">
                  <c:v>6.0369344369402622</c:v>
                </c:pt>
                <c:pt idx="1052">
                  <c:v>5.8428009143610389</c:v>
                </c:pt>
                <c:pt idx="1053">
                  <c:v>6.0150586130096784</c:v>
                </c:pt>
                <c:pt idx="1054">
                  <c:v>5.9586639380716191</c:v>
                </c:pt>
                <c:pt idx="1055">
                  <c:v>4.8692216019165215</c:v>
                </c:pt>
                <c:pt idx="1056">
                  <c:v>5.8464858747693063</c:v>
                </c:pt>
                <c:pt idx="1057">
                  <c:v>6.1958178944125901</c:v>
                </c:pt>
                <c:pt idx="1058">
                  <c:v>5.9768001325465256</c:v>
                </c:pt>
                <c:pt idx="1059">
                  <c:v>5.0355992473164193</c:v>
                </c:pt>
                <c:pt idx="1060">
                  <c:v>7.03602977681029</c:v>
                </c:pt>
                <c:pt idx="1061">
                  <c:v>7.2141396315667778</c:v>
                </c:pt>
                <c:pt idx="1062">
                  <c:v>5.942366251177579</c:v>
                </c:pt>
                <c:pt idx="1063">
                  <c:v>6.994436044260433</c:v>
                </c:pt>
                <c:pt idx="1064">
                  <c:v>6.0101999717973174</c:v>
                </c:pt>
                <c:pt idx="1065">
                  <c:v>6.920836631288986</c:v>
                </c:pt>
                <c:pt idx="1066">
                  <c:v>5.0941478421408126</c:v>
                </c:pt>
                <c:pt idx="1067">
                  <c:v>6.9227427207498522</c:v>
                </c:pt>
                <c:pt idx="1068">
                  <c:v>5.7758711596886636</c:v>
                </c:pt>
                <c:pt idx="1069">
                  <c:v>6.0936985955903538</c:v>
                </c:pt>
                <c:pt idx="1070">
                  <c:v>6.0399325857778914</c:v>
                </c:pt>
                <c:pt idx="1071">
                  <c:v>5.9436313347603509</c:v>
                </c:pt>
                <c:pt idx="1072">
                  <c:v>6.0937451638781353</c:v>
                </c:pt>
                <c:pt idx="1073">
                  <c:v>6.9709166776727223</c:v>
                </c:pt>
                <c:pt idx="1074">
                  <c:v>6.0497560704099413</c:v>
                </c:pt>
                <c:pt idx="1075">
                  <c:v>7.048980394854695</c:v>
                </c:pt>
                <c:pt idx="1076">
                  <c:v>4.9620480362098647</c:v>
                </c:pt>
                <c:pt idx="1077">
                  <c:v>5.8404736875863117</c:v>
                </c:pt>
                <c:pt idx="1078">
                  <c:v>6.0149249696513252</c:v>
                </c:pt>
                <c:pt idx="1079">
                  <c:v>1.8020404022741703</c:v>
                </c:pt>
                <c:pt idx="1080">
                  <c:v>4.9608694385285821</c:v>
                </c:pt>
                <c:pt idx="1081">
                  <c:v>2.0842096056649915</c:v>
                </c:pt>
                <c:pt idx="1082">
                  <c:v>2.0579764488184389</c:v>
                </c:pt>
                <c:pt idx="1083">
                  <c:v>4.9480537703392278</c:v>
                </c:pt>
                <c:pt idx="1084">
                  <c:v>4.9716474125309302</c:v>
                </c:pt>
                <c:pt idx="1085">
                  <c:v>4.7815276216284008</c:v>
                </c:pt>
                <c:pt idx="1086">
                  <c:v>5.0884955727283394</c:v>
                </c:pt>
                <c:pt idx="1087">
                  <c:v>4.8789376459622398</c:v>
                </c:pt>
                <c:pt idx="1088">
                  <c:v>4.0228247636492869</c:v>
                </c:pt>
                <c:pt idx="1089">
                  <c:v>5.0087963483019209</c:v>
                </c:pt>
                <c:pt idx="1090">
                  <c:v>3.9926765530203046</c:v>
                </c:pt>
                <c:pt idx="1091">
                  <c:v>4.9913314043258907</c:v>
                </c:pt>
                <c:pt idx="1092">
                  <c:v>7.0678872191635858</c:v>
                </c:pt>
                <c:pt idx="1093">
                  <c:v>3.8762940355032804</c:v>
                </c:pt>
                <c:pt idx="1094">
                  <c:v>5.969322668158707</c:v>
                </c:pt>
                <c:pt idx="1095">
                  <c:v>6.1297201505746903</c:v>
                </c:pt>
                <c:pt idx="1096">
                  <c:v>6.8308096943748362</c:v>
                </c:pt>
                <c:pt idx="1097">
                  <c:v>6.9983263017224955</c:v>
                </c:pt>
                <c:pt idx="1098">
                  <c:v>6.0903983451463075</c:v>
                </c:pt>
                <c:pt idx="1099">
                  <c:v>6.0540902055188912</c:v>
                </c:pt>
                <c:pt idx="1100">
                  <c:v>6.0275675224655831</c:v>
                </c:pt>
                <c:pt idx="1101">
                  <c:v>6.1304209594871697</c:v>
                </c:pt>
                <c:pt idx="1102">
                  <c:v>6.9535174674094327</c:v>
                </c:pt>
                <c:pt idx="1103">
                  <c:v>6.1367203196466846</c:v>
                </c:pt>
                <c:pt idx="1104">
                  <c:v>5.0017461076024583</c:v>
                </c:pt>
                <c:pt idx="1105">
                  <c:v>6.0006581460278072</c:v>
                </c:pt>
                <c:pt idx="1106">
                  <c:v>6.8578150117009073</c:v>
                </c:pt>
                <c:pt idx="1107">
                  <c:v>5.9670126782502821</c:v>
                </c:pt>
                <c:pt idx="1108">
                  <c:v>6.0370172988503681</c:v>
                </c:pt>
                <c:pt idx="1109">
                  <c:v>4.9646233495839143</c:v>
                </c:pt>
                <c:pt idx="1110">
                  <c:v>5.0113204694098581</c:v>
                </c:pt>
                <c:pt idx="1111">
                  <c:v>4.8511085198431552</c:v>
                </c:pt>
                <c:pt idx="1112">
                  <c:v>4.9958837406795205</c:v>
                </c:pt>
                <c:pt idx="1113">
                  <c:v>5.0639348083019051</c:v>
                </c:pt>
                <c:pt idx="1114">
                  <c:v>6.0695405520546863</c:v>
                </c:pt>
                <c:pt idx="1115">
                  <c:v>5.1033911301702064</c:v>
                </c:pt>
                <c:pt idx="1116">
                  <c:v>4.0188097688577864</c:v>
                </c:pt>
                <c:pt idx="1117">
                  <c:v>5.1182746610944214</c:v>
                </c:pt>
                <c:pt idx="1118">
                  <c:v>4.9880447994259285</c:v>
                </c:pt>
                <c:pt idx="1119">
                  <c:v>6.8322729272032952</c:v>
                </c:pt>
                <c:pt idx="1120">
                  <c:v>5.1579672963696765</c:v>
                </c:pt>
                <c:pt idx="1121">
                  <c:v>5.0989848067206358</c:v>
                </c:pt>
                <c:pt idx="1122">
                  <c:v>4.8097196849473303</c:v>
                </c:pt>
                <c:pt idx="1123">
                  <c:v>5.1994404060124344</c:v>
                </c:pt>
                <c:pt idx="1124">
                  <c:v>4.7613275411598508</c:v>
                </c:pt>
                <c:pt idx="1125">
                  <c:v>6.0459858455444291</c:v>
                </c:pt>
                <c:pt idx="1126">
                  <c:v>5.8297177066167007</c:v>
                </c:pt>
                <c:pt idx="1127">
                  <c:v>6.0142923320201715</c:v>
                </c:pt>
                <c:pt idx="1128">
                  <c:v>6.969184187942087</c:v>
                </c:pt>
                <c:pt idx="1129">
                  <c:v>6.0390193979694047</c:v>
                </c:pt>
                <c:pt idx="1130">
                  <c:v>6.1264251904412861</c:v>
                </c:pt>
                <c:pt idx="1131">
                  <c:v>4.9596808429260513</c:v>
                </c:pt>
                <c:pt idx="1132">
                  <c:v>4.9198843581666987</c:v>
                </c:pt>
                <c:pt idx="1133">
                  <c:v>5.1170589232618093</c:v>
                </c:pt>
                <c:pt idx="1134">
                  <c:v>5.9140812401904794</c:v>
                </c:pt>
                <c:pt idx="1135">
                  <c:v>5.9634419156769241</c:v>
                </c:pt>
                <c:pt idx="1136">
                  <c:v>4.855980348851431</c:v>
                </c:pt>
                <c:pt idx="1137">
                  <c:v>6.2731576660144057</c:v>
                </c:pt>
                <c:pt idx="1138">
                  <c:v>6.0494790695568303</c:v>
                </c:pt>
                <c:pt idx="1139">
                  <c:v>4.9291168063837816</c:v>
                </c:pt>
                <c:pt idx="1140">
                  <c:v>5.7806460050958348</c:v>
                </c:pt>
                <c:pt idx="1141">
                  <c:v>4.8952100478639116</c:v>
                </c:pt>
                <c:pt idx="1142">
                  <c:v>4.849459012689521</c:v>
                </c:pt>
                <c:pt idx="1143">
                  <c:v>1.880461267430666</c:v>
                </c:pt>
                <c:pt idx="1144">
                  <c:v>4.9628394212364748</c:v>
                </c:pt>
                <c:pt idx="1145">
                  <c:v>4.9883034826306547</c:v>
                </c:pt>
                <c:pt idx="1146">
                  <c:v>4.9571178109552472</c:v>
                </c:pt>
                <c:pt idx="1147">
                  <c:v>4.9096935146834015</c:v>
                </c:pt>
                <c:pt idx="1148">
                  <c:v>4.9176829499414758</c:v>
                </c:pt>
                <c:pt idx="1149">
                  <c:v>5.9930982989444725</c:v>
                </c:pt>
                <c:pt idx="1150">
                  <c:v>5.8668775259382651</c:v>
                </c:pt>
                <c:pt idx="1151">
                  <c:v>6.1857443889640011</c:v>
                </c:pt>
                <c:pt idx="1152">
                  <c:v>6.172905002901544</c:v>
                </c:pt>
                <c:pt idx="1153">
                  <c:v>5.9684888083657297</c:v>
                </c:pt>
                <c:pt idx="1154">
                  <c:v>6.1545983028293145</c:v>
                </c:pt>
                <c:pt idx="1155">
                  <c:v>5.9736281795041517</c:v>
                </c:pt>
                <c:pt idx="1156">
                  <c:v>5.014424150386648</c:v>
                </c:pt>
                <c:pt idx="1157">
                  <c:v>4.7742834610029083</c:v>
                </c:pt>
                <c:pt idx="1158">
                  <c:v>5.9246862839447099</c:v>
                </c:pt>
                <c:pt idx="1159">
                  <c:v>5.9905533351908407</c:v>
                </c:pt>
                <c:pt idx="1160">
                  <c:v>6.0101028293552918</c:v>
                </c:pt>
                <c:pt idx="1161">
                  <c:v>6.0927237371024408</c:v>
                </c:pt>
                <c:pt idx="1162">
                  <c:v>4.9876894904153897</c:v>
                </c:pt>
                <c:pt idx="1163">
                  <c:v>4.8698358071745806</c:v>
                </c:pt>
                <c:pt idx="1164">
                  <c:v>6.1100311959223275</c:v>
                </c:pt>
                <c:pt idx="1165">
                  <c:v>5.1078641938878873</c:v>
                </c:pt>
                <c:pt idx="1166">
                  <c:v>6.8102438011207695</c:v>
                </c:pt>
                <c:pt idx="1167">
                  <c:v>5.9125924875234155</c:v>
                </c:pt>
                <c:pt idx="1168">
                  <c:v>5.0470289887937501</c:v>
                </c:pt>
                <c:pt idx="1169">
                  <c:v>5.9826063123410398</c:v>
                </c:pt>
                <c:pt idx="1170">
                  <c:v>4.9539123793248567</c:v>
                </c:pt>
                <c:pt idx="1171">
                  <c:v>5.793857577840412</c:v>
                </c:pt>
                <c:pt idx="1172">
                  <c:v>4.9944382091493633</c:v>
                </c:pt>
                <c:pt idx="1173">
                  <c:v>5.9913409313068495</c:v>
                </c:pt>
                <c:pt idx="1174">
                  <c:v>5.1529224057098455</c:v>
                </c:pt>
                <c:pt idx="1175">
                  <c:v>5.8551416207356324</c:v>
                </c:pt>
                <c:pt idx="1176">
                  <c:v>5.1469082790601624</c:v>
                </c:pt>
                <c:pt idx="1177">
                  <c:v>5.8309547820159757</c:v>
                </c:pt>
                <c:pt idx="1178">
                  <c:v>5.9044394537169822</c:v>
                </c:pt>
                <c:pt idx="1179">
                  <c:v>4.8584504402623967</c:v>
                </c:pt>
                <c:pt idx="1180">
                  <c:v>5.0791902510254676</c:v>
                </c:pt>
                <c:pt idx="1181">
                  <c:v>5.129236014518904</c:v>
                </c:pt>
                <c:pt idx="1182">
                  <c:v>5.1237175345299901</c:v>
                </c:pt>
                <c:pt idx="1183">
                  <c:v>4.8603742478369787</c:v>
                </c:pt>
                <c:pt idx="1184">
                  <c:v>5.1397845164377811</c:v>
                </c:pt>
                <c:pt idx="1185">
                  <c:v>5.8918350631344225</c:v>
                </c:pt>
                <c:pt idx="1186">
                  <c:v>5.8780112019879684</c:v>
                </c:pt>
                <c:pt idx="1187">
                  <c:v>4.7807559994769901</c:v>
                </c:pt>
                <c:pt idx="1188">
                  <c:v>4.9999332308235553</c:v>
                </c:pt>
                <c:pt idx="1189">
                  <c:v>5.1128366620468526</c:v>
                </c:pt>
                <c:pt idx="1190">
                  <c:v>4.9679515436143955</c:v>
                </c:pt>
                <c:pt idx="1191">
                  <c:v>6.1287444069815438</c:v>
                </c:pt>
                <c:pt idx="1192">
                  <c:v>5.2343301958928157</c:v>
                </c:pt>
                <c:pt idx="1193">
                  <c:v>5.8796517497125862</c:v>
                </c:pt>
                <c:pt idx="1194">
                  <c:v>6.0647752622294782</c:v>
                </c:pt>
                <c:pt idx="1195">
                  <c:v>6.0470114279335725</c:v>
                </c:pt>
                <c:pt idx="1196">
                  <c:v>5.0223933274248633</c:v>
                </c:pt>
                <c:pt idx="1197">
                  <c:v>5.9684086545060433</c:v>
                </c:pt>
                <c:pt idx="1198">
                  <c:v>6.11181466536146</c:v>
                </c:pt>
                <c:pt idx="1199">
                  <c:v>4.9216550036654461</c:v>
                </c:pt>
                <c:pt idx="1200">
                  <c:v>4.9846980866382156</c:v>
                </c:pt>
                <c:pt idx="1201">
                  <c:v>5.9136421376089405</c:v>
                </c:pt>
                <c:pt idx="1202">
                  <c:v>4.9752609183981242</c:v>
                </c:pt>
                <c:pt idx="1203">
                  <c:v>5.9963957675584654</c:v>
                </c:pt>
                <c:pt idx="1204">
                  <c:v>5.8750779725188238</c:v>
                </c:pt>
                <c:pt idx="1205">
                  <c:v>5.9506684984529459</c:v>
                </c:pt>
                <c:pt idx="1206">
                  <c:v>6.0167739971013638</c:v>
                </c:pt>
                <c:pt idx="1207">
                  <c:v>6.9727659793367502</c:v>
                </c:pt>
                <c:pt idx="1208">
                  <c:v>4.9480154595479009</c:v>
                </c:pt>
                <c:pt idx="1209">
                  <c:v>6.0138021592680753</c:v>
                </c:pt>
                <c:pt idx="1210">
                  <c:v>5.0341250447693167</c:v>
                </c:pt>
                <c:pt idx="1211">
                  <c:v>4.8707639023168605</c:v>
                </c:pt>
                <c:pt idx="1212">
                  <c:v>6.9618781097786879</c:v>
                </c:pt>
                <c:pt idx="1213">
                  <c:v>5.9142751381327274</c:v>
                </c:pt>
                <c:pt idx="1214">
                  <c:v>6.1428492939065595</c:v>
                </c:pt>
                <c:pt idx="1215">
                  <c:v>4.8967339175505682</c:v>
                </c:pt>
                <c:pt idx="1216">
                  <c:v>6.1237999196329227</c:v>
                </c:pt>
                <c:pt idx="1217">
                  <c:v>4.8211062624990495</c:v>
                </c:pt>
                <c:pt idx="1218">
                  <c:v>5.9965030496854554</c:v>
                </c:pt>
                <c:pt idx="1219">
                  <c:v>6.0775477176425428</c:v>
                </c:pt>
                <c:pt idx="1220">
                  <c:v>5.9732250081347678</c:v>
                </c:pt>
                <c:pt idx="1221">
                  <c:v>5.0133360421380111</c:v>
                </c:pt>
                <c:pt idx="1222">
                  <c:v>6.0034424187009767</c:v>
                </c:pt>
                <c:pt idx="1223">
                  <c:v>4.9347105635491788</c:v>
                </c:pt>
                <c:pt idx="1224">
                  <c:v>6.0422732372380015</c:v>
                </c:pt>
                <c:pt idx="1225">
                  <c:v>6.0384262018229302</c:v>
                </c:pt>
                <c:pt idx="1226">
                  <c:v>6.0778971374403152</c:v>
                </c:pt>
                <c:pt idx="1227">
                  <c:v>5.9804993965635198</c:v>
                </c:pt>
                <c:pt idx="1228">
                  <c:v>4.9215229964939304</c:v>
                </c:pt>
                <c:pt idx="1229">
                  <c:v>6.0312728741344577</c:v>
                </c:pt>
                <c:pt idx="1230">
                  <c:v>4.9469514960824377</c:v>
                </c:pt>
                <c:pt idx="1231">
                  <c:v>6.0320368389289545</c:v>
                </c:pt>
                <c:pt idx="1232">
                  <c:v>4.9861494589567554</c:v>
                </c:pt>
                <c:pt idx="1233">
                  <c:v>5.9336837570864471</c:v>
                </c:pt>
                <c:pt idx="1234">
                  <c:v>5.9393038349390039</c:v>
                </c:pt>
                <c:pt idx="1235">
                  <c:v>5.161600397741255</c:v>
                </c:pt>
                <c:pt idx="1236">
                  <c:v>7.1799318068910338</c:v>
                </c:pt>
                <c:pt idx="1237">
                  <c:v>5.8982305502841221</c:v>
                </c:pt>
                <c:pt idx="1238">
                  <c:v>5.0976875196955822</c:v>
                </c:pt>
                <c:pt idx="1239">
                  <c:v>5.0279030556485784</c:v>
                </c:pt>
                <c:pt idx="1240">
                  <c:v>5.0727419810020855</c:v>
                </c:pt>
                <c:pt idx="1241">
                  <c:v>6.0374538485421629</c:v>
                </c:pt>
                <c:pt idx="1242">
                  <c:v>4.886885684819811</c:v>
                </c:pt>
                <c:pt idx="1243">
                  <c:v>4.9880982104190048</c:v>
                </c:pt>
                <c:pt idx="1244">
                  <c:v>5.8493883801285689</c:v>
                </c:pt>
                <c:pt idx="1245">
                  <c:v>6.1805386434566003</c:v>
                </c:pt>
                <c:pt idx="1246">
                  <c:v>5.9396342783185592</c:v>
                </c:pt>
                <c:pt idx="1247">
                  <c:v>6.2160644657873334</c:v>
                </c:pt>
                <c:pt idx="1248">
                  <c:v>5.9825210356691496</c:v>
                </c:pt>
                <c:pt idx="1249">
                  <c:v>5.1369690041724763</c:v>
                </c:pt>
                <c:pt idx="1250">
                  <c:v>5.0221966236123219</c:v>
                </c:pt>
                <c:pt idx="1251">
                  <c:v>6.0154054347101535</c:v>
                </c:pt>
                <c:pt idx="1252">
                  <c:v>6.0867566745558239</c:v>
                </c:pt>
                <c:pt idx="1253">
                  <c:v>4.873243441785422</c:v>
                </c:pt>
                <c:pt idx="1254">
                  <c:v>4.9957323869107446</c:v>
                </c:pt>
                <c:pt idx="1255">
                  <c:v>4.889870112321975</c:v>
                </c:pt>
                <c:pt idx="1256">
                  <c:v>4.9599819746119298</c:v>
                </c:pt>
                <c:pt idx="1257">
                  <c:v>5.171621569218896</c:v>
                </c:pt>
                <c:pt idx="1258">
                  <c:v>6.8553231298788431</c:v>
                </c:pt>
                <c:pt idx="1259">
                  <c:v>6.0482897909055104</c:v>
                </c:pt>
                <c:pt idx="1260">
                  <c:v>6.0579560362997871</c:v>
                </c:pt>
                <c:pt idx="1261">
                  <c:v>4.8199923853267377</c:v>
                </c:pt>
                <c:pt idx="1262">
                  <c:v>4.9046135088136902</c:v>
                </c:pt>
                <c:pt idx="1263">
                  <c:v>6.2039967967010679</c:v>
                </c:pt>
                <c:pt idx="1264">
                  <c:v>4.0240260664449075</c:v>
                </c:pt>
                <c:pt idx="1265">
                  <c:v>6.0061902554062243</c:v>
                </c:pt>
                <c:pt idx="1266">
                  <c:v>5.0310594323256046</c:v>
                </c:pt>
                <c:pt idx="1267">
                  <c:v>5.0517036643949256</c:v>
                </c:pt>
                <c:pt idx="1268">
                  <c:v>4.7861088688639457</c:v>
                </c:pt>
                <c:pt idx="1269">
                  <c:v>4.9463953038497817</c:v>
                </c:pt>
                <c:pt idx="1270">
                  <c:v>5.9953765175932272</c:v>
                </c:pt>
                <c:pt idx="1271">
                  <c:v>4.9911525067395255</c:v>
                </c:pt>
                <c:pt idx="1272">
                  <c:v>5.0828147471179834</c:v>
                </c:pt>
                <c:pt idx="1273">
                  <c:v>4.9806501227196183</c:v>
                </c:pt>
                <c:pt idx="1274">
                  <c:v>4.9942868029490546</c:v>
                </c:pt>
                <c:pt idx="1275">
                  <c:v>4.9345697470396814</c:v>
                </c:pt>
                <c:pt idx="1276">
                  <c:v>5.9774752413790813</c:v>
                </c:pt>
                <c:pt idx="1277">
                  <c:v>5.8637488992337143</c:v>
                </c:pt>
                <c:pt idx="1278">
                  <c:v>4.9277256376821423</c:v>
                </c:pt>
                <c:pt idx="1279">
                  <c:v>4.9255483004024754</c:v>
                </c:pt>
                <c:pt idx="1280">
                  <c:v>5.0822149117891469</c:v>
                </c:pt>
                <c:pt idx="1281">
                  <c:v>4.9102393078799569</c:v>
                </c:pt>
                <c:pt idx="1282">
                  <c:v>5.0359681131119878</c:v>
                </c:pt>
                <c:pt idx="1283">
                  <c:v>6.0722855727548426</c:v>
                </c:pt>
                <c:pt idx="1284">
                  <c:v>6.0295110839206876</c:v>
                </c:pt>
                <c:pt idx="1285">
                  <c:v>5.9767608520710152</c:v>
                </c:pt>
                <c:pt idx="1286">
                  <c:v>5.9164507493710774</c:v>
                </c:pt>
                <c:pt idx="1287">
                  <c:v>5.9870766083004172</c:v>
                </c:pt>
                <c:pt idx="1288">
                  <c:v>5.0392672788402608</c:v>
                </c:pt>
                <c:pt idx="1289">
                  <c:v>7.0014514135287067</c:v>
                </c:pt>
                <c:pt idx="1290">
                  <c:v>3.898410058709044</c:v>
                </c:pt>
                <c:pt idx="1291">
                  <c:v>5.9402127550990134</c:v>
                </c:pt>
                <c:pt idx="1292">
                  <c:v>6.0582402894423986</c:v>
                </c:pt>
                <c:pt idx="1293">
                  <c:v>6.0138218529128622</c:v>
                </c:pt>
                <c:pt idx="1294">
                  <c:v>5.873374104205249</c:v>
                </c:pt>
                <c:pt idx="1295">
                  <c:v>5.9342478379668648</c:v>
                </c:pt>
                <c:pt idx="1296">
                  <c:v>6.9811545445836893</c:v>
                </c:pt>
                <c:pt idx="1297">
                  <c:v>4.0137913029180075</c:v>
                </c:pt>
                <c:pt idx="1298">
                  <c:v>6.0987711270121583</c:v>
                </c:pt>
                <c:pt idx="1299">
                  <c:v>4.1424189347965541</c:v>
                </c:pt>
                <c:pt idx="1300">
                  <c:v>7.0743652401819785</c:v>
                </c:pt>
                <c:pt idx="1301">
                  <c:v>3.8959814801654926</c:v>
                </c:pt>
                <c:pt idx="1302">
                  <c:v>5.1212353435677</c:v>
                </c:pt>
                <c:pt idx="1303">
                  <c:v>4.8971437179423463</c:v>
                </c:pt>
                <c:pt idx="1304">
                  <c:v>4.060143560013584</c:v>
                </c:pt>
                <c:pt idx="1305">
                  <c:v>3.9474749458040508</c:v>
                </c:pt>
                <c:pt idx="1306">
                  <c:v>5.9242919043409721</c:v>
                </c:pt>
                <c:pt idx="1307">
                  <c:v>5.9278610418376845</c:v>
                </c:pt>
                <c:pt idx="1308">
                  <c:v>4.0831830561481182</c:v>
                </c:pt>
                <c:pt idx="1309">
                  <c:v>3.9045467394547448</c:v>
                </c:pt>
                <c:pt idx="1310">
                  <c:v>6.0059351610928928</c:v>
                </c:pt>
                <c:pt idx="1311">
                  <c:v>3.8607298906425154</c:v>
                </c:pt>
                <c:pt idx="1312">
                  <c:v>3.9196966763330217</c:v>
                </c:pt>
                <c:pt idx="1313">
                  <c:v>5.9885758632359156</c:v>
                </c:pt>
                <c:pt idx="1314">
                  <c:v>4.0415946338975459</c:v>
                </c:pt>
                <c:pt idx="1315">
                  <c:v>5.8653770470749391</c:v>
                </c:pt>
                <c:pt idx="1316">
                  <c:v>6.908043134992595</c:v>
                </c:pt>
                <c:pt idx="1317">
                  <c:v>5.8382174903226112</c:v>
                </c:pt>
                <c:pt idx="1318">
                  <c:v>3.0764210309773001</c:v>
                </c:pt>
                <c:pt idx="1319">
                  <c:v>4.9830200083195217</c:v>
                </c:pt>
                <c:pt idx="1320">
                  <c:v>5.9646493233462472</c:v>
                </c:pt>
                <c:pt idx="1321">
                  <c:v>4.9817455511156616</c:v>
                </c:pt>
                <c:pt idx="1322">
                  <c:v>4.9805737109812762</c:v>
                </c:pt>
                <c:pt idx="1323">
                  <c:v>5.9242752769108984</c:v>
                </c:pt>
                <c:pt idx="1324">
                  <c:v>5.9834618256863266</c:v>
                </c:pt>
                <c:pt idx="1325">
                  <c:v>5.9788862064182302</c:v>
                </c:pt>
                <c:pt idx="1326">
                  <c:v>6.0663888091662379</c:v>
                </c:pt>
                <c:pt idx="1327">
                  <c:v>5.0056757942699868</c:v>
                </c:pt>
                <c:pt idx="1328">
                  <c:v>4.9205242738598924</c:v>
                </c:pt>
                <c:pt idx="1329">
                  <c:v>5.1929855674517915</c:v>
                </c:pt>
                <c:pt idx="1330">
                  <c:v>5.9386583149666867</c:v>
                </c:pt>
                <c:pt idx="1331">
                  <c:v>6.1178138351065137</c:v>
                </c:pt>
                <c:pt idx="1332">
                  <c:v>5.9549584175971759</c:v>
                </c:pt>
                <c:pt idx="1333">
                  <c:v>5.8114799877316798</c:v>
                </c:pt>
                <c:pt idx="1334">
                  <c:v>6.0536752726426659</c:v>
                </c:pt>
                <c:pt idx="1335">
                  <c:v>5.006035343239704</c:v>
                </c:pt>
                <c:pt idx="1336">
                  <c:v>5.8377112580218764</c:v>
                </c:pt>
                <c:pt idx="1337">
                  <c:v>6.0729296513079252</c:v>
                </c:pt>
                <c:pt idx="1338">
                  <c:v>4.9267095791197804</c:v>
                </c:pt>
                <c:pt idx="1339">
                  <c:v>5.869148650606216</c:v>
                </c:pt>
                <c:pt idx="1340">
                  <c:v>5.9994889858098546</c:v>
                </c:pt>
                <c:pt idx="1341">
                  <c:v>5.0332614606429678</c:v>
                </c:pt>
                <c:pt idx="1342">
                  <c:v>4.9629550034342165</c:v>
                </c:pt>
                <c:pt idx="1343">
                  <c:v>4.8232071816765316</c:v>
                </c:pt>
                <c:pt idx="1344">
                  <c:v>6.0744932362099204</c:v>
                </c:pt>
                <c:pt idx="1345">
                  <c:v>4.841822659327657</c:v>
                </c:pt>
                <c:pt idx="1346">
                  <c:v>5.1051303114906545</c:v>
                </c:pt>
                <c:pt idx="1347">
                  <c:v>4.8303257228659167</c:v>
                </c:pt>
                <c:pt idx="1348">
                  <c:v>4.881233584551679</c:v>
                </c:pt>
                <c:pt idx="1349">
                  <c:v>5.0062349146591387</c:v>
                </c:pt>
                <c:pt idx="1350">
                  <c:v>4.9451875923022657</c:v>
                </c:pt>
                <c:pt idx="1351">
                  <c:v>4.9409947632190443</c:v>
                </c:pt>
                <c:pt idx="1352">
                  <c:v>5.0232576741344825</c:v>
                </c:pt>
                <c:pt idx="1353">
                  <c:v>5.0105978597858938</c:v>
                </c:pt>
                <c:pt idx="1354">
                  <c:v>7.0942246347704927</c:v>
                </c:pt>
                <c:pt idx="1355">
                  <c:v>5.987480026826602</c:v>
                </c:pt>
                <c:pt idx="1356">
                  <c:v>6.0246276848364992</c:v>
                </c:pt>
                <c:pt idx="1357">
                  <c:v>5.8962077728354014</c:v>
                </c:pt>
                <c:pt idx="1358">
                  <c:v>4.934880258800864</c:v>
                </c:pt>
                <c:pt idx="1359">
                  <c:v>5.0014357001490151</c:v>
                </c:pt>
                <c:pt idx="1360">
                  <c:v>5.0511400536336311</c:v>
                </c:pt>
                <c:pt idx="1361">
                  <c:v>5.0820162551342483</c:v>
                </c:pt>
                <c:pt idx="1362">
                  <c:v>4.9603223592627783</c:v>
                </c:pt>
                <c:pt idx="1363">
                  <c:v>6.9792695705815149</c:v>
                </c:pt>
                <c:pt idx="1364">
                  <c:v>6.9445393156323583</c:v>
                </c:pt>
                <c:pt idx="1365">
                  <c:v>7.1712692504040003</c:v>
                </c:pt>
                <c:pt idx="1366">
                  <c:v>6.9792710739848971</c:v>
                </c:pt>
                <c:pt idx="1367">
                  <c:v>7.0513999009911155</c:v>
                </c:pt>
                <c:pt idx="1368">
                  <c:v>1.9793943847948936</c:v>
                </c:pt>
                <c:pt idx="1369">
                  <c:v>5.080627825660434</c:v>
                </c:pt>
                <c:pt idx="1370">
                  <c:v>5.0768117786924902</c:v>
                </c:pt>
                <c:pt idx="1371">
                  <c:v>5.9863907183798997</c:v>
                </c:pt>
                <c:pt idx="1372">
                  <c:v>7.0097455584935489</c:v>
                </c:pt>
                <c:pt idx="1373">
                  <c:v>4.9323637479060043</c:v>
                </c:pt>
                <c:pt idx="1374">
                  <c:v>3.9594953769512626</c:v>
                </c:pt>
                <c:pt idx="1375">
                  <c:v>6.1259545423670856</c:v>
                </c:pt>
                <c:pt idx="1376">
                  <c:v>6.0155176735457863</c:v>
                </c:pt>
                <c:pt idx="1377">
                  <c:v>4.9648324611698573</c:v>
                </c:pt>
                <c:pt idx="1378">
                  <c:v>5.8230115379932172</c:v>
                </c:pt>
                <c:pt idx="1379">
                  <c:v>4.8840219819051205</c:v>
                </c:pt>
                <c:pt idx="1380">
                  <c:v>4.9113812998690785</c:v>
                </c:pt>
                <c:pt idx="1381">
                  <c:v>5.1251622912547123</c:v>
                </c:pt>
                <c:pt idx="1382">
                  <c:v>4.9388626220239304</c:v>
                </c:pt>
                <c:pt idx="1383">
                  <c:v>5.0397902297288244</c:v>
                </c:pt>
                <c:pt idx="1384">
                  <c:v>5.963786773601818</c:v>
                </c:pt>
                <c:pt idx="1385">
                  <c:v>4.8984293157617911</c:v>
                </c:pt>
                <c:pt idx="1386">
                  <c:v>5.1965480594019633</c:v>
                </c:pt>
                <c:pt idx="1387">
                  <c:v>4.0686126281394532</c:v>
                </c:pt>
                <c:pt idx="1388">
                  <c:v>4.798171037923936</c:v>
                </c:pt>
                <c:pt idx="1389">
                  <c:v>5.1190927719649029</c:v>
                </c:pt>
                <c:pt idx="1390">
                  <c:v>5.0476955555260723</c:v>
                </c:pt>
                <c:pt idx="1391">
                  <c:v>4.8976018669312307</c:v>
                </c:pt>
                <c:pt idx="1392">
                  <c:v>5.1779858978338682</c:v>
                </c:pt>
                <c:pt idx="1393">
                  <c:v>4.9290939816535992</c:v>
                </c:pt>
                <c:pt idx="1394">
                  <c:v>5.0001841419889406</c:v>
                </c:pt>
                <c:pt idx="1395">
                  <c:v>5.0807904249191616</c:v>
                </c:pt>
                <c:pt idx="1396">
                  <c:v>5.1799587623890373</c:v>
                </c:pt>
                <c:pt idx="1397">
                  <c:v>5.9796873852068009</c:v>
                </c:pt>
                <c:pt idx="1398">
                  <c:v>5.9691198156768799</c:v>
                </c:pt>
                <c:pt idx="1399">
                  <c:v>5.0123888640240617</c:v>
                </c:pt>
                <c:pt idx="1400">
                  <c:v>6.1133864167127872</c:v>
                </c:pt>
                <c:pt idx="1401">
                  <c:v>5.1436884479239211</c:v>
                </c:pt>
                <c:pt idx="1402">
                  <c:v>4.9410037378272014</c:v>
                </c:pt>
                <c:pt idx="1403">
                  <c:v>4.9295508033281932</c:v>
                </c:pt>
                <c:pt idx="1404">
                  <c:v>5.1554477348669465</c:v>
                </c:pt>
                <c:pt idx="1405">
                  <c:v>4.9977165106870194</c:v>
                </c:pt>
                <c:pt idx="1406">
                  <c:v>4.9719489191025446</c:v>
                </c:pt>
                <c:pt idx="1407">
                  <c:v>4.928060510215035</c:v>
                </c:pt>
                <c:pt idx="1408">
                  <c:v>5.9093728722460446</c:v>
                </c:pt>
                <c:pt idx="1409">
                  <c:v>5.9068608806681473</c:v>
                </c:pt>
                <c:pt idx="1410">
                  <c:v>4.9614862669910256</c:v>
                </c:pt>
                <c:pt idx="1411">
                  <c:v>5.1034139978938091</c:v>
                </c:pt>
                <c:pt idx="1412">
                  <c:v>4.8336695059631474</c:v>
                </c:pt>
                <c:pt idx="1413">
                  <c:v>6.0544046773089972</c:v>
                </c:pt>
                <c:pt idx="1414">
                  <c:v>4.9103532390083018</c:v>
                </c:pt>
                <c:pt idx="1415">
                  <c:v>5.9873769656755185</c:v>
                </c:pt>
                <c:pt idx="1416">
                  <c:v>6.0413923748262501</c:v>
                </c:pt>
                <c:pt idx="1417">
                  <c:v>5.050596756365838</c:v>
                </c:pt>
                <c:pt idx="1418">
                  <c:v>6.0091084948240203</c:v>
                </c:pt>
                <c:pt idx="1419">
                  <c:v>5.0636938607266098</c:v>
                </c:pt>
                <c:pt idx="1420">
                  <c:v>4.76490557917404</c:v>
                </c:pt>
                <c:pt idx="1421">
                  <c:v>6.0031929132650177</c:v>
                </c:pt>
                <c:pt idx="1422">
                  <c:v>6.2309384834672752</c:v>
                </c:pt>
                <c:pt idx="1423">
                  <c:v>5.9340190164528055</c:v>
                </c:pt>
                <c:pt idx="1424">
                  <c:v>5.0061494600984418</c:v>
                </c:pt>
                <c:pt idx="1425">
                  <c:v>4.0866424694728192</c:v>
                </c:pt>
                <c:pt idx="1426">
                  <c:v>5.0794036309425659</c:v>
                </c:pt>
                <c:pt idx="1427">
                  <c:v>6.2221107199630348</c:v>
                </c:pt>
                <c:pt idx="1428">
                  <c:v>5.1006731088775634</c:v>
                </c:pt>
                <c:pt idx="1429">
                  <c:v>3.9671980336702366</c:v>
                </c:pt>
                <c:pt idx="1430">
                  <c:v>4.960111809379419</c:v>
                </c:pt>
                <c:pt idx="1431">
                  <c:v>4.9946245141371062</c:v>
                </c:pt>
                <c:pt idx="1432">
                  <c:v>6.0081300559175848</c:v>
                </c:pt>
                <c:pt idx="1433">
                  <c:v>5.1077217826048074</c:v>
                </c:pt>
                <c:pt idx="1434">
                  <c:v>4.7857215788933356</c:v>
                </c:pt>
                <c:pt idx="1435">
                  <c:v>4.0185837209383299</c:v>
                </c:pt>
                <c:pt idx="1436">
                  <c:v>5.803840817283505</c:v>
                </c:pt>
                <c:pt idx="1437">
                  <c:v>5.0768424395758398</c:v>
                </c:pt>
                <c:pt idx="1438">
                  <c:v>5.942387681661125</c:v>
                </c:pt>
                <c:pt idx="1439">
                  <c:v>4.9306598793130565</c:v>
                </c:pt>
                <c:pt idx="1440">
                  <c:v>5.0609695230528962</c:v>
                </c:pt>
                <c:pt idx="1441">
                  <c:v>4.8264570712997896</c:v>
                </c:pt>
                <c:pt idx="1442">
                  <c:v>6.013104687216928</c:v>
                </c:pt>
                <c:pt idx="1443">
                  <c:v>4.8261587874841521</c:v>
                </c:pt>
                <c:pt idx="1444">
                  <c:v>5.0748590455741267</c:v>
                </c:pt>
                <c:pt idx="1445">
                  <c:v>5.9105886004566166</c:v>
                </c:pt>
                <c:pt idx="1446">
                  <c:v>5.127280408851802</c:v>
                </c:pt>
                <c:pt idx="1447">
                  <c:v>5.1667941397074184</c:v>
                </c:pt>
                <c:pt idx="1448">
                  <c:v>6.0001812221193971</c:v>
                </c:pt>
                <c:pt idx="1449">
                  <c:v>5.0951106336919114</c:v>
                </c:pt>
                <c:pt idx="1450">
                  <c:v>5.0912139543028703</c:v>
                </c:pt>
                <c:pt idx="1451">
                  <c:v>6.0587822331602652</c:v>
                </c:pt>
                <c:pt idx="1452">
                  <c:v>3.0125944993891767</c:v>
                </c:pt>
                <c:pt idx="1453">
                  <c:v>4.957947351554056</c:v>
                </c:pt>
                <c:pt idx="1454">
                  <c:v>5.8034542487009251</c:v>
                </c:pt>
                <c:pt idx="1455">
                  <c:v>6.1094647571735221</c:v>
                </c:pt>
                <c:pt idx="1456">
                  <c:v>6.0049705405221889</c:v>
                </c:pt>
                <c:pt idx="1457">
                  <c:v>4.2234822839722597</c:v>
                </c:pt>
                <c:pt idx="1458">
                  <c:v>5.9360942756479274</c:v>
                </c:pt>
                <c:pt idx="1459">
                  <c:v>3.9256748416193856</c:v>
                </c:pt>
                <c:pt idx="1460">
                  <c:v>7.0754724328139691</c:v>
                </c:pt>
                <c:pt idx="1461">
                  <c:v>4.2068758414270819</c:v>
                </c:pt>
                <c:pt idx="1462">
                  <c:v>3.8464166921739213</c:v>
                </c:pt>
                <c:pt idx="1463">
                  <c:v>5.9589041719070011</c:v>
                </c:pt>
                <c:pt idx="1464">
                  <c:v>6.1208132326889269</c:v>
                </c:pt>
                <c:pt idx="1465">
                  <c:v>5.8886609250135384</c:v>
                </c:pt>
                <c:pt idx="1466">
                  <c:v>5.0460561376856106</c:v>
                </c:pt>
                <c:pt idx="1467">
                  <c:v>4.8198742997931969</c:v>
                </c:pt>
                <c:pt idx="1468">
                  <c:v>4.9295587074474696</c:v>
                </c:pt>
                <c:pt idx="1469">
                  <c:v>5.0062397146295501</c:v>
                </c:pt>
                <c:pt idx="1470">
                  <c:v>4.9377848731278249</c:v>
                </c:pt>
                <c:pt idx="1471">
                  <c:v>6.166417736570815</c:v>
                </c:pt>
                <c:pt idx="1472">
                  <c:v>5.9681733384796232</c:v>
                </c:pt>
                <c:pt idx="1473">
                  <c:v>6.2288233801681869</c:v>
                </c:pt>
                <c:pt idx="1474">
                  <c:v>5.0018259817421304</c:v>
                </c:pt>
                <c:pt idx="1475">
                  <c:v>4.8655432909700629</c:v>
                </c:pt>
                <c:pt idx="1476">
                  <c:v>6.0851694506913061</c:v>
                </c:pt>
                <c:pt idx="1477">
                  <c:v>5.937423178829663</c:v>
                </c:pt>
                <c:pt idx="1478">
                  <c:v>6.1474050634347366</c:v>
                </c:pt>
                <c:pt idx="1479">
                  <c:v>5.0689121840075853</c:v>
                </c:pt>
                <c:pt idx="1480">
                  <c:v>6.0565132522056944</c:v>
                </c:pt>
                <c:pt idx="1481">
                  <c:v>5.0811605290360795</c:v>
                </c:pt>
                <c:pt idx="1482">
                  <c:v>6.1170220653615548</c:v>
                </c:pt>
                <c:pt idx="1483">
                  <c:v>5.9547202219675244</c:v>
                </c:pt>
                <c:pt idx="1484">
                  <c:v>5.9967052923574222</c:v>
                </c:pt>
                <c:pt idx="1485">
                  <c:v>5.867229812440141</c:v>
                </c:pt>
                <c:pt idx="1486">
                  <c:v>5.0047521938986765</c:v>
                </c:pt>
                <c:pt idx="1487">
                  <c:v>5.0873052644601984</c:v>
                </c:pt>
                <c:pt idx="1488">
                  <c:v>6.824897125124723</c:v>
                </c:pt>
                <c:pt idx="1489">
                  <c:v>5.8697049294707702</c:v>
                </c:pt>
                <c:pt idx="1490">
                  <c:v>5.0449656711705382</c:v>
                </c:pt>
                <c:pt idx="1491">
                  <c:v>6.0023947426902664</c:v>
                </c:pt>
                <c:pt idx="1492">
                  <c:v>4.9595013318108974</c:v>
                </c:pt>
                <c:pt idx="1493">
                  <c:v>6.9822484941734739</c:v>
                </c:pt>
                <c:pt idx="1494">
                  <c:v>6.0416476113902942</c:v>
                </c:pt>
                <c:pt idx="1495">
                  <c:v>6.0408243042656284</c:v>
                </c:pt>
                <c:pt idx="1496">
                  <c:v>5.0231741696928225</c:v>
                </c:pt>
                <c:pt idx="1497">
                  <c:v>7.0111092441233875</c:v>
                </c:pt>
                <c:pt idx="1498">
                  <c:v>5.1850180564593389</c:v>
                </c:pt>
                <c:pt idx="1499">
                  <c:v>4.9447529385054105</c:v>
                </c:pt>
                <c:pt idx="1500">
                  <c:v>4.9491127328295796</c:v>
                </c:pt>
                <c:pt idx="1501">
                  <c:v>4.9171128588765258</c:v>
                </c:pt>
                <c:pt idx="1502">
                  <c:v>4.9570236729721371</c:v>
                </c:pt>
                <c:pt idx="1503">
                  <c:v>6.0348319279866391</c:v>
                </c:pt>
                <c:pt idx="1504">
                  <c:v>6.132555238612408</c:v>
                </c:pt>
                <c:pt idx="1505">
                  <c:v>4.0916030770846445</c:v>
                </c:pt>
                <c:pt idx="1506">
                  <c:v>5.8985141638030365</c:v>
                </c:pt>
                <c:pt idx="1507">
                  <c:v>4.9198960450744851</c:v>
                </c:pt>
                <c:pt idx="1508">
                  <c:v>3.9897154610321497</c:v>
                </c:pt>
                <c:pt idx="1509">
                  <c:v>5.1214094591127628</c:v>
                </c:pt>
                <c:pt idx="1510">
                  <c:v>4.9853155500174013</c:v>
                </c:pt>
                <c:pt idx="1511">
                  <c:v>5.845340387382949</c:v>
                </c:pt>
                <c:pt idx="1512">
                  <c:v>5.9613120285002772</c:v>
                </c:pt>
                <c:pt idx="1513">
                  <c:v>5.9976844460363532</c:v>
                </c:pt>
                <c:pt idx="1514">
                  <c:v>5.8490509193759559</c:v>
                </c:pt>
                <c:pt idx="1515">
                  <c:v>5.8668597343559705</c:v>
                </c:pt>
                <c:pt idx="1516">
                  <c:v>5.9962755347430585</c:v>
                </c:pt>
                <c:pt idx="1517">
                  <c:v>5.8398314730361607</c:v>
                </c:pt>
                <c:pt idx="1518">
                  <c:v>4.8924849355596374</c:v>
                </c:pt>
                <c:pt idx="1519">
                  <c:v>3.80005061718412</c:v>
                </c:pt>
                <c:pt idx="1520">
                  <c:v>6.1082069735763804</c:v>
                </c:pt>
                <c:pt idx="1521">
                  <c:v>6.0095975437153797</c:v>
                </c:pt>
                <c:pt idx="1522">
                  <c:v>6.050015229774159</c:v>
                </c:pt>
                <c:pt idx="1523">
                  <c:v>5.9789608443947246</c:v>
                </c:pt>
                <c:pt idx="1524">
                  <c:v>5.0810875706787408</c:v>
                </c:pt>
                <c:pt idx="1525">
                  <c:v>6.0089238318436884</c:v>
                </c:pt>
                <c:pt idx="1526">
                  <c:v>4.9589766269081865</c:v>
                </c:pt>
                <c:pt idx="1527">
                  <c:v>5.9611178247271734</c:v>
                </c:pt>
                <c:pt idx="1528">
                  <c:v>5.0825362569435022</c:v>
                </c:pt>
                <c:pt idx="1529">
                  <c:v>5.0827426836464635</c:v>
                </c:pt>
                <c:pt idx="1530">
                  <c:v>5.1003037719494486</c:v>
                </c:pt>
                <c:pt idx="1531">
                  <c:v>6.0279643208098097</c:v>
                </c:pt>
                <c:pt idx="1532">
                  <c:v>4.9839882418753607</c:v>
                </c:pt>
                <c:pt idx="1533">
                  <c:v>5.0493054115778877</c:v>
                </c:pt>
                <c:pt idx="1534">
                  <c:v>4.9861222900984492</c:v>
                </c:pt>
                <c:pt idx="1535">
                  <c:v>4.9357568475741074</c:v>
                </c:pt>
                <c:pt idx="1536">
                  <c:v>6.0461429726130911</c:v>
                </c:pt>
                <c:pt idx="1537">
                  <c:v>5.9494815782719543</c:v>
                </c:pt>
                <c:pt idx="1538">
                  <c:v>6.0038469414858948</c:v>
                </c:pt>
                <c:pt idx="1539">
                  <c:v>6.9367057866765238</c:v>
                </c:pt>
                <c:pt idx="1540">
                  <c:v>4.9301986046023707</c:v>
                </c:pt>
                <c:pt idx="1541">
                  <c:v>6.0208611233070659</c:v>
                </c:pt>
                <c:pt idx="1542">
                  <c:v>4.9680537468823802</c:v>
                </c:pt>
                <c:pt idx="1543">
                  <c:v>4.9586338018187623</c:v>
                </c:pt>
                <c:pt idx="1544">
                  <c:v>5.9662026325308553</c:v>
                </c:pt>
                <c:pt idx="1545">
                  <c:v>5.0892076914677906</c:v>
                </c:pt>
                <c:pt idx="1546">
                  <c:v>5.9781483995940707</c:v>
                </c:pt>
                <c:pt idx="1547">
                  <c:v>4.9893715651338493</c:v>
                </c:pt>
                <c:pt idx="1548">
                  <c:v>4.842799659739053</c:v>
                </c:pt>
                <c:pt idx="1549">
                  <c:v>4.9734519425762747</c:v>
                </c:pt>
                <c:pt idx="1550">
                  <c:v>5.020292087287717</c:v>
                </c:pt>
                <c:pt idx="1551">
                  <c:v>6.0068706048375207</c:v>
                </c:pt>
                <c:pt idx="1552">
                  <c:v>6.0718880310546481</c:v>
                </c:pt>
                <c:pt idx="1553">
                  <c:v>5.998508225613949</c:v>
                </c:pt>
                <c:pt idx="1554">
                  <c:v>6.0716885945889638</c:v>
                </c:pt>
                <c:pt idx="1555">
                  <c:v>5.0859131990079707</c:v>
                </c:pt>
                <c:pt idx="1556">
                  <c:v>4.9464327856672323</c:v>
                </c:pt>
                <c:pt idx="1557">
                  <c:v>5.8791336148930418</c:v>
                </c:pt>
                <c:pt idx="1558">
                  <c:v>5.1766695391056103</c:v>
                </c:pt>
                <c:pt idx="1559">
                  <c:v>4.8618784390254053</c:v>
                </c:pt>
                <c:pt idx="1560">
                  <c:v>5.0449327600918412</c:v>
                </c:pt>
                <c:pt idx="1561">
                  <c:v>4.9111122226586978</c:v>
                </c:pt>
                <c:pt idx="1562">
                  <c:v>4.8186737710605234</c:v>
                </c:pt>
                <c:pt idx="1563">
                  <c:v>6.9457952130843079</c:v>
                </c:pt>
                <c:pt idx="1564">
                  <c:v>4.9709100423699129</c:v>
                </c:pt>
                <c:pt idx="1565">
                  <c:v>5.9577685815713579</c:v>
                </c:pt>
                <c:pt idx="1566">
                  <c:v>4.934277153790779</c:v>
                </c:pt>
                <c:pt idx="1567">
                  <c:v>5.9040487725448729</c:v>
                </c:pt>
                <c:pt idx="1568">
                  <c:v>5.8285529105939844</c:v>
                </c:pt>
                <c:pt idx="1569">
                  <c:v>4.9837375453025823</c:v>
                </c:pt>
                <c:pt idx="1570">
                  <c:v>4.9242642634943348</c:v>
                </c:pt>
                <c:pt idx="1571">
                  <c:v>4.9688893393770837</c:v>
                </c:pt>
                <c:pt idx="1572">
                  <c:v>6.032121785399104</c:v>
                </c:pt>
                <c:pt idx="1573">
                  <c:v>5.0155669475592015</c:v>
                </c:pt>
                <c:pt idx="1574">
                  <c:v>4.8680456786225319</c:v>
                </c:pt>
                <c:pt idx="1575">
                  <c:v>5.0530441721977386</c:v>
                </c:pt>
                <c:pt idx="1576">
                  <c:v>5.0849779806945614</c:v>
                </c:pt>
                <c:pt idx="1577">
                  <c:v>6.1540344951898067</c:v>
                </c:pt>
                <c:pt idx="1578">
                  <c:v>4.7086337071285058</c:v>
                </c:pt>
                <c:pt idx="1579">
                  <c:v>4.814989713853139</c:v>
                </c:pt>
                <c:pt idx="1580">
                  <c:v>4.9764006832320486</c:v>
                </c:pt>
                <c:pt idx="1581">
                  <c:v>6.9741159047159256</c:v>
                </c:pt>
                <c:pt idx="1582">
                  <c:v>5.0064865789554736</c:v>
                </c:pt>
                <c:pt idx="1583">
                  <c:v>5.0645121141125049</c:v>
                </c:pt>
                <c:pt idx="1584">
                  <c:v>5.8480751106768398</c:v>
                </c:pt>
                <c:pt idx="1585">
                  <c:v>4.9174315224445513</c:v>
                </c:pt>
                <c:pt idx="1586">
                  <c:v>5.1358141486388256</c:v>
                </c:pt>
                <c:pt idx="1587">
                  <c:v>6.0550148369395904</c:v>
                </c:pt>
                <c:pt idx="1588">
                  <c:v>6.0388756549651772</c:v>
                </c:pt>
                <c:pt idx="1589">
                  <c:v>5.9456037897608294</c:v>
                </c:pt>
                <c:pt idx="1590">
                  <c:v>4.8876612059468556</c:v>
                </c:pt>
                <c:pt idx="1591">
                  <c:v>4.9302834662293611</c:v>
                </c:pt>
                <c:pt idx="1592">
                  <c:v>5.1248780853269942</c:v>
                </c:pt>
                <c:pt idx="1593">
                  <c:v>4.9889656192643015</c:v>
                </c:pt>
                <c:pt idx="1594">
                  <c:v>6.0423308486376932</c:v>
                </c:pt>
                <c:pt idx="1595">
                  <c:v>5.1482429645527796</c:v>
                </c:pt>
                <c:pt idx="1596">
                  <c:v>6.0698520783869965</c:v>
                </c:pt>
                <c:pt idx="1597">
                  <c:v>6.0198787373307292</c:v>
                </c:pt>
                <c:pt idx="1598">
                  <c:v>5.0239392257237467</c:v>
                </c:pt>
                <c:pt idx="1599">
                  <c:v>6.8994519357586439</c:v>
                </c:pt>
                <c:pt idx="1600">
                  <c:v>5.9426898908134733</c:v>
                </c:pt>
                <c:pt idx="1601">
                  <c:v>4.9512737368493571</c:v>
                </c:pt>
                <c:pt idx="1602">
                  <c:v>5.016811751011204</c:v>
                </c:pt>
                <c:pt idx="1603">
                  <c:v>6.0769687858037562</c:v>
                </c:pt>
                <c:pt idx="1604">
                  <c:v>5.02756902148887</c:v>
                </c:pt>
                <c:pt idx="1605">
                  <c:v>6.0794510723030273</c:v>
                </c:pt>
                <c:pt idx="1606">
                  <c:v>4.8138925518741527</c:v>
                </c:pt>
                <c:pt idx="1607">
                  <c:v>6.097146003314041</c:v>
                </c:pt>
                <c:pt idx="1608">
                  <c:v>6.1640262583258547</c:v>
                </c:pt>
                <c:pt idx="1609">
                  <c:v>5.1013682409547076</c:v>
                </c:pt>
                <c:pt idx="1610">
                  <c:v>5.8740073363986181</c:v>
                </c:pt>
                <c:pt idx="1611">
                  <c:v>5.9468040461806471</c:v>
                </c:pt>
                <c:pt idx="1612">
                  <c:v>6.0935087929108755</c:v>
                </c:pt>
                <c:pt idx="1613">
                  <c:v>5.8299598981463721</c:v>
                </c:pt>
                <c:pt idx="1614">
                  <c:v>6.0754805607255946</c:v>
                </c:pt>
                <c:pt idx="1615">
                  <c:v>5.8292385078480349</c:v>
                </c:pt>
                <c:pt idx="1616">
                  <c:v>6.0644635907741922</c:v>
                </c:pt>
                <c:pt idx="1617">
                  <c:v>6.0222869053474186</c:v>
                </c:pt>
                <c:pt idx="1618">
                  <c:v>5.0072494557642573</c:v>
                </c:pt>
                <c:pt idx="1619">
                  <c:v>6.0446459550889147</c:v>
                </c:pt>
                <c:pt idx="1620">
                  <c:v>5.9832665587517972</c:v>
                </c:pt>
                <c:pt idx="1621">
                  <c:v>5.0484286958392097</c:v>
                </c:pt>
                <c:pt idx="1622">
                  <c:v>4.8636805950710738</c:v>
                </c:pt>
                <c:pt idx="1623">
                  <c:v>6.1621290160024627</c:v>
                </c:pt>
                <c:pt idx="1624">
                  <c:v>4.9402358825573875</c:v>
                </c:pt>
                <c:pt idx="1625">
                  <c:v>5.7991090339238625</c:v>
                </c:pt>
                <c:pt idx="1626">
                  <c:v>5.7918254713655486</c:v>
                </c:pt>
                <c:pt idx="1627">
                  <c:v>5.9632265721059179</c:v>
                </c:pt>
                <c:pt idx="1628">
                  <c:v>4.8876202473119834</c:v>
                </c:pt>
                <c:pt idx="1629">
                  <c:v>6.1437152396836439</c:v>
                </c:pt>
                <c:pt idx="1630">
                  <c:v>6.1221903983915524</c:v>
                </c:pt>
                <c:pt idx="1631">
                  <c:v>4.9624739134349811</c:v>
                </c:pt>
                <c:pt idx="1632">
                  <c:v>4.9683110444877849</c:v>
                </c:pt>
                <c:pt idx="1633">
                  <c:v>5.2480588608432202</c:v>
                </c:pt>
                <c:pt idx="1634">
                  <c:v>4.74735852812295</c:v>
                </c:pt>
                <c:pt idx="1635">
                  <c:v>7.1588568522628044</c:v>
                </c:pt>
                <c:pt idx="1636">
                  <c:v>5.0122034919857708</c:v>
                </c:pt>
                <c:pt idx="1637">
                  <c:v>4.8858732119302015</c:v>
                </c:pt>
                <c:pt idx="1638">
                  <c:v>5.0445430634380815</c:v>
                </c:pt>
                <c:pt idx="1639">
                  <c:v>4.8368747116876625</c:v>
                </c:pt>
                <c:pt idx="1640">
                  <c:v>4.9130102368451931</c:v>
                </c:pt>
                <c:pt idx="1641">
                  <c:v>4.0568087796770982</c:v>
                </c:pt>
                <c:pt idx="1642">
                  <c:v>4.0717940008802334</c:v>
                </c:pt>
                <c:pt idx="1643">
                  <c:v>4.8460173896114078</c:v>
                </c:pt>
                <c:pt idx="1644">
                  <c:v>3.9652083442792754</c:v>
                </c:pt>
                <c:pt idx="1645">
                  <c:v>4.8560107311468821</c:v>
                </c:pt>
                <c:pt idx="1646">
                  <c:v>4.9902981786801428</c:v>
                </c:pt>
                <c:pt idx="1647">
                  <c:v>5.0519511087515392</c:v>
                </c:pt>
                <c:pt idx="1648">
                  <c:v>5.9849069029894393</c:v>
                </c:pt>
                <c:pt idx="1649">
                  <c:v>4.9805979476424724</c:v>
                </c:pt>
                <c:pt idx="1650">
                  <c:v>4.9518561966153616</c:v>
                </c:pt>
                <c:pt idx="1651">
                  <c:v>6.1268435304747006</c:v>
                </c:pt>
                <c:pt idx="1652">
                  <c:v>5.9277779476882824</c:v>
                </c:pt>
                <c:pt idx="1653">
                  <c:v>6.0044324793110224</c:v>
                </c:pt>
                <c:pt idx="1654">
                  <c:v>4.9794921156654501</c:v>
                </c:pt>
                <c:pt idx="1655">
                  <c:v>5.8965083023047935</c:v>
                </c:pt>
                <c:pt idx="1656">
                  <c:v>6.1129733354065028</c:v>
                </c:pt>
                <c:pt idx="1657">
                  <c:v>6.0824156767470159</c:v>
                </c:pt>
                <c:pt idx="1658">
                  <c:v>6.0056174527730937</c:v>
                </c:pt>
                <c:pt idx="1659">
                  <c:v>5.9551203512054007</c:v>
                </c:pt>
                <c:pt idx="1660">
                  <c:v>5.0800268402610413</c:v>
                </c:pt>
                <c:pt idx="1661">
                  <c:v>6.0953871116214504</c:v>
                </c:pt>
                <c:pt idx="1662">
                  <c:v>5.9780243316345674</c:v>
                </c:pt>
                <c:pt idx="1663">
                  <c:v>5.9467183379880728</c:v>
                </c:pt>
                <c:pt idx="1664">
                  <c:v>5.8480393291786585</c:v>
                </c:pt>
                <c:pt idx="1665">
                  <c:v>4.946190586525085</c:v>
                </c:pt>
                <c:pt idx="1666">
                  <c:v>5.1425426393122367</c:v>
                </c:pt>
                <c:pt idx="1667">
                  <c:v>5.0231568680827436</c:v>
                </c:pt>
                <c:pt idx="1668">
                  <c:v>5.1124419254701312</c:v>
                </c:pt>
                <c:pt idx="1669">
                  <c:v>5.9345883324534938</c:v>
                </c:pt>
                <c:pt idx="1670">
                  <c:v>4.9552258568370311</c:v>
                </c:pt>
                <c:pt idx="1671">
                  <c:v>5.8927047473224166</c:v>
                </c:pt>
                <c:pt idx="1672">
                  <c:v>5.1849156909881531</c:v>
                </c:pt>
                <c:pt idx="1673">
                  <c:v>4.9808950406419763</c:v>
                </c:pt>
                <c:pt idx="1674">
                  <c:v>5.989677831311548</c:v>
                </c:pt>
                <c:pt idx="1675">
                  <c:v>5.9834037971231284</c:v>
                </c:pt>
                <c:pt idx="1676">
                  <c:v>5.8324936232081148</c:v>
                </c:pt>
                <c:pt idx="1677">
                  <c:v>6.116095836878543</c:v>
                </c:pt>
                <c:pt idx="1678">
                  <c:v>5.0078871522200297</c:v>
                </c:pt>
                <c:pt idx="1679">
                  <c:v>4.8590788787663</c:v>
                </c:pt>
                <c:pt idx="1680">
                  <c:v>6.2000239635277765</c:v>
                </c:pt>
                <c:pt idx="1681">
                  <c:v>5.1116560927838535</c:v>
                </c:pt>
                <c:pt idx="1682">
                  <c:v>6.0350862199330519</c:v>
                </c:pt>
                <c:pt idx="1683">
                  <c:v>4.9431397368560051</c:v>
                </c:pt>
                <c:pt idx="1684">
                  <c:v>6.0529166820082789</c:v>
                </c:pt>
                <c:pt idx="1685">
                  <c:v>5.937878870251426</c:v>
                </c:pt>
                <c:pt idx="1686">
                  <c:v>5.9030984466826073</c:v>
                </c:pt>
                <c:pt idx="1687">
                  <c:v>5.9663760687832061</c:v>
                </c:pt>
                <c:pt idx="1688">
                  <c:v>4.9958593621578995</c:v>
                </c:pt>
                <c:pt idx="1689">
                  <c:v>5.956308523364144</c:v>
                </c:pt>
                <c:pt idx="1690">
                  <c:v>5.2379020443299034</c:v>
                </c:pt>
                <c:pt idx="1691">
                  <c:v>4.9019466371206377</c:v>
                </c:pt>
                <c:pt idx="1692">
                  <c:v>6.0422790651991205</c:v>
                </c:pt>
                <c:pt idx="1693">
                  <c:v>7.0536372004064978</c:v>
                </c:pt>
                <c:pt idx="1694">
                  <c:v>5.1463293766966212</c:v>
                </c:pt>
                <c:pt idx="1695">
                  <c:v>4.9174754394265676</c:v>
                </c:pt>
                <c:pt idx="1696">
                  <c:v>5.1675038119243979</c:v>
                </c:pt>
                <c:pt idx="1697">
                  <c:v>6.142760437741388</c:v>
                </c:pt>
                <c:pt idx="1698">
                  <c:v>5.003157606942624</c:v>
                </c:pt>
                <c:pt idx="1699">
                  <c:v>4.7997180646578732</c:v>
                </c:pt>
                <c:pt idx="1700">
                  <c:v>7.010775156421472</c:v>
                </c:pt>
                <c:pt idx="1701">
                  <c:v>6.0642888112883773</c:v>
                </c:pt>
                <c:pt idx="1702">
                  <c:v>5.8794314586448877</c:v>
                </c:pt>
                <c:pt idx="1703">
                  <c:v>6.1073940019664716</c:v>
                </c:pt>
                <c:pt idx="1704">
                  <c:v>6.1173287459887611</c:v>
                </c:pt>
                <c:pt idx="1705">
                  <c:v>4.8421319744324975</c:v>
                </c:pt>
                <c:pt idx="1706">
                  <c:v>4.9481736878241378</c:v>
                </c:pt>
                <c:pt idx="1707">
                  <c:v>5.9997440973033127</c:v>
                </c:pt>
                <c:pt idx="1708">
                  <c:v>5.9998158504125998</c:v>
                </c:pt>
                <c:pt idx="1709">
                  <c:v>5.8872233950937289</c:v>
                </c:pt>
                <c:pt idx="1710">
                  <c:v>5.0577872971097904</c:v>
                </c:pt>
                <c:pt idx="1711">
                  <c:v>6.0402280299672482</c:v>
                </c:pt>
                <c:pt idx="1712">
                  <c:v>5.0369402998500341</c:v>
                </c:pt>
                <c:pt idx="1713">
                  <c:v>6.0687542663535732</c:v>
                </c:pt>
                <c:pt idx="1714">
                  <c:v>5.1074470609559572</c:v>
                </c:pt>
                <c:pt idx="1715">
                  <c:v>4.9591039636061085</c:v>
                </c:pt>
                <c:pt idx="1716">
                  <c:v>4.9589175018003067</c:v>
                </c:pt>
                <c:pt idx="1717">
                  <c:v>6.0324211720092968</c:v>
                </c:pt>
                <c:pt idx="1718">
                  <c:v>4.9557464030816485</c:v>
                </c:pt>
                <c:pt idx="1719">
                  <c:v>5.0073470099336355</c:v>
                </c:pt>
                <c:pt idx="1720">
                  <c:v>4.9585231271684975</c:v>
                </c:pt>
                <c:pt idx="1721">
                  <c:v>4.9536980162583486</c:v>
                </c:pt>
                <c:pt idx="1722">
                  <c:v>5.0104799381652452</c:v>
                </c:pt>
                <c:pt idx="1723">
                  <c:v>4.9535526185937231</c:v>
                </c:pt>
                <c:pt idx="1724">
                  <c:v>5.8030444491984543</c:v>
                </c:pt>
                <c:pt idx="1725">
                  <c:v>8.0813146389412704</c:v>
                </c:pt>
                <c:pt idx="1726">
                  <c:v>6.0318079781479916</c:v>
                </c:pt>
                <c:pt idx="1727">
                  <c:v>6.0818817929035802</c:v>
                </c:pt>
                <c:pt idx="1728">
                  <c:v>5.0428860601789696</c:v>
                </c:pt>
                <c:pt idx="1729">
                  <c:v>6.0640122191981476</c:v>
                </c:pt>
                <c:pt idx="1730">
                  <c:v>4.8299553514755331</c:v>
                </c:pt>
                <c:pt idx="1731">
                  <c:v>4.8820492691416222</c:v>
                </c:pt>
                <c:pt idx="1732">
                  <c:v>6.0178369732750516</c:v>
                </c:pt>
                <c:pt idx="1733">
                  <c:v>6.0749891336618438</c:v>
                </c:pt>
                <c:pt idx="1734">
                  <c:v>5.0981179937987813</c:v>
                </c:pt>
                <c:pt idx="1735">
                  <c:v>6.0193022339934394</c:v>
                </c:pt>
                <c:pt idx="1736">
                  <c:v>5.9783379240996233</c:v>
                </c:pt>
                <c:pt idx="1737">
                  <c:v>4.9935769857790069</c:v>
                </c:pt>
                <c:pt idx="1738">
                  <c:v>6.0173771631129753</c:v>
                </c:pt>
                <c:pt idx="1739">
                  <c:v>5.9564139151139628</c:v>
                </c:pt>
                <c:pt idx="1740">
                  <c:v>6.0186644143235517</c:v>
                </c:pt>
                <c:pt idx="1741">
                  <c:v>6.0841275744077707</c:v>
                </c:pt>
                <c:pt idx="1742">
                  <c:v>4.939363854198823</c:v>
                </c:pt>
                <c:pt idx="1743">
                  <c:v>5.0209056256243576</c:v>
                </c:pt>
                <c:pt idx="1744">
                  <c:v>5.0896914770945445</c:v>
                </c:pt>
                <c:pt idx="1745">
                  <c:v>4.8843353109940315</c:v>
                </c:pt>
                <c:pt idx="1746">
                  <c:v>5.8573581035146836</c:v>
                </c:pt>
                <c:pt idx="1747">
                  <c:v>5.1464830439188232</c:v>
                </c:pt>
                <c:pt idx="1748">
                  <c:v>4.9875841425473002</c:v>
                </c:pt>
                <c:pt idx="1749">
                  <c:v>5.137286263988261</c:v>
                </c:pt>
                <c:pt idx="1750">
                  <c:v>4.9382685892016598</c:v>
                </c:pt>
                <c:pt idx="1751">
                  <c:v>5.0948724969759258</c:v>
                </c:pt>
                <c:pt idx="1752">
                  <c:v>4.95963643336645</c:v>
                </c:pt>
                <c:pt idx="1753">
                  <c:v>6.1155271975919199</c:v>
                </c:pt>
                <c:pt idx="1754">
                  <c:v>6.1934810136891558</c:v>
                </c:pt>
                <c:pt idx="1755">
                  <c:v>5.9722855793114773</c:v>
                </c:pt>
                <c:pt idx="1756">
                  <c:v>5.0330797874487541</c:v>
                </c:pt>
                <c:pt idx="1757">
                  <c:v>5.8649112305885911</c:v>
                </c:pt>
                <c:pt idx="1758">
                  <c:v>5.0288746708351661</c:v>
                </c:pt>
                <c:pt idx="1759">
                  <c:v>5.0759050376335875</c:v>
                </c:pt>
                <c:pt idx="1760">
                  <c:v>6.1808745233986278</c:v>
                </c:pt>
                <c:pt idx="1761">
                  <c:v>5.0849757094733441</c:v>
                </c:pt>
                <c:pt idx="1762">
                  <c:v>5.9705043357779886</c:v>
                </c:pt>
                <c:pt idx="1763">
                  <c:v>6.9432394029726252</c:v>
                </c:pt>
                <c:pt idx="1764">
                  <c:v>5.1736793779655557</c:v>
                </c:pt>
                <c:pt idx="1765">
                  <c:v>6.0415193177578388</c:v>
                </c:pt>
                <c:pt idx="1766">
                  <c:v>4.9525124879857083</c:v>
                </c:pt>
                <c:pt idx="1767">
                  <c:v>6.0577004633358085</c:v>
                </c:pt>
                <c:pt idx="1768">
                  <c:v>5.9480296879828245</c:v>
                </c:pt>
                <c:pt idx="1769">
                  <c:v>7.1208564105923857</c:v>
                </c:pt>
                <c:pt idx="1770">
                  <c:v>5.7847013161717866</c:v>
                </c:pt>
                <c:pt idx="1771">
                  <c:v>5.1916110196543119</c:v>
                </c:pt>
                <c:pt idx="1772">
                  <c:v>4.8849252239357535</c:v>
                </c:pt>
                <c:pt idx="1773">
                  <c:v>5.0728877469520119</c:v>
                </c:pt>
                <c:pt idx="1774">
                  <c:v>5.1090630346135741</c:v>
                </c:pt>
                <c:pt idx="1775">
                  <c:v>5.0460749940729777</c:v>
                </c:pt>
                <c:pt idx="1776">
                  <c:v>4.9338329237332026</c:v>
                </c:pt>
                <c:pt idx="1777">
                  <c:v>6.0756324752865707</c:v>
                </c:pt>
                <c:pt idx="1778">
                  <c:v>4.9998709419589282</c:v>
                </c:pt>
                <c:pt idx="1779">
                  <c:v>7.0985852971509864</c:v>
                </c:pt>
                <c:pt idx="1780">
                  <c:v>6.0140461442834425</c:v>
                </c:pt>
                <c:pt idx="1781">
                  <c:v>6.9825589629116482</c:v>
                </c:pt>
                <c:pt idx="1782">
                  <c:v>7.2185148878607013</c:v>
                </c:pt>
                <c:pt idx="1783">
                  <c:v>7.0078224728425278</c:v>
                </c:pt>
                <c:pt idx="1784">
                  <c:v>5.1230315443199412</c:v>
                </c:pt>
                <c:pt idx="1785">
                  <c:v>6.1878968537699546</c:v>
                </c:pt>
                <c:pt idx="1786">
                  <c:v>4.9935645686681669</c:v>
                </c:pt>
                <c:pt idx="1787">
                  <c:v>6.0023284724834332</c:v>
                </c:pt>
                <c:pt idx="1788">
                  <c:v>5.0262893481954203</c:v>
                </c:pt>
                <c:pt idx="1789">
                  <c:v>5.9382634541594994</c:v>
                </c:pt>
                <c:pt idx="1790">
                  <c:v>5.8400088778920471</c:v>
                </c:pt>
                <c:pt idx="1791">
                  <c:v>5.0536722797038207</c:v>
                </c:pt>
                <c:pt idx="1792">
                  <c:v>6.0152948395605774</c:v>
                </c:pt>
                <c:pt idx="1793">
                  <c:v>6.1051945765989455</c:v>
                </c:pt>
                <c:pt idx="1794">
                  <c:v>5.9485971436265626</c:v>
                </c:pt>
                <c:pt idx="1795">
                  <c:v>6.0994079050710681</c:v>
                </c:pt>
                <c:pt idx="1796">
                  <c:v>5.9605744693683071</c:v>
                </c:pt>
                <c:pt idx="1797">
                  <c:v>5.0236891580984402</c:v>
                </c:pt>
                <c:pt idx="1798">
                  <c:v>6.1593456100323625</c:v>
                </c:pt>
                <c:pt idx="1799">
                  <c:v>6.8705454235806798</c:v>
                </c:pt>
                <c:pt idx="1800">
                  <c:v>5.0574122244510091</c:v>
                </c:pt>
                <c:pt idx="1801">
                  <c:v>6.0501801321697926</c:v>
                </c:pt>
                <c:pt idx="1802">
                  <c:v>6.0045373223512968</c:v>
                </c:pt>
                <c:pt idx="1803">
                  <c:v>5.1425369371948211</c:v>
                </c:pt>
                <c:pt idx="1804">
                  <c:v>6.9094969449193639</c:v>
                </c:pt>
                <c:pt idx="1805">
                  <c:v>5.9816075003194928</c:v>
                </c:pt>
                <c:pt idx="1806">
                  <c:v>5.1240520206668814</c:v>
                </c:pt>
                <c:pt idx="1807">
                  <c:v>6.9828091622477046</c:v>
                </c:pt>
                <c:pt idx="1808">
                  <c:v>4.9648246369158358</c:v>
                </c:pt>
                <c:pt idx="1809">
                  <c:v>7.0948237282542603</c:v>
                </c:pt>
                <c:pt idx="1810">
                  <c:v>5.9185876423196371</c:v>
                </c:pt>
                <c:pt idx="1811">
                  <c:v>6.6928135937604365</c:v>
                </c:pt>
                <c:pt idx="1812">
                  <c:v>7.0282815141466841</c:v>
                </c:pt>
                <c:pt idx="1813">
                  <c:v>5.0153821084628545</c:v>
                </c:pt>
                <c:pt idx="1814">
                  <c:v>6.0114208270581546</c:v>
                </c:pt>
                <c:pt idx="1815">
                  <c:v>4.0784058792096687</c:v>
                </c:pt>
                <c:pt idx="1816">
                  <c:v>6.0778495647403474</c:v>
                </c:pt>
                <c:pt idx="1817">
                  <c:v>5.8753582455585649</c:v>
                </c:pt>
                <c:pt idx="1818">
                  <c:v>7.0697175170187849</c:v>
                </c:pt>
                <c:pt idx="1819">
                  <c:v>5.927838985661924</c:v>
                </c:pt>
                <c:pt idx="1820">
                  <c:v>5.7897193056260097</c:v>
                </c:pt>
                <c:pt idx="1821">
                  <c:v>5.063664285905813</c:v>
                </c:pt>
                <c:pt idx="1822">
                  <c:v>6.0337025687798889</c:v>
                </c:pt>
                <c:pt idx="1823">
                  <c:v>6.1096741120324429</c:v>
                </c:pt>
                <c:pt idx="1824">
                  <c:v>6.1021831526157611</c:v>
                </c:pt>
                <c:pt idx="1825">
                  <c:v>5.9030721402528537</c:v>
                </c:pt>
                <c:pt idx="1826">
                  <c:v>9.0264528855788395</c:v>
                </c:pt>
                <c:pt idx="1827">
                  <c:v>4.9722096660373989</c:v>
                </c:pt>
                <c:pt idx="1828">
                  <c:v>4.9955433140996455</c:v>
                </c:pt>
                <c:pt idx="1829">
                  <c:v>4.9052724023850178</c:v>
                </c:pt>
                <c:pt idx="1830">
                  <c:v>4.8319370422073895</c:v>
                </c:pt>
                <c:pt idx="1831">
                  <c:v>3.8452586645193469</c:v>
                </c:pt>
                <c:pt idx="1832">
                  <c:v>4.9736679309340319</c:v>
                </c:pt>
                <c:pt idx="1833">
                  <c:v>5.2016210025587339</c:v>
                </c:pt>
                <c:pt idx="1834">
                  <c:v>5.0365078410291551</c:v>
                </c:pt>
                <c:pt idx="1835">
                  <c:v>6.0234611055650644</c:v>
                </c:pt>
                <c:pt idx="1836">
                  <c:v>4.9337381282089101</c:v>
                </c:pt>
                <c:pt idx="1837">
                  <c:v>5.0018988814874339</c:v>
                </c:pt>
                <c:pt idx="1838">
                  <c:v>4.8986097686540955</c:v>
                </c:pt>
                <c:pt idx="1839">
                  <c:v>3.9371597052199263</c:v>
                </c:pt>
                <c:pt idx="1840">
                  <c:v>6.0051959529422065</c:v>
                </c:pt>
                <c:pt idx="1841">
                  <c:v>3.9764402739304296</c:v>
                </c:pt>
                <c:pt idx="1842">
                  <c:v>5.1612670897312363</c:v>
                </c:pt>
                <c:pt idx="1843">
                  <c:v>4.9464850020154456</c:v>
                </c:pt>
                <c:pt idx="1844">
                  <c:v>5.9201482252619035</c:v>
                </c:pt>
                <c:pt idx="1845">
                  <c:v>5.0399797319303916</c:v>
                </c:pt>
                <c:pt idx="1846">
                  <c:v>5.9733481112363345</c:v>
                </c:pt>
                <c:pt idx="1847">
                  <c:v>6.9959540668243907</c:v>
                </c:pt>
                <c:pt idx="1848">
                  <c:v>5.9726826650189535</c:v>
                </c:pt>
                <c:pt idx="1849">
                  <c:v>5.1643763870214432</c:v>
                </c:pt>
                <c:pt idx="1850">
                  <c:v>6.9997728129432053</c:v>
                </c:pt>
                <c:pt idx="1851">
                  <c:v>6.2093573522551004</c:v>
                </c:pt>
                <c:pt idx="1852">
                  <c:v>5.9736306742073797</c:v>
                </c:pt>
                <c:pt idx="1853">
                  <c:v>6.164324825083189</c:v>
                </c:pt>
                <c:pt idx="1854">
                  <c:v>5.9377180463280697</c:v>
                </c:pt>
                <c:pt idx="1855">
                  <c:v>6.8469999152980749</c:v>
                </c:pt>
                <c:pt idx="1856">
                  <c:v>7.2107083768768581</c:v>
                </c:pt>
                <c:pt idx="1857">
                  <c:v>4.9827418743435326</c:v>
                </c:pt>
                <c:pt idx="1858">
                  <c:v>7.0158578223459189</c:v>
                </c:pt>
                <c:pt idx="1859">
                  <c:v>6.8634451223068647</c:v>
                </c:pt>
                <c:pt idx="1860">
                  <c:v>5.8691784540447642</c:v>
                </c:pt>
                <c:pt idx="1861">
                  <c:v>6.9767166690993552</c:v>
                </c:pt>
                <c:pt idx="1862">
                  <c:v>6.7847223872921925</c:v>
                </c:pt>
                <c:pt idx="1863">
                  <c:v>7.0048115452333963</c:v>
                </c:pt>
                <c:pt idx="1864">
                  <c:v>4.9926160491588263</c:v>
                </c:pt>
                <c:pt idx="1865">
                  <c:v>6.0090736399530753</c:v>
                </c:pt>
                <c:pt idx="1866">
                  <c:v>4.9345205908277388</c:v>
                </c:pt>
                <c:pt idx="1867">
                  <c:v>5.9671194134384713</c:v>
                </c:pt>
                <c:pt idx="1868">
                  <c:v>5.098150801505021</c:v>
                </c:pt>
                <c:pt idx="1869">
                  <c:v>5.0027293020226296</c:v>
                </c:pt>
                <c:pt idx="1870">
                  <c:v>4.9821591746138054</c:v>
                </c:pt>
                <c:pt idx="1871">
                  <c:v>7.236976377514746</c:v>
                </c:pt>
                <c:pt idx="1872">
                  <c:v>5.990309492725971</c:v>
                </c:pt>
                <c:pt idx="1873">
                  <c:v>7.0523038038789458</c:v>
                </c:pt>
                <c:pt idx="1874">
                  <c:v>6.050852088859072</c:v>
                </c:pt>
                <c:pt idx="1875">
                  <c:v>3.9546035724120947</c:v>
                </c:pt>
                <c:pt idx="1876">
                  <c:v>5.9237584542453376</c:v>
                </c:pt>
                <c:pt idx="1877">
                  <c:v>4.8266800447999074</c:v>
                </c:pt>
                <c:pt idx="1878">
                  <c:v>4.9894959677160786</c:v>
                </c:pt>
                <c:pt idx="1879">
                  <c:v>4.9443488125340407</c:v>
                </c:pt>
                <c:pt idx="1880">
                  <c:v>5.1154399311175309</c:v>
                </c:pt>
                <c:pt idx="1881">
                  <c:v>7.0624530791436699</c:v>
                </c:pt>
                <c:pt idx="1882">
                  <c:v>5.9684993877819945</c:v>
                </c:pt>
                <c:pt idx="1883">
                  <c:v>6.7399487272290592</c:v>
                </c:pt>
                <c:pt idx="1884">
                  <c:v>5.1098282424249888</c:v>
                </c:pt>
                <c:pt idx="1885">
                  <c:v>6.0495952957151369</c:v>
                </c:pt>
                <c:pt idx="1886">
                  <c:v>6.0379423850912843</c:v>
                </c:pt>
                <c:pt idx="1887">
                  <c:v>5.0454735206953538</c:v>
                </c:pt>
                <c:pt idx="1888">
                  <c:v>4.8600351507445456</c:v>
                </c:pt>
                <c:pt idx="1889">
                  <c:v>3.9244732684930441</c:v>
                </c:pt>
                <c:pt idx="1890">
                  <c:v>4.8916104560981752</c:v>
                </c:pt>
                <c:pt idx="1891">
                  <c:v>5.9768451022882125</c:v>
                </c:pt>
                <c:pt idx="1892">
                  <c:v>5.9541704901579449</c:v>
                </c:pt>
                <c:pt idx="1893">
                  <c:v>5.900173842055831</c:v>
                </c:pt>
                <c:pt idx="1894">
                  <c:v>5.9961541018956339</c:v>
                </c:pt>
                <c:pt idx="1895">
                  <c:v>6.0541956601608318</c:v>
                </c:pt>
                <c:pt idx="1896">
                  <c:v>5.0906290641826812</c:v>
                </c:pt>
                <c:pt idx="1897">
                  <c:v>5.0255564854339845</c:v>
                </c:pt>
                <c:pt idx="1898">
                  <c:v>6.0626070962485867</c:v>
                </c:pt>
                <c:pt idx="1899">
                  <c:v>4.8829600865698453</c:v>
                </c:pt>
                <c:pt idx="1900">
                  <c:v>6.1724697856415291</c:v>
                </c:pt>
                <c:pt idx="1901">
                  <c:v>6.0028870091899318</c:v>
                </c:pt>
                <c:pt idx="1902">
                  <c:v>6.0423748444841854</c:v>
                </c:pt>
                <c:pt idx="1903">
                  <c:v>6.1468604925921388</c:v>
                </c:pt>
                <c:pt idx="1904">
                  <c:v>6.1579492756514176</c:v>
                </c:pt>
                <c:pt idx="1905">
                  <c:v>5.0223187403029517</c:v>
                </c:pt>
                <c:pt idx="1906">
                  <c:v>4.9821010100152145</c:v>
                </c:pt>
                <c:pt idx="1907">
                  <c:v>4.9311953469482468</c:v>
                </c:pt>
                <c:pt idx="1908">
                  <c:v>3.9742719081528666</c:v>
                </c:pt>
                <c:pt idx="1909">
                  <c:v>4.9987070934797702</c:v>
                </c:pt>
                <c:pt idx="1910">
                  <c:v>5.2375940601534801</c:v>
                </c:pt>
                <c:pt idx="1911">
                  <c:v>5.0544509451820296</c:v>
                </c:pt>
                <c:pt idx="1912">
                  <c:v>7.0848699782358366</c:v>
                </c:pt>
                <c:pt idx="1913">
                  <c:v>4.8439263444115408</c:v>
                </c:pt>
                <c:pt idx="1914">
                  <c:v>5.1335664016556457</c:v>
                </c:pt>
                <c:pt idx="1915">
                  <c:v>5.0478045656623065</c:v>
                </c:pt>
                <c:pt idx="1916">
                  <c:v>4.9115574321741704</c:v>
                </c:pt>
                <c:pt idx="1917">
                  <c:v>5.8900067926553143</c:v>
                </c:pt>
                <c:pt idx="1918">
                  <c:v>6.1599049583320671</c:v>
                </c:pt>
                <c:pt idx="1919">
                  <c:v>5.0890651847006643</c:v>
                </c:pt>
                <c:pt idx="1920">
                  <c:v>4.8854062854152707</c:v>
                </c:pt>
                <c:pt idx="1921">
                  <c:v>5.9211598840395965</c:v>
                </c:pt>
                <c:pt idx="1922">
                  <c:v>5.2352997497559546</c:v>
                </c:pt>
                <c:pt idx="1923">
                  <c:v>4.8753165222245887</c:v>
                </c:pt>
                <c:pt idx="1924">
                  <c:v>5.0623654828201197</c:v>
                </c:pt>
                <c:pt idx="1925">
                  <c:v>4.9877180592343304</c:v>
                </c:pt>
                <c:pt idx="1926">
                  <c:v>5.0381475471163926</c:v>
                </c:pt>
                <c:pt idx="1927">
                  <c:v>5.1132958907190122</c:v>
                </c:pt>
                <c:pt idx="1928">
                  <c:v>5.973265708379496</c:v>
                </c:pt>
                <c:pt idx="1929">
                  <c:v>6.0380260803014423</c:v>
                </c:pt>
                <c:pt idx="1930">
                  <c:v>5.1243461755671502</c:v>
                </c:pt>
                <c:pt idx="1931">
                  <c:v>5.2682552168417711</c:v>
                </c:pt>
                <c:pt idx="1932">
                  <c:v>5.9044223634971589</c:v>
                </c:pt>
                <c:pt idx="1933">
                  <c:v>5.1731981729495997</c:v>
                </c:pt>
                <c:pt idx="1934">
                  <c:v>5.1571840674846952</c:v>
                </c:pt>
                <c:pt idx="1935">
                  <c:v>5.8648746132395058</c:v>
                </c:pt>
                <c:pt idx="1936">
                  <c:v>6.0815479551659237</c:v>
                </c:pt>
                <c:pt idx="1937">
                  <c:v>5.0747648859491594</c:v>
                </c:pt>
                <c:pt idx="1938">
                  <c:v>5.9076631291276129</c:v>
                </c:pt>
                <c:pt idx="1939">
                  <c:v>4.9607035691445738</c:v>
                </c:pt>
                <c:pt idx="1940">
                  <c:v>5.1195092703349276</c:v>
                </c:pt>
                <c:pt idx="1941">
                  <c:v>6.1426128237295812</c:v>
                </c:pt>
                <c:pt idx="1942">
                  <c:v>6.1430170196857503</c:v>
                </c:pt>
                <c:pt idx="1943">
                  <c:v>5.0779475503779654</c:v>
                </c:pt>
                <c:pt idx="1944">
                  <c:v>3.8988316500062763</c:v>
                </c:pt>
                <c:pt idx="1945">
                  <c:v>4.1718932029342506</c:v>
                </c:pt>
                <c:pt idx="1946">
                  <c:v>5.9871867617552645</c:v>
                </c:pt>
                <c:pt idx="1947">
                  <c:v>4.9032504043529075</c:v>
                </c:pt>
                <c:pt idx="1948">
                  <c:v>5.1555794910644837</c:v>
                </c:pt>
                <c:pt idx="1949">
                  <c:v>6.0477721353514786</c:v>
                </c:pt>
                <c:pt idx="1950">
                  <c:v>7.1139018533435969</c:v>
                </c:pt>
                <c:pt idx="1951">
                  <c:v>5.9877073230997349</c:v>
                </c:pt>
                <c:pt idx="1952">
                  <c:v>6.8317610331480001</c:v>
                </c:pt>
                <c:pt idx="1953">
                  <c:v>7.0689215210281127</c:v>
                </c:pt>
                <c:pt idx="1954">
                  <c:v>6.9297816574994116</c:v>
                </c:pt>
                <c:pt idx="1955">
                  <c:v>6.9107329068019219</c:v>
                </c:pt>
                <c:pt idx="1956">
                  <c:v>2.797583864084964</c:v>
                </c:pt>
                <c:pt idx="1957">
                  <c:v>3.197216439017426</c:v>
                </c:pt>
                <c:pt idx="1958">
                  <c:v>5.0770728902413271</c:v>
                </c:pt>
                <c:pt idx="1959">
                  <c:v>6.0166256968430218</c:v>
                </c:pt>
                <c:pt idx="1960">
                  <c:v>5.9886367569074839</c:v>
                </c:pt>
                <c:pt idx="1961">
                  <c:v>4.0305606253963555</c:v>
                </c:pt>
                <c:pt idx="1962">
                  <c:v>4.8665892393337984</c:v>
                </c:pt>
                <c:pt idx="1963">
                  <c:v>6.1718954041466905</c:v>
                </c:pt>
                <c:pt idx="1964">
                  <c:v>5.1029006991763328</c:v>
                </c:pt>
                <c:pt idx="1965">
                  <c:v>5.9020042574259666</c:v>
                </c:pt>
                <c:pt idx="1966">
                  <c:v>6.0844835021909818</c:v>
                </c:pt>
                <c:pt idx="1967">
                  <c:v>5.1401193917595478</c:v>
                </c:pt>
                <c:pt idx="1968">
                  <c:v>4.9715652921437314</c:v>
                </c:pt>
                <c:pt idx="1969">
                  <c:v>6.0878675711627519</c:v>
                </c:pt>
                <c:pt idx="1970">
                  <c:v>5.0131134139539606</c:v>
                </c:pt>
                <c:pt idx="1971">
                  <c:v>5.7964402549602712</c:v>
                </c:pt>
                <c:pt idx="1972">
                  <c:v>4.9401197265655039</c:v>
                </c:pt>
                <c:pt idx="1973">
                  <c:v>4.7997627548285005</c:v>
                </c:pt>
                <c:pt idx="1974">
                  <c:v>4.9638669211834365</c:v>
                </c:pt>
                <c:pt idx="1975">
                  <c:v>4.8983820726440364</c:v>
                </c:pt>
                <c:pt idx="1976">
                  <c:v>5.0993948533761726</c:v>
                </c:pt>
                <c:pt idx="1977">
                  <c:v>5.9142214611728505</c:v>
                </c:pt>
                <c:pt idx="1978">
                  <c:v>6.0432246853087488</c:v>
                </c:pt>
                <c:pt idx="1979">
                  <c:v>7.1272966162828757</c:v>
                </c:pt>
                <c:pt idx="1980">
                  <c:v>5.0256909776592238</c:v>
                </c:pt>
                <c:pt idx="1981">
                  <c:v>4.1064953581291173</c:v>
                </c:pt>
                <c:pt idx="1982">
                  <c:v>5.9510808574532215</c:v>
                </c:pt>
                <c:pt idx="1983">
                  <c:v>5.8985813047496203</c:v>
                </c:pt>
                <c:pt idx="1984">
                  <c:v>5.086771792815119</c:v>
                </c:pt>
                <c:pt idx="1985">
                  <c:v>5.1399639989610071</c:v>
                </c:pt>
                <c:pt idx="1986">
                  <c:v>6.1416787002541895</c:v>
                </c:pt>
                <c:pt idx="1987">
                  <c:v>4.9412500369435968</c:v>
                </c:pt>
                <c:pt idx="1988">
                  <c:v>4.9982725344325134</c:v>
                </c:pt>
                <c:pt idx="1989">
                  <c:v>6.1570457573228579</c:v>
                </c:pt>
                <c:pt idx="1990">
                  <c:v>5.9907953317181324</c:v>
                </c:pt>
                <c:pt idx="1991">
                  <c:v>5.0628328959894606</c:v>
                </c:pt>
                <c:pt idx="1992">
                  <c:v>4.9932476108637616</c:v>
                </c:pt>
                <c:pt idx="1993">
                  <c:v>4.9484983798102267</c:v>
                </c:pt>
                <c:pt idx="1994">
                  <c:v>5.8724310046679893</c:v>
                </c:pt>
                <c:pt idx="1995">
                  <c:v>5.0961987707497736</c:v>
                </c:pt>
                <c:pt idx="1996">
                  <c:v>4.9756522556913056</c:v>
                </c:pt>
                <c:pt idx="1997">
                  <c:v>4.9624995185135985</c:v>
                </c:pt>
                <c:pt idx="1998">
                  <c:v>5.0033239730765242</c:v>
                </c:pt>
                <c:pt idx="1999">
                  <c:v>5.1305913396836127</c:v>
                </c:pt>
                <c:pt idx="2000">
                  <c:v>4.8632111624174668</c:v>
                </c:pt>
                <c:pt idx="2001">
                  <c:v>5.9666202691926182</c:v>
                </c:pt>
                <c:pt idx="2002">
                  <c:v>6.0642225536139094</c:v>
                </c:pt>
                <c:pt idx="2003">
                  <c:v>4.909228998199481</c:v>
                </c:pt>
                <c:pt idx="2004">
                  <c:v>5.8184983044560177</c:v>
                </c:pt>
                <c:pt idx="2005">
                  <c:v>5.9571472657548519</c:v>
                </c:pt>
                <c:pt idx="2006">
                  <c:v>6.9592142640214831</c:v>
                </c:pt>
                <c:pt idx="2007">
                  <c:v>6.8312585848229599</c:v>
                </c:pt>
                <c:pt idx="2008">
                  <c:v>6.8717917282909662</c:v>
                </c:pt>
                <c:pt idx="2009">
                  <c:v>4.732988008414404</c:v>
                </c:pt>
                <c:pt idx="2010">
                  <c:v>4.9905935034364557</c:v>
                </c:pt>
                <c:pt idx="2011">
                  <c:v>6.9725267509328699</c:v>
                </c:pt>
                <c:pt idx="2012">
                  <c:v>4.9466032194469927</c:v>
                </c:pt>
                <c:pt idx="2013">
                  <c:v>4.8389718095562637</c:v>
                </c:pt>
                <c:pt idx="2014">
                  <c:v>4.957193180011795</c:v>
                </c:pt>
                <c:pt idx="2015">
                  <c:v>5.9924268124107751</c:v>
                </c:pt>
                <c:pt idx="2016">
                  <c:v>5.9684256053215039</c:v>
                </c:pt>
                <c:pt idx="2017">
                  <c:v>5.0119620073564093</c:v>
                </c:pt>
                <c:pt idx="2018">
                  <c:v>4.8814558838820759</c:v>
                </c:pt>
                <c:pt idx="2019">
                  <c:v>7.0952098356679718</c:v>
                </c:pt>
                <c:pt idx="2020">
                  <c:v>5.1795951622734302</c:v>
                </c:pt>
                <c:pt idx="2021">
                  <c:v>4.8964069592354473</c:v>
                </c:pt>
                <c:pt idx="2022">
                  <c:v>5.0128001711244474</c:v>
                </c:pt>
                <c:pt idx="2023">
                  <c:v>5.0583833684213566</c:v>
                </c:pt>
                <c:pt idx="2024">
                  <c:v>6.2088767909185165</c:v>
                </c:pt>
                <c:pt idx="2025">
                  <c:v>4.8177481906763679</c:v>
                </c:pt>
                <c:pt idx="2026">
                  <c:v>6.073236050552814</c:v>
                </c:pt>
                <c:pt idx="2027">
                  <c:v>5.2044437246253779</c:v>
                </c:pt>
                <c:pt idx="2028">
                  <c:v>5.0020409726491275</c:v>
                </c:pt>
                <c:pt idx="2029">
                  <c:v>5.1581391191424784</c:v>
                </c:pt>
                <c:pt idx="2030">
                  <c:v>4.9267707365389981</c:v>
                </c:pt>
                <c:pt idx="2031">
                  <c:v>4.9946770950291954</c:v>
                </c:pt>
                <c:pt idx="2032">
                  <c:v>5.0406911646214771</c:v>
                </c:pt>
                <c:pt idx="2033">
                  <c:v>4.9353287474741219</c:v>
                </c:pt>
                <c:pt idx="2034">
                  <c:v>5.9149084403950551</c:v>
                </c:pt>
                <c:pt idx="2035">
                  <c:v>6.0718350787802153</c:v>
                </c:pt>
                <c:pt idx="2036">
                  <c:v>6.1528167900553381</c:v>
                </c:pt>
                <c:pt idx="2037">
                  <c:v>4.8800224922546427</c:v>
                </c:pt>
                <c:pt idx="2038">
                  <c:v>5.0935168488012987</c:v>
                </c:pt>
                <c:pt idx="2039">
                  <c:v>6.0525226120756352</c:v>
                </c:pt>
                <c:pt idx="2040">
                  <c:v>6.1170333153119785</c:v>
                </c:pt>
                <c:pt idx="2041">
                  <c:v>5.9854568557757988</c:v>
                </c:pt>
                <c:pt idx="2042">
                  <c:v>5.9943228691460169</c:v>
                </c:pt>
                <c:pt idx="2043">
                  <c:v>6.2497312548658535</c:v>
                </c:pt>
                <c:pt idx="2044">
                  <c:v>5.9340655124191475</c:v>
                </c:pt>
                <c:pt idx="2045">
                  <c:v>4.1260549176157317</c:v>
                </c:pt>
                <c:pt idx="2046">
                  <c:v>4.9588575920326603</c:v>
                </c:pt>
                <c:pt idx="2047">
                  <c:v>5.9675651103412628</c:v>
                </c:pt>
                <c:pt idx="2048">
                  <c:v>4.7877509085392482</c:v>
                </c:pt>
                <c:pt idx="2049">
                  <c:v>7.0976084138947657</c:v>
                </c:pt>
                <c:pt idx="2050">
                  <c:v>4.9403013646466185</c:v>
                </c:pt>
                <c:pt idx="2051">
                  <c:v>6.0775840907101264</c:v>
                </c:pt>
                <c:pt idx="2052">
                  <c:v>5.9501502801054231</c:v>
                </c:pt>
                <c:pt idx="2053">
                  <c:v>6.1081217018798233</c:v>
                </c:pt>
                <c:pt idx="2054">
                  <c:v>4.8879480753050384</c:v>
                </c:pt>
                <c:pt idx="2055">
                  <c:v>4.0157927779781062</c:v>
                </c:pt>
                <c:pt idx="2056">
                  <c:v>4.9824919416600437</c:v>
                </c:pt>
                <c:pt idx="2057">
                  <c:v>6.0318449466710709</c:v>
                </c:pt>
                <c:pt idx="2058">
                  <c:v>4.9873248135916404</c:v>
                </c:pt>
                <c:pt idx="2059">
                  <c:v>5.0404414499775907</c:v>
                </c:pt>
                <c:pt idx="2060">
                  <c:v>6.0129688685603391</c:v>
                </c:pt>
                <c:pt idx="2061">
                  <c:v>4.0013527550873684</c:v>
                </c:pt>
                <c:pt idx="2062">
                  <c:v>4.9352462959747099</c:v>
                </c:pt>
                <c:pt idx="2063">
                  <c:v>6.9591024149118681</c:v>
                </c:pt>
                <c:pt idx="2064">
                  <c:v>7.2020437798898218</c:v>
                </c:pt>
                <c:pt idx="2065">
                  <c:v>5.0610092768702577</c:v>
                </c:pt>
                <c:pt idx="2066">
                  <c:v>5.0056435520762035</c:v>
                </c:pt>
                <c:pt idx="2067">
                  <c:v>6.1565089527234704</c:v>
                </c:pt>
                <c:pt idx="2068">
                  <c:v>5.9943241372244751</c:v>
                </c:pt>
                <c:pt idx="2069">
                  <c:v>4.9975117094762354</c:v>
                </c:pt>
                <c:pt idx="2070">
                  <c:v>4.7205717881093436</c:v>
                </c:pt>
                <c:pt idx="2071">
                  <c:v>5.9728146728888483</c:v>
                </c:pt>
                <c:pt idx="2072">
                  <c:v>6.0126982772054891</c:v>
                </c:pt>
                <c:pt idx="2073">
                  <c:v>5.9071173769918497</c:v>
                </c:pt>
                <c:pt idx="2074">
                  <c:v>5.1547477647318765</c:v>
                </c:pt>
                <c:pt idx="2075">
                  <c:v>4.8993930631815559</c:v>
                </c:pt>
                <c:pt idx="2076">
                  <c:v>6.2471290559528549</c:v>
                </c:pt>
                <c:pt idx="2077">
                  <c:v>6.1698759858208634</c:v>
                </c:pt>
                <c:pt idx="2078">
                  <c:v>4.8712650523003456</c:v>
                </c:pt>
                <c:pt idx="2079">
                  <c:v>4.9182634091703292</c:v>
                </c:pt>
                <c:pt idx="2080">
                  <c:v>5.9810778329331784</c:v>
                </c:pt>
                <c:pt idx="2081">
                  <c:v>5.8907794259055999</c:v>
                </c:pt>
                <c:pt idx="2082">
                  <c:v>5.8688067163532853</c:v>
                </c:pt>
                <c:pt idx="2083">
                  <c:v>6.0863452995340968</c:v>
                </c:pt>
                <c:pt idx="2084">
                  <c:v>4.8953438120863266</c:v>
                </c:pt>
                <c:pt idx="2085">
                  <c:v>7.0504616180091615</c:v>
                </c:pt>
                <c:pt idx="2086">
                  <c:v>5.0807022812056593</c:v>
                </c:pt>
                <c:pt idx="2087">
                  <c:v>5.0289677864723332</c:v>
                </c:pt>
                <c:pt idx="2088">
                  <c:v>6.098027344168365</c:v>
                </c:pt>
                <c:pt idx="2089">
                  <c:v>4.8770355949143767</c:v>
                </c:pt>
                <c:pt idx="2090">
                  <c:v>6.1327441785871537</c:v>
                </c:pt>
                <c:pt idx="2091">
                  <c:v>5.1973508615915414</c:v>
                </c:pt>
                <c:pt idx="2092">
                  <c:v>4.9393591140679156</c:v>
                </c:pt>
                <c:pt idx="2093">
                  <c:v>4.9084625387215208</c:v>
                </c:pt>
                <c:pt idx="2094">
                  <c:v>6.2965374800106284</c:v>
                </c:pt>
                <c:pt idx="2095">
                  <c:v>5.0315894267007533</c:v>
                </c:pt>
                <c:pt idx="2096">
                  <c:v>5.9397068305523018</c:v>
                </c:pt>
                <c:pt idx="2097">
                  <c:v>5.1062822587290926</c:v>
                </c:pt>
                <c:pt idx="2098">
                  <c:v>7.0386900855139229</c:v>
                </c:pt>
                <c:pt idx="2099">
                  <c:v>4.9721037187322255</c:v>
                </c:pt>
                <c:pt idx="2100">
                  <c:v>5.9845909145634026</c:v>
                </c:pt>
                <c:pt idx="2101">
                  <c:v>5.9232133451933269</c:v>
                </c:pt>
                <c:pt idx="2102">
                  <c:v>4.8692358374414733</c:v>
                </c:pt>
                <c:pt idx="2103">
                  <c:v>5.9607534392818708</c:v>
                </c:pt>
                <c:pt idx="2104">
                  <c:v>5.0168322231368077</c:v>
                </c:pt>
                <c:pt idx="2105">
                  <c:v>6.8989660640341777</c:v>
                </c:pt>
                <c:pt idx="2106">
                  <c:v>6.2257658284564759</c:v>
                </c:pt>
                <c:pt idx="2107">
                  <c:v>6.0971127679752524</c:v>
                </c:pt>
                <c:pt idx="2108">
                  <c:v>5.9372251073109146</c:v>
                </c:pt>
                <c:pt idx="2109">
                  <c:v>6.044574697859181</c:v>
                </c:pt>
                <c:pt idx="2110">
                  <c:v>6.0093470718561175</c:v>
                </c:pt>
                <c:pt idx="2111">
                  <c:v>3.9350798519012797</c:v>
                </c:pt>
                <c:pt idx="2112">
                  <c:v>6.0385416291666534</c:v>
                </c:pt>
                <c:pt idx="2113">
                  <c:v>5.082657933278238</c:v>
                </c:pt>
                <c:pt idx="2114">
                  <c:v>5.9679280727255284</c:v>
                </c:pt>
                <c:pt idx="2115">
                  <c:v>5.875762456634015</c:v>
                </c:pt>
                <c:pt idx="2116">
                  <c:v>4.9949461536617896</c:v>
                </c:pt>
                <c:pt idx="2117">
                  <c:v>3.9730948533739969</c:v>
                </c:pt>
                <c:pt idx="2118">
                  <c:v>4.9995064144102264</c:v>
                </c:pt>
                <c:pt idx="2119">
                  <c:v>4.8781058671262416</c:v>
                </c:pt>
                <c:pt idx="2120">
                  <c:v>6.0028372538918502</c:v>
                </c:pt>
                <c:pt idx="2121">
                  <c:v>5.0988182562572799</c:v>
                </c:pt>
                <c:pt idx="2122">
                  <c:v>5.0612987385647266</c:v>
                </c:pt>
                <c:pt idx="2123">
                  <c:v>3.9791676460793348</c:v>
                </c:pt>
                <c:pt idx="2124">
                  <c:v>6.844902585206837</c:v>
                </c:pt>
                <c:pt idx="2125">
                  <c:v>5.0611579440179932</c:v>
                </c:pt>
                <c:pt idx="2126">
                  <c:v>5.0615656297046048</c:v>
                </c:pt>
                <c:pt idx="2127">
                  <c:v>4.8409953861462114</c:v>
                </c:pt>
                <c:pt idx="2128">
                  <c:v>6.0752019627370801</c:v>
                </c:pt>
                <c:pt idx="2129">
                  <c:v>5.0077872331149216</c:v>
                </c:pt>
                <c:pt idx="2130">
                  <c:v>4.8567218803642813</c:v>
                </c:pt>
                <c:pt idx="2131">
                  <c:v>7.0017895086351629</c:v>
                </c:pt>
                <c:pt idx="2132">
                  <c:v>6.0919314126813049</c:v>
                </c:pt>
                <c:pt idx="2133">
                  <c:v>7.0320585800120599</c:v>
                </c:pt>
                <c:pt idx="2134">
                  <c:v>4.7994444368880451</c:v>
                </c:pt>
                <c:pt idx="2135">
                  <c:v>5.9882568419975222</c:v>
                </c:pt>
                <c:pt idx="2136">
                  <c:v>6.1948932108900499</c:v>
                </c:pt>
                <c:pt idx="2137">
                  <c:v>4.970643803248552</c:v>
                </c:pt>
                <c:pt idx="2138">
                  <c:v>5.7994721932798159</c:v>
                </c:pt>
                <c:pt idx="2139">
                  <c:v>6.0206851483075345</c:v>
                </c:pt>
                <c:pt idx="2140">
                  <c:v>5.8732340715989553</c:v>
                </c:pt>
                <c:pt idx="2141">
                  <c:v>5.9849238827516835</c:v>
                </c:pt>
                <c:pt idx="2142">
                  <c:v>7.0639405023431125</c:v>
                </c:pt>
                <c:pt idx="2143">
                  <c:v>4.8859979770253039</c:v>
                </c:pt>
                <c:pt idx="2144">
                  <c:v>4.9660576255723301</c:v>
                </c:pt>
                <c:pt idx="2145">
                  <c:v>4.9862814890747709</c:v>
                </c:pt>
                <c:pt idx="2146">
                  <c:v>6.0705314182641619</c:v>
                </c:pt>
                <c:pt idx="2147">
                  <c:v>7.1423640555957277</c:v>
                </c:pt>
                <c:pt idx="2148">
                  <c:v>5.0225126077016924</c:v>
                </c:pt>
                <c:pt idx="2149">
                  <c:v>6.1099777142617313</c:v>
                </c:pt>
                <c:pt idx="2150">
                  <c:v>5.1050253322222554</c:v>
                </c:pt>
                <c:pt idx="2151">
                  <c:v>5.9311155431875129</c:v>
                </c:pt>
                <c:pt idx="2152">
                  <c:v>6.0665120938680168</c:v>
                </c:pt>
                <c:pt idx="2153">
                  <c:v>5.0040457789447252</c:v>
                </c:pt>
                <c:pt idx="2154">
                  <c:v>4.802387087403666</c:v>
                </c:pt>
                <c:pt idx="2155">
                  <c:v>5.0337835161708639</c:v>
                </c:pt>
                <c:pt idx="2156">
                  <c:v>5.9699547471546612</c:v>
                </c:pt>
                <c:pt idx="2157">
                  <c:v>4.9139546737630466</c:v>
                </c:pt>
                <c:pt idx="2158">
                  <c:v>6.9960604435499354</c:v>
                </c:pt>
                <c:pt idx="2159">
                  <c:v>6.1136913790554397</c:v>
                </c:pt>
                <c:pt idx="2160">
                  <c:v>7.0050345974415755</c:v>
                </c:pt>
                <c:pt idx="2161">
                  <c:v>4.8692878164079945</c:v>
                </c:pt>
                <c:pt idx="2162">
                  <c:v>5.1117133972111111</c:v>
                </c:pt>
                <c:pt idx="2163">
                  <c:v>5.0124258573382612</c:v>
                </c:pt>
                <c:pt idx="2164">
                  <c:v>6.8804304783939942</c:v>
                </c:pt>
                <c:pt idx="2165">
                  <c:v>4.8716336011871126</c:v>
                </c:pt>
                <c:pt idx="2166">
                  <c:v>5.9781125053205812</c:v>
                </c:pt>
                <c:pt idx="2167">
                  <c:v>5.9378455972992406</c:v>
                </c:pt>
                <c:pt idx="2168">
                  <c:v>5.9113929634969127</c:v>
                </c:pt>
                <c:pt idx="2169">
                  <c:v>5.8884850542118707</c:v>
                </c:pt>
                <c:pt idx="2170">
                  <c:v>3.9343123065467309</c:v>
                </c:pt>
                <c:pt idx="2171">
                  <c:v>5.0326199331190011</c:v>
                </c:pt>
                <c:pt idx="2172">
                  <c:v>6.1040969207003553</c:v>
                </c:pt>
                <c:pt idx="2173">
                  <c:v>4.89309558232946</c:v>
                </c:pt>
                <c:pt idx="2174">
                  <c:v>6.0550845859342717</c:v>
                </c:pt>
                <c:pt idx="2175">
                  <c:v>5.0974959696802848</c:v>
                </c:pt>
                <c:pt idx="2176">
                  <c:v>4.974289014318293</c:v>
                </c:pt>
                <c:pt idx="2177">
                  <c:v>3.8632293904689292</c:v>
                </c:pt>
                <c:pt idx="2178">
                  <c:v>5.9575205737631718</c:v>
                </c:pt>
                <c:pt idx="2179">
                  <c:v>5.8352162774121528</c:v>
                </c:pt>
                <c:pt idx="2180">
                  <c:v>5.9537055080054921</c:v>
                </c:pt>
                <c:pt idx="2181">
                  <c:v>5.9792052205799342</c:v>
                </c:pt>
                <c:pt idx="2182">
                  <c:v>6.1266564549767972</c:v>
                </c:pt>
                <c:pt idx="2183">
                  <c:v>6.094267625558933</c:v>
                </c:pt>
                <c:pt idx="2184">
                  <c:v>5.8922799799159753</c:v>
                </c:pt>
                <c:pt idx="2185">
                  <c:v>6.055423359629768</c:v>
                </c:pt>
                <c:pt idx="2186">
                  <c:v>5.8911078938114789</c:v>
                </c:pt>
                <c:pt idx="2187">
                  <c:v>5.883567899258602</c:v>
                </c:pt>
                <c:pt idx="2188">
                  <c:v>6.0030942466853077</c:v>
                </c:pt>
                <c:pt idx="2189">
                  <c:v>5.900474291171208</c:v>
                </c:pt>
                <c:pt idx="2190">
                  <c:v>5.947508763618103</c:v>
                </c:pt>
                <c:pt idx="2191">
                  <c:v>5.9205576025524973</c:v>
                </c:pt>
                <c:pt idx="2192">
                  <c:v>5.9332161508831671</c:v>
                </c:pt>
                <c:pt idx="2193">
                  <c:v>6.1838498016278294</c:v>
                </c:pt>
                <c:pt idx="2194">
                  <c:v>4.9718635431837841</c:v>
                </c:pt>
                <c:pt idx="2195">
                  <c:v>6.0221266717525932</c:v>
                </c:pt>
                <c:pt idx="2196">
                  <c:v>6.0277784124143938</c:v>
                </c:pt>
                <c:pt idx="2197">
                  <c:v>6.0876184867294478</c:v>
                </c:pt>
                <c:pt idx="2198">
                  <c:v>6.0581339040978133</c:v>
                </c:pt>
                <c:pt idx="2199">
                  <c:v>4.989135461505386</c:v>
                </c:pt>
                <c:pt idx="2200">
                  <c:v>5.07847261005102</c:v>
                </c:pt>
                <c:pt idx="2201">
                  <c:v>4.958498640361463</c:v>
                </c:pt>
                <c:pt idx="2202">
                  <c:v>5.0378221447085387</c:v>
                </c:pt>
                <c:pt idx="2203">
                  <c:v>5.9980384182629738</c:v>
                </c:pt>
                <c:pt idx="2204">
                  <c:v>5.8789491498782507</c:v>
                </c:pt>
                <c:pt idx="2205">
                  <c:v>6.9423905871917224</c:v>
                </c:pt>
                <c:pt idx="2206">
                  <c:v>5.9578847447816079</c:v>
                </c:pt>
                <c:pt idx="2207">
                  <c:v>4.9471416142183591</c:v>
                </c:pt>
                <c:pt idx="2208">
                  <c:v>5.0446026674137814</c:v>
                </c:pt>
                <c:pt idx="2209">
                  <c:v>5.0224437817703667</c:v>
                </c:pt>
                <c:pt idx="2210">
                  <c:v>4.9142830734166898</c:v>
                </c:pt>
                <c:pt idx="2211">
                  <c:v>5.9252890026219607</c:v>
                </c:pt>
                <c:pt idx="2212">
                  <c:v>5.8805224115659582</c:v>
                </c:pt>
                <c:pt idx="2213">
                  <c:v>5.7997518151041447</c:v>
                </c:pt>
                <c:pt idx="2214">
                  <c:v>2.0089465280072418</c:v>
                </c:pt>
                <c:pt idx="2215">
                  <c:v>4.9622694296182113</c:v>
                </c:pt>
                <c:pt idx="2216">
                  <c:v>5.9109846797498964</c:v>
                </c:pt>
                <c:pt idx="2217">
                  <c:v>2.2111931190340686</c:v>
                </c:pt>
                <c:pt idx="2218">
                  <c:v>5.9952364071715465</c:v>
                </c:pt>
                <c:pt idx="2219">
                  <c:v>5.8302510149512923</c:v>
                </c:pt>
                <c:pt idx="2220">
                  <c:v>1.8950131147393481</c:v>
                </c:pt>
                <c:pt idx="2221">
                  <c:v>6.1051260791468858</c:v>
                </c:pt>
                <c:pt idx="2222">
                  <c:v>2.1066048450870163</c:v>
                </c:pt>
                <c:pt idx="2223">
                  <c:v>5.8640100532914845</c:v>
                </c:pt>
                <c:pt idx="2224">
                  <c:v>6.0411665790376512</c:v>
                </c:pt>
                <c:pt idx="2225">
                  <c:v>6.022014771025388</c:v>
                </c:pt>
                <c:pt idx="2226">
                  <c:v>6.0058503327747124</c:v>
                </c:pt>
                <c:pt idx="2227">
                  <c:v>5.0182272453110528</c:v>
                </c:pt>
                <c:pt idx="2228">
                  <c:v>6.0579111469513087</c:v>
                </c:pt>
                <c:pt idx="2229">
                  <c:v>6.1032097258013795</c:v>
                </c:pt>
                <c:pt idx="2230">
                  <c:v>3.9666654740055711</c:v>
                </c:pt>
                <c:pt idx="2231">
                  <c:v>5.974450042599166</c:v>
                </c:pt>
                <c:pt idx="2232">
                  <c:v>5.8188350944389313</c:v>
                </c:pt>
                <c:pt idx="2233">
                  <c:v>6.1981999535772534</c:v>
                </c:pt>
                <c:pt idx="2234">
                  <c:v>3.9582802369069667</c:v>
                </c:pt>
                <c:pt idx="2235">
                  <c:v>5.0730173334154589</c:v>
                </c:pt>
                <c:pt idx="2236">
                  <c:v>5.7939645871962009</c:v>
                </c:pt>
                <c:pt idx="2237">
                  <c:v>1.9634612099840498</c:v>
                </c:pt>
                <c:pt idx="2238">
                  <c:v>5.9336198252783952</c:v>
                </c:pt>
                <c:pt idx="2239">
                  <c:v>6.0831818502897512</c:v>
                </c:pt>
                <c:pt idx="2240">
                  <c:v>5.9919524261868959</c:v>
                </c:pt>
                <c:pt idx="2241">
                  <c:v>5.982103853787426</c:v>
                </c:pt>
                <c:pt idx="2242">
                  <c:v>5.0190983705948771</c:v>
                </c:pt>
                <c:pt idx="2243">
                  <c:v>6.0900482179291133</c:v>
                </c:pt>
                <c:pt idx="2244">
                  <c:v>5.0019588138983284</c:v>
                </c:pt>
                <c:pt idx="2245">
                  <c:v>6.0400970515821157</c:v>
                </c:pt>
                <c:pt idx="2246">
                  <c:v>5.0507314934723526</c:v>
                </c:pt>
                <c:pt idx="2247">
                  <c:v>5.1163952375860937</c:v>
                </c:pt>
                <c:pt idx="2248">
                  <c:v>5.005845240151868</c:v>
                </c:pt>
                <c:pt idx="2249">
                  <c:v>5.0763239198890524</c:v>
                </c:pt>
                <c:pt idx="2250">
                  <c:v>5.9543878284761469</c:v>
                </c:pt>
                <c:pt idx="2251">
                  <c:v>7.0264946613070869</c:v>
                </c:pt>
                <c:pt idx="2252">
                  <c:v>5.9090359798759611</c:v>
                </c:pt>
                <c:pt idx="2253">
                  <c:v>6.0256638602461861</c:v>
                </c:pt>
                <c:pt idx="2254">
                  <c:v>4.8738881690485085</c:v>
                </c:pt>
                <c:pt idx="2255">
                  <c:v>6.0445775917309712</c:v>
                </c:pt>
                <c:pt idx="2256">
                  <c:v>4.993500513574479</c:v>
                </c:pt>
                <c:pt idx="2257">
                  <c:v>5.1679157411120933</c:v>
                </c:pt>
                <c:pt idx="2258">
                  <c:v>5.0801971198356188</c:v>
                </c:pt>
                <c:pt idx="2259">
                  <c:v>5.9369422949526172</c:v>
                </c:pt>
                <c:pt idx="2260">
                  <c:v>5.0344675514870243</c:v>
                </c:pt>
                <c:pt idx="2261">
                  <c:v>5.0708340723223184</c:v>
                </c:pt>
                <c:pt idx="2262">
                  <c:v>5.0129133027062363</c:v>
                </c:pt>
                <c:pt idx="2263">
                  <c:v>6.2057409596141655</c:v>
                </c:pt>
                <c:pt idx="2264">
                  <c:v>5.020866495385234</c:v>
                </c:pt>
                <c:pt idx="2265">
                  <c:v>6.009072142658014</c:v>
                </c:pt>
                <c:pt idx="2266">
                  <c:v>5.0072914647669835</c:v>
                </c:pt>
                <c:pt idx="2267">
                  <c:v>4.098084744128168</c:v>
                </c:pt>
                <c:pt idx="2268">
                  <c:v>5.0162638819120042</c:v>
                </c:pt>
                <c:pt idx="2269">
                  <c:v>6.1508551294039098</c:v>
                </c:pt>
                <c:pt idx="2270">
                  <c:v>5.9776504223873621</c:v>
                </c:pt>
                <c:pt idx="2271">
                  <c:v>5.9873766209352315</c:v>
                </c:pt>
                <c:pt idx="2272">
                  <c:v>5.9970685311422853</c:v>
                </c:pt>
                <c:pt idx="2273">
                  <c:v>5.9462409092923441</c:v>
                </c:pt>
                <c:pt idx="2274">
                  <c:v>6.0947429657137597</c:v>
                </c:pt>
                <c:pt idx="2275">
                  <c:v>5.9984256205549258</c:v>
                </c:pt>
                <c:pt idx="2276">
                  <c:v>7.0156268451035499</c:v>
                </c:pt>
                <c:pt idx="2277">
                  <c:v>5.0692561793128545</c:v>
                </c:pt>
                <c:pt idx="2278">
                  <c:v>5.0570223664417187</c:v>
                </c:pt>
                <c:pt idx="2279">
                  <c:v>4.9441418251656142</c:v>
                </c:pt>
                <c:pt idx="2280">
                  <c:v>4.9214097073824483</c:v>
                </c:pt>
                <c:pt idx="2281">
                  <c:v>5.9224803002861783</c:v>
                </c:pt>
                <c:pt idx="2282">
                  <c:v>5.0809632877125885</c:v>
                </c:pt>
                <c:pt idx="2283">
                  <c:v>6.0997025809721661</c:v>
                </c:pt>
                <c:pt idx="2284">
                  <c:v>4.0753381597852369</c:v>
                </c:pt>
                <c:pt idx="2285">
                  <c:v>3.9129080312986497</c:v>
                </c:pt>
                <c:pt idx="2286">
                  <c:v>5.9486779474057752</c:v>
                </c:pt>
                <c:pt idx="2287">
                  <c:v>4.9321674579299408</c:v>
                </c:pt>
                <c:pt idx="2288">
                  <c:v>6.1900690531276759</c:v>
                </c:pt>
                <c:pt idx="2289">
                  <c:v>5.9507327258948131</c:v>
                </c:pt>
                <c:pt idx="2290">
                  <c:v>6.0503781417856173</c:v>
                </c:pt>
                <c:pt idx="2291">
                  <c:v>5.0841337053594273</c:v>
                </c:pt>
                <c:pt idx="2292">
                  <c:v>6.0604877164099644</c:v>
                </c:pt>
                <c:pt idx="2293">
                  <c:v>6.0146743791454309</c:v>
                </c:pt>
                <c:pt idx="2294">
                  <c:v>5.0439303989943101</c:v>
                </c:pt>
                <c:pt idx="2295">
                  <c:v>4.9643056035647852</c:v>
                </c:pt>
                <c:pt idx="2296">
                  <c:v>6.8338258169025394</c:v>
                </c:pt>
                <c:pt idx="2297">
                  <c:v>5.9090735315262828</c:v>
                </c:pt>
                <c:pt idx="2298">
                  <c:v>5.1054204866197823</c:v>
                </c:pt>
                <c:pt idx="2299">
                  <c:v>5.9796484632310332</c:v>
                </c:pt>
                <c:pt idx="2300">
                  <c:v>6.0725676266335844</c:v>
                </c:pt>
                <c:pt idx="2301">
                  <c:v>6.0349939294188193</c:v>
                </c:pt>
                <c:pt idx="2302">
                  <c:v>6.0110715553844054</c:v>
                </c:pt>
                <c:pt idx="2303">
                  <c:v>7.0285506932165385</c:v>
                </c:pt>
                <c:pt idx="2304">
                  <c:v>6.9465341034090837</c:v>
                </c:pt>
                <c:pt idx="2305">
                  <c:v>6.202106001856496</c:v>
                </c:pt>
                <c:pt idx="2306">
                  <c:v>4.8986678942838582</c:v>
                </c:pt>
                <c:pt idx="2307">
                  <c:v>4.7827372193094675</c:v>
                </c:pt>
                <c:pt idx="2308">
                  <c:v>5.0737617592447695</c:v>
                </c:pt>
                <c:pt idx="2309">
                  <c:v>4.8455845092617063</c:v>
                </c:pt>
                <c:pt idx="2310">
                  <c:v>4.9937695709932548</c:v>
                </c:pt>
                <c:pt idx="2311">
                  <c:v>5.0013794794093176</c:v>
                </c:pt>
                <c:pt idx="2312">
                  <c:v>4.8448912004173765</c:v>
                </c:pt>
                <c:pt idx="2313">
                  <c:v>5.93968687666609</c:v>
                </c:pt>
                <c:pt idx="2314">
                  <c:v>5.8733765089434584</c:v>
                </c:pt>
                <c:pt idx="2315">
                  <c:v>4.9548886875971396</c:v>
                </c:pt>
                <c:pt idx="2316">
                  <c:v>6.0128130900128154</c:v>
                </c:pt>
                <c:pt idx="2317">
                  <c:v>5.8678729008914852</c:v>
                </c:pt>
                <c:pt idx="2318">
                  <c:v>5.9073206759017269</c:v>
                </c:pt>
                <c:pt idx="2319">
                  <c:v>6.8473669280492606</c:v>
                </c:pt>
                <c:pt idx="2320">
                  <c:v>5.9532400171302129</c:v>
                </c:pt>
                <c:pt idx="2321">
                  <c:v>5.0255744335271846</c:v>
                </c:pt>
                <c:pt idx="2322">
                  <c:v>4.9735694590715402</c:v>
                </c:pt>
                <c:pt idx="2323">
                  <c:v>6.1346473623740829</c:v>
                </c:pt>
                <c:pt idx="2324">
                  <c:v>5.0655488032895359</c:v>
                </c:pt>
                <c:pt idx="2325">
                  <c:v>6.1552401663414713</c:v>
                </c:pt>
                <c:pt idx="2326">
                  <c:v>5.0638272047439665</c:v>
                </c:pt>
                <c:pt idx="2327">
                  <c:v>6.0192619705485786</c:v>
                </c:pt>
                <c:pt idx="2328">
                  <c:v>6.0216059257337911</c:v>
                </c:pt>
                <c:pt idx="2329">
                  <c:v>5.0150578520527516</c:v>
                </c:pt>
                <c:pt idx="2330">
                  <c:v>4.7974649415006878</c:v>
                </c:pt>
                <c:pt idx="2331">
                  <c:v>4.8669737237992026</c:v>
                </c:pt>
                <c:pt idx="2332">
                  <c:v>6.0652477204084656</c:v>
                </c:pt>
                <c:pt idx="2333">
                  <c:v>7.0816668625169505</c:v>
                </c:pt>
                <c:pt idx="2334">
                  <c:v>6.2033832056303728</c:v>
                </c:pt>
                <c:pt idx="2335">
                  <c:v>5.8156697206809493</c:v>
                </c:pt>
                <c:pt idx="2336">
                  <c:v>5.0214856632577058</c:v>
                </c:pt>
                <c:pt idx="2337">
                  <c:v>5.007136447575121</c:v>
                </c:pt>
                <c:pt idx="2338">
                  <c:v>5.9934332376027948</c:v>
                </c:pt>
                <c:pt idx="2339">
                  <c:v>4.8919149485698341</c:v>
                </c:pt>
                <c:pt idx="2340">
                  <c:v>5.9649760474823568</c:v>
                </c:pt>
                <c:pt idx="2341">
                  <c:v>5.0420645621059865</c:v>
                </c:pt>
                <c:pt idx="2342">
                  <c:v>5.9521563203336019</c:v>
                </c:pt>
                <c:pt idx="2343">
                  <c:v>5.0862142321887278</c:v>
                </c:pt>
                <c:pt idx="2344">
                  <c:v>6.0471797404845189</c:v>
                </c:pt>
                <c:pt idx="2345">
                  <c:v>7.1094116378903722</c:v>
                </c:pt>
                <c:pt idx="2346">
                  <c:v>5.0341159188462665</c:v>
                </c:pt>
                <c:pt idx="2347">
                  <c:v>5.0407509107320747</c:v>
                </c:pt>
                <c:pt idx="2348">
                  <c:v>6.0277518085296924</c:v>
                </c:pt>
                <c:pt idx="2349">
                  <c:v>4.9480025719207639</c:v>
                </c:pt>
                <c:pt idx="2350">
                  <c:v>4.8967238160517299</c:v>
                </c:pt>
                <c:pt idx="2351">
                  <c:v>6.6925553689334629</c:v>
                </c:pt>
                <c:pt idx="2352">
                  <c:v>5.9046225252189579</c:v>
                </c:pt>
                <c:pt idx="2353">
                  <c:v>7.0377790318779345</c:v>
                </c:pt>
                <c:pt idx="2354">
                  <c:v>6.0570347233391919</c:v>
                </c:pt>
                <c:pt idx="2355">
                  <c:v>6.9140070927016639</c:v>
                </c:pt>
                <c:pt idx="2356">
                  <c:v>5.9561908375342121</c:v>
                </c:pt>
                <c:pt idx="2357">
                  <c:v>5.0810416116497299</c:v>
                </c:pt>
                <c:pt idx="2358">
                  <c:v>5.0580026365133426</c:v>
                </c:pt>
                <c:pt idx="2359">
                  <c:v>6.1159038339935936</c:v>
                </c:pt>
                <c:pt idx="2360">
                  <c:v>5.1718752747766628</c:v>
                </c:pt>
                <c:pt idx="2361">
                  <c:v>5.0312972890359253</c:v>
                </c:pt>
                <c:pt idx="2362">
                  <c:v>5.9817050618348802</c:v>
                </c:pt>
                <c:pt idx="2363">
                  <c:v>4.8497194824603422</c:v>
                </c:pt>
                <c:pt idx="2364">
                  <c:v>5.0496286336823548</c:v>
                </c:pt>
                <c:pt idx="2365">
                  <c:v>6.0336272203528871</c:v>
                </c:pt>
                <c:pt idx="2366">
                  <c:v>5.9217162248415081</c:v>
                </c:pt>
                <c:pt idx="2367">
                  <c:v>4.8911996052594864</c:v>
                </c:pt>
                <c:pt idx="2368">
                  <c:v>5.1720157995039644</c:v>
                </c:pt>
                <c:pt idx="2369">
                  <c:v>6.0253239626776649</c:v>
                </c:pt>
                <c:pt idx="2370">
                  <c:v>5.0768149861396044</c:v>
                </c:pt>
                <c:pt idx="2371">
                  <c:v>5.0060675064659392</c:v>
                </c:pt>
                <c:pt idx="2372">
                  <c:v>5.9822984391393907</c:v>
                </c:pt>
                <c:pt idx="2373">
                  <c:v>5.8379873256981378</c:v>
                </c:pt>
                <c:pt idx="2374">
                  <c:v>4.9778184039221989</c:v>
                </c:pt>
                <c:pt idx="2375">
                  <c:v>6.0615909086565356</c:v>
                </c:pt>
                <c:pt idx="2376">
                  <c:v>5.182785365216283</c:v>
                </c:pt>
                <c:pt idx="2377">
                  <c:v>8.9693284511431042</c:v>
                </c:pt>
                <c:pt idx="2378">
                  <c:v>6.9988780991351707</c:v>
                </c:pt>
                <c:pt idx="2379">
                  <c:v>6.0450034708587603</c:v>
                </c:pt>
                <c:pt idx="2380">
                  <c:v>4.9352856096522082</c:v>
                </c:pt>
                <c:pt idx="2381">
                  <c:v>5.0852168979423373</c:v>
                </c:pt>
                <c:pt idx="2382">
                  <c:v>6.1227525371855851</c:v>
                </c:pt>
                <c:pt idx="2383">
                  <c:v>4.9212337205297816</c:v>
                </c:pt>
                <c:pt idx="2384">
                  <c:v>5.3076856437737252</c:v>
                </c:pt>
                <c:pt idx="2385">
                  <c:v>4.946677651082716</c:v>
                </c:pt>
                <c:pt idx="2386">
                  <c:v>6.1297405840115609</c:v>
                </c:pt>
                <c:pt idx="2387">
                  <c:v>6.0363261825063201</c:v>
                </c:pt>
                <c:pt idx="2388">
                  <c:v>5.0538746438061377</c:v>
                </c:pt>
                <c:pt idx="2389">
                  <c:v>5.1995529049196669</c:v>
                </c:pt>
                <c:pt idx="2390">
                  <c:v>5.0840126966917749</c:v>
                </c:pt>
                <c:pt idx="2391">
                  <c:v>4.8924830266373673</c:v>
                </c:pt>
                <c:pt idx="2392">
                  <c:v>5.8709770341918368</c:v>
                </c:pt>
                <c:pt idx="2393">
                  <c:v>4.8604976628686636</c:v>
                </c:pt>
                <c:pt idx="2394">
                  <c:v>4.8351235349497852</c:v>
                </c:pt>
                <c:pt idx="2395">
                  <c:v>5.8887965416510433</c:v>
                </c:pt>
                <c:pt idx="2396">
                  <c:v>4.0232532089182627</c:v>
                </c:pt>
                <c:pt idx="2397">
                  <c:v>4.9221528420798135</c:v>
                </c:pt>
                <c:pt idx="2398">
                  <c:v>6.0297913285094564</c:v>
                </c:pt>
                <c:pt idx="2399">
                  <c:v>5.9125830946513123</c:v>
                </c:pt>
                <c:pt idx="2400">
                  <c:v>5.0746959747338183</c:v>
                </c:pt>
                <c:pt idx="2401">
                  <c:v>4.8549359087497805</c:v>
                </c:pt>
                <c:pt idx="2402">
                  <c:v>5.0554585654366502</c:v>
                </c:pt>
                <c:pt idx="2403">
                  <c:v>6.141269084005752</c:v>
                </c:pt>
                <c:pt idx="2404">
                  <c:v>7.0153771863644776</c:v>
                </c:pt>
                <c:pt idx="2405">
                  <c:v>5.9889043617268021</c:v>
                </c:pt>
                <c:pt idx="2406">
                  <c:v>5.8475928541848639</c:v>
                </c:pt>
                <c:pt idx="2407">
                  <c:v>4.9597468607114958</c:v>
                </c:pt>
                <c:pt idx="2408">
                  <c:v>5.0281490253919809</c:v>
                </c:pt>
                <c:pt idx="2409">
                  <c:v>6.913294389228299</c:v>
                </c:pt>
                <c:pt idx="2410">
                  <c:v>6.0195838440372684</c:v>
                </c:pt>
                <c:pt idx="2411">
                  <c:v>5.0867945311115728</c:v>
                </c:pt>
                <c:pt idx="2412">
                  <c:v>5.0136429138632703</c:v>
                </c:pt>
                <c:pt idx="2413">
                  <c:v>4.9573713632105765</c:v>
                </c:pt>
                <c:pt idx="2414">
                  <c:v>4.1850661159427087</c:v>
                </c:pt>
                <c:pt idx="2415">
                  <c:v>3.7620822821371807</c:v>
                </c:pt>
                <c:pt idx="2416">
                  <c:v>4.0675778510880258</c:v>
                </c:pt>
                <c:pt idx="2417">
                  <c:v>5.8960688191361772</c:v>
                </c:pt>
                <c:pt idx="2418">
                  <c:v>5.1476511634571116</c:v>
                </c:pt>
                <c:pt idx="2419">
                  <c:v>5.1944161100793806</c:v>
                </c:pt>
                <c:pt idx="2420">
                  <c:v>4.9748212967115224</c:v>
                </c:pt>
                <c:pt idx="2421">
                  <c:v>6.9991682724874806</c:v>
                </c:pt>
                <c:pt idx="2422">
                  <c:v>4.8449550730816746</c:v>
                </c:pt>
                <c:pt idx="2423">
                  <c:v>5.9156438582234774</c:v>
                </c:pt>
                <c:pt idx="2424">
                  <c:v>5.0722447859389179</c:v>
                </c:pt>
                <c:pt idx="2425">
                  <c:v>5.963224450656492</c:v>
                </c:pt>
                <c:pt idx="2426">
                  <c:v>4.993199139145263</c:v>
                </c:pt>
                <c:pt idx="2427">
                  <c:v>6.094436643625202</c:v>
                </c:pt>
                <c:pt idx="2428">
                  <c:v>5.9777991188252573</c:v>
                </c:pt>
                <c:pt idx="2429">
                  <c:v>6.0421265216528122</c:v>
                </c:pt>
                <c:pt idx="2430">
                  <c:v>5.9535763605098975</c:v>
                </c:pt>
                <c:pt idx="2431">
                  <c:v>5.9064562083097272</c:v>
                </c:pt>
                <c:pt idx="2432">
                  <c:v>7.1560545167643301</c:v>
                </c:pt>
                <c:pt idx="2433">
                  <c:v>3.9480728043286279</c:v>
                </c:pt>
                <c:pt idx="2434">
                  <c:v>3.9703972167724957</c:v>
                </c:pt>
                <c:pt idx="2435">
                  <c:v>4.0545945711472857</c:v>
                </c:pt>
                <c:pt idx="2436">
                  <c:v>6.0608755806184824</c:v>
                </c:pt>
                <c:pt idx="2437">
                  <c:v>5.9586001028708289</c:v>
                </c:pt>
                <c:pt idx="2438">
                  <c:v>6.0229910218420057</c:v>
                </c:pt>
                <c:pt idx="2439">
                  <c:v>5.2367000317076657</c:v>
                </c:pt>
                <c:pt idx="2440">
                  <c:v>4.8709532630691337</c:v>
                </c:pt>
                <c:pt idx="2441">
                  <c:v>5.0093234039033385</c:v>
                </c:pt>
                <c:pt idx="2442">
                  <c:v>5.8452392482821836</c:v>
                </c:pt>
                <c:pt idx="2443">
                  <c:v>4.951017763662616</c:v>
                </c:pt>
                <c:pt idx="2444">
                  <c:v>4.8208351725737639</c:v>
                </c:pt>
                <c:pt idx="2445">
                  <c:v>5.0553071179573221</c:v>
                </c:pt>
                <c:pt idx="2446">
                  <c:v>4.9811324029830724</c:v>
                </c:pt>
                <c:pt idx="2447">
                  <c:v>5.9521816683183291</c:v>
                </c:pt>
                <c:pt idx="2448">
                  <c:v>5.2714400500523748</c:v>
                </c:pt>
                <c:pt idx="2449">
                  <c:v>4.9034456363123171</c:v>
                </c:pt>
                <c:pt idx="2450">
                  <c:v>6.092864693177324</c:v>
                </c:pt>
                <c:pt idx="2451">
                  <c:v>6.0111678754628315</c:v>
                </c:pt>
                <c:pt idx="2452">
                  <c:v>6.1355334081052648</c:v>
                </c:pt>
                <c:pt idx="2453">
                  <c:v>4.8766580927776726</c:v>
                </c:pt>
                <c:pt idx="2454">
                  <c:v>6.0746564665803371</c:v>
                </c:pt>
                <c:pt idx="2455">
                  <c:v>4.8040599031604634</c:v>
                </c:pt>
                <c:pt idx="2456">
                  <c:v>5.9544971249241421</c:v>
                </c:pt>
                <c:pt idx="2457">
                  <c:v>6.1770834356449837</c:v>
                </c:pt>
                <c:pt idx="2458">
                  <c:v>6.0806366425468363</c:v>
                </c:pt>
                <c:pt idx="2459">
                  <c:v>6.0669202059885867</c:v>
                </c:pt>
                <c:pt idx="2460">
                  <c:v>6.0500472931355631</c:v>
                </c:pt>
                <c:pt idx="2461">
                  <c:v>5.9891095435746537</c:v>
                </c:pt>
                <c:pt idx="2462">
                  <c:v>6.0768012195204459</c:v>
                </c:pt>
                <c:pt idx="2463">
                  <c:v>6.0176032709316827</c:v>
                </c:pt>
                <c:pt idx="2464">
                  <c:v>6.0839421951371282</c:v>
                </c:pt>
                <c:pt idx="2465">
                  <c:v>5.9909519282683767</c:v>
                </c:pt>
                <c:pt idx="2466">
                  <c:v>5.948111449797822</c:v>
                </c:pt>
                <c:pt idx="2467">
                  <c:v>6.0792639184521367</c:v>
                </c:pt>
                <c:pt idx="2468">
                  <c:v>6.0716196910885509</c:v>
                </c:pt>
                <c:pt idx="2469">
                  <c:v>6.1174653472451324</c:v>
                </c:pt>
                <c:pt idx="2470">
                  <c:v>6.0691645180808251</c:v>
                </c:pt>
                <c:pt idx="2471">
                  <c:v>6.012966599484681</c:v>
                </c:pt>
                <c:pt idx="2472">
                  <c:v>6.0391783481041763</c:v>
                </c:pt>
                <c:pt idx="2473">
                  <c:v>5.8929698416924667</c:v>
                </c:pt>
                <c:pt idx="2474">
                  <c:v>4.8543155393363095</c:v>
                </c:pt>
                <c:pt idx="2475">
                  <c:v>5.9843318344761833</c:v>
                </c:pt>
                <c:pt idx="2476">
                  <c:v>6.0834402377585581</c:v>
                </c:pt>
                <c:pt idx="2477">
                  <c:v>5.1098390562453675</c:v>
                </c:pt>
                <c:pt idx="2478">
                  <c:v>5.0872009317603624</c:v>
                </c:pt>
                <c:pt idx="2479">
                  <c:v>6.0853739912129177</c:v>
                </c:pt>
                <c:pt idx="2480">
                  <c:v>5.015947372813641</c:v>
                </c:pt>
                <c:pt idx="2481">
                  <c:v>4.9306063198111145</c:v>
                </c:pt>
                <c:pt idx="2482">
                  <c:v>5.9821926836883845</c:v>
                </c:pt>
                <c:pt idx="2483">
                  <c:v>6.1126023523015993</c:v>
                </c:pt>
                <c:pt idx="2484">
                  <c:v>3.9622357754936384</c:v>
                </c:pt>
                <c:pt idx="2485">
                  <c:v>4.8872685791962205</c:v>
                </c:pt>
                <c:pt idx="2486">
                  <c:v>5.0577861029170217</c:v>
                </c:pt>
                <c:pt idx="2487">
                  <c:v>3.9874253958147117</c:v>
                </c:pt>
                <c:pt idx="2488">
                  <c:v>4.9043579820659469</c:v>
                </c:pt>
                <c:pt idx="2489">
                  <c:v>7.1049720601006952</c:v>
                </c:pt>
                <c:pt idx="2490">
                  <c:v>6.0761776874487197</c:v>
                </c:pt>
                <c:pt idx="2491">
                  <c:v>4.8594825245064195</c:v>
                </c:pt>
                <c:pt idx="2492">
                  <c:v>5.939517925921824</c:v>
                </c:pt>
                <c:pt idx="2493">
                  <c:v>4.9692311616489659</c:v>
                </c:pt>
                <c:pt idx="2494">
                  <c:v>4.984307977808685</c:v>
                </c:pt>
                <c:pt idx="2495">
                  <c:v>5.8965405189024915</c:v>
                </c:pt>
                <c:pt idx="2496">
                  <c:v>4.9084801855317721</c:v>
                </c:pt>
                <c:pt idx="2497">
                  <c:v>5.9538421470285154</c:v>
                </c:pt>
                <c:pt idx="2498">
                  <c:v>5.9428668474940931</c:v>
                </c:pt>
                <c:pt idx="2499">
                  <c:v>6.0377019905913158</c:v>
                </c:pt>
                <c:pt idx="2500">
                  <c:v>6.0415411400794738</c:v>
                </c:pt>
                <c:pt idx="2501">
                  <c:v>5.9674164071598108</c:v>
                </c:pt>
                <c:pt idx="2502">
                  <c:v>6.013269735965511</c:v>
                </c:pt>
                <c:pt idx="2503">
                  <c:v>5.1103067912291307</c:v>
                </c:pt>
                <c:pt idx="2504">
                  <c:v>6.0541100603746614</c:v>
                </c:pt>
                <c:pt idx="2505">
                  <c:v>6.0856352355477954</c:v>
                </c:pt>
                <c:pt idx="2506">
                  <c:v>4.9440537612667796</c:v>
                </c:pt>
                <c:pt idx="2507">
                  <c:v>5.7965080303224683</c:v>
                </c:pt>
                <c:pt idx="2508">
                  <c:v>6.0122696688737394</c:v>
                </c:pt>
                <c:pt idx="2509">
                  <c:v>5.085702644337867</c:v>
                </c:pt>
                <c:pt idx="2510">
                  <c:v>6.0976599587923044</c:v>
                </c:pt>
                <c:pt idx="2511">
                  <c:v>5.0570222259685487</c:v>
                </c:pt>
                <c:pt idx="2512">
                  <c:v>6.8986057901847166</c:v>
                </c:pt>
                <c:pt idx="2513">
                  <c:v>4.9306689766975822</c:v>
                </c:pt>
                <c:pt idx="2514">
                  <c:v>5.8800045957260503</c:v>
                </c:pt>
                <c:pt idx="2515">
                  <c:v>6.0531733934922176</c:v>
                </c:pt>
                <c:pt idx="2516">
                  <c:v>5.1334904198465976</c:v>
                </c:pt>
                <c:pt idx="2517">
                  <c:v>6.1272677051390136</c:v>
                </c:pt>
                <c:pt idx="2518">
                  <c:v>6.0866595820700153</c:v>
                </c:pt>
                <c:pt idx="2519">
                  <c:v>4.9081899468018069</c:v>
                </c:pt>
                <c:pt idx="2520">
                  <c:v>5.0616589576431155</c:v>
                </c:pt>
                <c:pt idx="2521">
                  <c:v>4.8005263543139796</c:v>
                </c:pt>
                <c:pt idx="2522">
                  <c:v>6.0870124839832798</c:v>
                </c:pt>
                <c:pt idx="2523">
                  <c:v>5.0520122529460014</c:v>
                </c:pt>
                <c:pt idx="2524">
                  <c:v>6.0071074816933878</c:v>
                </c:pt>
                <c:pt idx="2525">
                  <c:v>3.8408279126004565</c:v>
                </c:pt>
                <c:pt idx="2526">
                  <c:v>5.1566655400333845</c:v>
                </c:pt>
                <c:pt idx="2527">
                  <c:v>6.0561429351577569</c:v>
                </c:pt>
                <c:pt idx="2528">
                  <c:v>4.9917183689486482</c:v>
                </c:pt>
                <c:pt idx="2529">
                  <c:v>6.0577230439833549</c:v>
                </c:pt>
                <c:pt idx="2530">
                  <c:v>5.0472861999443257</c:v>
                </c:pt>
                <c:pt idx="2531">
                  <c:v>4.8578739665534192</c:v>
                </c:pt>
                <c:pt idx="2532">
                  <c:v>5.0288707907589618</c:v>
                </c:pt>
                <c:pt idx="2533">
                  <c:v>5.2015575218177208</c:v>
                </c:pt>
                <c:pt idx="2534">
                  <c:v>6.0019639233055031</c:v>
                </c:pt>
                <c:pt idx="2535">
                  <c:v>7.1844024949557967</c:v>
                </c:pt>
                <c:pt idx="2536">
                  <c:v>6.1327200770558292</c:v>
                </c:pt>
                <c:pt idx="2537">
                  <c:v>4.7960220354903793</c:v>
                </c:pt>
                <c:pt idx="2538">
                  <c:v>5.00492067495931</c:v>
                </c:pt>
                <c:pt idx="2539">
                  <c:v>4.9681947124621164</c:v>
                </c:pt>
                <c:pt idx="2540">
                  <c:v>4.9860224802143573</c:v>
                </c:pt>
                <c:pt idx="2541">
                  <c:v>4.996882834491319</c:v>
                </c:pt>
                <c:pt idx="2542">
                  <c:v>4.9364329709090953</c:v>
                </c:pt>
                <c:pt idx="2543">
                  <c:v>5.9992251364965448</c:v>
                </c:pt>
                <c:pt idx="2544">
                  <c:v>5.0397288634711908</c:v>
                </c:pt>
                <c:pt idx="2545">
                  <c:v>5.8559885668752649</c:v>
                </c:pt>
                <c:pt idx="2546">
                  <c:v>5.1327580127454002</c:v>
                </c:pt>
                <c:pt idx="2547">
                  <c:v>5.826429056504435</c:v>
                </c:pt>
                <c:pt idx="2548">
                  <c:v>4.8514888051819778</c:v>
                </c:pt>
                <c:pt idx="2549">
                  <c:v>6.071713955561254</c:v>
                </c:pt>
                <c:pt idx="2550">
                  <c:v>4.9504552550016641</c:v>
                </c:pt>
                <c:pt idx="2551">
                  <c:v>6.0366217520638861</c:v>
                </c:pt>
                <c:pt idx="2552">
                  <c:v>4.9008374201761686</c:v>
                </c:pt>
                <c:pt idx="2553">
                  <c:v>5.9374280066023113</c:v>
                </c:pt>
                <c:pt idx="2554">
                  <c:v>5.0737027499721847</c:v>
                </c:pt>
                <c:pt idx="2555">
                  <c:v>6.1465540659459847</c:v>
                </c:pt>
                <c:pt idx="2556">
                  <c:v>6.8754152699111595</c:v>
                </c:pt>
                <c:pt idx="2557">
                  <c:v>5.9232413848584731</c:v>
                </c:pt>
                <c:pt idx="2558">
                  <c:v>5.162535956926674</c:v>
                </c:pt>
                <c:pt idx="2559">
                  <c:v>6.0995300819903946</c:v>
                </c:pt>
                <c:pt idx="2560">
                  <c:v>7.0110943036507729</c:v>
                </c:pt>
                <c:pt idx="2561">
                  <c:v>6.0035609440245814</c:v>
                </c:pt>
                <c:pt idx="2562">
                  <c:v>6.1185942611634117</c:v>
                </c:pt>
                <c:pt idx="2563">
                  <c:v>4.8935349083257487</c:v>
                </c:pt>
                <c:pt idx="2564">
                  <c:v>5.1205977674223311</c:v>
                </c:pt>
                <c:pt idx="2565">
                  <c:v>4.8942744382541123</c:v>
                </c:pt>
                <c:pt idx="2566">
                  <c:v>5.0038663785345792</c:v>
                </c:pt>
                <c:pt idx="2567">
                  <c:v>6.0687873139274071</c:v>
                </c:pt>
                <c:pt idx="2568">
                  <c:v>5.92154383539589</c:v>
                </c:pt>
                <c:pt idx="2569">
                  <c:v>6.0142957732288389</c:v>
                </c:pt>
                <c:pt idx="2570">
                  <c:v>4.8954616694267026</c:v>
                </c:pt>
                <c:pt idx="2571">
                  <c:v>6.0677900612419267</c:v>
                </c:pt>
                <c:pt idx="2572">
                  <c:v>5.9305056489271903</c:v>
                </c:pt>
                <c:pt idx="2573">
                  <c:v>5.0974647427491533</c:v>
                </c:pt>
                <c:pt idx="2574">
                  <c:v>5.0041454004838464</c:v>
                </c:pt>
                <c:pt idx="2575">
                  <c:v>6.0429469408276235</c:v>
                </c:pt>
                <c:pt idx="2576">
                  <c:v>4.9065530513225459</c:v>
                </c:pt>
                <c:pt idx="2577">
                  <c:v>5.0115333325499307</c:v>
                </c:pt>
                <c:pt idx="2578">
                  <c:v>5.0532150222705763</c:v>
                </c:pt>
                <c:pt idx="2579">
                  <c:v>5.9125682600452469</c:v>
                </c:pt>
                <c:pt idx="2580">
                  <c:v>6.0096264164435915</c:v>
                </c:pt>
                <c:pt idx="2581">
                  <c:v>5.0149185486346299</c:v>
                </c:pt>
                <c:pt idx="2582">
                  <c:v>5.8916615854205299</c:v>
                </c:pt>
                <c:pt idx="2583">
                  <c:v>6.1470382794860363</c:v>
                </c:pt>
                <c:pt idx="2584">
                  <c:v>6.0744622739866028</c:v>
                </c:pt>
                <c:pt idx="2585">
                  <c:v>7.1397231674523693</c:v>
                </c:pt>
                <c:pt idx="2586">
                  <c:v>5.9961672423361998</c:v>
                </c:pt>
                <c:pt idx="2587">
                  <c:v>4.8772987144475213</c:v>
                </c:pt>
                <c:pt idx="2588">
                  <c:v>5.0326282854480189</c:v>
                </c:pt>
                <c:pt idx="2589">
                  <c:v>6.1945722244010604</c:v>
                </c:pt>
                <c:pt idx="2590">
                  <c:v>5.9732025164339024</c:v>
                </c:pt>
                <c:pt idx="2591">
                  <c:v>6.0617042364514226</c:v>
                </c:pt>
                <c:pt idx="2592">
                  <c:v>5.8234613180889081</c:v>
                </c:pt>
                <c:pt idx="2593">
                  <c:v>4.9925844897629883</c:v>
                </c:pt>
                <c:pt idx="2594">
                  <c:v>5.8287512164183557</c:v>
                </c:pt>
                <c:pt idx="2595">
                  <c:v>6.0792643343976298</c:v>
                </c:pt>
                <c:pt idx="2596">
                  <c:v>4.9291717889185209</c:v>
                </c:pt>
                <c:pt idx="2597">
                  <c:v>5.9587693590891124</c:v>
                </c:pt>
                <c:pt idx="2598">
                  <c:v>5.0480770796375474</c:v>
                </c:pt>
                <c:pt idx="2599">
                  <c:v>6.0209332339017712</c:v>
                </c:pt>
                <c:pt idx="2600">
                  <c:v>5.9715366065071755</c:v>
                </c:pt>
                <c:pt idx="2601">
                  <c:v>4.8708988934479391</c:v>
                </c:pt>
                <c:pt idx="2602">
                  <c:v>6.0335936895427649</c:v>
                </c:pt>
                <c:pt idx="2603">
                  <c:v>6.2938335455363807</c:v>
                </c:pt>
                <c:pt idx="2604">
                  <c:v>5.9856815120684006</c:v>
                </c:pt>
                <c:pt idx="2605">
                  <c:v>7.0596212708866402</c:v>
                </c:pt>
                <c:pt idx="2606">
                  <c:v>6.026066124470038</c:v>
                </c:pt>
                <c:pt idx="2607">
                  <c:v>5.9086390144749794</c:v>
                </c:pt>
                <c:pt idx="2608">
                  <c:v>5.9028082426598489</c:v>
                </c:pt>
                <c:pt idx="2609">
                  <c:v>5.8122032318314183</c:v>
                </c:pt>
                <c:pt idx="2610">
                  <c:v>4.8502572523481327</c:v>
                </c:pt>
                <c:pt idx="2611">
                  <c:v>4.8930648443206923</c:v>
                </c:pt>
                <c:pt idx="2612">
                  <c:v>4.8686860235669371</c:v>
                </c:pt>
                <c:pt idx="2613">
                  <c:v>5.1060114503204304</c:v>
                </c:pt>
                <c:pt idx="2614">
                  <c:v>7.089366131956047</c:v>
                </c:pt>
                <c:pt idx="2615">
                  <c:v>5.8983872874971688</c:v>
                </c:pt>
                <c:pt idx="2616">
                  <c:v>6.164918615262053</c:v>
                </c:pt>
                <c:pt idx="2617">
                  <c:v>5.9102828767499123</c:v>
                </c:pt>
                <c:pt idx="2618">
                  <c:v>7.0647199738836077</c:v>
                </c:pt>
                <c:pt idx="2619">
                  <c:v>3.9364676096566713</c:v>
                </c:pt>
                <c:pt idx="2620">
                  <c:v>5.0866368812741722</c:v>
                </c:pt>
                <c:pt idx="2621">
                  <c:v>4.9787681033556375</c:v>
                </c:pt>
                <c:pt idx="2622">
                  <c:v>4.7888275216880318</c:v>
                </c:pt>
                <c:pt idx="2623">
                  <c:v>6.1791424824549823</c:v>
                </c:pt>
                <c:pt idx="2624">
                  <c:v>5.0939187717532528</c:v>
                </c:pt>
                <c:pt idx="2625">
                  <c:v>6.0140977383496539</c:v>
                </c:pt>
                <c:pt idx="2626">
                  <c:v>6.0579830343415404</c:v>
                </c:pt>
                <c:pt idx="2627">
                  <c:v>6.0204417118218387</c:v>
                </c:pt>
                <c:pt idx="2628">
                  <c:v>4.8947638609658757</c:v>
                </c:pt>
                <c:pt idx="2629">
                  <c:v>6.0429527616385101</c:v>
                </c:pt>
                <c:pt idx="2630">
                  <c:v>4.8825191813925164</c:v>
                </c:pt>
                <c:pt idx="2631">
                  <c:v>6.1335283089705648</c:v>
                </c:pt>
                <c:pt idx="2632">
                  <c:v>2.0019872462384649</c:v>
                </c:pt>
                <c:pt idx="2633">
                  <c:v>3.080783958541979</c:v>
                </c:pt>
                <c:pt idx="2634">
                  <c:v>5.0100978255472368</c:v>
                </c:pt>
                <c:pt idx="2635">
                  <c:v>4.9212878674049723</c:v>
                </c:pt>
                <c:pt idx="2636">
                  <c:v>5.0380285317440254</c:v>
                </c:pt>
                <c:pt idx="2637">
                  <c:v>2.9598307045521244</c:v>
                </c:pt>
                <c:pt idx="2638">
                  <c:v>6.1175484118078227</c:v>
                </c:pt>
                <c:pt idx="2639">
                  <c:v>6.8973666588171305</c:v>
                </c:pt>
                <c:pt idx="2640">
                  <c:v>5.9683945036660822</c:v>
                </c:pt>
                <c:pt idx="2641">
                  <c:v>6.9803537453395048</c:v>
                </c:pt>
                <c:pt idx="2642">
                  <c:v>4.9696708150620061</c:v>
                </c:pt>
                <c:pt idx="2643">
                  <c:v>5.9285534946359384</c:v>
                </c:pt>
                <c:pt idx="2644">
                  <c:v>4.8632471211097279</c:v>
                </c:pt>
                <c:pt idx="2645">
                  <c:v>5.0245881745168575</c:v>
                </c:pt>
                <c:pt idx="2646">
                  <c:v>5.1227616957049369</c:v>
                </c:pt>
                <c:pt idx="2647">
                  <c:v>4.047950356467573</c:v>
                </c:pt>
                <c:pt idx="2648">
                  <c:v>5.0476382184363784</c:v>
                </c:pt>
                <c:pt idx="2649">
                  <c:v>4.9352579923116799</c:v>
                </c:pt>
                <c:pt idx="2650">
                  <c:v>5.0812050927651367</c:v>
                </c:pt>
                <c:pt idx="2651">
                  <c:v>5.0445168000952822</c:v>
                </c:pt>
                <c:pt idx="2652">
                  <c:v>5.8309898967946463</c:v>
                </c:pt>
                <c:pt idx="2653">
                  <c:v>6.0153250425696028</c:v>
                </c:pt>
                <c:pt idx="2654">
                  <c:v>4.0333117956132174</c:v>
                </c:pt>
                <c:pt idx="2655">
                  <c:v>2.9287696178667368</c:v>
                </c:pt>
                <c:pt idx="2656">
                  <c:v>4.8481380164172201</c:v>
                </c:pt>
                <c:pt idx="2657">
                  <c:v>4.7916464094709781</c:v>
                </c:pt>
                <c:pt idx="2658">
                  <c:v>5.0806479052675426</c:v>
                </c:pt>
                <c:pt idx="2659">
                  <c:v>4.8861720436130325</c:v>
                </c:pt>
                <c:pt idx="2660">
                  <c:v>3.8487782947857894</c:v>
                </c:pt>
                <c:pt idx="2661">
                  <c:v>6.0812425538231363</c:v>
                </c:pt>
                <c:pt idx="2662">
                  <c:v>4.0435566821510847</c:v>
                </c:pt>
                <c:pt idx="2663">
                  <c:v>3.9584363625461059</c:v>
                </c:pt>
                <c:pt idx="2664">
                  <c:v>4.8276991875232982</c:v>
                </c:pt>
                <c:pt idx="2665">
                  <c:v>4.8697619248380768</c:v>
                </c:pt>
                <c:pt idx="2666">
                  <c:v>2.9051017967003747</c:v>
                </c:pt>
                <c:pt idx="2667">
                  <c:v>4.0301861747171497</c:v>
                </c:pt>
                <c:pt idx="2668">
                  <c:v>5.0084596790686753</c:v>
                </c:pt>
                <c:pt idx="2669">
                  <c:v>5.9719106107932669</c:v>
                </c:pt>
                <c:pt idx="2670">
                  <c:v>5.9761738245806626</c:v>
                </c:pt>
                <c:pt idx="2671">
                  <c:v>4.9662829058169926</c:v>
                </c:pt>
                <c:pt idx="2672">
                  <c:v>5.9160805288338203</c:v>
                </c:pt>
                <c:pt idx="2673">
                  <c:v>2.9136450868945389</c:v>
                </c:pt>
                <c:pt idx="2674">
                  <c:v>4.8151517212207544</c:v>
                </c:pt>
                <c:pt idx="2675">
                  <c:v>5.8528684239077684</c:v>
                </c:pt>
                <c:pt idx="2676">
                  <c:v>6.9807557040252881</c:v>
                </c:pt>
                <c:pt idx="2677">
                  <c:v>4.9895889827432374</c:v>
                </c:pt>
                <c:pt idx="2678">
                  <c:v>5.9749666813374871</c:v>
                </c:pt>
                <c:pt idx="2679">
                  <c:v>4.9731926436916387</c:v>
                </c:pt>
                <c:pt idx="2680">
                  <c:v>4.995176272170271</c:v>
                </c:pt>
                <c:pt idx="2681">
                  <c:v>4.8942081705575555</c:v>
                </c:pt>
                <c:pt idx="2682">
                  <c:v>6.0288775921519555</c:v>
                </c:pt>
                <c:pt idx="2683">
                  <c:v>6.0882043814713809</c:v>
                </c:pt>
                <c:pt idx="2684">
                  <c:v>5.0261025173891634</c:v>
                </c:pt>
                <c:pt idx="2685">
                  <c:v>4.0067496110208065</c:v>
                </c:pt>
                <c:pt idx="2686">
                  <c:v>5.9784748866812647</c:v>
                </c:pt>
                <c:pt idx="2687">
                  <c:v>3.9775589269959362</c:v>
                </c:pt>
                <c:pt idx="2688">
                  <c:v>6.0265191764657624</c:v>
                </c:pt>
                <c:pt idx="2689">
                  <c:v>4.8007867530719279</c:v>
                </c:pt>
                <c:pt idx="2690">
                  <c:v>6.0773664626404811</c:v>
                </c:pt>
                <c:pt idx="2691">
                  <c:v>5.0545764203414727</c:v>
                </c:pt>
                <c:pt idx="2692">
                  <c:v>5.8032267297427822</c:v>
                </c:pt>
                <c:pt idx="2693">
                  <c:v>4.874297447991645</c:v>
                </c:pt>
                <c:pt idx="2694">
                  <c:v>5.9071480698802432</c:v>
                </c:pt>
                <c:pt idx="2695">
                  <c:v>4.9713236903023272</c:v>
                </c:pt>
                <c:pt idx="2696">
                  <c:v>5.9958751245830673</c:v>
                </c:pt>
                <c:pt idx="2697">
                  <c:v>6.1066067715632872</c:v>
                </c:pt>
                <c:pt idx="2698">
                  <c:v>4.975442965803281</c:v>
                </c:pt>
                <c:pt idx="2699">
                  <c:v>5.0956840726930128</c:v>
                </c:pt>
                <c:pt idx="2700">
                  <c:v>6.0929042740208077</c:v>
                </c:pt>
                <c:pt idx="2701">
                  <c:v>6.1326737025625562</c:v>
                </c:pt>
                <c:pt idx="2702">
                  <c:v>5.9037766056190932</c:v>
                </c:pt>
                <c:pt idx="2703">
                  <c:v>5.1239397687255597</c:v>
                </c:pt>
                <c:pt idx="2704">
                  <c:v>5.0109875296615041</c:v>
                </c:pt>
                <c:pt idx="2705">
                  <c:v>5.9952519812194964</c:v>
                </c:pt>
                <c:pt idx="2706">
                  <c:v>5.0572122528446561</c:v>
                </c:pt>
                <c:pt idx="2707">
                  <c:v>5.0197701237582377</c:v>
                </c:pt>
                <c:pt idx="2708">
                  <c:v>4.7541207485551933</c:v>
                </c:pt>
                <c:pt idx="2709">
                  <c:v>5.9414831444017375</c:v>
                </c:pt>
                <c:pt idx="2710">
                  <c:v>5.0253224629586999</c:v>
                </c:pt>
                <c:pt idx="2711">
                  <c:v>4.9069660103782073</c:v>
                </c:pt>
                <c:pt idx="2712">
                  <c:v>4.988477996485047</c:v>
                </c:pt>
                <c:pt idx="2713">
                  <c:v>6.0434392077676229</c:v>
                </c:pt>
                <c:pt idx="2714">
                  <c:v>5.0556750440481428</c:v>
                </c:pt>
                <c:pt idx="2715">
                  <c:v>3.7544630509847403</c:v>
                </c:pt>
                <c:pt idx="2716">
                  <c:v>4.9690133988510308</c:v>
                </c:pt>
                <c:pt idx="2717">
                  <c:v>5.8869180769289624</c:v>
                </c:pt>
                <c:pt idx="2718">
                  <c:v>4.9135376704763996</c:v>
                </c:pt>
                <c:pt idx="2719">
                  <c:v>3.7770996940627959</c:v>
                </c:pt>
                <c:pt idx="2720">
                  <c:v>4.9955778844798591</c:v>
                </c:pt>
                <c:pt idx="2721">
                  <c:v>3.8348362285517239</c:v>
                </c:pt>
                <c:pt idx="2722">
                  <c:v>5.8337823661418442</c:v>
                </c:pt>
                <c:pt idx="2723">
                  <c:v>5.1534573921188809</c:v>
                </c:pt>
                <c:pt idx="2724">
                  <c:v>3.6421782317195408</c:v>
                </c:pt>
                <c:pt idx="2725">
                  <c:v>5.9298715521920426</c:v>
                </c:pt>
                <c:pt idx="2726">
                  <c:v>8.9662551027221831</c:v>
                </c:pt>
                <c:pt idx="2727">
                  <c:v>6.049415517059308</c:v>
                </c:pt>
                <c:pt idx="2728">
                  <c:v>5.8575430940055879</c:v>
                </c:pt>
                <c:pt idx="2729">
                  <c:v>6.2239201865486047</c:v>
                </c:pt>
                <c:pt idx="2730">
                  <c:v>4.9135614596075445</c:v>
                </c:pt>
                <c:pt idx="2731">
                  <c:v>5.0294151451494962</c:v>
                </c:pt>
                <c:pt idx="2732">
                  <c:v>6.1162437083022656</c:v>
                </c:pt>
                <c:pt idx="2733">
                  <c:v>5.1325283207192269</c:v>
                </c:pt>
                <c:pt idx="2734">
                  <c:v>5.0866470906814758</c:v>
                </c:pt>
                <c:pt idx="2735">
                  <c:v>5.912631303011473</c:v>
                </c:pt>
                <c:pt idx="2736">
                  <c:v>6.0395828004568912</c:v>
                </c:pt>
                <c:pt idx="2737">
                  <c:v>4.8363684269320046</c:v>
                </c:pt>
                <c:pt idx="2738">
                  <c:v>4.8351611045881988</c:v>
                </c:pt>
                <c:pt idx="2739">
                  <c:v>6.0483389647255379</c:v>
                </c:pt>
                <c:pt idx="2740">
                  <c:v>5.872516478881793</c:v>
                </c:pt>
                <c:pt idx="2741">
                  <c:v>5.1314808340631863</c:v>
                </c:pt>
                <c:pt idx="2742">
                  <c:v>5.8965797038045178</c:v>
                </c:pt>
                <c:pt idx="2743">
                  <c:v>5.1185617648917301</c:v>
                </c:pt>
                <c:pt idx="2744">
                  <c:v>5.9608630237704823</c:v>
                </c:pt>
                <c:pt idx="2745">
                  <c:v>6.1066902063829422</c:v>
                </c:pt>
                <c:pt idx="2746">
                  <c:v>5.0248386530855935</c:v>
                </c:pt>
                <c:pt idx="2747">
                  <c:v>5.0503767182877057</c:v>
                </c:pt>
                <c:pt idx="2748">
                  <c:v>6.1855879765845163</c:v>
                </c:pt>
                <c:pt idx="2749">
                  <c:v>4.9721846100818015</c:v>
                </c:pt>
                <c:pt idx="2750">
                  <c:v>5.1077358196481635</c:v>
                </c:pt>
                <c:pt idx="2751">
                  <c:v>4.9573433010231245</c:v>
                </c:pt>
                <c:pt idx="2752">
                  <c:v>4.9672223159350652</c:v>
                </c:pt>
                <c:pt idx="2753">
                  <c:v>5.0013821165121524</c:v>
                </c:pt>
                <c:pt idx="2754">
                  <c:v>5.0033561916900995</c:v>
                </c:pt>
                <c:pt idx="2755">
                  <c:v>6.0169965755310999</c:v>
                </c:pt>
                <c:pt idx="2756">
                  <c:v>3.9851384003763592</c:v>
                </c:pt>
                <c:pt idx="2757">
                  <c:v>7.0778944145423965</c:v>
                </c:pt>
                <c:pt idx="2758">
                  <c:v>5.015295965438554</c:v>
                </c:pt>
                <c:pt idx="2759">
                  <c:v>4.9142487593140958</c:v>
                </c:pt>
                <c:pt idx="2760">
                  <c:v>5.0843278846029314</c:v>
                </c:pt>
                <c:pt idx="2761">
                  <c:v>5.0132137548147018</c:v>
                </c:pt>
                <c:pt idx="2762">
                  <c:v>5.8479829282031313</c:v>
                </c:pt>
                <c:pt idx="2763">
                  <c:v>4.879712510809803</c:v>
                </c:pt>
                <c:pt idx="2764">
                  <c:v>5.1938484426406175</c:v>
                </c:pt>
                <c:pt idx="2765">
                  <c:v>5.1491618960681329</c:v>
                </c:pt>
                <c:pt idx="2766">
                  <c:v>5.0503662861144258</c:v>
                </c:pt>
                <c:pt idx="2767">
                  <c:v>5.1619827383979366</c:v>
                </c:pt>
                <c:pt idx="2768">
                  <c:v>6.0131091378319583</c:v>
                </c:pt>
                <c:pt idx="2769">
                  <c:v>4.032626752804501</c:v>
                </c:pt>
                <c:pt idx="2770">
                  <c:v>5.1098297446247045</c:v>
                </c:pt>
                <c:pt idx="2771">
                  <c:v>5.0305168103225153</c:v>
                </c:pt>
                <c:pt idx="2772">
                  <c:v>4.9233644299508628</c:v>
                </c:pt>
                <c:pt idx="2773">
                  <c:v>4.8915625754910845</c:v>
                </c:pt>
                <c:pt idx="2774">
                  <c:v>4.1431789811746631</c:v>
                </c:pt>
                <c:pt idx="2775">
                  <c:v>6.0419529227073436</c:v>
                </c:pt>
                <c:pt idx="2776">
                  <c:v>6.063193689346833</c:v>
                </c:pt>
                <c:pt idx="2777">
                  <c:v>5.8792679915756763</c:v>
                </c:pt>
                <c:pt idx="2778">
                  <c:v>4.1566937478611248</c:v>
                </c:pt>
                <c:pt idx="2779">
                  <c:v>6.0804915319780175</c:v>
                </c:pt>
                <c:pt idx="2780">
                  <c:v>5.9730918141946558</c:v>
                </c:pt>
                <c:pt idx="2781">
                  <c:v>6.0402745645335409</c:v>
                </c:pt>
                <c:pt idx="2782">
                  <c:v>4.9428547247483232</c:v>
                </c:pt>
                <c:pt idx="2783">
                  <c:v>6.0753365467313127</c:v>
                </c:pt>
                <c:pt idx="2784">
                  <c:v>6.0876459217547554</c:v>
                </c:pt>
                <c:pt idx="2785">
                  <c:v>5.9641061083658</c:v>
                </c:pt>
                <c:pt idx="2786">
                  <c:v>6.0023836307066647</c:v>
                </c:pt>
                <c:pt idx="2787">
                  <c:v>6.1193967229152086</c:v>
                </c:pt>
                <c:pt idx="2788">
                  <c:v>5.9757748729616003</c:v>
                </c:pt>
                <c:pt idx="2789">
                  <c:v>6.0460208259711221</c:v>
                </c:pt>
                <c:pt idx="2790">
                  <c:v>6.3167523813677882</c:v>
                </c:pt>
                <c:pt idx="2791">
                  <c:v>5.9574804745879479</c:v>
                </c:pt>
                <c:pt idx="2792">
                  <c:v>5.0944894386381856</c:v>
                </c:pt>
                <c:pt idx="2793">
                  <c:v>6.016920268248132</c:v>
                </c:pt>
                <c:pt idx="2794">
                  <c:v>6.0959944216221764</c:v>
                </c:pt>
                <c:pt idx="2795">
                  <c:v>5.1675642100854562</c:v>
                </c:pt>
                <c:pt idx="2796">
                  <c:v>6.2405267956523121</c:v>
                </c:pt>
                <c:pt idx="2797">
                  <c:v>7.0751631375727309</c:v>
                </c:pt>
                <c:pt idx="2798">
                  <c:v>4.9159084185687387</c:v>
                </c:pt>
                <c:pt idx="2799">
                  <c:v>6.1114575796116526</c:v>
                </c:pt>
                <c:pt idx="2800">
                  <c:v>7.0240130497895858</c:v>
                </c:pt>
                <c:pt idx="2801">
                  <c:v>5.8659363404440992</c:v>
                </c:pt>
                <c:pt idx="2802">
                  <c:v>6.0615731067701821</c:v>
                </c:pt>
                <c:pt idx="2803">
                  <c:v>5.9078089320424496</c:v>
                </c:pt>
                <c:pt idx="2804">
                  <c:v>6.0557225191949939</c:v>
                </c:pt>
                <c:pt idx="2805">
                  <c:v>5.9421686878922362</c:v>
                </c:pt>
                <c:pt idx="2806">
                  <c:v>5.9173437316996518</c:v>
                </c:pt>
                <c:pt idx="2807">
                  <c:v>5.0108313699572893</c:v>
                </c:pt>
                <c:pt idx="2808">
                  <c:v>4.1182387941867926</c:v>
                </c:pt>
                <c:pt idx="2809">
                  <c:v>5.9650330992386182</c:v>
                </c:pt>
                <c:pt idx="2810">
                  <c:v>5.0220753320646256</c:v>
                </c:pt>
                <c:pt idx="2811">
                  <c:v>5.9949434775291275</c:v>
                </c:pt>
                <c:pt idx="2812">
                  <c:v>4.8501145403290113</c:v>
                </c:pt>
                <c:pt idx="2813">
                  <c:v>5.9881815126894029</c:v>
                </c:pt>
                <c:pt idx="2814">
                  <c:v>6.0973414177970389</c:v>
                </c:pt>
                <c:pt idx="2815">
                  <c:v>6.2345785571258743</c:v>
                </c:pt>
                <c:pt idx="2816">
                  <c:v>6.0352478836200589</c:v>
                </c:pt>
                <c:pt idx="2817">
                  <c:v>3.961124982474117</c:v>
                </c:pt>
                <c:pt idx="2818">
                  <c:v>6.0230942749956204</c:v>
                </c:pt>
                <c:pt idx="2819">
                  <c:v>4.9903703754053179</c:v>
                </c:pt>
                <c:pt idx="2820">
                  <c:v>3.9500256702121037</c:v>
                </c:pt>
                <c:pt idx="2821">
                  <c:v>3.8989394408782769</c:v>
                </c:pt>
                <c:pt idx="2822">
                  <c:v>5.1526899863499622</c:v>
                </c:pt>
                <c:pt idx="2823">
                  <c:v>5.9926623941433785</c:v>
                </c:pt>
                <c:pt idx="2824">
                  <c:v>4.9396947252278824</c:v>
                </c:pt>
                <c:pt idx="2825">
                  <c:v>5.9220883420844537</c:v>
                </c:pt>
                <c:pt idx="2826">
                  <c:v>6.0349330509719472</c:v>
                </c:pt>
                <c:pt idx="2827">
                  <c:v>5.950386215993162</c:v>
                </c:pt>
                <c:pt idx="2828">
                  <c:v>5.9989588523568091</c:v>
                </c:pt>
                <c:pt idx="2829">
                  <c:v>4.8951462167317619</c:v>
                </c:pt>
                <c:pt idx="2830">
                  <c:v>5.0806566026001461</c:v>
                </c:pt>
                <c:pt idx="2831">
                  <c:v>4.0176046622027464</c:v>
                </c:pt>
                <c:pt idx="2832">
                  <c:v>4.9956005049410974</c:v>
                </c:pt>
                <c:pt idx="2833">
                  <c:v>4.8430160002117502</c:v>
                </c:pt>
                <c:pt idx="2834">
                  <c:v>5.9504148263106034</c:v>
                </c:pt>
                <c:pt idx="2835">
                  <c:v>4.9058119336605266</c:v>
                </c:pt>
                <c:pt idx="2836">
                  <c:v>3.9550900428509701</c:v>
                </c:pt>
                <c:pt idx="2837">
                  <c:v>4.0253574279285331</c:v>
                </c:pt>
                <c:pt idx="2838">
                  <c:v>6.0919859544519364</c:v>
                </c:pt>
                <c:pt idx="2839">
                  <c:v>6.0213922521712124</c:v>
                </c:pt>
                <c:pt idx="2840">
                  <c:v>4.9353851190001459</c:v>
                </c:pt>
                <c:pt idx="2841">
                  <c:v>3.924329957336417</c:v>
                </c:pt>
                <c:pt idx="2842">
                  <c:v>4.9179551721301911</c:v>
                </c:pt>
                <c:pt idx="2843">
                  <c:v>6.0727420160288101</c:v>
                </c:pt>
                <c:pt idx="2844">
                  <c:v>4.0020317550408437</c:v>
                </c:pt>
                <c:pt idx="2845">
                  <c:v>6.1090249208861991</c:v>
                </c:pt>
                <c:pt idx="2846">
                  <c:v>5.0832734537023319</c:v>
                </c:pt>
                <c:pt idx="2847">
                  <c:v>5.9047063767205445</c:v>
                </c:pt>
                <c:pt idx="2848">
                  <c:v>4.8633640612113744</c:v>
                </c:pt>
                <c:pt idx="2849">
                  <c:v>5.0892098373345798</c:v>
                </c:pt>
                <c:pt idx="2850">
                  <c:v>5.8213735765218839</c:v>
                </c:pt>
                <c:pt idx="2851">
                  <c:v>5.8760777058449118</c:v>
                </c:pt>
                <c:pt idx="2852">
                  <c:v>4.9096190045401826</c:v>
                </c:pt>
                <c:pt idx="2853">
                  <c:v>4.9989571736930092</c:v>
                </c:pt>
                <c:pt idx="2854">
                  <c:v>6.1018874072117972</c:v>
                </c:pt>
                <c:pt idx="2855">
                  <c:v>5.954907304431539</c:v>
                </c:pt>
                <c:pt idx="2856">
                  <c:v>5.9842078977183437</c:v>
                </c:pt>
                <c:pt idx="2857">
                  <c:v>5.8948286008358544</c:v>
                </c:pt>
                <c:pt idx="2858">
                  <c:v>4.8145527621091606</c:v>
                </c:pt>
                <c:pt idx="2859">
                  <c:v>4.984340622139233</c:v>
                </c:pt>
                <c:pt idx="2860">
                  <c:v>6.0332240346492183</c:v>
                </c:pt>
                <c:pt idx="2861">
                  <c:v>7.1475247844747578</c:v>
                </c:pt>
                <c:pt idx="2862">
                  <c:v>5.9964774606390847</c:v>
                </c:pt>
                <c:pt idx="2863">
                  <c:v>5.0080339420433777</c:v>
                </c:pt>
                <c:pt idx="2864">
                  <c:v>6.1081097819818879</c:v>
                </c:pt>
                <c:pt idx="2865">
                  <c:v>6.0434386399048794</c:v>
                </c:pt>
                <c:pt idx="2866">
                  <c:v>5.888154693152134</c:v>
                </c:pt>
                <c:pt idx="2867">
                  <c:v>5.0232077532361581</c:v>
                </c:pt>
                <c:pt idx="2868">
                  <c:v>4.873421600832593</c:v>
                </c:pt>
                <c:pt idx="2869">
                  <c:v>5.9325094367185844</c:v>
                </c:pt>
                <c:pt idx="2870">
                  <c:v>4.9014595754155446</c:v>
                </c:pt>
                <c:pt idx="2871">
                  <c:v>6.9637479509646596</c:v>
                </c:pt>
                <c:pt idx="2872">
                  <c:v>4.9231327576228026</c:v>
                </c:pt>
                <c:pt idx="2873">
                  <c:v>6.0077958599872803</c:v>
                </c:pt>
                <c:pt idx="2874">
                  <c:v>6.1017998546466901</c:v>
                </c:pt>
                <c:pt idx="2875">
                  <c:v>5.008947591066268</c:v>
                </c:pt>
                <c:pt idx="2876">
                  <c:v>5.9728885259541116</c:v>
                </c:pt>
                <c:pt idx="2877">
                  <c:v>5.1552439782164914</c:v>
                </c:pt>
                <c:pt idx="2878">
                  <c:v>4.8304206219878489</c:v>
                </c:pt>
                <c:pt idx="2879">
                  <c:v>6.1397422107711872</c:v>
                </c:pt>
                <c:pt idx="2880">
                  <c:v>6.1116687181186524</c:v>
                </c:pt>
                <c:pt idx="2881">
                  <c:v>5.8097615342968965</c:v>
                </c:pt>
                <c:pt idx="2882">
                  <c:v>5.0459622909538595</c:v>
                </c:pt>
                <c:pt idx="2883">
                  <c:v>5.6017887509581126</c:v>
                </c:pt>
                <c:pt idx="2884">
                  <c:v>6.9056090615372687</c:v>
                </c:pt>
                <c:pt idx="2885">
                  <c:v>4.875649856655472</c:v>
                </c:pt>
                <c:pt idx="2886">
                  <c:v>5.1223383913646225</c:v>
                </c:pt>
                <c:pt idx="2887">
                  <c:v>4.9820488002532617</c:v>
                </c:pt>
                <c:pt idx="2888">
                  <c:v>4.96348275640345</c:v>
                </c:pt>
                <c:pt idx="2889">
                  <c:v>7.0057823202157232</c:v>
                </c:pt>
                <c:pt idx="2890">
                  <c:v>5.1075251082778612</c:v>
                </c:pt>
                <c:pt idx="2891">
                  <c:v>4.9354404529603144</c:v>
                </c:pt>
                <c:pt idx="2892">
                  <c:v>6.148992393805675</c:v>
                </c:pt>
                <c:pt idx="2893">
                  <c:v>5.0249834922026286</c:v>
                </c:pt>
                <c:pt idx="2894">
                  <c:v>5.0056499575928539</c:v>
                </c:pt>
                <c:pt idx="2895">
                  <c:v>4.9829489332641925</c:v>
                </c:pt>
                <c:pt idx="2896">
                  <c:v>4.9030268743007133</c:v>
                </c:pt>
                <c:pt idx="2897">
                  <c:v>6.1967015692036433</c:v>
                </c:pt>
                <c:pt idx="2898">
                  <c:v>6.9381339802947908</c:v>
                </c:pt>
                <c:pt idx="2899">
                  <c:v>6.0619853098002556</c:v>
                </c:pt>
                <c:pt idx="2900">
                  <c:v>4.8619483063095545</c:v>
                </c:pt>
                <c:pt idx="2901">
                  <c:v>4.963517954739407</c:v>
                </c:pt>
                <c:pt idx="2902">
                  <c:v>5.9660399229940611</c:v>
                </c:pt>
                <c:pt idx="2903">
                  <c:v>6.9788986229887966</c:v>
                </c:pt>
                <c:pt idx="2904">
                  <c:v>7.0716555255776949</c:v>
                </c:pt>
                <c:pt idx="2905">
                  <c:v>5.0936499968392219</c:v>
                </c:pt>
                <c:pt idx="2906">
                  <c:v>6.125897014889226</c:v>
                </c:pt>
                <c:pt idx="2907">
                  <c:v>6.9761037796297147</c:v>
                </c:pt>
                <c:pt idx="2908">
                  <c:v>5.0067208670434331</c:v>
                </c:pt>
                <c:pt idx="2909">
                  <c:v>4.9956632407372714</c:v>
                </c:pt>
                <c:pt idx="2910">
                  <c:v>6.0329453589333006</c:v>
                </c:pt>
                <c:pt idx="2911">
                  <c:v>7.0198298641989254</c:v>
                </c:pt>
                <c:pt idx="2912">
                  <c:v>4.905863056912291</c:v>
                </c:pt>
                <c:pt idx="2913">
                  <c:v>5.0404384240951012</c:v>
                </c:pt>
                <c:pt idx="2914">
                  <c:v>5.9492519181822292</c:v>
                </c:pt>
                <c:pt idx="2915">
                  <c:v>5.0817652677880787</c:v>
                </c:pt>
                <c:pt idx="2916">
                  <c:v>5.0180621660288569</c:v>
                </c:pt>
                <c:pt idx="2917">
                  <c:v>6.9560618511466501</c:v>
                </c:pt>
                <c:pt idx="2918">
                  <c:v>5.0245730735936336</c:v>
                </c:pt>
                <c:pt idx="2919">
                  <c:v>5.1383574098352325</c:v>
                </c:pt>
                <c:pt idx="2920">
                  <c:v>6.1232976922532325</c:v>
                </c:pt>
                <c:pt idx="2921">
                  <c:v>5.0192540756905526</c:v>
                </c:pt>
                <c:pt idx="2922">
                  <c:v>5.9301647912924675</c:v>
                </c:pt>
                <c:pt idx="2923">
                  <c:v>5.0596875386437539</c:v>
                </c:pt>
                <c:pt idx="2924">
                  <c:v>5.8386039894531532</c:v>
                </c:pt>
                <c:pt idx="2925">
                  <c:v>6.1979944043807738</c:v>
                </c:pt>
                <c:pt idx="2926">
                  <c:v>5.1413949364584983</c:v>
                </c:pt>
                <c:pt idx="2927">
                  <c:v>5.9674310878643597</c:v>
                </c:pt>
                <c:pt idx="2928">
                  <c:v>5.0241066934888536</c:v>
                </c:pt>
                <c:pt idx="2929">
                  <c:v>5.9760881388882465</c:v>
                </c:pt>
                <c:pt idx="2930">
                  <c:v>5.9097380261017101</c:v>
                </c:pt>
                <c:pt idx="2931">
                  <c:v>4.892008265889757</c:v>
                </c:pt>
                <c:pt idx="2932">
                  <c:v>4.9275825378513538</c:v>
                </c:pt>
                <c:pt idx="2933">
                  <c:v>5.0562802625303469</c:v>
                </c:pt>
                <c:pt idx="2934">
                  <c:v>4.818545182284578</c:v>
                </c:pt>
                <c:pt idx="2935">
                  <c:v>5.0857536536019055</c:v>
                </c:pt>
                <c:pt idx="2936">
                  <c:v>6.0409469551921422</c:v>
                </c:pt>
                <c:pt idx="2937">
                  <c:v>4.8699735788735614</c:v>
                </c:pt>
                <c:pt idx="2938">
                  <c:v>4.9209622066097749</c:v>
                </c:pt>
                <c:pt idx="2939">
                  <c:v>3.9032332907816656</c:v>
                </c:pt>
                <c:pt idx="2940">
                  <c:v>4.9193255389468149</c:v>
                </c:pt>
                <c:pt idx="2941">
                  <c:v>5.9290804733414317</c:v>
                </c:pt>
                <c:pt idx="2942">
                  <c:v>5.9887875854379766</c:v>
                </c:pt>
                <c:pt idx="2943">
                  <c:v>4.8888152539737693</c:v>
                </c:pt>
                <c:pt idx="2944">
                  <c:v>5.0830444060228892</c:v>
                </c:pt>
                <c:pt idx="2945">
                  <c:v>4.8469075911575885</c:v>
                </c:pt>
                <c:pt idx="2946">
                  <c:v>5.8944782920973298</c:v>
                </c:pt>
                <c:pt idx="2947">
                  <c:v>6.0757437402098597</c:v>
                </c:pt>
                <c:pt idx="2948">
                  <c:v>5.8407229695124823</c:v>
                </c:pt>
                <c:pt idx="2949">
                  <c:v>4.9458884114053108</c:v>
                </c:pt>
                <c:pt idx="2950">
                  <c:v>4.9517177091993547</c:v>
                </c:pt>
                <c:pt idx="2951">
                  <c:v>6.2050173175007357</c:v>
                </c:pt>
                <c:pt idx="2952">
                  <c:v>4.8931074474657592</c:v>
                </c:pt>
                <c:pt idx="2953">
                  <c:v>6.1767108265342987</c:v>
                </c:pt>
                <c:pt idx="2954">
                  <c:v>4.8895192286047502</c:v>
                </c:pt>
                <c:pt idx="2955">
                  <c:v>5.9321357659252039</c:v>
                </c:pt>
                <c:pt idx="2956">
                  <c:v>6.0260895440517546</c:v>
                </c:pt>
                <c:pt idx="2957">
                  <c:v>6.0218450216457979</c:v>
                </c:pt>
                <c:pt idx="2958">
                  <c:v>6.0450111511169666</c:v>
                </c:pt>
                <c:pt idx="2959">
                  <c:v>5.9709909477148537</c:v>
                </c:pt>
                <c:pt idx="2960">
                  <c:v>5.9479220267201889</c:v>
                </c:pt>
                <c:pt idx="2961">
                  <c:v>4.9345107042089875</c:v>
                </c:pt>
                <c:pt idx="2962">
                  <c:v>4.8867799825411566</c:v>
                </c:pt>
                <c:pt idx="2963">
                  <c:v>4.9638366318085145</c:v>
                </c:pt>
                <c:pt idx="2964">
                  <c:v>6.1444920552531626</c:v>
                </c:pt>
                <c:pt idx="2965">
                  <c:v>4.9662499538727678</c:v>
                </c:pt>
                <c:pt idx="2966">
                  <c:v>4.8857799875696815</c:v>
                </c:pt>
                <c:pt idx="2967">
                  <c:v>5.0959104390189411</c:v>
                </c:pt>
                <c:pt idx="2968">
                  <c:v>4.9687422386951647</c:v>
                </c:pt>
                <c:pt idx="2969">
                  <c:v>5.7312775628434451</c:v>
                </c:pt>
                <c:pt idx="2970">
                  <c:v>5.9116562012025522</c:v>
                </c:pt>
                <c:pt idx="2971">
                  <c:v>5.0206328060219523</c:v>
                </c:pt>
                <c:pt idx="2972">
                  <c:v>4.8777787602622906</c:v>
                </c:pt>
                <c:pt idx="2973">
                  <c:v>6.0863734297576411</c:v>
                </c:pt>
                <c:pt idx="2974">
                  <c:v>5.874241660513257</c:v>
                </c:pt>
                <c:pt idx="2975">
                  <c:v>5.9861899815068833</c:v>
                </c:pt>
                <c:pt idx="2976">
                  <c:v>5.109243874640276</c:v>
                </c:pt>
                <c:pt idx="2977">
                  <c:v>5.8096743831078319</c:v>
                </c:pt>
                <c:pt idx="2978">
                  <c:v>6.0064917735407093</c:v>
                </c:pt>
                <c:pt idx="2979">
                  <c:v>5.931564205971501</c:v>
                </c:pt>
                <c:pt idx="2980">
                  <c:v>5.0819653782712857</c:v>
                </c:pt>
                <c:pt idx="2981">
                  <c:v>5.0443851650820868</c:v>
                </c:pt>
                <c:pt idx="2982">
                  <c:v>5.193843136586235</c:v>
                </c:pt>
                <c:pt idx="2983">
                  <c:v>6.1677016278124963</c:v>
                </c:pt>
                <c:pt idx="2984">
                  <c:v>4.8539782620645147</c:v>
                </c:pt>
                <c:pt idx="2985">
                  <c:v>4.9517506665105424</c:v>
                </c:pt>
                <c:pt idx="2986">
                  <c:v>5.1150743928150346</c:v>
                </c:pt>
                <c:pt idx="2987">
                  <c:v>4.7574386320052584</c:v>
                </c:pt>
                <c:pt idx="2988">
                  <c:v>5.0913291252602066</c:v>
                </c:pt>
                <c:pt idx="2989">
                  <c:v>6.1357508997813648</c:v>
                </c:pt>
                <c:pt idx="2990">
                  <c:v>4.9964791885364415</c:v>
                </c:pt>
                <c:pt idx="2991">
                  <c:v>6.0487166010749043</c:v>
                </c:pt>
                <c:pt idx="2992">
                  <c:v>5.0532062828564781</c:v>
                </c:pt>
                <c:pt idx="2993">
                  <c:v>5.0433915545234251</c:v>
                </c:pt>
                <c:pt idx="2994">
                  <c:v>6.0502945759139575</c:v>
                </c:pt>
                <c:pt idx="2995">
                  <c:v>6.1173824866224606</c:v>
                </c:pt>
                <c:pt idx="2996">
                  <c:v>6.0373141824889194</c:v>
                </c:pt>
                <c:pt idx="2997">
                  <c:v>5.1736675318943988</c:v>
                </c:pt>
                <c:pt idx="2998">
                  <c:v>5.104219345512603</c:v>
                </c:pt>
                <c:pt idx="2999">
                  <c:v>4.9530183945985309</c:v>
                </c:pt>
                <c:pt idx="3000">
                  <c:v>5.0136228609982494</c:v>
                </c:pt>
                <c:pt idx="3001">
                  <c:v>5.9688464242601977</c:v>
                </c:pt>
                <c:pt idx="3002">
                  <c:v>5.9628702564721632</c:v>
                </c:pt>
                <c:pt idx="3003">
                  <c:v>5.7841462993714412</c:v>
                </c:pt>
                <c:pt idx="3004">
                  <c:v>5.1169793677571702</c:v>
                </c:pt>
                <c:pt idx="3005">
                  <c:v>4.9892799765676203</c:v>
                </c:pt>
                <c:pt idx="3006">
                  <c:v>6.0888098975381926</c:v>
                </c:pt>
                <c:pt idx="3007">
                  <c:v>6.0481156096598276</c:v>
                </c:pt>
                <c:pt idx="3008">
                  <c:v>4.999787561404295</c:v>
                </c:pt>
                <c:pt idx="3009">
                  <c:v>6.0841350901568081</c:v>
                </c:pt>
                <c:pt idx="3010">
                  <c:v>5.9684544888300692</c:v>
                </c:pt>
                <c:pt idx="3011">
                  <c:v>5.0870028359950723</c:v>
                </c:pt>
                <c:pt idx="3012">
                  <c:v>5.9834479528475928</c:v>
                </c:pt>
                <c:pt idx="3013">
                  <c:v>6.1144871787684583</c:v>
                </c:pt>
                <c:pt idx="3014">
                  <c:v>5.9971792222490876</c:v>
                </c:pt>
                <c:pt idx="3015">
                  <c:v>4.8682342557684226</c:v>
                </c:pt>
                <c:pt idx="3016">
                  <c:v>4.8746512354316707</c:v>
                </c:pt>
                <c:pt idx="3017">
                  <c:v>4.8409680602118765</c:v>
                </c:pt>
                <c:pt idx="3018">
                  <c:v>6.0265399970627165</c:v>
                </c:pt>
                <c:pt idx="3019">
                  <c:v>4.9928539830874978</c:v>
                </c:pt>
                <c:pt idx="3020">
                  <c:v>6.089791800071569</c:v>
                </c:pt>
                <c:pt idx="3021">
                  <c:v>6.0174645801363127</c:v>
                </c:pt>
                <c:pt idx="3022">
                  <c:v>4.9234010270288007</c:v>
                </c:pt>
                <c:pt idx="3023">
                  <c:v>5.0826783352618499</c:v>
                </c:pt>
                <c:pt idx="3024">
                  <c:v>5.0559740580380108</c:v>
                </c:pt>
                <c:pt idx="3025">
                  <c:v>6.1112700158625319</c:v>
                </c:pt>
                <c:pt idx="3026">
                  <c:v>5.7752595366751809</c:v>
                </c:pt>
                <c:pt idx="3027">
                  <c:v>5.9665880384078669</c:v>
                </c:pt>
                <c:pt idx="3028">
                  <c:v>4.9895250271598321</c:v>
                </c:pt>
                <c:pt idx="3029">
                  <c:v>4.9784488941624234</c:v>
                </c:pt>
                <c:pt idx="3030">
                  <c:v>4.9815032897103446</c:v>
                </c:pt>
                <c:pt idx="3031">
                  <c:v>4.8785555474562949</c:v>
                </c:pt>
                <c:pt idx="3032">
                  <c:v>6.1427370979617129</c:v>
                </c:pt>
                <c:pt idx="3033">
                  <c:v>5.0294513295842469</c:v>
                </c:pt>
                <c:pt idx="3034">
                  <c:v>5.830853242525281</c:v>
                </c:pt>
                <c:pt idx="3035">
                  <c:v>5.0780389708028038</c:v>
                </c:pt>
                <c:pt idx="3036">
                  <c:v>4.9505081761825016</c:v>
                </c:pt>
                <c:pt idx="3037">
                  <c:v>6.1734209170173466</c:v>
                </c:pt>
                <c:pt idx="3038">
                  <c:v>6.0945572192069548</c:v>
                </c:pt>
                <c:pt idx="3039">
                  <c:v>4.0084647361630248</c:v>
                </c:pt>
                <c:pt idx="3040">
                  <c:v>5.0523016788658612</c:v>
                </c:pt>
                <c:pt idx="3041">
                  <c:v>4.91675697452854</c:v>
                </c:pt>
                <c:pt idx="3042">
                  <c:v>6.0452370329441223</c:v>
                </c:pt>
                <c:pt idx="3043">
                  <c:v>5.072621405645557</c:v>
                </c:pt>
                <c:pt idx="3044">
                  <c:v>4.9283634937607541</c:v>
                </c:pt>
                <c:pt idx="3045">
                  <c:v>5.0551994446588706</c:v>
                </c:pt>
                <c:pt idx="3046">
                  <c:v>5.1311937166072186</c:v>
                </c:pt>
                <c:pt idx="3047">
                  <c:v>6.0315350504810539</c:v>
                </c:pt>
                <c:pt idx="3048">
                  <c:v>6.0042553840580313</c:v>
                </c:pt>
                <c:pt idx="3049">
                  <c:v>4.6495444375815191</c:v>
                </c:pt>
                <c:pt idx="3050">
                  <c:v>5.0164956693811309</c:v>
                </c:pt>
                <c:pt idx="3051">
                  <c:v>5.9455085377012287</c:v>
                </c:pt>
                <c:pt idx="3052">
                  <c:v>5.7812715587096246</c:v>
                </c:pt>
                <c:pt idx="3053">
                  <c:v>5.1678290061982253</c:v>
                </c:pt>
                <c:pt idx="3054">
                  <c:v>5.02973562231288</c:v>
                </c:pt>
                <c:pt idx="3055">
                  <c:v>4.8796010327735813</c:v>
                </c:pt>
                <c:pt idx="3056">
                  <c:v>5.0413804094136285</c:v>
                </c:pt>
                <c:pt idx="3057">
                  <c:v>5.8895297181617874</c:v>
                </c:pt>
                <c:pt idx="3058">
                  <c:v>5.0828374205656672</c:v>
                </c:pt>
                <c:pt idx="3059">
                  <c:v>5.986112219121388</c:v>
                </c:pt>
                <c:pt idx="3060">
                  <c:v>6.1396289750241664</c:v>
                </c:pt>
                <c:pt idx="3061">
                  <c:v>5.7955633897386756</c:v>
                </c:pt>
                <c:pt idx="3062">
                  <c:v>4.9536775016220957</c:v>
                </c:pt>
                <c:pt idx="3063">
                  <c:v>5.9648799135558059</c:v>
                </c:pt>
                <c:pt idx="3064">
                  <c:v>5.0348184657764286</c:v>
                </c:pt>
                <c:pt idx="3065">
                  <c:v>6.0646475832774591</c:v>
                </c:pt>
                <c:pt idx="3066">
                  <c:v>5.0021791288001278</c:v>
                </c:pt>
                <c:pt idx="3067">
                  <c:v>5.9318697540166836</c:v>
                </c:pt>
                <c:pt idx="3068">
                  <c:v>5.0721205435648793</c:v>
                </c:pt>
                <c:pt idx="3069">
                  <c:v>5.1204007673582241</c:v>
                </c:pt>
                <c:pt idx="3070">
                  <c:v>6.1464262242771879</c:v>
                </c:pt>
                <c:pt idx="3071">
                  <c:v>4.9308306519422906</c:v>
                </c:pt>
                <c:pt idx="3072">
                  <c:v>6.1176229716791362</c:v>
                </c:pt>
                <c:pt idx="3073">
                  <c:v>5.0560637921248466</c:v>
                </c:pt>
                <c:pt idx="3074">
                  <c:v>4.8227622579600302</c:v>
                </c:pt>
                <c:pt idx="3075">
                  <c:v>5.8978036321624634</c:v>
                </c:pt>
                <c:pt idx="3076">
                  <c:v>5.8553295479539678</c:v>
                </c:pt>
                <c:pt idx="3077">
                  <c:v>5.1384303538077791</c:v>
                </c:pt>
                <c:pt idx="3078">
                  <c:v>5.0415496488869778</c:v>
                </c:pt>
                <c:pt idx="3079">
                  <c:v>4.8972121373363402</c:v>
                </c:pt>
                <c:pt idx="3080">
                  <c:v>4.9737354331990389</c:v>
                </c:pt>
                <c:pt idx="3081">
                  <c:v>5.1107373651577293</c:v>
                </c:pt>
                <c:pt idx="3082">
                  <c:v>4.8752015090494929</c:v>
                </c:pt>
                <c:pt idx="3083">
                  <c:v>5.0809849092070181</c:v>
                </c:pt>
                <c:pt idx="3084">
                  <c:v>4.933450353971339</c:v>
                </c:pt>
                <c:pt idx="3085">
                  <c:v>6.85809939002338</c:v>
                </c:pt>
                <c:pt idx="3086">
                  <c:v>5.1685460188382697</c:v>
                </c:pt>
                <c:pt idx="3087">
                  <c:v>5.9730710665126407</c:v>
                </c:pt>
                <c:pt idx="3088">
                  <c:v>3.9835324160956116</c:v>
                </c:pt>
                <c:pt idx="3089">
                  <c:v>5.1439258993317551</c:v>
                </c:pt>
                <c:pt idx="3090">
                  <c:v>4.9223128018624935</c:v>
                </c:pt>
                <c:pt idx="3091">
                  <c:v>6.0691681866951868</c:v>
                </c:pt>
                <c:pt idx="3092">
                  <c:v>4.8696740104071656</c:v>
                </c:pt>
                <c:pt idx="3093">
                  <c:v>6.0698451894303496</c:v>
                </c:pt>
                <c:pt idx="3094">
                  <c:v>5.9528397076534265</c:v>
                </c:pt>
                <c:pt idx="3095">
                  <c:v>4.9223428469931507</c:v>
                </c:pt>
                <c:pt idx="3096">
                  <c:v>3.7957362477976408</c:v>
                </c:pt>
                <c:pt idx="3097">
                  <c:v>4.966167961061621</c:v>
                </c:pt>
                <c:pt idx="3098">
                  <c:v>5.0048679905664262</c:v>
                </c:pt>
                <c:pt idx="3099">
                  <c:v>6.0925605946355459</c:v>
                </c:pt>
                <c:pt idx="3100">
                  <c:v>5.0993062276918248</c:v>
                </c:pt>
                <c:pt idx="3101">
                  <c:v>6.0309818080215702</c:v>
                </c:pt>
                <c:pt idx="3102">
                  <c:v>4.9403750766116454</c:v>
                </c:pt>
                <c:pt idx="3103">
                  <c:v>6.1350486330822429</c:v>
                </c:pt>
                <c:pt idx="3104">
                  <c:v>6.9204307649185646</c:v>
                </c:pt>
                <c:pt idx="3105">
                  <c:v>5.0016072431254477</c:v>
                </c:pt>
                <c:pt idx="3106">
                  <c:v>5.0644193554298802</c:v>
                </c:pt>
                <c:pt idx="3107">
                  <c:v>5.9281071269822148</c:v>
                </c:pt>
                <c:pt idx="3108">
                  <c:v>3.044502515767967</c:v>
                </c:pt>
                <c:pt idx="3109">
                  <c:v>6.1487810824817783</c:v>
                </c:pt>
                <c:pt idx="3110">
                  <c:v>5.9837925874843263</c:v>
                </c:pt>
                <c:pt idx="3111">
                  <c:v>7.0247053125195889</c:v>
                </c:pt>
                <c:pt idx="3112">
                  <c:v>6.1110279815590669</c:v>
                </c:pt>
                <c:pt idx="3113">
                  <c:v>2.0120504609962389</c:v>
                </c:pt>
                <c:pt idx="3114">
                  <c:v>4.9690895889441347</c:v>
                </c:pt>
                <c:pt idx="3115">
                  <c:v>5.1429589049825193</c:v>
                </c:pt>
                <c:pt idx="3116">
                  <c:v>1.9501203725964871</c:v>
                </c:pt>
                <c:pt idx="3117">
                  <c:v>5.9643922917608121</c:v>
                </c:pt>
                <c:pt idx="3118">
                  <c:v>5.0482274104189395</c:v>
                </c:pt>
                <c:pt idx="3119">
                  <c:v>5.9493709538986623</c:v>
                </c:pt>
                <c:pt idx="3120">
                  <c:v>5.0682115262702414</c:v>
                </c:pt>
                <c:pt idx="3121">
                  <c:v>2.0151657986977329</c:v>
                </c:pt>
                <c:pt idx="3122">
                  <c:v>5.9736743683580773</c:v>
                </c:pt>
                <c:pt idx="3123">
                  <c:v>6.0246578770310952</c:v>
                </c:pt>
                <c:pt idx="3124">
                  <c:v>7.0893216516547266</c:v>
                </c:pt>
                <c:pt idx="3125">
                  <c:v>5.9771984911801974</c:v>
                </c:pt>
                <c:pt idx="3126">
                  <c:v>5.052119943962496</c:v>
                </c:pt>
                <c:pt idx="3127">
                  <c:v>4.9628247938045718</c:v>
                </c:pt>
                <c:pt idx="3128">
                  <c:v>7.1143531943091807</c:v>
                </c:pt>
                <c:pt idx="3129">
                  <c:v>4.9317393198034578</c:v>
                </c:pt>
                <c:pt idx="3130">
                  <c:v>5.8765071931060655</c:v>
                </c:pt>
                <c:pt idx="3131">
                  <c:v>6.2223388680473724</c:v>
                </c:pt>
                <c:pt idx="3132">
                  <c:v>4.9425660461557666</c:v>
                </c:pt>
                <c:pt idx="3133">
                  <c:v>5.8390731410513705</c:v>
                </c:pt>
                <c:pt idx="3134">
                  <c:v>6.7315754947929447</c:v>
                </c:pt>
                <c:pt idx="3135">
                  <c:v>4.969779865486541</c:v>
                </c:pt>
                <c:pt idx="3136">
                  <c:v>5.8773895293998555</c:v>
                </c:pt>
                <c:pt idx="3137">
                  <c:v>5.0784576891512634</c:v>
                </c:pt>
                <c:pt idx="3138">
                  <c:v>5.9547643362628664</c:v>
                </c:pt>
                <c:pt idx="3139">
                  <c:v>7.0294427613976485</c:v>
                </c:pt>
                <c:pt idx="3140">
                  <c:v>6.8209027353597529</c:v>
                </c:pt>
                <c:pt idx="3141">
                  <c:v>5.0773697406659348</c:v>
                </c:pt>
                <c:pt idx="3142">
                  <c:v>5.004735590826539</c:v>
                </c:pt>
                <c:pt idx="3143">
                  <c:v>5.9415582764780499</c:v>
                </c:pt>
                <c:pt idx="3144">
                  <c:v>6.1247538788857003</c:v>
                </c:pt>
                <c:pt idx="3145">
                  <c:v>6.0006792921565175</c:v>
                </c:pt>
                <c:pt idx="3146">
                  <c:v>5.9270136771546165</c:v>
                </c:pt>
                <c:pt idx="3147">
                  <c:v>4.9294684462451874</c:v>
                </c:pt>
                <c:pt idx="3148">
                  <c:v>6.0317942369888824</c:v>
                </c:pt>
                <c:pt idx="3149">
                  <c:v>7.1268308639443978</c:v>
                </c:pt>
                <c:pt idx="3150">
                  <c:v>5.1981891218126126</c:v>
                </c:pt>
                <c:pt idx="3151">
                  <c:v>6.0745049909906754</c:v>
                </c:pt>
                <c:pt idx="3152">
                  <c:v>5.0082161353620087</c:v>
                </c:pt>
                <c:pt idx="3153">
                  <c:v>5.1711494151552477</c:v>
                </c:pt>
                <c:pt idx="3154">
                  <c:v>5.0254948701616504</c:v>
                </c:pt>
                <c:pt idx="3155">
                  <c:v>5.0789078699107018</c:v>
                </c:pt>
                <c:pt idx="3156">
                  <c:v>4.8775384720723522</c:v>
                </c:pt>
                <c:pt idx="3157">
                  <c:v>6.0318730087856771</c:v>
                </c:pt>
                <c:pt idx="3158">
                  <c:v>4.0004578595790017</c:v>
                </c:pt>
                <c:pt idx="3159">
                  <c:v>7.0894765041473429</c:v>
                </c:pt>
                <c:pt idx="3160">
                  <c:v>3.9123309861812507</c:v>
                </c:pt>
                <c:pt idx="3161">
                  <c:v>4.9069234146238792</c:v>
                </c:pt>
                <c:pt idx="3162">
                  <c:v>5.1569758255884324</c:v>
                </c:pt>
                <c:pt idx="3163">
                  <c:v>5.995740790450272</c:v>
                </c:pt>
                <c:pt idx="3164">
                  <c:v>4.9646321915326475</c:v>
                </c:pt>
                <c:pt idx="3165">
                  <c:v>4.9323367384300409</c:v>
                </c:pt>
                <c:pt idx="3166">
                  <c:v>5.0243879812769654</c:v>
                </c:pt>
                <c:pt idx="3167">
                  <c:v>5.1121796270948794</c:v>
                </c:pt>
                <c:pt idx="3168">
                  <c:v>6.9644571470069883</c:v>
                </c:pt>
                <c:pt idx="3169">
                  <c:v>4.9055322837360515</c:v>
                </c:pt>
                <c:pt idx="3170">
                  <c:v>4.880839157472054</c:v>
                </c:pt>
                <c:pt idx="3171">
                  <c:v>4.7485175775521249</c:v>
                </c:pt>
                <c:pt idx="3172">
                  <c:v>5.2273107223857371</c:v>
                </c:pt>
                <c:pt idx="3173">
                  <c:v>5.0138217737712951</c:v>
                </c:pt>
                <c:pt idx="3174">
                  <c:v>5.9630753942229227</c:v>
                </c:pt>
                <c:pt idx="3175">
                  <c:v>4.8151361712564116</c:v>
                </c:pt>
                <c:pt idx="3176">
                  <c:v>4.9717572401782038</c:v>
                </c:pt>
                <c:pt idx="3177">
                  <c:v>5.0813792834656839</c:v>
                </c:pt>
                <c:pt idx="3178">
                  <c:v>4.9284480661231118</c:v>
                </c:pt>
                <c:pt idx="3179">
                  <c:v>6.1947627481410006</c:v>
                </c:pt>
                <c:pt idx="3180">
                  <c:v>5.9622839704668937</c:v>
                </c:pt>
                <c:pt idx="3181">
                  <c:v>5.0041742004570056</c:v>
                </c:pt>
                <c:pt idx="3182">
                  <c:v>6.9792183348791177</c:v>
                </c:pt>
                <c:pt idx="3183">
                  <c:v>6.0159419337223969</c:v>
                </c:pt>
                <c:pt idx="3184">
                  <c:v>7.0334694640591602</c:v>
                </c:pt>
                <c:pt idx="3185">
                  <c:v>5.1143661605418282</c:v>
                </c:pt>
                <c:pt idx="3186">
                  <c:v>5.1289045163578928</c:v>
                </c:pt>
                <c:pt idx="3187">
                  <c:v>5.9806892129348599</c:v>
                </c:pt>
                <c:pt idx="3188">
                  <c:v>5.0246594507505229</c:v>
                </c:pt>
                <c:pt idx="3189">
                  <c:v>5.8759415565638156</c:v>
                </c:pt>
                <c:pt idx="3190">
                  <c:v>4.9389362497397897</c:v>
                </c:pt>
                <c:pt idx="3191">
                  <c:v>4.9504954538764956</c:v>
                </c:pt>
                <c:pt idx="3192">
                  <c:v>6.0160487451528528</c:v>
                </c:pt>
                <c:pt idx="3193">
                  <c:v>5.9092915315105241</c:v>
                </c:pt>
                <c:pt idx="3194">
                  <c:v>4.8827470912132291</c:v>
                </c:pt>
                <c:pt idx="3195">
                  <c:v>5.0080559803567102</c:v>
                </c:pt>
                <c:pt idx="3196">
                  <c:v>6.7794179863662549</c:v>
                </c:pt>
                <c:pt idx="3197">
                  <c:v>5.0954766991707672</c:v>
                </c:pt>
                <c:pt idx="3198">
                  <c:v>6.0378921324573822</c:v>
                </c:pt>
                <c:pt idx="3199">
                  <c:v>6.9383656811045302</c:v>
                </c:pt>
                <c:pt idx="3200">
                  <c:v>4.9809282489560252</c:v>
                </c:pt>
                <c:pt idx="3201">
                  <c:v>5.1278392411238567</c:v>
                </c:pt>
                <c:pt idx="3202">
                  <c:v>5.8998474380631496</c:v>
                </c:pt>
                <c:pt idx="3203">
                  <c:v>4.8361955433020061</c:v>
                </c:pt>
                <c:pt idx="3204">
                  <c:v>4.8146560294032827</c:v>
                </c:pt>
                <c:pt idx="3205">
                  <c:v>5.0146292960375911</c:v>
                </c:pt>
                <c:pt idx="3206">
                  <c:v>5.0426782758996023</c:v>
                </c:pt>
                <c:pt idx="3207">
                  <c:v>5.9027360998097151</c:v>
                </c:pt>
                <c:pt idx="3208">
                  <c:v>5.7336051344263854</c:v>
                </c:pt>
                <c:pt idx="3209">
                  <c:v>6.0122811937052356</c:v>
                </c:pt>
                <c:pt idx="3210">
                  <c:v>5.9319937730338639</c:v>
                </c:pt>
                <c:pt idx="3211">
                  <c:v>5.07719644203575</c:v>
                </c:pt>
                <c:pt idx="3212">
                  <c:v>5.9204238418083062</c:v>
                </c:pt>
                <c:pt idx="3213">
                  <c:v>5.0194070133407029</c:v>
                </c:pt>
                <c:pt idx="3214">
                  <c:v>4.9545489644941005</c:v>
                </c:pt>
                <c:pt idx="3215">
                  <c:v>5.0137543640225033</c:v>
                </c:pt>
                <c:pt idx="3216">
                  <c:v>4.9208068719151399</c:v>
                </c:pt>
                <c:pt idx="3217">
                  <c:v>5.8724098235081383</c:v>
                </c:pt>
                <c:pt idx="3218">
                  <c:v>6.0395657060564378</c:v>
                </c:pt>
                <c:pt idx="3219">
                  <c:v>5.0454666454252619</c:v>
                </c:pt>
                <c:pt idx="3220">
                  <c:v>4.9197052345020875</c:v>
                </c:pt>
                <c:pt idx="3221">
                  <c:v>5.011888294136587</c:v>
                </c:pt>
                <c:pt idx="3222">
                  <c:v>4.9925523335469615</c:v>
                </c:pt>
                <c:pt idx="3223">
                  <c:v>5.0046380317481063</c:v>
                </c:pt>
                <c:pt idx="3224">
                  <c:v>5.0495076891636792</c:v>
                </c:pt>
                <c:pt idx="3225">
                  <c:v>4.9171593157475</c:v>
                </c:pt>
                <c:pt idx="3226">
                  <c:v>4.7733157332284737</c:v>
                </c:pt>
                <c:pt idx="3227">
                  <c:v>5.0701046947392188</c:v>
                </c:pt>
                <c:pt idx="3228">
                  <c:v>5.9211693587466945</c:v>
                </c:pt>
                <c:pt idx="3229">
                  <c:v>5.9245478912605822</c:v>
                </c:pt>
                <c:pt idx="3230">
                  <c:v>4.926030847292302</c:v>
                </c:pt>
                <c:pt idx="3231">
                  <c:v>4.8396418146813547</c:v>
                </c:pt>
                <c:pt idx="3232">
                  <c:v>5.0847948515285939</c:v>
                </c:pt>
                <c:pt idx="3233">
                  <c:v>5.0829854293317709</c:v>
                </c:pt>
                <c:pt idx="3234">
                  <c:v>4.9297413662631175</c:v>
                </c:pt>
                <c:pt idx="3235">
                  <c:v>5.0532484177936565</c:v>
                </c:pt>
                <c:pt idx="3236">
                  <c:v>5.7779848882831342</c:v>
                </c:pt>
                <c:pt idx="3237">
                  <c:v>6.0068377119969725</c:v>
                </c:pt>
                <c:pt idx="3238">
                  <c:v>6.0641596835949745</c:v>
                </c:pt>
                <c:pt idx="3239">
                  <c:v>5.1459039910132836</c:v>
                </c:pt>
                <c:pt idx="3240">
                  <c:v>4.9827669096602278</c:v>
                </c:pt>
                <c:pt idx="3241">
                  <c:v>6.1521092848467651</c:v>
                </c:pt>
                <c:pt idx="3242">
                  <c:v>5.0887263905087581</c:v>
                </c:pt>
                <c:pt idx="3243">
                  <c:v>5.0421599666686578</c:v>
                </c:pt>
                <c:pt idx="3244">
                  <c:v>4.9890399087475963</c:v>
                </c:pt>
                <c:pt idx="3245">
                  <c:v>6.0057703575299115</c:v>
                </c:pt>
                <c:pt idx="3246">
                  <c:v>4.9941073000951581</c:v>
                </c:pt>
                <c:pt idx="3247">
                  <c:v>4.7704496102120615</c:v>
                </c:pt>
                <c:pt idx="3248">
                  <c:v>5.0601972580178947</c:v>
                </c:pt>
                <c:pt idx="3249">
                  <c:v>6.0678866311397393</c:v>
                </c:pt>
                <c:pt idx="3250">
                  <c:v>5.0569958636713439</c:v>
                </c:pt>
                <c:pt idx="3251">
                  <c:v>5.0174436806610281</c:v>
                </c:pt>
                <c:pt idx="3252">
                  <c:v>5.073853377331079</c:v>
                </c:pt>
                <c:pt idx="3253">
                  <c:v>5.0082690976194151</c:v>
                </c:pt>
                <c:pt idx="3254">
                  <c:v>6.112602344441421</c:v>
                </c:pt>
                <c:pt idx="3255">
                  <c:v>6.0721405943614863</c:v>
                </c:pt>
                <c:pt idx="3256">
                  <c:v>5.9220067888104317</c:v>
                </c:pt>
                <c:pt idx="3257">
                  <c:v>5.0133202927463305</c:v>
                </c:pt>
                <c:pt idx="3258">
                  <c:v>5.0928392497621058</c:v>
                </c:pt>
                <c:pt idx="3259">
                  <c:v>5.9706978924360161</c:v>
                </c:pt>
                <c:pt idx="3260">
                  <c:v>6.1598807359154097</c:v>
                </c:pt>
                <c:pt idx="3261">
                  <c:v>4.9362116746919673</c:v>
                </c:pt>
                <c:pt idx="3262">
                  <c:v>6.086926288083732</c:v>
                </c:pt>
                <c:pt idx="3263">
                  <c:v>7.0727462723487688</c:v>
                </c:pt>
                <c:pt idx="3264">
                  <c:v>5.0402124460231477</c:v>
                </c:pt>
                <c:pt idx="3265">
                  <c:v>5.0584426236875508</c:v>
                </c:pt>
                <c:pt idx="3266">
                  <c:v>5.9758360326710793</c:v>
                </c:pt>
                <c:pt idx="3267">
                  <c:v>4.9014605297018123</c:v>
                </c:pt>
                <c:pt idx="3268">
                  <c:v>4.9198877198744313</c:v>
                </c:pt>
                <c:pt idx="3269">
                  <c:v>6.2142250341082015</c:v>
                </c:pt>
                <c:pt idx="3270">
                  <c:v>7.016849462993723</c:v>
                </c:pt>
                <c:pt idx="3271">
                  <c:v>4.9612617276271012</c:v>
                </c:pt>
                <c:pt idx="3272">
                  <c:v>6.1270422395790334</c:v>
                </c:pt>
                <c:pt idx="3273">
                  <c:v>4.9202338754618316</c:v>
                </c:pt>
                <c:pt idx="3274">
                  <c:v>5.0770370077296914</c:v>
                </c:pt>
                <c:pt idx="3275">
                  <c:v>5.0647160505548836</c:v>
                </c:pt>
                <c:pt idx="3276">
                  <c:v>4.912959959877357</c:v>
                </c:pt>
                <c:pt idx="3277">
                  <c:v>5.9840344514663082</c:v>
                </c:pt>
                <c:pt idx="3278">
                  <c:v>4.9787954316430136</c:v>
                </c:pt>
                <c:pt idx="3279">
                  <c:v>5.0959065036353062</c:v>
                </c:pt>
                <c:pt idx="3280">
                  <c:v>4.9858332569565311</c:v>
                </c:pt>
                <c:pt idx="3281">
                  <c:v>6.1102397290716777</c:v>
                </c:pt>
                <c:pt idx="3282">
                  <c:v>5.0878427450970225</c:v>
                </c:pt>
                <c:pt idx="3283">
                  <c:v>5.935681689005829</c:v>
                </c:pt>
                <c:pt idx="3284">
                  <c:v>6.1062524220405772</c:v>
                </c:pt>
                <c:pt idx="3285">
                  <c:v>5.0680159415917982</c:v>
                </c:pt>
                <c:pt idx="3286">
                  <c:v>5.0457699154527624</c:v>
                </c:pt>
                <c:pt idx="3287">
                  <c:v>6.0062759243854664</c:v>
                </c:pt>
                <c:pt idx="3288">
                  <c:v>5.0595690670647322</c:v>
                </c:pt>
                <c:pt idx="3289">
                  <c:v>5.1584890435460391</c:v>
                </c:pt>
                <c:pt idx="3290">
                  <c:v>5.094462195108366</c:v>
                </c:pt>
                <c:pt idx="3291">
                  <c:v>4.8817052802211451</c:v>
                </c:pt>
                <c:pt idx="3292">
                  <c:v>5.0640200778038036</c:v>
                </c:pt>
                <c:pt idx="3293">
                  <c:v>5.9877007004569283</c:v>
                </c:pt>
                <c:pt idx="3294">
                  <c:v>5.1236922845063715</c:v>
                </c:pt>
                <c:pt idx="3295">
                  <c:v>5.0289938571772659</c:v>
                </c:pt>
                <c:pt idx="3296">
                  <c:v>5.900465557765763</c:v>
                </c:pt>
                <c:pt idx="3297">
                  <c:v>4.8899241404823321</c:v>
                </c:pt>
                <c:pt idx="3298">
                  <c:v>4.8787246439503171</c:v>
                </c:pt>
                <c:pt idx="3299">
                  <c:v>4.8360982759062772</c:v>
                </c:pt>
                <c:pt idx="3300">
                  <c:v>4.9109434449124416</c:v>
                </c:pt>
                <c:pt idx="3301">
                  <c:v>6.1067567242531515</c:v>
                </c:pt>
                <c:pt idx="3302">
                  <c:v>4.9768601226388842</c:v>
                </c:pt>
                <c:pt idx="3303">
                  <c:v>4.9843552779073068</c:v>
                </c:pt>
                <c:pt idx="3304">
                  <c:v>4.991044934248384</c:v>
                </c:pt>
                <c:pt idx="3305">
                  <c:v>4.9802013327852652</c:v>
                </c:pt>
                <c:pt idx="3306">
                  <c:v>6.241554493008187</c:v>
                </c:pt>
                <c:pt idx="3307">
                  <c:v>4.8403866462638545</c:v>
                </c:pt>
                <c:pt idx="3308">
                  <c:v>5.0196913361377735</c:v>
                </c:pt>
                <c:pt idx="3309">
                  <c:v>5.0277352027508444</c:v>
                </c:pt>
                <c:pt idx="3310">
                  <c:v>6.101227512457946</c:v>
                </c:pt>
                <c:pt idx="3311">
                  <c:v>6.1962998100959004</c:v>
                </c:pt>
                <c:pt idx="3312">
                  <c:v>6.0416299789721819</c:v>
                </c:pt>
                <c:pt idx="3313">
                  <c:v>5.0227679078365748</c:v>
                </c:pt>
                <c:pt idx="3314">
                  <c:v>5.0185456775918187</c:v>
                </c:pt>
                <c:pt idx="3315">
                  <c:v>7.1151087972039218</c:v>
                </c:pt>
                <c:pt idx="3316">
                  <c:v>5.1067569670710569</c:v>
                </c:pt>
                <c:pt idx="3317">
                  <c:v>5.1993390718766817</c:v>
                </c:pt>
                <c:pt idx="3318">
                  <c:v>6.0015579943093886</c:v>
                </c:pt>
                <c:pt idx="3319">
                  <c:v>4.8613566950834226</c:v>
                </c:pt>
                <c:pt idx="3320">
                  <c:v>5.9458458710683928</c:v>
                </c:pt>
                <c:pt idx="3321">
                  <c:v>4.9444231144620696</c:v>
                </c:pt>
                <c:pt idx="3322">
                  <c:v>5.9408779673245737</c:v>
                </c:pt>
                <c:pt idx="3323">
                  <c:v>5.0101000602853132</c:v>
                </c:pt>
                <c:pt idx="3324">
                  <c:v>5.0401460526684101</c:v>
                </c:pt>
                <c:pt idx="3325">
                  <c:v>4.9557478594427185</c:v>
                </c:pt>
                <c:pt idx="3326">
                  <c:v>6.0349152527579291</c:v>
                </c:pt>
                <c:pt idx="3327">
                  <c:v>5.9741148514725166</c:v>
                </c:pt>
                <c:pt idx="3328">
                  <c:v>4.8518220406522587</c:v>
                </c:pt>
                <c:pt idx="3329">
                  <c:v>6.0943009073697691</c:v>
                </c:pt>
                <c:pt idx="3330">
                  <c:v>5.9374525387135781</c:v>
                </c:pt>
                <c:pt idx="3331">
                  <c:v>4.948060602694448</c:v>
                </c:pt>
                <c:pt idx="3332">
                  <c:v>6.1676803479470683</c:v>
                </c:pt>
                <c:pt idx="3333">
                  <c:v>5.0485031259486703</c:v>
                </c:pt>
                <c:pt idx="3334">
                  <c:v>4.8796668357453603</c:v>
                </c:pt>
                <c:pt idx="3335">
                  <c:v>5.0667564626265786</c:v>
                </c:pt>
                <c:pt idx="3336">
                  <c:v>5.1124629690054659</c:v>
                </c:pt>
                <c:pt idx="3337">
                  <c:v>5.1433351762136637</c:v>
                </c:pt>
                <c:pt idx="3338">
                  <c:v>4.8356097413729868</c:v>
                </c:pt>
                <c:pt idx="3339">
                  <c:v>5.0120694520417253</c:v>
                </c:pt>
                <c:pt idx="3340">
                  <c:v>4.9474361362265027</c:v>
                </c:pt>
                <c:pt idx="3341">
                  <c:v>5.1425248176913376</c:v>
                </c:pt>
                <c:pt idx="3342">
                  <c:v>5.9502268082747198</c:v>
                </c:pt>
                <c:pt idx="3343">
                  <c:v>5.842853341376367</c:v>
                </c:pt>
                <c:pt idx="3344">
                  <c:v>5.8435387317662322</c:v>
                </c:pt>
                <c:pt idx="3345">
                  <c:v>5.0127538356277253</c:v>
                </c:pt>
                <c:pt idx="3346">
                  <c:v>6.0545655149289743</c:v>
                </c:pt>
                <c:pt idx="3347">
                  <c:v>5.9789698387180703</c:v>
                </c:pt>
                <c:pt idx="3348">
                  <c:v>4.9614720481947225</c:v>
                </c:pt>
                <c:pt idx="3349">
                  <c:v>5.9713580179423937</c:v>
                </c:pt>
                <c:pt idx="3350">
                  <c:v>4.9463542750295009</c:v>
                </c:pt>
                <c:pt idx="3351">
                  <c:v>4.9069349441470491</c:v>
                </c:pt>
                <c:pt idx="3352">
                  <c:v>6.0526601858308515</c:v>
                </c:pt>
                <c:pt idx="3353">
                  <c:v>3.0137917626950004</c:v>
                </c:pt>
                <c:pt idx="3354">
                  <c:v>5.1480449665583059</c:v>
                </c:pt>
                <c:pt idx="3355">
                  <c:v>6.0832633011922681</c:v>
                </c:pt>
                <c:pt idx="3356">
                  <c:v>4.9845152185535309</c:v>
                </c:pt>
                <c:pt idx="3357">
                  <c:v>4.9937903849868208</c:v>
                </c:pt>
                <c:pt idx="3358">
                  <c:v>5.0602246971104794</c:v>
                </c:pt>
                <c:pt idx="3359">
                  <c:v>5.9194226096994011</c:v>
                </c:pt>
                <c:pt idx="3360">
                  <c:v>4.9398980880532868</c:v>
                </c:pt>
                <c:pt idx="3361">
                  <c:v>5.0511356591061949</c:v>
                </c:pt>
                <c:pt idx="3362">
                  <c:v>5.0983999900777164</c:v>
                </c:pt>
                <c:pt idx="3363">
                  <c:v>5.8116227644942882</c:v>
                </c:pt>
                <c:pt idx="3364">
                  <c:v>5.2860288176197274</c:v>
                </c:pt>
                <c:pt idx="3365">
                  <c:v>5.0654527157151339</c:v>
                </c:pt>
                <c:pt idx="3366">
                  <c:v>5.1659574724623223</c:v>
                </c:pt>
                <c:pt idx="3367">
                  <c:v>5.0740723900742157</c:v>
                </c:pt>
                <c:pt idx="3368">
                  <c:v>4.9958377450485267</c:v>
                </c:pt>
                <c:pt idx="3369">
                  <c:v>5.155111351322442</c:v>
                </c:pt>
                <c:pt idx="3370">
                  <c:v>5.0685104055767889</c:v>
                </c:pt>
                <c:pt idx="3371">
                  <c:v>5.045436046729411</c:v>
                </c:pt>
                <c:pt idx="3372">
                  <c:v>4.9954526082115374</c:v>
                </c:pt>
                <c:pt idx="3373">
                  <c:v>4.9241413493928929</c:v>
                </c:pt>
                <c:pt idx="3374">
                  <c:v>5.7932252836849791</c:v>
                </c:pt>
                <c:pt idx="3375">
                  <c:v>5.8327110645984535</c:v>
                </c:pt>
                <c:pt idx="3376">
                  <c:v>5.0616054105357469</c:v>
                </c:pt>
                <c:pt idx="3377">
                  <c:v>5.9063029094624673</c:v>
                </c:pt>
                <c:pt idx="3378">
                  <c:v>5.9376153670588376</c:v>
                </c:pt>
                <c:pt idx="3379">
                  <c:v>4.8343594581334965</c:v>
                </c:pt>
                <c:pt idx="3380">
                  <c:v>5.0684054399985552</c:v>
                </c:pt>
                <c:pt idx="3381">
                  <c:v>5.1211909311264456</c:v>
                </c:pt>
                <c:pt idx="3382">
                  <c:v>5.055809452584203</c:v>
                </c:pt>
                <c:pt idx="3383">
                  <c:v>6.0580638670976468</c:v>
                </c:pt>
                <c:pt idx="3384">
                  <c:v>5.014265749108997</c:v>
                </c:pt>
                <c:pt idx="3385">
                  <c:v>5.1941679481513319</c:v>
                </c:pt>
                <c:pt idx="3386">
                  <c:v>4.9757067178495378</c:v>
                </c:pt>
                <c:pt idx="3387">
                  <c:v>4.9312731905444966</c:v>
                </c:pt>
                <c:pt idx="3388">
                  <c:v>5.7544124394277087</c:v>
                </c:pt>
                <c:pt idx="3389">
                  <c:v>5.0330062893472691</c:v>
                </c:pt>
                <c:pt idx="3390">
                  <c:v>4.9282103130241888</c:v>
                </c:pt>
                <c:pt idx="3391">
                  <c:v>6.0374293578587395</c:v>
                </c:pt>
                <c:pt idx="3392">
                  <c:v>4.9652635538936476</c:v>
                </c:pt>
                <c:pt idx="3393">
                  <c:v>6.0885197551787034</c:v>
                </c:pt>
                <c:pt idx="3394">
                  <c:v>5.0530629935761748</c:v>
                </c:pt>
                <c:pt idx="3395">
                  <c:v>5.0027739059334388</c:v>
                </c:pt>
                <c:pt idx="3396">
                  <c:v>4.917857636030881</c:v>
                </c:pt>
                <c:pt idx="3397">
                  <c:v>4.903517384218457</c:v>
                </c:pt>
                <c:pt idx="3398">
                  <c:v>5.0996423547302143</c:v>
                </c:pt>
                <c:pt idx="3399">
                  <c:v>4.9533512520606129</c:v>
                </c:pt>
                <c:pt idx="3400">
                  <c:v>4.9231202930271962</c:v>
                </c:pt>
                <c:pt idx="3401">
                  <c:v>5.0317039401757206</c:v>
                </c:pt>
                <c:pt idx="3402">
                  <c:v>5.0817555657441833</c:v>
                </c:pt>
                <c:pt idx="3403">
                  <c:v>5.0349317610308661</c:v>
                </c:pt>
                <c:pt idx="3404">
                  <c:v>5.0539861700181161</c:v>
                </c:pt>
                <c:pt idx="3405">
                  <c:v>5.0518084884491934</c:v>
                </c:pt>
                <c:pt idx="3406">
                  <c:v>6.1945155132076994</c:v>
                </c:pt>
                <c:pt idx="3407">
                  <c:v>5.9820520348554131</c:v>
                </c:pt>
                <c:pt idx="3408">
                  <c:v>5.9358418057719273</c:v>
                </c:pt>
                <c:pt idx="3409">
                  <c:v>5.9899057955854147</c:v>
                </c:pt>
                <c:pt idx="3410">
                  <c:v>5.1279632341902559</c:v>
                </c:pt>
                <c:pt idx="3411">
                  <c:v>5.0424394228215483</c:v>
                </c:pt>
                <c:pt idx="3412">
                  <c:v>4.9840780918756078</c:v>
                </c:pt>
                <c:pt idx="3413">
                  <c:v>4.8281353299414622</c:v>
                </c:pt>
                <c:pt idx="3414">
                  <c:v>5.176913800509281</c:v>
                </c:pt>
                <c:pt idx="3415">
                  <c:v>4.9239398142601658</c:v>
                </c:pt>
                <c:pt idx="3416">
                  <c:v>5.9071814801800686</c:v>
                </c:pt>
                <c:pt idx="3417">
                  <c:v>5.0237271025253945</c:v>
                </c:pt>
                <c:pt idx="3418">
                  <c:v>5.0009828100434017</c:v>
                </c:pt>
                <c:pt idx="3419">
                  <c:v>4.9105992894150239</c:v>
                </c:pt>
                <c:pt idx="3420">
                  <c:v>5.9740910814993713</c:v>
                </c:pt>
                <c:pt idx="3421">
                  <c:v>4.8590548652679004</c:v>
                </c:pt>
                <c:pt idx="3422">
                  <c:v>5.0804108620070245</c:v>
                </c:pt>
                <c:pt idx="3423">
                  <c:v>6.2299993989953695</c:v>
                </c:pt>
                <c:pt idx="3424">
                  <c:v>4.8729778334103839</c:v>
                </c:pt>
                <c:pt idx="3425">
                  <c:v>4.9580784582497381</c:v>
                </c:pt>
                <c:pt idx="3426">
                  <c:v>4.9621643657051706</c:v>
                </c:pt>
                <c:pt idx="3427">
                  <c:v>5.0915944160358331</c:v>
                </c:pt>
                <c:pt idx="3428">
                  <c:v>6.2516033571012528</c:v>
                </c:pt>
                <c:pt idx="3429">
                  <c:v>4.9947100773287403</c:v>
                </c:pt>
                <c:pt idx="3430">
                  <c:v>5.0097309857104078</c:v>
                </c:pt>
                <c:pt idx="3431">
                  <c:v>4.9578807513309746</c:v>
                </c:pt>
                <c:pt idx="3432">
                  <c:v>5.138256589211406</c:v>
                </c:pt>
                <c:pt idx="3433">
                  <c:v>4.9025726799813434</c:v>
                </c:pt>
                <c:pt idx="3434">
                  <c:v>5.9328544352118557</c:v>
                </c:pt>
                <c:pt idx="3435">
                  <c:v>4.8887012443904858</c:v>
                </c:pt>
                <c:pt idx="3436">
                  <c:v>4.9976343411434589</c:v>
                </c:pt>
                <c:pt idx="3437">
                  <c:v>5.2760713346855184</c:v>
                </c:pt>
                <c:pt idx="3438">
                  <c:v>4.9234458039225402</c:v>
                </c:pt>
                <c:pt idx="3439">
                  <c:v>7.1686470201596659</c:v>
                </c:pt>
                <c:pt idx="3440">
                  <c:v>6.0831107705601157</c:v>
                </c:pt>
                <c:pt idx="3441">
                  <c:v>5.9227537584304013</c:v>
                </c:pt>
                <c:pt idx="3442">
                  <c:v>5.0155654786880204</c:v>
                </c:pt>
                <c:pt idx="3443">
                  <c:v>5.9281468745672266</c:v>
                </c:pt>
                <c:pt idx="3444">
                  <c:v>5.2269153898867673</c:v>
                </c:pt>
                <c:pt idx="3445">
                  <c:v>5.9297947558416721</c:v>
                </c:pt>
                <c:pt idx="3446">
                  <c:v>5.9243593189215522</c:v>
                </c:pt>
                <c:pt idx="3447">
                  <c:v>5.9047255078885685</c:v>
                </c:pt>
                <c:pt idx="3448">
                  <c:v>5.0558989027199379</c:v>
                </c:pt>
                <c:pt idx="3449">
                  <c:v>6.8648405875368228</c:v>
                </c:pt>
                <c:pt idx="3450">
                  <c:v>5.9330083770643327</c:v>
                </c:pt>
                <c:pt idx="3451">
                  <c:v>4.9883565471356199</c:v>
                </c:pt>
                <c:pt idx="3452">
                  <c:v>5.108631254163476</c:v>
                </c:pt>
                <c:pt idx="3453">
                  <c:v>5.0779510228604714</c:v>
                </c:pt>
                <c:pt idx="3454">
                  <c:v>4.8386246633988428</c:v>
                </c:pt>
                <c:pt idx="3455">
                  <c:v>5.1367521039866322</c:v>
                </c:pt>
                <c:pt idx="3456">
                  <c:v>6.0631309507242941</c:v>
                </c:pt>
                <c:pt idx="3457">
                  <c:v>5.0365459018328416</c:v>
                </c:pt>
                <c:pt idx="3458">
                  <c:v>5.0942469231372964</c:v>
                </c:pt>
                <c:pt idx="3459">
                  <c:v>6.0876237233379191</c:v>
                </c:pt>
                <c:pt idx="3460">
                  <c:v>6.0056818556725675</c:v>
                </c:pt>
                <c:pt idx="3461">
                  <c:v>6.8106164465895178</c:v>
                </c:pt>
                <c:pt idx="3462">
                  <c:v>4.9726950373206344</c:v>
                </c:pt>
                <c:pt idx="3463">
                  <c:v>4.8503453817182969</c:v>
                </c:pt>
                <c:pt idx="3464">
                  <c:v>5.0334425957807785</c:v>
                </c:pt>
                <c:pt idx="3465">
                  <c:v>5.1356463410592212</c:v>
                </c:pt>
                <c:pt idx="3466">
                  <c:v>4.9806606804912397</c:v>
                </c:pt>
                <c:pt idx="3467">
                  <c:v>5.9983352760434254</c:v>
                </c:pt>
                <c:pt idx="3468">
                  <c:v>5.9554545409317585</c:v>
                </c:pt>
                <c:pt idx="3469">
                  <c:v>4.9515883279358262</c:v>
                </c:pt>
                <c:pt idx="3470">
                  <c:v>6.0266517748293005</c:v>
                </c:pt>
                <c:pt idx="3471">
                  <c:v>5.1432026920571632</c:v>
                </c:pt>
                <c:pt idx="3472">
                  <c:v>5.0234089411862914</c:v>
                </c:pt>
                <c:pt idx="3473">
                  <c:v>4.960120398252359</c:v>
                </c:pt>
                <c:pt idx="3474">
                  <c:v>5.9969781898937526</c:v>
                </c:pt>
                <c:pt idx="3475">
                  <c:v>5.0377466295747322</c:v>
                </c:pt>
                <c:pt idx="3476">
                  <c:v>5.0169540442927314</c:v>
                </c:pt>
                <c:pt idx="3477">
                  <c:v>5.9616383109727726</c:v>
                </c:pt>
                <c:pt idx="3478">
                  <c:v>5.0302126827943514</c:v>
                </c:pt>
                <c:pt idx="3479">
                  <c:v>5.0024585433633542</c:v>
                </c:pt>
                <c:pt idx="3480">
                  <c:v>5.8558136865376014</c:v>
                </c:pt>
                <c:pt idx="3481">
                  <c:v>4.8599625181549424</c:v>
                </c:pt>
                <c:pt idx="3482">
                  <c:v>6.0716489493550698</c:v>
                </c:pt>
                <c:pt idx="3483">
                  <c:v>4.8425593036805452</c:v>
                </c:pt>
                <c:pt idx="3484">
                  <c:v>4.864086550772778</c:v>
                </c:pt>
                <c:pt idx="3485">
                  <c:v>5.0647609381732197</c:v>
                </c:pt>
                <c:pt idx="3486">
                  <c:v>4.7665817579781713</c:v>
                </c:pt>
                <c:pt idx="3487">
                  <c:v>4.9423047289852313</c:v>
                </c:pt>
                <c:pt idx="3488">
                  <c:v>4.925738614142122</c:v>
                </c:pt>
                <c:pt idx="3489">
                  <c:v>4.9256436882898695</c:v>
                </c:pt>
                <c:pt idx="3490">
                  <c:v>4.9179212593625508</c:v>
                </c:pt>
                <c:pt idx="3491">
                  <c:v>5.971060535593022</c:v>
                </c:pt>
                <c:pt idx="3492">
                  <c:v>5.8595130059852689</c:v>
                </c:pt>
                <c:pt idx="3493">
                  <c:v>4.9746575817907761</c:v>
                </c:pt>
                <c:pt idx="3494">
                  <c:v>4.8901168011068314</c:v>
                </c:pt>
                <c:pt idx="3495">
                  <c:v>5.0984465866470208</c:v>
                </c:pt>
                <c:pt idx="3496">
                  <c:v>4.9075888062389934</c:v>
                </c:pt>
                <c:pt idx="3497">
                  <c:v>5.055413384032394</c:v>
                </c:pt>
                <c:pt idx="3498">
                  <c:v>7.1242229946166393</c:v>
                </c:pt>
                <c:pt idx="3499">
                  <c:v>5.1489087396608859</c:v>
                </c:pt>
                <c:pt idx="3500">
                  <c:v>6.2180138572777439</c:v>
                </c:pt>
                <c:pt idx="3501">
                  <c:v>6.0371125095543245</c:v>
                </c:pt>
                <c:pt idx="3502">
                  <c:v>5.0450630215899084</c:v>
                </c:pt>
                <c:pt idx="3503">
                  <c:v>5.019545859548237</c:v>
                </c:pt>
                <c:pt idx="3504">
                  <c:v>6.0035491429712504</c:v>
                </c:pt>
                <c:pt idx="3505">
                  <c:v>4.8546330212731696</c:v>
                </c:pt>
                <c:pt idx="3506">
                  <c:v>5.0151314095961004</c:v>
                </c:pt>
                <c:pt idx="3507">
                  <c:v>4.9682323265172394</c:v>
                </c:pt>
                <c:pt idx="3508">
                  <c:v>5.1643944222363656</c:v>
                </c:pt>
                <c:pt idx="3509">
                  <c:v>5.9116287300624393</c:v>
                </c:pt>
                <c:pt idx="3510">
                  <c:v>4.9608049512487495</c:v>
                </c:pt>
                <c:pt idx="3511">
                  <c:v>4.9515176439084181</c:v>
                </c:pt>
                <c:pt idx="3512">
                  <c:v>5.9864442196315242</c:v>
                </c:pt>
                <c:pt idx="3513">
                  <c:v>5.1827599494916408</c:v>
                </c:pt>
                <c:pt idx="3514">
                  <c:v>6.0391361597717674</c:v>
                </c:pt>
                <c:pt idx="3515">
                  <c:v>5.901004240047464</c:v>
                </c:pt>
                <c:pt idx="3516">
                  <c:v>4.9564809305846165</c:v>
                </c:pt>
                <c:pt idx="3517">
                  <c:v>6.081222053083347</c:v>
                </c:pt>
                <c:pt idx="3518">
                  <c:v>6.8910459644913065</c:v>
                </c:pt>
                <c:pt idx="3519">
                  <c:v>5.0579131727821993</c:v>
                </c:pt>
                <c:pt idx="3520">
                  <c:v>5.0509853566263896</c:v>
                </c:pt>
                <c:pt idx="3521">
                  <c:v>4.7481852301240011</c:v>
                </c:pt>
                <c:pt idx="3522">
                  <c:v>4.7995247886221364</c:v>
                </c:pt>
                <c:pt idx="3523">
                  <c:v>4.9869838363301477</c:v>
                </c:pt>
                <c:pt idx="3524">
                  <c:v>5.0589066433394114</c:v>
                </c:pt>
                <c:pt idx="3525">
                  <c:v>4.9759461924201407</c:v>
                </c:pt>
                <c:pt idx="3526">
                  <c:v>5.003108200122127</c:v>
                </c:pt>
                <c:pt idx="3527">
                  <c:v>5.0501744920259517</c:v>
                </c:pt>
                <c:pt idx="3528">
                  <c:v>5.0164368118242768</c:v>
                </c:pt>
                <c:pt idx="3529">
                  <c:v>5.0270221538786899</c:v>
                </c:pt>
                <c:pt idx="3530">
                  <c:v>4.9583070340556175</c:v>
                </c:pt>
                <c:pt idx="3531">
                  <c:v>6.0540341285947852</c:v>
                </c:pt>
                <c:pt idx="3532">
                  <c:v>4.9671977771007212</c:v>
                </c:pt>
                <c:pt idx="3533">
                  <c:v>5.0224983050243637</c:v>
                </c:pt>
                <c:pt idx="3534">
                  <c:v>7.0243721594059467</c:v>
                </c:pt>
                <c:pt idx="3535">
                  <c:v>5.0546283227948878</c:v>
                </c:pt>
                <c:pt idx="3536">
                  <c:v>5.0589149878622379</c:v>
                </c:pt>
                <c:pt idx="3537">
                  <c:v>5.0117334307966477</c:v>
                </c:pt>
                <c:pt idx="3538">
                  <c:v>5.0532342864011666</c:v>
                </c:pt>
                <c:pt idx="3539">
                  <c:v>5.8886200952965906</c:v>
                </c:pt>
                <c:pt idx="3540">
                  <c:v>4.9394067245292277</c:v>
                </c:pt>
                <c:pt idx="3541">
                  <c:v>5.1559449969212396</c:v>
                </c:pt>
                <c:pt idx="3542">
                  <c:v>4.9425987244457472</c:v>
                </c:pt>
                <c:pt idx="3543">
                  <c:v>5.1448086416063878</c:v>
                </c:pt>
                <c:pt idx="3544">
                  <c:v>5.9497860658882802</c:v>
                </c:pt>
                <c:pt idx="3545">
                  <c:v>5.0420024396537002</c:v>
                </c:pt>
                <c:pt idx="3546">
                  <c:v>5.0282312865948899</c:v>
                </c:pt>
                <c:pt idx="3547">
                  <c:v>5.0256214322045256</c:v>
                </c:pt>
                <c:pt idx="3548">
                  <c:v>5.0716007756689807</c:v>
                </c:pt>
                <c:pt idx="3549">
                  <c:v>4.8963887817075209</c:v>
                </c:pt>
                <c:pt idx="3550">
                  <c:v>4.9090543342436881</c:v>
                </c:pt>
                <c:pt idx="3551">
                  <c:v>6.1329260362647489</c:v>
                </c:pt>
                <c:pt idx="3552">
                  <c:v>5.9779194817100132</c:v>
                </c:pt>
                <c:pt idx="3553">
                  <c:v>5.9721011666909991</c:v>
                </c:pt>
                <c:pt idx="3554">
                  <c:v>5.799900483256649</c:v>
                </c:pt>
                <c:pt idx="3555">
                  <c:v>4.8832886407943956</c:v>
                </c:pt>
                <c:pt idx="3556">
                  <c:v>4.9967517220151842</c:v>
                </c:pt>
                <c:pt idx="3557">
                  <c:v>5.034808963911126</c:v>
                </c:pt>
                <c:pt idx="3558">
                  <c:v>5.0546988930767833</c:v>
                </c:pt>
                <c:pt idx="3559">
                  <c:v>5.9576229072672264</c:v>
                </c:pt>
                <c:pt idx="3560">
                  <c:v>5.1354155383270506</c:v>
                </c:pt>
                <c:pt idx="3561">
                  <c:v>5.1051403464226421</c:v>
                </c:pt>
                <c:pt idx="3562">
                  <c:v>5.9359972667845815</c:v>
                </c:pt>
                <c:pt idx="3563">
                  <c:v>4.9431014026503188</c:v>
                </c:pt>
                <c:pt idx="3564">
                  <c:v>6.1238265262053124</c:v>
                </c:pt>
                <c:pt idx="3565">
                  <c:v>4.9218883081741716</c:v>
                </c:pt>
                <c:pt idx="3566">
                  <c:v>5.2497884739473237</c:v>
                </c:pt>
                <c:pt idx="3567">
                  <c:v>5.055701743566595</c:v>
                </c:pt>
                <c:pt idx="3568">
                  <c:v>4.9731883584577643</c:v>
                </c:pt>
                <c:pt idx="3569">
                  <c:v>4.7943951503908977</c:v>
                </c:pt>
                <c:pt idx="3570">
                  <c:v>4.9358770425050524</c:v>
                </c:pt>
                <c:pt idx="3571">
                  <c:v>5.6878149825030535</c:v>
                </c:pt>
                <c:pt idx="3572">
                  <c:v>5.2042713800849905</c:v>
                </c:pt>
                <c:pt idx="3573">
                  <c:v>4.9622003420586598</c:v>
                </c:pt>
                <c:pt idx="3574">
                  <c:v>4.9461864426804087</c:v>
                </c:pt>
                <c:pt idx="3575">
                  <c:v>5.0079286404284602</c:v>
                </c:pt>
                <c:pt idx="3576">
                  <c:v>4.8321083567262875</c:v>
                </c:pt>
                <c:pt idx="3577">
                  <c:v>5.1299056384230859</c:v>
                </c:pt>
                <c:pt idx="3578">
                  <c:v>5.0193115856954185</c:v>
                </c:pt>
                <c:pt idx="3579">
                  <c:v>5.1561186026410484</c:v>
                </c:pt>
                <c:pt idx="3580">
                  <c:v>6.020069803723846</c:v>
                </c:pt>
                <c:pt idx="3581">
                  <c:v>5.0346002901140086</c:v>
                </c:pt>
                <c:pt idx="3582">
                  <c:v>5.0021112033127029</c:v>
                </c:pt>
                <c:pt idx="3583">
                  <c:v>4.8507879451899161</c:v>
                </c:pt>
                <c:pt idx="3584">
                  <c:v>5.0927040272866053</c:v>
                </c:pt>
                <c:pt idx="3585">
                  <c:v>5.0397105884043683</c:v>
                </c:pt>
                <c:pt idx="3586">
                  <c:v>5.1489730890664394</c:v>
                </c:pt>
                <c:pt idx="3587">
                  <c:v>4.8696544766310339</c:v>
                </c:pt>
                <c:pt idx="3588">
                  <c:v>4.9176581152882965</c:v>
                </c:pt>
                <c:pt idx="3589">
                  <c:v>5.1584469149073229</c:v>
                </c:pt>
                <c:pt idx="3590">
                  <c:v>5.0311717012464836</c:v>
                </c:pt>
                <c:pt idx="3591">
                  <c:v>4.9612113428969744</c:v>
                </c:pt>
                <c:pt idx="3592">
                  <c:v>4.9299631899100511</c:v>
                </c:pt>
                <c:pt idx="3593">
                  <c:v>5.9745834131266786</c:v>
                </c:pt>
                <c:pt idx="3594">
                  <c:v>4.9893831941452653</c:v>
                </c:pt>
                <c:pt idx="3595">
                  <c:v>5.0914508246616155</c:v>
                </c:pt>
                <c:pt idx="3596">
                  <c:v>4.994328288328088</c:v>
                </c:pt>
                <c:pt idx="3597">
                  <c:v>5.0400154650223925</c:v>
                </c:pt>
                <c:pt idx="3598">
                  <c:v>4.8393521460457469</c:v>
                </c:pt>
                <c:pt idx="3599">
                  <c:v>4.8902579775715891</c:v>
                </c:pt>
                <c:pt idx="3600">
                  <c:v>4.9960064820158276</c:v>
                </c:pt>
                <c:pt idx="3601">
                  <c:v>5.0206952657313781</c:v>
                </c:pt>
                <c:pt idx="3602">
                  <c:v>4.9699504546416122</c:v>
                </c:pt>
                <c:pt idx="3603">
                  <c:v>5.9196407882042372</c:v>
                </c:pt>
                <c:pt idx="3604">
                  <c:v>6.109687114460014</c:v>
                </c:pt>
                <c:pt idx="3605">
                  <c:v>6.0942469105752055</c:v>
                </c:pt>
                <c:pt idx="3606">
                  <c:v>4.8933131502032579</c:v>
                </c:pt>
                <c:pt idx="3607">
                  <c:v>5.9876962526381892</c:v>
                </c:pt>
                <c:pt idx="3608">
                  <c:v>4.9952339480811263</c:v>
                </c:pt>
                <c:pt idx="3609">
                  <c:v>5.0396435591599005</c:v>
                </c:pt>
                <c:pt idx="3610">
                  <c:v>4.9007866460867548</c:v>
                </c:pt>
                <c:pt idx="3611">
                  <c:v>4.9199583861233975</c:v>
                </c:pt>
                <c:pt idx="3612">
                  <c:v>5.7899820159414226</c:v>
                </c:pt>
                <c:pt idx="3613">
                  <c:v>4.9044137293143333</c:v>
                </c:pt>
                <c:pt idx="3614">
                  <c:v>5.0756274097673222</c:v>
                </c:pt>
                <c:pt idx="3615">
                  <c:v>4.8941088844443081</c:v>
                </c:pt>
                <c:pt idx="3616">
                  <c:v>5.0917102054522969</c:v>
                </c:pt>
                <c:pt idx="3617">
                  <c:v>5.0350493988730687</c:v>
                </c:pt>
                <c:pt idx="3618">
                  <c:v>5.8919327135314603</c:v>
                </c:pt>
                <c:pt idx="3619">
                  <c:v>5.0628316684529588</c:v>
                </c:pt>
                <c:pt idx="3620">
                  <c:v>4.9819069581147479</c:v>
                </c:pt>
                <c:pt idx="3621">
                  <c:v>4.9831812550347845</c:v>
                </c:pt>
                <c:pt idx="3622">
                  <c:v>5.1853958871015546</c:v>
                </c:pt>
                <c:pt idx="3623">
                  <c:v>6.1330951310626407</c:v>
                </c:pt>
                <c:pt idx="3624">
                  <c:v>5.1453646045755175</c:v>
                </c:pt>
                <c:pt idx="3625">
                  <c:v>5.1748869884940305</c:v>
                </c:pt>
                <c:pt idx="3626">
                  <c:v>4.9446531820799402</c:v>
                </c:pt>
                <c:pt idx="3627">
                  <c:v>5.1715788617507652</c:v>
                </c:pt>
                <c:pt idx="3628">
                  <c:v>5.9348137692323801</c:v>
                </c:pt>
                <c:pt idx="3629">
                  <c:v>4.7982050172666337</c:v>
                </c:pt>
                <c:pt idx="3630">
                  <c:v>5.0751341416474096</c:v>
                </c:pt>
                <c:pt idx="3631">
                  <c:v>4.9089586670246472</c:v>
                </c:pt>
                <c:pt idx="3632">
                  <c:v>6.0075918619050457</c:v>
                </c:pt>
                <c:pt idx="3633">
                  <c:v>4.8934301457013003</c:v>
                </c:pt>
                <c:pt idx="3634">
                  <c:v>4.9837502463669416</c:v>
                </c:pt>
                <c:pt idx="3635">
                  <c:v>5.1075042519283631</c:v>
                </c:pt>
                <c:pt idx="3636">
                  <c:v>5.0570412066990311</c:v>
                </c:pt>
                <c:pt idx="3637">
                  <c:v>5.0231693032336864</c:v>
                </c:pt>
                <c:pt idx="3638">
                  <c:v>5.0304101708411313</c:v>
                </c:pt>
                <c:pt idx="3639">
                  <c:v>6.0163809382345965</c:v>
                </c:pt>
                <c:pt idx="3640">
                  <c:v>5.9975190296377452</c:v>
                </c:pt>
                <c:pt idx="3641">
                  <c:v>5.9984211958141405</c:v>
                </c:pt>
                <c:pt idx="3642">
                  <c:v>5.0099229154346938</c:v>
                </c:pt>
                <c:pt idx="3643">
                  <c:v>5.0356436716805328</c:v>
                </c:pt>
                <c:pt idx="3644">
                  <c:v>5.9260757818274739</c:v>
                </c:pt>
                <c:pt idx="3645">
                  <c:v>5.1337939162131683</c:v>
                </c:pt>
                <c:pt idx="3646">
                  <c:v>5.0622029306302307</c:v>
                </c:pt>
                <c:pt idx="3647">
                  <c:v>4.9199443665624898</c:v>
                </c:pt>
                <c:pt idx="3648">
                  <c:v>5.0626330610024315</c:v>
                </c:pt>
                <c:pt idx="3649">
                  <c:v>4.9804879010867937</c:v>
                </c:pt>
                <c:pt idx="3650">
                  <c:v>5.9129421027085893</c:v>
                </c:pt>
                <c:pt idx="3651">
                  <c:v>4.8701865841654355</c:v>
                </c:pt>
                <c:pt idx="3652">
                  <c:v>6.1490032472601293</c:v>
                </c:pt>
                <c:pt idx="3653">
                  <c:v>5.0040860490836154</c:v>
                </c:pt>
                <c:pt idx="3654">
                  <c:v>5.1755531123864902</c:v>
                </c:pt>
                <c:pt idx="3655">
                  <c:v>5.8942061998147013</c:v>
                </c:pt>
                <c:pt idx="3656">
                  <c:v>5.0619072017618922</c:v>
                </c:pt>
                <c:pt idx="3657">
                  <c:v>6.0565720605471984</c:v>
                </c:pt>
                <c:pt idx="3658">
                  <c:v>4.9914688694131444</c:v>
                </c:pt>
                <c:pt idx="3659">
                  <c:v>5.0206154279002142</c:v>
                </c:pt>
                <c:pt idx="3660">
                  <c:v>4.9528284790360999</c:v>
                </c:pt>
                <c:pt idx="3661">
                  <c:v>5.1600848247327553</c:v>
                </c:pt>
                <c:pt idx="3662">
                  <c:v>5.9272316016477724</c:v>
                </c:pt>
                <c:pt idx="3663">
                  <c:v>6.0131488798304682</c:v>
                </c:pt>
                <c:pt idx="3664">
                  <c:v>5.1070239839642415</c:v>
                </c:pt>
                <c:pt idx="3665">
                  <c:v>4.9742927096415555</c:v>
                </c:pt>
                <c:pt idx="3666">
                  <c:v>4.9089206043298299</c:v>
                </c:pt>
                <c:pt idx="3667">
                  <c:v>6.0513814759654405</c:v>
                </c:pt>
                <c:pt idx="3668">
                  <c:v>4.8925689849000076</c:v>
                </c:pt>
                <c:pt idx="3669">
                  <c:v>5.054836681886572</c:v>
                </c:pt>
                <c:pt idx="3670">
                  <c:v>5.1080028235952692</c:v>
                </c:pt>
                <c:pt idx="3671">
                  <c:v>5.0939475333253244</c:v>
                </c:pt>
                <c:pt idx="3672">
                  <c:v>5.1073846483190106</c:v>
                </c:pt>
                <c:pt idx="3673">
                  <c:v>4.9189346641492353</c:v>
                </c:pt>
                <c:pt idx="3674">
                  <c:v>5.0751828125281495</c:v>
                </c:pt>
                <c:pt idx="3675">
                  <c:v>5.9785521239284742</c:v>
                </c:pt>
                <c:pt idx="3676">
                  <c:v>4.9589209968814991</c:v>
                </c:pt>
                <c:pt idx="3677">
                  <c:v>5.0548996607683359</c:v>
                </c:pt>
                <c:pt idx="3678">
                  <c:v>5.9703789433342633</c:v>
                </c:pt>
                <c:pt idx="3679">
                  <c:v>6.1016998904915623</c:v>
                </c:pt>
                <c:pt idx="3680">
                  <c:v>4.9105623530716693</c:v>
                </c:pt>
                <c:pt idx="3681">
                  <c:v>5.9222573848132729</c:v>
                </c:pt>
                <c:pt idx="3682">
                  <c:v>5.9477192047162664</c:v>
                </c:pt>
                <c:pt idx="3683">
                  <c:v>6.1295114875804675</c:v>
                </c:pt>
                <c:pt idx="3684">
                  <c:v>6.0703917730643937</c:v>
                </c:pt>
                <c:pt idx="3685">
                  <c:v>4.9743300871469129</c:v>
                </c:pt>
                <c:pt idx="3686">
                  <c:v>6.0371619023966758</c:v>
                </c:pt>
                <c:pt idx="3687">
                  <c:v>6.0265845471883797</c:v>
                </c:pt>
                <c:pt idx="3688">
                  <c:v>6.9495440425538968</c:v>
                </c:pt>
                <c:pt idx="3689">
                  <c:v>5.0860638229653183</c:v>
                </c:pt>
                <c:pt idx="3690">
                  <c:v>4.95310703035637</c:v>
                </c:pt>
                <c:pt idx="3691">
                  <c:v>5.9842830741770934</c:v>
                </c:pt>
                <c:pt idx="3692">
                  <c:v>6.8930192613259997</c:v>
                </c:pt>
                <c:pt idx="3693">
                  <c:v>4.9937220466490988</c:v>
                </c:pt>
                <c:pt idx="3694">
                  <c:v>4.8863127129533082</c:v>
                </c:pt>
                <c:pt idx="3695">
                  <c:v>4.8365637979484344</c:v>
                </c:pt>
                <c:pt idx="3696">
                  <c:v>5.1246255001976628</c:v>
                </c:pt>
                <c:pt idx="3697">
                  <c:v>4.9222153015795858</c:v>
                </c:pt>
                <c:pt idx="3698">
                  <c:v>4.9351757422499674</c:v>
                </c:pt>
                <c:pt idx="3699">
                  <c:v>5.1736673956825285</c:v>
                </c:pt>
                <c:pt idx="3700">
                  <c:v>4.8684345607464881</c:v>
                </c:pt>
                <c:pt idx="3701">
                  <c:v>4.8726783464715249</c:v>
                </c:pt>
                <c:pt idx="3702">
                  <c:v>6.0638124808339189</c:v>
                </c:pt>
                <c:pt idx="3703">
                  <c:v>6.0945862283443395</c:v>
                </c:pt>
                <c:pt idx="3704">
                  <c:v>7.0063075547995624</c:v>
                </c:pt>
                <c:pt idx="3705">
                  <c:v>6.1091316121936892</c:v>
                </c:pt>
                <c:pt idx="3706">
                  <c:v>6.0092524596069934</c:v>
                </c:pt>
                <c:pt idx="3707">
                  <c:v>5.0046875836449463</c:v>
                </c:pt>
                <c:pt idx="3708">
                  <c:v>5.0243127905909368</c:v>
                </c:pt>
                <c:pt idx="3709">
                  <c:v>5.8882482795299982</c:v>
                </c:pt>
                <c:pt idx="3710">
                  <c:v>4.8741213260132197</c:v>
                </c:pt>
                <c:pt idx="3711">
                  <c:v>5.0611074866792132</c:v>
                </c:pt>
                <c:pt idx="3712">
                  <c:v>5.1874826732858406</c:v>
                </c:pt>
                <c:pt idx="3713">
                  <c:v>6.2075434925156312</c:v>
                </c:pt>
                <c:pt idx="3714">
                  <c:v>5.9977953046786645</c:v>
                </c:pt>
                <c:pt idx="3715">
                  <c:v>5.9252131617741997</c:v>
                </c:pt>
                <c:pt idx="3716">
                  <c:v>5.9303549935326538</c:v>
                </c:pt>
                <c:pt idx="3717">
                  <c:v>6.0172842176797028</c:v>
                </c:pt>
                <c:pt idx="3718">
                  <c:v>4.9709357487304677</c:v>
                </c:pt>
                <c:pt idx="3719">
                  <c:v>5.0624487380197838</c:v>
                </c:pt>
                <c:pt idx="3720">
                  <c:v>5.8449861717630833</c:v>
                </c:pt>
                <c:pt idx="3721">
                  <c:v>4.9193802511630853</c:v>
                </c:pt>
                <c:pt idx="3722">
                  <c:v>4.9399914430780258</c:v>
                </c:pt>
                <c:pt idx="3723">
                  <c:v>4.947883894804078</c:v>
                </c:pt>
                <c:pt idx="3724">
                  <c:v>5.1437212985500356</c:v>
                </c:pt>
                <c:pt idx="3725">
                  <c:v>5.1529023559200242</c:v>
                </c:pt>
                <c:pt idx="3726">
                  <c:v>6.0196152503180507</c:v>
                </c:pt>
                <c:pt idx="3727">
                  <c:v>5.0276996725487031</c:v>
                </c:pt>
                <c:pt idx="3728">
                  <c:v>4.8835658401284592</c:v>
                </c:pt>
                <c:pt idx="3729">
                  <c:v>6.0476216094302462</c:v>
                </c:pt>
                <c:pt idx="3730">
                  <c:v>5.8403158742761212</c:v>
                </c:pt>
                <c:pt idx="3731">
                  <c:v>5.2191237704543987</c:v>
                </c:pt>
                <c:pt idx="3732">
                  <c:v>5.1533357984584445</c:v>
                </c:pt>
                <c:pt idx="3733">
                  <c:v>4.9032043233710407</c:v>
                </c:pt>
                <c:pt idx="3734">
                  <c:v>5.0867583590299903</c:v>
                </c:pt>
                <c:pt idx="3735">
                  <c:v>6.1235226574483361</c:v>
                </c:pt>
                <c:pt idx="3736">
                  <c:v>5.0658359137203863</c:v>
                </c:pt>
                <c:pt idx="3737">
                  <c:v>6.0326755064905742</c:v>
                </c:pt>
                <c:pt idx="3738">
                  <c:v>4.9078775462414628</c:v>
                </c:pt>
                <c:pt idx="3739">
                  <c:v>5.0787344525900071</c:v>
                </c:pt>
                <c:pt idx="3740">
                  <c:v>4.9191309026073009</c:v>
                </c:pt>
                <c:pt idx="3741">
                  <c:v>5.9648098734585693</c:v>
                </c:pt>
                <c:pt idx="3742">
                  <c:v>5.0029906361592165</c:v>
                </c:pt>
                <c:pt idx="3743">
                  <c:v>4.9982125410221752</c:v>
                </c:pt>
                <c:pt idx="3744">
                  <c:v>5.0414706455659113</c:v>
                </c:pt>
                <c:pt idx="3745">
                  <c:v>4.9545346356216946</c:v>
                </c:pt>
                <c:pt idx="3746">
                  <c:v>5.1665729740001645</c:v>
                </c:pt>
                <c:pt idx="3747">
                  <c:v>6.2317246845692749</c:v>
                </c:pt>
                <c:pt idx="3748">
                  <c:v>4.883374972482545</c:v>
                </c:pt>
                <c:pt idx="3749">
                  <c:v>4.932252775498406</c:v>
                </c:pt>
                <c:pt idx="3750">
                  <c:v>4.9897227155000845</c:v>
                </c:pt>
                <c:pt idx="3751">
                  <c:v>5.9779805134004782</c:v>
                </c:pt>
                <c:pt idx="3752">
                  <c:v>4.8646498650782792</c:v>
                </c:pt>
                <c:pt idx="3753">
                  <c:v>5.9615522555765681</c:v>
                </c:pt>
                <c:pt idx="3754">
                  <c:v>6.1029479759428336</c:v>
                </c:pt>
                <c:pt idx="3755">
                  <c:v>5.0946704235295881</c:v>
                </c:pt>
                <c:pt idx="3756">
                  <c:v>5.9525920674458304</c:v>
                </c:pt>
                <c:pt idx="3757">
                  <c:v>4.9632618107782527</c:v>
                </c:pt>
                <c:pt idx="3758">
                  <c:v>6.933680276826192</c:v>
                </c:pt>
                <c:pt idx="3759">
                  <c:v>6.0333553343201416</c:v>
                </c:pt>
                <c:pt idx="3760">
                  <c:v>5.0131262581381097</c:v>
                </c:pt>
                <c:pt idx="3761">
                  <c:v>5.9628191184004695</c:v>
                </c:pt>
                <c:pt idx="3762">
                  <c:v>6.126460808681232</c:v>
                </c:pt>
                <c:pt idx="3763">
                  <c:v>6.0517370698775625</c:v>
                </c:pt>
                <c:pt idx="3764">
                  <c:v>5.0364437744554467</c:v>
                </c:pt>
                <c:pt idx="3765">
                  <c:v>6.0395059575574974</c:v>
                </c:pt>
                <c:pt idx="3766">
                  <c:v>5.0404698908249115</c:v>
                </c:pt>
                <c:pt idx="3767">
                  <c:v>4.9140184154826105</c:v>
                </c:pt>
                <c:pt idx="3768">
                  <c:v>6.0321920637959661</c:v>
                </c:pt>
                <c:pt idx="3769">
                  <c:v>6.1436562954473288</c:v>
                </c:pt>
                <c:pt idx="3770">
                  <c:v>5.0705074356910007</c:v>
                </c:pt>
                <c:pt idx="3771">
                  <c:v>5.9396379648880604</c:v>
                </c:pt>
                <c:pt idx="3772">
                  <c:v>4.9444867690980843</c:v>
                </c:pt>
                <c:pt idx="3773">
                  <c:v>6.0276603890067415</c:v>
                </c:pt>
                <c:pt idx="3774">
                  <c:v>4.9490293391915312</c:v>
                </c:pt>
                <c:pt idx="3775">
                  <c:v>5.8938267548433174</c:v>
                </c:pt>
                <c:pt idx="3776">
                  <c:v>5.0735618551604142</c:v>
                </c:pt>
                <c:pt idx="3777">
                  <c:v>5.1121872367380172</c:v>
                </c:pt>
                <c:pt idx="3778">
                  <c:v>5.825614669074092</c:v>
                </c:pt>
                <c:pt idx="3779">
                  <c:v>5.2318318386078513</c:v>
                </c:pt>
                <c:pt idx="3780">
                  <c:v>4.8567728759028288</c:v>
                </c:pt>
                <c:pt idx="3781">
                  <c:v>5.9580883839005594</c:v>
                </c:pt>
                <c:pt idx="3782">
                  <c:v>5.0354203340699328</c:v>
                </c:pt>
                <c:pt idx="3783">
                  <c:v>6.0006764553796827</c:v>
                </c:pt>
                <c:pt idx="3784">
                  <c:v>4.8678725708153783</c:v>
                </c:pt>
                <c:pt idx="3785">
                  <c:v>4.8144902494156199</c:v>
                </c:pt>
                <c:pt idx="3786">
                  <c:v>6.0244221174428265</c:v>
                </c:pt>
                <c:pt idx="3787">
                  <c:v>6.1112737257240983</c:v>
                </c:pt>
                <c:pt idx="3788">
                  <c:v>4.8253354378161282</c:v>
                </c:pt>
                <c:pt idx="3789">
                  <c:v>5.0300389167446626</c:v>
                </c:pt>
                <c:pt idx="3790">
                  <c:v>5.9575739499038258</c:v>
                </c:pt>
                <c:pt idx="3791">
                  <c:v>6.1151145142275531</c:v>
                </c:pt>
                <c:pt idx="3792">
                  <c:v>6.1513846030478172</c:v>
                </c:pt>
                <c:pt idx="3793">
                  <c:v>4.9938151490601097</c:v>
                </c:pt>
                <c:pt idx="3794">
                  <c:v>4.8164556280098587</c:v>
                </c:pt>
                <c:pt idx="3795">
                  <c:v>4.9367284607157442</c:v>
                </c:pt>
                <c:pt idx="3796">
                  <c:v>5.1115144916093129</c:v>
                </c:pt>
                <c:pt idx="3797">
                  <c:v>5.7473592104673941</c:v>
                </c:pt>
                <c:pt idx="3798">
                  <c:v>5.1730926983644911</c:v>
                </c:pt>
                <c:pt idx="3799">
                  <c:v>4.8830818053913649</c:v>
                </c:pt>
                <c:pt idx="3800">
                  <c:v>6.2423828482970887</c:v>
                </c:pt>
                <c:pt idx="3801">
                  <c:v>4.9639218474209237</c:v>
                </c:pt>
                <c:pt idx="3802">
                  <c:v>5.8145799562762299</c:v>
                </c:pt>
                <c:pt idx="3803">
                  <c:v>5.9404468051231438</c:v>
                </c:pt>
                <c:pt idx="3804">
                  <c:v>5.1018952972448988</c:v>
                </c:pt>
                <c:pt idx="3805">
                  <c:v>4.7852921395073071</c:v>
                </c:pt>
                <c:pt idx="3806">
                  <c:v>5.9338012208514295</c:v>
                </c:pt>
                <c:pt idx="3807">
                  <c:v>5.0484906113328494</c:v>
                </c:pt>
                <c:pt idx="3808">
                  <c:v>4.9262500389111494</c:v>
                </c:pt>
                <c:pt idx="3809">
                  <c:v>4.9627833997181821</c:v>
                </c:pt>
                <c:pt idx="3810">
                  <c:v>4.9638952727532741</c:v>
                </c:pt>
                <c:pt idx="3811">
                  <c:v>5.0041020448045783</c:v>
                </c:pt>
                <c:pt idx="3812">
                  <c:v>5.1186917365778708</c:v>
                </c:pt>
                <c:pt idx="3813">
                  <c:v>5.142570660938139</c:v>
                </c:pt>
                <c:pt idx="3814">
                  <c:v>5.0884637227419933</c:v>
                </c:pt>
                <c:pt idx="3815">
                  <c:v>5.0319356138252713</c:v>
                </c:pt>
                <c:pt idx="3816">
                  <c:v>7.0694194412339506</c:v>
                </c:pt>
                <c:pt idx="3817">
                  <c:v>5.1539176748106428</c:v>
                </c:pt>
                <c:pt idx="3818">
                  <c:v>4.9970786080145952</c:v>
                </c:pt>
                <c:pt idx="3819">
                  <c:v>4.9861193990231438</c:v>
                </c:pt>
                <c:pt idx="3820">
                  <c:v>6.2013286390872988</c:v>
                </c:pt>
                <c:pt idx="3821">
                  <c:v>6.0084323139771252</c:v>
                </c:pt>
                <c:pt idx="3822">
                  <c:v>5.0746833543808778</c:v>
                </c:pt>
                <c:pt idx="3823">
                  <c:v>4.8556043562332096</c:v>
                </c:pt>
                <c:pt idx="3824">
                  <c:v>4.899735758616548</c:v>
                </c:pt>
                <c:pt idx="3825">
                  <c:v>6.0149075778485148</c:v>
                </c:pt>
                <c:pt idx="3826">
                  <c:v>5.8336868372436772</c:v>
                </c:pt>
                <c:pt idx="3827">
                  <c:v>4.9983600244469963</c:v>
                </c:pt>
                <c:pt idx="3828">
                  <c:v>6.0819463619223004</c:v>
                </c:pt>
                <c:pt idx="3829">
                  <c:v>4.9775051374231634</c:v>
                </c:pt>
                <c:pt idx="3830">
                  <c:v>4.940018857945593</c:v>
                </c:pt>
                <c:pt idx="3831">
                  <c:v>6.0485926328236275</c:v>
                </c:pt>
                <c:pt idx="3832">
                  <c:v>6.0293022442270097</c:v>
                </c:pt>
                <c:pt idx="3833">
                  <c:v>4.9187660736978556</c:v>
                </c:pt>
                <c:pt idx="3834">
                  <c:v>5.9605261776785738</c:v>
                </c:pt>
                <c:pt idx="3835">
                  <c:v>5.0544937301616946</c:v>
                </c:pt>
                <c:pt idx="3836">
                  <c:v>4.955057426028497</c:v>
                </c:pt>
                <c:pt idx="3837">
                  <c:v>4.9498581425158283</c:v>
                </c:pt>
                <c:pt idx="3838">
                  <c:v>6.0218880938455808</c:v>
                </c:pt>
                <c:pt idx="3839">
                  <c:v>5.0623893059286775</c:v>
                </c:pt>
                <c:pt idx="3840">
                  <c:v>6.0713572015117583</c:v>
                </c:pt>
                <c:pt idx="3841">
                  <c:v>5.0099351654213766</c:v>
                </c:pt>
                <c:pt idx="3842">
                  <c:v>6.9035909676492695</c:v>
                </c:pt>
                <c:pt idx="3843">
                  <c:v>5.0186737263141881</c:v>
                </c:pt>
                <c:pt idx="3844">
                  <c:v>6.8923909513706318</c:v>
                </c:pt>
                <c:pt idx="3845">
                  <c:v>6.0211021264138971</c:v>
                </c:pt>
                <c:pt idx="3846">
                  <c:v>4.9875989165341936</c:v>
                </c:pt>
                <c:pt idx="3847">
                  <c:v>5.0463071759874172</c:v>
                </c:pt>
                <c:pt idx="3848">
                  <c:v>5.0402406742591328</c:v>
                </c:pt>
                <c:pt idx="3849">
                  <c:v>5.1181200575725043</c:v>
                </c:pt>
                <c:pt idx="3850">
                  <c:v>6.1265884778960755</c:v>
                </c:pt>
                <c:pt idx="3851">
                  <c:v>4.9880887413682506</c:v>
                </c:pt>
                <c:pt idx="3852">
                  <c:v>4.9893615954586954</c:v>
                </c:pt>
                <c:pt idx="3853">
                  <c:v>5.1434890307685937</c:v>
                </c:pt>
                <c:pt idx="3854">
                  <c:v>5.0083705967005114</c:v>
                </c:pt>
                <c:pt idx="3855">
                  <c:v>4.9417213759824783</c:v>
                </c:pt>
                <c:pt idx="3856">
                  <c:v>6.1328176802534831</c:v>
                </c:pt>
                <c:pt idx="3857">
                  <c:v>5.9635343822755189</c:v>
                </c:pt>
                <c:pt idx="3858">
                  <c:v>4.6973758673558432</c:v>
                </c:pt>
                <c:pt idx="3859">
                  <c:v>4.768116013846381</c:v>
                </c:pt>
                <c:pt idx="3860">
                  <c:v>5.9534695505908317</c:v>
                </c:pt>
                <c:pt idx="3861">
                  <c:v>6.0767925658620694</c:v>
                </c:pt>
                <c:pt idx="3862">
                  <c:v>5.076808740012023</c:v>
                </c:pt>
                <c:pt idx="3863">
                  <c:v>4.9629331751657135</c:v>
                </c:pt>
                <c:pt idx="3864">
                  <c:v>4.9843911654639887</c:v>
                </c:pt>
                <c:pt idx="3865">
                  <c:v>4.9021198746322314</c:v>
                </c:pt>
                <c:pt idx="3866">
                  <c:v>5.0386105455289547</c:v>
                </c:pt>
                <c:pt idx="3867">
                  <c:v>5.0816998729115994</c:v>
                </c:pt>
                <c:pt idx="3868">
                  <c:v>4.8404672114446052</c:v>
                </c:pt>
                <c:pt idx="3869">
                  <c:v>5.0418312700645114</c:v>
                </c:pt>
                <c:pt idx="3870">
                  <c:v>5.0749750191180327</c:v>
                </c:pt>
                <c:pt idx="3871">
                  <c:v>5.0936099857040631</c:v>
                </c:pt>
                <c:pt idx="3872">
                  <c:v>5.1576053237886628</c:v>
                </c:pt>
                <c:pt idx="3873">
                  <c:v>5.0049930889379395</c:v>
                </c:pt>
                <c:pt idx="3874">
                  <c:v>4.9205590634286969</c:v>
                </c:pt>
                <c:pt idx="3875">
                  <c:v>5.022311354407198</c:v>
                </c:pt>
                <c:pt idx="3876">
                  <c:v>5.1430413524672351</c:v>
                </c:pt>
                <c:pt idx="3877">
                  <c:v>6.0028482242710091</c:v>
                </c:pt>
                <c:pt idx="3878">
                  <c:v>5.0642095437986736</c:v>
                </c:pt>
                <c:pt idx="3879">
                  <c:v>4.9035343340970989</c:v>
                </c:pt>
                <c:pt idx="3880">
                  <c:v>6.0500594336943259</c:v>
                </c:pt>
                <c:pt idx="3881">
                  <c:v>5.1298403978226625</c:v>
                </c:pt>
                <c:pt idx="3882">
                  <c:v>4.9588723917466409</c:v>
                </c:pt>
                <c:pt idx="3883">
                  <c:v>4.8887896113671827</c:v>
                </c:pt>
                <c:pt idx="3884">
                  <c:v>4.9565792975421008</c:v>
                </c:pt>
                <c:pt idx="3885">
                  <c:v>6.0164816580145217</c:v>
                </c:pt>
                <c:pt idx="3886">
                  <c:v>4.9289419147774538</c:v>
                </c:pt>
                <c:pt idx="3887">
                  <c:v>4.8873414246923419</c:v>
                </c:pt>
                <c:pt idx="3888">
                  <c:v>5.0168609940242028</c:v>
                </c:pt>
                <c:pt idx="3889">
                  <c:v>6.0124215578027655</c:v>
                </c:pt>
                <c:pt idx="3890">
                  <c:v>5.9562936550828738</c:v>
                </c:pt>
                <c:pt idx="3891">
                  <c:v>5.0370822415492711</c:v>
                </c:pt>
                <c:pt idx="3892">
                  <c:v>4.9067502558387917</c:v>
                </c:pt>
                <c:pt idx="3893">
                  <c:v>4.941000885638033</c:v>
                </c:pt>
                <c:pt idx="3894">
                  <c:v>5.9246038415522486</c:v>
                </c:pt>
                <c:pt idx="3895">
                  <c:v>4.9646122583731369</c:v>
                </c:pt>
                <c:pt idx="3896">
                  <c:v>5.0186541680382506</c:v>
                </c:pt>
                <c:pt idx="3897">
                  <c:v>4.9999341602565313</c:v>
                </c:pt>
                <c:pt idx="3898">
                  <c:v>5.0376627566436101</c:v>
                </c:pt>
                <c:pt idx="3899">
                  <c:v>4.9686607315152234</c:v>
                </c:pt>
                <c:pt idx="3900">
                  <c:v>5.0469942775129368</c:v>
                </c:pt>
                <c:pt idx="3901">
                  <c:v>4.9644740808799579</c:v>
                </c:pt>
                <c:pt idx="3902">
                  <c:v>6.0219606110500692</c:v>
                </c:pt>
                <c:pt idx="3903">
                  <c:v>5.9985875992934172</c:v>
                </c:pt>
                <c:pt idx="3904">
                  <c:v>4.9707918881630668</c:v>
                </c:pt>
                <c:pt idx="3905">
                  <c:v>5.191753675082718</c:v>
                </c:pt>
                <c:pt idx="3906">
                  <c:v>4.9039467992800212</c:v>
                </c:pt>
                <c:pt idx="3907">
                  <c:v>5.0015916234784648</c:v>
                </c:pt>
                <c:pt idx="3908">
                  <c:v>4.9976394464038147</c:v>
                </c:pt>
                <c:pt idx="3909">
                  <c:v>5.9476447933905128</c:v>
                </c:pt>
                <c:pt idx="3910">
                  <c:v>5.1572638301911056</c:v>
                </c:pt>
                <c:pt idx="3911">
                  <c:v>6.033982938280082</c:v>
                </c:pt>
                <c:pt idx="3912">
                  <c:v>5.1876980708394926</c:v>
                </c:pt>
                <c:pt idx="3913">
                  <c:v>4.949010613260584</c:v>
                </c:pt>
                <c:pt idx="3914">
                  <c:v>3.8695712749384379</c:v>
                </c:pt>
                <c:pt idx="3915">
                  <c:v>4.9408046387440985</c:v>
                </c:pt>
                <c:pt idx="3916">
                  <c:v>3.9463057054216435</c:v>
                </c:pt>
                <c:pt idx="3917">
                  <c:v>6.998980599338041</c:v>
                </c:pt>
                <c:pt idx="3918">
                  <c:v>6.7972194441897331</c:v>
                </c:pt>
                <c:pt idx="3919">
                  <c:v>6.0356343541459143</c:v>
                </c:pt>
                <c:pt idx="3920">
                  <c:v>5.8044495306427581</c:v>
                </c:pt>
                <c:pt idx="3921">
                  <c:v>5.9633222113700963</c:v>
                </c:pt>
                <c:pt idx="3922">
                  <c:v>5.0660931111983381</c:v>
                </c:pt>
                <c:pt idx="3923">
                  <c:v>4.970279919655912</c:v>
                </c:pt>
                <c:pt idx="3924">
                  <c:v>5.8951310198741966</c:v>
                </c:pt>
                <c:pt idx="3925">
                  <c:v>6.0741019817055015</c:v>
                </c:pt>
                <c:pt idx="3926">
                  <c:v>5.8201156154297378</c:v>
                </c:pt>
                <c:pt idx="3927">
                  <c:v>5.0400125024655242</c:v>
                </c:pt>
                <c:pt idx="3928">
                  <c:v>5.0762007631740049</c:v>
                </c:pt>
                <c:pt idx="3929">
                  <c:v>5.8956115007972896</c:v>
                </c:pt>
                <c:pt idx="3930">
                  <c:v>5.8573235633302057</c:v>
                </c:pt>
                <c:pt idx="3931">
                  <c:v>7.0843660487004412</c:v>
                </c:pt>
                <c:pt idx="3932">
                  <c:v>5.0414620499700566</c:v>
                </c:pt>
                <c:pt idx="3933">
                  <c:v>4.9612410692456672</c:v>
                </c:pt>
                <c:pt idx="3934">
                  <c:v>4.8114032640729683</c:v>
                </c:pt>
                <c:pt idx="3935">
                  <c:v>7.0110495002471902</c:v>
                </c:pt>
                <c:pt idx="3936">
                  <c:v>6.0551294477728828</c:v>
                </c:pt>
                <c:pt idx="3937">
                  <c:v>6.0751753075367612</c:v>
                </c:pt>
                <c:pt idx="3938">
                  <c:v>5.9954987484442892</c:v>
                </c:pt>
                <c:pt idx="3939">
                  <c:v>4.9323693242257711</c:v>
                </c:pt>
                <c:pt idx="3940">
                  <c:v>4.9260640932082191</c:v>
                </c:pt>
                <c:pt idx="3941">
                  <c:v>6.0147391217239639</c:v>
                </c:pt>
                <c:pt idx="3942">
                  <c:v>5.0391908357947841</c:v>
                </c:pt>
                <c:pt idx="3943">
                  <c:v>4.9197403013302523</c:v>
                </c:pt>
                <c:pt idx="3944">
                  <c:v>4.9933080266167371</c:v>
                </c:pt>
                <c:pt idx="3945">
                  <c:v>6.1440328785806733</c:v>
                </c:pt>
                <c:pt idx="3946">
                  <c:v>6.1339713902342803</c:v>
                </c:pt>
                <c:pt idx="3947">
                  <c:v>6.0521509326796181</c:v>
                </c:pt>
                <c:pt idx="3948">
                  <c:v>4.9810349044767097</c:v>
                </c:pt>
                <c:pt idx="3949">
                  <c:v>5.9661787452254442</c:v>
                </c:pt>
                <c:pt idx="3950">
                  <c:v>6.1264318749619582</c:v>
                </c:pt>
                <c:pt idx="3951">
                  <c:v>4.8901262679023398</c:v>
                </c:pt>
                <c:pt idx="3952">
                  <c:v>5.049527832024082</c:v>
                </c:pt>
                <c:pt idx="3953">
                  <c:v>6.0562756100646693</c:v>
                </c:pt>
                <c:pt idx="3954">
                  <c:v>5.0415882385597488</c:v>
                </c:pt>
                <c:pt idx="3955">
                  <c:v>5.1485620651856872</c:v>
                </c:pt>
                <c:pt idx="3956">
                  <c:v>5.8364833427866483</c:v>
                </c:pt>
                <c:pt idx="3957">
                  <c:v>5.9795854629645904</c:v>
                </c:pt>
                <c:pt idx="3958">
                  <c:v>6.9903463275957884</c:v>
                </c:pt>
                <c:pt idx="3959">
                  <c:v>5.0744835444368785</c:v>
                </c:pt>
                <c:pt idx="3960">
                  <c:v>7.0034987028199644</c:v>
                </c:pt>
                <c:pt idx="3961">
                  <c:v>5.8440663706247848</c:v>
                </c:pt>
                <c:pt idx="3962">
                  <c:v>5.8830617446906617</c:v>
                </c:pt>
                <c:pt idx="3963">
                  <c:v>5.9252768667850333</c:v>
                </c:pt>
                <c:pt idx="3964">
                  <c:v>4.8895950743321954</c:v>
                </c:pt>
                <c:pt idx="3965">
                  <c:v>5.0817201524737881</c:v>
                </c:pt>
                <c:pt idx="3966">
                  <c:v>4.9477242420020628</c:v>
                </c:pt>
                <c:pt idx="3967">
                  <c:v>6.0762497795815973</c:v>
                </c:pt>
                <c:pt idx="3968">
                  <c:v>3.9604721961326539</c:v>
                </c:pt>
                <c:pt idx="3969">
                  <c:v>5.0512456635789738</c:v>
                </c:pt>
                <c:pt idx="3970">
                  <c:v>4.7269149414454938</c:v>
                </c:pt>
                <c:pt idx="3971">
                  <c:v>5.1628244430074233</c:v>
                </c:pt>
                <c:pt idx="3972">
                  <c:v>5.9732294846212657</c:v>
                </c:pt>
                <c:pt idx="3973">
                  <c:v>5.1888349294066778</c:v>
                </c:pt>
                <c:pt idx="3974">
                  <c:v>6.9439485471590787</c:v>
                </c:pt>
                <c:pt idx="3975">
                  <c:v>7.0916388548225511</c:v>
                </c:pt>
                <c:pt idx="3976">
                  <c:v>6.1254831643905172</c:v>
                </c:pt>
                <c:pt idx="3977">
                  <c:v>5.7772601540626782</c:v>
                </c:pt>
                <c:pt idx="3978">
                  <c:v>5.9866418410510542</c:v>
                </c:pt>
                <c:pt idx="3979">
                  <c:v>5.1084671607779555</c:v>
                </c:pt>
                <c:pt idx="3980">
                  <c:v>5.0421119276789659</c:v>
                </c:pt>
                <c:pt idx="3981">
                  <c:v>4.9742858897737454</c:v>
                </c:pt>
                <c:pt idx="3982">
                  <c:v>5.9922445959806359</c:v>
                </c:pt>
                <c:pt idx="3983">
                  <c:v>5.0742270582203881</c:v>
                </c:pt>
                <c:pt idx="3984">
                  <c:v>6.0134245141051235</c:v>
                </c:pt>
                <c:pt idx="3985">
                  <c:v>4.9773683186188427</c:v>
                </c:pt>
                <c:pt idx="3986">
                  <c:v>4.8217609195084661</c:v>
                </c:pt>
                <c:pt idx="3987">
                  <c:v>5.9950992337676139</c:v>
                </c:pt>
                <c:pt idx="3988">
                  <c:v>5.0504307260447829</c:v>
                </c:pt>
                <c:pt idx="3989">
                  <c:v>5.0107657118750346</c:v>
                </c:pt>
                <c:pt idx="3990">
                  <c:v>5.1076407086282929</c:v>
                </c:pt>
                <c:pt idx="3991">
                  <c:v>5.0602229767873679</c:v>
                </c:pt>
                <c:pt idx="3992">
                  <c:v>4.9644089803703331</c:v>
                </c:pt>
                <c:pt idx="3993">
                  <c:v>5.0910152779007554</c:v>
                </c:pt>
                <c:pt idx="3994">
                  <c:v>5.0640717167841025</c:v>
                </c:pt>
                <c:pt idx="3995">
                  <c:v>4.7931523193411669</c:v>
                </c:pt>
                <c:pt idx="3996">
                  <c:v>5.9531797726619757</c:v>
                </c:pt>
                <c:pt idx="3997">
                  <c:v>4.8997441675702174</c:v>
                </c:pt>
                <c:pt idx="3998">
                  <c:v>6.096541227283196</c:v>
                </c:pt>
                <c:pt idx="3999">
                  <c:v>4.901534350867637</c:v>
                </c:pt>
                <c:pt idx="4000">
                  <c:v>5.9611337611562494</c:v>
                </c:pt>
                <c:pt idx="4001">
                  <c:v>6.0445188768097013</c:v>
                </c:pt>
                <c:pt idx="4002">
                  <c:v>4.9653458861754212</c:v>
                </c:pt>
                <c:pt idx="4003">
                  <c:v>5.9404137906361054</c:v>
                </c:pt>
                <c:pt idx="4004">
                  <c:v>5.9653080994172019</c:v>
                </c:pt>
                <c:pt idx="4005">
                  <c:v>4.8272382034028603</c:v>
                </c:pt>
                <c:pt idx="4006">
                  <c:v>6.0759994792390319</c:v>
                </c:pt>
                <c:pt idx="4007">
                  <c:v>5.9836379634203878</c:v>
                </c:pt>
                <c:pt idx="4008">
                  <c:v>5.0472173511071752</c:v>
                </c:pt>
                <c:pt idx="4009">
                  <c:v>5.0135065042194986</c:v>
                </c:pt>
                <c:pt idx="4010">
                  <c:v>4.9344184034892917</c:v>
                </c:pt>
                <c:pt idx="4011">
                  <c:v>4.9867777460686673</c:v>
                </c:pt>
                <c:pt idx="4012">
                  <c:v>6.0062734313588289</c:v>
                </c:pt>
                <c:pt idx="4013">
                  <c:v>7.1150379674672708</c:v>
                </c:pt>
                <c:pt idx="4014">
                  <c:v>5.1369547282374368</c:v>
                </c:pt>
                <c:pt idx="4015">
                  <c:v>5.0495308171256825</c:v>
                </c:pt>
                <c:pt idx="4016">
                  <c:v>5.0575881482230409</c:v>
                </c:pt>
                <c:pt idx="4017">
                  <c:v>4.9733616189892649</c:v>
                </c:pt>
                <c:pt idx="4018">
                  <c:v>5.109662293481132</c:v>
                </c:pt>
                <c:pt idx="4019">
                  <c:v>4.7949054487304963</c:v>
                </c:pt>
                <c:pt idx="4020">
                  <c:v>4.9217830269898544</c:v>
                </c:pt>
                <c:pt idx="4021">
                  <c:v>4.957198446443666</c:v>
                </c:pt>
                <c:pt idx="4022">
                  <c:v>5.8046266120735366</c:v>
                </c:pt>
                <c:pt idx="4023">
                  <c:v>5.9534785828701633</c:v>
                </c:pt>
                <c:pt idx="4024">
                  <c:v>4.9552569313220971</c:v>
                </c:pt>
                <c:pt idx="4025">
                  <c:v>5.0610447213437295</c:v>
                </c:pt>
                <c:pt idx="4026">
                  <c:v>5.1259217323702222</c:v>
                </c:pt>
                <c:pt idx="4027">
                  <c:v>5.7906408308810349</c:v>
                </c:pt>
                <c:pt idx="4028">
                  <c:v>5.93688548309742</c:v>
                </c:pt>
                <c:pt idx="4029">
                  <c:v>6.2201041571186364</c:v>
                </c:pt>
                <c:pt idx="4030">
                  <c:v>4.8842224498140432</c:v>
                </c:pt>
                <c:pt idx="4031">
                  <c:v>7.034773252022374</c:v>
                </c:pt>
                <c:pt idx="4032">
                  <c:v>5.9637980044367493</c:v>
                </c:pt>
                <c:pt idx="4033">
                  <c:v>5.0756214145510858</c:v>
                </c:pt>
                <c:pt idx="4034">
                  <c:v>5.0458980342867568</c:v>
                </c:pt>
                <c:pt idx="4035">
                  <c:v>5.0237730093026123</c:v>
                </c:pt>
                <c:pt idx="4036">
                  <c:v>5.7610386755219976</c:v>
                </c:pt>
                <c:pt idx="4037">
                  <c:v>5.7379868839178583</c:v>
                </c:pt>
                <c:pt idx="4038">
                  <c:v>6.0242406111236351</c:v>
                </c:pt>
                <c:pt idx="4039">
                  <c:v>6.0496796146405698</c:v>
                </c:pt>
                <c:pt idx="4040">
                  <c:v>5.0984328228003557</c:v>
                </c:pt>
                <c:pt idx="4041">
                  <c:v>6.1350270035102428</c:v>
                </c:pt>
                <c:pt idx="4042">
                  <c:v>4.8691942608820469</c:v>
                </c:pt>
                <c:pt idx="4043">
                  <c:v>5.1496853388025903</c:v>
                </c:pt>
                <c:pt idx="4044">
                  <c:v>5.9526650222941706</c:v>
                </c:pt>
                <c:pt idx="4045">
                  <c:v>5.902435800432114</c:v>
                </c:pt>
                <c:pt idx="4046">
                  <c:v>5.0005942884679957</c:v>
                </c:pt>
                <c:pt idx="4047">
                  <c:v>5.9509370954632281</c:v>
                </c:pt>
                <c:pt idx="4048">
                  <c:v>5.1050311054347803</c:v>
                </c:pt>
                <c:pt idx="4049">
                  <c:v>5.0269718276093247</c:v>
                </c:pt>
                <c:pt idx="4050">
                  <c:v>6.0113548497670388</c:v>
                </c:pt>
                <c:pt idx="4051">
                  <c:v>4.9734897634390132</c:v>
                </c:pt>
                <c:pt idx="4052">
                  <c:v>5.0323609348160412</c:v>
                </c:pt>
                <c:pt idx="4053">
                  <c:v>6.0148812406540291</c:v>
                </c:pt>
                <c:pt idx="4054">
                  <c:v>6.0427155796833896</c:v>
                </c:pt>
                <c:pt idx="4055">
                  <c:v>5.0089777627719823</c:v>
                </c:pt>
                <c:pt idx="4056">
                  <c:v>5.9725111914354185</c:v>
                </c:pt>
                <c:pt idx="4057">
                  <c:v>6.050270421926121</c:v>
                </c:pt>
                <c:pt idx="4058">
                  <c:v>7.0999589438252695</c:v>
                </c:pt>
                <c:pt idx="4059">
                  <c:v>5.1340364086216033</c:v>
                </c:pt>
                <c:pt idx="4060">
                  <c:v>5.9953001306355613</c:v>
                </c:pt>
                <c:pt idx="4061">
                  <c:v>5.8685530434543658</c:v>
                </c:pt>
                <c:pt idx="4062">
                  <c:v>6.1707316009106297</c:v>
                </c:pt>
                <c:pt idx="4063">
                  <c:v>5.0551493212182104</c:v>
                </c:pt>
                <c:pt idx="4064">
                  <c:v>6.8971093721827295</c:v>
                </c:pt>
                <c:pt idx="4065">
                  <c:v>6.0682492543646394</c:v>
                </c:pt>
                <c:pt idx="4066">
                  <c:v>5.0636394091450248</c:v>
                </c:pt>
                <c:pt idx="4067">
                  <c:v>6.9923514705955405</c:v>
                </c:pt>
                <c:pt idx="4068">
                  <c:v>5.0303154629897602</c:v>
                </c:pt>
                <c:pt idx="4069">
                  <c:v>7.0475938871263883</c:v>
                </c:pt>
                <c:pt idx="4070">
                  <c:v>6.0501303823920392</c:v>
                </c:pt>
                <c:pt idx="4071">
                  <c:v>4.9414958031981469</c:v>
                </c:pt>
                <c:pt idx="4072">
                  <c:v>6.871810362223937</c:v>
                </c:pt>
                <c:pt idx="4073">
                  <c:v>7.0049773491910505</c:v>
                </c:pt>
                <c:pt idx="4074">
                  <c:v>5.9722893395312289</c:v>
                </c:pt>
                <c:pt idx="4075">
                  <c:v>5.0763663164909962</c:v>
                </c:pt>
                <c:pt idx="4076">
                  <c:v>4.0950245083037862</c:v>
                </c:pt>
                <c:pt idx="4077">
                  <c:v>5.0813879013226675</c:v>
                </c:pt>
                <c:pt idx="4078">
                  <c:v>3.8960831876132604</c:v>
                </c:pt>
                <c:pt idx="4079">
                  <c:v>4.9552722591246523</c:v>
                </c:pt>
                <c:pt idx="4080">
                  <c:v>5.8970996750677509</c:v>
                </c:pt>
                <c:pt idx="4081">
                  <c:v>5.0448975151210078</c:v>
                </c:pt>
                <c:pt idx="4082">
                  <c:v>5.9894576823621932</c:v>
                </c:pt>
                <c:pt idx="4083">
                  <c:v>5.0100576441539522</c:v>
                </c:pt>
                <c:pt idx="4084">
                  <c:v>4.8305270802996958</c:v>
                </c:pt>
                <c:pt idx="4085">
                  <c:v>6.0227697289652706</c:v>
                </c:pt>
                <c:pt idx="4086">
                  <c:v>6.0776469108529758</c:v>
                </c:pt>
                <c:pt idx="4087">
                  <c:v>7.0196183663879559</c:v>
                </c:pt>
                <c:pt idx="4088">
                  <c:v>4.9873990827833241</c:v>
                </c:pt>
                <c:pt idx="4089">
                  <c:v>5.0536217225754294</c:v>
                </c:pt>
                <c:pt idx="4090">
                  <c:v>4.9839711213727167</c:v>
                </c:pt>
                <c:pt idx="4091">
                  <c:v>5.0809858437595006</c:v>
                </c:pt>
                <c:pt idx="4092">
                  <c:v>5.0864984503288042</c:v>
                </c:pt>
                <c:pt idx="4093">
                  <c:v>5.8790900148510143</c:v>
                </c:pt>
                <c:pt idx="4094">
                  <c:v>6.0395159643750276</c:v>
                </c:pt>
                <c:pt idx="4095">
                  <c:v>4.9823813173840703</c:v>
                </c:pt>
                <c:pt idx="4096">
                  <c:v>7.0351168782158275</c:v>
                </c:pt>
                <c:pt idx="4097">
                  <c:v>5.0667081478428901</c:v>
                </c:pt>
                <c:pt idx="4098">
                  <c:v>4.9475803315368463</c:v>
                </c:pt>
                <c:pt idx="4099">
                  <c:v>2.9858527516942246</c:v>
                </c:pt>
                <c:pt idx="4100">
                  <c:v>7.1217313055201599</c:v>
                </c:pt>
                <c:pt idx="4101">
                  <c:v>6.0666463427966448</c:v>
                </c:pt>
                <c:pt idx="4102">
                  <c:v>6.204059728254391</c:v>
                </c:pt>
                <c:pt idx="4103">
                  <c:v>6.0436903082615272</c:v>
                </c:pt>
                <c:pt idx="4104">
                  <c:v>5.8654170002334576</c:v>
                </c:pt>
                <c:pt idx="4105">
                  <c:v>5.8908105806382096</c:v>
                </c:pt>
                <c:pt idx="4106">
                  <c:v>4.9149620112420935</c:v>
                </c:pt>
                <c:pt idx="4107">
                  <c:v>5.9234589640474553</c:v>
                </c:pt>
                <c:pt idx="4108">
                  <c:v>5.9406724760605734</c:v>
                </c:pt>
                <c:pt idx="4109">
                  <c:v>5.9051657821816095</c:v>
                </c:pt>
                <c:pt idx="4110">
                  <c:v>5.2457270881376949</c:v>
                </c:pt>
                <c:pt idx="4111">
                  <c:v>5.0372900296404231</c:v>
                </c:pt>
                <c:pt idx="4112">
                  <c:v>4.9283286453870661</c:v>
                </c:pt>
                <c:pt idx="4113">
                  <c:v>5.9981927209936226</c:v>
                </c:pt>
                <c:pt idx="4114">
                  <c:v>4.8431357933351187</c:v>
                </c:pt>
                <c:pt idx="4115">
                  <c:v>5.0405070642741112</c:v>
                </c:pt>
                <c:pt idx="4116">
                  <c:v>6.0674727910519852</c:v>
                </c:pt>
                <c:pt idx="4117">
                  <c:v>6.2372352381349137</c:v>
                </c:pt>
                <c:pt idx="4118">
                  <c:v>4.9840690070352993</c:v>
                </c:pt>
                <c:pt idx="4119">
                  <c:v>6.0736013546764847</c:v>
                </c:pt>
                <c:pt idx="4120">
                  <c:v>5.0266469388181241</c:v>
                </c:pt>
                <c:pt idx="4121">
                  <c:v>5.9423032914582539</c:v>
                </c:pt>
                <c:pt idx="4122">
                  <c:v>4.9450244462720274</c:v>
                </c:pt>
                <c:pt idx="4123">
                  <c:v>7.0955673809816968</c:v>
                </c:pt>
                <c:pt idx="4124">
                  <c:v>4.904906641314839</c:v>
                </c:pt>
                <c:pt idx="4125">
                  <c:v>5.8839770459029799</c:v>
                </c:pt>
                <c:pt idx="4126">
                  <c:v>4.9453494082015013</c:v>
                </c:pt>
                <c:pt idx="4127">
                  <c:v>5.1088836623833398</c:v>
                </c:pt>
                <c:pt idx="4128">
                  <c:v>5.9793234737306991</c:v>
                </c:pt>
                <c:pt idx="4129">
                  <c:v>4.8994675806974879</c:v>
                </c:pt>
                <c:pt idx="4130">
                  <c:v>4.8948902246717658</c:v>
                </c:pt>
                <c:pt idx="4131">
                  <c:v>4.9483863462425539</c:v>
                </c:pt>
                <c:pt idx="4132">
                  <c:v>4.816304734368023</c:v>
                </c:pt>
                <c:pt idx="4133">
                  <c:v>5.9641116287156271</c:v>
                </c:pt>
                <c:pt idx="4134">
                  <c:v>5.0544281514561575</c:v>
                </c:pt>
                <c:pt idx="4135">
                  <c:v>5.1689779300914811</c:v>
                </c:pt>
                <c:pt idx="4136">
                  <c:v>5.0181521143589176</c:v>
                </c:pt>
                <c:pt idx="4137">
                  <c:v>5.9972767501978588</c:v>
                </c:pt>
                <c:pt idx="4138">
                  <c:v>4.9547000327977972</c:v>
                </c:pt>
                <c:pt idx="4139">
                  <c:v>5.1179297721862298</c:v>
                </c:pt>
                <c:pt idx="4140">
                  <c:v>4.7830351467226144</c:v>
                </c:pt>
                <c:pt idx="4141">
                  <c:v>6.0015790385254739</c:v>
                </c:pt>
                <c:pt idx="4142">
                  <c:v>6.0998743166582647</c:v>
                </c:pt>
                <c:pt idx="4143">
                  <c:v>4.9639798217177304</c:v>
                </c:pt>
                <c:pt idx="4144">
                  <c:v>4.9692878383242265</c:v>
                </c:pt>
                <c:pt idx="4145">
                  <c:v>5.0990854611478804</c:v>
                </c:pt>
                <c:pt idx="4146">
                  <c:v>5.9681043855993181</c:v>
                </c:pt>
                <c:pt idx="4147">
                  <c:v>7.1050843731017714</c:v>
                </c:pt>
                <c:pt idx="4148">
                  <c:v>5.0068709656507435</c:v>
                </c:pt>
                <c:pt idx="4149">
                  <c:v>5.9451790847733017</c:v>
                </c:pt>
                <c:pt idx="4150">
                  <c:v>5.0255094519959709</c:v>
                </c:pt>
                <c:pt idx="4151">
                  <c:v>6.0827622868830549</c:v>
                </c:pt>
                <c:pt idx="4152">
                  <c:v>6.9852511164241911</c:v>
                </c:pt>
                <c:pt idx="4153">
                  <c:v>7.0300231794764398</c:v>
                </c:pt>
                <c:pt idx="4154">
                  <c:v>4.9876816584992785</c:v>
                </c:pt>
                <c:pt idx="4155">
                  <c:v>7.0846695007332938</c:v>
                </c:pt>
                <c:pt idx="4156">
                  <c:v>5.9412605599630899</c:v>
                </c:pt>
                <c:pt idx="4157">
                  <c:v>6.0542632734920954</c:v>
                </c:pt>
                <c:pt idx="4158">
                  <c:v>6.9021337463812573</c:v>
                </c:pt>
                <c:pt idx="4159">
                  <c:v>6.8359920332431727</c:v>
                </c:pt>
                <c:pt idx="4160">
                  <c:v>5.0042710897424261</c:v>
                </c:pt>
                <c:pt idx="4161">
                  <c:v>7.0349376929078797</c:v>
                </c:pt>
                <c:pt idx="4162">
                  <c:v>6.95758891337434</c:v>
                </c:pt>
                <c:pt idx="4163">
                  <c:v>7.0638933810207742</c:v>
                </c:pt>
                <c:pt idx="4164">
                  <c:v>6.9729377311048797</c:v>
                </c:pt>
                <c:pt idx="4165">
                  <c:v>5.1774553328357182</c:v>
                </c:pt>
                <c:pt idx="4166">
                  <c:v>5.1034425083149628</c:v>
                </c:pt>
                <c:pt idx="4167">
                  <c:v>6.8353910816923626</c:v>
                </c:pt>
                <c:pt idx="4168">
                  <c:v>5.1685895386687708</c:v>
                </c:pt>
                <c:pt idx="4169">
                  <c:v>6.9555287115909188</c:v>
                </c:pt>
                <c:pt idx="4170">
                  <c:v>5.9468233191474811</c:v>
                </c:pt>
                <c:pt idx="4171">
                  <c:v>4.9584947037997216</c:v>
                </c:pt>
                <c:pt idx="4172">
                  <c:v>5.9708250157113341</c:v>
                </c:pt>
                <c:pt idx="4173">
                  <c:v>5.0151903322428577</c:v>
                </c:pt>
                <c:pt idx="4174">
                  <c:v>4.999301519924531</c:v>
                </c:pt>
                <c:pt idx="4175">
                  <c:v>6.2639142802026626</c:v>
                </c:pt>
                <c:pt idx="4176">
                  <c:v>4.845676869750581</c:v>
                </c:pt>
                <c:pt idx="4177">
                  <c:v>4.9638270451256652</c:v>
                </c:pt>
                <c:pt idx="4178">
                  <c:v>5.938493867635902</c:v>
                </c:pt>
                <c:pt idx="4179">
                  <c:v>5.076317090221738</c:v>
                </c:pt>
                <c:pt idx="4180">
                  <c:v>5.1009443732012052</c:v>
                </c:pt>
                <c:pt idx="4181">
                  <c:v>5.9855841959641625</c:v>
                </c:pt>
                <c:pt idx="4182">
                  <c:v>4.9858395934218063</c:v>
                </c:pt>
                <c:pt idx="4183">
                  <c:v>5.0939396820832821</c:v>
                </c:pt>
                <c:pt idx="4184">
                  <c:v>5.0940516443009383</c:v>
                </c:pt>
                <c:pt idx="4185">
                  <c:v>4.9802398608153116</c:v>
                </c:pt>
                <c:pt idx="4186">
                  <c:v>4.9570743970165445</c:v>
                </c:pt>
                <c:pt idx="4187">
                  <c:v>4.9801661030050095</c:v>
                </c:pt>
                <c:pt idx="4188">
                  <c:v>6.0808983850632989</c:v>
                </c:pt>
                <c:pt idx="4189">
                  <c:v>5.0624186387232974</c:v>
                </c:pt>
                <c:pt idx="4190">
                  <c:v>5.0967858440275018</c:v>
                </c:pt>
                <c:pt idx="4191">
                  <c:v>5.0124754090250105</c:v>
                </c:pt>
                <c:pt idx="4192">
                  <c:v>4.940550430354512</c:v>
                </c:pt>
                <c:pt idx="4193">
                  <c:v>5.0207281347389872</c:v>
                </c:pt>
                <c:pt idx="4194">
                  <c:v>4.796709736630576</c:v>
                </c:pt>
                <c:pt idx="4195">
                  <c:v>5.2421566813666818</c:v>
                </c:pt>
                <c:pt idx="4196">
                  <c:v>4.9646693303753739</c:v>
                </c:pt>
                <c:pt idx="4197">
                  <c:v>6.0533817062977215</c:v>
                </c:pt>
                <c:pt idx="4198">
                  <c:v>4.9996104967819885</c:v>
                </c:pt>
                <c:pt idx="4199">
                  <c:v>5.1080685670502133</c:v>
                </c:pt>
                <c:pt idx="4200">
                  <c:v>4.8495836710543294</c:v>
                </c:pt>
                <c:pt idx="4201">
                  <c:v>5.1439292987220711</c:v>
                </c:pt>
                <c:pt idx="4202">
                  <c:v>5.0131620468278495</c:v>
                </c:pt>
                <c:pt idx="4203">
                  <c:v>6.0069969215233465</c:v>
                </c:pt>
                <c:pt idx="4204">
                  <c:v>5.881495391323452</c:v>
                </c:pt>
                <c:pt idx="4205">
                  <c:v>4.9040017682447248</c:v>
                </c:pt>
                <c:pt idx="4206">
                  <c:v>6.1061869502246084</c:v>
                </c:pt>
                <c:pt idx="4207">
                  <c:v>5.1023393592353807</c:v>
                </c:pt>
                <c:pt idx="4208">
                  <c:v>5.2121969480851629</c:v>
                </c:pt>
                <c:pt idx="4209">
                  <c:v>5.0101988706000329</c:v>
                </c:pt>
                <c:pt idx="4210">
                  <c:v>6.0902990788972442</c:v>
                </c:pt>
                <c:pt idx="4211">
                  <c:v>5.8348237130656431</c:v>
                </c:pt>
                <c:pt idx="4212">
                  <c:v>4.9871845453153654</c:v>
                </c:pt>
                <c:pt idx="4213">
                  <c:v>5.1158533847677852</c:v>
                </c:pt>
                <c:pt idx="4214">
                  <c:v>5.0037863524838206</c:v>
                </c:pt>
                <c:pt idx="4215">
                  <c:v>4.9375397674493247</c:v>
                </c:pt>
                <c:pt idx="4216">
                  <c:v>6.0075643693815568</c:v>
                </c:pt>
                <c:pt idx="4217">
                  <c:v>6.2541813711160801</c:v>
                </c:pt>
                <c:pt idx="4218">
                  <c:v>5.0682547920137306</c:v>
                </c:pt>
                <c:pt idx="4219">
                  <c:v>5.9616824043380099</c:v>
                </c:pt>
                <c:pt idx="4220">
                  <c:v>4.9709264885830002</c:v>
                </c:pt>
                <c:pt idx="4221">
                  <c:v>6.8526353576480172</c:v>
                </c:pt>
                <c:pt idx="4222">
                  <c:v>5.0186457323913505</c:v>
                </c:pt>
                <c:pt idx="4223">
                  <c:v>5.9560673969735571</c:v>
                </c:pt>
                <c:pt idx="4224">
                  <c:v>5.0061484695645682</c:v>
                </c:pt>
                <c:pt idx="4225">
                  <c:v>4.996240113671707</c:v>
                </c:pt>
                <c:pt idx="4226">
                  <c:v>6.203164573123404</c:v>
                </c:pt>
                <c:pt idx="4227">
                  <c:v>6.0444419250822818</c:v>
                </c:pt>
                <c:pt idx="4228">
                  <c:v>5.9685293435859288</c:v>
                </c:pt>
                <c:pt idx="4229">
                  <c:v>6.022884598454973</c:v>
                </c:pt>
                <c:pt idx="4230">
                  <c:v>4.957508191623508</c:v>
                </c:pt>
                <c:pt idx="4231">
                  <c:v>4.9906317689686093</c:v>
                </c:pt>
                <c:pt idx="4232">
                  <c:v>5.1539669833683481</c:v>
                </c:pt>
                <c:pt idx="4233">
                  <c:v>5.0276943246612005</c:v>
                </c:pt>
                <c:pt idx="4234">
                  <c:v>6.0058727994010033</c:v>
                </c:pt>
                <c:pt idx="4235">
                  <c:v>4.9934643738223885</c:v>
                </c:pt>
                <c:pt idx="4236">
                  <c:v>7.0806514830218648</c:v>
                </c:pt>
                <c:pt idx="4237">
                  <c:v>6.1490610094068936</c:v>
                </c:pt>
                <c:pt idx="4238">
                  <c:v>4.8949542418686791</c:v>
                </c:pt>
                <c:pt idx="4239">
                  <c:v>7.0181128736973974</c:v>
                </c:pt>
                <c:pt idx="4240">
                  <c:v>4.8943534369859476</c:v>
                </c:pt>
                <c:pt idx="4241">
                  <c:v>5.1790671608481249</c:v>
                </c:pt>
                <c:pt idx="4242">
                  <c:v>4.9172663373812142</c:v>
                </c:pt>
                <c:pt idx="4243">
                  <c:v>4.9470796207801415</c:v>
                </c:pt>
                <c:pt idx="4244">
                  <c:v>7.1528561955491679</c:v>
                </c:pt>
                <c:pt idx="4245">
                  <c:v>5.082182005906013</c:v>
                </c:pt>
                <c:pt idx="4246">
                  <c:v>4.8608196337160896</c:v>
                </c:pt>
                <c:pt idx="4247">
                  <c:v>5.054267784338915</c:v>
                </c:pt>
                <c:pt idx="4248">
                  <c:v>4.8730188084038124</c:v>
                </c:pt>
                <c:pt idx="4249">
                  <c:v>7.1112782733891411</c:v>
                </c:pt>
                <c:pt idx="4250">
                  <c:v>6.0670046444795567</c:v>
                </c:pt>
                <c:pt idx="4251">
                  <c:v>5.8872623240941024</c:v>
                </c:pt>
                <c:pt idx="4252">
                  <c:v>5.8638665714793898</c:v>
                </c:pt>
                <c:pt idx="4253">
                  <c:v>5.054638854852981</c:v>
                </c:pt>
                <c:pt idx="4254">
                  <c:v>5.067060520031891</c:v>
                </c:pt>
                <c:pt idx="4255">
                  <c:v>5.0976067957522648</c:v>
                </c:pt>
                <c:pt idx="4256">
                  <c:v>6.0638676888185969</c:v>
                </c:pt>
                <c:pt idx="4257">
                  <c:v>5.1005859741225619</c:v>
                </c:pt>
                <c:pt idx="4258">
                  <c:v>4.8672217410461265</c:v>
                </c:pt>
                <c:pt idx="4259">
                  <c:v>5.9952141840946389</c:v>
                </c:pt>
                <c:pt idx="4260">
                  <c:v>5.9709242755722096</c:v>
                </c:pt>
                <c:pt idx="4261">
                  <c:v>4.9519821510157174</c:v>
                </c:pt>
                <c:pt idx="4262">
                  <c:v>5.048076721828135</c:v>
                </c:pt>
                <c:pt idx="4263">
                  <c:v>4.9286067499500437</c:v>
                </c:pt>
                <c:pt idx="4264">
                  <c:v>5.1402578139269322</c:v>
                </c:pt>
                <c:pt idx="4265">
                  <c:v>4.001051704878523</c:v>
                </c:pt>
                <c:pt idx="4266">
                  <c:v>5.0644185562626216</c:v>
                </c:pt>
                <c:pt idx="4267">
                  <c:v>4.8665391111037808</c:v>
                </c:pt>
                <c:pt idx="4268">
                  <c:v>5.0823181867790241</c:v>
                </c:pt>
                <c:pt idx="4269">
                  <c:v>5.0352845017196763</c:v>
                </c:pt>
                <c:pt idx="4270">
                  <c:v>5.1675983201723179</c:v>
                </c:pt>
                <c:pt idx="4271">
                  <c:v>4.9262849338175005</c:v>
                </c:pt>
                <c:pt idx="4272">
                  <c:v>5.0335966597793957</c:v>
                </c:pt>
                <c:pt idx="4273">
                  <c:v>5.0029192518405488</c:v>
                </c:pt>
                <c:pt idx="4274">
                  <c:v>5.1015228573719593</c:v>
                </c:pt>
                <c:pt idx="4275">
                  <c:v>4.9335208045431305</c:v>
                </c:pt>
                <c:pt idx="4276">
                  <c:v>4.8899598407951723</c:v>
                </c:pt>
                <c:pt idx="4277">
                  <c:v>4.9233370701545898</c:v>
                </c:pt>
                <c:pt idx="4278">
                  <c:v>5.7124374656304955</c:v>
                </c:pt>
                <c:pt idx="4279">
                  <c:v>4.816716662051153</c:v>
                </c:pt>
                <c:pt idx="4280">
                  <c:v>5.8534355051522811</c:v>
                </c:pt>
                <c:pt idx="4281">
                  <c:v>6.9889303456971321</c:v>
                </c:pt>
                <c:pt idx="4282">
                  <c:v>6.0584593967564055</c:v>
                </c:pt>
                <c:pt idx="4283">
                  <c:v>6.0455986443636043</c:v>
                </c:pt>
                <c:pt idx="4284">
                  <c:v>4.9970752040470749</c:v>
                </c:pt>
                <c:pt idx="4285">
                  <c:v>5.0354453607152214</c:v>
                </c:pt>
                <c:pt idx="4286">
                  <c:v>4.8580635906206933</c:v>
                </c:pt>
                <c:pt idx="4287">
                  <c:v>5.8213498668139545</c:v>
                </c:pt>
                <c:pt idx="4288">
                  <c:v>5.9040762246902183</c:v>
                </c:pt>
                <c:pt idx="4289">
                  <c:v>7.0462244935927609</c:v>
                </c:pt>
                <c:pt idx="4290">
                  <c:v>4.9808702486954095</c:v>
                </c:pt>
                <c:pt idx="4291">
                  <c:v>6.022757765848298</c:v>
                </c:pt>
                <c:pt idx="4292">
                  <c:v>6.12633890626332</c:v>
                </c:pt>
                <c:pt idx="4293">
                  <c:v>4.9350172564717099</c:v>
                </c:pt>
                <c:pt idx="4294">
                  <c:v>7.1826944257398182</c:v>
                </c:pt>
                <c:pt idx="4295">
                  <c:v>5.9904704379232578</c:v>
                </c:pt>
                <c:pt idx="4296">
                  <c:v>6.0086313262418587</c:v>
                </c:pt>
                <c:pt idx="4297">
                  <c:v>7.1654905327753085</c:v>
                </c:pt>
                <c:pt idx="4298">
                  <c:v>4.8719061240977677</c:v>
                </c:pt>
                <c:pt idx="4299">
                  <c:v>5.1873565700874851</c:v>
                </c:pt>
                <c:pt idx="4300">
                  <c:v>5.95769125587214</c:v>
                </c:pt>
                <c:pt idx="4301">
                  <c:v>5.0148647413630778</c:v>
                </c:pt>
                <c:pt idx="4302">
                  <c:v>5.930826813092696</c:v>
                </c:pt>
                <c:pt idx="4303">
                  <c:v>6.7365037901870526</c:v>
                </c:pt>
                <c:pt idx="4304">
                  <c:v>5.0383512581651253</c:v>
                </c:pt>
                <c:pt idx="4305">
                  <c:v>5.0231168774549584</c:v>
                </c:pt>
                <c:pt idx="4306">
                  <c:v>6.9342681573570006</c:v>
                </c:pt>
                <c:pt idx="4307">
                  <c:v>5.8970699485571174</c:v>
                </c:pt>
                <c:pt idx="4308">
                  <c:v>5.8988291481711208</c:v>
                </c:pt>
                <c:pt idx="4309">
                  <c:v>4.9562653814578983</c:v>
                </c:pt>
                <c:pt idx="4310">
                  <c:v>6.0312412364382864</c:v>
                </c:pt>
                <c:pt idx="4311">
                  <c:v>5.1062760232943969</c:v>
                </c:pt>
                <c:pt idx="4312">
                  <c:v>5.1089588142446578</c:v>
                </c:pt>
                <c:pt idx="4313">
                  <c:v>4.0104242328298305</c:v>
                </c:pt>
                <c:pt idx="4314">
                  <c:v>7.0647931145077747</c:v>
                </c:pt>
                <c:pt idx="4315">
                  <c:v>5.0250303512713632</c:v>
                </c:pt>
                <c:pt idx="4316">
                  <c:v>4.98075799060768</c:v>
                </c:pt>
                <c:pt idx="4317">
                  <c:v>5.8922050296338551</c:v>
                </c:pt>
                <c:pt idx="4318">
                  <c:v>5.0770697222577095</c:v>
                </c:pt>
                <c:pt idx="4319">
                  <c:v>4.9915302499395828</c:v>
                </c:pt>
                <c:pt idx="4320">
                  <c:v>5.021385771033291</c:v>
                </c:pt>
                <c:pt idx="4321">
                  <c:v>5.9051499325790653</c:v>
                </c:pt>
                <c:pt idx="4322">
                  <c:v>5.2192914262392707</c:v>
                </c:pt>
                <c:pt idx="4323">
                  <c:v>5.9127378560679498</c:v>
                </c:pt>
                <c:pt idx="4324">
                  <c:v>4.9989106253741999</c:v>
                </c:pt>
                <c:pt idx="4325">
                  <c:v>6.2320720087940922</c:v>
                </c:pt>
                <c:pt idx="4326">
                  <c:v>6.0406498227701544</c:v>
                </c:pt>
                <c:pt idx="4327">
                  <c:v>4.8265640902047249</c:v>
                </c:pt>
                <c:pt idx="4328">
                  <c:v>4.9172905364027502</c:v>
                </c:pt>
                <c:pt idx="4329">
                  <c:v>5.0672938993402781</c:v>
                </c:pt>
                <c:pt idx="4330">
                  <c:v>5.12638488995833</c:v>
                </c:pt>
                <c:pt idx="4331">
                  <c:v>4.881319188625862</c:v>
                </c:pt>
                <c:pt idx="4332">
                  <c:v>5.0072780504468124</c:v>
                </c:pt>
                <c:pt idx="4333">
                  <c:v>3.9532258124489594</c:v>
                </c:pt>
                <c:pt idx="4334">
                  <c:v>5.8685619479914228</c:v>
                </c:pt>
                <c:pt idx="4335">
                  <c:v>4.9533749010400463</c:v>
                </c:pt>
                <c:pt idx="4336">
                  <c:v>5.9335782455842629</c:v>
                </c:pt>
                <c:pt idx="4337">
                  <c:v>4.940809966335113</c:v>
                </c:pt>
                <c:pt idx="4338">
                  <c:v>5.9135304060300689</c:v>
                </c:pt>
                <c:pt idx="4339">
                  <c:v>4.8950138783734722</c:v>
                </c:pt>
                <c:pt idx="4340">
                  <c:v>6.9261938617824637</c:v>
                </c:pt>
                <c:pt idx="4341">
                  <c:v>5.8074734873857219</c:v>
                </c:pt>
                <c:pt idx="4342">
                  <c:v>5.8606645363485343</c:v>
                </c:pt>
                <c:pt idx="4343">
                  <c:v>5.184677652780314</c:v>
                </c:pt>
                <c:pt idx="4344">
                  <c:v>5.0982591839163991</c:v>
                </c:pt>
                <c:pt idx="4345">
                  <c:v>5.0757304703781569</c:v>
                </c:pt>
                <c:pt idx="4346">
                  <c:v>4.9078298626039389</c:v>
                </c:pt>
                <c:pt idx="4347">
                  <c:v>4.9616392143715435</c:v>
                </c:pt>
                <c:pt idx="4348">
                  <c:v>6.0366235142175499</c:v>
                </c:pt>
                <c:pt idx="4349">
                  <c:v>4.9089619366734034</c:v>
                </c:pt>
                <c:pt idx="4350">
                  <c:v>5.2305171485189765</c:v>
                </c:pt>
                <c:pt idx="4351">
                  <c:v>5.7914741143575954</c:v>
                </c:pt>
                <c:pt idx="4352">
                  <c:v>6.0202545718980334</c:v>
                </c:pt>
                <c:pt idx="4353">
                  <c:v>5.1212090333774869</c:v>
                </c:pt>
                <c:pt idx="4354">
                  <c:v>5.8992712285292468</c:v>
                </c:pt>
                <c:pt idx="4355">
                  <c:v>5.0653259795651833</c:v>
                </c:pt>
                <c:pt idx="4356">
                  <c:v>5.9425318921478603</c:v>
                </c:pt>
                <c:pt idx="4357">
                  <c:v>7.1326119897817533</c:v>
                </c:pt>
                <c:pt idx="4358">
                  <c:v>4.9600075250717719</c:v>
                </c:pt>
                <c:pt idx="4359">
                  <c:v>4.9329346128770535</c:v>
                </c:pt>
                <c:pt idx="4360">
                  <c:v>4.9323708260837735</c:v>
                </c:pt>
                <c:pt idx="4361">
                  <c:v>4.8816622871550646</c:v>
                </c:pt>
                <c:pt idx="4362">
                  <c:v>6.0268582967730993</c:v>
                </c:pt>
                <c:pt idx="4363">
                  <c:v>6.9230645750695938</c:v>
                </c:pt>
                <c:pt idx="4364">
                  <c:v>5.0600515320743522</c:v>
                </c:pt>
                <c:pt idx="4365">
                  <c:v>4.9867877438202379</c:v>
                </c:pt>
                <c:pt idx="4366">
                  <c:v>5.1255253170298971</c:v>
                </c:pt>
                <c:pt idx="4367">
                  <c:v>4.8326919707836122</c:v>
                </c:pt>
                <c:pt idx="4368">
                  <c:v>5.0147927453911647</c:v>
                </c:pt>
                <c:pt idx="4369">
                  <c:v>5.0489568293068485</c:v>
                </c:pt>
                <c:pt idx="4370">
                  <c:v>5.9256638668980308</c:v>
                </c:pt>
                <c:pt idx="4371">
                  <c:v>6.1550627260674062</c:v>
                </c:pt>
                <c:pt idx="4372">
                  <c:v>4.8931620267337497</c:v>
                </c:pt>
                <c:pt idx="4373">
                  <c:v>5.9372161693032588</c:v>
                </c:pt>
                <c:pt idx="4374">
                  <c:v>6.2408843863311638</c:v>
                </c:pt>
                <c:pt idx="4375">
                  <c:v>5.0729594326674352</c:v>
                </c:pt>
                <c:pt idx="4376">
                  <c:v>6.0304339884616613</c:v>
                </c:pt>
                <c:pt idx="4377">
                  <c:v>5.0468347205032922</c:v>
                </c:pt>
                <c:pt idx="4378">
                  <c:v>6.0173969112747185</c:v>
                </c:pt>
                <c:pt idx="4379">
                  <c:v>4.9482203755249641</c:v>
                </c:pt>
                <c:pt idx="4380">
                  <c:v>6.0208030413290752</c:v>
                </c:pt>
                <c:pt idx="4381">
                  <c:v>6.031888318143853</c:v>
                </c:pt>
                <c:pt idx="4382">
                  <c:v>4.9040572713472086</c:v>
                </c:pt>
                <c:pt idx="4383">
                  <c:v>5.9714432335224412</c:v>
                </c:pt>
                <c:pt idx="4384">
                  <c:v>3.9194828788431773</c:v>
                </c:pt>
                <c:pt idx="4385">
                  <c:v>6.018907437381892</c:v>
                </c:pt>
                <c:pt idx="4386">
                  <c:v>6.01260572748199</c:v>
                </c:pt>
                <c:pt idx="4387">
                  <c:v>6.1725326868410377</c:v>
                </c:pt>
                <c:pt idx="4388">
                  <c:v>4.9725071993809999</c:v>
                </c:pt>
                <c:pt idx="4389">
                  <c:v>6.07346432980414</c:v>
                </c:pt>
                <c:pt idx="4390">
                  <c:v>6.0127524814991622</c:v>
                </c:pt>
                <c:pt idx="4391">
                  <c:v>6.0532880826277085</c:v>
                </c:pt>
                <c:pt idx="4392">
                  <c:v>5.2472564792408232</c:v>
                </c:pt>
                <c:pt idx="4393">
                  <c:v>5.040987169282527</c:v>
                </c:pt>
                <c:pt idx="4394">
                  <c:v>5.0517204979314743</c:v>
                </c:pt>
                <c:pt idx="4395">
                  <c:v>5.1228095948705175</c:v>
                </c:pt>
                <c:pt idx="4396">
                  <c:v>4.9589218562201705</c:v>
                </c:pt>
                <c:pt idx="4397">
                  <c:v>6.0532419229516572</c:v>
                </c:pt>
                <c:pt idx="4398">
                  <c:v>5.7710897647848451</c:v>
                </c:pt>
                <c:pt idx="4399">
                  <c:v>6.0644832739141448</c:v>
                </c:pt>
                <c:pt idx="4400">
                  <c:v>6.7976613293641215</c:v>
                </c:pt>
                <c:pt idx="4401">
                  <c:v>6.0467245722116623</c:v>
                </c:pt>
                <c:pt idx="4402">
                  <c:v>5.9295970809296037</c:v>
                </c:pt>
                <c:pt idx="4403">
                  <c:v>4.9536868122626174</c:v>
                </c:pt>
                <c:pt idx="4404">
                  <c:v>6.0238408445145151</c:v>
                </c:pt>
                <c:pt idx="4405">
                  <c:v>4.9895155619139002</c:v>
                </c:pt>
                <c:pt idx="4406">
                  <c:v>5.0000492243247328</c:v>
                </c:pt>
                <c:pt idx="4407">
                  <c:v>5.9240558796837712</c:v>
                </c:pt>
                <c:pt idx="4408">
                  <c:v>5.0741816038360668</c:v>
                </c:pt>
                <c:pt idx="4409">
                  <c:v>7.0637482485241883</c:v>
                </c:pt>
                <c:pt idx="4410">
                  <c:v>5.0159517990226261</c:v>
                </c:pt>
                <c:pt idx="4411">
                  <c:v>4.9510991546549832</c:v>
                </c:pt>
                <c:pt idx="4412">
                  <c:v>6.1973375841573404</c:v>
                </c:pt>
                <c:pt idx="4413">
                  <c:v>5.778807440347542</c:v>
                </c:pt>
                <c:pt idx="4414">
                  <c:v>4.9219790562460952</c:v>
                </c:pt>
                <c:pt idx="4415">
                  <c:v>5.8745180669394479</c:v>
                </c:pt>
                <c:pt idx="4416">
                  <c:v>5.8878336068015598</c:v>
                </c:pt>
                <c:pt idx="4417">
                  <c:v>5.978245889932964</c:v>
                </c:pt>
                <c:pt idx="4418">
                  <c:v>5.0436382344335309</c:v>
                </c:pt>
                <c:pt idx="4419">
                  <c:v>6.0453154587982629</c:v>
                </c:pt>
                <c:pt idx="4420">
                  <c:v>6.0655151430853849</c:v>
                </c:pt>
                <c:pt idx="4421">
                  <c:v>5.1292954068926822</c:v>
                </c:pt>
                <c:pt idx="4422">
                  <c:v>5.0523986888736356</c:v>
                </c:pt>
                <c:pt idx="4423">
                  <c:v>5.0908507299765775</c:v>
                </c:pt>
                <c:pt idx="4424">
                  <c:v>6.0206193974796758</c:v>
                </c:pt>
                <c:pt idx="4425">
                  <c:v>4.9978527682802447</c:v>
                </c:pt>
                <c:pt idx="4426">
                  <c:v>4.8852175577188603</c:v>
                </c:pt>
                <c:pt idx="4427">
                  <c:v>8.0317367771759542</c:v>
                </c:pt>
                <c:pt idx="4428">
                  <c:v>4.0370747812271359</c:v>
                </c:pt>
                <c:pt idx="4429">
                  <c:v>4.9334587520663407</c:v>
                </c:pt>
                <c:pt idx="4430">
                  <c:v>5.2263468579476493</c:v>
                </c:pt>
                <c:pt idx="4431">
                  <c:v>5.9408971687346233</c:v>
                </c:pt>
                <c:pt idx="4432">
                  <c:v>5.1163165832143171</c:v>
                </c:pt>
                <c:pt idx="4433">
                  <c:v>5.0768354344127067</c:v>
                </c:pt>
                <c:pt idx="4434">
                  <c:v>5.0507421571195481</c:v>
                </c:pt>
                <c:pt idx="4435">
                  <c:v>6.0963058359162723</c:v>
                </c:pt>
                <c:pt idx="4436">
                  <c:v>5.9485043071321995</c:v>
                </c:pt>
                <c:pt idx="4437">
                  <c:v>4.0151443755956517</c:v>
                </c:pt>
                <c:pt idx="4438">
                  <c:v>5.1613926877667913</c:v>
                </c:pt>
                <c:pt idx="4439">
                  <c:v>4.8894846589136227</c:v>
                </c:pt>
                <c:pt idx="4440">
                  <c:v>5.9962749196134055</c:v>
                </c:pt>
                <c:pt idx="4441">
                  <c:v>6.1957948576605002</c:v>
                </c:pt>
                <c:pt idx="4442">
                  <c:v>4.947813652811524</c:v>
                </c:pt>
                <c:pt idx="4443">
                  <c:v>5.089408386384239</c:v>
                </c:pt>
                <c:pt idx="4444">
                  <c:v>5.1288795631506749</c:v>
                </c:pt>
                <c:pt idx="4445">
                  <c:v>5.8237314125220072</c:v>
                </c:pt>
                <c:pt idx="4446">
                  <c:v>4.9686409164167804</c:v>
                </c:pt>
                <c:pt idx="4447">
                  <c:v>4.9296324995156144</c:v>
                </c:pt>
                <c:pt idx="4448">
                  <c:v>5.0473012942733906</c:v>
                </c:pt>
                <c:pt idx="4449">
                  <c:v>4.9094090347038506</c:v>
                </c:pt>
                <c:pt idx="4450">
                  <c:v>5.1258121333574644</c:v>
                </c:pt>
                <c:pt idx="4451">
                  <c:v>5.9773368941781175</c:v>
                </c:pt>
                <c:pt idx="4452">
                  <c:v>4.985885688346646</c:v>
                </c:pt>
                <c:pt idx="4453">
                  <c:v>4.9460573489328263</c:v>
                </c:pt>
                <c:pt idx="4454">
                  <c:v>6.0233817045387914</c:v>
                </c:pt>
                <c:pt idx="4455">
                  <c:v>4.9342280363534785</c:v>
                </c:pt>
                <c:pt idx="4456">
                  <c:v>6.0011031747578132</c:v>
                </c:pt>
                <c:pt idx="4457">
                  <c:v>5.9645945394469289</c:v>
                </c:pt>
                <c:pt idx="4458">
                  <c:v>6.1086746618135619</c:v>
                </c:pt>
                <c:pt idx="4459">
                  <c:v>5.9875714139365845</c:v>
                </c:pt>
                <c:pt idx="4460">
                  <c:v>4.02547647041541</c:v>
                </c:pt>
                <c:pt idx="4461">
                  <c:v>4.9845244938278128</c:v>
                </c:pt>
                <c:pt idx="4462">
                  <c:v>6.1388157601178053</c:v>
                </c:pt>
                <c:pt idx="4463">
                  <c:v>6.009744332618526</c:v>
                </c:pt>
                <c:pt idx="4464">
                  <c:v>5.924209244080104</c:v>
                </c:pt>
                <c:pt idx="4465">
                  <c:v>4.9533549304865563</c:v>
                </c:pt>
                <c:pt idx="4466">
                  <c:v>5.9450106576197896</c:v>
                </c:pt>
                <c:pt idx="4467">
                  <c:v>4.9498588570791089</c:v>
                </c:pt>
                <c:pt idx="4468">
                  <c:v>6.0393399903717393</c:v>
                </c:pt>
                <c:pt idx="4469">
                  <c:v>6.0380979401283659</c:v>
                </c:pt>
                <c:pt idx="4470">
                  <c:v>4.9254946527994212</c:v>
                </c:pt>
                <c:pt idx="4471">
                  <c:v>5.0081728873816616</c:v>
                </c:pt>
                <c:pt idx="4472">
                  <c:v>5.0384671474631713</c:v>
                </c:pt>
                <c:pt idx="4473">
                  <c:v>6.1429297779774323</c:v>
                </c:pt>
                <c:pt idx="4474">
                  <c:v>4.8763519556220842</c:v>
                </c:pt>
                <c:pt idx="4475">
                  <c:v>4.9547935756292469</c:v>
                </c:pt>
                <c:pt idx="4476">
                  <c:v>6.1332362986789102</c:v>
                </c:pt>
                <c:pt idx="4477">
                  <c:v>6.0162783005311509</c:v>
                </c:pt>
                <c:pt idx="4478">
                  <c:v>6.0021251321205584</c:v>
                </c:pt>
                <c:pt idx="4479">
                  <c:v>6.0282634577148331</c:v>
                </c:pt>
                <c:pt idx="4480">
                  <c:v>5.9438011834839308</c:v>
                </c:pt>
                <c:pt idx="4481">
                  <c:v>5.9307557279523939</c:v>
                </c:pt>
                <c:pt idx="4482">
                  <c:v>5.956678134922778</c:v>
                </c:pt>
                <c:pt idx="4483">
                  <c:v>5.890405435745758</c:v>
                </c:pt>
                <c:pt idx="4484">
                  <c:v>6.0231710279700241</c:v>
                </c:pt>
                <c:pt idx="4485">
                  <c:v>5.9674630832998341</c:v>
                </c:pt>
                <c:pt idx="4486">
                  <c:v>6.0813366072409663</c:v>
                </c:pt>
                <c:pt idx="4487">
                  <c:v>6.033557579933353</c:v>
                </c:pt>
                <c:pt idx="4488">
                  <c:v>6.0152782187897582</c:v>
                </c:pt>
                <c:pt idx="4489">
                  <c:v>5.903699736674251</c:v>
                </c:pt>
                <c:pt idx="4490">
                  <c:v>5.9846873733158219</c:v>
                </c:pt>
                <c:pt idx="4491">
                  <c:v>6.0962889523619426</c:v>
                </c:pt>
                <c:pt idx="4492">
                  <c:v>6.1307360883036051</c:v>
                </c:pt>
                <c:pt idx="4493">
                  <c:v>5.7689787545653886</c:v>
                </c:pt>
                <c:pt idx="4494">
                  <c:v>5.9522691630265054</c:v>
                </c:pt>
                <c:pt idx="4495">
                  <c:v>5.9294301827296341</c:v>
                </c:pt>
                <c:pt idx="4496">
                  <c:v>5.9256148932843411</c:v>
                </c:pt>
                <c:pt idx="4497">
                  <c:v>5.9212308509033065</c:v>
                </c:pt>
                <c:pt idx="4498">
                  <c:v>6.067994863582971</c:v>
                </c:pt>
                <c:pt idx="4499">
                  <c:v>5.9016880023885072</c:v>
                </c:pt>
                <c:pt idx="4500">
                  <c:v>6.0979470151355297</c:v>
                </c:pt>
                <c:pt idx="4501">
                  <c:v>6.0144701004376913</c:v>
                </c:pt>
                <c:pt idx="4502">
                  <c:v>5.8536861051056306</c:v>
                </c:pt>
                <c:pt idx="4503">
                  <c:v>5.9769463959509199</c:v>
                </c:pt>
                <c:pt idx="4504">
                  <c:v>5.9809233488784166</c:v>
                </c:pt>
                <c:pt idx="4505">
                  <c:v>5.975999335785894</c:v>
                </c:pt>
                <c:pt idx="4506">
                  <c:v>6.0591537286188926</c:v>
                </c:pt>
                <c:pt idx="4507">
                  <c:v>6.0830724455216707</c:v>
                </c:pt>
                <c:pt idx="4508">
                  <c:v>6.1240832044739015</c:v>
                </c:pt>
                <c:pt idx="4509">
                  <c:v>5.9322312212464583</c:v>
                </c:pt>
                <c:pt idx="4510">
                  <c:v>6.0752421408750097</c:v>
                </c:pt>
                <c:pt idx="4511">
                  <c:v>5.9896142645638966</c:v>
                </c:pt>
                <c:pt idx="4512">
                  <c:v>5.9972960913812994</c:v>
                </c:pt>
                <c:pt idx="4513">
                  <c:v>5.8886840668526323</c:v>
                </c:pt>
                <c:pt idx="4514">
                  <c:v>5.8266013513251345</c:v>
                </c:pt>
                <c:pt idx="4515">
                  <c:v>6.0990420057124597</c:v>
                </c:pt>
                <c:pt idx="4516">
                  <c:v>4.9745591808025171</c:v>
                </c:pt>
                <c:pt idx="4517">
                  <c:v>6.0469427430922176</c:v>
                </c:pt>
                <c:pt idx="4518">
                  <c:v>6.0474178385768562</c:v>
                </c:pt>
                <c:pt idx="4519">
                  <c:v>5.9628973219343369</c:v>
                </c:pt>
                <c:pt idx="4520">
                  <c:v>5.886287722288114</c:v>
                </c:pt>
                <c:pt idx="4521">
                  <c:v>5.7467431741679889</c:v>
                </c:pt>
                <c:pt idx="4522">
                  <c:v>5.8105443952452216</c:v>
                </c:pt>
                <c:pt idx="4523">
                  <c:v>5.9272121798424431</c:v>
                </c:pt>
                <c:pt idx="4524">
                  <c:v>5.8879291396578468</c:v>
                </c:pt>
                <c:pt idx="4525">
                  <c:v>6.042857695947438</c:v>
                </c:pt>
                <c:pt idx="4526">
                  <c:v>5.9846430783226685</c:v>
                </c:pt>
                <c:pt idx="4527">
                  <c:v>6.078838627148893</c:v>
                </c:pt>
                <c:pt idx="4528">
                  <c:v>5.8968726542306777</c:v>
                </c:pt>
                <c:pt idx="4529">
                  <c:v>5.9277183785267091</c:v>
                </c:pt>
                <c:pt idx="4530">
                  <c:v>5.0593030680265576</c:v>
                </c:pt>
                <c:pt idx="4531">
                  <c:v>6.0197545796630241</c:v>
                </c:pt>
                <c:pt idx="4532">
                  <c:v>6.0725961468795058</c:v>
                </c:pt>
                <c:pt idx="4533">
                  <c:v>6.0484303822624037</c:v>
                </c:pt>
                <c:pt idx="4534">
                  <c:v>5.919059293146395</c:v>
                </c:pt>
                <c:pt idx="4535">
                  <c:v>6.1203902386272455</c:v>
                </c:pt>
                <c:pt idx="4536">
                  <c:v>5.9540270915312146</c:v>
                </c:pt>
                <c:pt idx="4537">
                  <c:v>6.1262507841959515</c:v>
                </c:pt>
                <c:pt idx="4538">
                  <c:v>6.1477078067356654</c:v>
                </c:pt>
                <c:pt idx="4539">
                  <c:v>5.8430018812538247</c:v>
                </c:pt>
                <c:pt idx="4540">
                  <c:v>6.0447835061844568</c:v>
                </c:pt>
                <c:pt idx="4541">
                  <c:v>6.0871567469709902</c:v>
                </c:pt>
                <c:pt idx="4542">
                  <c:v>5.0657909389867104</c:v>
                </c:pt>
                <c:pt idx="4543">
                  <c:v>4.9675313859927401</c:v>
                </c:pt>
                <c:pt idx="4544">
                  <c:v>5.0354920789579101</c:v>
                </c:pt>
                <c:pt idx="4545">
                  <c:v>5.8608426339376072</c:v>
                </c:pt>
                <c:pt idx="4546">
                  <c:v>6.1687660141919363</c:v>
                </c:pt>
                <c:pt idx="4547">
                  <c:v>5.0122944575556456</c:v>
                </c:pt>
                <c:pt idx="4548">
                  <c:v>4.9784956419825699</c:v>
                </c:pt>
                <c:pt idx="4549">
                  <c:v>4.8228382424170331</c:v>
                </c:pt>
                <c:pt idx="4550">
                  <c:v>5.17091120574631</c:v>
                </c:pt>
                <c:pt idx="4551">
                  <c:v>6.1539239127293603</c:v>
                </c:pt>
                <c:pt idx="4552">
                  <c:v>7.071544136391001</c:v>
                </c:pt>
                <c:pt idx="4553">
                  <c:v>5.1855723734689532</c:v>
                </c:pt>
                <c:pt idx="4554">
                  <c:v>6.1577412767055604</c:v>
                </c:pt>
                <c:pt idx="4555">
                  <c:v>7.0016020904616365</c:v>
                </c:pt>
                <c:pt idx="4556">
                  <c:v>6.2073324857826773</c:v>
                </c:pt>
                <c:pt idx="4557">
                  <c:v>5.9219128338132325</c:v>
                </c:pt>
                <c:pt idx="4558">
                  <c:v>4.9506564058124001</c:v>
                </c:pt>
                <c:pt idx="4559">
                  <c:v>4.9300904593052239</c:v>
                </c:pt>
                <c:pt idx="4560">
                  <c:v>5.0530872093039445</c:v>
                </c:pt>
                <c:pt idx="4561">
                  <c:v>6.0364544669671831</c:v>
                </c:pt>
                <c:pt idx="4562">
                  <c:v>5.9881516193280113</c:v>
                </c:pt>
                <c:pt idx="4563">
                  <c:v>5.0617046447684286</c:v>
                </c:pt>
                <c:pt idx="4564">
                  <c:v>5.8655945839623254</c:v>
                </c:pt>
                <c:pt idx="4565">
                  <c:v>6.0797720875963641</c:v>
                </c:pt>
                <c:pt idx="4566">
                  <c:v>5.9697013292894114</c:v>
                </c:pt>
                <c:pt idx="4567">
                  <c:v>6.0408457839431202</c:v>
                </c:pt>
                <c:pt idx="4568">
                  <c:v>4.8578616648868813</c:v>
                </c:pt>
                <c:pt idx="4569">
                  <c:v>6.0782173251487501</c:v>
                </c:pt>
                <c:pt idx="4570">
                  <c:v>5.7803740394142826</c:v>
                </c:pt>
                <c:pt idx="4571">
                  <c:v>5.134228843373891</c:v>
                </c:pt>
                <c:pt idx="4572">
                  <c:v>4.9290963968243879</c:v>
                </c:pt>
                <c:pt idx="4573">
                  <c:v>5.221952434560885</c:v>
                </c:pt>
                <c:pt idx="4574">
                  <c:v>5.0108914366190387</c:v>
                </c:pt>
                <c:pt idx="4575">
                  <c:v>5.8418033487499823</c:v>
                </c:pt>
                <c:pt idx="4576">
                  <c:v>4.9331701187177286</c:v>
                </c:pt>
                <c:pt idx="4577">
                  <c:v>6.0440278700690175</c:v>
                </c:pt>
                <c:pt idx="4578">
                  <c:v>5.9042625779060529</c:v>
                </c:pt>
                <c:pt idx="4579">
                  <c:v>6.0743383220116991</c:v>
                </c:pt>
                <c:pt idx="4580">
                  <c:v>6.2589044701603598</c:v>
                </c:pt>
                <c:pt idx="4581">
                  <c:v>5.9716399674200114</c:v>
                </c:pt>
                <c:pt idx="4582">
                  <c:v>4.9324909755743462</c:v>
                </c:pt>
                <c:pt idx="4583">
                  <c:v>6.0445902885011025</c:v>
                </c:pt>
                <c:pt idx="4584">
                  <c:v>4.9767391195633603</c:v>
                </c:pt>
                <c:pt idx="4585">
                  <c:v>6.9965020072465283</c:v>
                </c:pt>
                <c:pt idx="4586">
                  <c:v>4.0847108495557887</c:v>
                </c:pt>
                <c:pt idx="4587">
                  <c:v>5.0278824071075841</c:v>
                </c:pt>
                <c:pt idx="4588">
                  <c:v>6.8925373019249978</c:v>
                </c:pt>
                <c:pt idx="4589">
                  <c:v>5.0393065565035453</c:v>
                </c:pt>
                <c:pt idx="4590">
                  <c:v>4.9968361443081601</c:v>
                </c:pt>
                <c:pt idx="4591">
                  <c:v>4.8352419199226535</c:v>
                </c:pt>
                <c:pt idx="4592">
                  <c:v>4.7999532233501139</c:v>
                </c:pt>
                <c:pt idx="4593">
                  <c:v>4.9927473665088087</c:v>
                </c:pt>
                <c:pt idx="4594">
                  <c:v>5.0354282032125628</c:v>
                </c:pt>
                <c:pt idx="4595">
                  <c:v>4.8914920098288448</c:v>
                </c:pt>
                <c:pt idx="4596">
                  <c:v>5.0362101482834989</c:v>
                </c:pt>
                <c:pt idx="4597">
                  <c:v>5.0773398566854278</c:v>
                </c:pt>
                <c:pt idx="4598">
                  <c:v>4.9398898466649328</c:v>
                </c:pt>
                <c:pt idx="4599">
                  <c:v>6.0181309897640443</c:v>
                </c:pt>
                <c:pt idx="4600">
                  <c:v>5.9690771770957722</c:v>
                </c:pt>
                <c:pt idx="4601">
                  <c:v>6.0634102159640708</c:v>
                </c:pt>
                <c:pt idx="4602">
                  <c:v>3.8281120535220845</c:v>
                </c:pt>
                <c:pt idx="4603">
                  <c:v>5.8282702443756218</c:v>
                </c:pt>
                <c:pt idx="4604">
                  <c:v>5.0199564038371456</c:v>
                </c:pt>
                <c:pt idx="4605">
                  <c:v>5.1691764369507229</c:v>
                </c:pt>
                <c:pt idx="4606">
                  <c:v>5.9928654747266972</c:v>
                </c:pt>
                <c:pt idx="4607">
                  <c:v>5.8746758431497001</c:v>
                </c:pt>
                <c:pt idx="4608">
                  <c:v>5.0793304119615961</c:v>
                </c:pt>
                <c:pt idx="4609">
                  <c:v>5.1237183592559115</c:v>
                </c:pt>
                <c:pt idx="4610">
                  <c:v>6.1280023990113799</c:v>
                </c:pt>
                <c:pt idx="4611">
                  <c:v>4.980121093578024</c:v>
                </c:pt>
                <c:pt idx="4612">
                  <c:v>5.1359763769404267</c:v>
                </c:pt>
                <c:pt idx="4613">
                  <c:v>5.9421002660233802</c:v>
                </c:pt>
                <c:pt idx="4614">
                  <c:v>4.0568202330497041</c:v>
                </c:pt>
                <c:pt idx="4615">
                  <c:v>4.9219049874494889</c:v>
                </c:pt>
                <c:pt idx="4616">
                  <c:v>6.9219899068676627</c:v>
                </c:pt>
                <c:pt idx="4617">
                  <c:v>4.8331351931009969</c:v>
                </c:pt>
                <c:pt idx="4618">
                  <c:v>5.9728077093664327</c:v>
                </c:pt>
                <c:pt idx="4619">
                  <c:v>5.0730273272765745</c:v>
                </c:pt>
                <c:pt idx="4620">
                  <c:v>6.0236869179455219</c:v>
                </c:pt>
                <c:pt idx="4621">
                  <c:v>5.9576154780920989</c:v>
                </c:pt>
                <c:pt idx="4622">
                  <c:v>4.8464307234825919</c:v>
                </c:pt>
                <c:pt idx="4623">
                  <c:v>3.0110575929625925</c:v>
                </c:pt>
                <c:pt idx="4624">
                  <c:v>5.9811174289779583</c:v>
                </c:pt>
                <c:pt idx="4625">
                  <c:v>4.0738400176168348</c:v>
                </c:pt>
                <c:pt idx="4626">
                  <c:v>4.854928344764323</c:v>
                </c:pt>
                <c:pt idx="4627">
                  <c:v>5.9395235392996142</c:v>
                </c:pt>
                <c:pt idx="4628">
                  <c:v>4.9014850426133707</c:v>
                </c:pt>
                <c:pt idx="4629">
                  <c:v>5.9023397088334892</c:v>
                </c:pt>
                <c:pt idx="4630">
                  <c:v>4.8599079497575586</c:v>
                </c:pt>
                <c:pt idx="4631">
                  <c:v>6.9588969874991786</c:v>
                </c:pt>
                <c:pt idx="4632">
                  <c:v>5.8137044025651701</c:v>
                </c:pt>
                <c:pt idx="4633">
                  <c:v>4.9359612637557317</c:v>
                </c:pt>
                <c:pt idx="4634">
                  <c:v>6.2847222764694051</c:v>
                </c:pt>
                <c:pt idx="4635">
                  <c:v>5.0626881218107922</c:v>
                </c:pt>
                <c:pt idx="4636">
                  <c:v>4.9634689959066689</c:v>
                </c:pt>
                <c:pt idx="4637">
                  <c:v>4.936990020073214</c:v>
                </c:pt>
                <c:pt idx="4638">
                  <c:v>5.9955514483111854</c:v>
                </c:pt>
                <c:pt idx="4639">
                  <c:v>5.0074125615470937</c:v>
                </c:pt>
                <c:pt idx="4640">
                  <c:v>6.0010511430357614</c:v>
                </c:pt>
                <c:pt idx="4641">
                  <c:v>5.0889404889736713</c:v>
                </c:pt>
                <c:pt idx="4642">
                  <c:v>6.0593206534830797</c:v>
                </c:pt>
                <c:pt idx="4643">
                  <c:v>4.1645748833277167</c:v>
                </c:pt>
                <c:pt idx="4644">
                  <c:v>5.0909997789237993</c:v>
                </c:pt>
                <c:pt idx="4645">
                  <c:v>6.9880138910765375</c:v>
                </c:pt>
                <c:pt idx="4646">
                  <c:v>4.9886475149356437</c:v>
                </c:pt>
                <c:pt idx="4647">
                  <c:v>6.0535168137853548</c:v>
                </c:pt>
                <c:pt idx="4648">
                  <c:v>4.8478871800368006</c:v>
                </c:pt>
                <c:pt idx="4649">
                  <c:v>6.0982912252267667</c:v>
                </c:pt>
                <c:pt idx="4650">
                  <c:v>4.9928799256021819</c:v>
                </c:pt>
                <c:pt idx="4651">
                  <c:v>5.2245651613534374</c:v>
                </c:pt>
                <c:pt idx="4652">
                  <c:v>5.9102384967185655</c:v>
                </c:pt>
                <c:pt idx="4653">
                  <c:v>5.0223789104958554</c:v>
                </c:pt>
                <c:pt idx="4654">
                  <c:v>6.0179770103728174</c:v>
                </c:pt>
                <c:pt idx="4655">
                  <c:v>5.9482324538323956</c:v>
                </c:pt>
                <c:pt idx="4656">
                  <c:v>5.7221088186205931</c:v>
                </c:pt>
                <c:pt idx="4657">
                  <c:v>4.946169038565964</c:v>
                </c:pt>
                <c:pt idx="4658">
                  <c:v>6.1907812342596671</c:v>
                </c:pt>
                <c:pt idx="4659">
                  <c:v>5.86206287327522</c:v>
                </c:pt>
                <c:pt idx="4660">
                  <c:v>5.8660867406517578</c:v>
                </c:pt>
                <c:pt idx="4661">
                  <c:v>5.0071824052265876</c:v>
                </c:pt>
                <c:pt idx="4662">
                  <c:v>4.9386816694086466</c:v>
                </c:pt>
                <c:pt idx="4663">
                  <c:v>5.9584715519688531</c:v>
                </c:pt>
                <c:pt idx="4664">
                  <c:v>5.1125991154836363</c:v>
                </c:pt>
                <c:pt idx="4665">
                  <c:v>5.0620171906644869</c:v>
                </c:pt>
                <c:pt idx="4666">
                  <c:v>3.8726031027464005</c:v>
                </c:pt>
                <c:pt idx="4667">
                  <c:v>5.0502714614475579</c:v>
                </c:pt>
                <c:pt idx="4668">
                  <c:v>6.0166263464269099</c:v>
                </c:pt>
                <c:pt idx="4669">
                  <c:v>5.00740398222921</c:v>
                </c:pt>
                <c:pt idx="4670">
                  <c:v>5.9413075472996431</c:v>
                </c:pt>
                <c:pt idx="4671">
                  <c:v>5.1975433876780608</c:v>
                </c:pt>
                <c:pt idx="4672">
                  <c:v>4.9294244920811492</c:v>
                </c:pt>
                <c:pt idx="4673">
                  <c:v>5.0067538575047807</c:v>
                </c:pt>
                <c:pt idx="4674">
                  <c:v>5.1105928571888857</c:v>
                </c:pt>
                <c:pt idx="4675">
                  <c:v>4.9227790802864444</c:v>
                </c:pt>
                <c:pt idx="4676">
                  <c:v>5.9837018815140537</c:v>
                </c:pt>
                <c:pt idx="4677">
                  <c:v>5.0303525830906128</c:v>
                </c:pt>
                <c:pt idx="4678">
                  <c:v>3.9727834138912965</c:v>
                </c:pt>
                <c:pt idx="4679">
                  <c:v>5.9242104339880326</c:v>
                </c:pt>
                <c:pt idx="4680">
                  <c:v>6.0105578472990455</c:v>
                </c:pt>
                <c:pt idx="4681">
                  <c:v>5.0492063192211685</c:v>
                </c:pt>
                <c:pt idx="4682">
                  <c:v>5.2038856879952027</c:v>
                </c:pt>
                <c:pt idx="4683">
                  <c:v>5.9605456443695966</c:v>
                </c:pt>
                <c:pt idx="4684">
                  <c:v>4.9428684728245385</c:v>
                </c:pt>
                <c:pt idx="4685">
                  <c:v>3.0811602771966777</c:v>
                </c:pt>
                <c:pt idx="4686">
                  <c:v>6.0351829367525065</c:v>
                </c:pt>
                <c:pt idx="4687">
                  <c:v>6.0136874442667745</c:v>
                </c:pt>
                <c:pt idx="4688">
                  <c:v>6.1429133408066736</c:v>
                </c:pt>
                <c:pt idx="4689">
                  <c:v>5.1674659902726647</c:v>
                </c:pt>
                <c:pt idx="4690">
                  <c:v>4.9158169486236361</c:v>
                </c:pt>
                <c:pt idx="4691">
                  <c:v>4.8999250701619133</c:v>
                </c:pt>
                <c:pt idx="4692">
                  <c:v>4.9534093227008835</c:v>
                </c:pt>
                <c:pt idx="4693">
                  <c:v>5.1071241627696118</c:v>
                </c:pt>
                <c:pt idx="4694">
                  <c:v>5.957720991842006</c:v>
                </c:pt>
                <c:pt idx="4695">
                  <c:v>4.1689103303500268</c:v>
                </c:pt>
                <c:pt idx="4696">
                  <c:v>5.7763883763692929</c:v>
                </c:pt>
                <c:pt idx="4697">
                  <c:v>6.005713730581876</c:v>
                </c:pt>
                <c:pt idx="4698">
                  <c:v>4.8507894248103769</c:v>
                </c:pt>
                <c:pt idx="4699">
                  <c:v>5.9605946573665447</c:v>
                </c:pt>
                <c:pt idx="4700">
                  <c:v>4.9745090588320293</c:v>
                </c:pt>
                <c:pt idx="4701">
                  <c:v>6.9759337085575321</c:v>
                </c:pt>
                <c:pt idx="4702">
                  <c:v>6.0272048168660337</c:v>
                </c:pt>
                <c:pt idx="4703">
                  <c:v>5.0780500683854131</c:v>
                </c:pt>
                <c:pt idx="4704">
                  <c:v>6.1873053487627327</c:v>
                </c:pt>
                <c:pt idx="4705">
                  <c:v>5.208483905370203</c:v>
                </c:pt>
                <c:pt idx="4706">
                  <c:v>5.1403915376455007</c:v>
                </c:pt>
                <c:pt idx="4707">
                  <c:v>5.0058090608652028</c:v>
                </c:pt>
                <c:pt idx="4708">
                  <c:v>4.925937340706926</c:v>
                </c:pt>
                <c:pt idx="4709">
                  <c:v>5.0038093236502101</c:v>
                </c:pt>
                <c:pt idx="4710">
                  <c:v>5.9110881702251676</c:v>
                </c:pt>
                <c:pt idx="4711">
                  <c:v>6.0399095640432208</c:v>
                </c:pt>
                <c:pt idx="4712">
                  <c:v>6.1451389695570686</c:v>
                </c:pt>
                <c:pt idx="4713">
                  <c:v>4.9448249004691123</c:v>
                </c:pt>
                <c:pt idx="4714">
                  <c:v>4.8313390700757992</c:v>
                </c:pt>
                <c:pt idx="4715">
                  <c:v>6.1184682849374141</c:v>
                </c:pt>
                <c:pt idx="4716">
                  <c:v>4.996375700659387</c:v>
                </c:pt>
                <c:pt idx="4717">
                  <c:v>6.047906694808999</c:v>
                </c:pt>
                <c:pt idx="4718">
                  <c:v>6.9925683284645173</c:v>
                </c:pt>
                <c:pt idx="4719">
                  <c:v>5.0969773405965908</c:v>
                </c:pt>
                <c:pt idx="4720">
                  <c:v>6.0064270067018013</c:v>
                </c:pt>
                <c:pt idx="4721">
                  <c:v>2.0475776868443525</c:v>
                </c:pt>
                <c:pt idx="4722">
                  <c:v>4.8396510018065015</c:v>
                </c:pt>
                <c:pt idx="4723">
                  <c:v>4.8740592625883759</c:v>
                </c:pt>
                <c:pt idx="4724">
                  <c:v>5.0290092329852891</c:v>
                </c:pt>
                <c:pt idx="4725">
                  <c:v>5.1615250367175438</c:v>
                </c:pt>
                <c:pt idx="4726">
                  <c:v>5.9916626300226712</c:v>
                </c:pt>
                <c:pt idx="4727">
                  <c:v>4.9707454800195245</c:v>
                </c:pt>
                <c:pt idx="4728">
                  <c:v>6.0089695576348632</c:v>
                </c:pt>
                <c:pt idx="4729">
                  <c:v>4.9806054014602816</c:v>
                </c:pt>
                <c:pt idx="4730">
                  <c:v>4.9558184884529171</c:v>
                </c:pt>
                <c:pt idx="4731">
                  <c:v>5.9056571577269832</c:v>
                </c:pt>
                <c:pt idx="4732">
                  <c:v>6.0108119337735513</c:v>
                </c:pt>
                <c:pt idx="4733">
                  <c:v>5.0155706370113124</c:v>
                </c:pt>
                <c:pt idx="4734">
                  <c:v>4.9947503314879924</c:v>
                </c:pt>
                <c:pt idx="4735">
                  <c:v>5.1289621075152247</c:v>
                </c:pt>
                <c:pt idx="4736">
                  <c:v>4.9533964504686265</c:v>
                </c:pt>
                <c:pt idx="4737">
                  <c:v>6.0462178867833645</c:v>
                </c:pt>
                <c:pt idx="4738">
                  <c:v>5.051507524139792</c:v>
                </c:pt>
                <c:pt idx="4739">
                  <c:v>5.8642773976933738</c:v>
                </c:pt>
                <c:pt idx="4740">
                  <c:v>4.9330773042958347</c:v>
                </c:pt>
                <c:pt idx="4741">
                  <c:v>5.0244158398450525</c:v>
                </c:pt>
                <c:pt idx="4742">
                  <c:v>5.0984287129727477</c:v>
                </c:pt>
                <c:pt idx="4743">
                  <c:v>5.8384210205342315</c:v>
                </c:pt>
                <c:pt idx="4744">
                  <c:v>5.8615906020423481</c:v>
                </c:pt>
                <c:pt idx="4745">
                  <c:v>6.0374410001208663</c:v>
                </c:pt>
                <c:pt idx="4746">
                  <c:v>7.1364037111289838</c:v>
                </c:pt>
                <c:pt idx="4747">
                  <c:v>5.9919810913090412</c:v>
                </c:pt>
                <c:pt idx="4748">
                  <c:v>4.9347636033798778</c:v>
                </c:pt>
                <c:pt idx="4749">
                  <c:v>5.0830996821375392</c:v>
                </c:pt>
                <c:pt idx="4750">
                  <c:v>5.900668594061802</c:v>
                </c:pt>
                <c:pt idx="4751">
                  <c:v>4.8629749816425933</c:v>
                </c:pt>
                <c:pt idx="4752">
                  <c:v>5.9073664105909733</c:v>
                </c:pt>
                <c:pt idx="4753">
                  <c:v>5.8537629302954262</c:v>
                </c:pt>
                <c:pt idx="4754">
                  <c:v>6.8574031011177574</c:v>
                </c:pt>
                <c:pt idx="4755">
                  <c:v>7.092771796918993</c:v>
                </c:pt>
                <c:pt idx="4756">
                  <c:v>6.0495965985140305</c:v>
                </c:pt>
                <c:pt idx="4757">
                  <c:v>4.9008683416815835</c:v>
                </c:pt>
                <c:pt idx="4758">
                  <c:v>4.9598487157606517</c:v>
                </c:pt>
                <c:pt idx="4759">
                  <c:v>3.7861809160641506</c:v>
                </c:pt>
                <c:pt idx="4760">
                  <c:v>6.0256618829814386</c:v>
                </c:pt>
                <c:pt idx="4761">
                  <c:v>5.0644875653213122</c:v>
                </c:pt>
                <c:pt idx="4762">
                  <c:v>6.012229577066754</c:v>
                </c:pt>
                <c:pt idx="4763">
                  <c:v>5.1328074250676421</c:v>
                </c:pt>
                <c:pt idx="4764">
                  <c:v>5.993710458233509</c:v>
                </c:pt>
                <c:pt idx="4765">
                  <c:v>4.8514313468405215</c:v>
                </c:pt>
                <c:pt idx="4766">
                  <c:v>5.0795531544485959</c:v>
                </c:pt>
                <c:pt idx="4767">
                  <c:v>5.0341446680279569</c:v>
                </c:pt>
                <c:pt idx="4768">
                  <c:v>6.0112551174021185</c:v>
                </c:pt>
                <c:pt idx="4769">
                  <c:v>4.0383262059962313</c:v>
                </c:pt>
                <c:pt idx="4770">
                  <c:v>5.0837051383424718</c:v>
                </c:pt>
                <c:pt idx="4771">
                  <c:v>5.0504669423152366</c:v>
                </c:pt>
                <c:pt idx="4772">
                  <c:v>6.0203919433822568</c:v>
                </c:pt>
                <c:pt idx="4773">
                  <c:v>4.8696205840388744</c:v>
                </c:pt>
                <c:pt idx="4774">
                  <c:v>5.0992339149013963</c:v>
                </c:pt>
                <c:pt idx="4775">
                  <c:v>4.9934673103307698</c:v>
                </c:pt>
                <c:pt idx="4776">
                  <c:v>6.1584809304570447</c:v>
                </c:pt>
                <c:pt idx="4777">
                  <c:v>4.0894269516043371</c:v>
                </c:pt>
                <c:pt idx="4778">
                  <c:v>5.7542040723655017</c:v>
                </c:pt>
                <c:pt idx="4779">
                  <c:v>5.0635067294713476</c:v>
                </c:pt>
                <c:pt idx="4780">
                  <c:v>6.1019530721723942</c:v>
                </c:pt>
                <c:pt idx="4781">
                  <c:v>5.0747307473693652</c:v>
                </c:pt>
                <c:pt idx="4782">
                  <c:v>6.1325091321199245</c:v>
                </c:pt>
                <c:pt idx="4783">
                  <c:v>5.035227318218074</c:v>
                </c:pt>
                <c:pt idx="4784">
                  <c:v>5.0357162727225724</c:v>
                </c:pt>
                <c:pt idx="4785">
                  <c:v>5.926202696498617</c:v>
                </c:pt>
                <c:pt idx="4786">
                  <c:v>5.0888707649002889</c:v>
                </c:pt>
                <c:pt idx="4787">
                  <c:v>6.1236918325638259</c:v>
                </c:pt>
                <c:pt idx="4788">
                  <c:v>4.9585743626078012</c:v>
                </c:pt>
                <c:pt idx="4789">
                  <c:v>5.8291905169799154</c:v>
                </c:pt>
                <c:pt idx="4790">
                  <c:v>5.0253042219640411</c:v>
                </c:pt>
                <c:pt idx="4791">
                  <c:v>5.9918087903918824</c:v>
                </c:pt>
                <c:pt idx="4792">
                  <c:v>6.1004807913363912</c:v>
                </c:pt>
                <c:pt idx="4793">
                  <c:v>4.8820337496144397</c:v>
                </c:pt>
                <c:pt idx="4794">
                  <c:v>5.0004818939615987</c:v>
                </c:pt>
                <c:pt idx="4795">
                  <c:v>6.0279798075412323</c:v>
                </c:pt>
                <c:pt idx="4796">
                  <c:v>4.1109272980030758</c:v>
                </c:pt>
                <c:pt idx="4797">
                  <c:v>5.1376517558276262</c:v>
                </c:pt>
                <c:pt idx="4798">
                  <c:v>4.9656861325245503</c:v>
                </c:pt>
                <c:pt idx="4799">
                  <c:v>6.0912765934629176</c:v>
                </c:pt>
                <c:pt idx="4800">
                  <c:v>5.1642615972629144</c:v>
                </c:pt>
                <c:pt idx="4801">
                  <c:v>5.010605236929436</c:v>
                </c:pt>
                <c:pt idx="4802">
                  <c:v>6.8849882585484439</c:v>
                </c:pt>
                <c:pt idx="4803">
                  <c:v>5.0683277954346613</c:v>
                </c:pt>
                <c:pt idx="4804">
                  <c:v>7.0807544300094687</c:v>
                </c:pt>
                <c:pt idx="4805">
                  <c:v>4.9473988727117941</c:v>
                </c:pt>
                <c:pt idx="4806">
                  <c:v>5.8126281835279121</c:v>
                </c:pt>
                <c:pt idx="4807">
                  <c:v>6.0593120034743482</c:v>
                </c:pt>
                <c:pt idx="4808">
                  <c:v>6.0922978649314823</c:v>
                </c:pt>
                <c:pt idx="4809">
                  <c:v>5.9932182020721418</c:v>
                </c:pt>
                <c:pt idx="4810">
                  <c:v>5.8961017114685932</c:v>
                </c:pt>
                <c:pt idx="4811">
                  <c:v>6.0036234149991907</c:v>
                </c:pt>
                <c:pt idx="4812">
                  <c:v>4.8918649980115623</c:v>
                </c:pt>
                <c:pt idx="4813">
                  <c:v>6.1050978726517178</c:v>
                </c:pt>
                <c:pt idx="4814">
                  <c:v>5.8632239855899755</c:v>
                </c:pt>
                <c:pt idx="4815">
                  <c:v>5.9033319678345801</c:v>
                </c:pt>
                <c:pt idx="4816">
                  <c:v>5.9601331027517102</c:v>
                </c:pt>
                <c:pt idx="4817">
                  <c:v>4.9117036655531594</c:v>
                </c:pt>
                <c:pt idx="4818">
                  <c:v>4.9690165154601837</c:v>
                </c:pt>
                <c:pt idx="4819">
                  <c:v>5.0769355722684493</c:v>
                </c:pt>
                <c:pt idx="4820">
                  <c:v>7.0485868540482262</c:v>
                </c:pt>
                <c:pt idx="4821">
                  <c:v>7.0012667835904123</c:v>
                </c:pt>
                <c:pt idx="4822">
                  <c:v>5.1107516391469821</c:v>
                </c:pt>
                <c:pt idx="4823">
                  <c:v>5.04740438577414</c:v>
                </c:pt>
                <c:pt idx="4824">
                  <c:v>5.9310505286108244</c:v>
                </c:pt>
                <c:pt idx="4825">
                  <c:v>4.8688383240798636</c:v>
                </c:pt>
                <c:pt idx="4826">
                  <c:v>5.0054591697999644</c:v>
                </c:pt>
                <c:pt idx="4827">
                  <c:v>6.28325372009588</c:v>
                </c:pt>
                <c:pt idx="4828">
                  <c:v>6.0168807864841733</c:v>
                </c:pt>
                <c:pt idx="4829">
                  <c:v>4.9150170005060989</c:v>
                </c:pt>
                <c:pt idx="4830">
                  <c:v>6.0513444254888089</c:v>
                </c:pt>
                <c:pt idx="4831">
                  <c:v>4.9108347975771114</c:v>
                </c:pt>
                <c:pt idx="4832">
                  <c:v>5.9023781379923292</c:v>
                </c:pt>
                <c:pt idx="4833">
                  <c:v>5.0682401169138283</c:v>
                </c:pt>
                <c:pt idx="4834">
                  <c:v>5.9431380264515896</c:v>
                </c:pt>
                <c:pt idx="4835">
                  <c:v>5.9541327708482887</c:v>
                </c:pt>
                <c:pt idx="4836">
                  <c:v>4.0403295810831494</c:v>
                </c:pt>
                <c:pt idx="4837">
                  <c:v>5.0940779609305471</c:v>
                </c:pt>
                <c:pt idx="4838">
                  <c:v>4.9810082621649689</c:v>
                </c:pt>
                <c:pt idx="4839">
                  <c:v>4.9403917588098594</c:v>
                </c:pt>
                <c:pt idx="4840">
                  <c:v>5.9254167714328823</c:v>
                </c:pt>
                <c:pt idx="4841">
                  <c:v>5.0221656742596705</c:v>
                </c:pt>
                <c:pt idx="4842">
                  <c:v>5.9471181657269643</c:v>
                </c:pt>
                <c:pt idx="4843">
                  <c:v>5.2367064022204994</c:v>
                </c:pt>
                <c:pt idx="4844">
                  <c:v>5.9044433608778757</c:v>
                </c:pt>
                <c:pt idx="4845">
                  <c:v>5.0080030047203987</c:v>
                </c:pt>
                <c:pt idx="4846">
                  <c:v>7.0050933976671201</c:v>
                </c:pt>
                <c:pt idx="4847">
                  <c:v>3.8090424766872872</c:v>
                </c:pt>
                <c:pt idx="4848">
                  <c:v>3.8925906431000445</c:v>
                </c:pt>
                <c:pt idx="4849">
                  <c:v>3.9132672098840127</c:v>
                </c:pt>
                <c:pt idx="4850">
                  <c:v>3.9600078963142744</c:v>
                </c:pt>
                <c:pt idx="4851">
                  <c:v>3.9395082333853799</c:v>
                </c:pt>
                <c:pt idx="4852">
                  <c:v>4.1855695969566034</c:v>
                </c:pt>
                <c:pt idx="4853">
                  <c:v>4.0238897920135184</c:v>
                </c:pt>
                <c:pt idx="4854">
                  <c:v>4.1544836135091243</c:v>
                </c:pt>
                <c:pt idx="4855">
                  <c:v>4.0947245036027704</c:v>
                </c:pt>
                <c:pt idx="4856">
                  <c:v>3.8550364527655527</c:v>
                </c:pt>
                <c:pt idx="4857">
                  <c:v>5.8396633617012217</c:v>
                </c:pt>
                <c:pt idx="4858">
                  <c:v>4.9327396343613303</c:v>
                </c:pt>
                <c:pt idx="4859">
                  <c:v>5.008399117092484</c:v>
                </c:pt>
                <c:pt idx="4860">
                  <c:v>4.9081039637646811</c:v>
                </c:pt>
                <c:pt idx="4861">
                  <c:v>4.8234567092316736</c:v>
                </c:pt>
                <c:pt idx="4862">
                  <c:v>5.8497366048149955</c:v>
                </c:pt>
                <c:pt idx="4863">
                  <c:v>6.001339654508044</c:v>
                </c:pt>
                <c:pt idx="4864">
                  <c:v>5.0370171831695485</c:v>
                </c:pt>
                <c:pt idx="4865">
                  <c:v>4.9002890040985765</c:v>
                </c:pt>
                <c:pt idx="4866">
                  <c:v>4.9105248389943981</c:v>
                </c:pt>
                <c:pt idx="4867">
                  <c:v>5.8857774089816584</c:v>
                </c:pt>
                <c:pt idx="4868">
                  <c:v>7.0460948818630555</c:v>
                </c:pt>
                <c:pt idx="4869">
                  <c:v>4.9098175988800072</c:v>
                </c:pt>
                <c:pt idx="4870">
                  <c:v>4.9491891116039817</c:v>
                </c:pt>
                <c:pt idx="4871">
                  <c:v>5.99276709975803</c:v>
                </c:pt>
                <c:pt idx="4872">
                  <c:v>5.9384142823992025</c:v>
                </c:pt>
                <c:pt idx="4873">
                  <c:v>5.8542995259491697</c:v>
                </c:pt>
                <c:pt idx="4874">
                  <c:v>4.9104007136908274</c:v>
                </c:pt>
                <c:pt idx="4875">
                  <c:v>5.06725413078461</c:v>
                </c:pt>
                <c:pt idx="4876">
                  <c:v>6.1615771142154117</c:v>
                </c:pt>
                <c:pt idx="4877">
                  <c:v>4.9581963758894876</c:v>
                </c:pt>
                <c:pt idx="4878">
                  <c:v>4.8051001117007077</c:v>
                </c:pt>
                <c:pt idx="4879">
                  <c:v>4.6814781603275675</c:v>
                </c:pt>
                <c:pt idx="4880">
                  <c:v>3.9400223252959083</c:v>
                </c:pt>
                <c:pt idx="4881">
                  <c:v>6.0112289369128522</c:v>
                </c:pt>
                <c:pt idx="4882">
                  <c:v>4.9418282779829061</c:v>
                </c:pt>
                <c:pt idx="4883">
                  <c:v>5.924999531479556</c:v>
                </c:pt>
                <c:pt idx="4884">
                  <c:v>4.9562258806367465</c:v>
                </c:pt>
                <c:pt idx="4885">
                  <c:v>4.9297455245148534</c:v>
                </c:pt>
                <c:pt idx="4886">
                  <c:v>4.981233315175138</c:v>
                </c:pt>
                <c:pt idx="4887">
                  <c:v>3.9940940159272791</c:v>
                </c:pt>
                <c:pt idx="4888">
                  <c:v>5.8854029799368046</c:v>
                </c:pt>
                <c:pt idx="4889">
                  <c:v>6.0257172076340151</c:v>
                </c:pt>
                <c:pt idx="4890">
                  <c:v>4.8575668806564662</c:v>
                </c:pt>
                <c:pt idx="4891">
                  <c:v>4.9323326226265118</c:v>
                </c:pt>
                <c:pt idx="4892">
                  <c:v>4.9986312443085268</c:v>
                </c:pt>
                <c:pt idx="4893">
                  <c:v>5.2053249422406473</c:v>
                </c:pt>
                <c:pt idx="4894">
                  <c:v>5.9029036172151956</c:v>
                </c:pt>
                <c:pt idx="4895">
                  <c:v>4.8566413436828437</c:v>
                </c:pt>
                <c:pt idx="4896">
                  <c:v>5.098620213188287</c:v>
                </c:pt>
                <c:pt idx="4897">
                  <c:v>5.0206033545961581</c:v>
                </c:pt>
                <c:pt idx="4898">
                  <c:v>5.1117301155809809</c:v>
                </c:pt>
                <c:pt idx="4899">
                  <c:v>4.8761867520321962</c:v>
                </c:pt>
                <c:pt idx="4900">
                  <c:v>4.8940190605800371</c:v>
                </c:pt>
                <c:pt idx="4901">
                  <c:v>4.9517803624183268</c:v>
                </c:pt>
                <c:pt idx="4902">
                  <c:v>4.9971737917251691</c:v>
                </c:pt>
                <c:pt idx="4903">
                  <c:v>5.775671886986018</c:v>
                </c:pt>
                <c:pt idx="4904">
                  <c:v>5.0274182625618362</c:v>
                </c:pt>
                <c:pt idx="4905">
                  <c:v>5.2409062729559199</c:v>
                </c:pt>
                <c:pt idx="4906">
                  <c:v>7.1203772052773342</c:v>
                </c:pt>
                <c:pt idx="4907">
                  <c:v>7.1618207681544508</c:v>
                </c:pt>
                <c:pt idx="4908">
                  <c:v>5.0890874236356272</c:v>
                </c:pt>
                <c:pt idx="4909">
                  <c:v>5.1359917239546524</c:v>
                </c:pt>
                <c:pt idx="4910">
                  <c:v>6.8776437409297735</c:v>
                </c:pt>
                <c:pt idx="4911">
                  <c:v>5.0026620012758727</c:v>
                </c:pt>
                <c:pt idx="4912">
                  <c:v>6.8501098035981594</c:v>
                </c:pt>
                <c:pt idx="4913">
                  <c:v>6.9825881821777473</c:v>
                </c:pt>
                <c:pt idx="4914">
                  <c:v>4.9961147468467537</c:v>
                </c:pt>
                <c:pt idx="4915">
                  <c:v>5.1360971367484574</c:v>
                </c:pt>
                <c:pt idx="4916">
                  <c:v>7.0021881082186015</c:v>
                </c:pt>
                <c:pt idx="4917">
                  <c:v>7.1239904485459675</c:v>
                </c:pt>
                <c:pt idx="4918">
                  <c:v>5.1867291500258679</c:v>
                </c:pt>
                <c:pt idx="4919">
                  <c:v>7.0846459922260054</c:v>
                </c:pt>
                <c:pt idx="4920">
                  <c:v>6.9733899891254154</c:v>
                </c:pt>
                <c:pt idx="4921">
                  <c:v>7.1069277447918626</c:v>
                </c:pt>
                <c:pt idx="4922">
                  <c:v>4.9544045749616616</c:v>
                </c:pt>
                <c:pt idx="4923">
                  <c:v>6.9746170066564863</c:v>
                </c:pt>
                <c:pt idx="4924">
                  <c:v>4.8744403001346903</c:v>
                </c:pt>
                <c:pt idx="4925">
                  <c:v>7.1923735127019714</c:v>
                </c:pt>
                <c:pt idx="4926">
                  <c:v>4.9132486306401804</c:v>
                </c:pt>
                <c:pt idx="4927">
                  <c:v>5.0129196248476644</c:v>
                </c:pt>
                <c:pt idx="4928">
                  <c:v>5.0578194985364373</c:v>
                </c:pt>
                <c:pt idx="4929">
                  <c:v>7.0167338201798861</c:v>
                </c:pt>
                <c:pt idx="4930">
                  <c:v>6.1051710799684571</c:v>
                </c:pt>
                <c:pt idx="4931">
                  <c:v>5.0726431475399014</c:v>
                </c:pt>
                <c:pt idx="4932">
                  <c:v>6.1070785054559344</c:v>
                </c:pt>
                <c:pt idx="4933">
                  <c:v>6.1342247574966304</c:v>
                </c:pt>
                <c:pt idx="4934">
                  <c:v>6.0304875600014904</c:v>
                </c:pt>
                <c:pt idx="4935">
                  <c:v>5.9714237269532022</c:v>
                </c:pt>
                <c:pt idx="4936">
                  <c:v>5.9911766111256819</c:v>
                </c:pt>
                <c:pt idx="4937">
                  <c:v>6.068484098436806</c:v>
                </c:pt>
                <c:pt idx="4938">
                  <c:v>6.0440052511656139</c:v>
                </c:pt>
                <c:pt idx="4939">
                  <c:v>6.2484127562169967</c:v>
                </c:pt>
                <c:pt idx="4940">
                  <c:v>2.9956115445707994</c:v>
                </c:pt>
                <c:pt idx="4941">
                  <c:v>5.0490530030599023</c:v>
                </c:pt>
                <c:pt idx="4942">
                  <c:v>5.9214368591059605</c:v>
                </c:pt>
                <c:pt idx="4943">
                  <c:v>4.9829211504808564</c:v>
                </c:pt>
                <c:pt idx="4944">
                  <c:v>4.9733764254809643</c:v>
                </c:pt>
                <c:pt idx="4945">
                  <c:v>4.897401769793178</c:v>
                </c:pt>
                <c:pt idx="4946">
                  <c:v>6.0109331246191937</c:v>
                </c:pt>
                <c:pt idx="4947">
                  <c:v>4.9374987409347053</c:v>
                </c:pt>
                <c:pt idx="4948">
                  <c:v>4.8897929063285526</c:v>
                </c:pt>
                <c:pt idx="4949">
                  <c:v>5.9200144867667825</c:v>
                </c:pt>
                <c:pt idx="4950">
                  <c:v>4.9709230853889483</c:v>
                </c:pt>
                <c:pt idx="4951">
                  <c:v>6.0395322145610564</c:v>
                </c:pt>
                <c:pt idx="4952">
                  <c:v>5.947014749341915</c:v>
                </c:pt>
                <c:pt idx="4953">
                  <c:v>6.2108330150961528</c:v>
                </c:pt>
                <c:pt idx="4954">
                  <c:v>3.9363179513313145</c:v>
                </c:pt>
                <c:pt idx="4955">
                  <c:v>6.1521669055326944</c:v>
                </c:pt>
                <c:pt idx="4956">
                  <c:v>4.0556803931193848</c:v>
                </c:pt>
                <c:pt idx="4957">
                  <c:v>6.0331573368889009</c:v>
                </c:pt>
                <c:pt idx="4958">
                  <c:v>6.1096134591035147</c:v>
                </c:pt>
                <c:pt idx="4959">
                  <c:v>6.0520049687075375</c:v>
                </c:pt>
                <c:pt idx="4960">
                  <c:v>5.0602625019116303</c:v>
                </c:pt>
                <c:pt idx="4961">
                  <c:v>5.0449449309169978</c:v>
                </c:pt>
                <c:pt idx="4962">
                  <c:v>6.0783886969793626</c:v>
                </c:pt>
                <c:pt idx="4963">
                  <c:v>5.9480200200516222</c:v>
                </c:pt>
                <c:pt idx="4964">
                  <c:v>5.104176145375356</c:v>
                </c:pt>
                <c:pt idx="4965">
                  <c:v>4.9687570607046334</c:v>
                </c:pt>
                <c:pt idx="4966">
                  <c:v>5.1078203707442249</c:v>
                </c:pt>
                <c:pt idx="4967">
                  <c:v>6.1332995631905005</c:v>
                </c:pt>
                <c:pt idx="4968">
                  <c:v>5.0147712039340924</c:v>
                </c:pt>
                <c:pt idx="4969">
                  <c:v>7.1084734979424882</c:v>
                </c:pt>
                <c:pt idx="4970">
                  <c:v>5.9298224194350402</c:v>
                </c:pt>
                <c:pt idx="4971">
                  <c:v>6.04119553849746</c:v>
                </c:pt>
                <c:pt idx="4972">
                  <c:v>6.2047947795964413</c:v>
                </c:pt>
                <c:pt idx="4973">
                  <c:v>6.0668458325827146</c:v>
                </c:pt>
                <c:pt idx="4974">
                  <c:v>5.0480089822551957</c:v>
                </c:pt>
                <c:pt idx="4975">
                  <c:v>5.0069799528089742</c:v>
                </c:pt>
                <c:pt idx="4976">
                  <c:v>5.9178193222249105</c:v>
                </c:pt>
                <c:pt idx="4977">
                  <c:v>6.0687380368629302</c:v>
                </c:pt>
                <c:pt idx="4978">
                  <c:v>5.0196346800800331</c:v>
                </c:pt>
                <c:pt idx="4979">
                  <c:v>5.949392015025972</c:v>
                </c:pt>
                <c:pt idx="4980">
                  <c:v>6.0742287024083543</c:v>
                </c:pt>
                <c:pt idx="4981">
                  <c:v>6.0198111933180751</c:v>
                </c:pt>
                <c:pt idx="4982">
                  <c:v>4.9385315337034283</c:v>
                </c:pt>
                <c:pt idx="4983">
                  <c:v>6.0012190571661943</c:v>
                </c:pt>
                <c:pt idx="4984">
                  <c:v>5.0660141249195405</c:v>
                </c:pt>
                <c:pt idx="4985">
                  <c:v>6.0466642786930045</c:v>
                </c:pt>
                <c:pt idx="4986">
                  <c:v>5.8081879601445081</c:v>
                </c:pt>
                <c:pt idx="4987">
                  <c:v>5.7938534454397947</c:v>
                </c:pt>
                <c:pt idx="4988">
                  <c:v>6.1028960911498595</c:v>
                </c:pt>
                <c:pt idx="4989">
                  <c:v>5.993373595116636</c:v>
                </c:pt>
                <c:pt idx="4990">
                  <c:v>5.0818514243959072</c:v>
                </c:pt>
                <c:pt idx="4991">
                  <c:v>4.9407883843325529</c:v>
                </c:pt>
                <c:pt idx="4992">
                  <c:v>5.0404661019290504</c:v>
                </c:pt>
                <c:pt idx="4993">
                  <c:v>5.1084198280314439</c:v>
                </c:pt>
                <c:pt idx="4994">
                  <c:v>7.089676982685571</c:v>
                </c:pt>
                <c:pt idx="4995">
                  <c:v>6.1157804501538422</c:v>
                </c:pt>
                <c:pt idx="4996">
                  <c:v>4.9729840491265342</c:v>
                </c:pt>
                <c:pt idx="4997">
                  <c:v>5.134856975456116</c:v>
                </c:pt>
                <c:pt idx="4998">
                  <c:v>6.0119280802206045</c:v>
                </c:pt>
                <c:pt idx="4999">
                  <c:v>5.9910910414379366</c:v>
                </c:pt>
                <c:pt idx="5000">
                  <c:v>4.9545596400861305</c:v>
                </c:pt>
                <c:pt idx="5001">
                  <c:v>5.8651430845996551</c:v>
                </c:pt>
                <c:pt idx="5002">
                  <c:v>5.011249876337768</c:v>
                </c:pt>
                <c:pt idx="5003">
                  <c:v>6.0293446243366597</c:v>
                </c:pt>
                <c:pt idx="5004">
                  <c:v>5.9457184313325433</c:v>
                </c:pt>
                <c:pt idx="5005">
                  <c:v>5.0539993686834679</c:v>
                </c:pt>
                <c:pt idx="5006">
                  <c:v>4.9148020141253923</c:v>
                </c:pt>
                <c:pt idx="5007">
                  <c:v>6.9609395163065866</c:v>
                </c:pt>
                <c:pt idx="5008">
                  <c:v>6.0683318365021313</c:v>
                </c:pt>
                <c:pt idx="5009">
                  <c:v>5.0328386876135385</c:v>
                </c:pt>
                <c:pt idx="5010">
                  <c:v>6.0406635022997515</c:v>
                </c:pt>
                <c:pt idx="5011">
                  <c:v>6.0686979083783612</c:v>
                </c:pt>
                <c:pt idx="5012">
                  <c:v>6.0978993511118276</c:v>
                </c:pt>
                <c:pt idx="5013">
                  <c:v>3.8581762440208278</c:v>
                </c:pt>
                <c:pt idx="5014">
                  <c:v>5.9120115930726493</c:v>
                </c:pt>
                <c:pt idx="5015">
                  <c:v>5.9308429031283074</c:v>
                </c:pt>
                <c:pt idx="5016">
                  <c:v>5.0792510042345649</c:v>
                </c:pt>
                <c:pt idx="5017">
                  <c:v>6.0269228920082432</c:v>
                </c:pt>
                <c:pt idx="5018">
                  <c:v>5.0303823191177708</c:v>
                </c:pt>
                <c:pt idx="5019">
                  <c:v>4.9524370794350334</c:v>
                </c:pt>
                <c:pt idx="5020">
                  <c:v>6.071143199162246</c:v>
                </c:pt>
                <c:pt idx="5021">
                  <c:v>5.0468022959247358</c:v>
                </c:pt>
                <c:pt idx="5022">
                  <c:v>6.1811779681666223</c:v>
                </c:pt>
                <c:pt idx="5023">
                  <c:v>5.8653496159212102</c:v>
                </c:pt>
                <c:pt idx="5024">
                  <c:v>6.1298602470861905</c:v>
                </c:pt>
                <c:pt idx="5025">
                  <c:v>5.9850013650620912</c:v>
                </c:pt>
                <c:pt idx="5026">
                  <c:v>4.8465764400374791</c:v>
                </c:pt>
                <c:pt idx="5027">
                  <c:v>5.9946633144354973</c:v>
                </c:pt>
                <c:pt idx="5028">
                  <c:v>6.0960435182371846</c:v>
                </c:pt>
                <c:pt idx="5029">
                  <c:v>5.9648964344176099</c:v>
                </c:pt>
                <c:pt idx="5030">
                  <c:v>6.1116378857966982</c:v>
                </c:pt>
                <c:pt idx="5031">
                  <c:v>5.7070466395653714</c:v>
                </c:pt>
                <c:pt idx="5032">
                  <c:v>5.0199486436171279</c:v>
                </c:pt>
                <c:pt idx="5033">
                  <c:v>6.0786226353268278</c:v>
                </c:pt>
                <c:pt idx="5034">
                  <c:v>4.009445693148578</c:v>
                </c:pt>
                <c:pt idx="5035">
                  <c:v>5.9587795546441003</c:v>
                </c:pt>
                <c:pt idx="5036">
                  <c:v>5.9926271602356573</c:v>
                </c:pt>
                <c:pt idx="5037">
                  <c:v>6.0055593097644051</c:v>
                </c:pt>
                <c:pt idx="5038">
                  <c:v>6.2457191284954838</c:v>
                </c:pt>
                <c:pt idx="5039">
                  <c:v>5.922775525645136</c:v>
                </c:pt>
                <c:pt idx="5040">
                  <c:v>6.029530543759428</c:v>
                </c:pt>
                <c:pt idx="5041">
                  <c:v>5.0353378471504575</c:v>
                </c:pt>
                <c:pt idx="5042">
                  <c:v>5.9767835657256203</c:v>
                </c:pt>
                <c:pt idx="5043">
                  <c:v>5.9687695921866153</c:v>
                </c:pt>
                <c:pt idx="5044">
                  <c:v>5.9586945790745149</c:v>
                </c:pt>
                <c:pt idx="5045">
                  <c:v>5.0254555914876082</c:v>
                </c:pt>
                <c:pt idx="5046">
                  <c:v>5.7995000735265085</c:v>
                </c:pt>
                <c:pt idx="5047">
                  <c:v>5.9671937138107385</c:v>
                </c:pt>
                <c:pt idx="5048">
                  <c:v>5.9448547825255025</c:v>
                </c:pt>
                <c:pt idx="5049">
                  <c:v>4.9743068558988623</c:v>
                </c:pt>
                <c:pt idx="5050">
                  <c:v>6.066651614989345</c:v>
                </c:pt>
                <c:pt idx="5051">
                  <c:v>6.2610251606965415</c:v>
                </c:pt>
                <c:pt idx="5052">
                  <c:v>5.9403433391045457</c:v>
                </c:pt>
                <c:pt idx="5053">
                  <c:v>5.9155208078203811</c:v>
                </c:pt>
                <c:pt idx="5054">
                  <c:v>5.0462245729909201</c:v>
                </c:pt>
                <c:pt idx="5055">
                  <c:v>6.0123482450790959</c:v>
                </c:pt>
                <c:pt idx="5056">
                  <c:v>6.1946960969361182</c:v>
                </c:pt>
                <c:pt idx="5057">
                  <c:v>5.9730915289890234</c:v>
                </c:pt>
                <c:pt idx="5058">
                  <c:v>5.1150625101268945</c:v>
                </c:pt>
                <c:pt idx="5059">
                  <c:v>7.1754260668771961</c:v>
                </c:pt>
                <c:pt idx="5060">
                  <c:v>6.1068579299054218</c:v>
                </c:pt>
                <c:pt idx="5061">
                  <c:v>6.0216116697679158</c:v>
                </c:pt>
                <c:pt idx="5062">
                  <c:v>4.9005411630220541</c:v>
                </c:pt>
                <c:pt idx="5063">
                  <c:v>6.0334805543666032</c:v>
                </c:pt>
                <c:pt idx="5064">
                  <c:v>5.0938395637805867</c:v>
                </c:pt>
                <c:pt idx="5065">
                  <c:v>6.1112638698907045</c:v>
                </c:pt>
                <c:pt idx="5066">
                  <c:v>4.9996037305463528</c:v>
                </c:pt>
                <c:pt idx="5067">
                  <c:v>6.0088612974706264</c:v>
                </c:pt>
                <c:pt idx="5068">
                  <c:v>4.9947612645633352</c:v>
                </c:pt>
                <c:pt idx="5069">
                  <c:v>5.0334258579452653</c:v>
                </c:pt>
                <c:pt idx="5070">
                  <c:v>5.0317866196551462</c:v>
                </c:pt>
                <c:pt idx="5071">
                  <c:v>6.0341280056389053</c:v>
                </c:pt>
                <c:pt idx="5072">
                  <c:v>5.782085709291902</c:v>
                </c:pt>
                <c:pt idx="5073">
                  <c:v>6.0380662051118517</c:v>
                </c:pt>
                <c:pt idx="5074">
                  <c:v>5.9017333770187363</c:v>
                </c:pt>
                <c:pt idx="5075">
                  <c:v>4.7898342506174068</c:v>
                </c:pt>
                <c:pt idx="5076">
                  <c:v>4.9269076348188428</c:v>
                </c:pt>
                <c:pt idx="5077">
                  <c:v>6.9914972096573651</c:v>
                </c:pt>
                <c:pt idx="5078">
                  <c:v>5.0703580237584243</c:v>
                </c:pt>
                <c:pt idx="5079">
                  <c:v>5.1292516040849723</c:v>
                </c:pt>
                <c:pt idx="5080">
                  <c:v>4.8931463077257726</c:v>
                </c:pt>
                <c:pt idx="5081">
                  <c:v>5.0818820922180343</c:v>
                </c:pt>
                <c:pt idx="5082">
                  <c:v>6.1042319836226859</c:v>
                </c:pt>
                <c:pt idx="5083">
                  <c:v>6.0199152458218368</c:v>
                </c:pt>
                <c:pt idx="5084">
                  <c:v>4.826656477689192</c:v>
                </c:pt>
                <c:pt idx="5085">
                  <c:v>6.066430630762575</c:v>
                </c:pt>
                <c:pt idx="5086">
                  <c:v>5.0549607683646585</c:v>
                </c:pt>
                <c:pt idx="5087">
                  <c:v>4.9733892749220061</c:v>
                </c:pt>
                <c:pt idx="5088">
                  <c:v>6.1117537063086322</c:v>
                </c:pt>
                <c:pt idx="5089">
                  <c:v>4.9472201249815333</c:v>
                </c:pt>
                <c:pt idx="5090">
                  <c:v>5.0460753986650797</c:v>
                </c:pt>
                <c:pt idx="5091">
                  <c:v>5.0239507649505892</c:v>
                </c:pt>
                <c:pt idx="5092">
                  <c:v>6.0274999741101247</c:v>
                </c:pt>
                <c:pt idx="5093">
                  <c:v>6.1300299513877334</c:v>
                </c:pt>
                <c:pt idx="5094">
                  <c:v>5.0412891553466554</c:v>
                </c:pt>
                <c:pt idx="5095">
                  <c:v>6.0170324833944857</c:v>
                </c:pt>
                <c:pt idx="5096">
                  <c:v>5.9939003122523369</c:v>
                </c:pt>
                <c:pt idx="5097">
                  <c:v>7.0038650806501082</c:v>
                </c:pt>
                <c:pt idx="5098">
                  <c:v>5.8632789037366502</c:v>
                </c:pt>
                <c:pt idx="5099">
                  <c:v>5.9917140309642267</c:v>
                </c:pt>
                <c:pt idx="5100">
                  <c:v>5.0473478290165072</c:v>
                </c:pt>
                <c:pt idx="5101">
                  <c:v>6.0162140464903375</c:v>
                </c:pt>
                <c:pt idx="5102">
                  <c:v>6.0933354576975551</c:v>
                </c:pt>
                <c:pt idx="5103">
                  <c:v>4.9466471957646236</c:v>
                </c:pt>
                <c:pt idx="5104">
                  <c:v>6.0465112260220586</c:v>
                </c:pt>
                <c:pt idx="5105">
                  <c:v>5.9079277538397061</c:v>
                </c:pt>
                <c:pt idx="5106">
                  <c:v>3.9538270615622149</c:v>
                </c:pt>
                <c:pt idx="5107">
                  <c:v>5.9896402068368753</c:v>
                </c:pt>
                <c:pt idx="5108">
                  <c:v>5.9387109424058302</c:v>
                </c:pt>
                <c:pt idx="5109">
                  <c:v>5.85248117319082</c:v>
                </c:pt>
                <c:pt idx="5110">
                  <c:v>6.1527771022023749</c:v>
                </c:pt>
                <c:pt idx="5111">
                  <c:v>4.8801254268958401</c:v>
                </c:pt>
                <c:pt idx="5112">
                  <c:v>5.0200356159610529</c:v>
                </c:pt>
                <c:pt idx="5113">
                  <c:v>5.0581672189762816</c:v>
                </c:pt>
                <c:pt idx="5114">
                  <c:v>4.8687698729552613</c:v>
                </c:pt>
                <c:pt idx="5115">
                  <c:v>5.999787971862216</c:v>
                </c:pt>
                <c:pt idx="5116">
                  <c:v>5.9160466342968299</c:v>
                </c:pt>
                <c:pt idx="5117">
                  <c:v>4.7989531038114208</c:v>
                </c:pt>
                <c:pt idx="5118">
                  <c:v>6.0926435833180976</c:v>
                </c:pt>
                <c:pt idx="5119">
                  <c:v>4.9012023563519449</c:v>
                </c:pt>
                <c:pt idx="5120">
                  <c:v>5.8204219973444404</c:v>
                </c:pt>
                <c:pt idx="5121">
                  <c:v>4.9347872419895626</c:v>
                </c:pt>
                <c:pt idx="5122">
                  <c:v>4.8896076492874823</c:v>
                </c:pt>
                <c:pt idx="5123">
                  <c:v>6.006675992768332</c:v>
                </c:pt>
                <c:pt idx="5124">
                  <c:v>4.9369853246413911</c:v>
                </c:pt>
                <c:pt idx="5125">
                  <c:v>6.1718535451091876</c:v>
                </c:pt>
                <c:pt idx="5126">
                  <c:v>6.0757232062572664</c:v>
                </c:pt>
                <c:pt idx="5127">
                  <c:v>4.9228744779434495</c:v>
                </c:pt>
                <c:pt idx="5128">
                  <c:v>6.0277164892246935</c:v>
                </c:pt>
                <c:pt idx="5129">
                  <c:v>5.664308165974016</c:v>
                </c:pt>
                <c:pt idx="5130">
                  <c:v>5.9989362063205451</c:v>
                </c:pt>
                <c:pt idx="5131">
                  <c:v>5.8866111097588014</c:v>
                </c:pt>
                <c:pt idx="5132">
                  <c:v>5.9239664206985587</c:v>
                </c:pt>
                <c:pt idx="5133">
                  <c:v>5.9857735410680064</c:v>
                </c:pt>
                <c:pt idx="5134">
                  <c:v>6.0766917644952576</c:v>
                </c:pt>
                <c:pt idx="5135">
                  <c:v>6.8779320562401089</c:v>
                </c:pt>
                <c:pt idx="5136">
                  <c:v>6.0176334056244478</c:v>
                </c:pt>
                <c:pt idx="5137">
                  <c:v>4.9496323403470051</c:v>
                </c:pt>
                <c:pt idx="5138">
                  <c:v>5.9917926065346885</c:v>
                </c:pt>
                <c:pt idx="5139">
                  <c:v>5.9808122991383845</c:v>
                </c:pt>
                <c:pt idx="5140">
                  <c:v>6.0618480531901477</c:v>
                </c:pt>
                <c:pt idx="5141">
                  <c:v>6.239614251351731</c:v>
                </c:pt>
                <c:pt idx="5142">
                  <c:v>6.0134738867071631</c:v>
                </c:pt>
                <c:pt idx="5143">
                  <c:v>5.9903057897638288</c:v>
                </c:pt>
                <c:pt idx="5144">
                  <c:v>4.8571185814301909</c:v>
                </c:pt>
                <c:pt idx="5145">
                  <c:v>5.0602466201798659</c:v>
                </c:pt>
                <c:pt idx="5146">
                  <c:v>4.9291872161706554</c:v>
                </c:pt>
                <c:pt idx="5147">
                  <c:v>5.8902391176643283</c:v>
                </c:pt>
                <c:pt idx="5148">
                  <c:v>6.0848336253282636</c:v>
                </c:pt>
                <c:pt idx="5149">
                  <c:v>5.8999962530216656</c:v>
                </c:pt>
                <c:pt idx="5150">
                  <c:v>5.1230218998664547</c:v>
                </c:pt>
                <c:pt idx="5151">
                  <c:v>4.8956096339504844</c:v>
                </c:pt>
                <c:pt idx="5152">
                  <c:v>4.8672026121898524</c:v>
                </c:pt>
                <c:pt idx="5153">
                  <c:v>4.9132623765095742</c:v>
                </c:pt>
                <c:pt idx="5154">
                  <c:v>4.9584299658109225</c:v>
                </c:pt>
                <c:pt idx="5155">
                  <c:v>7.130795089282028</c:v>
                </c:pt>
                <c:pt idx="5156">
                  <c:v>5.8641807635881777</c:v>
                </c:pt>
                <c:pt idx="5157">
                  <c:v>7.1996113907797126</c:v>
                </c:pt>
                <c:pt idx="5158">
                  <c:v>6.0675442958716488</c:v>
                </c:pt>
                <c:pt idx="5159">
                  <c:v>4.8687530976572555</c:v>
                </c:pt>
                <c:pt idx="5160">
                  <c:v>5.0139161644279868</c:v>
                </c:pt>
                <c:pt idx="5161">
                  <c:v>7.1740097067463111</c:v>
                </c:pt>
                <c:pt idx="5162">
                  <c:v>5.8964871062099924</c:v>
                </c:pt>
                <c:pt idx="5163">
                  <c:v>5.9635854364075129</c:v>
                </c:pt>
                <c:pt idx="5164">
                  <c:v>5.9704150224467831</c:v>
                </c:pt>
                <c:pt idx="5165">
                  <c:v>5.1275015061909857</c:v>
                </c:pt>
                <c:pt idx="5166">
                  <c:v>5.9200326283155409</c:v>
                </c:pt>
                <c:pt idx="5167">
                  <c:v>5.0904006174463809</c:v>
                </c:pt>
                <c:pt idx="5168">
                  <c:v>5.0792353909760672</c:v>
                </c:pt>
                <c:pt idx="5169">
                  <c:v>5.9052558722250366</c:v>
                </c:pt>
                <c:pt idx="5170">
                  <c:v>6.0136956363715255</c:v>
                </c:pt>
                <c:pt idx="5171">
                  <c:v>6.0158106209435029</c:v>
                </c:pt>
                <c:pt idx="5172">
                  <c:v>4.973098919683677</c:v>
                </c:pt>
                <c:pt idx="5173">
                  <c:v>5.9114213061052707</c:v>
                </c:pt>
                <c:pt idx="5174">
                  <c:v>5.9440970855963284</c:v>
                </c:pt>
                <c:pt idx="5175">
                  <c:v>6.0349728196214389</c:v>
                </c:pt>
                <c:pt idx="5176">
                  <c:v>4.773845939079493</c:v>
                </c:pt>
                <c:pt idx="5177">
                  <c:v>5.0782429069832755</c:v>
                </c:pt>
                <c:pt idx="5178">
                  <c:v>7.1084116294002051</c:v>
                </c:pt>
                <c:pt idx="5179">
                  <c:v>6.0144316333672192</c:v>
                </c:pt>
                <c:pt idx="5180">
                  <c:v>5.880127585446794</c:v>
                </c:pt>
                <c:pt idx="5181">
                  <c:v>5.9766414053443517</c:v>
                </c:pt>
                <c:pt idx="5182">
                  <c:v>5.1481591340517419</c:v>
                </c:pt>
                <c:pt idx="5183">
                  <c:v>6.0348372674140451</c:v>
                </c:pt>
                <c:pt idx="5184">
                  <c:v>5.0587720693623668</c:v>
                </c:pt>
                <c:pt idx="5185">
                  <c:v>7.0463654103104201</c:v>
                </c:pt>
                <c:pt idx="5186">
                  <c:v>4.9335906739981699</c:v>
                </c:pt>
                <c:pt idx="5187">
                  <c:v>5.0937700239776564</c:v>
                </c:pt>
                <c:pt idx="5188">
                  <c:v>6.138180588132867</c:v>
                </c:pt>
                <c:pt idx="5189">
                  <c:v>6.0536367704915399</c:v>
                </c:pt>
                <c:pt idx="5190">
                  <c:v>5.0743062368042242</c:v>
                </c:pt>
                <c:pt idx="5191">
                  <c:v>5.7854911666910951</c:v>
                </c:pt>
                <c:pt idx="5192">
                  <c:v>5.9702884334705448</c:v>
                </c:pt>
                <c:pt idx="5193">
                  <c:v>6.0777189127895808</c:v>
                </c:pt>
                <c:pt idx="5194">
                  <c:v>4.0030294768847279</c:v>
                </c:pt>
                <c:pt idx="5195">
                  <c:v>5.0405785345729672</c:v>
                </c:pt>
                <c:pt idx="5196">
                  <c:v>4.947903662529904</c:v>
                </c:pt>
                <c:pt idx="5197">
                  <c:v>4.9130170070084178</c:v>
                </c:pt>
                <c:pt idx="5198">
                  <c:v>5.8947950314331514</c:v>
                </c:pt>
                <c:pt idx="5199">
                  <c:v>3.9380231014281724</c:v>
                </c:pt>
                <c:pt idx="5200">
                  <c:v>6.0603231202367596</c:v>
                </c:pt>
                <c:pt idx="5201">
                  <c:v>5.9234444459539679</c:v>
                </c:pt>
                <c:pt idx="5202">
                  <c:v>6.2970891259816328</c:v>
                </c:pt>
                <c:pt idx="5203">
                  <c:v>5.9388066202076661</c:v>
                </c:pt>
                <c:pt idx="5204">
                  <c:v>4.9388787106923457</c:v>
                </c:pt>
                <c:pt idx="5205">
                  <c:v>6.9342120765196924</c:v>
                </c:pt>
                <c:pt idx="5206">
                  <c:v>6.8287678241424734</c:v>
                </c:pt>
                <c:pt idx="5207">
                  <c:v>4.8729735209632938</c:v>
                </c:pt>
                <c:pt idx="5208">
                  <c:v>4.9227006546062491</c:v>
                </c:pt>
                <c:pt idx="5209">
                  <c:v>5.8318952028412152</c:v>
                </c:pt>
                <c:pt idx="5210">
                  <c:v>5.1301549607690227</c:v>
                </c:pt>
                <c:pt idx="5211">
                  <c:v>7.0914720928345423</c:v>
                </c:pt>
                <c:pt idx="5212">
                  <c:v>4.8370558974651274</c:v>
                </c:pt>
                <c:pt idx="5213">
                  <c:v>4.7477949236548538</c:v>
                </c:pt>
                <c:pt idx="5214">
                  <c:v>6.0719312492804542</c:v>
                </c:pt>
                <c:pt idx="5215">
                  <c:v>4.9862639172644787</c:v>
                </c:pt>
                <c:pt idx="5216">
                  <c:v>5.1517605266049387</c:v>
                </c:pt>
                <c:pt idx="5217">
                  <c:v>5.0625443591390047</c:v>
                </c:pt>
                <c:pt idx="5218">
                  <c:v>5.8589751611836238</c:v>
                </c:pt>
                <c:pt idx="5219">
                  <c:v>5.075707500149047</c:v>
                </c:pt>
                <c:pt idx="5220">
                  <c:v>5.9857411362610016</c:v>
                </c:pt>
                <c:pt idx="5221">
                  <c:v>5.0371369504301038</c:v>
                </c:pt>
                <c:pt idx="5222">
                  <c:v>6.2700115484357068</c:v>
                </c:pt>
                <c:pt idx="5223">
                  <c:v>5.9751024982147412</c:v>
                </c:pt>
                <c:pt idx="5224">
                  <c:v>5.9177390668868428</c:v>
                </c:pt>
                <c:pt idx="5225">
                  <c:v>4.9365143073001247</c:v>
                </c:pt>
                <c:pt idx="5226">
                  <c:v>3.8892702827380257</c:v>
                </c:pt>
                <c:pt idx="5227">
                  <c:v>5.0379013641784853</c:v>
                </c:pt>
                <c:pt idx="5228">
                  <c:v>4.8491301567015981</c:v>
                </c:pt>
                <c:pt idx="5229">
                  <c:v>7.0181827642634955</c:v>
                </c:pt>
                <c:pt idx="5230">
                  <c:v>5.8419430468054232</c:v>
                </c:pt>
                <c:pt idx="5231">
                  <c:v>6.0113222294631905</c:v>
                </c:pt>
                <c:pt idx="5232">
                  <c:v>5.9316522946597843</c:v>
                </c:pt>
                <c:pt idx="5233">
                  <c:v>4.9371900304106671</c:v>
                </c:pt>
                <c:pt idx="5234">
                  <c:v>4.9517437181291086</c:v>
                </c:pt>
                <c:pt idx="5235">
                  <c:v>6.8165998253512647</c:v>
                </c:pt>
                <c:pt idx="5236">
                  <c:v>5.8764986807469439</c:v>
                </c:pt>
                <c:pt idx="5237">
                  <c:v>5.0955313116468597</c:v>
                </c:pt>
                <c:pt idx="5238">
                  <c:v>4.0325038335422452</c:v>
                </c:pt>
                <c:pt idx="5239">
                  <c:v>5.9741467885034671</c:v>
                </c:pt>
                <c:pt idx="5240">
                  <c:v>4.820336681760188</c:v>
                </c:pt>
                <c:pt idx="5241">
                  <c:v>4.9692670772465446</c:v>
                </c:pt>
                <c:pt idx="5242">
                  <c:v>6.0828842402079477</c:v>
                </c:pt>
                <c:pt idx="5243">
                  <c:v>5.9431129049066476</c:v>
                </c:pt>
                <c:pt idx="5244">
                  <c:v>4.9478682031875083</c:v>
                </c:pt>
                <c:pt idx="5245">
                  <c:v>5.9875843342228601</c:v>
                </c:pt>
                <c:pt idx="5246">
                  <c:v>4.8380043203735852</c:v>
                </c:pt>
                <c:pt idx="5247">
                  <c:v>5.9353962346664524</c:v>
                </c:pt>
                <c:pt idx="5248">
                  <c:v>6.218913777489627</c:v>
                </c:pt>
                <c:pt idx="5249">
                  <c:v>4.9345986883722102</c:v>
                </c:pt>
                <c:pt idx="5250">
                  <c:v>6.1240646135835854</c:v>
                </c:pt>
                <c:pt idx="5251">
                  <c:v>7.042229608891013</c:v>
                </c:pt>
                <c:pt idx="5252">
                  <c:v>7.0008674930015706</c:v>
                </c:pt>
                <c:pt idx="5253">
                  <c:v>5.047447323546618</c:v>
                </c:pt>
                <c:pt idx="5254">
                  <c:v>4.9681001343189282</c:v>
                </c:pt>
                <c:pt idx="5255">
                  <c:v>6.9526674449822172</c:v>
                </c:pt>
                <c:pt idx="5256">
                  <c:v>5.7379902486278</c:v>
                </c:pt>
                <c:pt idx="5257">
                  <c:v>5.9962288801225716</c:v>
                </c:pt>
                <c:pt idx="5258">
                  <c:v>6.0323188386361659</c:v>
                </c:pt>
                <c:pt idx="5259">
                  <c:v>5.9186621059773454</c:v>
                </c:pt>
                <c:pt idx="5260">
                  <c:v>4.9148875595481876</c:v>
                </c:pt>
                <c:pt idx="5261">
                  <c:v>6.0194385254936043</c:v>
                </c:pt>
                <c:pt idx="5262">
                  <c:v>6.0285772762216698</c:v>
                </c:pt>
                <c:pt idx="5263">
                  <c:v>5.9798013096923919</c:v>
                </c:pt>
                <c:pt idx="5264">
                  <c:v>5.8156633073068207</c:v>
                </c:pt>
                <c:pt idx="5265">
                  <c:v>6.0065607457527488</c:v>
                </c:pt>
                <c:pt idx="5266">
                  <c:v>5.9959071485411641</c:v>
                </c:pt>
                <c:pt idx="5267">
                  <c:v>5.9985430576723395</c:v>
                </c:pt>
                <c:pt idx="5268">
                  <c:v>5.1173934853310437</c:v>
                </c:pt>
                <c:pt idx="5269">
                  <c:v>5.9249299039117922</c:v>
                </c:pt>
                <c:pt idx="5270">
                  <c:v>6.0439348171396494</c:v>
                </c:pt>
                <c:pt idx="5271">
                  <c:v>6.0258771133824203</c:v>
                </c:pt>
                <c:pt idx="5272">
                  <c:v>5.8895666784202136</c:v>
                </c:pt>
                <c:pt idx="5273">
                  <c:v>6.1088533166340904</c:v>
                </c:pt>
                <c:pt idx="5274">
                  <c:v>5.964337926174343</c:v>
                </c:pt>
                <c:pt idx="5275">
                  <c:v>6.9428298388517806</c:v>
                </c:pt>
                <c:pt idx="5276">
                  <c:v>5.0315391844030897</c:v>
                </c:pt>
                <c:pt idx="5277">
                  <c:v>4.8541252016955507</c:v>
                </c:pt>
                <c:pt idx="5278">
                  <c:v>5.8410835861028527</c:v>
                </c:pt>
                <c:pt idx="5279">
                  <c:v>5.8566046086370225</c:v>
                </c:pt>
                <c:pt idx="5280">
                  <c:v>5.1806883605131446</c:v>
                </c:pt>
                <c:pt idx="5281">
                  <c:v>6.0771954110583568</c:v>
                </c:pt>
                <c:pt idx="5282">
                  <c:v>5.0490977240680666</c:v>
                </c:pt>
                <c:pt idx="5283">
                  <c:v>4.9485142376711533</c:v>
                </c:pt>
                <c:pt idx="5284">
                  <c:v>3.949410526180174</c:v>
                </c:pt>
                <c:pt idx="5285">
                  <c:v>6.1094834011966999</c:v>
                </c:pt>
                <c:pt idx="5286">
                  <c:v>3.856612665488298</c:v>
                </c:pt>
                <c:pt idx="5287">
                  <c:v>5.0977555404269825</c:v>
                </c:pt>
                <c:pt idx="5288">
                  <c:v>5.8153765814496072</c:v>
                </c:pt>
                <c:pt idx="5289">
                  <c:v>4.8281448692005178</c:v>
                </c:pt>
                <c:pt idx="5290">
                  <c:v>6.9615634197140448</c:v>
                </c:pt>
                <c:pt idx="5291">
                  <c:v>4.9461831062472497</c:v>
                </c:pt>
                <c:pt idx="5292">
                  <c:v>4.8891523060889162</c:v>
                </c:pt>
                <c:pt idx="5293">
                  <c:v>5.0992469560163114</c:v>
                </c:pt>
                <c:pt idx="5294">
                  <c:v>4.9651272082521025</c:v>
                </c:pt>
                <c:pt idx="5295">
                  <c:v>5.8721203771357571</c:v>
                </c:pt>
                <c:pt idx="5296">
                  <c:v>4.8480627932121036</c:v>
                </c:pt>
                <c:pt idx="5297">
                  <c:v>6.0770748420084075</c:v>
                </c:pt>
                <c:pt idx="5298">
                  <c:v>6.8678147501605631</c:v>
                </c:pt>
                <c:pt idx="5299">
                  <c:v>6.2365673973886846</c:v>
                </c:pt>
                <c:pt idx="5300">
                  <c:v>6.097263166897628</c:v>
                </c:pt>
                <c:pt idx="5301">
                  <c:v>6.7128353520690291</c:v>
                </c:pt>
                <c:pt idx="5302">
                  <c:v>4.9965692530939245</c:v>
                </c:pt>
                <c:pt idx="5303">
                  <c:v>5.8783181553111685</c:v>
                </c:pt>
                <c:pt idx="5304">
                  <c:v>4.8282912640252915</c:v>
                </c:pt>
                <c:pt idx="5305">
                  <c:v>6.0126040102497207</c:v>
                </c:pt>
                <c:pt idx="5306">
                  <c:v>4.9491172005829789</c:v>
                </c:pt>
                <c:pt idx="5307">
                  <c:v>4.9563283125475142</c:v>
                </c:pt>
                <c:pt idx="5308">
                  <c:v>4.1725134141157394</c:v>
                </c:pt>
                <c:pt idx="5309">
                  <c:v>6.2288420913936564</c:v>
                </c:pt>
                <c:pt idx="5310">
                  <c:v>5.0477045824546432</c:v>
                </c:pt>
                <c:pt idx="5311">
                  <c:v>5.9105169272189979</c:v>
                </c:pt>
                <c:pt idx="5312">
                  <c:v>5.9768743948338949</c:v>
                </c:pt>
                <c:pt idx="5313">
                  <c:v>5.0729373821745467</c:v>
                </c:pt>
                <c:pt idx="5314">
                  <c:v>5.0657717316976134</c:v>
                </c:pt>
                <c:pt idx="5315">
                  <c:v>5.1413172895173949</c:v>
                </c:pt>
                <c:pt idx="5316">
                  <c:v>5.9094726975424248</c:v>
                </c:pt>
                <c:pt idx="5317">
                  <c:v>4.9318942577078611</c:v>
                </c:pt>
                <c:pt idx="5318">
                  <c:v>6.9545696227781519</c:v>
                </c:pt>
                <c:pt idx="5319">
                  <c:v>6.1405406985815789</c:v>
                </c:pt>
                <c:pt idx="5320">
                  <c:v>6.9199412110665177</c:v>
                </c:pt>
                <c:pt idx="5321">
                  <c:v>7.0213145892053994</c:v>
                </c:pt>
                <c:pt idx="5322">
                  <c:v>6.8879164145677247</c:v>
                </c:pt>
                <c:pt idx="5323">
                  <c:v>5.0090408745390134</c:v>
                </c:pt>
                <c:pt idx="5324">
                  <c:v>5.8505564896286213</c:v>
                </c:pt>
                <c:pt idx="5325">
                  <c:v>5.9885655975067875</c:v>
                </c:pt>
                <c:pt idx="5326">
                  <c:v>5.0007436131276588</c:v>
                </c:pt>
                <c:pt idx="5327">
                  <c:v>6.1650654377136691</c:v>
                </c:pt>
                <c:pt idx="5328">
                  <c:v>5.9614303841907148</c:v>
                </c:pt>
                <c:pt idx="5329">
                  <c:v>6.0888010610565333</c:v>
                </c:pt>
                <c:pt idx="5330">
                  <c:v>5.0221046675568735</c:v>
                </c:pt>
                <c:pt idx="5331">
                  <c:v>5.95619512488478</c:v>
                </c:pt>
                <c:pt idx="5332">
                  <c:v>5.9013187672926239</c:v>
                </c:pt>
                <c:pt idx="5333">
                  <c:v>5.867949752646747</c:v>
                </c:pt>
                <c:pt idx="5334">
                  <c:v>7.016411705981155</c:v>
                </c:pt>
                <c:pt idx="5335">
                  <c:v>6.3001182254213983</c:v>
                </c:pt>
                <c:pt idx="5336">
                  <c:v>5.8844425816874244</c:v>
                </c:pt>
                <c:pt idx="5337">
                  <c:v>5.0330582625823403</c:v>
                </c:pt>
                <c:pt idx="5338">
                  <c:v>7.0546116747822296</c:v>
                </c:pt>
                <c:pt idx="5339">
                  <c:v>6.0163484006126104</c:v>
                </c:pt>
                <c:pt idx="5340">
                  <c:v>4.9714123389785376</c:v>
                </c:pt>
                <c:pt idx="5341">
                  <c:v>5.055751812468503</c:v>
                </c:pt>
                <c:pt idx="5342">
                  <c:v>5.0069153438085685</c:v>
                </c:pt>
                <c:pt idx="5343">
                  <c:v>4.9560710835074691</c:v>
                </c:pt>
                <c:pt idx="5344">
                  <c:v>5.836499203523088</c:v>
                </c:pt>
                <c:pt idx="5345">
                  <c:v>5.064960880024473</c:v>
                </c:pt>
                <c:pt idx="5346">
                  <c:v>6.1331699533819224</c:v>
                </c:pt>
                <c:pt idx="5347">
                  <c:v>7.0581975164629984</c:v>
                </c:pt>
                <c:pt idx="5348">
                  <c:v>4.7911123766151613</c:v>
                </c:pt>
                <c:pt idx="5349">
                  <c:v>4.9168662334686148</c:v>
                </c:pt>
                <c:pt idx="5350">
                  <c:v>6.0340704033340149</c:v>
                </c:pt>
                <c:pt idx="5351">
                  <c:v>5.8929438045983122</c:v>
                </c:pt>
                <c:pt idx="5352">
                  <c:v>6.0383588594026723</c:v>
                </c:pt>
                <c:pt idx="5353">
                  <c:v>5.035192287588492</c:v>
                </c:pt>
                <c:pt idx="5354">
                  <c:v>4.991672592660386</c:v>
                </c:pt>
                <c:pt idx="5355">
                  <c:v>5.1156115111984173</c:v>
                </c:pt>
                <c:pt idx="5356">
                  <c:v>5.1605430865737425</c:v>
                </c:pt>
                <c:pt idx="5357">
                  <c:v>5.9180732475537177</c:v>
                </c:pt>
                <c:pt idx="5358">
                  <c:v>4.9955981289833131</c:v>
                </c:pt>
                <c:pt idx="5359">
                  <c:v>5.9662919027216379</c:v>
                </c:pt>
                <c:pt idx="5360">
                  <c:v>5.9636488212716943</c:v>
                </c:pt>
                <c:pt idx="5361">
                  <c:v>5.8540166467345278</c:v>
                </c:pt>
                <c:pt idx="5362">
                  <c:v>5.0116451159002837</c:v>
                </c:pt>
                <c:pt idx="5363">
                  <c:v>4.8813847120096376</c:v>
                </c:pt>
                <c:pt idx="5364">
                  <c:v>5.8481891101906589</c:v>
                </c:pt>
                <c:pt idx="5365">
                  <c:v>5.1864232819198302</c:v>
                </c:pt>
                <c:pt idx="5366">
                  <c:v>5.8917017089091477</c:v>
                </c:pt>
                <c:pt idx="5367">
                  <c:v>4.9875985283371067</c:v>
                </c:pt>
                <c:pt idx="5368">
                  <c:v>6.1835267613854201</c:v>
                </c:pt>
                <c:pt idx="5369">
                  <c:v>4.9450231809816678</c:v>
                </c:pt>
                <c:pt idx="5370">
                  <c:v>5.0474475307113265</c:v>
                </c:pt>
                <c:pt idx="5371">
                  <c:v>4.9855270293773666</c:v>
                </c:pt>
                <c:pt idx="5372">
                  <c:v>6.0103145347673239</c:v>
                </c:pt>
                <c:pt idx="5373">
                  <c:v>6.1306844428321812</c:v>
                </c:pt>
                <c:pt idx="5374">
                  <c:v>5.9377617096283553</c:v>
                </c:pt>
                <c:pt idx="5375">
                  <c:v>6.9336784881254765</c:v>
                </c:pt>
                <c:pt idx="5376">
                  <c:v>4.8543486504310289</c:v>
                </c:pt>
                <c:pt idx="5377">
                  <c:v>5.9745048318994476</c:v>
                </c:pt>
                <c:pt idx="5378">
                  <c:v>7.0843942484691729</c:v>
                </c:pt>
                <c:pt idx="5379">
                  <c:v>6.1138406867561077</c:v>
                </c:pt>
                <c:pt idx="5380">
                  <c:v>5.9321577165039496</c:v>
                </c:pt>
                <c:pt idx="5381">
                  <c:v>4.8901667399504376</c:v>
                </c:pt>
                <c:pt idx="5382">
                  <c:v>6.197984066048047</c:v>
                </c:pt>
                <c:pt idx="5383">
                  <c:v>6.0707346895007213</c:v>
                </c:pt>
                <c:pt idx="5384">
                  <c:v>6.1567074692034716</c:v>
                </c:pt>
                <c:pt idx="5385">
                  <c:v>6.0690642527614083</c:v>
                </c:pt>
                <c:pt idx="5386">
                  <c:v>6.2410486448122455</c:v>
                </c:pt>
                <c:pt idx="5387">
                  <c:v>5.9083003300716044</c:v>
                </c:pt>
                <c:pt idx="5388">
                  <c:v>4.9422560444275883</c:v>
                </c:pt>
                <c:pt idx="5389">
                  <c:v>4.9985475688279424</c:v>
                </c:pt>
                <c:pt idx="5390">
                  <c:v>5.0529402288456859</c:v>
                </c:pt>
                <c:pt idx="5391">
                  <c:v>6.083120600456601</c:v>
                </c:pt>
                <c:pt idx="5392">
                  <c:v>5.0686904314678047</c:v>
                </c:pt>
                <c:pt idx="5393">
                  <c:v>4.865473906579294</c:v>
                </c:pt>
                <c:pt idx="5394">
                  <c:v>6.1105433512768483</c:v>
                </c:pt>
                <c:pt idx="5395">
                  <c:v>5.7546325020666105</c:v>
                </c:pt>
                <c:pt idx="5396">
                  <c:v>6.0812679789206543</c:v>
                </c:pt>
                <c:pt idx="5397">
                  <c:v>5.983416379340162</c:v>
                </c:pt>
                <c:pt idx="5398">
                  <c:v>7.0269723144374501</c:v>
                </c:pt>
                <c:pt idx="5399">
                  <c:v>6.1197088502872541</c:v>
                </c:pt>
                <c:pt idx="5400">
                  <c:v>6.1737358667792028</c:v>
                </c:pt>
                <c:pt idx="5401">
                  <c:v>5.9045141743959828</c:v>
                </c:pt>
                <c:pt idx="5402">
                  <c:v>6.0659657350687324</c:v>
                </c:pt>
                <c:pt idx="5403">
                  <c:v>6.0149489075175762</c:v>
                </c:pt>
                <c:pt idx="5404">
                  <c:v>5.1208186528118738</c:v>
                </c:pt>
                <c:pt idx="5405">
                  <c:v>4.9815584265090447</c:v>
                </c:pt>
                <c:pt idx="5406">
                  <c:v>4.9863656314685443</c:v>
                </c:pt>
                <c:pt idx="5407">
                  <c:v>6.0966201306939789</c:v>
                </c:pt>
                <c:pt idx="5408">
                  <c:v>6.146936063348071</c:v>
                </c:pt>
                <c:pt idx="5409">
                  <c:v>6.0491144479605623</c:v>
                </c:pt>
                <c:pt idx="5410">
                  <c:v>6.1598366109444287</c:v>
                </c:pt>
                <c:pt idx="5411">
                  <c:v>4.9275698454986454</c:v>
                </c:pt>
                <c:pt idx="5412">
                  <c:v>6.0242586190481386</c:v>
                </c:pt>
                <c:pt idx="5413">
                  <c:v>6.0479383644996592</c:v>
                </c:pt>
                <c:pt idx="5414">
                  <c:v>5.985837725334842</c:v>
                </c:pt>
                <c:pt idx="5415">
                  <c:v>5.8562424091221885</c:v>
                </c:pt>
                <c:pt idx="5416">
                  <c:v>5.8305101245773807</c:v>
                </c:pt>
                <c:pt idx="5417">
                  <c:v>4.9981667294287071</c:v>
                </c:pt>
                <c:pt idx="5418">
                  <c:v>5.9797079149978511</c:v>
                </c:pt>
                <c:pt idx="5419">
                  <c:v>5.0595787076360601</c:v>
                </c:pt>
                <c:pt idx="5420">
                  <c:v>5.8849118230028612</c:v>
                </c:pt>
                <c:pt idx="5421">
                  <c:v>5.973557866136689</c:v>
                </c:pt>
                <c:pt idx="5422">
                  <c:v>6.0819651209454726</c:v>
                </c:pt>
                <c:pt idx="5423">
                  <c:v>6.026084479735041</c:v>
                </c:pt>
                <c:pt idx="5424">
                  <c:v>5.8396079573970416</c:v>
                </c:pt>
                <c:pt idx="5425">
                  <c:v>6.0693024991320739</c:v>
                </c:pt>
                <c:pt idx="5426">
                  <c:v>6.1749820856232418</c:v>
                </c:pt>
                <c:pt idx="5427">
                  <c:v>5.9992145578033336</c:v>
                </c:pt>
                <c:pt idx="5428">
                  <c:v>4.0210223347819234</c:v>
                </c:pt>
                <c:pt idx="5429">
                  <c:v>6.0281044027185766</c:v>
                </c:pt>
                <c:pt idx="5430">
                  <c:v>5.029319323094195</c:v>
                </c:pt>
                <c:pt idx="5431">
                  <c:v>5.9089447677373679</c:v>
                </c:pt>
                <c:pt idx="5432">
                  <c:v>6.8390882789395304</c:v>
                </c:pt>
                <c:pt idx="5433">
                  <c:v>5.92893139699044</c:v>
                </c:pt>
                <c:pt idx="5434">
                  <c:v>6.1674851872218017</c:v>
                </c:pt>
                <c:pt idx="5435">
                  <c:v>5.9070646749915863</c:v>
                </c:pt>
                <c:pt idx="5436">
                  <c:v>5.8773419010973873</c:v>
                </c:pt>
                <c:pt idx="5437">
                  <c:v>5.0321646375368232</c:v>
                </c:pt>
                <c:pt idx="5438">
                  <c:v>4.9117696393870593</c:v>
                </c:pt>
                <c:pt idx="5439">
                  <c:v>6.0698773608175864</c:v>
                </c:pt>
                <c:pt idx="5440">
                  <c:v>5.8573570610011787</c:v>
                </c:pt>
                <c:pt idx="5441">
                  <c:v>5.1657287220231565</c:v>
                </c:pt>
                <c:pt idx="5442">
                  <c:v>4.9584856937519222</c:v>
                </c:pt>
                <c:pt idx="5443">
                  <c:v>5.9700002070321831</c:v>
                </c:pt>
                <c:pt idx="5444">
                  <c:v>6.0873884475257238</c:v>
                </c:pt>
                <c:pt idx="5445">
                  <c:v>4.9541402851891458</c:v>
                </c:pt>
                <c:pt idx="5446">
                  <c:v>6.1109262819548364</c:v>
                </c:pt>
                <c:pt idx="5447">
                  <c:v>4.8647157045714646</c:v>
                </c:pt>
                <c:pt idx="5448">
                  <c:v>6.110748312349453</c:v>
                </c:pt>
                <c:pt idx="5449">
                  <c:v>6.0151377926626397</c:v>
                </c:pt>
                <c:pt idx="5450">
                  <c:v>4.9851215961858744</c:v>
                </c:pt>
                <c:pt idx="5451">
                  <c:v>6.067563182708926</c:v>
                </c:pt>
                <c:pt idx="5452">
                  <c:v>4.9752549009829989</c:v>
                </c:pt>
                <c:pt idx="5453">
                  <c:v>4.8977213088430203</c:v>
                </c:pt>
                <c:pt idx="5454">
                  <c:v>6.095914537334103</c:v>
                </c:pt>
                <c:pt idx="5455">
                  <c:v>4.9322168434090665</c:v>
                </c:pt>
                <c:pt idx="5456">
                  <c:v>5.9376019272185347</c:v>
                </c:pt>
                <c:pt idx="5457">
                  <c:v>6.0383223719023658</c:v>
                </c:pt>
                <c:pt idx="5458">
                  <c:v>5.8231605381482794</c:v>
                </c:pt>
                <c:pt idx="5459">
                  <c:v>5.937356374154044</c:v>
                </c:pt>
                <c:pt idx="5460">
                  <c:v>6.0469688760969706</c:v>
                </c:pt>
                <c:pt idx="5461">
                  <c:v>6.1509453053986034</c:v>
                </c:pt>
                <c:pt idx="5462">
                  <c:v>4.9676683936490411</c:v>
                </c:pt>
                <c:pt idx="5463">
                  <c:v>6.0089378437918199</c:v>
                </c:pt>
                <c:pt idx="5464">
                  <c:v>6.0597063381939682</c:v>
                </c:pt>
                <c:pt idx="5465">
                  <c:v>6.0479718878118289</c:v>
                </c:pt>
                <c:pt idx="5466">
                  <c:v>6.1113260366305404</c:v>
                </c:pt>
                <c:pt idx="5467">
                  <c:v>4.7481359355011348</c:v>
                </c:pt>
                <c:pt idx="5468">
                  <c:v>5.9897393588975616</c:v>
                </c:pt>
                <c:pt idx="5469">
                  <c:v>4.8965214281307876</c:v>
                </c:pt>
                <c:pt idx="5470">
                  <c:v>6.0900706610961137</c:v>
                </c:pt>
                <c:pt idx="5471">
                  <c:v>6.0552166679233723</c:v>
                </c:pt>
                <c:pt idx="5472">
                  <c:v>6.0332942394574998</c:v>
                </c:pt>
                <c:pt idx="5473">
                  <c:v>6.1060176972008806</c:v>
                </c:pt>
                <c:pt idx="5474">
                  <c:v>5.9718137913967899</c:v>
                </c:pt>
                <c:pt idx="5475">
                  <c:v>5.8661754544618168</c:v>
                </c:pt>
                <c:pt idx="5476">
                  <c:v>5.9875799383350703</c:v>
                </c:pt>
                <c:pt idx="5477">
                  <c:v>4.9483951991706183</c:v>
                </c:pt>
                <c:pt idx="5478">
                  <c:v>5.8410159012996443</c:v>
                </c:pt>
                <c:pt idx="5479">
                  <c:v>5.9773622053655329</c:v>
                </c:pt>
                <c:pt idx="5480">
                  <c:v>6.0268862127514424</c:v>
                </c:pt>
                <c:pt idx="5481">
                  <c:v>5.9931139909770765</c:v>
                </c:pt>
                <c:pt idx="5482">
                  <c:v>5.9760892809477459</c:v>
                </c:pt>
                <c:pt idx="5483">
                  <c:v>4.9247554322065179</c:v>
                </c:pt>
                <c:pt idx="5484">
                  <c:v>6.1061395493101065</c:v>
                </c:pt>
                <c:pt idx="5485">
                  <c:v>6.0116317986366026</c:v>
                </c:pt>
                <c:pt idx="5486">
                  <c:v>6.0830262838543891</c:v>
                </c:pt>
                <c:pt idx="5487">
                  <c:v>5.9184260026743178</c:v>
                </c:pt>
                <c:pt idx="5488">
                  <c:v>5.024028983842987</c:v>
                </c:pt>
                <c:pt idx="5489">
                  <c:v>5.9395479180400068</c:v>
                </c:pt>
                <c:pt idx="5490">
                  <c:v>6.1028302212514323</c:v>
                </c:pt>
                <c:pt idx="5491">
                  <c:v>6.0646760408150309</c:v>
                </c:pt>
                <c:pt idx="5492">
                  <c:v>6.028787655712474</c:v>
                </c:pt>
                <c:pt idx="5493">
                  <c:v>6.1132266924416827</c:v>
                </c:pt>
                <c:pt idx="5494">
                  <c:v>5.9450438615635424</c:v>
                </c:pt>
                <c:pt idx="5495">
                  <c:v>6.1494464361109333</c:v>
                </c:pt>
                <c:pt idx="5496">
                  <c:v>4.9127393225901876</c:v>
                </c:pt>
                <c:pt idx="5497">
                  <c:v>6.0775395539417749</c:v>
                </c:pt>
                <c:pt idx="5498">
                  <c:v>6.1026398483614006</c:v>
                </c:pt>
                <c:pt idx="5499">
                  <c:v>5.0805501863851079</c:v>
                </c:pt>
                <c:pt idx="5500">
                  <c:v>5.0605438465101544</c:v>
                </c:pt>
                <c:pt idx="5501">
                  <c:v>6.017708040040624</c:v>
                </c:pt>
                <c:pt idx="5502">
                  <c:v>6.1700722295591524</c:v>
                </c:pt>
                <c:pt idx="5503">
                  <c:v>5.1010839124379919</c:v>
                </c:pt>
                <c:pt idx="5504">
                  <c:v>6.0240416718655299</c:v>
                </c:pt>
                <c:pt idx="5505">
                  <c:v>4.8923834060261235</c:v>
                </c:pt>
                <c:pt idx="5506">
                  <c:v>4.9101624231448397</c:v>
                </c:pt>
                <c:pt idx="5507">
                  <c:v>5.8946827063704621</c:v>
                </c:pt>
                <c:pt idx="5508">
                  <c:v>6.1519770458758725</c:v>
                </c:pt>
                <c:pt idx="5509">
                  <c:v>6.1618457222612895</c:v>
                </c:pt>
                <c:pt idx="5510">
                  <c:v>5.0227504835077958</c:v>
                </c:pt>
                <c:pt idx="5511">
                  <c:v>5.1492077937066085</c:v>
                </c:pt>
                <c:pt idx="5512">
                  <c:v>5.8912278603952926</c:v>
                </c:pt>
                <c:pt idx="5513">
                  <c:v>5.0035950744940045</c:v>
                </c:pt>
                <c:pt idx="5514">
                  <c:v>5.9516419453612031</c:v>
                </c:pt>
                <c:pt idx="5515">
                  <c:v>5.9634776376679701</c:v>
                </c:pt>
                <c:pt idx="5516">
                  <c:v>6.0616543234033697</c:v>
                </c:pt>
                <c:pt idx="5517">
                  <c:v>6.0437683602465588</c:v>
                </c:pt>
                <c:pt idx="5518">
                  <c:v>5.9293920556318298</c:v>
                </c:pt>
                <c:pt idx="5519">
                  <c:v>5.8830285686256483</c:v>
                </c:pt>
                <c:pt idx="5520">
                  <c:v>5.0485486592824316</c:v>
                </c:pt>
                <c:pt idx="5521">
                  <c:v>6.0326479475387442</c:v>
                </c:pt>
                <c:pt idx="5522">
                  <c:v>6.1497670420261432</c:v>
                </c:pt>
                <c:pt idx="5523">
                  <c:v>6.2068201901051312</c:v>
                </c:pt>
                <c:pt idx="5524">
                  <c:v>6.0139009180014549</c:v>
                </c:pt>
                <c:pt idx="5525">
                  <c:v>5.8786785915800257</c:v>
                </c:pt>
                <c:pt idx="5526">
                  <c:v>4.9197975781458032</c:v>
                </c:pt>
                <c:pt idx="5527">
                  <c:v>5.0883031173702369</c:v>
                </c:pt>
                <c:pt idx="5528">
                  <c:v>5.9873526674113657</c:v>
                </c:pt>
                <c:pt idx="5529">
                  <c:v>6.1039803715873866</c:v>
                </c:pt>
                <c:pt idx="5530">
                  <c:v>5.1078437534877734</c:v>
                </c:pt>
                <c:pt idx="5531">
                  <c:v>5.9478960135098218</c:v>
                </c:pt>
                <c:pt idx="5532">
                  <c:v>5.9519463099001948</c:v>
                </c:pt>
                <c:pt idx="5533">
                  <c:v>6.0441752839202794</c:v>
                </c:pt>
                <c:pt idx="5534">
                  <c:v>4.9736071366133032</c:v>
                </c:pt>
                <c:pt idx="5535">
                  <c:v>5.9838992935093938</c:v>
                </c:pt>
                <c:pt idx="5536">
                  <c:v>5.0137483283879325</c:v>
                </c:pt>
                <c:pt idx="5537">
                  <c:v>4.9350815906498946</c:v>
                </c:pt>
                <c:pt idx="5538">
                  <c:v>6.0489761159104578</c:v>
                </c:pt>
                <c:pt idx="5539">
                  <c:v>5.853155735973071</c:v>
                </c:pt>
                <c:pt idx="5540">
                  <c:v>5.9105106703183488</c:v>
                </c:pt>
                <c:pt idx="5541">
                  <c:v>6.0040139218115298</c:v>
                </c:pt>
                <c:pt idx="5542">
                  <c:v>5.973309076509616</c:v>
                </c:pt>
                <c:pt idx="5543">
                  <c:v>5.9552014119177255</c:v>
                </c:pt>
                <c:pt idx="5544">
                  <c:v>6.0886230442168365</c:v>
                </c:pt>
                <c:pt idx="5545">
                  <c:v>5.9456222098267553</c:v>
                </c:pt>
                <c:pt idx="5546">
                  <c:v>4.7538752451241466</c:v>
                </c:pt>
                <c:pt idx="5547">
                  <c:v>5.0134165936420603</c:v>
                </c:pt>
                <c:pt idx="5548">
                  <c:v>5.0686931200219254</c:v>
                </c:pt>
                <c:pt idx="5549">
                  <c:v>6.8575696575373764</c:v>
                </c:pt>
                <c:pt idx="5550">
                  <c:v>6.0622296498225658</c:v>
                </c:pt>
                <c:pt idx="5551">
                  <c:v>4.9023909062843281</c:v>
                </c:pt>
                <c:pt idx="5552">
                  <c:v>6.1401741444404161</c:v>
                </c:pt>
                <c:pt idx="5553">
                  <c:v>6.1248925457643839</c:v>
                </c:pt>
                <c:pt idx="5554">
                  <c:v>5.8459361759228701</c:v>
                </c:pt>
                <c:pt idx="5555">
                  <c:v>5.1097095321861827</c:v>
                </c:pt>
                <c:pt idx="5556">
                  <c:v>7.1292678647545014</c:v>
                </c:pt>
                <c:pt idx="5557">
                  <c:v>5.9478846995045584</c:v>
                </c:pt>
                <c:pt idx="5558">
                  <c:v>5.8311256683597374</c:v>
                </c:pt>
                <c:pt idx="5559">
                  <c:v>4.8625983511605213</c:v>
                </c:pt>
                <c:pt idx="5560">
                  <c:v>5.9749336498405636</c:v>
                </c:pt>
                <c:pt idx="5561">
                  <c:v>7.0328222797708841</c:v>
                </c:pt>
                <c:pt idx="5562">
                  <c:v>5.0557443455852171</c:v>
                </c:pt>
                <c:pt idx="5563">
                  <c:v>4.9629859884599306</c:v>
                </c:pt>
                <c:pt idx="5564">
                  <c:v>6.8834312495455352</c:v>
                </c:pt>
                <c:pt idx="5565">
                  <c:v>4.9244566758709025</c:v>
                </c:pt>
                <c:pt idx="5566">
                  <c:v>5.0119215548537239</c:v>
                </c:pt>
                <c:pt idx="5567">
                  <c:v>4.9672696791449962</c:v>
                </c:pt>
                <c:pt idx="5568">
                  <c:v>4.9027273856792251</c:v>
                </c:pt>
                <c:pt idx="5569">
                  <c:v>5.9131354777629115</c:v>
                </c:pt>
                <c:pt idx="5570">
                  <c:v>5.993704146150785</c:v>
                </c:pt>
                <c:pt idx="5571">
                  <c:v>6.0984070022233752</c:v>
                </c:pt>
                <c:pt idx="5572">
                  <c:v>4.0615269329510237</c:v>
                </c:pt>
                <c:pt idx="5573">
                  <c:v>4.892917645686488</c:v>
                </c:pt>
                <c:pt idx="5574">
                  <c:v>5.872179762292868</c:v>
                </c:pt>
                <c:pt idx="5575">
                  <c:v>6.0424021994758537</c:v>
                </c:pt>
                <c:pt idx="5576">
                  <c:v>6.0052121451087048</c:v>
                </c:pt>
                <c:pt idx="5577">
                  <c:v>6.0525741743410926</c:v>
                </c:pt>
                <c:pt idx="5578">
                  <c:v>4.9326175603529601</c:v>
                </c:pt>
                <c:pt idx="5579">
                  <c:v>5.8498500699621419</c:v>
                </c:pt>
                <c:pt idx="5580">
                  <c:v>4.7578490890957879</c:v>
                </c:pt>
                <c:pt idx="5581">
                  <c:v>5.1559802601829885</c:v>
                </c:pt>
                <c:pt idx="5582">
                  <c:v>5.1041695339835158</c:v>
                </c:pt>
                <c:pt idx="5583">
                  <c:v>6.1703890180051095</c:v>
                </c:pt>
                <c:pt idx="5584">
                  <c:v>5.9818362665729641</c:v>
                </c:pt>
                <c:pt idx="5585">
                  <c:v>5.9979448915816826</c:v>
                </c:pt>
                <c:pt idx="5586">
                  <c:v>5.0420572012304179</c:v>
                </c:pt>
                <c:pt idx="5587">
                  <c:v>5.0596113347179354</c:v>
                </c:pt>
                <c:pt idx="5588">
                  <c:v>5.9901606287721609</c:v>
                </c:pt>
                <c:pt idx="5589">
                  <c:v>5.9198231475205851</c:v>
                </c:pt>
                <c:pt idx="5590">
                  <c:v>5.99661482772576</c:v>
                </c:pt>
                <c:pt idx="5591">
                  <c:v>6.0041171788978431</c:v>
                </c:pt>
                <c:pt idx="5592">
                  <c:v>5.9361924280968745</c:v>
                </c:pt>
                <c:pt idx="5593">
                  <c:v>5.0340141728303891</c:v>
                </c:pt>
                <c:pt idx="5594">
                  <c:v>6.102294110831477</c:v>
                </c:pt>
                <c:pt idx="5595">
                  <c:v>5.7899949823314234</c:v>
                </c:pt>
                <c:pt idx="5596">
                  <c:v>5.7222611549298339</c:v>
                </c:pt>
                <c:pt idx="5597">
                  <c:v>6.0164797044829292</c:v>
                </c:pt>
                <c:pt idx="5598">
                  <c:v>5.0458926361966734</c:v>
                </c:pt>
                <c:pt idx="5599">
                  <c:v>6.9794097789236984</c:v>
                </c:pt>
                <c:pt idx="5600">
                  <c:v>4.9043376414129218</c:v>
                </c:pt>
                <c:pt idx="5601">
                  <c:v>5.0203232754239044</c:v>
                </c:pt>
                <c:pt idx="5602">
                  <c:v>4.9223567304842888</c:v>
                </c:pt>
                <c:pt idx="5603">
                  <c:v>6.0654892911436598</c:v>
                </c:pt>
                <c:pt idx="5604">
                  <c:v>6.1254868119578463</c:v>
                </c:pt>
                <c:pt idx="5605">
                  <c:v>5.0070873245670215</c:v>
                </c:pt>
                <c:pt idx="5606">
                  <c:v>5.0245730609640118</c:v>
                </c:pt>
                <c:pt idx="5607">
                  <c:v>5.8894810440015721</c:v>
                </c:pt>
                <c:pt idx="5608">
                  <c:v>4.9523135326596774</c:v>
                </c:pt>
                <c:pt idx="5609">
                  <c:v>6.1185632466559543</c:v>
                </c:pt>
                <c:pt idx="5610">
                  <c:v>4.8025311200520155</c:v>
                </c:pt>
                <c:pt idx="5611">
                  <c:v>5.8492147088432329</c:v>
                </c:pt>
                <c:pt idx="5612">
                  <c:v>6.8963680233148592</c:v>
                </c:pt>
                <c:pt idx="5613">
                  <c:v>5.995184744823769</c:v>
                </c:pt>
                <c:pt idx="5614">
                  <c:v>4.89971070514913</c:v>
                </c:pt>
                <c:pt idx="5615">
                  <c:v>6.162815892619836</c:v>
                </c:pt>
                <c:pt idx="5616">
                  <c:v>6.0900153998787836</c:v>
                </c:pt>
                <c:pt idx="5617">
                  <c:v>6.9615384025868634</c:v>
                </c:pt>
                <c:pt idx="5618">
                  <c:v>7.219078313219522</c:v>
                </c:pt>
                <c:pt idx="5619">
                  <c:v>5.8936541564882656</c:v>
                </c:pt>
                <c:pt idx="5620">
                  <c:v>5.9889055221173262</c:v>
                </c:pt>
                <c:pt idx="5621">
                  <c:v>6.0092250180886282</c:v>
                </c:pt>
                <c:pt idx="5622">
                  <c:v>5.8829398577082239</c:v>
                </c:pt>
                <c:pt idx="5623">
                  <c:v>7.0151933488848481</c:v>
                </c:pt>
                <c:pt idx="5624">
                  <c:v>6.0679804770466284</c:v>
                </c:pt>
                <c:pt idx="5625">
                  <c:v>5.8659515770043926</c:v>
                </c:pt>
                <c:pt idx="5626">
                  <c:v>6.0791602219343215</c:v>
                </c:pt>
                <c:pt idx="5627">
                  <c:v>5.9750316819585549</c:v>
                </c:pt>
                <c:pt idx="5628">
                  <c:v>6.0147635502212085</c:v>
                </c:pt>
                <c:pt idx="5629">
                  <c:v>6.1943433987637615</c:v>
                </c:pt>
                <c:pt idx="5630">
                  <c:v>5.0312158812224057</c:v>
                </c:pt>
                <c:pt idx="5631">
                  <c:v>6.0328751020596627</c:v>
                </c:pt>
                <c:pt idx="5632">
                  <c:v>5.1251499329090802</c:v>
                </c:pt>
                <c:pt idx="5633">
                  <c:v>5.8989221708765873</c:v>
                </c:pt>
                <c:pt idx="5634">
                  <c:v>6.9469199019240886</c:v>
                </c:pt>
                <c:pt idx="5635">
                  <c:v>4.9048990998214022</c:v>
                </c:pt>
                <c:pt idx="5636">
                  <c:v>5.06972730670108</c:v>
                </c:pt>
                <c:pt idx="5637">
                  <c:v>5.84966039631753</c:v>
                </c:pt>
                <c:pt idx="5638">
                  <c:v>5.0422400778664764</c:v>
                </c:pt>
                <c:pt idx="5639">
                  <c:v>3.0175703574209796</c:v>
                </c:pt>
                <c:pt idx="5640">
                  <c:v>5.0026121795344443</c:v>
                </c:pt>
                <c:pt idx="5641">
                  <c:v>5.9200788711064956</c:v>
                </c:pt>
                <c:pt idx="5642">
                  <c:v>5.1531870433899902</c:v>
                </c:pt>
                <c:pt idx="5643">
                  <c:v>5.0617969239956455</c:v>
                </c:pt>
                <c:pt idx="5644">
                  <c:v>5.9917022726768128</c:v>
                </c:pt>
                <c:pt idx="5645">
                  <c:v>5.9499658291173168</c:v>
                </c:pt>
                <c:pt idx="5646">
                  <c:v>5.0107290879045197</c:v>
                </c:pt>
                <c:pt idx="5647">
                  <c:v>6.8640830706757026</c:v>
                </c:pt>
                <c:pt idx="5648">
                  <c:v>4.9885848558884556</c:v>
                </c:pt>
                <c:pt idx="5649">
                  <c:v>6.0217299370350315</c:v>
                </c:pt>
                <c:pt idx="5650">
                  <c:v>5.9705137531587935</c:v>
                </c:pt>
                <c:pt idx="5651">
                  <c:v>4.893715123119077</c:v>
                </c:pt>
                <c:pt idx="5652">
                  <c:v>7.1064289827383957</c:v>
                </c:pt>
                <c:pt idx="5653">
                  <c:v>5.0438969625882093</c:v>
                </c:pt>
                <c:pt idx="5654">
                  <c:v>6.9743070798408091</c:v>
                </c:pt>
                <c:pt idx="5655">
                  <c:v>4.9955500587194415</c:v>
                </c:pt>
                <c:pt idx="5656">
                  <c:v>5.0612670924030878</c:v>
                </c:pt>
                <c:pt idx="5657">
                  <c:v>6.0954710832605628</c:v>
                </c:pt>
                <c:pt idx="5658">
                  <c:v>6.0356007137053362</c:v>
                </c:pt>
                <c:pt idx="5659">
                  <c:v>6.8524452807194951</c:v>
                </c:pt>
                <c:pt idx="5660">
                  <c:v>7.1839254015376701</c:v>
                </c:pt>
                <c:pt idx="5661">
                  <c:v>5.9839173536892325</c:v>
                </c:pt>
                <c:pt idx="5662">
                  <c:v>5.2606687683219624</c:v>
                </c:pt>
                <c:pt idx="5663">
                  <c:v>5.2061785543739472</c:v>
                </c:pt>
                <c:pt idx="5664">
                  <c:v>6.0620599839296476</c:v>
                </c:pt>
                <c:pt idx="5665">
                  <c:v>5.9810435978576066</c:v>
                </c:pt>
                <c:pt idx="5666">
                  <c:v>7.1629915354775431</c:v>
                </c:pt>
                <c:pt idx="5667">
                  <c:v>5.9426519572710115</c:v>
                </c:pt>
                <c:pt idx="5668">
                  <c:v>4.9666205581149301</c:v>
                </c:pt>
                <c:pt idx="5669">
                  <c:v>5.2540758614563208</c:v>
                </c:pt>
                <c:pt idx="5670">
                  <c:v>5.8772318234097272</c:v>
                </c:pt>
                <c:pt idx="5671">
                  <c:v>5.9084005232021832</c:v>
                </c:pt>
                <c:pt idx="5672">
                  <c:v>6.1572897106634308</c:v>
                </c:pt>
                <c:pt idx="5673">
                  <c:v>6.8830341347676596</c:v>
                </c:pt>
                <c:pt idx="5674">
                  <c:v>6.0004323400522193</c:v>
                </c:pt>
                <c:pt idx="5675">
                  <c:v>5.0102661373188058</c:v>
                </c:pt>
                <c:pt idx="5676">
                  <c:v>5.0232184057586169</c:v>
                </c:pt>
                <c:pt idx="5677">
                  <c:v>5.9347542719745991</c:v>
                </c:pt>
                <c:pt idx="5678">
                  <c:v>7.009452975441163</c:v>
                </c:pt>
                <c:pt idx="5679">
                  <c:v>4.891067111203963</c:v>
                </c:pt>
                <c:pt idx="5680">
                  <c:v>6.0598963604989482</c:v>
                </c:pt>
                <c:pt idx="5681">
                  <c:v>6.1203879168370827</c:v>
                </c:pt>
                <c:pt idx="5682">
                  <c:v>6.0012189330366468</c:v>
                </c:pt>
                <c:pt idx="5683">
                  <c:v>5.982554619563782</c:v>
                </c:pt>
                <c:pt idx="5684">
                  <c:v>6.0044336557499918</c:v>
                </c:pt>
                <c:pt idx="5685">
                  <c:v>4.8817204654003161</c:v>
                </c:pt>
                <c:pt idx="5686">
                  <c:v>6.1273487991051629</c:v>
                </c:pt>
                <c:pt idx="5687">
                  <c:v>5.0975507589078264</c:v>
                </c:pt>
                <c:pt idx="5688">
                  <c:v>5.8926478998775833</c:v>
                </c:pt>
                <c:pt idx="5689">
                  <c:v>4.9416685532140949</c:v>
                </c:pt>
                <c:pt idx="5690">
                  <c:v>5.1011201634604495</c:v>
                </c:pt>
                <c:pt idx="5691">
                  <c:v>6.1076212356661808</c:v>
                </c:pt>
                <c:pt idx="5692">
                  <c:v>6.0968239842630796</c:v>
                </c:pt>
                <c:pt idx="5693">
                  <c:v>6.0281583754097259</c:v>
                </c:pt>
                <c:pt idx="5694">
                  <c:v>4.9286155754872105</c:v>
                </c:pt>
                <c:pt idx="5695">
                  <c:v>6.0200706597737286</c:v>
                </c:pt>
                <c:pt idx="5696">
                  <c:v>4.0155007614491804</c:v>
                </c:pt>
                <c:pt idx="5697">
                  <c:v>6.0635443072508517</c:v>
                </c:pt>
                <c:pt idx="5698">
                  <c:v>6.0270107170444422</c:v>
                </c:pt>
                <c:pt idx="5699">
                  <c:v>5.9615189615018593</c:v>
                </c:pt>
                <c:pt idx="5700">
                  <c:v>6.0388107073425044</c:v>
                </c:pt>
                <c:pt idx="5701">
                  <c:v>5.9886733295088561</c:v>
                </c:pt>
                <c:pt idx="5702">
                  <c:v>5.9399486250124438</c:v>
                </c:pt>
                <c:pt idx="5703">
                  <c:v>6.008360295295021</c:v>
                </c:pt>
                <c:pt idx="5704">
                  <c:v>4.9065106360008279</c:v>
                </c:pt>
                <c:pt idx="5705">
                  <c:v>4.9492091689825015</c:v>
                </c:pt>
                <c:pt idx="5706">
                  <c:v>5.8192642073452703</c:v>
                </c:pt>
                <c:pt idx="5707">
                  <c:v>4.9275261111759043</c:v>
                </c:pt>
                <c:pt idx="5708">
                  <c:v>6.0011872460416011</c:v>
                </c:pt>
                <c:pt idx="5709">
                  <c:v>6.0662742410787915</c:v>
                </c:pt>
                <c:pt idx="5710">
                  <c:v>4.9636817141146086</c:v>
                </c:pt>
                <c:pt idx="5711">
                  <c:v>5.8915019210302493</c:v>
                </c:pt>
                <c:pt idx="5712">
                  <c:v>6.0867480507498524</c:v>
                </c:pt>
                <c:pt idx="5713">
                  <c:v>5.0592543405723696</c:v>
                </c:pt>
                <c:pt idx="5714">
                  <c:v>6.042423318155266</c:v>
                </c:pt>
                <c:pt idx="5715">
                  <c:v>5.8869978519636401</c:v>
                </c:pt>
                <c:pt idx="5716">
                  <c:v>5.9898394251994658</c:v>
                </c:pt>
                <c:pt idx="5717">
                  <c:v>5.92140640090257</c:v>
                </c:pt>
                <c:pt idx="5718">
                  <c:v>6.1641728940766534</c:v>
                </c:pt>
                <c:pt idx="5719">
                  <c:v>4.8849363928859768</c:v>
                </c:pt>
                <c:pt idx="5720">
                  <c:v>5.8530849015889821</c:v>
                </c:pt>
                <c:pt idx="5721">
                  <c:v>5.8809163866226948</c:v>
                </c:pt>
                <c:pt idx="5722">
                  <c:v>4.9566764669844172</c:v>
                </c:pt>
                <c:pt idx="5723">
                  <c:v>6.0086730735082625</c:v>
                </c:pt>
                <c:pt idx="5724">
                  <c:v>6.0238612382353063</c:v>
                </c:pt>
                <c:pt idx="5725">
                  <c:v>5.0501546854347099</c:v>
                </c:pt>
                <c:pt idx="5726">
                  <c:v>4.9724413382432404</c:v>
                </c:pt>
                <c:pt idx="5727">
                  <c:v>6.0105348171152642</c:v>
                </c:pt>
                <c:pt idx="5728">
                  <c:v>6.0644785152158009</c:v>
                </c:pt>
                <c:pt idx="5729">
                  <c:v>6.0041802783091622</c:v>
                </c:pt>
                <c:pt idx="5730">
                  <c:v>5.9532938869663807</c:v>
                </c:pt>
                <c:pt idx="5731">
                  <c:v>5.8655962615860329</c:v>
                </c:pt>
                <c:pt idx="5732">
                  <c:v>6.9949716515596565</c:v>
                </c:pt>
                <c:pt idx="5733">
                  <c:v>6.927388602743525</c:v>
                </c:pt>
                <c:pt idx="5734">
                  <c:v>5.1666740685928652</c:v>
                </c:pt>
                <c:pt idx="5735">
                  <c:v>6.2729758511668861</c:v>
                </c:pt>
                <c:pt idx="5736">
                  <c:v>4.9856786470461589</c:v>
                </c:pt>
                <c:pt idx="5737">
                  <c:v>6.0372213889377777</c:v>
                </c:pt>
                <c:pt idx="5738">
                  <c:v>6.1761386181907731</c:v>
                </c:pt>
                <c:pt idx="5739">
                  <c:v>4.9836968506245203</c:v>
                </c:pt>
                <c:pt idx="5740">
                  <c:v>5.0139540153456572</c:v>
                </c:pt>
                <c:pt idx="5741">
                  <c:v>6.0469267618629452</c:v>
                </c:pt>
                <c:pt idx="5742">
                  <c:v>6.1948038737385458</c:v>
                </c:pt>
                <c:pt idx="5743">
                  <c:v>5.9996121854021025</c:v>
                </c:pt>
                <c:pt idx="5744">
                  <c:v>4.9001829268665977</c:v>
                </c:pt>
                <c:pt idx="5745">
                  <c:v>6.1161328310041805</c:v>
                </c:pt>
                <c:pt idx="5746">
                  <c:v>7.2085128009206256</c:v>
                </c:pt>
                <c:pt idx="5747">
                  <c:v>5.9806078884292511</c:v>
                </c:pt>
                <c:pt idx="5748">
                  <c:v>4.9280867963619626</c:v>
                </c:pt>
                <c:pt idx="5749">
                  <c:v>6.8547223303907163</c:v>
                </c:pt>
                <c:pt idx="5750">
                  <c:v>6.1108586408762866</c:v>
                </c:pt>
                <c:pt idx="5751">
                  <c:v>6.2210539306062316</c:v>
                </c:pt>
                <c:pt idx="5752">
                  <c:v>5.9863490842810343</c:v>
                </c:pt>
                <c:pt idx="5753">
                  <c:v>7.0936393176611308</c:v>
                </c:pt>
                <c:pt idx="5754">
                  <c:v>5.850501667451292</c:v>
                </c:pt>
                <c:pt idx="5755">
                  <c:v>6.0394620825123413</c:v>
                </c:pt>
                <c:pt idx="5756">
                  <c:v>4.9834965882636855</c:v>
                </c:pt>
                <c:pt idx="5757">
                  <c:v>5.0493900607464255</c:v>
                </c:pt>
                <c:pt idx="5758">
                  <c:v>6.9197409128662937</c:v>
                </c:pt>
                <c:pt idx="5759">
                  <c:v>4.9880889432431692</c:v>
                </c:pt>
                <c:pt idx="5760">
                  <c:v>4.9798849963614877</c:v>
                </c:pt>
                <c:pt idx="5761">
                  <c:v>5.9038338422937153</c:v>
                </c:pt>
                <c:pt idx="5762">
                  <c:v>4.9743799161651134</c:v>
                </c:pt>
                <c:pt idx="5763">
                  <c:v>4.9446874687970821</c:v>
                </c:pt>
                <c:pt idx="5764">
                  <c:v>6.0987798500547283</c:v>
                </c:pt>
                <c:pt idx="5765">
                  <c:v>6.077912872062873</c:v>
                </c:pt>
                <c:pt idx="5766">
                  <c:v>5.6869858282154198</c:v>
                </c:pt>
                <c:pt idx="5767">
                  <c:v>5.8912642378261157</c:v>
                </c:pt>
                <c:pt idx="5768">
                  <c:v>5.9682037285061558</c:v>
                </c:pt>
                <c:pt idx="5769">
                  <c:v>5.8535879075646902</c:v>
                </c:pt>
                <c:pt idx="5770">
                  <c:v>6.0405416879960931</c:v>
                </c:pt>
                <c:pt idx="5771">
                  <c:v>4.9032763482300066</c:v>
                </c:pt>
                <c:pt idx="5772">
                  <c:v>5.9882109630477185</c:v>
                </c:pt>
                <c:pt idx="5773">
                  <c:v>4.9342146772181197</c:v>
                </c:pt>
                <c:pt idx="5774">
                  <c:v>5.0475259700600317</c:v>
                </c:pt>
                <c:pt idx="5775">
                  <c:v>6.1960665835988218</c:v>
                </c:pt>
                <c:pt idx="5776">
                  <c:v>6.0839612961310676</c:v>
                </c:pt>
                <c:pt idx="5777">
                  <c:v>5.9751847740235888</c:v>
                </c:pt>
                <c:pt idx="5778">
                  <c:v>5.9958473570572579</c:v>
                </c:pt>
                <c:pt idx="5779">
                  <c:v>6.0476387922308401</c:v>
                </c:pt>
                <c:pt idx="5780">
                  <c:v>6.1065960093289871</c:v>
                </c:pt>
                <c:pt idx="5781">
                  <c:v>5.1082173683401741</c:v>
                </c:pt>
                <c:pt idx="5782">
                  <c:v>4.9594961623017992</c:v>
                </c:pt>
                <c:pt idx="5783">
                  <c:v>5.8770478478992842</c:v>
                </c:pt>
                <c:pt idx="5784">
                  <c:v>4.9595328860403471</c:v>
                </c:pt>
                <c:pt idx="5785">
                  <c:v>4.8719559816384406</c:v>
                </c:pt>
                <c:pt idx="5786">
                  <c:v>4.1582435324211025</c:v>
                </c:pt>
                <c:pt idx="5787">
                  <c:v>6.9442179069987384</c:v>
                </c:pt>
                <c:pt idx="5788">
                  <c:v>6.8714768441255174</c:v>
                </c:pt>
                <c:pt idx="5789">
                  <c:v>7.0545212589639945</c:v>
                </c:pt>
                <c:pt idx="5790">
                  <c:v>5.9542347291066644</c:v>
                </c:pt>
                <c:pt idx="5791">
                  <c:v>6.0862127675639632</c:v>
                </c:pt>
                <c:pt idx="5792">
                  <c:v>4.9652019054496117</c:v>
                </c:pt>
                <c:pt idx="5793">
                  <c:v>6.0618734917958026</c:v>
                </c:pt>
                <c:pt idx="5794">
                  <c:v>7.1607051178820242</c:v>
                </c:pt>
                <c:pt idx="5795">
                  <c:v>5.9285187257297842</c:v>
                </c:pt>
                <c:pt idx="5796">
                  <c:v>4.9820510835506386</c:v>
                </c:pt>
                <c:pt idx="5797">
                  <c:v>6.0380889233858461</c:v>
                </c:pt>
                <c:pt idx="5798">
                  <c:v>4.8615869887187584</c:v>
                </c:pt>
                <c:pt idx="5799">
                  <c:v>5.8822961233894491</c:v>
                </c:pt>
                <c:pt idx="5800">
                  <c:v>6.9639573941179167</c:v>
                </c:pt>
                <c:pt idx="5801">
                  <c:v>5.0233465828118931</c:v>
                </c:pt>
                <c:pt idx="5802">
                  <c:v>7.0191602871682877</c:v>
                </c:pt>
                <c:pt idx="5803">
                  <c:v>5.0098736702998607</c:v>
                </c:pt>
                <c:pt idx="5804">
                  <c:v>7.0883564847577007</c:v>
                </c:pt>
                <c:pt idx="5805">
                  <c:v>4.967457313444303</c:v>
                </c:pt>
                <c:pt idx="5806">
                  <c:v>4.8393307044827241</c:v>
                </c:pt>
                <c:pt idx="5807">
                  <c:v>5.8722745757800894</c:v>
                </c:pt>
                <c:pt idx="5808">
                  <c:v>5.9400125151387106</c:v>
                </c:pt>
                <c:pt idx="5809">
                  <c:v>4.8824724865913041</c:v>
                </c:pt>
                <c:pt idx="5810">
                  <c:v>5.9165881794963679</c:v>
                </c:pt>
                <c:pt idx="5811">
                  <c:v>6.0490197993063006</c:v>
                </c:pt>
                <c:pt idx="5812">
                  <c:v>4.9270879291538652</c:v>
                </c:pt>
                <c:pt idx="5813">
                  <c:v>5.0532613160518283</c:v>
                </c:pt>
                <c:pt idx="5814">
                  <c:v>6.1394504950059359</c:v>
                </c:pt>
                <c:pt idx="5815">
                  <c:v>5.0555871553989435</c:v>
                </c:pt>
                <c:pt idx="5816">
                  <c:v>5.8703345197724914</c:v>
                </c:pt>
                <c:pt idx="5817">
                  <c:v>5.997719362533565</c:v>
                </c:pt>
                <c:pt idx="5818">
                  <c:v>5.8887405839248528</c:v>
                </c:pt>
                <c:pt idx="5819">
                  <c:v>5.9808764980755678</c:v>
                </c:pt>
                <c:pt idx="5820">
                  <c:v>5.8904736406782003</c:v>
                </c:pt>
                <c:pt idx="5821">
                  <c:v>4.9923694462453936</c:v>
                </c:pt>
                <c:pt idx="5822">
                  <c:v>6.0852397541475041</c:v>
                </c:pt>
                <c:pt idx="5823">
                  <c:v>4.9556798320766156</c:v>
                </c:pt>
                <c:pt idx="5824">
                  <c:v>4.9873127366995522</c:v>
                </c:pt>
                <c:pt idx="5825">
                  <c:v>5.0242890678148351</c:v>
                </c:pt>
                <c:pt idx="5826">
                  <c:v>4.8179491301909811</c:v>
                </c:pt>
                <c:pt idx="5827">
                  <c:v>6.1413024422858555</c:v>
                </c:pt>
                <c:pt idx="5828">
                  <c:v>5.9811798104514686</c:v>
                </c:pt>
                <c:pt idx="5829">
                  <c:v>4.9128250049996076</c:v>
                </c:pt>
                <c:pt idx="5830">
                  <c:v>6.0659683809102711</c:v>
                </c:pt>
                <c:pt idx="5831">
                  <c:v>4.9022589113400903</c:v>
                </c:pt>
                <c:pt idx="5832">
                  <c:v>6.2139270631973131</c:v>
                </c:pt>
                <c:pt idx="5833">
                  <c:v>7.096576340930679</c:v>
                </c:pt>
                <c:pt idx="5834">
                  <c:v>5.9216681657407992</c:v>
                </c:pt>
                <c:pt idx="5835">
                  <c:v>6.0830749023396802</c:v>
                </c:pt>
                <c:pt idx="5836">
                  <c:v>5.88134950596677</c:v>
                </c:pt>
                <c:pt idx="5837">
                  <c:v>5.9545955199348821</c:v>
                </c:pt>
                <c:pt idx="5838">
                  <c:v>6.0413672060798733</c:v>
                </c:pt>
                <c:pt idx="5839">
                  <c:v>5.9016541599601409</c:v>
                </c:pt>
                <c:pt idx="5840">
                  <c:v>6.0176032335290133</c:v>
                </c:pt>
                <c:pt idx="5841">
                  <c:v>5.0906902401058858</c:v>
                </c:pt>
                <c:pt idx="5842">
                  <c:v>4.9326353132978848</c:v>
                </c:pt>
                <c:pt idx="5843">
                  <c:v>5.9644828336949409</c:v>
                </c:pt>
                <c:pt idx="5844">
                  <c:v>6.0578741926520836</c:v>
                </c:pt>
                <c:pt idx="5845">
                  <c:v>5.170961029897156</c:v>
                </c:pt>
                <c:pt idx="5846">
                  <c:v>4.9322380708867088</c:v>
                </c:pt>
                <c:pt idx="5847">
                  <c:v>5.0363927383604228</c:v>
                </c:pt>
                <c:pt idx="5848">
                  <c:v>6.1642176275078571</c:v>
                </c:pt>
                <c:pt idx="5849">
                  <c:v>5.0938389204866548</c:v>
                </c:pt>
                <c:pt idx="5850">
                  <c:v>6.0346959345105011</c:v>
                </c:pt>
                <c:pt idx="5851">
                  <c:v>5.1812971745902239</c:v>
                </c:pt>
                <c:pt idx="5852">
                  <c:v>5.1075065648958873</c:v>
                </c:pt>
                <c:pt idx="5853">
                  <c:v>6.0014172835695723</c:v>
                </c:pt>
                <c:pt idx="5854">
                  <c:v>5.0212670931338854</c:v>
                </c:pt>
                <c:pt idx="5855">
                  <c:v>4.9817625550536464</c:v>
                </c:pt>
                <c:pt idx="5856">
                  <c:v>4.855985063423228</c:v>
                </c:pt>
                <c:pt idx="5857">
                  <c:v>6.0474129496089022</c:v>
                </c:pt>
                <c:pt idx="5858">
                  <c:v>4.9216825011173624</c:v>
                </c:pt>
                <c:pt idx="5859">
                  <c:v>5.1911536342320446</c:v>
                </c:pt>
                <c:pt idx="5860">
                  <c:v>5.1106375109125679</c:v>
                </c:pt>
                <c:pt idx="5861">
                  <c:v>6.1076833270247191</c:v>
                </c:pt>
                <c:pt idx="5862">
                  <c:v>5.012807162358289</c:v>
                </c:pt>
                <c:pt idx="5863">
                  <c:v>5.0936060635098395</c:v>
                </c:pt>
                <c:pt idx="5864">
                  <c:v>6.149357633323981</c:v>
                </c:pt>
                <c:pt idx="5865">
                  <c:v>6.0835505855387879</c:v>
                </c:pt>
                <c:pt idx="5866">
                  <c:v>7.1327655794094529</c:v>
                </c:pt>
                <c:pt idx="5867">
                  <c:v>5.9429588643171547</c:v>
                </c:pt>
                <c:pt idx="5868">
                  <c:v>5.0309859786583901</c:v>
                </c:pt>
                <c:pt idx="5869">
                  <c:v>5.0375287637335049</c:v>
                </c:pt>
                <c:pt idx="5870">
                  <c:v>7.2606052056494645</c:v>
                </c:pt>
                <c:pt idx="5871">
                  <c:v>5.015992636593066</c:v>
                </c:pt>
                <c:pt idx="5872">
                  <c:v>4.8140027795585203</c:v>
                </c:pt>
                <c:pt idx="5873">
                  <c:v>6.0753570862487063</c:v>
                </c:pt>
                <c:pt idx="5874">
                  <c:v>4.9001305925295213</c:v>
                </c:pt>
                <c:pt idx="5875">
                  <c:v>6.0072726620754571</c:v>
                </c:pt>
                <c:pt idx="5876">
                  <c:v>6.0384375338234388</c:v>
                </c:pt>
                <c:pt idx="5877">
                  <c:v>5.0663304296821945</c:v>
                </c:pt>
                <c:pt idx="5878">
                  <c:v>5.8458418977774302</c:v>
                </c:pt>
                <c:pt idx="5879">
                  <c:v>5.9157779799163031</c:v>
                </c:pt>
                <c:pt idx="5880">
                  <c:v>6.0181139326708291</c:v>
                </c:pt>
                <c:pt idx="5881">
                  <c:v>5.1001353682217685</c:v>
                </c:pt>
                <c:pt idx="5882">
                  <c:v>4.9040164714233017</c:v>
                </c:pt>
                <c:pt idx="5883">
                  <c:v>5.0818686079781497</c:v>
                </c:pt>
                <c:pt idx="5884">
                  <c:v>5.9271009971323556</c:v>
                </c:pt>
                <c:pt idx="5885">
                  <c:v>4.9019817225156359</c:v>
                </c:pt>
                <c:pt idx="5886">
                  <c:v>6.9225371586633777</c:v>
                </c:pt>
                <c:pt idx="5887">
                  <c:v>5.077342920076326</c:v>
                </c:pt>
                <c:pt idx="5888">
                  <c:v>5.0466542332285469</c:v>
                </c:pt>
                <c:pt idx="5889">
                  <c:v>4.8871569397669168</c:v>
                </c:pt>
                <c:pt idx="5890">
                  <c:v>5.0906182520413257</c:v>
                </c:pt>
                <c:pt idx="5891">
                  <c:v>4.8953218597107213</c:v>
                </c:pt>
                <c:pt idx="5892">
                  <c:v>5.9418925360905828</c:v>
                </c:pt>
                <c:pt idx="5893">
                  <c:v>5.2369494478617806</c:v>
                </c:pt>
                <c:pt idx="5894">
                  <c:v>5.9793300923950987</c:v>
                </c:pt>
                <c:pt idx="5895">
                  <c:v>4.9948349461480586</c:v>
                </c:pt>
                <c:pt idx="5896">
                  <c:v>4.8828273286495323</c:v>
                </c:pt>
                <c:pt idx="5897">
                  <c:v>5.8240330270710725</c:v>
                </c:pt>
                <c:pt idx="5898">
                  <c:v>5.9711006819119889</c:v>
                </c:pt>
                <c:pt idx="5899">
                  <c:v>5.054619730624224</c:v>
                </c:pt>
                <c:pt idx="5900">
                  <c:v>5.9006270573430015</c:v>
                </c:pt>
                <c:pt idx="5901">
                  <c:v>5.181929713247964</c:v>
                </c:pt>
                <c:pt idx="5902">
                  <c:v>5.1065079639370961</c:v>
                </c:pt>
                <c:pt idx="5903">
                  <c:v>5.1499231154230527</c:v>
                </c:pt>
                <c:pt idx="5904">
                  <c:v>5.0526219492975954</c:v>
                </c:pt>
                <c:pt idx="5905">
                  <c:v>5.9571026580280391</c:v>
                </c:pt>
                <c:pt idx="5906">
                  <c:v>5.9362037076585503</c:v>
                </c:pt>
                <c:pt idx="5907">
                  <c:v>4.9497334022792359</c:v>
                </c:pt>
                <c:pt idx="5908">
                  <c:v>5.9158051717744096</c:v>
                </c:pt>
                <c:pt idx="5909">
                  <c:v>5.0057959941301844</c:v>
                </c:pt>
                <c:pt idx="5910">
                  <c:v>4.9524405514283139</c:v>
                </c:pt>
                <c:pt idx="5911">
                  <c:v>6.1538022984544334</c:v>
                </c:pt>
                <c:pt idx="5912">
                  <c:v>5.0581016540045702</c:v>
                </c:pt>
                <c:pt idx="5913">
                  <c:v>6.1361617731397438</c:v>
                </c:pt>
                <c:pt idx="5914">
                  <c:v>5.1040146944046274</c:v>
                </c:pt>
                <c:pt idx="5915">
                  <c:v>5.0979099881917938</c:v>
                </c:pt>
                <c:pt idx="5916">
                  <c:v>6.060135474264924</c:v>
                </c:pt>
                <c:pt idx="5917">
                  <c:v>5.126888766183253</c:v>
                </c:pt>
                <c:pt idx="5918">
                  <c:v>5.9535150369739309</c:v>
                </c:pt>
                <c:pt idx="5919">
                  <c:v>5.9923820615031342</c:v>
                </c:pt>
                <c:pt idx="5920">
                  <c:v>5.9969666163475024</c:v>
                </c:pt>
                <c:pt idx="5921">
                  <c:v>4.9954800989043067</c:v>
                </c:pt>
                <c:pt idx="5922">
                  <c:v>3.9705893270316492</c:v>
                </c:pt>
                <c:pt idx="5923">
                  <c:v>4.888434982575343</c:v>
                </c:pt>
                <c:pt idx="5924">
                  <c:v>4.9036325825607667</c:v>
                </c:pt>
                <c:pt idx="5925">
                  <c:v>6.0940434043371141</c:v>
                </c:pt>
                <c:pt idx="5926">
                  <c:v>5.0791710701368933</c:v>
                </c:pt>
                <c:pt idx="5927">
                  <c:v>6.0411756255557556</c:v>
                </c:pt>
                <c:pt idx="5928">
                  <c:v>6.1331008348633995</c:v>
                </c:pt>
                <c:pt idx="5929">
                  <c:v>6.2679350444192252</c:v>
                </c:pt>
                <c:pt idx="5930">
                  <c:v>3.0340737877839086</c:v>
                </c:pt>
                <c:pt idx="5931">
                  <c:v>5.1147983775140569</c:v>
                </c:pt>
                <c:pt idx="5932">
                  <c:v>5.84841881414967</c:v>
                </c:pt>
                <c:pt idx="5933">
                  <c:v>5.0363934000429973</c:v>
                </c:pt>
                <c:pt idx="5934">
                  <c:v>5.108217111249755</c:v>
                </c:pt>
                <c:pt idx="5935">
                  <c:v>5.9228823227321135</c:v>
                </c:pt>
                <c:pt idx="5936">
                  <c:v>4.972172692509063</c:v>
                </c:pt>
                <c:pt idx="5937">
                  <c:v>6.0892487797818449</c:v>
                </c:pt>
                <c:pt idx="5938">
                  <c:v>5.981524842671881</c:v>
                </c:pt>
                <c:pt idx="5939">
                  <c:v>5.8432838189187226</c:v>
                </c:pt>
                <c:pt idx="5940">
                  <c:v>5.0826773168127115</c:v>
                </c:pt>
                <c:pt idx="5941">
                  <c:v>5.150999361817826</c:v>
                </c:pt>
                <c:pt idx="5942">
                  <c:v>6.1265502797441886</c:v>
                </c:pt>
                <c:pt idx="5943">
                  <c:v>6.0862470560854813</c:v>
                </c:pt>
                <c:pt idx="5944">
                  <c:v>5.0471215474082962</c:v>
                </c:pt>
                <c:pt idx="5945">
                  <c:v>4.9505806354430657</c:v>
                </c:pt>
                <c:pt idx="5946">
                  <c:v>6.0904555781752192</c:v>
                </c:pt>
                <c:pt idx="5947">
                  <c:v>4.8747461880464948</c:v>
                </c:pt>
                <c:pt idx="5948">
                  <c:v>5.0381885064721672</c:v>
                </c:pt>
                <c:pt idx="5949">
                  <c:v>5.8717134973971108</c:v>
                </c:pt>
                <c:pt idx="5950">
                  <c:v>5.7747505961644219</c:v>
                </c:pt>
                <c:pt idx="5951">
                  <c:v>5.9155902455795495</c:v>
                </c:pt>
                <c:pt idx="5952">
                  <c:v>6.1864587667370987</c:v>
                </c:pt>
                <c:pt idx="5953">
                  <c:v>5.9821623409150702</c:v>
                </c:pt>
                <c:pt idx="5954">
                  <c:v>6.0116129726912666</c:v>
                </c:pt>
                <c:pt idx="5955">
                  <c:v>6.1167423669917333</c:v>
                </c:pt>
                <c:pt idx="5956">
                  <c:v>5.0530650513902264</c:v>
                </c:pt>
                <c:pt idx="5957">
                  <c:v>6.2734318417322212</c:v>
                </c:pt>
                <c:pt idx="5958">
                  <c:v>5.116751873410295</c:v>
                </c:pt>
                <c:pt idx="5959">
                  <c:v>6.018596638540104</c:v>
                </c:pt>
                <c:pt idx="5960">
                  <c:v>5.8727165462584106</c:v>
                </c:pt>
                <c:pt idx="5961">
                  <c:v>5.1080778912240143</c:v>
                </c:pt>
                <c:pt idx="5962">
                  <c:v>4.9609066836537092</c:v>
                </c:pt>
                <c:pt idx="5963">
                  <c:v>5.9723899121335844</c:v>
                </c:pt>
                <c:pt idx="5964">
                  <c:v>4.8705480773059211</c:v>
                </c:pt>
                <c:pt idx="5965">
                  <c:v>5.9504944816563716</c:v>
                </c:pt>
                <c:pt idx="5966">
                  <c:v>4.9630955519889204</c:v>
                </c:pt>
                <c:pt idx="5967">
                  <c:v>5.7885814464726391</c:v>
                </c:pt>
                <c:pt idx="5968">
                  <c:v>4.9938829965407319</c:v>
                </c:pt>
                <c:pt idx="5969">
                  <c:v>6.12167642223163</c:v>
                </c:pt>
                <c:pt idx="5970">
                  <c:v>5.0704329747903225</c:v>
                </c:pt>
                <c:pt idx="5971">
                  <c:v>6.0652333224548096</c:v>
                </c:pt>
                <c:pt idx="5972">
                  <c:v>5.9710838513148161</c:v>
                </c:pt>
                <c:pt idx="5973">
                  <c:v>5.8753901054246285</c:v>
                </c:pt>
                <c:pt idx="5974">
                  <c:v>6.0832465983788877</c:v>
                </c:pt>
                <c:pt idx="5975">
                  <c:v>5.9055794725594746</c:v>
                </c:pt>
                <c:pt idx="5976">
                  <c:v>5.1550927085006615</c:v>
                </c:pt>
                <c:pt idx="5977">
                  <c:v>4.9844826295915663</c:v>
                </c:pt>
                <c:pt idx="5978">
                  <c:v>5.9056673523765495</c:v>
                </c:pt>
                <c:pt idx="5979">
                  <c:v>5.0407237776735867</c:v>
                </c:pt>
                <c:pt idx="5980">
                  <c:v>5.1616177194306889</c:v>
                </c:pt>
                <c:pt idx="5981">
                  <c:v>5.9378410678149649</c:v>
                </c:pt>
                <c:pt idx="5982">
                  <c:v>5.9486948067098053</c:v>
                </c:pt>
                <c:pt idx="5983">
                  <c:v>6.1263997455304704</c:v>
                </c:pt>
                <c:pt idx="5984">
                  <c:v>4.8934009734528381</c:v>
                </c:pt>
                <c:pt idx="5985">
                  <c:v>5.0342534872675966</c:v>
                </c:pt>
                <c:pt idx="5986">
                  <c:v>4.9643626324704986</c:v>
                </c:pt>
                <c:pt idx="5987">
                  <c:v>4.88128027979878</c:v>
                </c:pt>
                <c:pt idx="5988">
                  <c:v>5.883182663738773</c:v>
                </c:pt>
                <c:pt idx="5989">
                  <c:v>6.1140232628248539</c:v>
                </c:pt>
                <c:pt idx="5990">
                  <c:v>6.0153952161881152</c:v>
                </c:pt>
                <c:pt idx="5991">
                  <c:v>4.9110151483676052</c:v>
                </c:pt>
                <c:pt idx="5992">
                  <c:v>6.0988474188281305</c:v>
                </c:pt>
                <c:pt idx="5993">
                  <c:v>5.0025231739855478</c:v>
                </c:pt>
                <c:pt idx="5994">
                  <c:v>6.0463618667994936</c:v>
                </c:pt>
                <c:pt idx="5995">
                  <c:v>6.0999062117870517</c:v>
                </c:pt>
                <c:pt idx="5996">
                  <c:v>5.0976580278379435</c:v>
                </c:pt>
                <c:pt idx="5997">
                  <c:v>5.9023155341411364</c:v>
                </c:pt>
                <c:pt idx="5998">
                  <c:v>5.091452561420386</c:v>
                </c:pt>
                <c:pt idx="5999">
                  <c:v>5.9236775027311008</c:v>
                </c:pt>
                <c:pt idx="6000">
                  <c:v>7.0702086144194762</c:v>
                </c:pt>
                <c:pt idx="6001">
                  <c:v>5.9090689003270018</c:v>
                </c:pt>
                <c:pt idx="6002">
                  <c:v>5.219422346918396</c:v>
                </c:pt>
                <c:pt idx="6003">
                  <c:v>5.9495228737808636</c:v>
                </c:pt>
                <c:pt idx="6004">
                  <c:v>4.9396257770304208</c:v>
                </c:pt>
                <c:pt idx="6005">
                  <c:v>5.1274676757753967</c:v>
                </c:pt>
                <c:pt idx="6006">
                  <c:v>6.045575281692015</c:v>
                </c:pt>
                <c:pt idx="6007">
                  <c:v>6.1794958804313209</c:v>
                </c:pt>
                <c:pt idx="6008">
                  <c:v>4.9288662789971776</c:v>
                </c:pt>
                <c:pt idx="6009">
                  <c:v>6.0266343381132907</c:v>
                </c:pt>
                <c:pt idx="6010">
                  <c:v>5.0491870648885344</c:v>
                </c:pt>
                <c:pt idx="6011">
                  <c:v>5.1017586665710972</c:v>
                </c:pt>
                <c:pt idx="6012">
                  <c:v>5.963258281021913</c:v>
                </c:pt>
                <c:pt idx="6013">
                  <c:v>5.1083231346518865</c:v>
                </c:pt>
                <c:pt idx="6014">
                  <c:v>5.0401540163709546</c:v>
                </c:pt>
                <c:pt idx="6015">
                  <c:v>5.9718062281307116</c:v>
                </c:pt>
                <c:pt idx="6016">
                  <c:v>5.1050276038387041</c:v>
                </c:pt>
                <c:pt idx="6017">
                  <c:v>6.0481677958733098</c:v>
                </c:pt>
                <c:pt idx="6018">
                  <c:v>6.066355837763254</c:v>
                </c:pt>
                <c:pt idx="6019">
                  <c:v>5.971395233934313</c:v>
                </c:pt>
                <c:pt idx="6020">
                  <c:v>5.9812483473483757</c:v>
                </c:pt>
                <c:pt idx="6021">
                  <c:v>4.9257060935047408</c:v>
                </c:pt>
                <c:pt idx="6022">
                  <c:v>5.1281637354048604</c:v>
                </c:pt>
                <c:pt idx="6023">
                  <c:v>6.0954283082594998</c:v>
                </c:pt>
                <c:pt idx="6024">
                  <c:v>6.117697475336219</c:v>
                </c:pt>
                <c:pt idx="6025">
                  <c:v>5.0095141462207833</c:v>
                </c:pt>
                <c:pt idx="6026">
                  <c:v>4.9999593185610482</c:v>
                </c:pt>
                <c:pt idx="6027">
                  <c:v>5.0321992502316846</c:v>
                </c:pt>
                <c:pt idx="6028">
                  <c:v>4.8566287563343788</c:v>
                </c:pt>
                <c:pt idx="6029">
                  <c:v>5.857613292200039</c:v>
                </c:pt>
                <c:pt idx="6030">
                  <c:v>6.010150210068792</c:v>
                </c:pt>
                <c:pt idx="6031">
                  <c:v>4.9244952268236268</c:v>
                </c:pt>
                <c:pt idx="6032">
                  <c:v>5.9422265475526723</c:v>
                </c:pt>
                <c:pt idx="6033">
                  <c:v>5.9679115812436132</c:v>
                </c:pt>
                <c:pt idx="6034">
                  <c:v>3.9383214708636562</c:v>
                </c:pt>
                <c:pt idx="6035">
                  <c:v>4.8034862448130324</c:v>
                </c:pt>
                <c:pt idx="6036">
                  <c:v>5.9207180623988469</c:v>
                </c:pt>
                <c:pt idx="6037">
                  <c:v>5.9184027944880775</c:v>
                </c:pt>
                <c:pt idx="6038">
                  <c:v>5.0598193270132255</c:v>
                </c:pt>
                <c:pt idx="6039">
                  <c:v>5.0821561189922884</c:v>
                </c:pt>
                <c:pt idx="6040">
                  <c:v>4.96861355528792</c:v>
                </c:pt>
                <c:pt idx="6041">
                  <c:v>6.9553751327616355</c:v>
                </c:pt>
                <c:pt idx="6042">
                  <c:v>4.1249300095322488</c:v>
                </c:pt>
                <c:pt idx="6043">
                  <c:v>7.0757704670974153</c:v>
                </c:pt>
                <c:pt idx="6044">
                  <c:v>7.0376212871673136</c:v>
                </c:pt>
                <c:pt idx="6045">
                  <c:v>5.0115134514662083</c:v>
                </c:pt>
                <c:pt idx="6046">
                  <c:v>5.0271905768423393</c:v>
                </c:pt>
                <c:pt idx="6047">
                  <c:v>6.0636173936582018</c:v>
                </c:pt>
                <c:pt idx="6048">
                  <c:v>5.1188971552009637</c:v>
                </c:pt>
                <c:pt idx="6049">
                  <c:v>4.8351631751985078</c:v>
                </c:pt>
                <c:pt idx="6050">
                  <c:v>6.0581884236368326</c:v>
                </c:pt>
                <c:pt idx="6051">
                  <c:v>6.0908735542849062</c:v>
                </c:pt>
                <c:pt idx="6052">
                  <c:v>5.9852327369990634</c:v>
                </c:pt>
                <c:pt idx="6053">
                  <c:v>5.1655788131961149</c:v>
                </c:pt>
                <c:pt idx="6054">
                  <c:v>5.9508370040227616</c:v>
                </c:pt>
                <c:pt idx="6055">
                  <c:v>4.981402448765837</c:v>
                </c:pt>
                <c:pt idx="6056">
                  <c:v>5.9538960368240126</c:v>
                </c:pt>
                <c:pt idx="6057">
                  <c:v>6.2680053523161074</c:v>
                </c:pt>
                <c:pt idx="6058">
                  <c:v>5.9618147488136728</c:v>
                </c:pt>
                <c:pt idx="6059">
                  <c:v>5.9220392266327497</c:v>
                </c:pt>
                <c:pt idx="6060">
                  <c:v>6.1124624854683391</c:v>
                </c:pt>
                <c:pt idx="6061">
                  <c:v>5.7685805453183052</c:v>
                </c:pt>
                <c:pt idx="6062">
                  <c:v>6.0758252167957068</c:v>
                </c:pt>
                <c:pt idx="6063">
                  <c:v>4.922451616744242</c:v>
                </c:pt>
                <c:pt idx="6064">
                  <c:v>6.0687708132296505</c:v>
                </c:pt>
                <c:pt idx="6065">
                  <c:v>5.1040797907875817</c:v>
                </c:pt>
                <c:pt idx="6066">
                  <c:v>5.9550970799621847</c:v>
                </c:pt>
                <c:pt idx="6067">
                  <c:v>6.146711035969779</c:v>
                </c:pt>
                <c:pt idx="6068">
                  <c:v>4.9673102195063938</c:v>
                </c:pt>
                <c:pt idx="6069">
                  <c:v>6.0586416231360571</c:v>
                </c:pt>
                <c:pt idx="6070">
                  <c:v>5.077020143972522</c:v>
                </c:pt>
                <c:pt idx="6071">
                  <c:v>5.0935521576078298</c:v>
                </c:pt>
                <c:pt idx="6072">
                  <c:v>5.8770465736397206</c:v>
                </c:pt>
                <c:pt idx="6073">
                  <c:v>4.9328209936431451</c:v>
                </c:pt>
                <c:pt idx="6074">
                  <c:v>4.9696589153946809</c:v>
                </c:pt>
                <c:pt idx="6075">
                  <c:v>7.0487307603688576</c:v>
                </c:pt>
                <c:pt idx="6076">
                  <c:v>4.7468030726164381</c:v>
                </c:pt>
                <c:pt idx="6077">
                  <c:v>5.9295633914333941</c:v>
                </c:pt>
                <c:pt idx="6078">
                  <c:v>5.9002315483842471</c:v>
                </c:pt>
                <c:pt idx="6079">
                  <c:v>6.0621434615107583</c:v>
                </c:pt>
                <c:pt idx="6080">
                  <c:v>6.1111488227670936</c:v>
                </c:pt>
                <c:pt idx="6081">
                  <c:v>4.9138159348919324</c:v>
                </c:pt>
                <c:pt idx="6082">
                  <c:v>5.9448119546951874</c:v>
                </c:pt>
                <c:pt idx="6083">
                  <c:v>4.9420798900471814</c:v>
                </c:pt>
                <c:pt idx="6084">
                  <c:v>5.053970842353686</c:v>
                </c:pt>
                <c:pt idx="6085">
                  <c:v>6.143424232746777</c:v>
                </c:pt>
                <c:pt idx="6086">
                  <c:v>6.033063624683372</c:v>
                </c:pt>
                <c:pt idx="6087">
                  <c:v>5.0309266357626896</c:v>
                </c:pt>
                <c:pt idx="6088">
                  <c:v>5.1018737222010362</c:v>
                </c:pt>
                <c:pt idx="6089">
                  <c:v>4.9760115600419121</c:v>
                </c:pt>
                <c:pt idx="6090">
                  <c:v>6.0590316173160605</c:v>
                </c:pt>
                <c:pt idx="6091">
                  <c:v>6.0939062796360215</c:v>
                </c:pt>
                <c:pt idx="6092">
                  <c:v>6.1015699743182807</c:v>
                </c:pt>
                <c:pt idx="6093">
                  <c:v>6.0627833770671673</c:v>
                </c:pt>
                <c:pt idx="6094">
                  <c:v>5.0500406649985337</c:v>
                </c:pt>
                <c:pt idx="6095">
                  <c:v>6.027946823737838</c:v>
                </c:pt>
                <c:pt idx="6096">
                  <c:v>4.7975317204533336</c:v>
                </c:pt>
                <c:pt idx="6097">
                  <c:v>5.0440446393471907</c:v>
                </c:pt>
                <c:pt idx="6098">
                  <c:v>5.8849520845780807</c:v>
                </c:pt>
                <c:pt idx="6099">
                  <c:v>6.1158029259058511</c:v>
                </c:pt>
                <c:pt idx="6100">
                  <c:v>5.9094299502614911</c:v>
                </c:pt>
                <c:pt idx="6101">
                  <c:v>4.8677487962849133</c:v>
                </c:pt>
                <c:pt idx="6102">
                  <c:v>4.9023967738560996</c:v>
                </c:pt>
                <c:pt idx="6103">
                  <c:v>5.0571592799239697</c:v>
                </c:pt>
                <c:pt idx="6104">
                  <c:v>4.8937814616281763</c:v>
                </c:pt>
                <c:pt idx="6105">
                  <c:v>6.0150231981307831</c:v>
                </c:pt>
                <c:pt idx="6106">
                  <c:v>4.958756003494261</c:v>
                </c:pt>
                <c:pt idx="6107">
                  <c:v>5.2225878254533882</c:v>
                </c:pt>
                <c:pt idx="6108">
                  <c:v>5.9213468340242388</c:v>
                </c:pt>
                <c:pt idx="6109">
                  <c:v>5.019513383033936</c:v>
                </c:pt>
                <c:pt idx="6110">
                  <c:v>5.1268229150228821</c:v>
                </c:pt>
                <c:pt idx="6111">
                  <c:v>5.1902272164136471</c:v>
                </c:pt>
                <c:pt idx="6112">
                  <c:v>5.9678419773520242</c:v>
                </c:pt>
                <c:pt idx="6113">
                  <c:v>4.9256789095060132</c:v>
                </c:pt>
                <c:pt idx="6114">
                  <c:v>5.9388586291694443</c:v>
                </c:pt>
                <c:pt idx="6115">
                  <c:v>7.063469774529513</c:v>
                </c:pt>
                <c:pt idx="6116">
                  <c:v>4.1330655998994814</c:v>
                </c:pt>
                <c:pt idx="6117">
                  <c:v>7.0570242458860211</c:v>
                </c:pt>
                <c:pt idx="6118">
                  <c:v>5.0519260853673744</c:v>
                </c:pt>
                <c:pt idx="6119">
                  <c:v>5.0976715984517602</c:v>
                </c:pt>
                <c:pt idx="6120">
                  <c:v>3.8801931557204341</c:v>
                </c:pt>
                <c:pt idx="6121">
                  <c:v>6.0998515661512753</c:v>
                </c:pt>
                <c:pt idx="6122">
                  <c:v>5.9517136443524663</c:v>
                </c:pt>
                <c:pt idx="6123">
                  <c:v>6.0498629130028876</c:v>
                </c:pt>
                <c:pt idx="6124">
                  <c:v>6.0251462019258044</c:v>
                </c:pt>
                <c:pt idx="6125">
                  <c:v>4.8477601103379815</c:v>
                </c:pt>
                <c:pt idx="6126">
                  <c:v>5.8668448712404553</c:v>
                </c:pt>
                <c:pt idx="6127">
                  <c:v>6.9330624459163177</c:v>
                </c:pt>
                <c:pt idx="6128">
                  <c:v>6.1955260239602916</c:v>
                </c:pt>
                <c:pt idx="6129">
                  <c:v>4.8017220494071697</c:v>
                </c:pt>
                <c:pt idx="6130">
                  <c:v>5.1283207453322817</c:v>
                </c:pt>
                <c:pt idx="6131">
                  <c:v>5.0328578843084504</c:v>
                </c:pt>
                <c:pt idx="6132">
                  <c:v>5.0509626149509383</c:v>
                </c:pt>
                <c:pt idx="6133">
                  <c:v>6.129889311717152</c:v>
                </c:pt>
                <c:pt idx="6134">
                  <c:v>5.115828614923009</c:v>
                </c:pt>
                <c:pt idx="6135">
                  <c:v>5.637432873390833</c:v>
                </c:pt>
                <c:pt idx="6136">
                  <c:v>4.9222861580085491</c:v>
                </c:pt>
                <c:pt idx="6137">
                  <c:v>5.9845863438070772</c:v>
                </c:pt>
                <c:pt idx="6138">
                  <c:v>5.0271198621907214</c:v>
                </c:pt>
                <c:pt idx="6139">
                  <c:v>4.9997248662482789</c:v>
                </c:pt>
                <c:pt idx="6140">
                  <c:v>5.1726490988273435</c:v>
                </c:pt>
                <c:pt idx="6141">
                  <c:v>4.9747943394275875</c:v>
                </c:pt>
                <c:pt idx="6142">
                  <c:v>4.8284373546013795</c:v>
                </c:pt>
                <c:pt idx="6143">
                  <c:v>5.0632626440735775</c:v>
                </c:pt>
                <c:pt idx="6144">
                  <c:v>5.8670608009145919</c:v>
                </c:pt>
                <c:pt idx="6145">
                  <c:v>5.1164520957690938</c:v>
                </c:pt>
                <c:pt idx="6146">
                  <c:v>5.9106434707223672</c:v>
                </c:pt>
                <c:pt idx="6147">
                  <c:v>5.0101301906734061</c:v>
                </c:pt>
                <c:pt idx="6148">
                  <c:v>5.9178082905911404</c:v>
                </c:pt>
                <c:pt idx="6149">
                  <c:v>5.9058236732681024</c:v>
                </c:pt>
                <c:pt idx="6150">
                  <c:v>6.9806321190926521</c:v>
                </c:pt>
                <c:pt idx="6151">
                  <c:v>5.891207553417102</c:v>
                </c:pt>
                <c:pt idx="6152">
                  <c:v>4.9002998532633173</c:v>
                </c:pt>
                <c:pt idx="6153">
                  <c:v>6.1126936979425563</c:v>
                </c:pt>
                <c:pt idx="6154">
                  <c:v>4.7952804640587532</c:v>
                </c:pt>
                <c:pt idx="6155">
                  <c:v>5.0421114953191841</c:v>
                </c:pt>
                <c:pt idx="6156">
                  <c:v>4.9495358645740302</c:v>
                </c:pt>
                <c:pt idx="6157">
                  <c:v>6.1440586699671789</c:v>
                </c:pt>
                <c:pt idx="6158">
                  <c:v>4.9676560771964065</c:v>
                </c:pt>
                <c:pt idx="6159">
                  <c:v>6.1159412329321716</c:v>
                </c:pt>
                <c:pt idx="6160">
                  <c:v>6.1012931909430428</c:v>
                </c:pt>
                <c:pt idx="6161">
                  <c:v>6.0030860517061662</c:v>
                </c:pt>
                <c:pt idx="6162">
                  <c:v>3.8684681056490473</c:v>
                </c:pt>
                <c:pt idx="6163">
                  <c:v>4.2073736056571498</c:v>
                </c:pt>
                <c:pt idx="6164">
                  <c:v>4.026706650340107</c:v>
                </c:pt>
                <c:pt idx="6165">
                  <c:v>3.9989636245729021</c:v>
                </c:pt>
                <c:pt idx="6166">
                  <c:v>4.2226648534822919</c:v>
                </c:pt>
                <c:pt idx="6167">
                  <c:v>3.9609821432971355</c:v>
                </c:pt>
                <c:pt idx="6168">
                  <c:v>4.0653711930672563</c:v>
                </c:pt>
                <c:pt idx="6169">
                  <c:v>4.0206366658446715</c:v>
                </c:pt>
                <c:pt idx="6170">
                  <c:v>4.0337487074522391</c:v>
                </c:pt>
                <c:pt idx="6171">
                  <c:v>5.9195759637923482</c:v>
                </c:pt>
                <c:pt idx="6172">
                  <c:v>4.9842248725485039</c:v>
                </c:pt>
                <c:pt idx="6173">
                  <c:v>4.9072332771557097</c:v>
                </c:pt>
                <c:pt idx="6174">
                  <c:v>6.1334527708271445</c:v>
                </c:pt>
                <c:pt idx="6175">
                  <c:v>4.9088073559503398</c:v>
                </c:pt>
                <c:pt idx="6176">
                  <c:v>5.9991818040221556</c:v>
                </c:pt>
                <c:pt idx="6177">
                  <c:v>6.012449658511791</c:v>
                </c:pt>
                <c:pt idx="6178">
                  <c:v>4.9054879187363589</c:v>
                </c:pt>
                <c:pt idx="6179">
                  <c:v>6.0233488046755017</c:v>
                </c:pt>
                <c:pt idx="6180">
                  <c:v>5.1015781567893139</c:v>
                </c:pt>
                <c:pt idx="6181">
                  <c:v>5.024396127190931</c:v>
                </c:pt>
                <c:pt idx="6182">
                  <c:v>4.9897254367728179</c:v>
                </c:pt>
                <c:pt idx="6183">
                  <c:v>4.0373280336677846</c:v>
                </c:pt>
                <c:pt idx="6184">
                  <c:v>7.2118648804306122</c:v>
                </c:pt>
                <c:pt idx="6185">
                  <c:v>5.1262274491286437</c:v>
                </c:pt>
                <c:pt idx="6186">
                  <c:v>3.7630555150273999</c:v>
                </c:pt>
                <c:pt idx="6187">
                  <c:v>5.0639770095021088</c:v>
                </c:pt>
                <c:pt idx="6188">
                  <c:v>5.0721177668812043</c:v>
                </c:pt>
                <c:pt idx="6189">
                  <c:v>6.9714242936424275</c:v>
                </c:pt>
                <c:pt idx="6190">
                  <c:v>4.9417988565292843</c:v>
                </c:pt>
                <c:pt idx="6191">
                  <c:v>5.0233958269208561</c:v>
                </c:pt>
                <c:pt idx="6192">
                  <c:v>4.9735033556275043</c:v>
                </c:pt>
                <c:pt idx="6193">
                  <c:v>4.815114257663117</c:v>
                </c:pt>
                <c:pt idx="6194">
                  <c:v>6.2000642552965415</c:v>
                </c:pt>
                <c:pt idx="6195">
                  <c:v>5.9251334147330015</c:v>
                </c:pt>
                <c:pt idx="6196">
                  <c:v>5.0145591127983478</c:v>
                </c:pt>
                <c:pt idx="6197">
                  <c:v>4.9249686244417452</c:v>
                </c:pt>
                <c:pt idx="6198">
                  <c:v>5.9895786518323364</c:v>
                </c:pt>
                <c:pt idx="6199">
                  <c:v>4.1532441317745095</c:v>
                </c:pt>
                <c:pt idx="6200">
                  <c:v>3.8530346076440432</c:v>
                </c:pt>
                <c:pt idx="6201">
                  <c:v>3.9677200535033874</c:v>
                </c:pt>
                <c:pt idx="6202">
                  <c:v>4.1956043817936406</c:v>
                </c:pt>
                <c:pt idx="6203">
                  <c:v>4.0816965191788688</c:v>
                </c:pt>
                <c:pt idx="6204">
                  <c:v>3.9751327219900201</c:v>
                </c:pt>
                <c:pt idx="6205">
                  <c:v>4.0420592606378758</c:v>
                </c:pt>
                <c:pt idx="6206">
                  <c:v>5.8351784829907229</c:v>
                </c:pt>
                <c:pt idx="6207">
                  <c:v>5.9442536724144315</c:v>
                </c:pt>
                <c:pt idx="6208">
                  <c:v>5.9337154887282306</c:v>
                </c:pt>
                <c:pt idx="6209">
                  <c:v>6.0943324425833003</c:v>
                </c:pt>
                <c:pt idx="6210">
                  <c:v>5.9345899848778751</c:v>
                </c:pt>
                <c:pt idx="6211">
                  <c:v>6.0244108457448382</c:v>
                </c:pt>
                <c:pt idx="6212">
                  <c:v>5.1258775370467635</c:v>
                </c:pt>
                <c:pt idx="6213">
                  <c:v>5.8433057570516986</c:v>
                </c:pt>
                <c:pt idx="6214">
                  <c:v>6.0901633133173672</c:v>
                </c:pt>
                <c:pt idx="6215">
                  <c:v>6.0539569159292217</c:v>
                </c:pt>
                <c:pt idx="6216">
                  <c:v>5.9888748063304504</c:v>
                </c:pt>
                <c:pt idx="6217">
                  <c:v>6.025882876837132</c:v>
                </c:pt>
                <c:pt idx="6218">
                  <c:v>5.9494208452629085</c:v>
                </c:pt>
                <c:pt idx="6219">
                  <c:v>4.0825141458911309</c:v>
                </c:pt>
                <c:pt idx="6220">
                  <c:v>5.9902725392759493</c:v>
                </c:pt>
                <c:pt idx="6221">
                  <c:v>5.9067642436875252</c:v>
                </c:pt>
                <c:pt idx="6222">
                  <c:v>4.9509101892153469</c:v>
                </c:pt>
                <c:pt idx="6223">
                  <c:v>4.9539368347233141</c:v>
                </c:pt>
                <c:pt idx="6224">
                  <c:v>4.0758542121907135</c:v>
                </c:pt>
                <c:pt idx="6225">
                  <c:v>5.9889076556776555</c:v>
                </c:pt>
                <c:pt idx="6226">
                  <c:v>4.9586505913114927</c:v>
                </c:pt>
                <c:pt idx="6227">
                  <c:v>6.016570111875378</c:v>
                </c:pt>
                <c:pt idx="6228">
                  <c:v>5.0567317311069573</c:v>
                </c:pt>
                <c:pt idx="6229">
                  <c:v>4.9903860912148268</c:v>
                </c:pt>
                <c:pt idx="6230">
                  <c:v>4.9294910793510587</c:v>
                </c:pt>
                <c:pt idx="6231">
                  <c:v>5.1068116195582913</c:v>
                </c:pt>
                <c:pt idx="6232">
                  <c:v>5.0214717180432631</c:v>
                </c:pt>
                <c:pt idx="6233">
                  <c:v>5.8663181298587963</c:v>
                </c:pt>
                <c:pt idx="6234">
                  <c:v>5.1004966606993234</c:v>
                </c:pt>
                <c:pt idx="6235">
                  <c:v>6.0115571848997664</c:v>
                </c:pt>
                <c:pt idx="6236">
                  <c:v>4.9536221177897035</c:v>
                </c:pt>
                <c:pt idx="6237">
                  <c:v>3.9821179527077342</c:v>
                </c:pt>
                <c:pt idx="6238">
                  <c:v>6.1225676967549703</c:v>
                </c:pt>
                <c:pt idx="6239">
                  <c:v>5.023716232334853</c:v>
                </c:pt>
                <c:pt idx="6240">
                  <c:v>4.9704841984303023</c:v>
                </c:pt>
                <c:pt idx="6241">
                  <c:v>6.0646643980102422</c:v>
                </c:pt>
                <c:pt idx="6242">
                  <c:v>5.0193555838656687</c:v>
                </c:pt>
                <c:pt idx="6243">
                  <c:v>4.9631017763417109</c:v>
                </c:pt>
                <c:pt idx="6244">
                  <c:v>4.9768688624224309</c:v>
                </c:pt>
                <c:pt idx="6245">
                  <c:v>4.8724347940980257</c:v>
                </c:pt>
                <c:pt idx="6246">
                  <c:v>5.8146674762285242</c:v>
                </c:pt>
                <c:pt idx="6247">
                  <c:v>6.1861407186380148</c:v>
                </c:pt>
                <c:pt idx="6248">
                  <c:v>4.7589744117221802</c:v>
                </c:pt>
                <c:pt idx="6249">
                  <c:v>4.988116723388198</c:v>
                </c:pt>
                <c:pt idx="6250">
                  <c:v>6.0434215889929259</c:v>
                </c:pt>
                <c:pt idx="6251">
                  <c:v>6.0429095453125967</c:v>
                </c:pt>
                <c:pt idx="6252">
                  <c:v>6.1521561978657546</c:v>
                </c:pt>
                <c:pt idx="6253">
                  <c:v>6.1538636084769571</c:v>
                </c:pt>
                <c:pt idx="6254">
                  <c:v>5.1552035330164365</c:v>
                </c:pt>
                <c:pt idx="6255">
                  <c:v>6.0171408116906493</c:v>
                </c:pt>
                <c:pt idx="6256">
                  <c:v>4.942561604545558</c:v>
                </c:pt>
                <c:pt idx="6257">
                  <c:v>5.9730620032351789</c:v>
                </c:pt>
                <c:pt idx="6258">
                  <c:v>5.8885261540559233</c:v>
                </c:pt>
                <c:pt idx="6259">
                  <c:v>5.9357504204321172</c:v>
                </c:pt>
                <c:pt idx="6260">
                  <c:v>4.804909926247853</c:v>
                </c:pt>
                <c:pt idx="6261">
                  <c:v>6.0094682184802526</c:v>
                </c:pt>
                <c:pt idx="6262">
                  <c:v>4.1083747777319255</c:v>
                </c:pt>
                <c:pt idx="6263">
                  <c:v>5.9336776837688294</c:v>
                </c:pt>
                <c:pt idx="6264">
                  <c:v>5.1637640024605442</c:v>
                </c:pt>
                <c:pt idx="6265">
                  <c:v>4.8161927955338832</c:v>
                </c:pt>
                <c:pt idx="6266">
                  <c:v>5.8455126638836763</c:v>
                </c:pt>
                <c:pt idx="6267">
                  <c:v>5.9538416618554324</c:v>
                </c:pt>
                <c:pt idx="6268">
                  <c:v>5.8649039614616587</c:v>
                </c:pt>
                <c:pt idx="6269">
                  <c:v>5.0120025972537521</c:v>
                </c:pt>
                <c:pt idx="6270">
                  <c:v>5.0867706036999945</c:v>
                </c:pt>
                <c:pt idx="6271">
                  <c:v>5.9384247682287477</c:v>
                </c:pt>
                <c:pt idx="6272">
                  <c:v>4.8266638471172385</c:v>
                </c:pt>
                <c:pt idx="6273">
                  <c:v>5.0595826311868688</c:v>
                </c:pt>
                <c:pt idx="6274">
                  <c:v>5.1280749700481225</c:v>
                </c:pt>
                <c:pt idx="6275">
                  <c:v>4.9662181795458062</c:v>
                </c:pt>
                <c:pt idx="6276">
                  <c:v>4.9002261012617501</c:v>
                </c:pt>
                <c:pt idx="6277">
                  <c:v>6.072456466011027</c:v>
                </c:pt>
                <c:pt idx="6278">
                  <c:v>5.9635710179896293</c:v>
                </c:pt>
                <c:pt idx="6279">
                  <c:v>6.0076814703479657</c:v>
                </c:pt>
                <c:pt idx="6280">
                  <c:v>5.8720119408371927</c:v>
                </c:pt>
                <c:pt idx="6281">
                  <c:v>5.9890697192480271</c:v>
                </c:pt>
                <c:pt idx="6282">
                  <c:v>5.8436496618763218</c:v>
                </c:pt>
                <c:pt idx="6283">
                  <c:v>5.9397960750669361</c:v>
                </c:pt>
                <c:pt idx="6284">
                  <c:v>6.0063838255138862</c:v>
                </c:pt>
                <c:pt idx="6285">
                  <c:v>6.0286610544700352</c:v>
                </c:pt>
                <c:pt idx="6286">
                  <c:v>6.0791215300974706</c:v>
                </c:pt>
                <c:pt idx="6287">
                  <c:v>5.8032901667697363</c:v>
                </c:pt>
                <c:pt idx="6288">
                  <c:v>5.9024758757551981</c:v>
                </c:pt>
                <c:pt idx="6289">
                  <c:v>6.0374555936240055</c:v>
                </c:pt>
                <c:pt idx="6290">
                  <c:v>6.0162278703420933</c:v>
                </c:pt>
                <c:pt idx="6291">
                  <c:v>5.9057246794966565</c:v>
                </c:pt>
                <c:pt idx="6292">
                  <c:v>6.8537226166537364</c:v>
                </c:pt>
                <c:pt idx="6293">
                  <c:v>5.9726659860971063</c:v>
                </c:pt>
                <c:pt idx="6294">
                  <c:v>5.9500511069713529</c:v>
                </c:pt>
                <c:pt idx="6295">
                  <c:v>4.0707245657932516</c:v>
                </c:pt>
                <c:pt idx="6296">
                  <c:v>4.018900031692116</c:v>
                </c:pt>
                <c:pt idx="6297">
                  <c:v>6.0820211291771393</c:v>
                </c:pt>
                <c:pt idx="6298">
                  <c:v>2.915693626310325</c:v>
                </c:pt>
                <c:pt idx="6299">
                  <c:v>6.0811680854894279</c:v>
                </c:pt>
                <c:pt idx="6300">
                  <c:v>5.9973394341795352</c:v>
                </c:pt>
                <c:pt idx="6301">
                  <c:v>4.9507154780239206</c:v>
                </c:pt>
                <c:pt idx="6302">
                  <c:v>5.9555607135623356</c:v>
                </c:pt>
                <c:pt idx="6303">
                  <c:v>6.0232418751220269</c:v>
                </c:pt>
                <c:pt idx="6304">
                  <c:v>4.9902701726696019</c:v>
                </c:pt>
                <c:pt idx="6305">
                  <c:v>2.7875662036916244</c:v>
                </c:pt>
                <c:pt idx="6306">
                  <c:v>6.0094458783516211</c:v>
                </c:pt>
                <c:pt idx="6307">
                  <c:v>6.232765298937756</c:v>
                </c:pt>
                <c:pt idx="6308">
                  <c:v>5.8652166244760586</c:v>
                </c:pt>
                <c:pt idx="6309">
                  <c:v>5.0537414483582284</c:v>
                </c:pt>
                <c:pt idx="6310">
                  <c:v>3.9907606551608468</c:v>
                </c:pt>
                <c:pt idx="6311">
                  <c:v>3.9445165453331472</c:v>
                </c:pt>
                <c:pt idx="6312">
                  <c:v>4.7595373010130722</c:v>
                </c:pt>
                <c:pt idx="6313">
                  <c:v>5.0942095757205124</c:v>
                </c:pt>
                <c:pt idx="6314">
                  <c:v>6.044465828148291</c:v>
                </c:pt>
                <c:pt idx="6315">
                  <c:v>6.06557789072499</c:v>
                </c:pt>
                <c:pt idx="6316">
                  <c:v>5.0857624471502803</c:v>
                </c:pt>
                <c:pt idx="6317">
                  <c:v>5.8604307574205139</c:v>
                </c:pt>
                <c:pt idx="6318">
                  <c:v>4.9741823875498019</c:v>
                </c:pt>
                <c:pt idx="6319">
                  <c:v>5.9615828976721126</c:v>
                </c:pt>
                <c:pt idx="6320">
                  <c:v>6.2220482108339219</c:v>
                </c:pt>
                <c:pt idx="6321">
                  <c:v>4.9530644929405803</c:v>
                </c:pt>
                <c:pt idx="6322">
                  <c:v>6.0582144657558503</c:v>
                </c:pt>
                <c:pt idx="6323">
                  <c:v>5.9354038764369168</c:v>
                </c:pt>
                <c:pt idx="6324">
                  <c:v>5.9702236159750646</c:v>
                </c:pt>
                <c:pt idx="6325">
                  <c:v>5.1012031828995141</c:v>
                </c:pt>
                <c:pt idx="6326">
                  <c:v>6.0846877590157264</c:v>
                </c:pt>
                <c:pt idx="6327">
                  <c:v>6.1682022743617662</c:v>
                </c:pt>
                <c:pt idx="6328">
                  <c:v>7.0468937331368542</c:v>
                </c:pt>
                <c:pt idx="6329">
                  <c:v>7.0054500586577122</c:v>
                </c:pt>
                <c:pt idx="6330">
                  <c:v>6.0066833339357855</c:v>
                </c:pt>
                <c:pt idx="6331">
                  <c:v>5.9958465455666268</c:v>
                </c:pt>
                <c:pt idx="6332">
                  <c:v>5.7868946821432763</c:v>
                </c:pt>
                <c:pt idx="6333">
                  <c:v>5.8451833239321047</c:v>
                </c:pt>
                <c:pt idx="6334">
                  <c:v>6.0850836021391048</c:v>
                </c:pt>
                <c:pt idx="6335">
                  <c:v>5.0769091371051545</c:v>
                </c:pt>
                <c:pt idx="6336">
                  <c:v>6.0087835187363092</c:v>
                </c:pt>
                <c:pt idx="6337">
                  <c:v>6.1100574963464025</c:v>
                </c:pt>
                <c:pt idx="6338">
                  <c:v>6.0769712699578537</c:v>
                </c:pt>
                <c:pt idx="6339">
                  <c:v>5.8716145283201104</c:v>
                </c:pt>
                <c:pt idx="6340">
                  <c:v>4.0050373541383237</c:v>
                </c:pt>
                <c:pt idx="6341">
                  <c:v>4.2008691106502072</c:v>
                </c:pt>
                <c:pt idx="6342">
                  <c:v>4.1618209934058124</c:v>
                </c:pt>
                <c:pt idx="6343">
                  <c:v>5.9817327476748492</c:v>
                </c:pt>
                <c:pt idx="6344">
                  <c:v>4.0188699745915466</c:v>
                </c:pt>
                <c:pt idx="6345">
                  <c:v>4.9117500175183251</c:v>
                </c:pt>
                <c:pt idx="6346">
                  <c:v>5.9851527815536443</c:v>
                </c:pt>
                <c:pt idx="6347">
                  <c:v>5.8444132140364902</c:v>
                </c:pt>
                <c:pt idx="6348">
                  <c:v>4.9701824444892715</c:v>
                </c:pt>
                <c:pt idx="6349">
                  <c:v>6.2092060043164707</c:v>
                </c:pt>
                <c:pt idx="6350">
                  <c:v>5.8808823122231777</c:v>
                </c:pt>
                <c:pt idx="6351">
                  <c:v>4.9583635434027737</c:v>
                </c:pt>
                <c:pt idx="6352">
                  <c:v>4.9868634656943778</c:v>
                </c:pt>
                <c:pt idx="6353">
                  <c:v>5.9422976301454487</c:v>
                </c:pt>
                <c:pt idx="6354">
                  <c:v>4.9980530798328555</c:v>
                </c:pt>
                <c:pt idx="6355">
                  <c:v>6.0839720353025903</c:v>
                </c:pt>
                <c:pt idx="6356">
                  <c:v>4.8791270914138503</c:v>
                </c:pt>
                <c:pt idx="6357">
                  <c:v>6.0080064458950435</c:v>
                </c:pt>
                <c:pt idx="6358">
                  <c:v>5.9640710755186106</c:v>
                </c:pt>
                <c:pt idx="6359">
                  <c:v>4.9243736147793351</c:v>
                </c:pt>
                <c:pt idx="6360">
                  <c:v>6.0777840121321933</c:v>
                </c:pt>
                <c:pt idx="6361">
                  <c:v>4.886345855807865</c:v>
                </c:pt>
                <c:pt idx="6362">
                  <c:v>5.1168096522460456</c:v>
                </c:pt>
                <c:pt idx="6363">
                  <c:v>5.0838962622546946</c:v>
                </c:pt>
                <c:pt idx="6364">
                  <c:v>4.9376553820125872</c:v>
                </c:pt>
                <c:pt idx="6365">
                  <c:v>4.9798137335741011</c:v>
                </c:pt>
                <c:pt idx="6366">
                  <c:v>4.9305624292534347</c:v>
                </c:pt>
                <c:pt idx="6367">
                  <c:v>5.9780163149726837</c:v>
                </c:pt>
                <c:pt idx="6368">
                  <c:v>5.7525670887336791</c:v>
                </c:pt>
                <c:pt idx="6369">
                  <c:v>4.053844564658732</c:v>
                </c:pt>
                <c:pt idx="6370">
                  <c:v>5.9913785549634158</c:v>
                </c:pt>
                <c:pt idx="6371">
                  <c:v>4.8223944398997025</c:v>
                </c:pt>
                <c:pt idx="6372">
                  <c:v>5.9684014316287888</c:v>
                </c:pt>
                <c:pt idx="6373">
                  <c:v>5.9117975034769144</c:v>
                </c:pt>
                <c:pt idx="6374">
                  <c:v>5.018732581930883</c:v>
                </c:pt>
                <c:pt idx="6375">
                  <c:v>6.1183793126396067</c:v>
                </c:pt>
                <c:pt idx="6376">
                  <c:v>6.9839873562745023</c:v>
                </c:pt>
                <c:pt idx="6377">
                  <c:v>6.0050868714428249</c:v>
                </c:pt>
                <c:pt idx="6378">
                  <c:v>5.1111507800720943</c:v>
                </c:pt>
                <c:pt idx="6379">
                  <c:v>6.166806345095714</c:v>
                </c:pt>
                <c:pt idx="6380">
                  <c:v>5.9051291557606405</c:v>
                </c:pt>
                <c:pt idx="6381">
                  <c:v>4.9098430649534777</c:v>
                </c:pt>
                <c:pt idx="6382">
                  <c:v>5.0203316918471153</c:v>
                </c:pt>
                <c:pt idx="6383">
                  <c:v>6.0815224554338769</c:v>
                </c:pt>
                <c:pt idx="6384">
                  <c:v>5.1170259256104131</c:v>
                </c:pt>
                <c:pt idx="6385">
                  <c:v>4.9618237678444892</c:v>
                </c:pt>
                <c:pt idx="6386">
                  <c:v>6.0747333178732656</c:v>
                </c:pt>
                <c:pt idx="6387">
                  <c:v>5.0396376555741034</c:v>
                </c:pt>
                <c:pt idx="6388">
                  <c:v>6.0376121224614376</c:v>
                </c:pt>
                <c:pt idx="6389">
                  <c:v>4.8958197090036331</c:v>
                </c:pt>
                <c:pt idx="6390">
                  <c:v>6.0010663375524533</c:v>
                </c:pt>
                <c:pt idx="6391">
                  <c:v>4.744648548829522</c:v>
                </c:pt>
                <c:pt idx="6392">
                  <c:v>4.9441478263800098</c:v>
                </c:pt>
                <c:pt idx="6393">
                  <c:v>6.0112337836545819</c:v>
                </c:pt>
                <c:pt idx="6394">
                  <c:v>4.860108834106331</c:v>
                </c:pt>
                <c:pt idx="6395">
                  <c:v>5.1852357715037733</c:v>
                </c:pt>
                <c:pt idx="6396">
                  <c:v>4.9813457088954864</c:v>
                </c:pt>
                <c:pt idx="6397">
                  <c:v>5.91896169903145</c:v>
                </c:pt>
                <c:pt idx="6398">
                  <c:v>5.0198224754858751</c:v>
                </c:pt>
                <c:pt idx="6399">
                  <c:v>5.0310069146053467</c:v>
                </c:pt>
                <c:pt idx="6400">
                  <c:v>5.9837422345888722</c:v>
                </c:pt>
                <c:pt idx="6401">
                  <c:v>5.9780304104196977</c:v>
                </c:pt>
                <c:pt idx="6402">
                  <c:v>6.0536111494359295</c:v>
                </c:pt>
                <c:pt idx="6403">
                  <c:v>5.0453378897128731</c:v>
                </c:pt>
                <c:pt idx="6404">
                  <c:v>4.9431444974109588</c:v>
                </c:pt>
                <c:pt idx="6405">
                  <c:v>4.9794205624868537</c:v>
                </c:pt>
                <c:pt idx="6406">
                  <c:v>6.1447658272447772</c:v>
                </c:pt>
                <c:pt idx="6407">
                  <c:v>5.8974603796936087</c:v>
                </c:pt>
                <c:pt idx="6408">
                  <c:v>5.8073023923528879</c:v>
                </c:pt>
                <c:pt idx="6409">
                  <c:v>5.9975904974883951</c:v>
                </c:pt>
                <c:pt idx="6410">
                  <c:v>6.0355829228541245</c:v>
                </c:pt>
                <c:pt idx="6411">
                  <c:v>6.1112563649264029</c:v>
                </c:pt>
                <c:pt idx="6412">
                  <c:v>5.0369467480516761</c:v>
                </c:pt>
                <c:pt idx="6413">
                  <c:v>5.0407612068964163</c:v>
                </c:pt>
                <c:pt idx="6414">
                  <c:v>4.9390966017618592</c:v>
                </c:pt>
                <c:pt idx="6415">
                  <c:v>6.099227759585875</c:v>
                </c:pt>
                <c:pt idx="6416">
                  <c:v>5.040872298021136</c:v>
                </c:pt>
                <c:pt idx="6417">
                  <c:v>4.941601264378467</c:v>
                </c:pt>
                <c:pt idx="6418">
                  <c:v>5.1447560191530579</c:v>
                </c:pt>
                <c:pt idx="6419">
                  <c:v>4.8883451599533725</c:v>
                </c:pt>
                <c:pt idx="6420">
                  <c:v>6.2719283664692451</c:v>
                </c:pt>
                <c:pt idx="6421">
                  <c:v>4.8766210711971807</c:v>
                </c:pt>
                <c:pt idx="6422">
                  <c:v>6.1236870993154255</c:v>
                </c:pt>
                <c:pt idx="6423">
                  <c:v>6.0323572778596741</c:v>
                </c:pt>
                <c:pt idx="6424">
                  <c:v>5.8989952825310095</c:v>
                </c:pt>
                <c:pt idx="6425">
                  <c:v>5.8170912983932936</c:v>
                </c:pt>
                <c:pt idx="6426">
                  <c:v>5.8668493913411446</c:v>
                </c:pt>
                <c:pt idx="6427">
                  <c:v>6.0267934081670136</c:v>
                </c:pt>
                <c:pt idx="6428">
                  <c:v>4.9430253311886752</c:v>
                </c:pt>
                <c:pt idx="6429">
                  <c:v>4.9424805398166596</c:v>
                </c:pt>
                <c:pt idx="6430">
                  <c:v>5.0909778062505602</c:v>
                </c:pt>
                <c:pt idx="6431">
                  <c:v>5.0369523742966331</c:v>
                </c:pt>
                <c:pt idx="6432">
                  <c:v>5.0704295508668373</c:v>
                </c:pt>
                <c:pt idx="6433">
                  <c:v>5.9677307653624698</c:v>
                </c:pt>
                <c:pt idx="6434">
                  <c:v>4.9155806918593656</c:v>
                </c:pt>
                <c:pt idx="6435">
                  <c:v>5.0126609649789566</c:v>
                </c:pt>
                <c:pt idx="6436">
                  <c:v>4.9727315006460202</c:v>
                </c:pt>
                <c:pt idx="6437">
                  <c:v>6.1002185482235118</c:v>
                </c:pt>
                <c:pt idx="6438">
                  <c:v>6.171819998149938</c:v>
                </c:pt>
                <c:pt idx="6439">
                  <c:v>4.8267760149512169</c:v>
                </c:pt>
                <c:pt idx="6440">
                  <c:v>4.9497720524952511</c:v>
                </c:pt>
                <c:pt idx="6441">
                  <c:v>5.9431874743960167</c:v>
                </c:pt>
                <c:pt idx="6442">
                  <c:v>6.0538052802799998</c:v>
                </c:pt>
                <c:pt idx="6443">
                  <c:v>5.1104550010650476</c:v>
                </c:pt>
                <c:pt idx="6444">
                  <c:v>5.06440718325047</c:v>
                </c:pt>
                <c:pt idx="6445">
                  <c:v>6.0247443221635795</c:v>
                </c:pt>
                <c:pt idx="6446">
                  <c:v>4.8147668992536907</c:v>
                </c:pt>
                <c:pt idx="6447">
                  <c:v>5.9191753379182961</c:v>
                </c:pt>
                <c:pt idx="6448">
                  <c:v>6.0453819854556121</c:v>
                </c:pt>
                <c:pt idx="6449">
                  <c:v>5.1586703078914606</c:v>
                </c:pt>
                <c:pt idx="6450">
                  <c:v>4.8696812678818846</c:v>
                </c:pt>
                <c:pt idx="6451">
                  <c:v>6.0157089141491333</c:v>
                </c:pt>
                <c:pt idx="6452">
                  <c:v>4.7882898444979034</c:v>
                </c:pt>
                <c:pt idx="6453">
                  <c:v>5.7080180870990764</c:v>
                </c:pt>
                <c:pt idx="6454">
                  <c:v>5.1678936182027151</c:v>
                </c:pt>
                <c:pt idx="6455">
                  <c:v>5.0673839812020098</c:v>
                </c:pt>
                <c:pt idx="6456">
                  <c:v>4.9579690717037019</c:v>
                </c:pt>
                <c:pt idx="6457">
                  <c:v>5.9172897645891682</c:v>
                </c:pt>
                <c:pt idx="6458">
                  <c:v>5.1287296769898951</c:v>
                </c:pt>
                <c:pt idx="6459">
                  <c:v>5.0411358073423145</c:v>
                </c:pt>
                <c:pt idx="6460">
                  <c:v>4.8594282667973827</c:v>
                </c:pt>
                <c:pt idx="6461">
                  <c:v>5.0049999238075387</c:v>
                </c:pt>
                <c:pt idx="6462">
                  <c:v>5.0894375229033253</c:v>
                </c:pt>
                <c:pt idx="6463">
                  <c:v>5.0461868343865746</c:v>
                </c:pt>
                <c:pt idx="6464">
                  <c:v>5.9392123878494738</c:v>
                </c:pt>
                <c:pt idx="6465">
                  <c:v>5.0363500236833554</c:v>
                </c:pt>
                <c:pt idx="6466">
                  <c:v>5.1022960283207777</c:v>
                </c:pt>
                <c:pt idx="6467">
                  <c:v>6.0308308094914613</c:v>
                </c:pt>
                <c:pt idx="6468">
                  <c:v>4.8752396384310765</c:v>
                </c:pt>
                <c:pt idx="6469">
                  <c:v>4.8787232497269644</c:v>
                </c:pt>
                <c:pt idx="6470">
                  <c:v>6.1155955503793535</c:v>
                </c:pt>
                <c:pt idx="6471">
                  <c:v>5.0294605059905191</c:v>
                </c:pt>
                <c:pt idx="6472">
                  <c:v>4.9050040975237668</c:v>
                </c:pt>
                <c:pt idx="6473">
                  <c:v>4.9067787172015134</c:v>
                </c:pt>
                <c:pt idx="6474">
                  <c:v>5.929261602113157</c:v>
                </c:pt>
                <c:pt idx="6475">
                  <c:v>6.9388593667392229</c:v>
                </c:pt>
                <c:pt idx="6476">
                  <c:v>7.1198251710421605</c:v>
                </c:pt>
                <c:pt idx="6477">
                  <c:v>5.8729750631081385</c:v>
                </c:pt>
                <c:pt idx="6478">
                  <c:v>6.0408368146100413</c:v>
                </c:pt>
                <c:pt idx="6479">
                  <c:v>4.9502486700657045</c:v>
                </c:pt>
                <c:pt idx="6480">
                  <c:v>6.9269531439357337</c:v>
                </c:pt>
                <c:pt idx="6481">
                  <c:v>6.8229402751348465</c:v>
                </c:pt>
                <c:pt idx="6482">
                  <c:v>5.9489658006602113</c:v>
                </c:pt>
                <c:pt idx="6483">
                  <c:v>6.1591153564608847</c:v>
                </c:pt>
                <c:pt idx="6484">
                  <c:v>5.0676382834491358</c:v>
                </c:pt>
                <c:pt idx="6485">
                  <c:v>4.9140884110133447</c:v>
                </c:pt>
                <c:pt idx="6486">
                  <c:v>6.168970021724963</c:v>
                </c:pt>
                <c:pt idx="6487">
                  <c:v>4.8993162526923451</c:v>
                </c:pt>
                <c:pt idx="6488">
                  <c:v>6.0007410712318974</c:v>
                </c:pt>
                <c:pt idx="6489">
                  <c:v>6.1023218188925519</c:v>
                </c:pt>
                <c:pt idx="6490">
                  <c:v>6.118399238105523</c:v>
                </c:pt>
                <c:pt idx="6491">
                  <c:v>5.9422356452669058</c:v>
                </c:pt>
                <c:pt idx="6492">
                  <c:v>4.9512964557234271</c:v>
                </c:pt>
                <c:pt idx="6493">
                  <c:v>5.851301559405778</c:v>
                </c:pt>
                <c:pt idx="6494">
                  <c:v>6.9962566500827323</c:v>
                </c:pt>
                <c:pt idx="6495">
                  <c:v>6.0252492005469982</c:v>
                </c:pt>
                <c:pt idx="6496">
                  <c:v>6.0187985872866783</c:v>
                </c:pt>
                <c:pt idx="6497">
                  <c:v>6.0397632815687201</c:v>
                </c:pt>
                <c:pt idx="6498">
                  <c:v>5.9166217583007246</c:v>
                </c:pt>
                <c:pt idx="6499">
                  <c:v>5.0768042320398417</c:v>
                </c:pt>
                <c:pt idx="6500">
                  <c:v>5.0338539252514272</c:v>
                </c:pt>
                <c:pt idx="6501">
                  <c:v>5.7135527938423438</c:v>
                </c:pt>
                <c:pt idx="6502">
                  <c:v>5.8427393398825203</c:v>
                </c:pt>
                <c:pt idx="6503">
                  <c:v>5.0152090328098309</c:v>
                </c:pt>
                <c:pt idx="6504">
                  <c:v>6.0480944685380411</c:v>
                </c:pt>
                <c:pt idx="6505">
                  <c:v>4.9437798079366617</c:v>
                </c:pt>
                <c:pt idx="6506">
                  <c:v>5.9670316631475639</c:v>
                </c:pt>
                <c:pt idx="6507">
                  <c:v>5.9153549598562076</c:v>
                </c:pt>
                <c:pt idx="6508">
                  <c:v>4.9415055845628233</c:v>
                </c:pt>
                <c:pt idx="6509">
                  <c:v>5.0437420271046687</c:v>
                </c:pt>
                <c:pt idx="6510">
                  <c:v>4.9657027729761918</c:v>
                </c:pt>
                <c:pt idx="6511">
                  <c:v>5.0951955842702796</c:v>
                </c:pt>
                <c:pt idx="6512">
                  <c:v>5.1404527074338597</c:v>
                </c:pt>
                <c:pt idx="6513">
                  <c:v>6.0125652459915697</c:v>
                </c:pt>
                <c:pt idx="6514">
                  <c:v>6.1301930535855931</c:v>
                </c:pt>
                <c:pt idx="6515">
                  <c:v>4.9476410608390955</c:v>
                </c:pt>
                <c:pt idx="6516">
                  <c:v>5.0127411425974602</c:v>
                </c:pt>
                <c:pt idx="6517">
                  <c:v>5.9734287463995113</c:v>
                </c:pt>
                <c:pt idx="6518">
                  <c:v>5.0502583161943422</c:v>
                </c:pt>
                <c:pt idx="6519">
                  <c:v>5.9464980647775354</c:v>
                </c:pt>
                <c:pt idx="6520">
                  <c:v>6.1570878958358666</c:v>
                </c:pt>
                <c:pt idx="6521">
                  <c:v>6.0476559278305748</c:v>
                </c:pt>
                <c:pt idx="6522">
                  <c:v>4.9547645835935743</c:v>
                </c:pt>
                <c:pt idx="6523">
                  <c:v>5.8809407457209293</c:v>
                </c:pt>
                <c:pt idx="6524">
                  <c:v>5.0294666690049503</c:v>
                </c:pt>
                <c:pt idx="6525">
                  <c:v>4.8998264578079631</c:v>
                </c:pt>
                <c:pt idx="6526">
                  <c:v>4.9904776733413421</c:v>
                </c:pt>
                <c:pt idx="6527">
                  <c:v>4.9471333091332168</c:v>
                </c:pt>
                <c:pt idx="6528">
                  <c:v>4.9932955506888064</c:v>
                </c:pt>
                <c:pt idx="6529">
                  <c:v>6.1145416177304828</c:v>
                </c:pt>
                <c:pt idx="6530">
                  <c:v>5.9673738976555155</c:v>
                </c:pt>
                <c:pt idx="6531">
                  <c:v>6.0506082183972918</c:v>
                </c:pt>
                <c:pt idx="6532">
                  <c:v>5.9857916385338958</c:v>
                </c:pt>
                <c:pt idx="6533">
                  <c:v>5.8857317697371059</c:v>
                </c:pt>
                <c:pt idx="6534">
                  <c:v>6.0965464612462315</c:v>
                </c:pt>
                <c:pt idx="6535">
                  <c:v>6.0089905595452784</c:v>
                </c:pt>
                <c:pt idx="6536">
                  <c:v>6.0895781537241556</c:v>
                </c:pt>
                <c:pt idx="6537">
                  <c:v>6.1293763698208599</c:v>
                </c:pt>
                <c:pt idx="6538">
                  <c:v>6.0530184939674712</c:v>
                </c:pt>
                <c:pt idx="6539">
                  <c:v>5.1133236467161076</c:v>
                </c:pt>
                <c:pt idx="6540">
                  <c:v>4.8148281094384178</c:v>
                </c:pt>
                <c:pt idx="6541">
                  <c:v>1.9958085607967389</c:v>
                </c:pt>
                <c:pt idx="6542">
                  <c:v>6.0443938200552481</c:v>
                </c:pt>
                <c:pt idx="6543">
                  <c:v>4.9444721409393182</c:v>
                </c:pt>
                <c:pt idx="6544">
                  <c:v>5.1324413704598602</c:v>
                </c:pt>
                <c:pt idx="6545">
                  <c:v>4.8682546791432912</c:v>
                </c:pt>
                <c:pt idx="6546">
                  <c:v>4.884980095293785</c:v>
                </c:pt>
                <c:pt idx="6547">
                  <c:v>5.0640324862388644</c:v>
                </c:pt>
                <c:pt idx="6548">
                  <c:v>4.9744527915673666</c:v>
                </c:pt>
                <c:pt idx="6549">
                  <c:v>5.0478771783450442</c:v>
                </c:pt>
                <c:pt idx="6550">
                  <c:v>5.9304782608756152</c:v>
                </c:pt>
                <c:pt idx="6551">
                  <c:v>4.8712738616494073</c:v>
                </c:pt>
                <c:pt idx="6552">
                  <c:v>6.0620832971289804</c:v>
                </c:pt>
                <c:pt idx="6553">
                  <c:v>6.0068059050906291</c:v>
                </c:pt>
                <c:pt idx="6554">
                  <c:v>6.1184542320748143</c:v>
                </c:pt>
                <c:pt idx="6555">
                  <c:v>4.8806680940803204</c:v>
                </c:pt>
                <c:pt idx="6556">
                  <c:v>6.0547635808049645</c:v>
                </c:pt>
                <c:pt idx="6557">
                  <c:v>5.0134097990649567</c:v>
                </c:pt>
                <c:pt idx="6558">
                  <c:v>5.0235535498307344</c:v>
                </c:pt>
                <c:pt idx="6559">
                  <c:v>4.7956626525019459</c:v>
                </c:pt>
                <c:pt idx="6560">
                  <c:v>6.0339388089685384</c:v>
                </c:pt>
                <c:pt idx="6561">
                  <c:v>5.8123555238286855</c:v>
                </c:pt>
                <c:pt idx="6562">
                  <c:v>6.1386834685090159</c:v>
                </c:pt>
                <c:pt idx="6563">
                  <c:v>4.9835622276889477</c:v>
                </c:pt>
                <c:pt idx="6564">
                  <c:v>5.0651956248151899</c:v>
                </c:pt>
                <c:pt idx="6565">
                  <c:v>5.0918341911753568</c:v>
                </c:pt>
                <c:pt idx="6566">
                  <c:v>4.9467148179184752</c:v>
                </c:pt>
                <c:pt idx="6567">
                  <c:v>5.159364330404653</c:v>
                </c:pt>
                <c:pt idx="6568">
                  <c:v>4.8626386143857063</c:v>
                </c:pt>
                <c:pt idx="6569">
                  <c:v>5.9081200066605382</c:v>
                </c:pt>
                <c:pt idx="6570">
                  <c:v>5.966630468749532</c:v>
                </c:pt>
                <c:pt idx="6571">
                  <c:v>4.9891409220143261</c:v>
                </c:pt>
                <c:pt idx="6572">
                  <c:v>4.8889154034140168</c:v>
                </c:pt>
                <c:pt idx="6573">
                  <c:v>5.846836110803066</c:v>
                </c:pt>
                <c:pt idx="6574">
                  <c:v>6.22938241427065</c:v>
                </c:pt>
                <c:pt idx="6575">
                  <c:v>5.9420649381572632</c:v>
                </c:pt>
                <c:pt idx="6576">
                  <c:v>5.993721814467535</c:v>
                </c:pt>
                <c:pt idx="6577">
                  <c:v>5.0589145097342909</c:v>
                </c:pt>
                <c:pt idx="6578">
                  <c:v>4.9813306636681851</c:v>
                </c:pt>
                <c:pt idx="6579">
                  <c:v>6.8852109073235059</c:v>
                </c:pt>
                <c:pt idx="6580">
                  <c:v>5.8380266544721042</c:v>
                </c:pt>
                <c:pt idx="6581">
                  <c:v>5.939274818954611</c:v>
                </c:pt>
                <c:pt idx="6582">
                  <c:v>4.8882486844166735</c:v>
                </c:pt>
                <c:pt idx="6583">
                  <c:v>5.1320585217637182</c:v>
                </c:pt>
                <c:pt idx="6584">
                  <c:v>6.0168046803528608</c:v>
                </c:pt>
                <c:pt idx="6585">
                  <c:v>5.0940746122721592</c:v>
                </c:pt>
                <c:pt idx="6586">
                  <c:v>5.1593387550880649</c:v>
                </c:pt>
                <c:pt idx="6587">
                  <c:v>6.8473032899083304</c:v>
                </c:pt>
                <c:pt idx="6588">
                  <c:v>6.8206137585727253</c:v>
                </c:pt>
                <c:pt idx="6589">
                  <c:v>5.9086784453649042</c:v>
                </c:pt>
                <c:pt idx="6590">
                  <c:v>3.9796925903691336</c:v>
                </c:pt>
                <c:pt idx="6591">
                  <c:v>5.0680327605886708</c:v>
                </c:pt>
                <c:pt idx="6592">
                  <c:v>6.0377413422192161</c:v>
                </c:pt>
                <c:pt idx="6593">
                  <c:v>4.8910375940696893</c:v>
                </c:pt>
                <c:pt idx="6594">
                  <c:v>5.9486634995755248</c:v>
                </c:pt>
                <c:pt idx="6595">
                  <c:v>4.8805354174257678</c:v>
                </c:pt>
                <c:pt idx="6596">
                  <c:v>5.0019519211877448</c:v>
                </c:pt>
                <c:pt idx="6597">
                  <c:v>5.0636168720052988</c:v>
                </c:pt>
                <c:pt idx="6598">
                  <c:v>5.0074216754367304</c:v>
                </c:pt>
                <c:pt idx="6599">
                  <c:v>4.8705473713325418</c:v>
                </c:pt>
                <c:pt idx="6600">
                  <c:v>7.0368484998723888</c:v>
                </c:pt>
                <c:pt idx="6601">
                  <c:v>5.8609473765569762</c:v>
                </c:pt>
                <c:pt idx="6602">
                  <c:v>5.1189008027829628</c:v>
                </c:pt>
                <c:pt idx="6603">
                  <c:v>6.1511010416788166</c:v>
                </c:pt>
                <c:pt idx="6604">
                  <c:v>4.9652750272050632</c:v>
                </c:pt>
                <c:pt idx="6605">
                  <c:v>5.9530086830674822</c:v>
                </c:pt>
                <c:pt idx="6606">
                  <c:v>4.9340306250771606</c:v>
                </c:pt>
                <c:pt idx="6607">
                  <c:v>5.0942818388345907</c:v>
                </c:pt>
                <c:pt idx="6608">
                  <c:v>4.8361062603200393</c:v>
                </c:pt>
                <c:pt idx="6609">
                  <c:v>5.1035079245938384</c:v>
                </c:pt>
                <c:pt idx="6610">
                  <c:v>5.7580782351050361</c:v>
                </c:pt>
                <c:pt idx="6611">
                  <c:v>5.015366658526581</c:v>
                </c:pt>
                <c:pt idx="6612">
                  <c:v>5.9402011438188582</c:v>
                </c:pt>
                <c:pt idx="6613">
                  <c:v>5.9443314199959207</c:v>
                </c:pt>
                <c:pt idx="6614">
                  <c:v>6.0306767288174967</c:v>
                </c:pt>
                <c:pt idx="6615">
                  <c:v>5.9891600443094317</c:v>
                </c:pt>
                <c:pt idx="6616">
                  <c:v>4.7592063007647045</c:v>
                </c:pt>
                <c:pt idx="6617">
                  <c:v>4.9459566279430849</c:v>
                </c:pt>
                <c:pt idx="6618">
                  <c:v>4.965493496310887</c:v>
                </c:pt>
                <c:pt idx="6619">
                  <c:v>5.0395618602556205</c:v>
                </c:pt>
                <c:pt idx="6620">
                  <c:v>6.0607441747263557</c:v>
                </c:pt>
                <c:pt idx="6621">
                  <c:v>4.8339959906189094</c:v>
                </c:pt>
                <c:pt idx="6622">
                  <c:v>5.9357609227921362</c:v>
                </c:pt>
                <c:pt idx="6623">
                  <c:v>5.9457072405764677</c:v>
                </c:pt>
                <c:pt idx="6624">
                  <c:v>4.8223713761667284</c:v>
                </c:pt>
                <c:pt idx="6625">
                  <c:v>5.0990935210529518</c:v>
                </c:pt>
                <c:pt idx="6626">
                  <c:v>7.0513723975431173</c:v>
                </c:pt>
                <c:pt idx="6627">
                  <c:v>5.9667728022942264</c:v>
                </c:pt>
                <c:pt idx="6628">
                  <c:v>5.8407871255230983</c:v>
                </c:pt>
                <c:pt idx="6629">
                  <c:v>5.0245162615554433</c:v>
                </c:pt>
                <c:pt idx="6630">
                  <c:v>5.2519942617544126</c:v>
                </c:pt>
                <c:pt idx="6631">
                  <c:v>6.0131678996554383</c:v>
                </c:pt>
                <c:pt idx="6632">
                  <c:v>5.9878739372862713</c:v>
                </c:pt>
                <c:pt idx="6633">
                  <c:v>7.0223614170562696</c:v>
                </c:pt>
                <c:pt idx="6634">
                  <c:v>4.9726660242186389</c:v>
                </c:pt>
                <c:pt idx="6635">
                  <c:v>5.9258982179161084</c:v>
                </c:pt>
                <c:pt idx="6636">
                  <c:v>3.9773787382832801</c:v>
                </c:pt>
                <c:pt idx="6637">
                  <c:v>6.0375886699846566</c:v>
                </c:pt>
                <c:pt idx="6638">
                  <c:v>6.1062005431804049</c:v>
                </c:pt>
                <c:pt idx="6639">
                  <c:v>5.0663580228257459</c:v>
                </c:pt>
                <c:pt idx="6640">
                  <c:v>5.0295930769941268</c:v>
                </c:pt>
                <c:pt idx="6641">
                  <c:v>6.0742223664043706</c:v>
                </c:pt>
                <c:pt idx="6642">
                  <c:v>6.0071552386170337</c:v>
                </c:pt>
                <c:pt idx="6643">
                  <c:v>6.0647081144690587</c:v>
                </c:pt>
                <c:pt idx="6644">
                  <c:v>7.2110902422445813</c:v>
                </c:pt>
                <c:pt idx="6645">
                  <c:v>6.1583325512989227</c:v>
                </c:pt>
                <c:pt idx="6646">
                  <c:v>5.9511876649527258</c:v>
                </c:pt>
                <c:pt idx="6647">
                  <c:v>4.8363226138281243</c:v>
                </c:pt>
                <c:pt idx="6648">
                  <c:v>4.9632028541910307</c:v>
                </c:pt>
                <c:pt idx="6649">
                  <c:v>5.9678485019091347</c:v>
                </c:pt>
                <c:pt idx="6650">
                  <c:v>5.1430415409894259</c:v>
                </c:pt>
                <c:pt idx="6651">
                  <c:v>6.0319186435290097</c:v>
                </c:pt>
                <c:pt idx="6652">
                  <c:v>5.8787460093953472</c:v>
                </c:pt>
                <c:pt idx="6653">
                  <c:v>4.9687659802847746</c:v>
                </c:pt>
                <c:pt idx="6654">
                  <c:v>4.9860543729895923</c:v>
                </c:pt>
                <c:pt idx="6655">
                  <c:v>5.9273652031841078</c:v>
                </c:pt>
                <c:pt idx="6656">
                  <c:v>5.0749432088833704</c:v>
                </c:pt>
                <c:pt idx="6657">
                  <c:v>4.9823748905810694</c:v>
                </c:pt>
                <c:pt idx="6658">
                  <c:v>5.9047449047128202</c:v>
                </c:pt>
                <c:pt idx="6659">
                  <c:v>5.9251539664878399</c:v>
                </c:pt>
                <c:pt idx="6660">
                  <c:v>5.9707190296358013</c:v>
                </c:pt>
                <c:pt idx="6661">
                  <c:v>7.0230090818938846</c:v>
                </c:pt>
                <c:pt idx="6662">
                  <c:v>8.898524100268725</c:v>
                </c:pt>
                <c:pt idx="6663">
                  <c:v>5.9845440782214689</c:v>
                </c:pt>
                <c:pt idx="6664">
                  <c:v>4.7806833404053304</c:v>
                </c:pt>
                <c:pt idx="6665">
                  <c:v>4.9982760398234936</c:v>
                </c:pt>
                <c:pt idx="6666">
                  <c:v>6.0842935611680398</c:v>
                </c:pt>
                <c:pt idx="6667">
                  <c:v>5.9776374655443538</c:v>
                </c:pt>
                <c:pt idx="6668">
                  <c:v>6.1070999786454481</c:v>
                </c:pt>
                <c:pt idx="6669">
                  <c:v>5.8841610173891494</c:v>
                </c:pt>
                <c:pt idx="6670">
                  <c:v>6.0706094567947346</c:v>
                </c:pt>
                <c:pt idx="6671">
                  <c:v>6.078375634466588</c:v>
                </c:pt>
                <c:pt idx="6672">
                  <c:v>5.8953740150956904</c:v>
                </c:pt>
                <c:pt idx="6673">
                  <c:v>4.8846115071910781</c:v>
                </c:pt>
                <c:pt idx="6674">
                  <c:v>5.8286371339088223</c:v>
                </c:pt>
                <c:pt idx="6675">
                  <c:v>5.8777633690777824</c:v>
                </c:pt>
                <c:pt idx="6676">
                  <c:v>5.8416161424964557</c:v>
                </c:pt>
                <c:pt idx="6677">
                  <c:v>4.9790118435975135</c:v>
                </c:pt>
                <c:pt idx="6678">
                  <c:v>3.8730405925483256</c:v>
                </c:pt>
                <c:pt idx="6679">
                  <c:v>6.0135040196458478</c:v>
                </c:pt>
                <c:pt idx="6680">
                  <c:v>5.2228277420126883</c:v>
                </c:pt>
                <c:pt idx="6681">
                  <c:v>6.1047259021786671</c:v>
                </c:pt>
                <c:pt idx="6682">
                  <c:v>5.1201952764953562</c:v>
                </c:pt>
                <c:pt idx="6683">
                  <c:v>5.0470775795696365</c:v>
                </c:pt>
                <c:pt idx="6684">
                  <c:v>4.8570584518881983</c:v>
                </c:pt>
                <c:pt idx="6685">
                  <c:v>6.1506712664730703</c:v>
                </c:pt>
                <c:pt idx="6686">
                  <c:v>5.9101748532239933</c:v>
                </c:pt>
                <c:pt idx="6687">
                  <c:v>4.9507252243310731</c:v>
                </c:pt>
                <c:pt idx="6688">
                  <c:v>6.157427147690786</c:v>
                </c:pt>
                <c:pt idx="6689">
                  <c:v>4.882875953661042</c:v>
                </c:pt>
                <c:pt idx="6690">
                  <c:v>4.8969966188790561</c:v>
                </c:pt>
                <c:pt idx="6691">
                  <c:v>4.8439968707308418</c:v>
                </c:pt>
                <c:pt idx="6692">
                  <c:v>5.9602037980659848</c:v>
                </c:pt>
                <c:pt idx="6693">
                  <c:v>5.9675960227628302</c:v>
                </c:pt>
                <c:pt idx="6694">
                  <c:v>6.0955380514020581</c:v>
                </c:pt>
                <c:pt idx="6695">
                  <c:v>6.0276709193532083</c:v>
                </c:pt>
                <c:pt idx="6696">
                  <c:v>5.0299121789210028</c:v>
                </c:pt>
                <c:pt idx="6697">
                  <c:v>5.0298738784295889</c:v>
                </c:pt>
                <c:pt idx="6698">
                  <c:v>5.0272067323040526</c:v>
                </c:pt>
                <c:pt idx="6699">
                  <c:v>4.920808142432687</c:v>
                </c:pt>
                <c:pt idx="6700">
                  <c:v>5.9633162009978538</c:v>
                </c:pt>
                <c:pt idx="6701">
                  <c:v>5.0828685820006427</c:v>
                </c:pt>
                <c:pt idx="6702">
                  <c:v>5.1426702581243919</c:v>
                </c:pt>
                <c:pt idx="6703">
                  <c:v>5.0592935951208666</c:v>
                </c:pt>
                <c:pt idx="6704">
                  <c:v>5.0997137988561141</c:v>
                </c:pt>
                <c:pt idx="6705">
                  <c:v>6.2110408720401491</c:v>
                </c:pt>
                <c:pt idx="6706">
                  <c:v>4.8505810288190734</c:v>
                </c:pt>
                <c:pt idx="6707">
                  <c:v>5.0106120720260678</c:v>
                </c:pt>
                <c:pt idx="6708">
                  <c:v>4.963809359524368</c:v>
                </c:pt>
                <c:pt idx="6709">
                  <c:v>4.7545731090775645</c:v>
                </c:pt>
                <c:pt idx="6710">
                  <c:v>6.0605954516950034</c:v>
                </c:pt>
                <c:pt idx="6711">
                  <c:v>6.066116813182008</c:v>
                </c:pt>
                <c:pt idx="6712">
                  <c:v>5.077012696551737</c:v>
                </c:pt>
                <c:pt idx="6713">
                  <c:v>5.0243341946068796</c:v>
                </c:pt>
                <c:pt idx="6714">
                  <c:v>4.9555763607224517</c:v>
                </c:pt>
                <c:pt idx="6715">
                  <c:v>4.9699894537116416</c:v>
                </c:pt>
                <c:pt idx="6716">
                  <c:v>5.0747437409443314</c:v>
                </c:pt>
                <c:pt idx="6717">
                  <c:v>5.8593770501547633</c:v>
                </c:pt>
                <c:pt idx="6718">
                  <c:v>5.9640184257500488</c:v>
                </c:pt>
                <c:pt idx="6719">
                  <c:v>7.0391966174293019</c:v>
                </c:pt>
                <c:pt idx="6720">
                  <c:v>5.9810152843539219</c:v>
                </c:pt>
                <c:pt idx="6721">
                  <c:v>5.9828149123098902</c:v>
                </c:pt>
                <c:pt idx="6722">
                  <c:v>4.956029453743124</c:v>
                </c:pt>
                <c:pt idx="6723">
                  <c:v>5.8295826043444787</c:v>
                </c:pt>
                <c:pt idx="6724">
                  <c:v>6.1074669538993103</c:v>
                </c:pt>
                <c:pt idx="6725">
                  <c:v>6.0213083604898294</c:v>
                </c:pt>
                <c:pt idx="6726">
                  <c:v>5.9697349712987577</c:v>
                </c:pt>
                <c:pt idx="6727">
                  <c:v>5.8505236820482063</c:v>
                </c:pt>
                <c:pt idx="6728">
                  <c:v>5.9326183244131157</c:v>
                </c:pt>
                <c:pt idx="6729">
                  <c:v>5.9228884978569507</c:v>
                </c:pt>
                <c:pt idx="6730">
                  <c:v>6.0089743796231163</c:v>
                </c:pt>
                <c:pt idx="6731">
                  <c:v>5.8841119245937987</c:v>
                </c:pt>
                <c:pt idx="6732">
                  <c:v>6.1112332058864993</c:v>
                </c:pt>
                <c:pt idx="6733">
                  <c:v>7.0356342895613917</c:v>
                </c:pt>
                <c:pt idx="6734">
                  <c:v>5.8524213124533784</c:v>
                </c:pt>
                <c:pt idx="6735">
                  <c:v>5.1051057218055185</c:v>
                </c:pt>
                <c:pt idx="6736">
                  <c:v>6.9473516626096634</c:v>
                </c:pt>
                <c:pt idx="6737">
                  <c:v>5.8787838169845736</c:v>
                </c:pt>
                <c:pt idx="6738">
                  <c:v>5.8637580402602625</c:v>
                </c:pt>
                <c:pt idx="6739">
                  <c:v>6.2533692537818384</c:v>
                </c:pt>
                <c:pt idx="6740">
                  <c:v>5.9995556603865134</c:v>
                </c:pt>
                <c:pt idx="6741">
                  <c:v>5.8352034410682689</c:v>
                </c:pt>
                <c:pt idx="6742">
                  <c:v>6.8901220862810781</c:v>
                </c:pt>
                <c:pt idx="6743">
                  <c:v>6.8932533131689055</c:v>
                </c:pt>
                <c:pt idx="6744">
                  <c:v>7.1108696817555543</c:v>
                </c:pt>
                <c:pt idx="6745">
                  <c:v>5.0952915676541375</c:v>
                </c:pt>
                <c:pt idx="6746">
                  <c:v>5.9475548453448983</c:v>
                </c:pt>
                <c:pt idx="6747">
                  <c:v>6.0680786957822281</c:v>
                </c:pt>
                <c:pt idx="6748">
                  <c:v>6.1566259802548347</c:v>
                </c:pt>
                <c:pt idx="6749">
                  <c:v>4.970481831929547</c:v>
                </c:pt>
                <c:pt idx="6750">
                  <c:v>4.9178789724683671</c:v>
                </c:pt>
                <c:pt idx="6751">
                  <c:v>6.056096012153561</c:v>
                </c:pt>
                <c:pt idx="6752">
                  <c:v>6.0431590904055525</c:v>
                </c:pt>
                <c:pt idx="6753">
                  <c:v>7.0720119132502113</c:v>
                </c:pt>
                <c:pt idx="6754">
                  <c:v>5.9810773507062933</c:v>
                </c:pt>
                <c:pt idx="6755">
                  <c:v>5.9497671440362456</c:v>
                </c:pt>
                <c:pt idx="6756">
                  <c:v>6.8305840761204264</c:v>
                </c:pt>
                <c:pt idx="6757">
                  <c:v>5.0296802850319029</c:v>
                </c:pt>
                <c:pt idx="6758">
                  <c:v>6.8549328967040468</c:v>
                </c:pt>
                <c:pt idx="6759">
                  <c:v>5.8931336440363458</c:v>
                </c:pt>
                <c:pt idx="6760">
                  <c:v>5.9902472500666288</c:v>
                </c:pt>
                <c:pt idx="6761">
                  <c:v>6.0869111708169656</c:v>
                </c:pt>
                <c:pt idx="6762">
                  <c:v>4.7981047175742964</c:v>
                </c:pt>
                <c:pt idx="6763">
                  <c:v>5.0075989294520076</c:v>
                </c:pt>
                <c:pt idx="6764">
                  <c:v>7.0209892465280888</c:v>
                </c:pt>
                <c:pt idx="6765">
                  <c:v>5.9870271594577282</c:v>
                </c:pt>
                <c:pt idx="6766">
                  <c:v>5.3175540759253881</c:v>
                </c:pt>
                <c:pt idx="6767">
                  <c:v>6.0950474619552644</c:v>
                </c:pt>
                <c:pt idx="6768">
                  <c:v>7.0937098220344401</c:v>
                </c:pt>
                <c:pt idx="6769">
                  <c:v>4.9003592530387641</c:v>
                </c:pt>
                <c:pt idx="6770">
                  <c:v>4.9888255590065693</c:v>
                </c:pt>
                <c:pt idx="6771">
                  <c:v>4.855062413246908</c:v>
                </c:pt>
                <c:pt idx="6772">
                  <c:v>4.9447176552909422</c:v>
                </c:pt>
                <c:pt idx="6773">
                  <c:v>4.8999203726746234</c:v>
                </c:pt>
                <c:pt idx="6774">
                  <c:v>4.8707732314772807</c:v>
                </c:pt>
                <c:pt idx="6775">
                  <c:v>5.9183973728850399</c:v>
                </c:pt>
                <c:pt idx="6776">
                  <c:v>4.8332563226818017</c:v>
                </c:pt>
                <c:pt idx="6777">
                  <c:v>4.8131249445064235</c:v>
                </c:pt>
                <c:pt idx="6778">
                  <c:v>5.9315191466869051</c:v>
                </c:pt>
                <c:pt idx="6779">
                  <c:v>6.9744784826003547</c:v>
                </c:pt>
                <c:pt idx="6780">
                  <c:v>4.8867435297148472</c:v>
                </c:pt>
                <c:pt idx="6781">
                  <c:v>5.0503954471298176</c:v>
                </c:pt>
                <c:pt idx="6782">
                  <c:v>6.1584212713337649</c:v>
                </c:pt>
                <c:pt idx="6783">
                  <c:v>4.9620695900387179</c:v>
                </c:pt>
                <c:pt idx="6784">
                  <c:v>4.9158999143243172</c:v>
                </c:pt>
                <c:pt idx="6785">
                  <c:v>4.91534346792122</c:v>
                </c:pt>
                <c:pt idx="6786">
                  <c:v>5.1840251277278711</c:v>
                </c:pt>
                <c:pt idx="6787">
                  <c:v>6.018297407948447</c:v>
                </c:pt>
                <c:pt idx="6788">
                  <c:v>5.0319596672658395</c:v>
                </c:pt>
                <c:pt idx="6789">
                  <c:v>5.0245935596723292</c:v>
                </c:pt>
                <c:pt idx="6790">
                  <c:v>5.1927329369215514</c:v>
                </c:pt>
                <c:pt idx="6791">
                  <c:v>6.031953080721566</c:v>
                </c:pt>
                <c:pt idx="6792">
                  <c:v>6.0320991690592436</c:v>
                </c:pt>
                <c:pt idx="6793">
                  <c:v>7.0844150844251459</c:v>
                </c:pt>
                <c:pt idx="6794">
                  <c:v>5.233030510155654</c:v>
                </c:pt>
                <c:pt idx="6795">
                  <c:v>5.9492054762171627</c:v>
                </c:pt>
                <c:pt idx="6796">
                  <c:v>5.0497561198979808</c:v>
                </c:pt>
                <c:pt idx="6797">
                  <c:v>5.9483390241036371</c:v>
                </c:pt>
                <c:pt idx="6798">
                  <c:v>6.1869081606317922</c:v>
                </c:pt>
                <c:pt idx="6799">
                  <c:v>6.0198840047762872</c:v>
                </c:pt>
                <c:pt idx="6800">
                  <c:v>6.038900049025326</c:v>
                </c:pt>
                <c:pt idx="6801">
                  <c:v>4.9559304407455302</c:v>
                </c:pt>
                <c:pt idx="6802">
                  <c:v>4.990559975021359</c:v>
                </c:pt>
                <c:pt idx="6803">
                  <c:v>5.9220762926997743</c:v>
                </c:pt>
                <c:pt idx="6804">
                  <c:v>5.0161868995691643</c:v>
                </c:pt>
                <c:pt idx="6805">
                  <c:v>4.9099958476027954</c:v>
                </c:pt>
                <c:pt idx="6806">
                  <c:v>6.2216863553008395</c:v>
                </c:pt>
                <c:pt idx="6807">
                  <c:v>5.9665950147335289</c:v>
                </c:pt>
                <c:pt idx="6808">
                  <c:v>6.0781934803167594</c:v>
                </c:pt>
                <c:pt idx="6809">
                  <c:v>6.9616986362954902</c:v>
                </c:pt>
                <c:pt idx="6810">
                  <c:v>5.9934214970051709</c:v>
                </c:pt>
                <c:pt idx="6811">
                  <c:v>5.1122205766889079</c:v>
                </c:pt>
                <c:pt idx="6812">
                  <c:v>4.933250564367202</c:v>
                </c:pt>
                <c:pt idx="6813">
                  <c:v>5.1664554508573692</c:v>
                </c:pt>
                <c:pt idx="6814">
                  <c:v>5.8426192812968258</c:v>
                </c:pt>
                <c:pt idx="6815">
                  <c:v>4.185691685592813</c:v>
                </c:pt>
                <c:pt idx="6816">
                  <c:v>5.1435360396348049</c:v>
                </c:pt>
                <c:pt idx="6817">
                  <c:v>4.9926781324324496</c:v>
                </c:pt>
                <c:pt idx="6818">
                  <c:v>4.8628037704852245</c:v>
                </c:pt>
                <c:pt idx="6819">
                  <c:v>4.8861782091126367</c:v>
                </c:pt>
                <c:pt idx="6820">
                  <c:v>6.0360127843720379</c:v>
                </c:pt>
                <c:pt idx="6821">
                  <c:v>5.0484905874749408</c:v>
                </c:pt>
                <c:pt idx="6822">
                  <c:v>5.1461606466388705</c:v>
                </c:pt>
                <c:pt idx="6823">
                  <c:v>5.1135479667273724</c:v>
                </c:pt>
                <c:pt idx="6824">
                  <c:v>6.111373906589578</c:v>
                </c:pt>
                <c:pt idx="6825">
                  <c:v>7.1480052994243</c:v>
                </c:pt>
                <c:pt idx="6826">
                  <c:v>5.1106251928571851</c:v>
                </c:pt>
                <c:pt idx="6827">
                  <c:v>5.0191017591632967</c:v>
                </c:pt>
                <c:pt idx="6828">
                  <c:v>7.0626132248137869</c:v>
                </c:pt>
                <c:pt idx="6829">
                  <c:v>5.9407685717724812</c:v>
                </c:pt>
                <c:pt idx="6830">
                  <c:v>5.1457978866633542</c:v>
                </c:pt>
                <c:pt idx="6831">
                  <c:v>6.1261127328142067</c:v>
                </c:pt>
                <c:pt idx="6832">
                  <c:v>6.1347237099876004</c:v>
                </c:pt>
                <c:pt idx="6833">
                  <c:v>4.9199225175237302</c:v>
                </c:pt>
                <c:pt idx="6834">
                  <c:v>5.0403114392315587</c:v>
                </c:pt>
                <c:pt idx="6835">
                  <c:v>6.0053206796871654</c:v>
                </c:pt>
                <c:pt idx="6836">
                  <c:v>6.0458091083437147</c:v>
                </c:pt>
                <c:pt idx="6837">
                  <c:v>6.1671593026878284</c:v>
                </c:pt>
                <c:pt idx="6838">
                  <c:v>5.1284827199106804</c:v>
                </c:pt>
                <c:pt idx="6839">
                  <c:v>4.9095260299039705</c:v>
                </c:pt>
                <c:pt idx="6840">
                  <c:v>4.8786526982685459</c:v>
                </c:pt>
                <c:pt idx="6841">
                  <c:v>4.9144256106634208</c:v>
                </c:pt>
                <c:pt idx="6842">
                  <c:v>6.1248408605964046</c:v>
                </c:pt>
                <c:pt idx="6843">
                  <c:v>4.7809113118848767</c:v>
                </c:pt>
                <c:pt idx="6844">
                  <c:v>5.0023128902777385</c:v>
                </c:pt>
                <c:pt idx="6845">
                  <c:v>6.8483766717986816</c:v>
                </c:pt>
                <c:pt idx="6846">
                  <c:v>6.0021620223097045</c:v>
                </c:pt>
                <c:pt idx="6847">
                  <c:v>5.0083530393267433</c:v>
                </c:pt>
                <c:pt idx="6848">
                  <c:v>4.8675850006360353</c:v>
                </c:pt>
                <c:pt idx="6849">
                  <c:v>5.0707442914879515</c:v>
                </c:pt>
                <c:pt idx="6850">
                  <c:v>5.9483922866659524</c:v>
                </c:pt>
                <c:pt idx="6851">
                  <c:v>6.0015190503524813</c:v>
                </c:pt>
                <c:pt idx="6852">
                  <c:v>6.0249399785238476</c:v>
                </c:pt>
                <c:pt idx="6853">
                  <c:v>6.0051979302415841</c:v>
                </c:pt>
                <c:pt idx="6854">
                  <c:v>4.9565750729091125</c:v>
                </c:pt>
                <c:pt idx="6855">
                  <c:v>4.8543583857689061</c:v>
                </c:pt>
                <c:pt idx="6856">
                  <c:v>5.9679396933368167</c:v>
                </c:pt>
                <c:pt idx="6857">
                  <c:v>6.9368382410995713</c:v>
                </c:pt>
                <c:pt idx="6858">
                  <c:v>5.9364690849420487</c:v>
                </c:pt>
                <c:pt idx="6859">
                  <c:v>6.0288174344651448</c:v>
                </c:pt>
                <c:pt idx="6860">
                  <c:v>5.9498270669234472</c:v>
                </c:pt>
                <c:pt idx="6861">
                  <c:v>5.0585324177576192</c:v>
                </c:pt>
                <c:pt idx="6862">
                  <c:v>4.9586085605219221</c:v>
                </c:pt>
                <c:pt idx="6863">
                  <c:v>5.9432180277915139</c:v>
                </c:pt>
                <c:pt idx="6864">
                  <c:v>6.0564275350388357</c:v>
                </c:pt>
                <c:pt idx="6865">
                  <c:v>5.9945448529601455</c:v>
                </c:pt>
                <c:pt idx="6866">
                  <c:v>5.0985412005492705</c:v>
                </c:pt>
                <c:pt idx="6867">
                  <c:v>5.053112140880196</c:v>
                </c:pt>
                <c:pt idx="6868">
                  <c:v>5.8727382922108227</c:v>
                </c:pt>
                <c:pt idx="6869">
                  <c:v>5.8782671956289425</c:v>
                </c:pt>
                <c:pt idx="6870">
                  <c:v>5.0488703518826687</c:v>
                </c:pt>
                <c:pt idx="6871">
                  <c:v>5.0447649785582831</c:v>
                </c:pt>
                <c:pt idx="6872">
                  <c:v>5.0496932932469258</c:v>
                </c:pt>
                <c:pt idx="6873">
                  <c:v>5.0207341984799259</c:v>
                </c:pt>
                <c:pt idx="6874">
                  <c:v>7.1029830264928311</c:v>
                </c:pt>
                <c:pt idx="6875">
                  <c:v>7.1507158904775538</c:v>
                </c:pt>
                <c:pt idx="6876">
                  <c:v>7.0524510210958553</c:v>
                </c:pt>
                <c:pt idx="6877">
                  <c:v>6.074639551378552</c:v>
                </c:pt>
                <c:pt idx="6878">
                  <c:v>4.9027090991899271</c:v>
                </c:pt>
                <c:pt idx="6879">
                  <c:v>4.8329135933532088</c:v>
                </c:pt>
                <c:pt idx="6880">
                  <c:v>5.1514935733856131</c:v>
                </c:pt>
                <c:pt idx="6881">
                  <c:v>6.0143372280259575</c:v>
                </c:pt>
                <c:pt idx="6882">
                  <c:v>5.8245252020494931</c:v>
                </c:pt>
                <c:pt idx="6883">
                  <c:v>6.9807070577274892</c:v>
                </c:pt>
                <c:pt idx="6884">
                  <c:v>4.9298103574654135</c:v>
                </c:pt>
                <c:pt idx="6885">
                  <c:v>6.8728518245639689</c:v>
                </c:pt>
                <c:pt idx="6886">
                  <c:v>4.9580426741732904</c:v>
                </c:pt>
                <c:pt idx="6887">
                  <c:v>6.0579184249701488</c:v>
                </c:pt>
                <c:pt idx="6888">
                  <c:v>5.1896422062345602</c:v>
                </c:pt>
                <c:pt idx="6889">
                  <c:v>5.9085275216369855</c:v>
                </c:pt>
                <c:pt idx="6890">
                  <c:v>6.0244266446879227</c:v>
                </c:pt>
                <c:pt idx="6891">
                  <c:v>6.08060728253965</c:v>
                </c:pt>
                <c:pt idx="6892">
                  <c:v>6.0101580760619209</c:v>
                </c:pt>
                <c:pt idx="6893">
                  <c:v>5.8527176058207635</c:v>
                </c:pt>
                <c:pt idx="6894">
                  <c:v>4.989858411486777</c:v>
                </c:pt>
                <c:pt idx="6895">
                  <c:v>5.1214449705628944</c:v>
                </c:pt>
                <c:pt idx="6896">
                  <c:v>6.023976408020439</c:v>
                </c:pt>
                <c:pt idx="6897">
                  <c:v>4.8651592238422161</c:v>
                </c:pt>
                <c:pt idx="6898">
                  <c:v>5.9813648101793877</c:v>
                </c:pt>
                <c:pt idx="6899">
                  <c:v>5.0833123369349407</c:v>
                </c:pt>
                <c:pt idx="6900">
                  <c:v>5.9551327553632856</c:v>
                </c:pt>
                <c:pt idx="6901">
                  <c:v>4.9068642652547156</c:v>
                </c:pt>
                <c:pt idx="6902">
                  <c:v>5.9533734616742038</c:v>
                </c:pt>
                <c:pt idx="6903">
                  <c:v>4.8382839997234726</c:v>
                </c:pt>
                <c:pt idx="6904">
                  <c:v>6.0092128019368731</c:v>
                </c:pt>
                <c:pt idx="6905">
                  <c:v>7.0779161510090987</c:v>
                </c:pt>
                <c:pt idx="6906">
                  <c:v>5.9745303368865406</c:v>
                </c:pt>
                <c:pt idx="6907">
                  <c:v>4.8819638943758932</c:v>
                </c:pt>
                <c:pt idx="6908">
                  <c:v>4.93547651518102</c:v>
                </c:pt>
                <c:pt idx="6909">
                  <c:v>5.1263066537160507</c:v>
                </c:pt>
                <c:pt idx="6910">
                  <c:v>6.1411738738956618</c:v>
                </c:pt>
                <c:pt idx="6911">
                  <c:v>5.0825128259723913</c:v>
                </c:pt>
                <c:pt idx="6912">
                  <c:v>4.9134428330458393</c:v>
                </c:pt>
                <c:pt idx="6913">
                  <c:v>5.9840005467926813</c:v>
                </c:pt>
                <c:pt idx="6914">
                  <c:v>6.179264687020674</c:v>
                </c:pt>
                <c:pt idx="6915">
                  <c:v>4.8879360048594025</c:v>
                </c:pt>
                <c:pt idx="6916">
                  <c:v>4.9165747382444271</c:v>
                </c:pt>
                <c:pt idx="6917">
                  <c:v>5.1383257665924456</c:v>
                </c:pt>
                <c:pt idx="6918">
                  <c:v>5.0481715121686701</c:v>
                </c:pt>
                <c:pt idx="6919">
                  <c:v>4.8848733664071773</c:v>
                </c:pt>
                <c:pt idx="6920">
                  <c:v>7.1560735061949767</c:v>
                </c:pt>
                <c:pt idx="6921">
                  <c:v>5.0192373099850807</c:v>
                </c:pt>
                <c:pt idx="6922">
                  <c:v>5.1810265051991129</c:v>
                </c:pt>
                <c:pt idx="6923">
                  <c:v>6.0034799162590682</c:v>
                </c:pt>
                <c:pt idx="6924">
                  <c:v>4.9356955667487235</c:v>
                </c:pt>
                <c:pt idx="6925">
                  <c:v>5.8972596024491866</c:v>
                </c:pt>
                <c:pt idx="6926">
                  <c:v>5.1279369406524973</c:v>
                </c:pt>
                <c:pt idx="6927">
                  <c:v>6.9972316119365781</c:v>
                </c:pt>
                <c:pt idx="6928">
                  <c:v>3.8433539455957595</c:v>
                </c:pt>
                <c:pt idx="6929">
                  <c:v>4.9972326642235316</c:v>
                </c:pt>
                <c:pt idx="6930">
                  <c:v>6.8952349181472439</c:v>
                </c:pt>
                <c:pt idx="6931">
                  <c:v>7.0126664993686916</c:v>
                </c:pt>
                <c:pt idx="6932">
                  <c:v>4.9696573628129528</c:v>
                </c:pt>
                <c:pt idx="6933">
                  <c:v>5.0326309855606368</c:v>
                </c:pt>
                <c:pt idx="6934">
                  <c:v>5.212833279049045</c:v>
                </c:pt>
                <c:pt idx="6935">
                  <c:v>4.972491409295265</c:v>
                </c:pt>
                <c:pt idx="6936">
                  <c:v>5.8658296863034138</c:v>
                </c:pt>
                <c:pt idx="6937">
                  <c:v>5.955368306635628</c:v>
                </c:pt>
                <c:pt idx="6938">
                  <c:v>5.034637157248306</c:v>
                </c:pt>
                <c:pt idx="6939">
                  <c:v>5.9591549151099317</c:v>
                </c:pt>
                <c:pt idx="6940">
                  <c:v>5.1148970513713188</c:v>
                </c:pt>
                <c:pt idx="6941">
                  <c:v>5.7805015348976001</c:v>
                </c:pt>
                <c:pt idx="6942">
                  <c:v>5.0457274842802278</c:v>
                </c:pt>
                <c:pt idx="6943">
                  <c:v>6.2549838287270623</c:v>
                </c:pt>
                <c:pt idx="6944">
                  <c:v>5.9619666199824932</c:v>
                </c:pt>
                <c:pt idx="6945">
                  <c:v>4.9186735019999581</c:v>
                </c:pt>
                <c:pt idx="6946">
                  <c:v>5.9066068650340044</c:v>
                </c:pt>
                <c:pt idx="6947">
                  <c:v>5.086850226291908</c:v>
                </c:pt>
                <c:pt idx="6948">
                  <c:v>5.9999185958601249</c:v>
                </c:pt>
                <c:pt idx="6949">
                  <c:v>4.9774552844511604</c:v>
                </c:pt>
                <c:pt idx="6950">
                  <c:v>5.9628391239928709</c:v>
                </c:pt>
                <c:pt idx="6951">
                  <c:v>4.9730835034771559</c:v>
                </c:pt>
                <c:pt idx="6952">
                  <c:v>4.9709859121475635</c:v>
                </c:pt>
                <c:pt idx="6953">
                  <c:v>4.9855866613192088</c:v>
                </c:pt>
                <c:pt idx="6954">
                  <c:v>4.8039916025189955</c:v>
                </c:pt>
                <c:pt idx="6955">
                  <c:v>5.894894046365863</c:v>
                </c:pt>
                <c:pt idx="6956">
                  <c:v>4.9229343806819639</c:v>
                </c:pt>
                <c:pt idx="6957">
                  <c:v>6.0503109493585985</c:v>
                </c:pt>
                <c:pt idx="6958">
                  <c:v>5.0075618525094185</c:v>
                </c:pt>
                <c:pt idx="6959">
                  <c:v>5.051139833908711</c:v>
                </c:pt>
                <c:pt idx="6960">
                  <c:v>6.1032082770429525</c:v>
                </c:pt>
                <c:pt idx="6961">
                  <c:v>6.0662516695164292</c:v>
                </c:pt>
                <c:pt idx="6962">
                  <c:v>4.8402266864972079</c:v>
                </c:pt>
                <c:pt idx="6963">
                  <c:v>5.8824277507078291</c:v>
                </c:pt>
                <c:pt idx="6964">
                  <c:v>5.8786395589879543</c:v>
                </c:pt>
                <c:pt idx="6965">
                  <c:v>5.9976051791158858</c:v>
                </c:pt>
                <c:pt idx="6966">
                  <c:v>6.2171287124122676</c:v>
                </c:pt>
                <c:pt idx="6967">
                  <c:v>5.04638988143072</c:v>
                </c:pt>
                <c:pt idx="6968">
                  <c:v>5.0606876626605262</c:v>
                </c:pt>
                <c:pt idx="6969">
                  <c:v>5.0797441594048216</c:v>
                </c:pt>
                <c:pt idx="6970">
                  <c:v>5.1203986547011802</c:v>
                </c:pt>
                <c:pt idx="6971">
                  <c:v>5.889911683434371</c:v>
                </c:pt>
                <c:pt idx="6972">
                  <c:v>4.8542289341993392</c:v>
                </c:pt>
                <c:pt idx="6973">
                  <c:v>4.7797798014772477</c:v>
                </c:pt>
                <c:pt idx="6974">
                  <c:v>5.131146854177552</c:v>
                </c:pt>
                <c:pt idx="6975">
                  <c:v>6.099873593910667</c:v>
                </c:pt>
                <c:pt idx="6976">
                  <c:v>5.0769482626972806</c:v>
                </c:pt>
                <c:pt idx="6977">
                  <c:v>5.14624466126849</c:v>
                </c:pt>
                <c:pt idx="6978">
                  <c:v>6.0957823505121862</c:v>
                </c:pt>
                <c:pt idx="6979">
                  <c:v>5.0018312637575058</c:v>
                </c:pt>
                <c:pt idx="6980">
                  <c:v>5.1450655270876355</c:v>
                </c:pt>
                <c:pt idx="6981">
                  <c:v>5.9711795754217407</c:v>
                </c:pt>
                <c:pt idx="6982">
                  <c:v>5.093665817826369</c:v>
                </c:pt>
                <c:pt idx="6983">
                  <c:v>5.0461378159522301</c:v>
                </c:pt>
                <c:pt idx="6984">
                  <c:v>6.0783777897337767</c:v>
                </c:pt>
                <c:pt idx="6985">
                  <c:v>4.8866922141564393</c:v>
                </c:pt>
                <c:pt idx="6986">
                  <c:v>6.0335807689082808</c:v>
                </c:pt>
                <c:pt idx="6987">
                  <c:v>7.1136925929440018</c:v>
                </c:pt>
                <c:pt idx="6988">
                  <c:v>4.9657408919383981</c:v>
                </c:pt>
                <c:pt idx="6989">
                  <c:v>4.9367589673153285</c:v>
                </c:pt>
                <c:pt idx="6990">
                  <c:v>4.9647361137116661</c:v>
                </c:pt>
                <c:pt idx="6991">
                  <c:v>4.8166203891265074</c:v>
                </c:pt>
                <c:pt idx="6992">
                  <c:v>6.2448718105539509</c:v>
                </c:pt>
                <c:pt idx="6993">
                  <c:v>5.169462378960147</c:v>
                </c:pt>
                <c:pt idx="6994">
                  <c:v>6.05375912052655</c:v>
                </c:pt>
                <c:pt idx="6995">
                  <c:v>5.9021266071587766</c:v>
                </c:pt>
                <c:pt idx="6996">
                  <c:v>6.0285159116563909</c:v>
                </c:pt>
                <c:pt idx="6997">
                  <c:v>5.8204116732949718</c:v>
                </c:pt>
                <c:pt idx="6998">
                  <c:v>5.0875975405963461</c:v>
                </c:pt>
                <c:pt idx="6999">
                  <c:v>5.8467471632763717</c:v>
                </c:pt>
                <c:pt idx="7000">
                  <c:v>5.1305958600261059</c:v>
                </c:pt>
                <c:pt idx="7001">
                  <c:v>5.0566425953527849</c:v>
                </c:pt>
                <c:pt idx="7002">
                  <c:v>6.1244155082368419</c:v>
                </c:pt>
                <c:pt idx="7003">
                  <c:v>6.0856811185534676</c:v>
                </c:pt>
                <c:pt idx="7004">
                  <c:v>6.0663583420365672</c:v>
                </c:pt>
                <c:pt idx="7005">
                  <c:v>5.8955592802533188</c:v>
                </c:pt>
                <c:pt idx="7006">
                  <c:v>5.9855985220442731</c:v>
                </c:pt>
                <c:pt idx="7007">
                  <c:v>5.9903098279848157</c:v>
                </c:pt>
                <c:pt idx="7008">
                  <c:v>5.9783584180310729</c:v>
                </c:pt>
                <c:pt idx="7009">
                  <c:v>4.9942399155096169</c:v>
                </c:pt>
                <c:pt idx="7010">
                  <c:v>4.9943124438988002</c:v>
                </c:pt>
                <c:pt idx="7011">
                  <c:v>5.0560216765398902</c:v>
                </c:pt>
                <c:pt idx="7012">
                  <c:v>4.9660698558073788</c:v>
                </c:pt>
                <c:pt idx="7013">
                  <c:v>5.7772765428091226</c:v>
                </c:pt>
                <c:pt idx="7014">
                  <c:v>6.1007976288438295</c:v>
                </c:pt>
                <c:pt idx="7015">
                  <c:v>6.0767047594900907</c:v>
                </c:pt>
                <c:pt idx="7016">
                  <c:v>6.0081555492431553</c:v>
                </c:pt>
                <c:pt idx="7017">
                  <c:v>4.9147222471292418</c:v>
                </c:pt>
                <c:pt idx="7018">
                  <c:v>4.8500888538130758</c:v>
                </c:pt>
                <c:pt idx="7019">
                  <c:v>5.0284902293957749</c:v>
                </c:pt>
                <c:pt idx="7020">
                  <c:v>5.0293377956478631</c:v>
                </c:pt>
                <c:pt idx="7021">
                  <c:v>5.9282207102835232</c:v>
                </c:pt>
                <c:pt idx="7022">
                  <c:v>6.0810765322991154</c:v>
                </c:pt>
                <c:pt idx="7023">
                  <c:v>4.8776815526985944</c:v>
                </c:pt>
                <c:pt idx="7024">
                  <c:v>5.0740216560617917</c:v>
                </c:pt>
                <c:pt idx="7025">
                  <c:v>5.95614295606733</c:v>
                </c:pt>
                <c:pt idx="7026">
                  <c:v>4.9835485857344128</c:v>
                </c:pt>
                <c:pt idx="7027">
                  <c:v>5.8778590117694955</c:v>
                </c:pt>
                <c:pt idx="7028">
                  <c:v>5.2771692601589741</c:v>
                </c:pt>
                <c:pt idx="7029">
                  <c:v>4.8574014932543088</c:v>
                </c:pt>
                <c:pt idx="7030">
                  <c:v>5.1386152339795776</c:v>
                </c:pt>
                <c:pt idx="7031">
                  <c:v>4.894977930022999</c:v>
                </c:pt>
                <c:pt idx="7032">
                  <c:v>5.9891444551319335</c:v>
                </c:pt>
                <c:pt idx="7033">
                  <c:v>5.973473461733434</c:v>
                </c:pt>
                <c:pt idx="7034">
                  <c:v>5.085328894891429</c:v>
                </c:pt>
                <c:pt idx="7035">
                  <c:v>5.9408257973220602</c:v>
                </c:pt>
                <c:pt idx="7036">
                  <c:v>6.9722861146436221</c:v>
                </c:pt>
                <c:pt idx="7037">
                  <c:v>4.988115455112287</c:v>
                </c:pt>
                <c:pt idx="7038">
                  <c:v>7.2484905792327261</c:v>
                </c:pt>
                <c:pt idx="7039">
                  <c:v>5.9268463660323718</c:v>
                </c:pt>
                <c:pt idx="7040">
                  <c:v>4.9703552751990738</c:v>
                </c:pt>
                <c:pt idx="7041">
                  <c:v>6.1027870584139299</c:v>
                </c:pt>
                <c:pt idx="7042">
                  <c:v>6.1777394092369056</c:v>
                </c:pt>
                <c:pt idx="7043">
                  <c:v>5.0046163155544043</c:v>
                </c:pt>
                <c:pt idx="7044">
                  <c:v>4.8816833982664285</c:v>
                </c:pt>
                <c:pt idx="7045">
                  <c:v>5.0049530323905946</c:v>
                </c:pt>
                <c:pt idx="7046">
                  <c:v>5.1033364808933177</c:v>
                </c:pt>
                <c:pt idx="7047">
                  <c:v>5.1509830013613884</c:v>
                </c:pt>
                <c:pt idx="7048">
                  <c:v>6.0606722243344429</c:v>
                </c:pt>
                <c:pt idx="7049">
                  <c:v>5.9973722447154776</c:v>
                </c:pt>
                <c:pt idx="7050">
                  <c:v>4.9904034327482032</c:v>
                </c:pt>
                <c:pt idx="7051">
                  <c:v>6.0324100447937061</c:v>
                </c:pt>
                <c:pt idx="7052">
                  <c:v>5.1351184515012216</c:v>
                </c:pt>
                <c:pt idx="7053">
                  <c:v>6.0761950688644122</c:v>
                </c:pt>
                <c:pt idx="7054">
                  <c:v>6.9862973005092597</c:v>
                </c:pt>
                <c:pt idx="7055">
                  <c:v>4.7606812128419467</c:v>
                </c:pt>
                <c:pt idx="7056">
                  <c:v>4.1215275396002324</c:v>
                </c:pt>
                <c:pt idx="7057">
                  <c:v>4.9290953692158359</c:v>
                </c:pt>
                <c:pt idx="7058">
                  <c:v>4.7133279422711896</c:v>
                </c:pt>
                <c:pt idx="7059">
                  <c:v>5.0490938879955811</c:v>
                </c:pt>
                <c:pt idx="7060">
                  <c:v>5.9789701823947787</c:v>
                </c:pt>
                <c:pt idx="7061">
                  <c:v>6.2093945347740247</c:v>
                </c:pt>
                <c:pt idx="7062">
                  <c:v>5.9553512136804709</c:v>
                </c:pt>
                <c:pt idx="7063">
                  <c:v>5.8560288051636542</c:v>
                </c:pt>
                <c:pt idx="7064">
                  <c:v>5.8559350594151995</c:v>
                </c:pt>
                <c:pt idx="7065">
                  <c:v>5.0295741234177989</c:v>
                </c:pt>
                <c:pt idx="7066">
                  <c:v>4.8460852900082054</c:v>
                </c:pt>
                <c:pt idx="7067">
                  <c:v>5.8955818992861957</c:v>
                </c:pt>
                <c:pt idx="7068">
                  <c:v>5.015952055079838</c:v>
                </c:pt>
                <c:pt idx="7069">
                  <c:v>5.0094267355835882</c:v>
                </c:pt>
                <c:pt idx="7070">
                  <c:v>5.8857649596113717</c:v>
                </c:pt>
                <c:pt idx="7071">
                  <c:v>5.1314730284102392</c:v>
                </c:pt>
                <c:pt idx="7072">
                  <c:v>5.0335291218235367</c:v>
                </c:pt>
                <c:pt idx="7073">
                  <c:v>4.9206170130846516</c:v>
                </c:pt>
                <c:pt idx="7074">
                  <c:v>5.8806341103125339</c:v>
                </c:pt>
                <c:pt idx="7075">
                  <c:v>4.9835609778582306</c:v>
                </c:pt>
                <c:pt idx="7076">
                  <c:v>6.148330771196524</c:v>
                </c:pt>
                <c:pt idx="7077">
                  <c:v>6.0308064441778599</c:v>
                </c:pt>
                <c:pt idx="7078">
                  <c:v>4.8985747387945162</c:v>
                </c:pt>
                <c:pt idx="7079">
                  <c:v>5.0115409417723953</c:v>
                </c:pt>
                <c:pt idx="7080">
                  <c:v>6.0340073887388739</c:v>
                </c:pt>
                <c:pt idx="7081">
                  <c:v>5.1487150408125277</c:v>
                </c:pt>
                <c:pt idx="7082">
                  <c:v>6.1296940752034521</c:v>
                </c:pt>
                <c:pt idx="7083">
                  <c:v>5.0876781890413785</c:v>
                </c:pt>
                <c:pt idx="7084">
                  <c:v>4.8938628797090038</c:v>
                </c:pt>
                <c:pt idx="7085">
                  <c:v>5.1693315481755446</c:v>
                </c:pt>
                <c:pt idx="7086">
                  <c:v>6.0140782508640154</c:v>
                </c:pt>
                <c:pt idx="7087">
                  <c:v>5.9730853836491544</c:v>
                </c:pt>
                <c:pt idx="7088">
                  <c:v>6.9663740161814953</c:v>
                </c:pt>
                <c:pt idx="7089">
                  <c:v>4.9248453212176173</c:v>
                </c:pt>
                <c:pt idx="7090">
                  <c:v>4.9810261192129808</c:v>
                </c:pt>
                <c:pt idx="7091">
                  <c:v>6.1071808313340723</c:v>
                </c:pt>
                <c:pt idx="7092">
                  <c:v>5.1229076964471378</c:v>
                </c:pt>
                <c:pt idx="7093">
                  <c:v>4.8332281876182552</c:v>
                </c:pt>
                <c:pt idx="7094">
                  <c:v>5.9740617237886529</c:v>
                </c:pt>
                <c:pt idx="7095">
                  <c:v>5.9573912397522193</c:v>
                </c:pt>
                <c:pt idx="7096">
                  <c:v>4.957567622275703</c:v>
                </c:pt>
                <c:pt idx="7097">
                  <c:v>6.0200801228264238</c:v>
                </c:pt>
                <c:pt idx="7098">
                  <c:v>6.0852588266106302</c:v>
                </c:pt>
                <c:pt idx="7099">
                  <c:v>6.1760057692913515</c:v>
                </c:pt>
                <c:pt idx="7100">
                  <c:v>4.9314637585488228</c:v>
                </c:pt>
                <c:pt idx="7101">
                  <c:v>5.7924399916087683</c:v>
                </c:pt>
                <c:pt idx="7102">
                  <c:v>5.1294670841874721</c:v>
                </c:pt>
                <c:pt idx="7103">
                  <c:v>4.8623779153843083</c:v>
                </c:pt>
                <c:pt idx="7104">
                  <c:v>5.9898160055304173</c:v>
                </c:pt>
                <c:pt idx="7105">
                  <c:v>5.198779459035797</c:v>
                </c:pt>
                <c:pt idx="7106">
                  <c:v>7.1816652446321845</c:v>
                </c:pt>
                <c:pt idx="7107">
                  <c:v>6.0987214077506611</c:v>
                </c:pt>
                <c:pt idx="7108">
                  <c:v>4.8489833457172642</c:v>
                </c:pt>
                <c:pt idx="7109">
                  <c:v>5.9414076950754495</c:v>
                </c:pt>
                <c:pt idx="7110">
                  <c:v>5.0869112239183414</c:v>
                </c:pt>
                <c:pt idx="7111">
                  <c:v>5.8926731621515724</c:v>
                </c:pt>
                <c:pt idx="7112">
                  <c:v>6.0019414107951246</c:v>
                </c:pt>
                <c:pt idx="7113">
                  <c:v>5.0133837319245309</c:v>
                </c:pt>
                <c:pt idx="7114">
                  <c:v>5.980495999092545</c:v>
                </c:pt>
                <c:pt idx="7115">
                  <c:v>4.888379120108028</c:v>
                </c:pt>
                <c:pt idx="7116">
                  <c:v>5.2502127117492909</c:v>
                </c:pt>
                <c:pt idx="7117">
                  <c:v>5.136976235179552</c:v>
                </c:pt>
                <c:pt idx="7118">
                  <c:v>6.1777907129740282</c:v>
                </c:pt>
                <c:pt idx="7119">
                  <c:v>5.9333630655325527</c:v>
                </c:pt>
                <c:pt idx="7120">
                  <c:v>4.9782295212706744</c:v>
                </c:pt>
                <c:pt idx="7121">
                  <c:v>5.9706003680023043</c:v>
                </c:pt>
                <c:pt idx="7122">
                  <c:v>4.8827923735318537</c:v>
                </c:pt>
                <c:pt idx="7123">
                  <c:v>5.9745520383327584</c:v>
                </c:pt>
                <c:pt idx="7124">
                  <c:v>5.1147193760289396</c:v>
                </c:pt>
                <c:pt idx="7125">
                  <c:v>4.7684561826809633</c:v>
                </c:pt>
                <c:pt idx="7126">
                  <c:v>4.8707458218867457</c:v>
                </c:pt>
                <c:pt idx="7127">
                  <c:v>4.8834263594244263</c:v>
                </c:pt>
                <c:pt idx="7128">
                  <c:v>4.9439623715838099</c:v>
                </c:pt>
                <c:pt idx="7129">
                  <c:v>5.1029806536957674</c:v>
                </c:pt>
                <c:pt idx="7130">
                  <c:v>5.1209675424406509</c:v>
                </c:pt>
                <c:pt idx="7131">
                  <c:v>5.937849727465327</c:v>
                </c:pt>
                <c:pt idx="7132">
                  <c:v>5.0479915493838767</c:v>
                </c:pt>
                <c:pt idx="7133">
                  <c:v>5.179825446677758</c:v>
                </c:pt>
                <c:pt idx="7134">
                  <c:v>4.9374517925551968</c:v>
                </c:pt>
                <c:pt idx="7135">
                  <c:v>6.1060830962473212</c:v>
                </c:pt>
                <c:pt idx="7136">
                  <c:v>5.9035952568519896</c:v>
                </c:pt>
                <c:pt idx="7137">
                  <c:v>5.0549204663938907</c:v>
                </c:pt>
                <c:pt idx="7138">
                  <c:v>5.9892935446079374</c:v>
                </c:pt>
                <c:pt idx="7139">
                  <c:v>6.0164889533350703</c:v>
                </c:pt>
                <c:pt idx="7140">
                  <c:v>6.0643114131572062</c:v>
                </c:pt>
                <c:pt idx="7141">
                  <c:v>6.0158981490805647</c:v>
                </c:pt>
                <c:pt idx="7142">
                  <c:v>5.0184827709394488</c:v>
                </c:pt>
                <c:pt idx="7143">
                  <c:v>5.0942921077013654</c:v>
                </c:pt>
                <c:pt idx="7144">
                  <c:v>5.9466741242332359</c:v>
                </c:pt>
                <c:pt idx="7145">
                  <c:v>6.0533851547884066</c:v>
                </c:pt>
                <c:pt idx="7146">
                  <c:v>5.9855942901029229</c:v>
                </c:pt>
                <c:pt idx="7147">
                  <c:v>4.8156036729096492</c:v>
                </c:pt>
                <c:pt idx="7148">
                  <c:v>5.1689517591036171</c:v>
                </c:pt>
                <c:pt idx="7149">
                  <c:v>6.0385581973813647</c:v>
                </c:pt>
                <c:pt idx="7150">
                  <c:v>6.0271091982815337</c:v>
                </c:pt>
                <c:pt idx="7151">
                  <c:v>5.021277698408614</c:v>
                </c:pt>
                <c:pt idx="7152">
                  <c:v>6.0455721286493116</c:v>
                </c:pt>
                <c:pt idx="7153">
                  <c:v>6.0394689786261084</c:v>
                </c:pt>
                <c:pt idx="7154">
                  <c:v>5.8704729636719808</c:v>
                </c:pt>
                <c:pt idx="7155">
                  <c:v>6.0162111221512671</c:v>
                </c:pt>
                <c:pt idx="7156">
                  <c:v>5.9808688955217235</c:v>
                </c:pt>
                <c:pt idx="7157">
                  <c:v>5.0081708056654897</c:v>
                </c:pt>
                <c:pt idx="7158">
                  <c:v>5.9522633757510555</c:v>
                </c:pt>
                <c:pt idx="7159">
                  <c:v>5.8866180123174354</c:v>
                </c:pt>
                <c:pt idx="7160">
                  <c:v>5.897895194230375</c:v>
                </c:pt>
                <c:pt idx="7161">
                  <c:v>5.067192426149445</c:v>
                </c:pt>
                <c:pt idx="7162">
                  <c:v>6.030011702619408</c:v>
                </c:pt>
                <c:pt idx="7163">
                  <c:v>6.0713207346789293</c:v>
                </c:pt>
                <c:pt idx="7164">
                  <c:v>5.1145373996129795</c:v>
                </c:pt>
                <c:pt idx="7165">
                  <c:v>5.1466710515666181</c:v>
                </c:pt>
                <c:pt idx="7166">
                  <c:v>4.9412508893516121</c:v>
                </c:pt>
                <c:pt idx="7167">
                  <c:v>5.0379520425363618</c:v>
                </c:pt>
                <c:pt idx="7168">
                  <c:v>5.0868141050110847</c:v>
                </c:pt>
                <c:pt idx="7169">
                  <c:v>6.1566529625535837</c:v>
                </c:pt>
                <c:pt idx="7170">
                  <c:v>5.1115976036177182</c:v>
                </c:pt>
                <c:pt idx="7171">
                  <c:v>4.9739569486408675</c:v>
                </c:pt>
                <c:pt idx="7172">
                  <c:v>6.1334070742309947</c:v>
                </c:pt>
                <c:pt idx="7173">
                  <c:v>5.9602650552129273</c:v>
                </c:pt>
                <c:pt idx="7174">
                  <c:v>6.1602035922723184</c:v>
                </c:pt>
                <c:pt idx="7175">
                  <c:v>6.2303508402984802</c:v>
                </c:pt>
                <c:pt idx="7176">
                  <c:v>5.9286559366907028</c:v>
                </c:pt>
                <c:pt idx="7177">
                  <c:v>5.9309375380439375</c:v>
                </c:pt>
                <c:pt idx="7178">
                  <c:v>6.1860930100198441</c:v>
                </c:pt>
                <c:pt idx="7179">
                  <c:v>6.0582835573147928</c:v>
                </c:pt>
                <c:pt idx="7180">
                  <c:v>6.0662927606220443</c:v>
                </c:pt>
                <c:pt idx="7181">
                  <c:v>5.97273497864406</c:v>
                </c:pt>
                <c:pt idx="7182">
                  <c:v>5.9177562792795158</c:v>
                </c:pt>
                <c:pt idx="7183">
                  <c:v>5.9803227464161184</c:v>
                </c:pt>
                <c:pt idx="7184">
                  <c:v>5.918893044401405</c:v>
                </c:pt>
                <c:pt idx="7185">
                  <c:v>5.8491641256844975</c:v>
                </c:pt>
                <c:pt idx="7186">
                  <c:v>6.0676728416292951</c:v>
                </c:pt>
                <c:pt idx="7187">
                  <c:v>6.0019783326266261</c:v>
                </c:pt>
                <c:pt idx="7188">
                  <c:v>6.0010239751324672</c:v>
                </c:pt>
                <c:pt idx="7189">
                  <c:v>6.1188205726204519</c:v>
                </c:pt>
                <c:pt idx="7190">
                  <c:v>6.0373385112678193</c:v>
                </c:pt>
                <c:pt idx="7191">
                  <c:v>5.8692256672763481</c:v>
                </c:pt>
                <c:pt idx="7192">
                  <c:v>5.995630953602098</c:v>
                </c:pt>
                <c:pt idx="7193">
                  <c:v>5.8505704604930493</c:v>
                </c:pt>
                <c:pt idx="7194">
                  <c:v>6.0298473115953746</c:v>
                </c:pt>
                <c:pt idx="7195">
                  <c:v>5.0958545115780307</c:v>
                </c:pt>
                <c:pt idx="7196">
                  <c:v>5.0600046832350829</c:v>
                </c:pt>
                <c:pt idx="7197">
                  <c:v>6.027141424929197</c:v>
                </c:pt>
                <c:pt idx="7198">
                  <c:v>6.0485960304782056</c:v>
                </c:pt>
                <c:pt idx="7199">
                  <c:v>4.8434122080291111</c:v>
                </c:pt>
                <c:pt idx="7200">
                  <c:v>6.0497886598347064</c:v>
                </c:pt>
                <c:pt idx="7201">
                  <c:v>4.8618487381520898</c:v>
                </c:pt>
                <c:pt idx="7202">
                  <c:v>4.9875713046419046</c:v>
                </c:pt>
                <c:pt idx="7203">
                  <c:v>4.9214073240911125</c:v>
                </c:pt>
                <c:pt idx="7204">
                  <c:v>4.923807586701197</c:v>
                </c:pt>
                <c:pt idx="7205">
                  <c:v>6.070074761189078</c:v>
                </c:pt>
                <c:pt idx="7206">
                  <c:v>5.0014519953775975</c:v>
                </c:pt>
                <c:pt idx="7207">
                  <c:v>4.9881849686132727</c:v>
                </c:pt>
                <c:pt idx="7208">
                  <c:v>6.0123809527299432</c:v>
                </c:pt>
                <c:pt idx="7209">
                  <c:v>5.0203472950136216</c:v>
                </c:pt>
                <c:pt idx="7210">
                  <c:v>4.9945606766219521</c:v>
                </c:pt>
                <c:pt idx="7211">
                  <c:v>6.1212912595085704</c:v>
                </c:pt>
                <c:pt idx="7212">
                  <c:v>6.2284057806197382</c:v>
                </c:pt>
                <c:pt idx="7213">
                  <c:v>4.9740766525256204</c:v>
                </c:pt>
                <c:pt idx="7214">
                  <c:v>4.9932610789627612</c:v>
                </c:pt>
                <c:pt idx="7215">
                  <c:v>6.0843059683672944</c:v>
                </c:pt>
                <c:pt idx="7216">
                  <c:v>5.0712945857359095</c:v>
                </c:pt>
                <c:pt idx="7217">
                  <c:v>6.0552554400189456</c:v>
                </c:pt>
                <c:pt idx="7218">
                  <c:v>6.1421805091260282</c:v>
                </c:pt>
                <c:pt idx="7219">
                  <c:v>5.0340677421397446</c:v>
                </c:pt>
                <c:pt idx="7220">
                  <c:v>5.8820215485065779</c:v>
                </c:pt>
                <c:pt idx="7221">
                  <c:v>5.0109046147729686</c:v>
                </c:pt>
                <c:pt idx="7222">
                  <c:v>4.9217503218272798</c:v>
                </c:pt>
                <c:pt idx="7223">
                  <c:v>4.8618595198231533</c:v>
                </c:pt>
                <c:pt idx="7224">
                  <c:v>4.9248109578833787</c:v>
                </c:pt>
                <c:pt idx="7225">
                  <c:v>6.0577212667650988</c:v>
                </c:pt>
                <c:pt idx="7226">
                  <c:v>6.0496215495019969</c:v>
                </c:pt>
                <c:pt idx="7227">
                  <c:v>4.9189420472543475</c:v>
                </c:pt>
                <c:pt idx="7228">
                  <c:v>5.1207755895429488</c:v>
                </c:pt>
                <c:pt idx="7229">
                  <c:v>5.9478317008333699</c:v>
                </c:pt>
                <c:pt idx="7230">
                  <c:v>6.0291519523486379</c:v>
                </c:pt>
                <c:pt idx="7231">
                  <c:v>4.9495874628689078</c:v>
                </c:pt>
                <c:pt idx="7232">
                  <c:v>6.0743648778023402</c:v>
                </c:pt>
                <c:pt idx="7233">
                  <c:v>5.0729403710891372</c:v>
                </c:pt>
                <c:pt idx="7234">
                  <c:v>5.1950787375571359</c:v>
                </c:pt>
                <c:pt idx="7235">
                  <c:v>4.8962805038627</c:v>
                </c:pt>
                <c:pt idx="7236">
                  <c:v>5.0941070903497883</c:v>
                </c:pt>
                <c:pt idx="7237">
                  <c:v>5.015721395891517</c:v>
                </c:pt>
                <c:pt idx="7238">
                  <c:v>5.9549696147353748</c:v>
                </c:pt>
                <c:pt idx="7239">
                  <c:v>5.9831103771846799</c:v>
                </c:pt>
                <c:pt idx="7240">
                  <c:v>5.0011135790459136</c:v>
                </c:pt>
                <c:pt idx="7241">
                  <c:v>4.8974976741593794</c:v>
                </c:pt>
                <c:pt idx="7242">
                  <c:v>5.993875066740082</c:v>
                </c:pt>
                <c:pt idx="7243">
                  <c:v>4.8996146515696575</c:v>
                </c:pt>
                <c:pt idx="7244">
                  <c:v>6.0674423451217399</c:v>
                </c:pt>
                <c:pt idx="7245">
                  <c:v>5.8295572895129091</c:v>
                </c:pt>
                <c:pt idx="7246">
                  <c:v>5.0142615925393352</c:v>
                </c:pt>
                <c:pt idx="7247">
                  <c:v>6.0091571716009629</c:v>
                </c:pt>
                <c:pt idx="7248">
                  <c:v>5.0156424421172527</c:v>
                </c:pt>
                <c:pt idx="7249">
                  <c:v>6.0870777301809547</c:v>
                </c:pt>
                <c:pt idx="7250">
                  <c:v>6.0818434568359194</c:v>
                </c:pt>
                <c:pt idx="7251">
                  <c:v>5.0679237835085891</c:v>
                </c:pt>
                <c:pt idx="7252">
                  <c:v>5.0401310691946613</c:v>
                </c:pt>
                <c:pt idx="7253">
                  <c:v>6.136368304586048</c:v>
                </c:pt>
                <c:pt idx="7254">
                  <c:v>6.0678936158953585</c:v>
                </c:pt>
                <c:pt idx="7255">
                  <c:v>4.9968063373614857</c:v>
                </c:pt>
                <c:pt idx="7256">
                  <c:v>4.9183007134223864</c:v>
                </c:pt>
                <c:pt idx="7257">
                  <c:v>4.9555186538315938</c:v>
                </c:pt>
                <c:pt idx="7258">
                  <c:v>4.9212725479080159</c:v>
                </c:pt>
                <c:pt idx="7259">
                  <c:v>4.9148386259936228</c:v>
                </c:pt>
                <c:pt idx="7260">
                  <c:v>5.134906053062072</c:v>
                </c:pt>
                <c:pt idx="7261">
                  <c:v>4.0913579774224571</c:v>
                </c:pt>
                <c:pt idx="7262">
                  <c:v>5.9741322260985212</c:v>
                </c:pt>
                <c:pt idx="7263">
                  <c:v>3.095693915263499</c:v>
                </c:pt>
                <c:pt idx="7264">
                  <c:v>6.0601862890570395</c:v>
                </c:pt>
                <c:pt idx="7265">
                  <c:v>4.9812999943946492</c:v>
                </c:pt>
                <c:pt idx="7266">
                  <c:v>5.8296871604660936</c:v>
                </c:pt>
                <c:pt idx="7267">
                  <c:v>4.909225884171736</c:v>
                </c:pt>
                <c:pt idx="7268">
                  <c:v>6.1736794574905112</c:v>
                </c:pt>
                <c:pt idx="7269">
                  <c:v>5.9014744674417479</c:v>
                </c:pt>
                <c:pt idx="7270">
                  <c:v>5.9157028687940301</c:v>
                </c:pt>
                <c:pt idx="7271">
                  <c:v>5.8890867649760104</c:v>
                </c:pt>
                <c:pt idx="7272">
                  <c:v>5.1235857540777152</c:v>
                </c:pt>
                <c:pt idx="7273">
                  <c:v>4.9863820141965505</c:v>
                </c:pt>
                <c:pt idx="7274">
                  <c:v>6.0476851209007565</c:v>
                </c:pt>
                <c:pt idx="7275">
                  <c:v>5.0796628075517587</c:v>
                </c:pt>
                <c:pt idx="7276">
                  <c:v>6.0493874829561864</c:v>
                </c:pt>
                <c:pt idx="7277">
                  <c:v>5.9342835158154204</c:v>
                </c:pt>
                <c:pt idx="7278">
                  <c:v>6.0600089325187563</c:v>
                </c:pt>
                <c:pt idx="7279">
                  <c:v>6.1193779347290089</c:v>
                </c:pt>
                <c:pt idx="7280">
                  <c:v>4.9758862584746595</c:v>
                </c:pt>
                <c:pt idx="7281">
                  <c:v>6.9200085541005425</c:v>
                </c:pt>
                <c:pt idx="7282">
                  <c:v>4.8276014155224614</c:v>
                </c:pt>
                <c:pt idx="7283">
                  <c:v>6.074042607177975</c:v>
                </c:pt>
                <c:pt idx="7284">
                  <c:v>4.9339881799255298</c:v>
                </c:pt>
                <c:pt idx="7285">
                  <c:v>6.1021627676570169</c:v>
                </c:pt>
                <c:pt idx="7286">
                  <c:v>6.039369070479653</c:v>
                </c:pt>
                <c:pt idx="7287">
                  <c:v>6.0262694358343492</c:v>
                </c:pt>
                <c:pt idx="7288">
                  <c:v>4.9644315145173197</c:v>
                </c:pt>
                <c:pt idx="7289">
                  <c:v>6.2166131910407962</c:v>
                </c:pt>
                <c:pt idx="7290">
                  <c:v>4.9836609094052502</c:v>
                </c:pt>
                <c:pt idx="7291">
                  <c:v>4.9181149285374932</c:v>
                </c:pt>
                <c:pt idx="7292">
                  <c:v>7.0771656673236185</c:v>
                </c:pt>
                <c:pt idx="7293">
                  <c:v>5.1168338916499465</c:v>
                </c:pt>
                <c:pt idx="7294">
                  <c:v>5.8641466881263788</c:v>
                </c:pt>
                <c:pt idx="7295">
                  <c:v>3.8692542376245123</c:v>
                </c:pt>
                <c:pt idx="7296">
                  <c:v>5.0465756566017062</c:v>
                </c:pt>
                <c:pt idx="7297">
                  <c:v>4.9164821221432931</c:v>
                </c:pt>
                <c:pt idx="7298">
                  <c:v>7.0211597424129621</c:v>
                </c:pt>
                <c:pt idx="7299">
                  <c:v>5.9361870832047128</c:v>
                </c:pt>
                <c:pt idx="7300">
                  <c:v>6.1107532888482625</c:v>
                </c:pt>
                <c:pt idx="7301">
                  <c:v>6.9657023209743816</c:v>
                </c:pt>
                <c:pt idx="7302">
                  <c:v>5.1053040901290361</c:v>
                </c:pt>
                <c:pt idx="7303">
                  <c:v>4.9574622108923183</c:v>
                </c:pt>
                <c:pt idx="7304">
                  <c:v>4.9913872837834132</c:v>
                </c:pt>
                <c:pt idx="7305">
                  <c:v>5.994472046680416</c:v>
                </c:pt>
                <c:pt idx="7306">
                  <c:v>5.9824531788305899</c:v>
                </c:pt>
                <c:pt idx="7307">
                  <c:v>4.9233780872965811</c:v>
                </c:pt>
                <c:pt idx="7308">
                  <c:v>6.0818058568405364</c:v>
                </c:pt>
                <c:pt idx="7309">
                  <c:v>5.0492915285109872</c:v>
                </c:pt>
                <c:pt idx="7310">
                  <c:v>5.0288217418957259</c:v>
                </c:pt>
                <c:pt idx="7311">
                  <c:v>4.7718408965745382</c:v>
                </c:pt>
                <c:pt idx="7312">
                  <c:v>5.8312786546495241</c:v>
                </c:pt>
                <c:pt idx="7313">
                  <c:v>5.001780403611928</c:v>
                </c:pt>
                <c:pt idx="7314">
                  <c:v>5.9138084161832829</c:v>
                </c:pt>
                <c:pt idx="7315">
                  <c:v>5.1441142713725041</c:v>
                </c:pt>
                <c:pt idx="7316">
                  <c:v>4.9953524059960781</c:v>
                </c:pt>
                <c:pt idx="7317">
                  <c:v>5.0550382743794788</c:v>
                </c:pt>
                <c:pt idx="7318">
                  <c:v>4.9929001910774682</c:v>
                </c:pt>
                <c:pt idx="7319">
                  <c:v>6.1683846170288055</c:v>
                </c:pt>
                <c:pt idx="7320">
                  <c:v>4.9381534430970264</c:v>
                </c:pt>
                <c:pt idx="7321">
                  <c:v>6.0167572625193104</c:v>
                </c:pt>
                <c:pt idx="7322">
                  <c:v>4.946154483835957</c:v>
                </c:pt>
                <c:pt idx="7323">
                  <c:v>5.8817727031777611</c:v>
                </c:pt>
                <c:pt idx="7324">
                  <c:v>6.0918346349848775</c:v>
                </c:pt>
                <c:pt idx="7325">
                  <c:v>5.1178212374890615</c:v>
                </c:pt>
                <c:pt idx="7326">
                  <c:v>5.1228323241071108</c:v>
                </c:pt>
                <c:pt idx="7327">
                  <c:v>5.9339979272349161</c:v>
                </c:pt>
                <c:pt idx="7328">
                  <c:v>6.0929622789569295</c:v>
                </c:pt>
                <c:pt idx="7329">
                  <c:v>4.9193906868449657</c:v>
                </c:pt>
                <c:pt idx="7330">
                  <c:v>6.0296291443654741</c:v>
                </c:pt>
                <c:pt idx="7331">
                  <c:v>6.1172401267177712</c:v>
                </c:pt>
                <c:pt idx="7332">
                  <c:v>6.1549091846020243</c:v>
                </c:pt>
                <c:pt idx="7333">
                  <c:v>5.1533724443572417</c:v>
                </c:pt>
                <c:pt idx="7334">
                  <c:v>4.92025726708283</c:v>
                </c:pt>
                <c:pt idx="7335">
                  <c:v>5.0919920394960059</c:v>
                </c:pt>
                <c:pt idx="7336">
                  <c:v>6.0323380736579209</c:v>
                </c:pt>
                <c:pt idx="7337">
                  <c:v>5.0307890212343924</c:v>
                </c:pt>
                <c:pt idx="7338">
                  <c:v>5.1081982142017797</c:v>
                </c:pt>
                <c:pt idx="7339">
                  <c:v>5.1581039994997679</c:v>
                </c:pt>
                <c:pt idx="7340">
                  <c:v>7.2101357975094906</c:v>
                </c:pt>
                <c:pt idx="7341">
                  <c:v>6.0286055852284726</c:v>
                </c:pt>
                <c:pt idx="7342">
                  <c:v>5.9339546246833494</c:v>
                </c:pt>
                <c:pt idx="7343">
                  <c:v>6.0347579708064911</c:v>
                </c:pt>
                <c:pt idx="7344">
                  <c:v>5.9822118922691825</c:v>
                </c:pt>
                <c:pt idx="7345">
                  <c:v>5.0467560538943461</c:v>
                </c:pt>
                <c:pt idx="7346">
                  <c:v>6.0750189477432706</c:v>
                </c:pt>
                <c:pt idx="7347">
                  <c:v>5.0852233723562428</c:v>
                </c:pt>
                <c:pt idx="7348">
                  <c:v>5.0628959008927978</c:v>
                </c:pt>
                <c:pt idx="7349">
                  <c:v>5.0024932416812362</c:v>
                </c:pt>
                <c:pt idx="7350">
                  <c:v>5.1048056654315879</c:v>
                </c:pt>
                <c:pt idx="7351">
                  <c:v>6.1075094568733546</c:v>
                </c:pt>
                <c:pt idx="7352">
                  <c:v>5.9998020867031938</c:v>
                </c:pt>
                <c:pt idx="7353">
                  <c:v>6.0535373666530523</c:v>
                </c:pt>
                <c:pt idx="7354">
                  <c:v>6.095176491684497</c:v>
                </c:pt>
                <c:pt idx="7355">
                  <c:v>5.0633274205422181</c:v>
                </c:pt>
                <c:pt idx="7356">
                  <c:v>5.9131151468944756</c:v>
                </c:pt>
                <c:pt idx="7357">
                  <c:v>4.8643633929700494</c:v>
                </c:pt>
                <c:pt idx="7358">
                  <c:v>6.0055981615132481</c:v>
                </c:pt>
                <c:pt idx="7359">
                  <c:v>4.9486083491206383</c:v>
                </c:pt>
                <c:pt idx="7360">
                  <c:v>5.9778121861159814</c:v>
                </c:pt>
                <c:pt idx="7361">
                  <c:v>5.0968987928285516</c:v>
                </c:pt>
                <c:pt idx="7362">
                  <c:v>4.9269958747698119</c:v>
                </c:pt>
                <c:pt idx="7363">
                  <c:v>6.0387068671629258</c:v>
                </c:pt>
                <c:pt idx="7364">
                  <c:v>4.9630098100906315</c:v>
                </c:pt>
                <c:pt idx="7365">
                  <c:v>4.9449746447384726</c:v>
                </c:pt>
                <c:pt idx="7366">
                  <c:v>5.9601408178277815</c:v>
                </c:pt>
                <c:pt idx="7367">
                  <c:v>5.8901101897090058</c:v>
                </c:pt>
                <c:pt idx="7368">
                  <c:v>5.000444262786961</c:v>
                </c:pt>
                <c:pt idx="7369">
                  <c:v>5.947754863799612</c:v>
                </c:pt>
                <c:pt idx="7370">
                  <c:v>5.900116999755161</c:v>
                </c:pt>
                <c:pt idx="7371">
                  <c:v>4.9368362155366112</c:v>
                </c:pt>
                <c:pt idx="7372">
                  <c:v>5.0208079847773828</c:v>
                </c:pt>
                <c:pt idx="7373">
                  <c:v>5.0749333453542667</c:v>
                </c:pt>
                <c:pt idx="7374">
                  <c:v>5.1386669578439292</c:v>
                </c:pt>
                <c:pt idx="7375">
                  <c:v>6.0756114030651753</c:v>
                </c:pt>
                <c:pt idx="7376">
                  <c:v>6.8450199469774047</c:v>
                </c:pt>
                <c:pt idx="7377">
                  <c:v>6.9456970250331382</c:v>
                </c:pt>
                <c:pt idx="7378">
                  <c:v>4.9785956885910316</c:v>
                </c:pt>
                <c:pt idx="7379">
                  <c:v>5.9906120395325582</c:v>
                </c:pt>
                <c:pt idx="7380">
                  <c:v>5.0099174426401207</c:v>
                </c:pt>
                <c:pt idx="7381">
                  <c:v>5.8650922522522748</c:v>
                </c:pt>
                <c:pt idx="7382">
                  <c:v>5.9838204068668741</c:v>
                </c:pt>
                <c:pt idx="7383">
                  <c:v>5.9017332299604135</c:v>
                </c:pt>
                <c:pt idx="7384">
                  <c:v>6.0552996912917338</c:v>
                </c:pt>
                <c:pt idx="7385">
                  <c:v>5.0514096618252031</c:v>
                </c:pt>
                <c:pt idx="7386">
                  <c:v>5.0734539641920673</c:v>
                </c:pt>
                <c:pt idx="7387">
                  <c:v>5.978819526896312</c:v>
                </c:pt>
                <c:pt idx="7388">
                  <c:v>7.0902673749241067</c:v>
                </c:pt>
                <c:pt idx="7389">
                  <c:v>7.036526800805996</c:v>
                </c:pt>
                <c:pt idx="7390">
                  <c:v>6.9858749049596094</c:v>
                </c:pt>
                <c:pt idx="7391">
                  <c:v>5.9492557193225171</c:v>
                </c:pt>
                <c:pt idx="7392">
                  <c:v>5.9681168482184201</c:v>
                </c:pt>
                <c:pt idx="7393">
                  <c:v>4.9416743583626443</c:v>
                </c:pt>
                <c:pt idx="7394">
                  <c:v>5.917945416979669</c:v>
                </c:pt>
                <c:pt idx="7395">
                  <c:v>5.0089787502965279</c:v>
                </c:pt>
                <c:pt idx="7396">
                  <c:v>5.9527701089469085</c:v>
                </c:pt>
                <c:pt idx="7397">
                  <c:v>6.1411088098446101</c:v>
                </c:pt>
                <c:pt idx="7398">
                  <c:v>5.8950702419383587</c:v>
                </c:pt>
                <c:pt idx="7399">
                  <c:v>5.883532839950254</c:v>
                </c:pt>
                <c:pt idx="7400">
                  <c:v>6.0386405162026247</c:v>
                </c:pt>
                <c:pt idx="7401">
                  <c:v>4.9644363667351747</c:v>
                </c:pt>
                <c:pt idx="7402">
                  <c:v>2.0148752027307926</c:v>
                </c:pt>
                <c:pt idx="7403">
                  <c:v>2.14393111083462</c:v>
                </c:pt>
                <c:pt idx="7404">
                  <c:v>6.0791219100464335</c:v>
                </c:pt>
                <c:pt idx="7405">
                  <c:v>5.1606749513478727</c:v>
                </c:pt>
                <c:pt idx="7406">
                  <c:v>5.0511916402700265</c:v>
                </c:pt>
                <c:pt idx="7407">
                  <c:v>4.9857821898441026</c:v>
                </c:pt>
                <c:pt idx="7408">
                  <c:v>6.1051026837728868</c:v>
                </c:pt>
                <c:pt idx="7409">
                  <c:v>5.1522197040911966</c:v>
                </c:pt>
                <c:pt idx="7410">
                  <c:v>4.8053347445549166</c:v>
                </c:pt>
                <c:pt idx="7411">
                  <c:v>5.0230164265245643</c:v>
                </c:pt>
                <c:pt idx="7412">
                  <c:v>5.9078241439070469</c:v>
                </c:pt>
                <c:pt idx="7413">
                  <c:v>6.868591304121515</c:v>
                </c:pt>
                <c:pt idx="7414">
                  <c:v>6.0478221110939954</c:v>
                </c:pt>
                <c:pt idx="7415">
                  <c:v>4.9431207697951294</c:v>
                </c:pt>
                <c:pt idx="7416">
                  <c:v>5.1337827509012275</c:v>
                </c:pt>
                <c:pt idx="7417">
                  <c:v>4.964205136656596</c:v>
                </c:pt>
                <c:pt idx="7418">
                  <c:v>5.1358095642854433</c:v>
                </c:pt>
                <c:pt idx="7419">
                  <c:v>4.9998990185192431</c:v>
                </c:pt>
                <c:pt idx="7420">
                  <c:v>6.0000983103135246</c:v>
                </c:pt>
                <c:pt idx="7421">
                  <c:v>4.9693878927523665</c:v>
                </c:pt>
                <c:pt idx="7422">
                  <c:v>5.9165762401400723</c:v>
                </c:pt>
                <c:pt idx="7423">
                  <c:v>5.1340974239070132</c:v>
                </c:pt>
                <c:pt idx="7424">
                  <c:v>4.942790138362672</c:v>
                </c:pt>
                <c:pt idx="7425">
                  <c:v>6.086133242280658</c:v>
                </c:pt>
                <c:pt idx="7426">
                  <c:v>6.0127965537790811</c:v>
                </c:pt>
                <c:pt idx="7427">
                  <c:v>6.9778932366066346</c:v>
                </c:pt>
                <c:pt idx="7428">
                  <c:v>5.9114794296437392</c:v>
                </c:pt>
                <c:pt idx="7429">
                  <c:v>5.8803641465250758</c:v>
                </c:pt>
                <c:pt idx="7430">
                  <c:v>1.8615805769193043</c:v>
                </c:pt>
                <c:pt idx="7431">
                  <c:v>4.0636306949692091</c:v>
                </c:pt>
                <c:pt idx="7432">
                  <c:v>4.9728594175456671</c:v>
                </c:pt>
                <c:pt idx="7433">
                  <c:v>4.8624564303098579</c:v>
                </c:pt>
                <c:pt idx="7434">
                  <c:v>6.1721734416767813</c:v>
                </c:pt>
                <c:pt idx="7435">
                  <c:v>4.9750411612200338</c:v>
                </c:pt>
                <c:pt idx="7436">
                  <c:v>5.8859841522441778</c:v>
                </c:pt>
                <c:pt idx="7437">
                  <c:v>5.9449072785481292</c:v>
                </c:pt>
                <c:pt idx="7438">
                  <c:v>6.0792748694407415</c:v>
                </c:pt>
                <c:pt idx="7439">
                  <c:v>6.0124927986042831</c:v>
                </c:pt>
                <c:pt idx="7440">
                  <c:v>5.0520219255325571</c:v>
                </c:pt>
                <c:pt idx="7441">
                  <c:v>5.0015098513399394</c:v>
                </c:pt>
                <c:pt idx="7442">
                  <c:v>4.8724468714060611</c:v>
                </c:pt>
                <c:pt idx="7443">
                  <c:v>5.9695124437441356</c:v>
                </c:pt>
                <c:pt idx="7444">
                  <c:v>5.7896921277709685</c:v>
                </c:pt>
                <c:pt idx="7445">
                  <c:v>5.0699282858586443</c:v>
                </c:pt>
                <c:pt idx="7446">
                  <c:v>5.9706295883426028</c:v>
                </c:pt>
                <c:pt idx="7447">
                  <c:v>5.8981436179345774</c:v>
                </c:pt>
                <c:pt idx="7448">
                  <c:v>5.0593646429652219</c:v>
                </c:pt>
                <c:pt idx="7449">
                  <c:v>5.1101652442102861</c:v>
                </c:pt>
                <c:pt idx="7450">
                  <c:v>5.1721650585511378</c:v>
                </c:pt>
                <c:pt idx="7451">
                  <c:v>5.0839708327622333</c:v>
                </c:pt>
                <c:pt idx="7452">
                  <c:v>6.0186499742773449</c:v>
                </c:pt>
                <c:pt idx="7453">
                  <c:v>4.9899898758749073</c:v>
                </c:pt>
                <c:pt idx="7454">
                  <c:v>6.0495041048969318</c:v>
                </c:pt>
                <c:pt idx="7455">
                  <c:v>5.9279253102874634</c:v>
                </c:pt>
                <c:pt idx="7456">
                  <c:v>4.9404360757922134</c:v>
                </c:pt>
                <c:pt idx="7457">
                  <c:v>4.7780764406999188</c:v>
                </c:pt>
                <c:pt idx="7458">
                  <c:v>5.0531968522333308</c:v>
                </c:pt>
                <c:pt idx="7459">
                  <c:v>5.1191084668217721</c:v>
                </c:pt>
                <c:pt idx="7460">
                  <c:v>5.0607068992203033</c:v>
                </c:pt>
                <c:pt idx="7461">
                  <c:v>5.014082662380015</c:v>
                </c:pt>
                <c:pt idx="7462">
                  <c:v>4.9591733070436348</c:v>
                </c:pt>
                <c:pt idx="7463">
                  <c:v>5.9903422425930763</c:v>
                </c:pt>
                <c:pt idx="7464">
                  <c:v>4.934327361169494</c:v>
                </c:pt>
                <c:pt idx="7465">
                  <c:v>3.9942240670242852</c:v>
                </c:pt>
                <c:pt idx="7466">
                  <c:v>4.1051835998653496</c:v>
                </c:pt>
                <c:pt idx="7467">
                  <c:v>3.9810780813122975</c:v>
                </c:pt>
                <c:pt idx="7468">
                  <c:v>4.9455292098689521</c:v>
                </c:pt>
                <c:pt idx="7469">
                  <c:v>5.1409692006815284</c:v>
                </c:pt>
                <c:pt idx="7470">
                  <c:v>5.9101421705226702</c:v>
                </c:pt>
                <c:pt idx="7471">
                  <c:v>6.129808018127231</c:v>
                </c:pt>
                <c:pt idx="7472">
                  <c:v>5.9965909729323537</c:v>
                </c:pt>
                <c:pt idx="7473">
                  <c:v>5.1295878795957162</c:v>
                </c:pt>
                <c:pt idx="7474">
                  <c:v>5.019612843700954</c:v>
                </c:pt>
                <c:pt idx="7475">
                  <c:v>6.0906230790191662</c:v>
                </c:pt>
                <c:pt idx="7476">
                  <c:v>6.0961506116085795</c:v>
                </c:pt>
                <c:pt idx="7477">
                  <c:v>6.0475157323457172</c:v>
                </c:pt>
                <c:pt idx="7478">
                  <c:v>4.9132942681767346</c:v>
                </c:pt>
                <c:pt idx="7479">
                  <c:v>5.9496304296085318</c:v>
                </c:pt>
                <c:pt idx="7480">
                  <c:v>4.9127059402164868</c:v>
                </c:pt>
                <c:pt idx="7481">
                  <c:v>6.8786094409070468</c:v>
                </c:pt>
                <c:pt idx="7482">
                  <c:v>4.0317422642313971</c:v>
                </c:pt>
                <c:pt idx="7483">
                  <c:v>6.0400921645591836</c:v>
                </c:pt>
                <c:pt idx="7484">
                  <c:v>5.9272342960087361</c:v>
                </c:pt>
                <c:pt idx="7485">
                  <c:v>4.9638001906715354</c:v>
                </c:pt>
                <c:pt idx="7486">
                  <c:v>5.0315494646580952</c:v>
                </c:pt>
                <c:pt idx="7487">
                  <c:v>4.8766738937505298</c:v>
                </c:pt>
                <c:pt idx="7488">
                  <c:v>4.7522004505824391</c:v>
                </c:pt>
                <c:pt idx="7489">
                  <c:v>6.0647668415688054</c:v>
                </c:pt>
                <c:pt idx="7490">
                  <c:v>4.1379582575138638</c:v>
                </c:pt>
                <c:pt idx="7491">
                  <c:v>1.998186738753071</c:v>
                </c:pt>
                <c:pt idx="7492">
                  <c:v>5.9697319800787927</c:v>
                </c:pt>
                <c:pt idx="7493">
                  <c:v>6.0736586643482511</c:v>
                </c:pt>
                <c:pt idx="7494">
                  <c:v>4.9738408169689823</c:v>
                </c:pt>
                <c:pt idx="7495">
                  <c:v>4.8933577795235319</c:v>
                </c:pt>
                <c:pt idx="7496">
                  <c:v>6.0800686126216537</c:v>
                </c:pt>
                <c:pt idx="7497">
                  <c:v>4.8021571169750441</c:v>
                </c:pt>
                <c:pt idx="7498">
                  <c:v>4.9459944544630279</c:v>
                </c:pt>
                <c:pt idx="7499">
                  <c:v>6.0214002705591465</c:v>
                </c:pt>
                <c:pt idx="7500">
                  <c:v>6.808107513680735</c:v>
                </c:pt>
                <c:pt idx="7501">
                  <c:v>5.9837908854131419</c:v>
                </c:pt>
                <c:pt idx="7502">
                  <c:v>4.9348636547531193</c:v>
                </c:pt>
                <c:pt idx="7503">
                  <c:v>5.0545116907831833</c:v>
                </c:pt>
                <c:pt idx="7504">
                  <c:v>6.1188361564370046</c:v>
                </c:pt>
                <c:pt idx="7505">
                  <c:v>5.8671917252632575</c:v>
                </c:pt>
                <c:pt idx="7506">
                  <c:v>6.1213341984496354</c:v>
                </c:pt>
                <c:pt idx="7507">
                  <c:v>5.9515766397076115</c:v>
                </c:pt>
                <c:pt idx="7508">
                  <c:v>6.1162437146025477</c:v>
                </c:pt>
                <c:pt idx="7509">
                  <c:v>5.7405611833695565</c:v>
                </c:pt>
                <c:pt idx="7510">
                  <c:v>5.0023363802823759</c:v>
                </c:pt>
                <c:pt idx="7511">
                  <c:v>5.0444970814132439</c:v>
                </c:pt>
                <c:pt idx="7512">
                  <c:v>5.8537630143240298</c:v>
                </c:pt>
                <c:pt idx="7513">
                  <c:v>6.0636807356758649</c:v>
                </c:pt>
                <c:pt idx="7514">
                  <c:v>5.0558049968333574</c:v>
                </c:pt>
                <c:pt idx="7515">
                  <c:v>6.9556835483741697</c:v>
                </c:pt>
                <c:pt idx="7516">
                  <c:v>6.0452176752808029</c:v>
                </c:pt>
                <c:pt idx="7517">
                  <c:v>5.9383304848969347</c:v>
                </c:pt>
                <c:pt idx="7518">
                  <c:v>4.9392443777526616</c:v>
                </c:pt>
                <c:pt idx="7519">
                  <c:v>6.0629583303506989</c:v>
                </c:pt>
                <c:pt idx="7520">
                  <c:v>5.0325979575963391</c:v>
                </c:pt>
                <c:pt idx="7521">
                  <c:v>4.993521620349533</c:v>
                </c:pt>
                <c:pt idx="7522">
                  <c:v>5.9944769717017294</c:v>
                </c:pt>
                <c:pt idx="7523">
                  <c:v>4.8606033801894855</c:v>
                </c:pt>
                <c:pt idx="7524">
                  <c:v>6.0365828399543089</c:v>
                </c:pt>
                <c:pt idx="7525">
                  <c:v>5.8225686653217634</c:v>
                </c:pt>
                <c:pt idx="7526">
                  <c:v>6.2121047703901331</c:v>
                </c:pt>
                <c:pt idx="7527">
                  <c:v>5.9040033562247549</c:v>
                </c:pt>
                <c:pt idx="7528">
                  <c:v>4.958316490037542</c:v>
                </c:pt>
                <c:pt idx="7529">
                  <c:v>6.0234871935169414</c:v>
                </c:pt>
                <c:pt idx="7530">
                  <c:v>6.1321111646063056</c:v>
                </c:pt>
                <c:pt idx="7531">
                  <c:v>5.9280891334073624</c:v>
                </c:pt>
                <c:pt idx="7532">
                  <c:v>6.1317816465051811</c:v>
                </c:pt>
                <c:pt idx="7533">
                  <c:v>5.9089517168201926</c:v>
                </c:pt>
                <c:pt idx="7534">
                  <c:v>4.9893931835240313</c:v>
                </c:pt>
                <c:pt idx="7535">
                  <c:v>7.079774785724636</c:v>
                </c:pt>
                <c:pt idx="7536">
                  <c:v>6.1237041580271745</c:v>
                </c:pt>
                <c:pt idx="7537">
                  <c:v>5.9062307462128683</c:v>
                </c:pt>
                <c:pt idx="7538">
                  <c:v>6.967992450628846</c:v>
                </c:pt>
                <c:pt idx="7539">
                  <c:v>6.0532798294657235</c:v>
                </c:pt>
                <c:pt idx="7540">
                  <c:v>5.1356110424983328</c:v>
                </c:pt>
                <c:pt idx="7541">
                  <c:v>5.9682524585422234</c:v>
                </c:pt>
                <c:pt idx="7542">
                  <c:v>6.0430605218905162</c:v>
                </c:pt>
                <c:pt idx="7543">
                  <c:v>4.8621479794151172</c:v>
                </c:pt>
                <c:pt idx="7544">
                  <c:v>5.0885558417599226</c:v>
                </c:pt>
                <c:pt idx="7545">
                  <c:v>5.8814780525836978</c:v>
                </c:pt>
                <c:pt idx="7546">
                  <c:v>6.0140287004211279</c:v>
                </c:pt>
                <c:pt idx="7547">
                  <c:v>6.0166904299423907</c:v>
                </c:pt>
                <c:pt idx="7548">
                  <c:v>5.7184363840463632</c:v>
                </c:pt>
                <c:pt idx="7549">
                  <c:v>5.0224318817378348</c:v>
                </c:pt>
                <c:pt idx="7550">
                  <c:v>5.8332467053390573</c:v>
                </c:pt>
                <c:pt idx="7551">
                  <c:v>6.0877638563220255</c:v>
                </c:pt>
                <c:pt idx="7552">
                  <c:v>4.9601188906130806</c:v>
                </c:pt>
                <c:pt idx="7553">
                  <c:v>6.0107199818438639</c:v>
                </c:pt>
                <c:pt idx="7554">
                  <c:v>5.9495077795859288</c:v>
                </c:pt>
                <c:pt idx="7555">
                  <c:v>5.7554710846768771</c:v>
                </c:pt>
                <c:pt idx="7556">
                  <c:v>5.1529356771549164</c:v>
                </c:pt>
                <c:pt idx="7557">
                  <c:v>5.9148267263634882</c:v>
                </c:pt>
                <c:pt idx="7558">
                  <c:v>5.9880694392785667</c:v>
                </c:pt>
                <c:pt idx="7559">
                  <c:v>6.258950275942853</c:v>
                </c:pt>
                <c:pt idx="7560">
                  <c:v>4.9689658990842611</c:v>
                </c:pt>
                <c:pt idx="7561">
                  <c:v>6.090019935435885</c:v>
                </c:pt>
                <c:pt idx="7562">
                  <c:v>6.0046524223514064</c:v>
                </c:pt>
                <c:pt idx="7563">
                  <c:v>6.0154667285839238</c:v>
                </c:pt>
                <c:pt idx="7564">
                  <c:v>5.8520159575547019</c:v>
                </c:pt>
                <c:pt idx="7565">
                  <c:v>6.1387188055662438</c:v>
                </c:pt>
                <c:pt idx="7566">
                  <c:v>5.9377632039964929</c:v>
                </c:pt>
                <c:pt idx="7567">
                  <c:v>5.9503832090209743</c:v>
                </c:pt>
                <c:pt idx="7568">
                  <c:v>6.0092212615647895</c:v>
                </c:pt>
                <c:pt idx="7569">
                  <c:v>4.9447470082188216</c:v>
                </c:pt>
                <c:pt idx="7570">
                  <c:v>6.8407532292554052</c:v>
                </c:pt>
                <c:pt idx="7571">
                  <c:v>7.1778729970879214</c:v>
                </c:pt>
                <c:pt idx="7572">
                  <c:v>7.0291022813246329</c:v>
                </c:pt>
                <c:pt idx="7573">
                  <c:v>7.0443756879439761</c:v>
                </c:pt>
                <c:pt idx="7574">
                  <c:v>5.0929859656827769</c:v>
                </c:pt>
                <c:pt idx="7575">
                  <c:v>6.142457910557547</c:v>
                </c:pt>
                <c:pt idx="7576">
                  <c:v>7.0017184778799084</c:v>
                </c:pt>
                <c:pt idx="7577">
                  <c:v>7.2167170928440711</c:v>
                </c:pt>
                <c:pt idx="7578">
                  <c:v>3.8744471043825546</c:v>
                </c:pt>
                <c:pt idx="7579">
                  <c:v>4.031733832378114</c:v>
                </c:pt>
                <c:pt idx="7580">
                  <c:v>4.927928596337285</c:v>
                </c:pt>
                <c:pt idx="7581">
                  <c:v>5.9024035686092651</c:v>
                </c:pt>
                <c:pt idx="7582">
                  <c:v>6.1096575925290137</c:v>
                </c:pt>
                <c:pt idx="7583">
                  <c:v>4.8744314725103841</c:v>
                </c:pt>
                <c:pt idx="7584">
                  <c:v>5.0073598871690708</c:v>
                </c:pt>
                <c:pt idx="7585">
                  <c:v>5.0483899009176989</c:v>
                </c:pt>
                <c:pt idx="7586">
                  <c:v>5.0717588329933783</c:v>
                </c:pt>
                <c:pt idx="7587">
                  <c:v>5.8247674504263749</c:v>
                </c:pt>
                <c:pt idx="7588">
                  <c:v>5.9820568185261145</c:v>
                </c:pt>
                <c:pt idx="7589">
                  <c:v>5.9552197487427359</c:v>
                </c:pt>
                <c:pt idx="7590">
                  <c:v>4.2409352529791615</c:v>
                </c:pt>
                <c:pt idx="7591">
                  <c:v>6.0509909427366386</c:v>
                </c:pt>
                <c:pt idx="7592">
                  <c:v>6.0959775144521666</c:v>
                </c:pt>
                <c:pt idx="7593">
                  <c:v>5.0079979960109791</c:v>
                </c:pt>
                <c:pt idx="7594">
                  <c:v>6.0114683014371018</c:v>
                </c:pt>
                <c:pt idx="7595">
                  <c:v>5.9692562579624031</c:v>
                </c:pt>
                <c:pt idx="7596">
                  <c:v>6.1345175451145453</c:v>
                </c:pt>
                <c:pt idx="7597">
                  <c:v>5.0488893867475708</c:v>
                </c:pt>
                <c:pt idx="7598">
                  <c:v>4.9912908388905448</c:v>
                </c:pt>
                <c:pt idx="7599">
                  <c:v>4.9048449185067913</c:v>
                </c:pt>
                <c:pt idx="7600">
                  <c:v>4.9568226917940912</c:v>
                </c:pt>
                <c:pt idx="7601">
                  <c:v>5.9501097126971745</c:v>
                </c:pt>
                <c:pt idx="7602">
                  <c:v>5.9671726236193692</c:v>
                </c:pt>
                <c:pt idx="7603">
                  <c:v>5.9323877917393446</c:v>
                </c:pt>
                <c:pt idx="7604">
                  <c:v>6.0133871436159438</c:v>
                </c:pt>
                <c:pt idx="7605">
                  <c:v>4.9706641314868154</c:v>
                </c:pt>
                <c:pt idx="7606">
                  <c:v>7.1139000152181522</c:v>
                </c:pt>
                <c:pt idx="7607">
                  <c:v>5.0950936179011332</c:v>
                </c:pt>
                <c:pt idx="7608">
                  <c:v>4.0264488075431162</c:v>
                </c:pt>
                <c:pt idx="7609">
                  <c:v>5.1839244094961572</c:v>
                </c:pt>
                <c:pt idx="7610">
                  <c:v>5.9701478604985505</c:v>
                </c:pt>
                <c:pt idx="7611">
                  <c:v>5.8385556860112269</c:v>
                </c:pt>
                <c:pt idx="7612">
                  <c:v>4.872927762075296</c:v>
                </c:pt>
                <c:pt idx="7613">
                  <c:v>5.0725087984838622</c:v>
                </c:pt>
                <c:pt idx="7614">
                  <c:v>5.8530386294352548</c:v>
                </c:pt>
                <c:pt idx="7615">
                  <c:v>4.8700820252239128</c:v>
                </c:pt>
                <c:pt idx="7616">
                  <c:v>4.8784323736538484</c:v>
                </c:pt>
                <c:pt idx="7617">
                  <c:v>4.9397682003642283</c:v>
                </c:pt>
                <c:pt idx="7618">
                  <c:v>7.0854798200889579</c:v>
                </c:pt>
                <c:pt idx="7619">
                  <c:v>5.8139662846841897</c:v>
                </c:pt>
                <c:pt idx="7620">
                  <c:v>6.1332356783381288</c:v>
                </c:pt>
                <c:pt idx="7621">
                  <c:v>5.9264275706862319</c:v>
                </c:pt>
                <c:pt idx="7622">
                  <c:v>5.8571924540066762</c:v>
                </c:pt>
                <c:pt idx="7623">
                  <c:v>6.0653503373584075</c:v>
                </c:pt>
                <c:pt idx="7624">
                  <c:v>5.8812415804293927</c:v>
                </c:pt>
                <c:pt idx="7625">
                  <c:v>5.0956795377021411</c:v>
                </c:pt>
                <c:pt idx="7626">
                  <c:v>5.0005567411010876</c:v>
                </c:pt>
                <c:pt idx="7627">
                  <c:v>6.0937375413660462</c:v>
                </c:pt>
                <c:pt idx="7628">
                  <c:v>4.9504586408807834</c:v>
                </c:pt>
                <c:pt idx="7629">
                  <c:v>5.7537544295744771</c:v>
                </c:pt>
                <c:pt idx="7630">
                  <c:v>6.201592533537025</c:v>
                </c:pt>
                <c:pt idx="7631">
                  <c:v>4.9208834100033867</c:v>
                </c:pt>
                <c:pt idx="7632">
                  <c:v>6.2418936662112179</c:v>
                </c:pt>
                <c:pt idx="7633">
                  <c:v>4.0259722270059939</c:v>
                </c:pt>
                <c:pt idx="7634">
                  <c:v>5.9175837142475567</c:v>
                </c:pt>
                <c:pt idx="7635">
                  <c:v>4.8415565440687125</c:v>
                </c:pt>
                <c:pt idx="7636">
                  <c:v>4.8655678043236499</c:v>
                </c:pt>
                <c:pt idx="7637">
                  <c:v>5.0204952811006915</c:v>
                </c:pt>
                <c:pt idx="7638">
                  <c:v>6.8170683144558399</c:v>
                </c:pt>
                <c:pt idx="7639">
                  <c:v>5.045429876704068</c:v>
                </c:pt>
                <c:pt idx="7640">
                  <c:v>5.095437059292478</c:v>
                </c:pt>
                <c:pt idx="7641">
                  <c:v>5.0073634255440291</c:v>
                </c:pt>
                <c:pt idx="7642">
                  <c:v>4.889116131977608</c:v>
                </c:pt>
                <c:pt idx="7643">
                  <c:v>3.984121395515035</c:v>
                </c:pt>
                <c:pt idx="7644">
                  <c:v>5.8918512329753243</c:v>
                </c:pt>
                <c:pt idx="7645">
                  <c:v>5.095784195585102</c:v>
                </c:pt>
                <c:pt idx="7646">
                  <c:v>4.8771020737221704</c:v>
                </c:pt>
                <c:pt idx="7647">
                  <c:v>5.9111927249770622</c:v>
                </c:pt>
                <c:pt idx="7648">
                  <c:v>5.9058177669267469</c:v>
                </c:pt>
                <c:pt idx="7649">
                  <c:v>3.9799012856611116</c:v>
                </c:pt>
                <c:pt idx="7650">
                  <c:v>5.1095289811819198</c:v>
                </c:pt>
                <c:pt idx="7651">
                  <c:v>6.0162750346345995</c:v>
                </c:pt>
                <c:pt idx="7652">
                  <c:v>5.9084918114648985</c:v>
                </c:pt>
                <c:pt idx="7653">
                  <c:v>4.986671908534734</c:v>
                </c:pt>
                <c:pt idx="7654">
                  <c:v>5.0658110590709162</c:v>
                </c:pt>
                <c:pt idx="7655">
                  <c:v>5.9094683984112049</c:v>
                </c:pt>
                <c:pt idx="7656">
                  <c:v>5.9016025635879013</c:v>
                </c:pt>
                <c:pt idx="7657">
                  <c:v>5.0491521429391364</c:v>
                </c:pt>
                <c:pt idx="7658">
                  <c:v>5.9709256117346303</c:v>
                </c:pt>
                <c:pt idx="7659">
                  <c:v>5.9552741825024622</c:v>
                </c:pt>
                <c:pt idx="7660">
                  <c:v>4.9287368269922807</c:v>
                </c:pt>
                <c:pt idx="7661">
                  <c:v>4.9003491986871808</c:v>
                </c:pt>
                <c:pt idx="7662">
                  <c:v>6.1326410222710477</c:v>
                </c:pt>
                <c:pt idx="7663">
                  <c:v>5.9644426178357577</c:v>
                </c:pt>
                <c:pt idx="7664">
                  <c:v>5.8914003572917881</c:v>
                </c:pt>
                <c:pt idx="7665">
                  <c:v>7.0688711474688892</c:v>
                </c:pt>
                <c:pt idx="7666">
                  <c:v>5.0277440333380961</c:v>
                </c:pt>
                <c:pt idx="7667">
                  <c:v>6.0284379217207427</c:v>
                </c:pt>
                <c:pt idx="7668">
                  <c:v>5.1367129335952075</c:v>
                </c:pt>
                <c:pt idx="7669">
                  <c:v>5.040873461297676</c:v>
                </c:pt>
                <c:pt idx="7670">
                  <c:v>5.8805781255790901</c:v>
                </c:pt>
                <c:pt idx="7671">
                  <c:v>4.9510561802192523</c:v>
                </c:pt>
                <c:pt idx="7672">
                  <c:v>6.1132744141376909</c:v>
                </c:pt>
                <c:pt idx="7673">
                  <c:v>4.9532585222829173</c:v>
                </c:pt>
                <c:pt idx="7674">
                  <c:v>4.9724727469356393</c:v>
                </c:pt>
                <c:pt idx="7675">
                  <c:v>6.207434071971047</c:v>
                </c:pt>
                <c:pt idx="7676">
                  <c:v>5.8828999526872803</c:v>
                </c:pt>
                <c:pt idx="7677">
                  <c:v>4.8058724154559425</c:v>
                </c:pt>
                <c:pt idx="7678">
                  <c:v>5.8572691906917305</c:v>
                </c:pt>
                <c:pt idx="7679">
                  <c:v>5.9114118378539313</c:v>
                </c:pt>
                <c:pt idx="7680">
                  <c:v>5.1154618736484716</c:v>
                </c:pt>
                <c:pt idx="7681">
                  <c:v>5.0764939715171504</c:v>
                </c:pt>
                <c:pt idx="7682">
                  <c:v>4.9916859672064433</c:v>
                </c:pt>
                <c:pt idx="7683">
                  <c:v>5.0980027853408805</c:v>
                </c:pt>
                <c:pt idx="7684">
                  <c:v>5.9870755349780822</c:v>
                </c:pt>
                <c:pt idx="7685">
                  <c:v>4.9847901826355967</c:v>
                </c:pt>
                <c:pt idx="7686">
                  <c:v>4.9252001102591079</c:v>
                </c:pt>
                <c:pt idx="7687">
                  <c:v>5.9980928780484799</c:v>
                </c:pt>
                <c:pt idx="7688">
                  <c:v>5.8609999306578713</c:v>
                </c:pt>
                <c:pt idx="7689">
                  <c:v>5.0252775560478335</c:v>
                </c:pt>
                <c:pt idx="7690">
                  <c:v>5.7889421455534791</c:v>
                </c:pt>
                <c:pt idx="7691">
                  <c:v>6.009664870398332</c:v>
                </c:pt>
                <c:pt idx="7692">
                  <c:v>4.8518983626533236</c:v>
                </c:pt>
                <c:pt idx="7693">
                  <c:v>5.074930337834628</c:v>
                </c:pt>
                <c:pt idx="7694">
                  <c:v>6.0565001970398997</c:v>
                </c:pt>
                <c:pt idx="7695">
                  <c:v>5.2724064266918766</c:v>
                </c:pt>
                <c:pt idx="7696">
                  <c:v>5.0208689330399388</c:v>
                </c:pt>
                <c:pt idx="7697">
                  <c:v>6.003667421494038</c:v>
                </c:pt>
                <c:pt idx="7698">
                  <c:v>5.228893189030333</c:v>
                </c:pt>
                <c:pt idx="7699">
                  <c:v>5.0333637353126868</c:v>
                </c:pt>
                <c:pt idx="7700">
                  <c:v>4.9852477179748975</c:v>
                </c:pt>
                <c:pt idx="7701">
                  <c:v>5.947464319075741</c:v>
                </c:pt>
                <c:pt idx="7702">
                  <c:v>4.9495270947472543</c:v>
                </c:pt>
                <c:pt idx="7703">
                  <c:v>4.9700726039326097</c:v>
                </c:pt>
                <c:pt idx="7704">
                  <c:v>6.041817282685086</c:v>
                </c:pt>
                <c:pt idx="7705">
                  <c:v>5.8523406952182286</c:v>
                </c:pt>
                <c:pt idx="7706">
                  <c:v>6.0064373713881203</c:v>
                </c:pt>
                <c:pt idx="7707">
                  <c:v>5.068888692279705</c:v>
                </c:pt>
                <c:pt idx="7708">
                  <c:v>6.0768915222117217</c:v>
                </c:pt>
                <c:pt idx="7709">
                  <c:v>5.0353373596156628</c:v>
                </c:pt>
                <c:pt idx="7710">
                  <c:v>4.8884925442222711</c:v>
                </c:pt>
                <c:pt idx="7711">
                  <c:v>5.8292339688850561</c:v>
                </c:pt>
                <c:pt idx="7712">
                  <c:v>6.0092405970066771</c:v>
                </c:pt>
                <c:pt idx="7713">
                  <c:v>5.027337961259188</c:v>
                </c:pt>
                <c:pt idx="7714">
                  <c:v>5.9883073979551931</c:v>
                </c:pt>
                <c:pt idx="7715">
                  <c:v>7.0760141818243651</c:v>
                </c:pt>
                <c:pt idx="7716">
                  <c:v>6.0601086005655365</c:v>
                </c:pt>
                <c:pt idx="7717">
                  <c:v>5.9364489501344009</c:v>
                </c:pt>
                <c:pt idx="7718">
                  <c:v>4.8040448752016021</c:v>
                </c:pt>
                <c:pt idx="7719">
                  <c:v>5.9076107834656097</c:v>
                </c:pt>
                <c:pt idx="7720">
                  <c:v>5.9440167328679712</c:v>
                </c:pt>
                <c:pt idx="7721">
                  <c:v>6.0164139301768502</c:v>
                </c:pt>
                <c:pt idx="7722">
                  <c:v>7.0390169683434642</c:v>
                </c:pt>
                <c:pt idx="7723">
                  <c:v>6.1285871668803358</c:v>
                </c:pt>
                <c:pt idx="7724">
                  <c:v>5.1463853361031084</c:v>
                </c:pt>
                <c:pt idx="7725">
                  <c:v>6.0113633168728899</c:v>
                </c:pt>
                <c:pt idx="7726">
                  <c:v>6.9766748319780394</c:v>
                </c:pt>
                <c:pt idx="7727">
                  <c:v>5.8436685139524851</c:v>
                </c:pt>
                <c:pt idx="7728">
                  <c:v>4.93224627272782</c:v>
                </c:pt>
                <c:pt idx="7729">
                  <c:v>6.1598839880522984</c:v>
                </c:pt>
                <c:pt idx="7730">
                  <c:v>6.0003756680603946</c:v>
                </c:pt>
                <c:pt idx="7731">
                  <c:v>4.1626373459756065</c:v>
                </c:pt>
                <c:pt idx="7732">
                  <c:v>7.0771092325505922</c:v>
                </c:pt>
                <c:pt idx="7733">
                  <c:v>3.8513860785924487</c:v>
                </c:pt>
                <c:pt idx="7734">
                  <c:v>3.9424707300451032</c:v>
                </c:pt>
                <c:pt idx="7735">
                  <c:v>5.0759831083047731</c:v>
                </c:pt>
                <c:pt idx="7736">
                  <c:v>5.1566390159296134</c:v>
                </c:pt>
                <c:pt idx="7737">
                  <c:v>4.9933370509196342</c:v>
                </c:pt>
                <c:pt idx="7738">
                  <c:v>5.0464382679218387</c:v>
                </c:pt>
                <c:pt idx="7739">
                  <c:v>6.0016678825908656</c:v>
                </c:pt>
                <c:pt idx="7740">
                  <c:v>6.028552408725905</c:v>
                </c:pt>
                <c:pt idx="7741">
                  <c:v>5.9264919484079117</c:v>
                </c:pt>
                <c:pt idx="7742">
                  <c:v>5.0729624896661498</c:v>
                </c:pt>
                <c:pt idx="7743">
                  <c:v>5.9943340357045631</c:v>
                </c:pt>
                <c:pt idx="7744">
                  <c:v>5.1156865405315397</c:v>
                </c:pt>
                <c:pt idx="7745">
                  <c:v>4.9164265578950035</c:v>
                </c:pt>
                <c:pt idx="7746">
                  <c:v>4.8575792187971887</c:v>
                </c:pt>
                <c:pt idx="7747">
                  <c:v>6.0013620633284797</c:v>
                </c:pt>
                <c:pt idx="7748">
                  <c:v>5.901115252837636</c:v>
                </c:pt>
                <c:pt idx="7749">
                  <c:v>5.8639806037469677</c:v>
                </c:pt>
                <c:pt idx="7750">
                  <c:v>4.9688870275928698</c:v>
                </c:pt>
                <c:pt idx="7751">
                  <c:v>5.8931925854263429</c:v>
                </c:pt>
                <c:pt idx="7752">
                  <c:v>5.9122812120514245</c:v>
                </c:pt>
                <c:pt idx="7753">
                  <c:v>5.9114671008525121</c:v>
                </c:pt>
                <c:pt idx="7754">
                  <c:v>6.1288248083715056</c:v>
                </c:pt>
                <c:pt idx="7755">
                  <c:v>4.1661232976625051</c:v>
                </c:pt>
                <c:pt idx="7756">
                  <c:v>6.0028460469137279</c:v>
                </c:pt>
                <c:pt idx="7757">
                  <c:v>4.890097596198907</c:v>
                </c:pt>
                <c:pt idx="7758">
                  <c:v>5.9611207614895587</c:v>
                </c:pt>
                <c:pt idx="7759">
                  <c:v>5.1414333111731061</c:v>
                </c:pt>
                <c:pt idx="7760">
                  <c:v>6.1083191310473115</c:v>
                </c:pt>
                <c:pt idx="7761">
                  <c:v>6.9947498963362644</c:v>
                </c:pt>
                <c:pt idx="7762">
                  <c:v>6.1078805427850833</c:v>
                </c:pt>
                <c:pt idx="7763">
                  <c:v>5.8108457281659236</c:v>
                </c:pt>
                <c:pt idx="7764">
                  <c:v>5.901250539409939</c:v>
                </c:pt>
                <c:pt idx="7765">
                  <c:v>4.9363439581039206</c:v>
                </c:pt>
                <c:pt idx="7766">
                  <c:v>6.0341060897604653</c:v>
                </c:pt>
                <c:pt idx="7767">
                  <c:v>5.9093974327132859</c:v>
                </c:pt>
                <c:pt idx="7768">
                  <c:v>5.0225449208220683</c:v>
                </c:pt>
                <c:pt idx="7769">
                  <c:v>4.987795878228547</c:v>
                </c:pt>
                <c:pt idx="7770">
                  <c:v>4.97900211204011</c:v>
                </c:pt>
                <c:pt idx="7771">
                  <c:v>4.95580505534934</c:v>
                </c:pt>
                <c:pt idx="7772">
                  <c:v>4.9225488558429769</c:v>
                </c:pt>
                <c:pt idx="7773">
                  <c:v>6.0446472038721195</c:v>
                </c:pt>
                <c:pt idx="7774">
                  <c:v>5.0489638973687017</c:v>
                </c:pt>
                <c:pt idx="7775">
                  <c:v>4.9001027147389662</c:v>
                </c:pt>
                <c:pt idx="7776">
                  <c:v>6.0100651634736071</c:v>
                </c:pt>
                <c:pt idx="7777">
                  <c:v>4.9177473576618658</c:v>
                </c:pt>
                <c:pt idx="7778">
                  <c:v>5.044808341576414</c:v>
                </c:pt>
                <c:pt idx="7779">
                  <c:v>5.1405423297199313</c:v>
                </c:pt>
                <c:pt idx="7780">
                  <c:v>5.1122316944996058</c:v>
                </c:pt>
                <c:pt idx="7781">
                  <c:v>4.8913334740236838</c:v>
                </c:pt>
                <c:pt idx="7782">
                  <c:v>5.972136279906989</c:v>
                </c:pt>
                <c:pt idx="7783">
                  <c:v>5.9996083573464292</c:v>
                </c:pt>
                <c:pt idx="7784">
                  <c:v>6.0501643251374277</c:v>
                </c:pt>
                <c:pt idx="7785">
                  <c:v>5.8603167793422628</c:v>
                </c:pt>
                <c:pt idx="7786">
                  <c:v>6.0617909931963911</c:v>
                </c:pt>
                <c:pt idx="7787">
                  <c:v>4.9166196073287347</c:v>
                </c:pt>
                <c:pt idx="7788">
                  <c:v>4.8623954219276238</c:v>
                </c:pt>
                <c:pt idx="7789">
                  <c:v>5.8514970968055815</c:v>
                </c:pt>
                <c:pt idx="7790">
                  <c:v>4.9901840544092071</c:v>
                </c:pt>
                <c:pt idx="7791">
                  <c:v>4.9064871054627819</c:v>
                </c:pt>
                <c:pt idx="7792">
                  <c:v>4.9613782586000452</c:v>
                </c:pt>
                <c:pt idx="7793">
                  <c:v>4.9860615150056926</c:v>
                </c:pt>
                <c:pt idx="7794">
                  <c:v>5.9755851644263966</c:v>
                </c:pt>
                <c:pt idx="7795">
                  <c:v>6.057699538676971</c:v>
                </c:pt>
                <c:pt idx="7796">
                  <c:v>5.0662985922086081</c:v>
                </c:pt>
                <c:pt idx="7797">
                  <c:v>5.0695179282497538</c:v>
                </c:pt>
                <c:pt idx="7798">
                  <c:v>5.9809374506957935</c:v>
                </c:pt>
                <c:pt idx="7799">
                  <c:v>4.944020527600741</c:v>
                </c:pt>
                <c:pt idx="7800">
                  <c:v>6.0122536926212824</c:v>
                </c:pt>
                <c:pt idx="7801">
                  <c:v>5.0159297901997189</c:v>
                </c:pt>
                <c:pt idx="7802">
                  <c:v>5.0894239709553686</c:v>
                </c:pt>
                <c:pt idx="7803">
                  <c:v>5.1000807958882888</c:v>
                </c:pt>
                <c:pt idx="7804">
                  <c:v>4.9788714458178047</c:v>
                </c:pt>
                <c:pt idx="7805">
                  <c:v>4.9700785902754365</c:v>
                </c:pt>
                <c:pt idx="7806">
                  <c:v>6.0606346727049454</c:v>
                </c:pt>
                <c:pt idx="7807">
                  <c:v>5.0893339774629975</c:v>
                </c:pt>
                <c:pt idx="7808">
                  <c:v>6.0917755720071751</c:v>
                </c:pt>
                <c:pt idx="7809">
                  <c:v>5.0536762029887567</c:v>
                </c:pt>
                <c:pt idx="7810">
                  <c:v>2.1887949865674656</c:v>
                </c:pt>
                <c:pt idx="7811">
                  <c:v>2.02648953155034</c:v>
                </c:pt>
                <c:pt idx="7812">
                  <c:v>5.0660094507316131</c:v>
                </c:pt>
                <c:pt idx="7813">
                  <c:v>6.0709491469659911</c:v>
                </c:pt>
                <c:pt idx="7814">
                  <c:v>6.0043794128538455</c:v>
                </c:pt>
                <c:pt idx="7815">
                  <c:v>5.0530668462587176</c:v>
                </c:pt>
                <c:pt idx="7816">
                  <c:v>7.0924914339178962</c:v>
                </c:pt>
                <c:pt idx="7817">
                  <c:v>4.9658265942900472</c:v>
                </c:pt>
                <c:pt idx="7818">
                  <c:v>3.946919024102518</c:v>
                </c:pt>
                <c:pt idx="7819">
                  <c:v>6.7200833989037072</c:v>
                </c:pt>
                <c:pt idx="7820">
                  <c:v>4.994200089831474</c:v>
                </c:pt>
                <c:pt idx="7821">
                  <c:v>5.0984864295849865</c:v>
                </c:pt>
                <c:pt idx="7822">
                  <c:v>6.039208474008511</c:v>
                </c:pt>
                <c:pt idx="7823">
                  <c:v>5.9318813587270585</c:v>
                </c:pt>
                <c:pt idx="7824">
                  <c:v>5.0575303790284867</c:v>
                </c:pt>
                <c:pt idx="7825">
                  <c:v>4.876621119547127</c:v>
                </c:pt>
                <c:pt idx="7826">
                  <c:v>6.1124507731648716</c:v>
                </c:pt>
                <c:pt idx="7827">
                  <c:v>6.0528804817148831</c:v>
                </c:pt>
                <c:pt idx="7828">
                  <c:v>5.0196286747548573</c:v>
                </c:pt>
                <c:pt idx="7829">
                  <c:v>4.8659147783225913</c:v>
                </c:pt>
                <c:pt idx="7830">
                  <c:v>6.0229136764550351</c:v>
                </c:pt>
                <c:pt idx="7831">
                  <c:v>5.0263751543857849</c:v>
                </c:pt>
                <c:pt idx="7832">
                  <c:v>6.1438727054426243</c:v>
                </c:pt>
                <c:pt idx="7833">
                  <c:v>5.0698984521867079</c:v>
                </c:pt>
                <c:pt idx="7834">
                  <c:v>5.9220181551029132</c:v>
                </c:pt>
                <c:pt idx="7835">
                  <c:v>5.9105493365181161</c:v>
                </c:pt>
                <c:pt idx="7836">
                  <c:v>5.8803211077693796</c:v>
                </c:pt>
                <c:pt idx="7837">
                  <c:v>6.0350432822772389</c:v>
                </c:pt>
                <c:pt idx="7838">
                  <c:v>5.9392435763297158</c:v>
                </c:pt>
                <c:pt idx="7839">
                  <c:v>5.9326056091804293</c:v>
                </c:pt>
                <c:pt idx="7840">
                  <c:v>6.0659573417088914</c:v>
                </c:pt>
                <c:pt idx="7841">
                  <c:v>6.0469811346501823</c:v>
                </c:pt>
                <c:pt idx="7842">
                  <c:v>5.8940859946372157</c:v>
                </c:pt>
                <c:pt idx="7843">
                  <c:v>5.9754602734928568</c:v>
                </c:pt>
                <c:pt idx="7844">
                  <c:v>5.2474674818829596</c:v>
                </c:pt>
                <c:pt idx="7845">
                  <c:v>5.1205288380963747</c:v>
                </c:pt>
                <c:pt idx="7846">
                  <c:v>6.0891392587765401</c:v>
                </c:pt>
                <c:pt idx="7847">
                  <c:v>5.0503084206452904</c:v>
                </c:pt>
                <c:pt idx="7848">
                  <c:v>5.9688329988891846</c:v>
                </c:pt>
                <c:pt idx="7849">
                  <c:v>5.0324535917543054</c:v>
                </c:pt>
                <c:pt idx="7850">
                  <c:v>6.0309324952205801</c:v>
                </c:pt>
                <c:pt idx="7851">
                  <c:v>4.9797749569351666</c:v>
                </c:pt>
                <c:pt idx="7852">
                  <c:v>5.9355681215368614</c:v>
                </c:pt>
                <c:pt idx="7853">
                  <c:v>5.9769262981736357</c:v>
                </c:pt>
                <c:pt idx="7854">
                  <c:v>5.0266203109251117</c:v>
                </c:pt>
                <c:pt idx="7855">
                  <c:v>6.031282735654778</c:v>
                </c:pt>
                <c:pt idx="7856">
                  <c:v>6.0866874406090874</c:v>
                </c:pt>
                <c:pt idx="7857">
                  <c:v>5.017219335378666</c:v>
                </c:pt>
                <c:pt idx="7858">
                  <c:v>4.9729332866859401</c:v>
                </c:pt>
                <c:pt idx="7859">
                  <c:v>6.0337190106332876</c:v>
                </c:pt>
                <c:pt idx="7860">
                  <c:v>4.9553291549970746</c:v>
                </c:pt>
                <c:pt idx="7861">
                  <c:v>4.955416502063982</c:v>
                </c:pt>
                <c:pt idx="7862">
                  <c:v>5.0328001698674418</c:v>
                </c:pt>
                <c:pt idx="7863">
                  <c:v>5.0392011960883609</c:v>
                </c:pt>
                <c:pt idx="7864">
                  <c:v>5.8895169112062495</c:v>
                </c:pt>
                <c:pt idx="7865">
                  <c:v>5.1504729233244317</c:v>
                </c:pt>
                <c:pt idx="7866">
                  <c:v>4.9575218435058694</c:v>
                </c:pt>
                <c:pt idx="7867">
                  <c:v>5.0301642638777162</c:v>
                </c:pt>
                <c:pt idx="7868">
                  <c:v>5.8931425022263388</c:v>
                </c:pt>
                <c:pt idx="7869">
                  <c:v>4.8729136394364509</c:v>
                </c:pt>
                <c:pt idx="7870">
                  <c:v>5.0031886042273346</c:v>
                </c:pt>
                <c:pt idx="7871">
                  <c:v>6.0094728331347067</c:v>
                </c:pt>
                <c:pt idx="7872">
                  <c:v>5.8234410332366906</c:v>
                </c:pt>
                <c:pt idx="7873">
                  <c:v>5.9546749409832724</c:v>
                </c:pt>
                <c:pt idx="7874">
                  <c:v>6.1532467053381259</c:v>
                </c:pt>
                <c:pt idx="7875">
                  <c:v>5.9376951505512796</c:v>
                </c:pt>
                <c:pt idx="7876">
                  <c:v>5.0157088254717479</c:v>
                </c:pt>
                <c:pt idx="7877">
                  <c:v>7.2070802371702785</c:v>
                </c:pt>
                <c:pt idx="7878">
                  <c:v>6.0064579491480439</c:v>
                </c:pt>
                <c:pt idx="7879">
                  <c:v>4.8918511927941948</c:v>
                </c:pt>
                <c:pt idx="7880">
                  <c:v>6.1852909536184608</c:v>
                </c:pt>
                <c:pt idx="7881">
                  <c:v>5.0787311301863136</c:v>
                </c:pt>
                <c:pt idx="7882">
                  <c:v>4.3025892268431774</c:v>
                </c:pt>
                <c:pt idx="7883">
                  <c:v>6.0792011422963057</c:v>
                </c:pt>
                <c:pt idx="7884">
                  <c:v>4.9267250537889158</c:v>
                </c:pt>
                <c:pt idx="7885">
                  <c:v>6.046229748999127</c:v>
                </c:pt>
                <c:pt idx="7886">
                  <c:v>4.8522047802192336</c:v>
                </c:pt>
                <c:pt idx="7887">
                  <c:v>5.931988743212675</c:v>
                </c:pt>
                <c:pt idx="7888">
                  <c:v>6.0525668052441128</c:v>
                </c:pt>
                <c:pt idx="7889">
                  <c:v>6.1641192784839998</c:v>
                </c:pt>
                <c:pt idx="7890">
                  <c:v>5.0668354728955398</c:v>
                </c:pt>
                <c:pt idx="7891">
                  <c:v>4.82255501078187</c:v>
                </c:pt>
                <c:pt idx="7892">
                  <c:v>5.9196802040371548</c:v>
                </c:pt>
                <c:pt idx="7893">
                  <c:v>6.9997622155394659</c:v>
                </c:pt>
                <c:pt idx="7894">
                  <c:v>6.0920121772449445</c:v>
                </c:pt>
                <c:pt idx="7895">
                  <c:v>6.1578136188712183</c:v>
                </c:pt>
                <c:pt idx="7896">
                  <c:v>4.8239476505692416</c:v>
                </c:pt>
                <c:pt idx="7897">
                  <c:v>6.2010051872697307</c:v>
                </c:pt>
                <c:pt idx="7898">
                  <c:v>5.0307604834223643</c:v>
                </c:pt>
                <c:pt idx="7899">
                  <c:v>5.9122386557064877</c:v>
                </c:pt>
                <c:pt idx="7900">
                  <c:v>5.9240212093870275</c:v>
                </c:pt>
                <c:pt idx="7901">
                  <c:v>6.1219165239397366</c:v>
                </c:pt>
                <c:pt idx="7902">
                  <c:v>4.9253642739561556</c:v>
                </c:pt>
                <c:pt idx="7903">
                  <c:v>6.0561085044643583</c:v>
                </c:pt>
                <c:pt idx="7904">
                  <c:v>5.1839217575013086</c:v>
                </c:pt>
                <c:pt idx="7905">
                  <c:v>5.9353125938197646</c:v>
                </c:pt>
                <c:pt idx="7906">
                  <c:v>5.8908894693835911</c:v>
                </c:pt>
                <c:pt idx="7907">
                  <c:v>5.8658826338157786</c:v>
                </c:pt>
                <c:pt idx="7908">
                  <c:v>5.9141595836505996</c:v>
                </c:pt>
                <c:pt idx="7909">
                  <c:v>5.0514275707983707</c:v>
                </c:pt>
                <c:pt idx="7910">
                  <c:v>4.7526147056469341</c:v>
                </c:pt>
                <c:pt idx="7911">
                  <c:v>5.0930196939406391</c:v>
                </c:pt>
                <c:pt idx="7912">
                  <c:v>5.0972533707469578</c:v>
                </c:pt>
                <c:pt idx="7913">
                  <c:v>6.0305641211513308</c:v>
                </c:pt>
                <c:pt idx="7914">
                  <c:v>6.0084712967257241</c:v>
                </c:pt>
                <c:pt idx="7915">
                  <c:v>6.0954197614983539</c:v>
                </c:pt>
                <c:pt idx="7916">
                  <c:v>4.9236710711547804</c:v>
                </c:pt>
                <c:pt idx="7917">
                  <c:v>5.1262994990666009</c:v>
                </c:pt>
                <c:pt idx="7918">
                  <c:v>5.984417692461018</c:v>
                </c:pt>
                <c:pt idx="7919">
                  <c:v>6.009866205307862</c:v>
                </c:pt>
                <c:pt idx="7920">
                  <c:v>6.0678361988988296</c:v>
                </c:pt>
                <c:pt idx="7921">
                  <c:v>5.9948440024179606</c:v>
                </c:pt>
                <c:pt idx="7922">
                  <c:v>6.002667132740247</c:v>
                </c:pt>
                <c:pt idx="7923">
                  <c:v>5.0235236937576762</c:v>
                </c:pt>
                <c:pt idx="7924">
                  <c:v>5.9465567859366546</c:v>
                </c:pt>
                <c:pt idx="7925">
                  <c:v>5.1001798209270346</c:v>
                </c:pt>
                <c:pt idx="7926">
                  <c:v>5.8541835300262415</c:v>
                </c:pt>
                <c:pt idx="7927">
                  <c:v>6.0279416119347911</c:v>
                </c:pt>
                <c:pt idx="7928">
                  <c:v>5.9296745270702944</c:v>
                </c:pt>
                <c:pt idx="7929">
                  <c:v>5.8901513896809838</c:v>
                </c:pt>
                <c:pt idx="7930">
                  <c:v>4.994591818501088</c:v>
                </c:pt>
                <c:pt idx="7931">
                  <c:v>5.0868617348172318</c:v>
                </c:pt>
                <c:pt idx="7932">
                  <c:v>5.9786987748692884</c:v>
                </c:pt>
                <c:pt idx="7933">
                  <c:v>5.021526870870165</c:v>
                </c:pt>
                <c:pt idx="7934">
                  <c:v>6.0336358970588568</c:v>
                </c:pt>
                <c:pt idx="7935">
                  <c:v>5.8905031478424217</c:v>
                </c:pt>
                <c:pt idx="7936">
                  <c:v>5.0721383351487068</c:v>
                </c:pt>
                <c:pt idx="7937">
                  <c:v>5.9664763844255386</c:v>
                </c:pt>
                <c:pt idx="7938">
                  <c:v>5.1211768335781551</c:v>
                </c:pt>
                <c:pt idx="7939">
                  <c:v>5.8259894686571077</c:v>
                </c:pt>
                <c:pt idx="7940">
                  <c:v>3.9917334237292441</c:v>
                </c:pt>
                <c:pt idx="7941">
                  <c:v>7.0483358839324239</c:v>
                </c:pt>
                <c:pt idx="7942">
                  <c:v>5.8656890086288147</c:v>
                </c:pt>
                <c:pt idx="7943">
                  <c:v>5.9375951932068789</c:v>
                </c:pt>
                <c:pt idx="7944">
                  <c:v>4.9824617394696213</c:v>
                </c:pt>
                <c:pt idx="7945">
                  <c:v>6.1733865199471758</c:v>
                </c:pt>
                <c:pt idx="7946">
                  <c:v>4.9934238778666842</c:v>
                </c:pt>
                <c:pt idx="7947">
                  <c:v>6.086120663145107</c:v>
                </c:pt>
                <c:pt idx="7948">
                  <c:v>5.8956445426312349</c:v>
                </c:pt>
                <c:pt idx="7949">
                  <c:v>5.0815225312706032</c:v>
                </c:pt>
                <c:pt idx="7950">
                  <c:v>4.8751372687247807</c:v>
                </c:pt>
                <c:pt idx="7951">
                  <c:v>6.1220457340021204</c:v>
                </c:pt>
                <c:pt idx="7952">
                  <c:v>4.9294038025915352</c:v>
                </c:pt>
                <c:pt idx="7953">
                  <c:v>5.1244096518005566</c:v>
                </c:pt>
                <c:pt idx="7954">
                  <c:v>5.9968579264865705</c:v>
                </c:pt>
                <c:pt idx="7955">
                  <c:v>6.0846849777218548</c:v>
                </c:pt>
                <c:pt idx="7956">
                  <c:v>5.9393444613072548</c:v>
                </c:pt>
                <c:pt idx="7957">
                  <c:v>5.9046493601658696</c:v>
                </c:pt>
                <c:pt idx="7958">
                  <c:v>5.9898027667718328</c:v>
                </c:pt>
                <c:pt idx="7959">
                  <c:v>6.055856930172415</c:v>
                </c:pt>
                <c:pt idx="7960">
                  <c:v>5.9956939484517546</c:v>
                </c:pt>
                <c:pt idx="7961">
                  <c:v>6.066821159055177</c:v>
                </c:pt>
                <c:pt idx="7962">
                  <c:v>5.0829316774933551</c:v>
                </c:pt>
                <c:pt idx="7963">
                  <c:v>5.9356556622815333</c:v>
                </c:pt>
                <c:pt idx="7964">
                  <c:v>4.9246902618746295</c:v>
                </c:pt>
                <c:pt idx="7965">
                  <c:v>5.8881295358624941</c:v>
                </c:pt>
                <c:pt idx="7966">
                  <c:v>5.9200455075118645</c:v>
                </c:pt>
                <c:pt idx="7967">
                  <c:v>5.8452011647928614</c:v>
                </c:pt>
                <c:pt idx="7968">
                  <c:v>6.021930646150917</c:v>
                </c:pt>
                <c:pt idx="7969">
                  <c:v>5.0233710389508754</c:v>
                </c:pt>
                <c:pt idx="7970">
                  <c:v>5.0225014407359136</c:v>
                </c:pt>
                <c:pt idx="7971">
                  <c:v>4.8868859567002927</c:v>
                </c:pt>
                <c:pt idx="7972">
                  <c:v>5.0235708758732098</c:v>
                </c:pt>
                <c:pt idx="7973">
                  <c:v>4.9718081304605084</c:v>
                </c:pt>
                <c:pt idx="7974">
                  <c:v>6.0016820866808338</c:v>
                </c:pt>
                <c:pt idx="7975">
                  <c:v>5.8061418420198265</c:v>
                </c:pt>
                <c:pt idx="7976">
                  <c:v>5.017812658895501</c:v>
                </c:pt>
                <c:pt idx="7977">
                  <c:v>6.0197395707629031</c:v>
                </c:pt>
                <c:pt idx="7978">
                  <c:v>5.8137140871631825</c:v>
                </c:pt>
                <c:pt idx="7979">
                  <c:v>5.0570378265327509</c:v>
                </c:pt>
                <c:pt idx="7980">
                  <c:v>4.8970479437452896</c:v>
                </c:pt>
                <c:pt idx="7981">
                  <c:v>4.9382452563340795</c:v>
                </c:pt>
                <c:pt idx="7982">
                  <c:v>4.9061342007580153</c:v>
                </c:pt>
                <c:pt idx="7983">
                  <c:v>4.9099168389694583</c:v>
                </c:pt>
                <c:pt idx="7984">
                  <c:v>5.9532334360248731</c:v>
                </c:pt>
                <c:pt idx="7985">
                  <c:v>6.0351679973722376</c:v>
                </c:pt>
                <c:pt idx="7986">
                  <c:v>6.0114420407913105</c:v>
                </c:pt>
                <c:pt idx="7987">
                  <c:v>5.862964588296002</c:v>
                </c:pt>
                <c:pt idx="7988">
                  <c:v>5.1579531002086991</c:v>
                </c:pt>
                <c:pt idx="7989">
                  <c:v>6.8696869870450685</c:v>
                </c:pt>
                <c:pt idx="7990">
                  <c:v>6.0323187624523333</c:v>
                </c:pt>
                <c:pt idx="7991">
                  <c:v>4.9705162384714887</c:v>
                </c:pt>
                <c:pt idx="7992">
                  <c:v>5.1080290167979507</c:v>
                </c:pt>
                <c:pt idx="7993">
                  <c:v>6.0125484162848304</c:v>
                </c:pt>
                <c:pt idx="7994">
                  <c:v>5.9920175289599573</c:v>
                </c:pt>
                <c:pt idx="7995">
                  <c:v>4.961480067409819</c:v>
                </c:pt>
                <c:pt idx="7996">
                  <c:v>4.7516068699934983</c:v>
                </c:pt>
                <c:pt idx="7997">
                  <c:v>5.0346298374668503</c:v>
                </c:pt>
                <c:pt idx="7998">
                  <c:v>4.7800294441976776</c:v>
                </c:pt>
                <c:pt idx="7999">
                  <c:v>5.024756249230844</c:v>
                </c:pt>
                <c:pt idx="8000">
                  <c:v>6.1316276751035748</c:v>
                </c:pt>
                <c:pt idx="8001">
                  <c:v>6.1268966424937146</c:v>
                </c:pt>
                <c:pt idx="8002">
                  <c:v>6.0078557544548117</c:v>
                </c:pt>
                <c:pt idx="8003">
                  <c:v>5.9652726944625138</c:v>
                </c:pt>
                <c:pt idx="8004">
                  <c:v>5.9651469522149601</c:v>
                </c:pt>
                <c:pt idx="8005">
                  <c:v>6.1002362830672308</c:v>
                </c:pt>
                <c:pt idx="8006">
                  <c:v>4.9769249589397022</c:v>
                </c:pt>
                <c:pt idx="8007">
                  <c:v>5.1848074867902403</c:v>
                </c:pt>
                <c:pt idx="8008">
                  <c:v>4.8501860619148376</c:v>
                </c:pt>
                <c:pt idx="8009">
                  <c:v>6.0850449181532253</c:v>
                </c:pt>
                <c:pt idx="8010">
                  <c:v>5.8354167816580365</c:v>
                </c:pt>
                <c:pt idx="8011">
                  <c:v>5.7632133302665798</c:v>
                </c:pt>
                <c:pt idx="8012">
                  <c:v>7.0039449396856348</c:v>
                </c:pt>
                <c:pt idx="8013">
                  <c:v>6.084332069437103</c:v>
                </c:pt>
                <c:pt idx="8014">
                  <c:v>5.103079844865146</c:v>
                </c:pt>
                <c:pt idx="8015">
                  <c:v>5.0584267144275152</c:v>
                </c:pt>
                <c:pt idx="8016">
                  <c:v>5.9692234350089697</c:v>
                </c:pt>
                <c:pt idx="8017">
                  <c:v>6.0716418965534151</c:v>
                </c:pt>
                <c:pt idx="8018">
                  <c:v>6.1083118590034067</c:v>
                </c:pt>
                <c:pt idx="8019">
                  <c:v>4.8828580073796299</c:v>
                </c:pt>
                <c:pt idx="8020">
                  <c:v>6.0646372463743283</c:v>
                </c:pt>
                <c:pt idx="8021">
                  <c:v>4.8413885241858736</c:v>
                </c:pt>
                <c:pt idx="8022">
                  <c:v>5.0843819039669986</c:v>
                </c:pt>
                <c:pt idx="8023">
                  <c:v>6.911538352173614</c:v>
                </c:pt>
                <c:pt idx="8024">
                  <c:v>6.0559805385839445</c:v>
                </c:pt>
                <c:pt idx="8025">
                  <c:v>5.091388213873687</c:v>
                </c:pt>
                <c:pt idx="8026">
                  <c:v>4.9864954751274322</c:v>
                </c:pt>
                <c:pt idx="8027">
                  <c:v>4.8562324768585974</c:v>
                </c:pt>
                <c:pt idx="8028">
                  <c:v>5.981932531698603</c:v>
                </c:pt>
                <c:pt idx="8029">
                  <c:v>5.7625797394375802</c:v>
                </c:pt>
                <c:pt idx="8030">
                  <c:v>6.056845064679365</c:v>
                </c:pt>
                <c:pt idx="8031">
                  <c:v>5.0874121237491217</c:v>
                </c:pt>
                <c:pt idx="8032">
                  <c:v>6.0551988651474904</c:v>
                </c:pt>
                <c:pt idx="8033">
                  <c:v>5.9390900191893419</c:v>
                </c:pt>
                <c:pt idx="8034">
                  <c:v>5.0698016868831735</c:v>
                </c:pt>
                <c:pt idx="8035">
                  <c:v>5.8731415040170774</c:v>
                </c:pt>
                <c:pt idx="8036">
                  <c:v>6.0805403078172064</c:v>
                </c:pt>
                <c:pt idx="8037">
                  <c:v>4.9802781187714489</c:v>
                </c:pt>
                <c:pt idx="8038">
                  <c:v>6.0736922617109022</c:v>
                </c:pt>
                <c:pt idx="8039">
                  <c:v>5.8981549232038279</c:v>
                </c:pt>
                <c:pt idx="8040">
                  <c:v>5.0662177212583401</c:v>
                </c:pt>
                <c:pt idx="8041">
                  <c:v>5.9006229044531846</c:v>
                </c:pt>
                <c:pt idx="8042">
                  <c:v>4.9476364149060439</c:v>
                </c:pt>
                <c:pt idx="8043">
                  <c:v>5.785019123785462</c:v>
                </c:pt>
                <c:pt idx="8044">
                  <c:v>6.1104813208576827</c:v>
                </c:pt>
                <c:pt idx="8045">
                  <c:v>5.1811687193346927</c:v>
                </c:pt>
                <c:pt idx="8046">
                  <c:v>5.9510789460950502</c:v>
                </c:pt>
                <c:pt idx="8047">
                  <c:v>5.873995963423841</c:v>
                </c:pt>
                <c:pt idx="8048">
                  <c:v>5.9433055650780426</c:v>
                </c:pt>
                <c:pt idx="8049">
                  <c:v>4.9790931170013097</c:v>
                </c:pt>
                <c:pt idx="8050">
                  <c:v>4.9627291955421855</c:v>
                </c:pt>
                <c:pt idx="8051">
                  <c:v>4.9290979969623505</c:v>
                </c:pt>
                <c:pt idx="8052">
                  <c:v>6.1829462956778309</c:v>
                </c:pt>
                <c:pt idx="8053">
                  <c:v>4.9970079259859643</c:v>
                </c:pt>
                <c:pt idx="8054">
                  <c:v>5.1736804121794115</c:v>
                </c:pt>
                <c:pt idx="8055">
                  <c:v>5.1653552512760621</c:v>
                </c:pt>
                <c:pt idx="8056">
                  <c:v>5.0697763168164593</c:v>
                </c:pt>
                <c:pt idx="8057">
                  <c:v>5.9525683683929387</c:v>
                </c:pt>
                <c:pt idx="8058">
                  <c:v>6.8900974337558321</c:v>
                </c:pt>
                <c:pt idx="8059">
                  <c:v>5.9306299168225127</c:v>
                </c:pt>
                <c:pt idx="8060">
                  <c:v>6.0526223510515109</c:v>
                </c:pt>
                <c:pt idx="8061">
                  <c:v>5.0174303364502268</c:v>
                </c:pt>
                <c:pt idx="8062">
                  <c:v>5.0440988715577628</c:v>
                </c:pt>
                <c:pt idx="8063">
                  <c:v>6.0561735986028076</c:v>
                </c:pt>
                <c:pt idx="8064">
                  <c:v>4.8686501780878499</c:v>
                </c:pt>
                <c:pt idx="8065">
                  <c:v>4.9210230170246323</c:v>
                </c:pt>
                <c:pt idx="8066">
                  <c:v>5.0262890985785553</c:v>
                </c:pt>
                <c:pt idx="8067">
                  <c:v>6.0231903296519489</c:v>
                </c:pt>
                <c:pt idx="8068">
                  <c:v>4.9869320468067855</c:v>
                </c:pt>
                <c:pt idx="8069">
                  <c:v>5.943971605678338</c:v>
                </c:pt>
                <c:pt idx="8070">
                  <c:v>5.0277701680220721</c:v>
                </c:pt>
                <c:pt idx="8071">
                  <c:v>4.7482727571163865</c:v>
                </c:pt>
                <c:pt idx="8072">
                  <c:v>5.7929895867802008</c:v>
                </c:pt>
                <c:pt idx="8073">
                  <c:v>5.0366173458810257</c:v>
                </c:pt>
                <c:pt idx="8074">
                  <c:v>4.9879780130788332</c:v>
                </c:pt>
                <c:pt idx="8075">
                  <c:v>4.9225597203933047</c:v>
                </c:pt>
                <c:pt idx="8076">
                  <c:v>5.0693232082882007</c:v>
                </c:pt>
                <c:pt idx="8077">
                  <c:v>6.1740943276171745</c:v>
                </c:pt>
                <c:pt idx="8078">
                  <c:v>5.1261202531162562</c:v>
                </c:pt>
                <c:pt idx="8079">
                  <c:v>5.901836035806034</c:v>
                </c:pt>
                <c:pt idx="8080">
                  <c:v>6.0774966254836089</c:v>
                </c:pt>
                <c:pt idx="8081">
                  <c:v>7.0074786639644238</c:v>
                </c:pt>
                <c:pt idx="8082">
                  <c:v>7.0583725781668569</c:v>
                </c:pt>
                <c:pt idx="8083">
                  <c:v>6.169812463768177</c:v>
                </c:pt>
                <c:pt idx="8084">
                  <c:v>6.1004739527649212</c:v>
                </c:pt>
                <c:pt idx="8085">
                  <c:v>6.0120122759066259</c:v>
                </c:pt>
                <c:pt idx="8086">
                  <c:v>6.1080845340961174</c:v>
                </c:pt>
                <c:pt idx="8087">
                  <c:v>6.0753458747503393</c:v>
                </c:pt>
                <c:pt idx="8088">
                  <c:v>5.0471592797503106</c:v>
                </c:pt>
                <c:pt idx="8089">
                  <c:v>4.9485833335980987</c:v>
                </c:pt>
                <c:pt idx="8090">
                  <c:v>6.1456700509337896</c:v>
                </c:pt>
                <c:pt idx="8091">
                  <c:v>5.925162598222478</c:v>
                </c:pt>
                <c:pt idx="8092">
                  <c:v>5.9316546185297101</c:v>
                </c:pt>
                <c:pt idx="8093">
                  <c:v>6.1246443613558803</c:v>
                </c:pt>
                <c:pt idx="8094">
                  <c:v>4.9722992757868631</c:v>
                </c:pt>
                <c:pt idx="8095">
                  <c:v>5.9608353315988598</c:v>
                </c:pt>
                <c:pt idx="8096">
                  <c:v>5.0365366517412395</c:v>
                </c:pt>
                <c:pt idx="8097">
                  <c:v>6.1253411966496216</c:v>
                </c:pt>
                <c:pt idx="8098">
                  <c:v>5.9890675002965006</c:v>
                </c:pt>
                <c:pt idx="8099">
                  <c:v>4.9615628225583102</c:v>
                </c:pt>
                <c:pt idx="8100">
                  <c:v>4.9465637586108366</c:v>
                </c:pt>
                <c:pt idx="8101">
                  <c:v>5.9877696698738587</c:v>
                </c:pt>
                <c:pt idx="8102">
                  <c:v>4.9851130597323419</c:v>
                </c:pt>
                <c:pt idx="8103">
                  <c:v>6.0620584887312523</c:v>
                </c:pt>
                <c:pt idx="8104">
                  <c:v>5.051013576053041</c:v>
                </c:pt>
                <c:pt idx="8105">
                  <c:v>5.7126026906509777</c:v>
                </c:pt>
                <c:pt idx="8106">
                  <c:v>5.0473035426048467</c:v>
                </c:pt>
                <c:pt idx="8107">
                  <c:v>6.9535113071973429</c:v>
                </c:pt>
                <c:pt idx="8108">
                  <c:v>5.9995186564980854</c:v>
                </c:pt>
                <c:pt idx="8109">
                  <c:v>5.1486394820688721</c:v>
                </c:pt>
                <c:pt idx="8110">
                  <c:v>6.004047427206995</c:v>
                </c:pt>
                <c:pt idx="8111">
                  <c:v>6.138553871564012</c:v>
                </c:pt>
                <c:pt idx="8112">
                  <c:v>6.0289678916492031</c:v>
                </c:pt>
                <c:pt idx="8113">
                  <c:v>4.9288858408629643</c:v>
                </c:pt>
                <c:pt idx="8114">
                  <c:v>6.0855949328983225</c:v>
                </c:pt>
                <c:pt idx="8115">
                  <c:v>6.1485486165247742</c:v>
                </c:pt>
                <c:pt idx="8116">
                  <c:v>6.0264656834752728</c:v>
                </c:pt>
                <c:pt idx="8117">
                  <c:v>6.0393311458646552</c:v>
                </c:pt>
                <c:pt idx="8118">
                  <c:v>5.8392683459424273</c:v>
                </c:pt>
                <c:pt idx="8119">
                  <c:v>4.9894650299025329</c:v>
                </c:pt>
                <c:pt idx="8120">
                  <c:v>6.1845316694779253</c:v>
                </c:pt>
                <c:pt idx="8121">
                  <c:v>6.014181155220359</c:v>
                </c:pt>
                <c:pt idx="8122">
                  <c:v>5.9595810692921987</c:v>
                </c:pt>
                <c:pt idx="8123">
                  <c:v>6.0508560676038146</c:v>
                </c:pt>
                <c:pt idx="8124">
                  <c:v>4.895732420216957</c:v>
                </c:pt>
                <c:pt idx="8125">
                  <c:v>5.9485453219604487</c:v>
                </c:pt>
                <c:pt idx="8126">
                  <c:v>4.9438978128928657</c:v>
                </c:pt>
                <c:pt idx="8127">
                  <c:v>5.9921581484006454</c:v>
                </c:pt>
                <c:pt idx="8128">
                  <c:v>5.8881775272504653</c:v>
                </c:pt>
                <c:pt idx="8129">
                  <c:v>5.7565987517722279</c:v>
                </c:pt>
                <c:pt idx="8130">
                  <c:v>5.9687435914089386</c:v>
                </c:pt>
                <c:pt idx="8131">
                  <c:v>6.0718310053774518</c:v>
                </c:pt>
                <c:pt idx="8132">
                  <c:v>6.1280884696196347</c:v>
                </c:pt>
                <c:pt idx="8133">
                  <c:v>6.1263775885283565</c:v>
                </c:pt>
                <c:pt idx="8134">
                  <c:v>6.0703187879096872</c:v>
                </c:pt>
                <c:pt idx="8135">
                  <c:v>6.1093937425442348</c:v>
                </c:pt>
                <c:pt idx="8136">
                  <c:v>6.9956888426024015</c:v>
                </c:pt>
                <c:pt idx="8137">
                  <c:v>4.9430146136187716</c:v>
                </c:pt>
                <c:pt idx="8138">
                  <c:v>5.9198378514994099</c:v>
                </c:pt>
                <c:pt idx="8139">
                  <c:v>4.8348883280200896</c:v>
                </c:pt>
                <c:pt idx="8140">
                  <c:v>4.9186771936798532</c:v>
                </c:pt>
                <c:pt idx="8141">
                  <c:v>5.9067330835475831</c:v>
                </c:pt>
                <c:pt idx="8142">
                  <c:v>5.9049656070770986</c:v>
                </c:pt>
                <c:pt idx="8143">
                  <c:v>6.106505499174844</c:v>
                </c:pt>
                <c:pt idx="8144">
                  <c:v>6.0992517848939922</c:v>
                </c:pt>
                <c:pt idx="8145">
                  <c:v>6.0061718248136833</c:v>
                </c:pt>
                <c:pt idx="8146">
                  <c:v>5.9786157391724197</c:v>
                </c:pt>
                <c:pt idx="8147">
                  <c:v>5.9906645249681132</c:v>
                </c:pt>
                <c:pt idx="8148">
                  <c:v>5.0460826980643931</c:v>
                </c:pt>
                <c:pt idx="8149">
                  <c:v>6.0829030847923917</c:v>
                </c:pt>
                <c:pt idx="8150">
                  <c:v>5.0006710585377512</c:v>
                </c:pt>
                <c:pt idx="8151">
                  <c:v>4.8269524801647874</c:v>
                </c:pt>
                <c:pt idx="8152">
                  <c:v>6.0321329107615291</c:v>
                </c:pt>
                <c:pt idx="8153">
                  <c:v>5.7547946016476033</c:v>
                </c:pt>
                <c:pt idx="8154">
                  <c:v>5.9598777331451753</c:v>
                </c:pt>
                <c:pt idx="8155">
                  <c:v>6.0083822047915083</c:v>
                </c:pt>
                <c:pt idx="8156">
                  <c:v>5.910227215066044</c:v>
                </c:pt>
                <c:pt idx="8157">
                  <c:v>6.0454450471810981</c:v>
                </c:pt>
                <c:pt idx="8158">
                  <c:v>5.9603582364644749</c:v>
                </c:pt>
                <c:pt idx="8159">
                  <c:v>5.0569843804955763</c:v>
                </c:pt>
                <c:pt idx="8160">
                  <c:v>5.9530248636761849</c:v>
                </c:pt>
                <c:pt idx="8161">
                  <c:v>5.9720746868879102</c:v>
                </c:pt>
                <c:pt idx="8162">
                  <c:v>5.8698050804659259</c:v>
                </c:pt>
                <c:pt idx="8163">
                  <c:v>6.0597227678078989</c:v>
                </c:pt>
                <c:pt idx="8164">
                  <c:v>5.8153738915140876</c:v>
                </c:pt>
                <c:pt idx="8165">
                  <c:v>4.9397735425159697</c:v>
                </c:pt>
                <c:pt idx="8166">
                  <c:v>4.8878707166319018</c:v>
                </c:pt>
                <c:pt idx="8167">
                  <c:v>6.2405933162851728</c:v>
                </c:pt>
                <c:pt idx="8168">
                  <c:v>5.9981596022624011</c:v>
                </c:pt>
                <c:pt idx="8169">
                  <c:v>4.8685066696453614</c:v>
                </c:pt>
                <c:pt idx="8170">
                  <c:v>6.0942565976855088</c:v>
                </c:pt>
                <c:pt idx="8171">
                  <c:v>5.8792153205149038</c:v>
                </c:pt>
                <c:pt idx="8172">
                  <c:v>4.9146353842264476</c:v>
                </c:pt>
                <c:pt idx="8173">
                  <c:v>5.9448421448270805</c:v>
                </c:pt>
                <c:pt idx="8174">
                  <c:v>5.8030432408994015</c:v>
                </c:pt>
                <c:pt idx="8175">
                  <c:v>5.032682683394512</c:v>
                </c:pt>
                <c:pt idx="8176">
                  <c:v>5.9124389741512688</c:v>
                </c:pt>
                <c:pt idx="8177">
                  <c:v>5.9391811530197938</c:v>
                </c:pt>
                <c:pt idx="8178">
                  <c:v>5.0860693967635848</c:v>
                </c:pt>
                <c:pt idx="8179">
                  <c:v>6.0398992304898655</c:v>
                </c:pt>
                <c:pt idx="8180">
                  <c:v>4.904608129289473</c:v>
                </c:pt>
                <c:pt idx="8181">
                  <c:v>4.764256673428318</c:v>
                </c:pt>
                <c:pt idx="8182">
                  <c:v>5.9100961959753597</c:v>
                </c:pt>
                <c:pt idx="8183">
                  <c:v>5.1220194517134949</c:v>
                </c:pt>
                <c:pt idx="8184">
                  <c:v>4.9909965544247381</c:v>
                </c:pt>
                <c:pt idx="8185">
                  <c:v>4.9295633798305065</c:v>
                </c:pt>
                <c:pt idx="8186">
                  <c:v>4.9907820531071216</c:v>
                </c:pt>
                <c:pt idx="8187">
                  <c:v>6.0325880747518177</c:v>
                </c:pt>
                <c:pt idx="8188">
                  <c:v>7.2179486944092215</c:v>
                </c:pt>
                <c:pt idx="8189">
                  <c:v>4.9740249075810459</c:v>
                </c:pt>
                <c:pt idx="8190">
                  <c:v>4.9662682628268273</c:v>
                </c:pt>
                <c:pt idx="8191">
                  <c:v>6.0098869349748911</c:v>
                </c:pt>
                <c:pt idx="8192">
                  <c:v>4.9865627725461943</c:v>
                </c:pt>
                <c:pt idx="8193">
                  <c:v>6.0467166554666933</c:v>
                </c:pt>
                <c:pt idx="8194">
                  <c:v>5.8968680098165107</c:v>
                </c:pt>
                <c:pt idx="8195">
                  <c:v>5.040402956007517</c:v>
                </c:pt>
                <c:pt idx="8196">
                  <c:v>6.0192905753027039</c:v>
                </c:pt>
                <c:pt idx="8197">
                  <c:v>5.097263537664479</c:v>
                </c:pt>
                <c:pt idx="8198">
                  <c:v>6.0690630351618378</c:v>
                </c:pt>
                <c:pt idx="8199">
                  <c:v>5.9812481415622161</c:v>
                </c:pt>
                <c:pt idx="8200">
                  <c:v>5.0781770557585011</c:v>
                </c:pt>
                <c:pt idx="8201">
                  <c:v>5.0495737649288062</c:v>
                </c:pt>
                <c:pt idx="8202">
                  <c:v>4.9907449616405017</c:v>
                </c:pt>
                <c:pt idx="8203">
                  <c:v>5.1507110521358399</c:v>
                </c:pt>
                <c:pt idx="8204">
                  <c:v>6.054537375681349</c:v>
                </c:pt>
                <c:pt idx="8205">
                  <c:v>5.9476702267007298</c:v>
                </c:pt>
                <c:pt idx="8206">
                  <c:v>5.100329931350597</c:v>
                </c:pt>
                <c:pt idx="8207">
                  <c:v>6.2328641441076353</c:v>
                </c:pt>
                <c:pt idx="8208">
                  <c:v>6.1263379078968789</c:v>
                </c:pt>
                <c:pt idx="8209">
                  <c:v>6.094725728786889</c:v>
                </c:pt>
                <c:pt idx="8210">
                  <c:v>6.0360472190682586</c:v>
                </c:pt>
                <c:pt idx="8211">
                  <c:v>5.0157754672527686</c:v>
                </c:pt>
                <c:pt idx="8212">
                  <c:v>5.9463681327948015</c:v>
                </c:pt>
                <c:pt idx="8213">
                  <c:v>6.1156956673155527</c:v>
                </c:pt>
                <c:pt idx="8214">
                  <c:v>5.1944726725525836</c:v>
                </c:pt>
                <c:pt idx="8215">
                  <c:v>5.0790797571933295</c:v>
                </c:pt>
                <c:pt idx="8216">
                  <c:v>4.9293368945884648</c:v>
                </c:pt>
                <c:pt idx="8217">
                  <c:v>5.9311707622414858</c:v>
                </c:pt>
                <c:pt idx="8218">
                  <c:v>5.0188787923512894</c:v>
                </c:pt>
                <c:pt idx="8219">
                  <c:v>6.0461678928232114</c:v>
                </c:pt>
                <c:pt idx="8220">
                  <c:v>5.9901284844169727</c:v>
                </c:pt>
                <c:pt idx="8221">
                  <c:v>4.9284237696646835</c:v>
                </c:pt>
                <c:pt idx="8222">
                  <c:v>6.0946572272494857</c:v>
                </c:pt>
                <c:pt idx="8223">
                  <c:v>6.0483821877249273</c:v>
                </c:pt>
                <c:pt idx="8224">
                  <c:v>5.9851741826499669</c:v>
                </c:pt>
                <c:pt idx="8225">
                  <c:v>5.9165015326469836</c:v>
                </c:pt>
                <c:pt idx="8226">
                  <c:v>6.0842123598315778</c:v>
                </c:pt>
                <c:pt idx="8227">
                  <c:v>6.0430405886248142</c:v>
                </c:pt>
                <c:pt idx="8228">
                  <c:v>4.911026440026629</c:v>
                </c:pt>
                <c:pt idx="8229">
                  <c:v>5.958895627314539</c:v>
                </c:pt>
                <c:pt idx="8230">
                  <c:v>5.1864645820328432</c:v>
                </c:pt>
                <c:pt idx="8231">
                  <c:v>6.0034487497914242</c:v>
                </c:pt>
                <c:pt idx="8232">
                  <c:v>6.0631553408018233</c:v>
                </c:pt>
                <c:pt idx="8233">
                  <c:v>5.8628831277313846</c:v>
                </c:pt>
                <c:pt idx="8234">
                  <c:v>5.0634113707084918</c:v>
                </c:pt>
                <c:pt idx="8235">
                  <c:v>5.0310102038034374</c:v>
                </c:pt>
                <c:pt idx="8236">
                  <c:v>6.1918128142829723</c:v>
                </c:pt>
                <c:pt idx="8237">
                  <c:v>4.8917310659648106</c:v>
                </c:pt>
                <c:pt idx="8238">
                  <c:v>6.0480474972863894</c:v>
                </c:pt>
                <c:pt idx="8239">
                  <c:v>5.946405341835467</c:v>
                </c:pt>
                <c:pt idx="8240">
                  <c:v>5.876500525274535</c:v>
                </c:pt>
                <c:pt idx="8241">
                  <c:v>5.9201680616259686</c:v>
                </c:pt>
                <c:pt idx="8242">
                  <c:v>5.0488812257157107</c:v>
                </c:pt>
                <c:pt idx="8243">
                  <c:v>4.7266201043418139</c:v>
                </c:pt>
                <c:pt idx="8244">
                  <c:v>5.8111155664205008</c:v>
                </c:pt>
                <c:pt idx="8245">
                  <c:v>4.1482514212975055</c:v>
                </c:pt>
                <c:pt idx="8246">
                  <c:v>4.0122261433336641</c:v>
                </c:pt>
                <c:pt idx="8247">
                  <c:v>6.003148236492355</c:v>
                </c:pt>
                <c:pt idx="8248">
                  <c:v>5.9691457972555533</c:v>
                </c:pt>
                <c:pt idx="8249">
                  <c:v>5.0501641303270093</c:v>
                </c:pt>
                <c:pt idx="8250">
                  <c:v>5.9520158963642986</c:v>
                </c:pt>
                <c:pt idx="8251">
                  <c:v>5.1849790241906062</c:v>
                </c:pt>
                <c:pt idx="8252">
                  <c:v>5.0115783071063618</c:v>
                </c:pt>
                <c:pt idx="8253">
                  <c:v>5.8678694281858039</c:v>
                </c:pt>
                <c:pt idx="8254">
                  <c:v>5.8720064276839814</c:v>
                </c:pt>
                <c:pt idx="8255">
                  <c:v>5.2137908156677826</c:v>
                </c:pt>
                <c:pt idx="8256">
                  <c:v>5.0350829384199942</c:v>
                </c:pt>
                <c:pt idx="8257">
                  <c:v>5.8636652601549653</c:v>
                </c:pt>
                <c:pt idx="8258">
                  <c:v>5.818695341745574</c:v>
                </c:pt>
                <c:pt idx="8259">
                  <c:v>4.9033782786807736</c:v>
                </c:pt>
                <c:pt idx="8260">
                  <c:v>4.0393971943777967</c:v>
                </c:pt>
                <c:pt idx="8261">
                  <c:v>6.0644225132040379</c:v>
                </c:pt>
                <c:pt idx="8262">
                  <c:v>6.1438933647748222</c:v>
                </c:pt>
                <c:pt idx="8263">
                  <c:v>6.0463823725751267</c:v>
                </c:pt>
                <c:pt idx="8264">
                  <c:v>5.8830659571901966</c:v>
                </c:pt>
                <c:pt idx="8265">
                  <c:v>5.8410328924676325</c:v>
                </c:pt>
                <c:pt idx="8266">
                  <c:v>5.96130281973526</c:v>
                </c:pt>
                <c:pt idx="8267">
                  <c:v>5.0415619082817633</c:v>
                </c:pt>
                <c:pt idx="8268">
                  <c:v>6.0494498827466971</c:v>
                </c:pt>
                <c:pt idx="8269">
                  <c:v>6.1677685535614559</c:v>
                </c:pt>
                <c:pt idx="8270">
                  <c:v>5.8535702375880794</c:v>
                </c:pt>
                <c:pt idx="8271">
                  <c:v>4.9673988421211019</c:v>
                </c:pt>
                <c:pt idx="8272">
                  <c:v>4.97133233384295</c:v>
                </c:pt>
                <c:pt idx="8273">
                  <c:v>6.1002739073194894</c:v>
                </c:pt>
                <c:pt idx="8274">
                  <c:v>5.0316711268377787</c:v>
                </c:pt>
                <c:pt idx="8275">
                  <c:v>6.1068385069814548</c:v>
                </c:pt>
                <c:pt idx="8276">
                  <c:v>5.9848925757840039</c:v>
                </c:pt>
                <c:pt idx="8277">
                  <c:v>5.0135651355036224</c:v>
                </c:pt>
                <c:pt idx="8278">
                  <c:v>5.024766194592841</c:v>
                </c:pt>
                <c:pt idx="8279">
                  <c:v>5.1050734958804513</c:v>
                </c:pt>
                <c:pt idx="8280">
                  <c:v>5.1609417593945359</c:v>
                </c:pt>
                <c:pt idx="8281">
                  <c:v>6.1166310828816224</c:v>
                </c:pt>
                <c:pt idx="8282">
                  <c:v>4.8626522355762463</c:v>
                </c:pt>
                <c:pt idx="8283">
                  <c:v>5.0715067121670909</c:v>
                </c:pt>
                <c:pt idx="8284">
                  <c:v>5.7789965030666961</c:v>
                </c:pt>
                <c:pt idx="8285">
                  <c:v>5.0989052283168448</c:v>
                </c:pt>
                <c:pt idx="8286">
                  <c:v>4.9170142902864304</c:v>
                </c:pt>
                <c:pt idx="8287">
                  <c:v>4.9577807065437698</c:v>
                </c:pt>
                <c:pt idx="8288">
                  <c:v>5.0242006413757743</c:v>
                </c:pt>
                <c:pt idx="8289">
                  <c:v>6.0213224184235425</c:v>
                </c:pt>
                <c:pt idx="8290">
                  <c:v>4.8825302067582372</c:v>
                </c:pt>
                <c:pt idx="8291">
                  <c:v>5.9030545433257684</c:v>
                </c:pt>
                <c:pt idx="8292">
                  <c:v>6.1234618066004822</c:v>
                </c:pt>
                <c:pt idx="8293">
                  <c:v>5.1799468447858414</c:v>
                </c:pt>
                <c:pt idx="8294">
                  <c:v>5.9844061091931913</c:v>
                </c:pt>
                <c:pt idx="8295">
                  <c:v>5.9582434234595372</c:v>
                </c:pt>
                <c:pt idx="8296">
                  <c:v>6.0015556070329552</c:v>
                </c:pt>
                <c:pt idx="8297">
                  <c:v>5.051658498888445</c:v>
                </c:pt>
                <c:pt idx="8298">
                  <c:v>6.0551983495171227</c:v>
                </c:pt>
                <c:pt idx="8299">
                  <c:v>5.9084901086752044</c:v>
                </c:pt>
                <c:pt idx="8300">
                  <c:v>6.013264889790146</c:v>
                </c:pt>
                <c:pt idx="8301">
                  <c:v>4.9672084245554924</c:v>
                </c:pt>
                <c:pt idx="8302">
                  <c:v>6.105318656117185</c:v>
                </c:pt>
                <c:pt idx="8303">
                  <c:v>4.8299799287929819</c:v>
                </c:pt>
                <c:pt idx="8304">
                  <c:v>5.9539672335043923</c:v>
                </c:pt>
                <c:pt idx="8305">
                  <c:v>5.9407180713997771</c:v>
                </c:pt>
                <c:pt idx="8306">
                  <c:v>5.967362267512474</c:v>
                </c:pt>
                <c:pt idx="8307">
                  <c:v>6.1073168377391482</c:v>
                </c:pt>
                <c:pt idx="8308">
                  <c:v>6.0439293800480671</c:v>
                </c:pt>
                <c:pt idx="8309">
                  <c:v>5.0856822302436955</c:v>
                </c:pt>
                <c:pt idx="8310">
                  <c:v>6.117597844525787</c:v>
                </c:pt>
                <c:pt idx="8311">
                  <c:v>6.0164310011198632</c:v>
                </c:pt>
                <c:pt idx="8312">
                  <c:v>5.8508676929645187</c:v>
                </c:pt>
                <c:pt idx="8313">
                  <c:v>5.8022920076577478</c:v>
                </c:pt>
                <c:pt idx="8314">
                  <c:v>5.931631699864389</c:v>
                </c:pt>
                <c:pt idx="8315">
                  <c:v>5.949405970956259</c:v>
                </c:pt>
                <c:pt idx="8316">
                  <c:v>5.9088711276544839</c:v>
                </c:pt>
                <c:pt idx="8317">
                  <c:v>6.0890816909857994</c:v>
                </c:pt>
                <c:pt idx="8318">
                  <c:v>5.9191895994764208</c:v>
                </c:pt>
                <c:pt idx="8319">
                  <c:v>6.0360569296687689</c:v>
                </c:pt>
                <c:pt idx="8320">
                  <c:v>5.1274816528701637</c:v>
                </c:pt>
                <c:pt idx="8321">
                  <c:v>6.1150311934382913</c:v>
                </c:pt>
                <c:pt idx="8322">
                  <c:v>5.9721212366262506</c:v>
                </c:pt>
                <c:pt idx="8323">
                  <c:v>6.0057748080642686</c:v>
                </c:pt>
                <c:pt idx="8324">
                  <c:v>4.9975830533018764</c:v>
                </c:pt>
                <c:pt idx="8325">
                  <c:v>6.0439514867112818</c:v>
                </c:pt>
                <c:pt idx="8326">
                  <c:v>5.0254827994075741</c:v>
                </c:pt>
                <c:pt idx="8327">
                  <c:v>4.956823509775349</c:v>
                </c:pt>
                <c:pt idx="8328">
                  <c:v>6.0628524548768352</c:v>
                </c:pt>
                <c:pt idx="8329">
                  <c:v>6.0775040631188748</c:v>
                </c:pt>
                <c:pt idx="8330">
                  <c:v>5.9807209211017591</c:v>
                </c:pt>
                <c:pt idx="8331">
                  <c:v>5.9421818775043906</c:v>
                </c:pt>
                <c:pt idx="8332">
                  <c:v>5.0383285633740353</c:v>
                </c:pt>
                <c:pt idx="8333">
                  <c:v>6.0695997423545762</c:v>
                </c:pt>
                <c:pt idx="8334">
                  <c:v>4.8745859031639442</c:v>
                </c:pt>
                <c:pt idx="8335">
                  <c:v>6.0604479351890008</c:v>
                </c:pt>
                <c:pt idx="8336">
                  <c:v>5.9977071601793321</c:v>
                </c:pt>
                <c:pt idx="8337">
                  <c:v>5.9722255779114812</c:v>
                </c:pt>
                <c:pt idx="8338">
                  <c:v>6.9024080080011263</c:v>
                </c:pt>
                <c:pt idx="8339">
                  <c:v>6.9969282137367692</c:v>
                </c:pt>
                <c:pt idx="8340">
                  <c:v>5.0854687191025079</c:v>
                </c:pt>
                <c:pt idx="8341">
                  <c:v>5.0836999098375966</c:v>
                </c:pt>
                <c:pt idx="8342">
                  <c:v>4.969528669710396</c:v>
                </c:pt>
                <c:pt idx="8343">
                  <c:v>6.0352003377394166</c:v>
                </c:pt>
                <c:pt idx="8344">
                  <c:v>6.0824570544468948</c:v>
                </c:pt>
                <c:pt idx="8345">
                  <c:v>5.8829840238564213</c:v>
                </c:pt>
                <c:pt idx="8346">
                  <c:v>4.9574405744097474</c:v>
                </c:pt>
                <c:pt idx="8347">
                  <c:v>5.0755658515817936</c:v>
                </c:pt>
                <c:pt idx="8348">
                  <c:v>4.855259562307503</c:v>
                </c:pt>
                <c:pt idx="8349">
                  <c:v>6.0217987549128207</c:v>
                </c:pt>
                <c:pt idx="8350">
                  <c:v>5.9988297856030526</c:v>
                </c:pt>
                <c:pt idx="8351">
                  <c:v>5.1563048799378297</c:v>
                </c:pt>
                <c:pt idx="8352">
                  <c:v>5.9433938649393978</c:v>
                </c:pt>
                <c:pt idx="8353">
                  <c:v>6.9076510770513284</c:v>
                </c:pt>
                <c:pt idx="8354">
                  <c:v>5.8075171840040998</c:v>
                </c:pt>
                <c:pt idx="8355">
                  <c:v>6.0315544958587406</c:v>
                </c:pt>
                <c:pt idx="8356">
                  <c:v>5.0145011329794205</c:v>
                </c:pt>
                <c:pt idx="8357">
                  <c:v>6.9039166881478806</c:v>
                </c:pt>
                <c:pt idx="8358">
                  <c:v>6.0250203006964869</c:v>
                </c:pt>
                <c:pt idx="8359">
                  <c:v>8.0161164405713379</c:v>
                </c:pt>
                <c:pt idx="8360">
                  <c:v>6.0818031036852167</c:v>
                </c:pt>
                <c:pt idx="8361">
                  <c:v>4.887499664302025</c:v>
                </c:pt>
                <c:pt idx="8362">
                  <c:v>6.9313795523005615</c:v>
                </c:pt>
                <c:pt idx="8363">
                  <c:v>6.0170371838727208</c:v>
                </c:pt>
                <c:pt idx="8364">
                  <c:v>7.0802126012999738</c:v>
                </c:pt>
                <c:pt idx="8365">
                  <c:v>6.9951577281652995</c:v>
                </c:pt>
                <c:pt idx="8366">
                  <c:v>6.071619013429034</c:v>
                </c:pt>
                <c:pt idx="8367">
                  <c:v>4.9997021008144129</c:v>
                </c:pt>
                <c:pt idx="8368">
                  <c:v>4.9358564833773855</c:v>
                </c:pt>
                <c:pt idx="8369">
                  <c:v>5.0085878066907243</c:v>
                </c:pt>
                <c:pt idx="8370">
                  <c:v>6.0573320435501712</c:v>
                </c:pt>
                <c:pt idx="8371">
                  <c:v>7.1684966737004334</c:v>
                </c:pt>
                <c:pt idx="8372">
                  <c:v>5.0361709448734029</c:v>
                </c:pt>
                <c:pt idx="8373">
                  <c:v>4.9571715278883284</c:v>
                </c:pt>
                <c:pt idx="8374">
                  <c:v>5.1010918992442944</c:v>
                </c:pt>
                <c:pt idx="8375">
                  <c:v>6.0700602808607513</c:v>
                </c:pt>
                <c:pt idx="8376">
                  <c:v>4.9655565332498925</c:v>
                </c:pt>
                <c:pt idx="8377">
                  <c:v>6.0193835910008016</c:v>
                </c:pt>
                <c:pt idx="8378">
                  <c:v>5.0684851902165144</c:v>
                </c:pt>
                <c:pt idx="8379">
                  <c:v>4.8966370182114938</c:v>
                </c:pt>
                <c:pt idx="8380">
                  <c:v>6.0697033374230216</c:v>
                </c:pt>
                <c:pt idx="8381">
                  <c:v>5.0883686542445483</c:v>
                </c:pt>
                <c:pt idx="8382">
                  <c:v>6.1399870846551057</c:v>
                </c:pt>
                <c:pt idx="8383">
                  <c:v>6.1251094145456584</c:v>
                </c:pt>
                <c:pt idx="8384">
                  <c:v>4.9048432884000013</c:v>
                </c:pt>
                <c:pt idx="8385">
                  <c:v>4.8555876780388694</c:v>
                </c:pt>
                <c:pt idx="8386">
                  <c:v>4.9647016245847926</c:v>
                </c:pt>
                <c:pt idx="8387">
                  <c:v>5.9248180438453373</c:v>
                </c:pt>
                <c:pt idx="8388">
                  <c:v>6.0888091189287605</c:v>
                </c:pt>
                <c:pt idx="8389">
                  <c:v>5.0133356290977638</c:v>
                </c:pt>
                <c:pt idx="8390">
                  <c:v>6.9417349596007876</c:v>
                </c:pt>
                <c:pt idx="8391">
                  <c:v>4.8515676300715755</c:v>
                </c:pt>
                <c:pt idx="8392">
                  <c:v>5.9272430818461261</c:v>
                </c:pt>
                <c:pt idx="8393">
                  <c:v>6.168473760751513</c:v>
                </c:pt>
                <c:pt idx="8394">
                  <c:v>6.0719374331200013</c:v>
                </c:pt>
                <c:pt idx="8395">
                  <c:v>4.8745712287886676</c:v>
                </c:pt>
                <c:pt idx="8396">
                  <c:v>6.0519987591805231</c:v>
                </c:pt>
                <c:pt idx="8397">
                  <c:v>5.8966476579568363</c:v>
                </c:pt>
                <c:pt idx="8398">
                  <c:v>5.0537601494910449</c:v>
                </c:pt>
                <c:pt idx="8399">
                  <c:v>5.869660044806853</c:v>
                </c:pt>
                <c:pt idx="8400">
                  <c:v>5.0476927604804533</c:v>
                </c:pt>
                <c:pt idx="8401">
                  <c:v>4.8925944082996526</c:v>
                </c:pt>
                <c:pt idx="8402">
                  <c:v>5.0608333113695778</c:v>
                </c:pt>
                <c:pt idx="8403">
                  <c:v>5.0720184712918002</c:v>
                </c:pt>
                <c:pt idx="8404">
                  <c:v>5.135206977691154</c:v>
                </c:pt>
                <c:pt idx="8405">
                  <c:v>4.8679321091712149</c:v>
                </c:pt>
                <c:pt idx="8406">
                  <c:v>5.9523994092156709</c:v>
                </c:pt>
                <c:pt idx="8407">
                  <c:v>6.9399706974514688</c:v>
                </c:pt>
                <c:pt idx="8408">
                  <c:v>4.8810406388235243</c:v>
                </c:pt>
                <c:pt idx="8409">
                  <c:v>4.0835238100977529</c:v>
                </c:pt>
                <c:pt idx="8410">
                  <c:v>6.1266137160839236</c:v>
                </c:pt>
                <c:pt idx="8411">
                  <c:v>4.8689226380245181</c:v>
                </c:pt>
                <c:pt idx="8412">
                  <c:v>5.1828659883277526</c:v>
                </c:pt>
                <c:pt idx="8413">
                  <c:v>6.0145644683084649</c:v>
                </c:pt>
                <c:pt idx="8414">
                  <c:v>4.950551457549258</c:v>
                </c:pt>
                <c:pt idx="8415">
                  <c:v>6.1397933507809963</c:v>
                </c:pt>
                <c:pt idx="8416">
                  <c:v>6.2964407290617856</c:v>
                </c:pt>
                <c:pt idx="8417">
                  <c:v>4.7992066709613272</c:v>
                </c:pt>
                <c:pt idx="8418">
                  <c:v>3.8900535100390088</c:v>
                </c:pt>
                <c:pt idx="8419">
                  <c:v>6.0262754214102596</c:v>
                </c:pt>
                <c:pt idx="8420">
                  <c:v>5.1181390666565934</c:v>
                </c:pt>
                <c:pt idx="8421">
                  <c:v>7.0463807044342603</c:v>
                </c:pt>
                <c:pt idx="8422">
                  <c:v>5.7584213857241373</c:v>
                </c:pt>
                <c:pt idx="8423">
                  <c:v>6.1694250196514204</c:v>
                </c:pt>
                <c:pt idx="8424">
                  <c:v>4.8148200524877822</c:v>
                </c:pt>
                <c:pt idx="8425">
                  <c:v>6.1179431868459977</c:v>
                </c:pt>
                <c:pt idx="8426">
                  <c:v>5.9915284794755772</c:v>
                </c:pt>
                <c:pt idx="8427">
                  <c:v>5.0375538454487296</c:v>
                </c:pt>
                <c:pt idx="8428">
                  <c:v>5.9969964335425425</c:v>
                </c:pt>
                <c:pt idx="8429">
                  <c:v>5.0200375829902484</c:v>
                </c:pt>
                <c:pt idx="8430">
                  <c:v>4.8271393110258751</c:v>
                </c:pt>
                <c:pt idx="8431">
                  <c:v>5.9000294575267445</c:v>
                </c:pt>
                <c:pt idx="8432">
                  <c:v>6.7260455885067945</c:v>
                </c:pt>
                <c:pt idx="8433">
                  <c:v>5.8692210628372976</c:v>
                </c:pt>
                <c:pt idx="8434">
                  <c:v>5.8629277314924177</c:v>
                </c:pt>
                <c:pt idx="8435">
                  <c:v>5.0863783258574067</c:v>
                </c:pt>
                <c:pt idx="8436">
                  <c:v>5.1573212273245135</c:v>
                </c:pt>
                <c:pt idx="8437">
                  <c:v>4.9844936186214701</c:v>
                </c:pt>
                <c:pt idx="8438">
                  <c:v>4.7816578483354952</c:v>
                </c:pt>
                <c:pt idx="8439">
                  <c:v>5.9539730228955516</c:v>
                </c:pt>
                <c:pt idx="8440">
                  <c:v>7.0280855185936204</c:v>
                </c:pt>
                <c:pt idx="8441">
                  <c:v>5.0759769188738488</c:v>
                </c:pt>
                <c:pt idx="8442">
                  <c:v>4.947753908883727</c:v>
                </c:pt>
                <c:pt idx="8443">
                  <c:v>5.9164175743795191</c:v>
                </c:pt>
                <c:pt idx="8444">
                  <c:v>7.199007151072661</c:v>
                </c:pt>
                <c:pt idx="8445">
                  <c:v>6.1028715367883128</c:v>
                </c:pt>
                <c:pt idx="8446">
                  <c:v>4.9955977220519605</c:v>
                </c:pt>
                <c:pt idx="8447">
                  <c:v>5.0222017825431138</c:v>
                </c:pt>
                <c:pt idx="8448">
                  <c:v>4.9746747784339789</c:v>
                </c:pt>
                <c:pt idx="8449">
                  <c:v>6.8755659079461298</c:v>
                </c:pt>
                <c:pt idx="8450">
                  <c:v>4.9794241876066163</c:v>
                </c:pt>
                <c:pt idx="8451">
                  <c:v>4.9478154039826565</c:v>
                </c:pt>
                <c:pt idx="8452">
                  <c:v>6.0380318387086884</c:v>
                </c:pt>
                <c:pt idx="8453">
                  <c:v>5.9862745519037572</c:v>
                </c:pt>
                <c:pt idx="8454">
                  <c:v>4.9972658301704822</c:v>
                </c:pt>
                <c:pt idx="8455">
                  <c:v>7.089927392172056</c:v>
                </c:pt>
                <c:pt idx="8456">
                  <c:v>6.0247190277757534</c:v>
                </c:pt>
                <c:pt idx="8457">
                  <c:v>4.9986548256221939</c:v>
                </c:pt>
                <c:pt idx="8458">
                  <c:v>4.8390491097120689</c:v>
                </c:pt>
                <c:pt idx="8459">
                  <c:v>6.035716122251011</c:v>
                </c:pt>
                <c:pt idx="8460">
                  <c:v>5.0861412904923373</c:v>
                </c:pt>
                <c:pt idx="8461">
                  <c:v>5.9174921500095747</c:v>
                </c:pt>
                <c:pt idx="8462">
                  <c:v>5.9056484856872711</c:v>
                </c:pt>
                <c:pt idx="8463">
                  <c:v>5.0112023051003574</c:v>
                </c:pt>
                <c:pt idx="8464">
                  <c:v>5.9220935369785703</c:v>
                </c:pt>
                <c:pt idx="8465">
                  <c:v>5.9411351653439173</c:v>
                </c:pt>
                <c:pt idx="8466">
                  <c:v>6.0728718591076642</c:v>
                </c:pt>
                <c:pt idx="8467">
                  <c:v>6.0901143526020851</c:v>
                </c:pt>
                <c:pt idx="8468">
                  <c:v>4.99477461420806</c:v>
                </c:pt>
                <c:pt idx="8469">
                  <c:v>6.9704571303990672</c:v>
                </c:pt>
                <c:pt idx="8470">
                  <c:v>4.8916165522427457</c:v>
                </c:pt>
                <c:pt idx="8471">
                  <c:v>5.957532193915867</c:v>
                </c:pt>
                <c:pt idx="8472">
                  <c:v>5.0945851061254164</c:v>
                </c:pt>
                <c:pt idx="8473">
                  <c:v>4.8957330816301399</c:v>
                </c:pt>
                <c:pt idx="8474">
                  <c:v>7.2480247429899567</c:v>
                </c:pt>
                <c:pt idx="8475">
                  <c:v>5.0032820114672205</c:v>
                </c:pt>
                <c:pt idx="8476">
                  <c:v>5.1760114915091036</c:v>
                </c:pt>
                <c:pt idx="8477">
                  <c:v>4.8531420505292697</c:v>
                </c:pt>
                <c:pt idx="8478">
                  <c:v>5.9059235605526563</c:v>
                </c:pt>
                <c:pt idx="8479">
                  <c:v>6.8915612739229202</c:v>
                </c:pt>
                <c:pt idx="8480">
                  <c:v>6.057426405132956</c:v>
                </c:pt>
                <c:pt idx="8481">
                  <c:v>5.9952644698700759</c:v>
                </c:pt>
                <c:pt idx="8482">
                  <c:v>6.0542105534794421</c:v>
                </c:pt>
                <c:pt idx="8483">
                  <c:v>5.0348997772733091</c:v>
                </c:pt>
                <c:pt idx="8484">
                  <c:v>5.0052852567145969</c:v>
                </c:pt>
                <c:pt idx="8485">
                  <c:v>4.955046867032725</c:v>
                </c:pt>
                <c:pt idx="8486">
                  <c:v>5.1044850954708707</c:v>
                </c:pt>
                <c:pt idx="8487">
                  <c:v>7.0354745272928536</c:v>
                </c:pt>
                <c:pt idx="8488">
                  <c:v>4.9882410729916522</c:v>
                </c:pt>
                <c:pt idx="8489">
                  <c:v>6.1301897235737721</c:v>
                </c:pt>
                <c:pt idx="8490">
                  <c:v>6.1321000812719682</c:v>
                </c:pt>
                <c:pt idx="8491">
                  <c:v>7.0631491197493759</c:v>
                </c:pt>
                <c:pt idx="8492">
                  <c:v>5.0071907716956581</c:v>
                </c:pt>
                <c:pt idx="8493">
                  <c:v>6.9550331322446617</c:v>
                </c:pt>
                <c:pt idx="8494">
                  <c:v>5.9509086869235883</c:v>
                </c:pt>
                <c:pt idx="8495">
                  <c:v>6.0276186071042925</c:v>
                </c:pt>
                <c:pt idx="8496">
                  <c:v>4.8626922835793449</c:v>
                </c:pt>
                <c:pt idx="8497">
                  <c:v>4.9196893040611211</c:v>
                </c:pt>
                <c:pt idx="8498">
                  <c:v>5.869682086466713</c:v>
                </c:pt>
                <c:pt idx="8499">
                  <c:v>5.8621610564127682</c:v>
                </c:pt>
                <c:pt idx="8500">
                  <c:v>6.065741953203756</c:v>
                </c:pt>
                <c:pt idx="8501">
                  <c:v>5.0894101952771997</c:v>
                </c:pt>
                <c:pt idx="8502">
                  <c:v>6.0100293631448665</c:v>
                </c:pt>
                <c:pt idx="8503">
                  <c:v>5.9338840230283223</c:v>
                </c:pt>
                <c:pt idx="8504">
                  <c:v>5.9480451451567413</c:v>
                </c:pt>
                <c:pt idx="8505">
                  <c:v>5.0253019955808664</c:v>
                </c:pt>
                <c:pt idx="8506">
                  <c:v>6.0494572754017053</c:v>
                </c:pt>
                <c:pt idx="8507">
                  <c:v>7.1222097946486871</c:v>
                </c:pt>
                <c:pt idx="8508">
                  <c:v>5.9829561160198166</c:v>
                </c:pt>
                <c:pt idx="8509">
                  <c:v>5.1580939563460904</c:v>
                </c:pt>
                <c:pt idx="8510">
                  <c:v>5.9887823372651461</c:v>
                </c:pt>
                <c:pt idx="8511">
                  <c:v>4.8725516509146294</c:v>
                </c:pt>
                <c:pt idx="8512">
                  <c:v>4.9569866934828175</c:v>
                </c:pt>
                <c:pt idx="8513">
                  <c:v>5.1396920501312273</c:v>
                </c:pt>
                <c:pt idx="8514">
                  <c:v>5.7491350238568799</c:v>
                </c:pt>
                <c:pt idx="8515">
                  <c:v>5.8316753543084872</c:v>
                </c:pt>
                <c:pt idx="8516">
                  <c:v>5.0139568398412244</c:v>
                </c:pt>
                <c:pt idx="8517">
                  <c:v>5.9483319156801349</c:v>
                </c:pt>
                <c:pt idx="8518">
                  <c:v>5.0520403027584102</c:v>
                </c:pt>
                <c:pt idx="8519">
                  <c:v>5.9394605026246916</c:v>
                </c:pt>
                <c:pt idx="8520">
                  <c:v>5.8122286082138315</c:v>
                </c:pt>
                <c:pt idx="8521">
                  <c:v>5.1053903529855784</c:v>
                </c:pt>
                <c:pt idx="8522">
                  <c:v>5.88093680910346</c:v>
                </c:pt>
                <c:pt idx="8523">
                  <c:v>5.9436708520492232</c:v>
                </c:pt>
                <c:pt idx="8524">
                  <c:v>5.0166028619299121</c:v>
                </c:pt>
                <c:pt idx="8525">
                  <c:v>6.0750062573110943</c:v>
                </c:pt>
                <c:pt idx="8526">
                  <c:v>6.2196592686157999</c:v>
                </c:pt>
                <c:pt idx="8527">
                  <c:v>4.9125818249519391</c:v>
                </c:pt>
                <c:pt idx="8528">
                  <c:v>5.7757698626418783</c:v>
                </c:pt>
                <c:pt idx="8529">
                  <c:v>6.0608404896367079</c:v>
                </c:pt>
                <c:pt idx="8530">
                  <c:v>4.7927533100535715</c:v>
                </c:pt>
                <c:pt idx="8531">
                  <c:v>5.9031604303762384</c:v>
                </c:pt>
                <c:pt idx="8532">
                  <c:v>5.9574479208324247</c:v>
                </c:pt>
                <c:pt idx="8533">
                  <c:v>6.1574503379014285</c:v>
                </c:pt>
                <c:pt idx="8534">
                  <c:v>6.0606048711841209</c:v>
                </c:pt>
                <c:pt idx="8535">
                  <c:v>4.9533925321028613</c:v>
                </c:pt>
                <c:pt idx="8536">
                  <c:v>6.1022201325218486</c:v>
                </c:pt>
                <c:pt idx="8537">
                  <c:v>5.9449770259181278</c:v>
                </c:pt>
                <c:pt idx="8538">
                  <c:v>5.9560696057632425</c:v>
                </c:pt>
                <c:pt idx="8539">
                  <c:v>6.0123837565117757</c:v>
                </c:pt>
                <c:pt idx="8540">
                  <c:v>6.0404503470295925</c:v>
                </c:pt>
                <c:pt idx="8541">
                  <c:v>5.0311850150327979</c:v>
                </c:pt>
                <c:pt idx="8542">
                  <c:v>4.8491887394080715</c:v>
                </c:pt>
                <c:pt idx="8543">
                  <c:v>4.8641093543547393</c:v>
                </c:pt>
                <c:pt idx="8544">
                  <c:v>5.0680399102313398</c:v>
                </c:pt>
                <c:pt idx="8545">
                  <c:v>5.0205058813279742</c:v>
                </c:pt>
                <c:pt idx="8546">
                  <c:v>5.1412044160518153</c:v>
                </c:pt>
                <c:pt idx="8547">
                  <c:v>6.9891059872612127</c:v>
                </c:pt>
                <c:pt idx="8548">
                  <c:v>4.7801500537714041</c:v>
                </c:pt>
                <c:pt idx="8549">
                  <c:v>5.9210586381306953</c:v>
                </c:pt>
                <c:pt idx="8550">
                  <c:v>4.8638144609490226</c:v>
                </c:pt>
                <c:pt idx="8551">
                  <c:v>6.0002482985687422</c:v>
                </c:pt>
                <c:pt idx="8552">
                  <c:v>4.8210883674399492</c:v>
                </c:pt>
                <c:pt idx="8553">
                  <c:v>5.9901104151713014</c:v>
                </c:pt>
                <c:pt idx="8554">
                  <c:v>5.9613952605016634</c:v>
                </c:pt>
                <c:pt idx="8555">
                  <c:v>5.9388808969937132</c:v>
                </c:pt>
                <c:pt idx="8556">
                  <c:v>6.0982607688891086</c:v>
                </c:pt>
                <c:pt idx="8557">
                  <c:v>5.0449442335643857</c:v>
                </c:pt>
                <c:pt idx="8558">
                  <c:v>6.0180041620698255</c:v>
                </c:pt>
                <c:pt idx="8559">
                  <c:v>6.929556398547299</c:v>
                </c:pt>
                <c:pt idx="8560">
                  <c:v>6.8875017197644999</c:v>
                </c:pt>
                <c:pt idx="8561">
                  <c:v>5.9047900510768034</c:v>
                </c:pt>
                <c:pt idx="8562">
                  <c:v>5.9487223407979677</c:v>
                </c:pt>
                <c:pt idx="8563">
                  <c:v>5.7826124510860231</c:v>
                </c:pt>
                <c:pt idx="8564">
                  <c:v>6.0989019644425948</c:v>
                </c:pt>
                <c:pt idx="8565">
                  <c:v>5.7743466377492929</c:v>
                </c:pt>
                <c:pt idx="8566">
                  <c:v>5.1585015571284378</c:v>
                </c:pt>
                <c:pt idx="8567">
                  <c:v>7.0375009328504845</c:v>
                </c:pt>
                <c:pt idx="8568">
                  <c:v>6.0289355628872823</c:v>
                </c:pt>
                <c:pt idx="8569">
                  <c:v>5.017452815858797</c:v>
                </c:pt>
                <c:pt idx="8570">
                  <c:v>6.9290530411709792</c:v>
                </c:pt>
                <c:pt idx="8571">
                  <c:v>5.8184739555928324</c:v>
                </c:pt>
                <c:pt idx="8572">
                  <c:v>5.9809417238868141</c:v>
                </c:pt>
                <c:pt idx="8573">
                  <c:v>6.992131138200353</c:v>
                </c:pt>
                <c:pt idx="8574">
                  <c:v>6.9407033552503181</c:v>
                </c:pt>
                <c:pt idx="8575">
                  <c:v>4.8624676122513586</c:v>
                </c:pt>
                <c:pt idx="8576">
                  <c:v>5.9378672015740301</c:v>
                </c:pt>
                <c:pt idx="8577">
                  <c:v>4.9511479679543617</c:v>
                </c:pt>
                <c:pt idx="8578">
                  <c:v>5.9286127924321299</c:v>
                </c:pt>
                <c:pt idx="8579">
                  <c:v>5.9710268131083311</c:v>
                </c:pt>
                <c:pt idx="8580">
                  <c:v>6.0184441062303442</c:v>
                </c:pt>
                <c:pt idx="8581">
                  <c:v>4.9185985105511421</c:v>
                </c:pt>
                <c:pt idx="8582">
                  <c:v>5.0014592926313179</c:v>
                </c:pt>
                <c:pt idx="8583">
                  <c:v>5.9964212121604978</c:v>
                </c:pt>
                <c:pt idx="8584">
                  <c:v>5.1077308589513892</c:v>
                </c:pt>
                <c:pt idx="8585">
                  <c:v>4.900700139080798</c:v>
                </c:pt>
                <c:pt idx="8586">
                  <c:v>5.9230946453366222</c:v>
                </c:pt>
                <c:pt idx="8587">
                  <c:v>4.9326291169248186</c:v>
                </c:pt>
                <c:pt idx="8588">
                  <c:v>5.9503585484285137</c:v>
                </c:pt>
                <c:pt idx="8589">
                  <c:v>4.9339476640000699</c:v>
                </c:pt>
                <c:pt idx="8590">
                  <c:v>4.8793195426325209</c:v>
                </c:pt>
                <c:pt idx="8591">
                  <c:v>4.8313362975865504</c:v>
                </c:pt>
                <c:pt idx="8592">
                  <c:v>6.0233387591728356</c:v>
                </c:pt>
                <c:pt idx="8593">
                  <c:v>5.9771513796506435</c:v>
                </c:pt>
                <c:pt idx="8594">
                  <c:v>6.1422134121900349</c:v>
                </c:pt>
                <c:pt idx="8595">
                  <c:v>6.0671391626813991</c:v>
                </c:pt>
                <c:pt idx="8596">
                  <c:v>5.8238988564443597</c:v>
                </c:pt>
                <c:pt idx="8597">
                  <c:v>5.9535872782915407</c:v>
                </c:pt>
                <c:pt idx="8598">
                  <c:v>4.8916242614744094</c:v>
                </c:pt>
                <c:pt idx="8599">
                  <c:v>5.0683839218903897</c:v>
                </c:pt>
                <c:pt idx="8600">
                  <c:v>5.0886610095048415</c:v>
                </c:pt>
                <c:pt idx="8601">
                  <c:v>5.868133008005251</c:v>
                </c:pt>
                <c:pt idx="8602">
                  <c:v>4.8752089656322797</c:v>
                </c:pt>
                <c:pt idx="8603">
                  <c:v>4.9801703881267514</c:v>
                </c:pt>
                <c:pt idx="8604">
                  <c:v>5.047379651504845</c:v>
                </c:pt>
                <c:pt idx="8605">
                  <c:v>5.9541885259007961</c:v>
                </c:pt>
                <c:pt idx="8606">
                  <c:v>6.0847925033940298</c:v>
                </c:pt>
                <c:pt idx="8607">
                  <c:v>6.1556174026480823</c:v>
                </c:pt>
                <c:pt idx="8608">
                  <c:v>5.9962602955619992</c:v>
                </c:pt>
                <c:pt idx="8609">
                  <c:v>4.7409337947665042</c:v>
                </c:pt>
                <c:pt idx="8610">
                  <c:v>5.0173343509421207</c:v>
                </c:pt>
                <c:pt idx="8611">
                  <c:v>5.9509534591893782</c:v>
                </c:pt>
                <c:pt idx="8612">
                  <c:v>6.0307781490331331</c:v>
                </c:pt>
                <c:pt idx="8613">
                  <c:v>6.1385520830172489</c:v>
                </c:pt>
                <c:pt idx="8614">
                  <c:v>6.0843995555632828</c:v>
                </c:pt>
                <c:pt idx="8615">
                  <c:v>4.9893033416304355</c:v>
                </c:pt>
                <c:pt idx="8616">
                  <c:v>5.993210090426266</c:v>
                </c:pt>
                <c:pt idx="8617">
                  <c:v>5.8275630116927291</c:v>
                </c:pt>
                <c:pt idx="8618">
                  <c:v>6.0822023407569867</c:v>
                </c:pt>
                <c:pt idx="8619">
                  <c:v>6.2093786217615614</c:v>
                </c:pt>
                <c:pt idx="8620">
                  <c:v>6.0873942007253579</c:v>
                </c:pt>
                <c:pt idx="8621">
                  <c:v>5.958363090853493</c:v>
                </c:pt>
                <c:pt idx="8622">
                  <c:v>6.1819297956984451</c:v>
                </c:pt>
                <c:pt idx="8623">
                  <c:v>5.1545246526787514</c:v>
                </c:pt>
                <c:pt idx="8624">
                  <c:v>6.1228947717505156</c:v>
                </c:pt>
                <c:pt idx="8625">
                  <c:v>3.8705533601701667</c:v>
                </c:pt>
                <c:pt idx="8626">
                  <c:v>5.8907487949490349</c:v>
                </c:pt>
                <c:pt idx="8627">
                  <c:v>3.9581518476929074</c:v>
                </c:pt>
                <c:pt idx="8628">
                  <c:v>4.9973305855970596</c:v>
                </c:pt>
                <c:pt idx="8629">
                  <c:v>4.8562839530065007</c:v>
                </c:pt>
                <c:pt idx="8630">
                  <c:v>6.0342497392589376</c:v>
                </c:pt>
                <c:pt idx="8631">
                  <c:v>5.1444344364263968</c:v>
                </c:pt>
                <c:pt idx="8632">
                  <c:v>5.0135507553576337</c:v>
                </c:pt>
                <c:pt idx="8633">
                  <c:v>5.0184820779842703</c:v>
                </c:pt>
                <c:pt idx="8634">
                  <c:v>5.95528005533897</c:v>
                </c:pt>
                <c:pt idx="8635">
                  <c:v>5.1872344375186108</c:v>
                </c:pt>
                <c:pt idx="8636">
                  <c:v>5.95584709534839</c:v>
                </c:pt>
                <c:pt idx="8637">
                  <c:v>5.9773375249643577</c:v>
                </c:pt>
                <c:pt idx="8638">
                  <c:v>4.9987895675907552</c:v>
                </c:pt>
                <c:pt idx="8639">
                  <c:v>5.0554859135195276</c:v>
                </c:pt>
                <c:pt idx="8640">
                  <c:v>5.1284486106839378</c:v>
                </c:pt>
                <c:pt idx="8641">
                  <c:v>5.9187635528354097</c:v>
                </c:pt>
                <c:pt idx="8642">
                  <c:v>6.0401102575647414</c:v>
                </c:pt>
                <c:pt idx="8643">
                  <c:v>6.2382700098573434</c:v>
                </c:pt>
                <c:pt idx="8644">
                  <c:v>5.9483781355933045</c:v>
                </c:pt>
                <c:pt idx="8645">
                  <c:v>5.92315099886223</c:v>
                </c:pt>
                <c:pt idx="8646">
                  <c:v>6.0536298071858869</c:v>
                </c:pt>
                <c:pt idx="8647">
                  <c:v>4.925184013996037</c:v>
                </c:pt>
                <c:pt idx="8648">
                  <c:v>6.1382335739421396</c:v>
                </c:pt>
                <c:pt idx="8649">
                  <c:v>5.9769882454314143</c:v>
                </c:pt>
                <c:pt idx="8650">
                  <c:v>5.2120347337745265</c:v>
                </c:pt>
                <c:pt idx="8651">
                  <c:v>5.7997625271751474</c:v>
                </c:pt>
                <c:pt idx="8652">
                  <c:v>6.1054279427430345</c:v>
                </c:pt>
                <c:pt idx="8653">
                  <c:v>5.9907758332111962</c:v>
                </c:pt>
                <c:pt idx="8654">
                  <c:v>5.019051008754766</c:v>
                </c:pt>
                <c:pt idx="8655">
                  <c:v>5.0440730930592315</c:v>
                </c:pt>
                <c:pt idx="8656">
                  <c:v>4.9065353737814483</c:v>
                </c:pt>
                <c:pt idx="8657">
                  <c:v>6.0416410880671947</c:v>
                </c:pt>
                <c:pt idx="8658">
                  <c:v>6.0350703922922149</c:v>
                </c:pt>
                <c:pt idx="8659">
                  <c:v>4.9333776203696651</c:v>
                </c:pt>
                <c:pt idx="8660">
                  <c:v>6.2218547562967386</c:v>
                </c:pt>
                <c:pt idx="8661">
                  <c:v>6.0414465260995218</c:v>
                </c:pt>
                <c:pt idx="8662">
                  <c:v>6.0488575517084575</c:v>
                </c:pt>
                <c:pt idx="8663">
                  <c:v>6.0075321424498371</c:v>
                </c:pt>
                <c:pt idx="8664">
                  <c:v>4.9850299860935241</c:v>
                </c:pt>
                <c:pt idx="8665">
                  <c:v>7.07876628249217</c:v>
                </c:pt>
                <c:pt idx="8666">
                  <c:v>5.8820148425571208</c:v>
                </c:pt>
                <c:pt idx="8667">
                  <c:v>6.0431323023552652</c:v>
                </c:pt>
                <c:pt idx="8668">
                  <c:v>5.9143244638126538</c:v>
                </c:pt>
                <c:pt idx="8669">
                  <c:v>6.9478175409705658</c:v>
                </c:pt>
                <c:pt idx="8670">
                  <c:v>6.0543076176858506</c:v>
                </c:pt>
                <c:pt idx="8671">
                  <c:v>5.8653789420236375</c:v>
                </c:pt>
                <c:pt idx="8672">
                  <c:v>5.0893853893104053</c:v>
                </c:pt>
                <c:pt idx="8673">
                  <c:v>5.9073699102402371</c:v>
                </c:pt>
                <c:pt idx="8674">
                  <c:v>4.953087101344833</c:v>
                </c:pt>
                <c:pt idx="8675">
                  <c:v>5.8887192381777806</c:v>
                </c:pt>
                <c:pt idx="8676">
                  <c:v>5.8742626206037682</c:v>
                </c:pt>
                <c:pt idx="8677">
                  <c:v>6.0596234434833969</c:v>
                </c:pt>
                <c:pt idx="8678">
                  <c:v>6.0926463908066228</c:v>
                </c:pt>
                <c:pt idx="8679">
                  <c:v>4.9139183759319272</c:v>
                </c:pt>
                <c:pt idx="8680">
                  <c:v>4.8092725837128043</c:v>
                </c:pt>
                <c:pt idx="8681">
                  <c:v>5.9250031964894827</c:v>
                </c:pt>
                <c:pt idx="8682">
                  <c:v>7.2536942339240156</c:v>
                </c:pt>
                <c:pt idx="8683">
                  <c:v>5.8946551710303803</c:v>
                </c:pt>
                <c:pt idx="8684">
                  <c:v>6.0057955267584582</c:v>
                </c:pt>
                <c:pt idx="8685">
                  <c:v>6.0374484794512151</c:v>
                </c:pt>
                <c:pt idx="8686">
                  <c:v>5.0164125271849951</c:v>
                </c:pt>
                <c:pt idx="8687">
                  <c:v>4.8747725650489082</c:v>
                </c:pt>
                <c:pt idx="8688">
                  <c:v>5.0111548548642428</c:v>
                </c:pt>
                <c:pt idx="8689">
                  <c:v>6.0677613747007477</c:v>
                </c:pt>
                <c:pt idx="8690">
                  <c:v>6.0849809899102691</c:v>
                </c:pt>
                <c:pt idx="8691">
                  <c:v>6.0138145481798766</c:v>
                </c:pt>
                <c:pt idx="8692">
                  <c:v>5.0262065874220339</c:v>
                </c:pt>
                <c:pt idx="8693">
                  <c:v>6.0483182215904439</c:v>
                </c:pt>
                <c:pt idx="8694">
                  <c:v>5.8648152414103825</c:v>
                </c:pt>
                <c:pt idx="8695">
                  <c:v>6.0426848768789707</c:v>
                </c:pt>
                <c:pt idx="8696">
                  <c:v>5.9911409596000977</c:v>
                </c:pt>
                <c:pt idx="8697">
                  <c:v>4.8909034080435969</c:v>
                </c:pt>
                <c:pt idx="8698">
                  <c:v>5.9474943011356602</c:v>
                </c:pt>
                <c:pt idx="8699">
                  <c:v>4.9930257470703516</c:v>
                </c:pt>
                <c:pt idx="8700">
                  <c:v>6.0156267277643183</c:v>
                </c:pt>
                <c:pt idx="8701">
                  <c:v>4.8875072912373918</c:v>
                </c:pt>
                <c:pt idx="8702">
                  <c:v>5.9779436582639915</c:v>
                </c:pt>
                <c:pt idx="8703">
                  <c:v>5.8418072274701096</c:v>
                </c:pt>
                <c:pt idx="8704">
                  <c:v>5.0669583857191967</c:v>
                </c:pt>
                <c:pt idx="8705">
                  <c:v>4.9924745732745981</c:v>
                </c:pt>
                <c:pt idx="8706">
                  <c:v>6.0969154508043495</c:v>
                </c:pt>
                <c:pt idx="8707">
                  <c:v>5.0988492490616215</c:v>
                </c:pt>
                <c:pt idx="8708">
                  <c:v>5.8918431829983273</c:v>
                </c:pt>
                <c:pt idx="8709">
                  <c:v>5.8337357658711886</c:v>
                </c:pt>
                <c:pt idx="8710">
                  <c:v>5.9424382532099731</c:v>
                </c:pt>
                <c:pt idx="8711">
                  <c:v>5.8910263641353255</c:v>
                </c:pt>
                <c:pt idx="8712">
                  <c:v>6.8254504818670556</c:v>
                </c:pt>
                <c:pt idx="8713">
                  <c:v>7.0788322979188747</c:v>
                </c:pt>
                <c:pt idx="8714">
                  <c:v>4.8840959805100219</c:v>
                </c:pt>
                <c:pt idx="8715">
                  <c:v>4.8771433669937148</c:v>
                </c:pt>
                <c:pt idx="8716">
                  <c:v>5.1111986753938536</c:v>
                </c:pt>
                <c:pt idx="8717">
                  <c:v>4.8296682959213983</c:v>
                </c:pt>
                <c:pt idx="8718">
                  <c:v>5.019887631716152</c:v>
                </c:pt>
                <c:pt idx="8719">
                  <c:v>5.862446686844585</c:v>
                </c:pt>
                <c:pt idx="8720">
                  <c:v>5.2247968901342245</c:v>
                </c:pt>
                <c:pt idx="8721">
                  <c:v>5.9803025499358462</c:v>
                </c:pt>
                <c:pt idx="8722">
                  <c:v>5.9979240286093365</c:v>
                </c:pt>
                <c:pt idx="8723">
                  <c:v>5.0025799080902074</c:v>
                </c:pt>
                <c:pt idx="8724">
                  <c:v>5.0287215180118991</c:v>
                </c:pt>
                <c:pt idx="8725">
                  <c:v>6.0740758187940278</c:v>
                </c:pt>
                <c:pt idx="8726">
                  <c:v>5.9899739486462433</c:v>
                </c:pt>
                <c:pt idx="8727">
                  <c:v>6.0811982517110525</c:v>
                </c:pt>
                <c:pt idx="8728">
                  <c:v>6.0828060194702402</c:v>
                </c:pt>
                <c:pt idx="8729">
                  <c:v>4.9520715600068401</c:v>
                </c:pt>
                <c:pt idx="8730">
                  <c:v>5.0866395580895656</c:v>
                </c:pt>
                <c:pt idx="8731">
                  <c:v>4.7938340760952682</c:v>
                </c:pt>
                <c:pt idx="8732">
                  <c:v>5.2833510162991093</c:v>
                </c:pt>
                <c:pt idx="8733">
                  <c:v>4.9470115734526239</c:v>
                </c:pt>
                <c:pt idx="8734">
                  <c:v>6.7908593530327686</c:v>
                </c:pt>
                <c:pt idx="8735">
                  <c:v>5.9405080109278892</c:v>
                </c:pt>
                <c:pt idx="8736">
                  <c:v>5.089007320914579</c:v>
                </c:pt>
                <c:pt idx="8737">
                  <c:v>6.0019491325629222</c:v>
                </c:pt>
                <c:pt idx="8738">
                  <c:v>4.989596858800553</c:v>
                </c:pt>
                <c:pt idx="8739">
                  <c:v>5.0301678715493656</c:v>
                </c:pt>
                <c:pt idx="8740">
                  <c:v>4.9767511993538145</c:v>
                </c:pt>
                <c:pt idx="8741">
                  <c:v>6.0474088616342714</c:v>
                </c:pt>
                <c:pt idx="8742">
                  <c:v>6.042191388702947</c:v>
                </c:pt>
                <c:pt idx="8743">
                  <c:v>5.9217643426612669</c:v>
                </c:pt>
                <c:pt idx="8744">
                  <c:v>6.1419457391407812</c:v>
                </c:pt>
                <c:pt idx="8745">
                  <c:v>5.0444963002974266</c:v>
                </c:pt>
                <c:pt idx="8746">
                  <c:v>5.9306631129215663</c:v>
                </c:pt>
                <c:pt idx="8747">
                  <c:v>5.9132623569798906</c:v>
                </c:pt>
                <c:pt idx="8748">
                  <c:v>4.9852756042166204</c:v>
                </c:pt>
                <c:pt idx="8749">
                  <c:v>5.8714622415564017</c:v>
                </c:pt>
                <c:pt idx="8750">
                  <c:v>6.2289211797650363</c:v>
                </c:pt>
                <c:pt idx="8751">
                  <c:v>5.9844654473586605</c:v>
                </c:pt>
                <c:pt idx="8752">
                  <c:v>5.9291255170167769</c:v>
                </c:pt>
                <c:pt idx="8753">
                  <c:v>5.8813900876621865</c:v>
                </c:pt>
                <c:pt idx="8754">
                  <c:v>5.1219609232308816</c:v>
                </c:pt>
                <c:pt idx="8755">
                  <c:v>4.9453285543364212</c:v>
                </c:pt>
                <c:pt idx="8756">
                  <c:v>6.0189080672336663</c:v>
                </c:pt>
                <c:pt idx="8757">
                  <c:v>5.9421789078271683</c:v>
                </c:pt>
                <c:pt idx="8758">
                  <c:v>4.8970356979421732</c:v>
                </c:pt>
                <c:pt idx="8759">
                  <c:v>6.8773255983059194</c:v>
                </c:pt>
                <c:pt idx="8760">
                  <c:v>5.9695040710112135</c:v>
                </c:pt>
                <c:pt idx="8761">
                  <c:v>6.14962817211428</c:v>
                </c:pt>
                <c:pt idx="8762">
                  <c:v>4.9819399076926256</c:v>
                </c:pt>
                <c:pt idx="8763">
                  <c:v>5.9652062325366852</c:v>
                </c:pt>
                <c:pt idx="8764">
                  <c:v>5.1624853106710216</c:v>
                </c:pt>
                <c:pt idx="8765">
                  <c:v>4.8096400088246662</c:v>
                </c:pt>
                <c:pt idx="8766">
                  <c:v>3.9514521768821487</c:v>
                </c:pt>
                <c:pt idx="8767">
                  <c:v>5.9764553667764062</c:v>
                </c:pt>
                <c:pt idx="8768">
                  <c:v>4.8735824614327798</c:v>
                </c:pt>
                <c:pt idx="8769">
                  <c:v>4.9811409956019279</c:v>
                </c:pt>
                <c:pt idx="8770">
                  <c:v>6.1105470334615504</c:v>
                </c:pt>
                <c:pt idx="8771">
                  <c:v>3.9865194874625054</c:v>
                </c:pt>
                <c:pt idx="8772">
                  <c:v>6.0771009281107959</c:v>
                </c:pt>
                <c:pt idx="8773">
                  <c:v>5.9516119829768446</c:v>
                </c:pt>
                <c:pt idx="8774">
                  <c:v>5.9055736914106527</c:v>
                </c:pt>
                <c:pt idx="8775">
                  <c:v>4.8780950864683756</c:v>
                </c:pt>
                <c:pt idx="8776">
                  <c:v>5.9083301562604822</c:v>
                </c:pt>
                <c:pt idx="8777">
                  <c:v>4.9785285323346633</c:v>
                </c:pt>
                <c:pt idx="8778">
                  <c:v>6.0024123375132055</c:v>
                </c:pt>
                <c:pt idx="8779">
                  <c:v>5.0007987432760297</c:v>
                </c:pt>
                <c:pt idx="8780">
                  <c:v>5.0235542967704463</c:v>
                </c:pt>
                <c:pt idx="8781">
                  <c:v>5.0163850502131515</c:v>
                </c:pt>
                <c:pt idx="8782">
                  <c:v>4.9655277212367244</c:v>
                </c:pt>
                <c:pt idx="8783">
                  <c:v>4.9767737484589576</c:v>
                </c:pt>
                <c:pt idx="8784">
                  <c:v>5.0433075986582923</c:v>
                </c:pt>
                <c:pt idx="8785">
                  <c:v>5.8762778967960312</c:v>
                </c:pt>
                <c:pt idx="8786">
                  <c:v>5.9488403023061478</c:v>
                </c:pt>
                <c:pt idx="8787">
                  <c:v>5.9338354125328818</c:v>
                </c:pt>
                <c:pt idx="8788">
                  <c:v>4.8764244429576964</c:v>
                </c:pt>
                <c:pt idx="8789">
                  <c:v>6.0174951945037423</c:v>
                </c:pt>
                <c:pt idx="8790">
                  <c:v>5.0000816012209848</c:v>
                </c:pt>
                <c:pt idx="8791">
                  <c:v>4.9472260941439004</c:v>
                </c:pt>
                <c:pt idx="8792">
                  <c:v>4.9847135017627426</c:v>
                </c:pt>
                <c:pt idx="8793">
                  <c:v>5.9794540487672752</c:v>
                </c:pt>
                <c:pt idx="8794">
                  <c:v>4.9555663833733785</c:v>
                </c:pt>
                <c:pt idx="8795">
                  <c:v>5.1570674385942503</c:v>
                </c:pt>
                <c:pt idx="8796">
                  <c:v>5.9055361495689134</c:v>
                </c:pt>
                <c:pt idx="8797">
                  <c:v>5.9442846102463056</c:v>
                </c:pt>
                <c:pt idx="8798">
                  <c:v>6.9097718034336326</c:v>
                </c:pt>
                <c:pt idx="8799">
                  <c:v>4.9738850458537387</c:v>
                </c:pt>
                <c:pt idx="8800">
                  <c:v>7.1488123260203196</c:v>
                </c:pt>
                <c:pt idx="8801">
                  <c:v>5.0148110286032859</c:v>
                </c:pt>
                <c:pt idx="8802">
                  <c:v>4.7627589891861382</c:v>
                </c:pt>
                <c:pt idx="8803">
                  <c:v>5.9389342226757691</c:v>
                </c:pt>
                <c:pt idx="8804">
                  <c:v>4.8427389233569231</c:v>
                </c:pt>
                <c:pt idx="8805">
                  <c:v>4.9874695707112124</c:v>
                </c:pt>
                <c:pt idx="8806">
                  <c:v>5.9324702887995802</c:v>
                </c:pt>
                <c:pt idx="8807">
                  <c:v>5.0338899394662651</c:v>
                </c:pt>
                <c:pt idx="8808">
                  <c:v>5.9986535814607365</c:v>
                </c:pt>
                <c:pt idx="8809">
                  <c:v>6.1318777859512812</c:v>
                </c:pt>
                <c:pt idx="8810">
                  <c:v>5.9113853998333861</c:v>
                </c:pt>
                <c:pt idx="8811">
                  <c:v>5.9756755897666007</c:v>
                </c:pt>
                <c:pt idx="8812">
                  <c:v>5.0792780832426736</c:v>
                </c:pt>
                <c:pt idx="8813">
                  <c:v>6.0417599916649998</c:v>
                </c:pt>
                <c:pt idx="8814">
                  <c:v>5.9030703183784317</c:v>
                </c:pt>
                <c:pt idx="8815">
                  <c:v>5.9503422492765594</c:v>
                </c:pt>
                <c:pt idx="8816">
                  <c:v>5.9384910991733841</c:v>
                </c:pt>
                <c:pt idx="8817">
                  <c:v>5.9851732681532752</c:v>
                </c:pt>
                <c:pt idx="8818">
                  <c:v>5.8637308186117476</c:v>
                </c:pt>
                <c:pt idx="8819">
                  <c:v>4.922462289270964</c:v>
                </c:pt>
                <c:pt idx="8820">
                  <c:v>5.9461232716342538</c:v>
                </c:pt>
                <c:pt idx="8821">
                  <c:v>5.9451500578962282</c:v>
                </c:pt>
                <c:pt idx="8822">
                  <c:v>5.7756854112952611</c:v>
                </c:pt>
                <c:pt idx="8823">
                  <c:v>6.0291624010067375</c:v>
                </c:pt>
                <c:pt idx="8824">
                  <c:v>4.9488761957890652</c:v>
                </c:pt>
                <c:pt idx="8825">
                  <c:v>5.0855262493617781</c:v>
                </c:pt>
                <c:pt idx="8826">
                  <c:v>5.0451390423789997</c:v>
                </c:pt>
                <c:pt idx="8827">
                  <c:v>6.0047467570540194</c:v>
                </c:pt>
                <c:pt idx="8828">
                  <c:v>6.9903749377734536</c:v>
                </c:pt>
                <c:pt idx="8829">
                  <c:v>5.8148885545374212</c:v>
                </c:pt>
                <c:pt idx="8830">
                  <c:v>6.0845163487578064</c:v>
                </c:pt>
                <c:pt idx="8831">
                  <c:v>7.1001252439315081</c:v>
                </c:pt>
                <c:pt idx="8832">
                  <c:v>6.0516677752430432</c:v>
                </c:pt>
                <c:pt idx="8833">
                  <c:v>6.1290077042783286</c:v>
                </c:pt>
                <c:pt idx="8834">
                  <c:v>4.9170744596975871</c:v>
                </c:pt>
                <c:pt idx="8835">
                  <c:v>6.9003431249069545</c:v>
                </c:pt>
                <c:pt idx="8836">
                  <c:v>6.1169456663574486</c:v>
                </c:pt>
                <c:pt idx="8837">
                  <c:v>6.1249253306071383</c:v>
                </c:pt>
                <c:pt idx="8838">
                  <c:v>7.0413649460190939</c:v>
                </c:pt>
                <c:pt idx="8839">
                  <c:v>5.9176359818301174</c:v>
                </c:pt>
                <c:pt idx="8840">
                  <c:v>6.089222413825742</c:v>
                </c:pt>
                <c:pt idx="8841">
                  <c:v>5.8516917490334928</c:v>
                </c:pt>
                <c:pt idx="8842">
                  <c:v>6.0952017437767987</c:v>
                </c:pt>
                <c:pt idx="8843">
                  <c:v>5.1423333258721833</c:v>
                </c:pt>
                <c:pt idx="8844">
                  <c:v>5.8512696556928345</c:v>
                </c:pt>
                <c:pt idx="8845">
                  <c:v>5.882040853108915</c:v>
                </c:pt>
                <c:pt idx="8846">
                  <c:v>6.0113743019529791</c:v>
                </c:pt>
                <c:pt idx="8847">
                  <c:v>7.1677972693278003</c:v>
                </c:pt>
                <c:pt idx="8848">
                  <c:v>6.0858193514792021</c:v>
                </c:pt>
                <c:pt idx="8849">
                  <c:v>5.9959371319028687</c:v>
                </c:pt>
                <c:pt idx="8850">
                  <c:v>6.1362992403759202</c:v>
                </c:pt>
                <c:pt idx="8851">
                  <c:v>6.0727792889163057</c:v>
                </c:pt>
                <c:pt idx="8852">
                  <c:v>6.0340127166132822</c:v>
                </c:pt>
                <c:pt idx="8853">
                  <c:v>5.0145953690920022</c:v>
                </c:pt>
                <c:pt idx="8854">
                  <c:v>5.9196259243851905</c:v>
                </c:pt>
                <c:pt idx="8855">
                  <c:v>6.0544734907731277</c:v>
                </c:pt>
                <c:pt idx="8856">
                  <c:v>5.124451745858984</c:v>
                </c:pt>
                <c:pt idx="8857">
                  <c:v>6.014734416683674</c:v>
                </c:pt>
                <c:pt idx="8858">
                  <c:v>4.9173580279498914</c:v>
                </c:pt>
                <c:pt idx="8859">
                  <c:v>6.0415012241262946</c:v>
                </c:pt>
                <c:pt idx="8860">
                  <c:v>4.9768691952928492</c:v>
                </c:pt>
                <c:pt idx="8861">
                  <c:v>7.1094124461742298</c:v>
                </c:pt>
                <c:pt idx="8862">
                  <c:v>6.0115464950537891</c:v>
                </c:pt>
                <c:pt idx="8863">
                  <c:v>5.9488530065759528</c:v>
                </c:pt>
                <c:pt idx="8864">
                  <c:v>5.9719063917193056</c:v>
                </c:pt>
                <c:pt idx="8865">
                  <c:v>6.0007478693205263</c:v>
                </c:pt>
                <c:pt idx="8866">
                  <c:v>6.0748896904432792</c:v>
                </c:pt>
                <c:pt idx="8867">
                  <c:v>5.0222456969876017</c:v>
                </c:pt>
                <c:pt idx="8868">
                  <c:v>6.8259541991913437</c:v>
                </c:pt>
                <c:pt idx="8869">
                  <c:v>6.0773187723593116</c:v>
                </c:pt>
                <c:pt idx="8870">
                  <c:v>4.9841907464099071</c:v>
                </c:pt>
                <c:pt idx="8871">
                  <c:v>6.0557252123173209</c:v>
                </c:pt>
                <c:pt idx="8872">
                  <c:v>6.1143733224437753</c:v>
                </c:pt>
                <c:pt idx="8873">
                  <c:v>4.8852015096540535</c:v>
                </c:pt>
                <c:pt idx="8874">
                  <c:v>4.9744113984696527</c:v>
                </c:pt>
                <c:pt idx="8875">
                  <c:v>5.0247380749300392</c:v>
                </c:pt>
                <c:pt idx="8876">
                  <c:v>5.9536660448212482</c:v>
                </c:pt>
                <c:pt idx="8877">
                  <c:v>3.7731593052021335</c:v>
                </c:pt>
                <c:pt idx="8878">
                  <c:v>4.9492856658062232</c:v>
                </c:pt>
                <c:pt idx="8879">
                  <c:v>5.884511727460505</c:v>
                </c:pt>
                <c:pt idx="8880">
                  <c:v>4.7732695634732556</c:v>
                </c:pt>
                <c:pt idx="8881">
                  <c:v>4.9495460049118289</c:v>
                </c:pt>
                <c:pt idx="8882">
                  <c:v>5.814169670771097</c:v>
                </c:pt>
                <c:pt idx="8883">
                  <c:v>5.9851635269746177</c:v>
                </c:pt>
                <c:pt idx="8884">
                  <c:v>4.970005070806347</c:v>
                </c:pt>
                <c:pt idx="8885">
                  <c:v>5.9119887568425469</c:v>
                </c:pt>
                <c:pt idx="8886">
                  <c:v>4.9879619844308252</c:v>
                </c:pt>
                <c:pt idx="8887">
                  <c:v>6.0527584674740016</c:v>
                </c:pt>
                <c:pt idx="8888">
                  <c:v>4.9205074383091683</c:v>
                </c:pt>
                <c:pt idx="8889">
                  <c:v>4.9759109246056052</c:v>
                </c:pt>
                <c:pt idx="8890">
                  <c:v>5.8594945212769058</c:v>
                </c:pt>
                <c:pt idx="8891">
                  <c:v>5.9117052231665994</c:v>
                </c:pt>
                <c:pt idx="8892">
                  <c:v>5.2553529260331162</c:v>
                </c:pt>
                <c:pt idx="8893">
                  <c:v>4.9295466371667898</c:v>
                </c:pt>
                <c:pt idx="8894">
                  <c:v>5.9730704102502115</c:v>
                </c:pt>
                <c:pt idx="8895">
                  <c:v>5.9826044478001572</c:v>
                </c:pt>
                <c:pt idx="8896">
                  <c:v>5.9517455366520293</c:v>
                </c:pt>
                <c:pt idx="8897">
                  <c:v>4.925274551524085</c:v>
                </c:pt>
                <c:pt idx="8898">
                  <c:v>4.9215410302816576</c:v>
                </c:pt>
                <c:pt idx="8899">
                  <c:v>4.9782052922835902</c:v>
                </c:pt>
                <c:pt idx="8900">
                  <c:v>4.9896483017292157</c:v>
                </c:pt>
                <c:pt idx="8901">
                  <c:v>5.9592144528115885</c:v>
                </c:pt>
                <c:pt idx="8902">
                  <c:v>6.035931663320584</c:v>
                </c:pt>
                <c:pt idx="8903">
                  <c:v>5.0228795905736101</c:v>
                </c:pt>
                <c:pt idx="8904">
                  <c:v>5.8966881716815447</c:v>
                </c:pt>
                <c:pt idx="8905">
                  <c:v>5.0178998583234646</c:v>
                </c:pt>
                <c:pt idx="8906">
                  <c:v>5.0627986192284027</c:v>
                </c:pt>
                <c:pt idx="8907">
                  <c:v>5.1012396160681384</c:v>
                </c:pt>
                <c:pt idx="8908">
                  <c:v>5.0463285239472269</c:v>
                </c:pt>
                <c:pt idx="8909">
                  <c:v>5.0445349397702639</c:v>
                </c:pt>
                <c:pt idx="8910">
                  <c:v>5.8944307538211484</c:v>
                </c:pt>
                <c:pt idx="8911">
                  <c:v>6.1581320380736431</c:v>
                </c:pt>
                <c:pt idx="8912">
                  <c:v>5.2511537652572819</c:v>
                </c:pt>
                <c:pt idx="8913">
                  <c:v>4.8242575522521296</c:v>
                </c:pt>
                <c:pt idx="8914">
                  <c:v>5.8844403282262912</c:v>
                </c:pt>
                <c:pt idx="8915">
                  <c:v>6.0948884255675333</c:v>
                </c:pt>
                <c:pt idx="8916">
                  <c:v>5.7591658185665198</c:v>
                </c:pt>
                <c:pt idx="8917">
                  <c:v>4.8849090525621168</c:v>
                </c:pt>
                <c:pt idx="8918">
                  <c:v>3.0417316075435705</c:v>
                </c:pt>
                <c:pt idx="8919">
                  <c:v>5.9155937964026037</c:v>
                </c:pt>
                <c:pt idx="8920">
                  <c:v>7.0560297629184454</c:v>
                </c:pt>
                <c:pt idx="8921">
                  <c:v>6.006894109819461</c:v>
                </c:pt>
                <c:pt idx="8922">
                  <c:v>5.9991079180186855</c:v>
                </c:pt>
                <c:pt idx="8923">
                  <c:v>6.8546107272963903</c:v>
                </c:pt>
                <c:pt idx="8924">
                  <c:v>5.9567277552288882</c:v>
                </c:pt>
                <c:pt idx="8925">
                  <c:v>4.9636753677941634</c:v>
                </c:pt>
                <c:pt idx="8926">
                  <c:v>4.953499612636624</c:v>
                </c:pt>
                <c:pt idx="8927">
                  <c:v>4.9335018957274865</c:v>
                </c:pt>
                <c:pt idx="8928">
                  <c:v>5.0489298055190321</c:v>
                </c:pt>
                <c:pt idx="8929">
                  <c:v>5.9308697973986915</c:v>
                </c:pt>
                <c:pt idx="8930">
                  <c:v>5.0141776845996597</c:v>
                </c:pt>
                <c:pt idx="8931">
                  <c:v>4.8832758697018877</c:v>
                </c:pt>
                <c:pt idx="8932">
                  <c:v>5.9573317958476819</c:v>
                </c:pt>
                <c:pt idx="8933">
                  <c:v>5.0916821519332673</c:v>
                </c:pt>
                <c:pt idx="8934">
                  <c:v>6.077790826378223</c:v>
                </c:pt>
                <c:pt idx="8935">
                  <c:v>6.088469353147727</c:v>
                </c:pt>
                <c:pt idx="8936">
                  <c:v>5.1312443981569595</c:v>
                </c:pt>
                <c:pt idx="8937">
                  <c:v>6.908360984075931</c:v>
                </c:pt>
                <c:pt idx="8938">
                  <c:v>6.9531523397983506</c:v>
                </c:pt>
                <c:pt idx="8939">
                  <c:v>7.031109680654378</c:v>
                </c:pt>
                <c:pt idx="8940">
                  <c:v>4.970705741918235</c:v>
                </c:pt>
                <c:pt idx="8941">
                  <c:v>5.925304502303673</c:v>
                </c:pt>
                <c:pt idx="8942">
                  <c:v>7.1378900332705477</c:v>
                </c:pt>
                <c:pt idx="8943">
                  <c:v>4.871879160956599</c:v>
                </c:pt>
                <c:pt idx="8944">
                  <c:v>5.7625875140566398</c:v>
                </c:pt>
                <c:pt idx="8945">
                  <c:v>5.0070813390570255</c:v>
                </c:pt>
                <c:pt idx="8946">
                  <c:v>6.0725648131232042</c:v>
                </c:pt>
                <c:pt idx="8947">
                  <c:v>6.1183700265981154</c:v>
                </c:pt>
                <c:pt idx="8948">
                  <c:v>5.9322675028883234</c:v>
                </c:pt>
                <c:pt idx="8949">
                  <c:v>4.9907387755483468</c:v>
                </c:pt>
                <c:pt idx="8950">
                  <c:v>4.9770265191051344</c:v>
                </c:pt>
                <c:pt idx="8951">
                  <c:v>4.9599199481932157</c:v>
                </c:pt>
                <c:pt idx="8952">
                  <c:v>6.0781585824865072</c:v>
                </c:pt>
                <c:pt idx="8953">
                  <c:v>5.9886525263207773</c:v>
                </c:pt>
                <c:pt idx="8954">
                  <c:v>5.0054920277589812</c:v>
                </c:pt>
                <c:pt idx="8955">
                  <c:v>4.9281136613426462</c:v>
                </c:pt>
                <c:pt idx="8956">
                  <c:v>7.0821504197658163</c:v>
                </c:pt>
                <c:pt idx="8957">
                  <c:v>4.966216283814199</c:v>
                </c:pt>
                <c:pt idx="8958">
                  <c:v>6.0128557944968781</c:v>
                </c:pt>
                <c:pt idx="8959">
                  <c:v>6.0674141852877455</c:v>
                </c:pt>
                <c:pt idx="8960">
                  <c:v>6.0513251425568271</c:v>
                </c:pt>
                <c:pt idx="8961">
                  <c:v>4.8671015293472628</c:v>
                </c:pt>
                <c:pt idx="8962">
                  <c:v>5.9464276931719198</c:v>
                </c:pt>
                <c:pt idx="8963">
                  <c:v>6.0368601487682714</c:v>
                </c:pt>
                <c:pt idx="8964">
                  <c:v>6.8832039055174983</c:v>
                </c:pt>
                <c:pt idx="8965">
                  <c:v>6.0159543404029563</c:v>
                </c:pt>
                <c:pt idx="8966">
                  <c:v>6.0140475133775464</c:v>
                </c:pt>
                <c:pt idx="8967">
                  <c:v>5.9888633133187623</c:v>
                </c:pt>
                <c:pt idx="8968">
                  <c:v>5.0715904250828094</c:v>
                </c:pt>
                <c:pt idx="8969">
                  <c:v>4.7838591717886541</c:v>
                </c:pt>
                <c:pt idx="8970">
                  <c:v>4.9851545340666847</c:v>
                </c:pt>
                <c:pt idx="8971">
                  <c:v>6.1115158433812891</c:v>
                </c:pt>
                <c:pt idx="8972">
                  <c:v>4.9679927744243342</c:v>
                </c:pt>
                <c:pt idx="8973">
                  <c:v>5.0658166108632496</c:v>
                </c:pt>
                <c:pt idx="8974">
                  <c:v>6.0549210265657107</c:v>
                </c:pt>
                <c:pt idx="8975">
                  <c:v>5.2183820477416072</c:v>
                </c:pt>
                <c:pt idx="8976">
                  <c:v>4.9688148387822553</c:v>
                </c:pt>
                <c:pt idx="8977">
                  <c:v>5.0146088687342187</c:v>
                </c:pt>
                <c:pt idx="8978">
                  <c:v>4.9268473372481898</c:v>
                </c:pt>
                <c:pt idx="8979">
                  <c:v>5.1842334780188404</c:v>
                </c:pt>
                <c:pt idx="8980">
                  <c:v>5.1669405561357902</c:v>
                </c:pt>
                <c:pt idx="8981">
                  <c:v>5.9047229703102442</c:v>
                </c:pt>
                <c:pt idx="8982">
                  <c:v>5.0368588159101018</c:v>
                </c:pt>
                <c:pt idx="8983">
                  <c:v>4.866310833770715</c:v>
                </c:pt>
                <c:pt idx="8984">
                  <c:v>4.9372099392479072</c:v>
                </c:pt>
                <c:pt idx="8985">
                  <c:v>5.9365202584549257</c:v>
                </c:pt>
                <c:pt idx="8986">
                  <c:v>4.9714217584653326</c:v>
                </c:pt>
                <c:pt idx="8987">
                  <c:v>5.8505629590717536</c:v>
                </c:pt>
                <c:pt idx="8988">
                  <c:v>5.7993490591359187</c:v>
                </c:pt>
                <c:pt idx="8989">
                  <c:v>5.0344144154934822</c:v>
                </c:pt>
                <c:pt idx="8990">
                  <c:v>5.1957573503055823</c:v>
                </c:pt>
                <c:pt idx="8991">
                  <c:v>4.9399661670928481</c:v>
                </c:pt>
                <c:pt idx="8992">
                  <c:v>4.8953702538380561</c:v>
                </c:pt>
                <c:pt idx="8993">
                  <c:v>4.6775585619286071</c:v>
                </c:pt>
                <c:pt idx="8994">
                  <c:v>4.9320172951500529</c:v>
                </c:pt>
                <c:pt idx="8995">
                  <c:v>4.802303891449915</c:v>
                </c:pt>
                <c:pt idx="8996">
                  <c:v>6.8009559177307848</c:v>
                </c:pt>
                <c:pt idx="8997">
                  <c:v>5.0163778197024298</c:v>
                </c:pt>
                <c:pt idx="8998">
                  <c:v>5.1460270807241573</c:v>
                </c:pt>
                <c:pt idx="8999">
                  <c:v>5.0056660372278987</c:v>
                </c:pt>
                <c:pt idx="9000">
                  <c:v>4.9334224068064279</c:v>
                </c:pt>
                <c:pt idx="9001">
                  <c:v>6.0135375786594389</c:v>
                </c:pt>
                <c:pt idx="9002">
                  <c:v>5.1038324170688378</c:v>
                </c:pt>
                <c:pt idx="9003">
                  <c:v>5.843749744533242</c:v>
                </c:pt>
                <c:pt idx="9004">
                  <c:v>5.0593684138652772</c:v>
                </c:pt>
                <c:pt idx="9005">
                  <c:v>5.0138448025433684</c:v>
                </c:pt>
                <c:pt idx="9006">
                  <c:v>5.0222467990364361</c:v>
                </c:pt>
                <c:pt idx="9007">
                  <c:v>5.0278446683251401</c:v>
                </c:pt>
                <c:pt idx="9008">
                  <c:v>4.8642642547152368</c:v>
                </c:pt>
                <c:pt idx="9009">
                  <c:v>5.126455350658973</c:v>
                </c:pt>
                <c:pt idx="9010">
                  <c:v>6.1348318419311143</c:v>
                </c:pt>
                <c:pt idx="9011">
                  <c:v>4.9308025172380754</c:v>
                </c:pt>
                <c:pt idx="9012">
                  <c:v>6.8756577081345363</c:v>
                </c:pt>
                <c:pt idx="9013">
                  <c:v>5.1872827418810195</c:v>
                </c:pt>
                <c:pt idx="9014">
                  <c:v>6.0149443642299003</c:v>
                </c:pt>
                <c:pt idx="9015">
                  <c:v>5.0438475982134987</c:v>
                </c:pt>
                <c:pt idx="9016">
                  <c:v>5.0538219235693722</c:v>
                </c:pt>
                <c:pt idx="9017">
                  <c:v>4.972951820749242</c:v>
                </c:pt>
                <c:pt idx="9018">
                  <c:v>5.0531168595450948</c:v>
                </c:pt>
                <c:pt idx="9019">
                  <c:v>5.113972343779519</c:v>
                </c:pt>
                <c:pt idx="9020">
                  <c:v>4.9418308381639724</c:v>
                </c:pt>
                <c:pt idx="9021">
                  <c:v>5.0444206134694003</c:v>
                </c:pt>
                <c:pt idx="9022">
                  <c:v>5.2286875612549863</c:v>
                </c:pt>
                <c:pt idx="9023">
                  <c:v>4.9662796145772559</c:v>
                </c:pt>
                <c:pt idx="9024">
                  <c:v>5.0700505712137804</c:v>
                </c:pt>
                <c:pt idx="9025">
                  <c:v>5.0740813838675054</c:v>
                </c:pt>
                <c:pt idx="9026">
                  <c:v>5.9120551457661854</c:v>
                </c:pt>
                <c:pt idx="9027">
                  <c:v>5.0125742331782179</c:v>
                </c:pt>
                <c:pt idx="9028">
                  <c:v>4.7846506853315818</c:v>
                </c:pt>
                <c:pt idx="9029">
                  <c:v>4.9877166534443615</c:v>
                </c:pt>
                <c:pt idx="9030">
                  <c:v>4.995518972837405</c:v>
                </c:pt>
                <c:pt idx="9031">
                  <c:v>4.8762032765782557</c:v>
                </c:pt>
                <c:pt idx="9032">
                  <c:v>5.985164294584882</c:v>
                </c:pt>
                <c:pt idx="9033">
                  <c:v>5.0062172228331763</c:v>
                </c:pt>
                <c:pt idx="9034">
                  <c:v>5.0913322377432761</c:v>
                </c:pt>
                <c:pt idx="9035">
                  <c:v>6.2546835679391179</c:v>
                </c:pt>
                <c:pt idx="9036">
                  <c:v>6.1320827950556671</c:v>
                </c:pt>
                <c:pt idx="9037">
                  <c:v>6.0648055256201712</c:v>
                </c:pt>
                <c:pt idx="9038">
                  <c:v>5.0011358926228304</c:v>
                </c:pt>
                <c:pt idx="9039">
                  <c:v>5.090930156361698</c:v>
                </c:pt>
                <c:pt idx="9040">
                  <c:v>5.8141814271804275</c:v>
                </c:pt>
                <c:pt idx="9041">
                  <c:v>5.9627561989716709</c:v>
                </c:pt>
                <c:pt idx="9042">
                  <c:v>4.9434419848715896</c:v>
                </c:pt>
                <c:pt idx="9043">
                  <c:v>4.9494354692197566</c:v>
                </c:pt>
                <c:pt idx="9044">
                  <c:v>5.1122014574526817</c:v>
                </c:pt>
                <c:pt idx="9045">
                  <c:v>4.8444645521952658</c:v>
                </c:pt>
                <c:pt idx="9046">
                  <c:v>4.82308773173565</c:v>
                </c:pt>
                <c:pt idx="9047">
                  <c:v>5.1114208028368591</c:v>
                </c:pt>
                <c:pt idx="9048">
                  <c:v>4.9512571886083059</c:v>
                </c:pt>
                <c:pt idx="9049">
                  <c:v>4.9708532253387991</c:v>
                </c:pt>
                <c:pt idx="9050">
                  <c:v>4.9186155783103587</c:v>
                </c:pt>
                <c:pt idx="9051">
                  <c:v>5.0621793921328049</c:v>
                </c:pt>
                <c:pt idx="9052">
                  <c:v>4.8449230744175598</c:v>
                </c:pt>
                <c:pt idx="9053">
                  <c:v>6.9863987734773056</c:v>
                </c:pt>
                <c:pt idx="9054">
                  <c:v>5.9107260202850815</c:v>
                </c:pt>
                <c:pt idx="9055">
                  <c:v>5.0504381579523514</c:v>
                </c:pt>
                <c:pt idx="9056">
                  <c:v>5.9370638802187283</c:v>
                </c:pt>
                <c:pt idx="9057">
                  <c:v>5.8175574540674493</c:v>
                </c:pt>
                <c:pt idx="9058">
                  <c:v>5.056170894139048</c:v>
                </c:pt>
                <c:pt idx="9059">
                  <c:v>6.1520483186118753</c:v>
                </c:pt>
                <c:pt idx="9060">
                  <c:v>4.952193307054638</c:v>
                </c:pt>
                <c:pt idx="9061">
                  <c:v>5.0775135616007798</c:v>
                </c:pt>
                <c:pt idx="9062">
                  <c:v>4.9708561112120249</c:v>
                </c:pt>
                <c:pt idx="9063">
                  <c:v>6.0553434519526981</c:v>
                </c:pt>
                <c:pt idx="9064">
                  <c:v>5.1421498147087759</c:v>
                </c:pt>
                <c:pt idx="9065">
                  <c:v>6.0127188651160184</c:v>
                </c:pt>
                <c:pt idx="9066">
                  <c:v>5.0310793888232412</c:v>
                </c:pt>
                <c:pt idx="9067">
                  <c:v>4.8932323340180996</c:v>
                </c:pt>
                <c:pt idx="9068">
                  <c:v>5.0085968412863613</c:v>
                </c:pt>
                <c:pt idx="9069">
                  <c:v>5.9812771971881453</c:v>
                </c:pt>
                <c:pt idx="9070">
                  <c:v>4.9923524632232805</c:v>
                </c:pt>
                <c:pt idx="9071">
                  <c:v>4.96072218856634</c:v>
                </c:pt>
                <c:pt idx="9072">
                  <c:v>4.914160248334797</c:v>
                </c:pt>
                <c:pt idx="9073">
                  <c:v>4.9534865665024173</c:v>
                </c:pt>
                <c:pt idx="9074">
                  <c:v>5.8048641592293695</c:v>
                </c:pt>
                <c:pt idx="9075">
                  <c:v>5.0309259672310791</c:v>
                </c:pt>
                <c:pt idx="9076">
                  <c:v>4.9833753179317908</c:v>
                </c:pt>
                <c:pt idx="9077">
                  <c:v>5.0799698937812723</c:v>
                </c:pt>
                <c:pt idx="9078">
                  <c:v>5.0734148681805431</c:v>
                </c:pt>
                <c:pt idx="9079">
                  <c:v>6.0132168659631438</c:v>
                </c:pt>
                <c:pt idx="9080">
                  <c:v>6.1210316809146574</c:v>
                </c:pt>
                <c:pt idx="9081">
                  <c:v>5.0015280122231136</c:v>
                </c:pt>
                <c:pt idx="9082">
                  <c:v>5.0506538132393546</c:v>
                </c:pt>
                <c:pt idx="9083">
                  <c:v>5.1641262276463573</c:v>
                </c:pt>
                <c:pt idx="9084">
                  <c:v>5.8292945680320836</c:v>
                </c:pt>
                <c:pt idx="9085">
                  <c:v>5.1780246043882894</c:v>
                </c:pt>
                <c:pt idx="9086">
                  <c:v>5.8533717881315726</c:v>
                </c:pt>
                <c:pt idx="9087">
                  <c:v>5.0902328997372397</c:v>
                </c:pt>
                <c:pt idx="9088">
                  <c:v>5.0045804096432009</c:v>
                </c:pt>
                <c:pt idx="9089">
                  <c:v>4.935289204451224</c:v>
                </c:pt>
                <c:pt idx="9090">
                  <c:v>5.0846843161435427</c:v>
                </c:pt>
                <c:pt idx="9091">
                  <c:v>4.8942804559051369</c:v>
                </c:pt>
                <c:pt idx="9092">
                  <c:v>7.0327068253092602</c:v>
                </c:pt>
                <c:pt idx="9093">
                  <c:v>4.7734727163345019</c:v>
                </c:pt>
                <c:pt idx="9094">
                  <c:v>5.0604883374296028</c:v>
                </c:pt>
                <c:pt idx="9095">
                  <c:v>5.0574523655353607</c:v>
                </c:pt>
                <c:pt idx="9096">
                  <c:v>4.9990918877053447</c:v>
                </c:pt>
                <c:pt idx="9097">
                  <c:v>6.0894869564088951</c:v>
                </c:pt>
                <c:pt idx="9098">
                  <c:v>4.9707311072177269</c:v>
                </c:pt>
                <c:pt idx="9099">
                  <c:v>5.0884044981790906</c:v>
                </c:pt>
                <c:pt idx="9100">
                  <c:v>5.0013721861734464</c:v>
                </c:pt>
                <c:pt idx="9101">
                  <c:v>4.9359515392109792</c:v>
                </c:pt>
                <c:pt idx="9102">
                  <c:v>4.9602377567926519</c:v>
                </c:pt>
                <c:pt idx="9103">
                  <c:v>1.9652324905492513</c:v>
                </c:pt>
                <c:pt idx="9104">
                  <c:v>5.1492463928666972</c:v>
                </c:pt>
                <c:pt idx="9105">
                  <c:v>4.8965504043605268</c:v>
                </c:pt>
                <c:pt idx="9106">
                  <c:v>4.841921163900305</c:v>
                </c:pt>
                <c:pt idx="9107">
                  <c:v>5.0523765311961881</c:v>
                </c:pt>
                <c:pt idx="9108">
                  <c:v>6.0069974876502883</c:v>
                </c:pt>
                <c:pt idx="9109">
                  <c:v>6.0897969628800865</c:v>
                </c:pt>
                <c:pt idx="9110">
                  <c:v>4.8954345403447048</c:v>
                </c:pt>
                <c:pt idx="9111">
                  <c:v>5.0281560771016212</c:v>
                </c:pt>
                <c:pt idx="9112">
                  <c:v>4.9753767388466228</c:v>
                </c:pt>
                <c:pt idx="9113">
                  <c:v>4.9207892369803767</c:v>
                </c:pt>
                <c:pt idx="9114">
                  <c:v>5.074798942273909</c:v>
                </c:pt>
                <c:pt idx="9115">
                  <c:v>5.0060972133688209</c:v>
                </c:pt>
                <c:pt idx="9116">
                  <c:v>6.977639197093449</c:v>
                </c:pt>
                <c:pt idx="9117">
                  <c:v>4.8575126087877631</c:v>
                </c:pt>
                <c:pt idx="9118">
                  <c:v>4.9052867594186056</c:v>
                </c:pt>
                <c:pt idx="9119">
                  <c:v>5.1983405559553111</c:v>
                </c:pt>
                <c:pt idx="9120">
                  <c:v>6.0502863015253983</c:v>
                </c:pt>
                <c:pt idx="9121">
                  <c:v>5.944601635701793</c:v>
                </c:pt>
                <c:pt idx="9122">
                  <c:v>5.0579272497359469</c:v>
                </c:pt>
                <c:pt idx="9123">
                  <c:v>5.0933023876333516</c:v>
                </c:pt>
                <c:pt idx="9124">
                  <c:v>5.8157698364019668</c:v>
                </c:pt>
                <c:pt idx="9125">
                  <c:v>5.8673176689382176</c:v>
                </c:pt>
                <c:pt idx="9126">
                  <c:v>6.0654129035411515</c:v>
                </c:pt>
                <c:pt idx="9127">
                  <c:v>4.9413663250039912</c:v>
                </c:pt>
                <c:pt idx="9128">
                  <c:v>5.760665379055796</c:v>
                </c:pt>
                <c:pt idx="9129">
                  <c:v>5.1137298849021207</c:v>
                </c:pt>
                <c:pt idx="9130">
                  <c:v>5.0264623851151002</c:v>
                </c:pt>
                <c:pt idx="9131">
                  <c:v>4.8083903968351889</c:v>
                </c:pt>
                <c:pt idx="9132">
                  <c:v>4.8286850546943674</c:v>
                </c:pt>
                <c:pt idx="9133">
                  <c:v>5.1116872800569535</c:v>
                </c:pt>
                <c:pt idx="9134">
                  <c:v>5.1846179459948738</c:v>
                </c:pt>
                <c:pt idx="9135">
                  <c:v>4.979039547728477</c:v>
                </c:pt>
                <c:pt idx="9136">
                  <c:v>5.0463275338221729</c:v>
                </c:pt>
                <c:pt idx="9137">
                  <c:v>4.8864945143453342</c:v>
                </c:pt>
                <c:pt idx="9138">
                  <c:v>4.9197428142090409</c:v>
                </c:pt>
                <c:pt idx="9139">
                  <c:v>4.907203483343678</c:v>
                </c:pt>
                <c:pt idx="9140">
                  <c:v>5.92474083414454</c:v>
                </c:pt>
                <c:pt idx="9141">
                  <c:v>4.8827660657244225</c:v>
                </c:pt>
                <c:pt idx="9142">
                  <c:v>5.0257380647780865</c:v>
                </c:pt>
                <c:pt idx="9143">
                  <c:v>5.0543116663814445</c:v>
                </c:pt>
                <c:pt idx="9144">
                  <c:v>4.9336444719230128</c:v>
                </c:pt>
                <c:pt idx="9145">
                  <c:v>5.0409888858238041</c:v>
                </c:pt>
                <c:pt idx="9146">
                  <c:v>5.0181683811498603</c:v>
                </c:pt>
                <c:pt idx="9147">
                  <c:v>4.9881011456871169</c:v>
                </c:pt>
                <c:pt idx="9148">
                  <c:v>5.84338472061917</c:v>
                </c:pt>
                <c:pt idx="9149">
                  <c:v>6.9053624408949004</c:v>
                </c:pt>
                <c:pt idx="9150">
                  <c:v>5.1521105505146565</c:v>
                </c:pt>
                <c:pt idx="9151">
                  <c:v>4.9743464365385472</c:v>
                </c:pt>
                <c:pt idx="9152">
                  <c:v>5.1758905144281577</c:v>
                </c:pt>
                <c:pt idx="9153">
                  <c:v>5.8768191125167961</c:v>
                </c:pt>
                <c:pt idx="9154">
                  <c:v>5.0629539412248885</c:v>
                </c:pt>
                <c:pt idx="9155">
                  <c:v>5.9201216911733523</c:v>
                </c:pt>
                <c:pt idx="9156">
                  <c:v>4.8696771751663874</c:v>
                </c:pt>
                <c:pt idx="9157">
                  <c:v>5.0352212334509927</c:v>
                </c:pt>
                <c:pt idx="9158">
                  <c:v>5.0132644302007563</c:v>
                </c:pt>
                <c:pt idx="9159">
                  <c:v>6.1984064753421535</c:v>
                </c:pt>
                <c:pt idx="9160">
                  <c:v>4.879153099411818</c:v>
                </c:pt>
                <c:pt idx="9161">
                  <c:v>6.0035390011039631</c:v>
                </c:pt>
                <c:pt idx="9162">
                  <c:v>4.9515427052223551</c:v>
                </c:pt>
                <c:pt idx="9163">
                  <c:v>5.9990862108375849</c:v>
                </c:pt>
                <c:pt idx="9164">
                  <c:v>5.2007991399967572</c:v>
                </c:pt>
                <c:pt idx="9165">
                  <c:v>5.9074067937875636</c:v>
                </c:pt>
                <c:pt idx="9166">
                  <c:v>4.9851560298913205</c:v>
                </c:pt>
                <c:pt idx="9167">
                  <c:v>4.94726079576317</c:v>
                </c:pt>
                <c:pt idx="9168">
                  <c:v>4.8950929397927521</c:v>
                </c:pt>
                <c:pt idx="9169">
                  <c:v>6.1149383055710604</c:v>
                </c:pt>
                <c:pt idx="9170">
                  <c:v>4.8913588059881867</c:v>
                </c:pt>
                <c:pt idx="9171">
                  <c:v>6.1748124125736359</c:v>
                </c:pt>
                <c:pt idx="9172">
                  <c:v>6.062689892108188</c:v>
                </c:pt>
                <c:pt idx="9173">
                  <c:v>5.0114209979104647</c:v>
                </c:pt>
                <c:pt idx="9174">
                  <c:v>5.0704786609995338</c:v>
                </c:pt>
                <c:pt idx="9175">
                  <c:v>4.9060871799719221</c:v>
                </c:pt>
                <c:pt idx="9176">
                  <c:v>5.9384727398874571</c:v>
                </c:pt>
                <c:pt idx="9177">
                  <c:v>5.0754239647808594</c:v>
                </c:pt>
                <c:pt idx="9178">
                  <c:v>5.0243823576799782</c:v>
                </c:pt>
                <c:pt idx="9179">
                  <c:v>6.0346073214375675</c:v>
                </c:pt>
                <c:pt idx="9180">
                  <c:v>4.7615624388540461</c:v>
                </c:pt>
                <c:pt idx="9181">
                  <c:v>5.0290265160631789</c:v>
                </c:pt>
                <c:pt idx="9182">
                  <c:v>5.1339793659797808</c:v>
                </c:pt>
                <c:pt idx="9183">
                  <c:v>4.7651943548694424</c:v>
                </c:pt>
                <c:pt idx="9184">
                  <c:v>5.1022664215451599</c:v>
                </c:pt>
                <c:pt idx="9185">
                  <c:v>4.9982969107851432</c:v>
                </c:pt>
                <c:pt idx="9186">
                  <c:v>4.9312089789805604</c:v>
                </c:pt>
                <c:pt idx="9187">
                  <c:v>4.9830559722730587</c:v>
                </c:pt>
                <c:pt idx="9188">
                  <c:v>5.9744943196736946</c:v>
                </c:pt>
                <c:pt idx="9189">
                  <c:v>5.0559170998016745</c:v>
                </c:pt>
                <c:pt idx="9190">
                  <c:v>5.0421694339940926</c:v>
                </c:pt>
                <c:pt idx="9191">
                  <c:v>5.9317977086735452</c:v>
                </c:pt>
                <c:pt idx="9192">
                  <c:v>5.126891680598761</c:v>
                </c:pt>
                <c:pt idx="9193">
                  <c:v>4.9558255811045244</c:v>
                </c:pt>
                <c:pt idx="9194">
                  <c:v>4.9534695957059149</c:v>
                </c:pt>
                <c:pt idx="9195">
                  <c:v>5.113319833569463</c:v>
                </c:pt>
                <c:pt idx="9196">
                  <c:v>5.0095782607350348</c:v>
                </c:pt>
                <c:pt idx="9197">
                  <c:v>5.1512414851574073</c:v>
                </c:pt>
                <c:pt idx="9198">
                  <c:v>5.8936674514187635</c:v>
                </c:pt>
                <c:pt idx="9199">
                  <c:v>4.8226268317207035</c:v>
                </c:pt>
                <c:pt idx="9200">
                  <c:v>6.0877862815040764</c:v>
                </c:pt>
                <c:pt idx="9201">
                  <c:v>5.0267086265376433</c:v>
                </c:pt>
                <c:pt idx="9202">
                  <c:v>5.9003344195845431</c:v>
                </c:pt>
                <c:pt idx="9203">
                  <c:v>5.1518422722197244</c:v>
                </c:pt>
                <c:pt idx="9204">
                  <c:v>4.9044825743566056</c:v>
                </c:pt>
                <c:pt idx="9205">
                  <c:v>5.0534883502141996</c:v>
                </c:pt>
                <c:pt idx="9206">
                  <c:v>4.9952376099281137</c:v>
                </c:pt>
                <c:pt idx="9207">
                  <c:v>4.8278242128620139</c:v>
                </c:pt>
                <c:pt idx="9208">
                  <c:v>5.9904413116034423</c:v>
                </c:pt>
                <c:pt idx="9209">
                  <c:v>5.9523237396859416</c:v>
                </c:pt>
                <c:pt idx="9210">
                  <c:v>4.9202484952031851</c:v>
                </c:pt>
                <c:pt idx="9211">
                  <c:v>4.9098074214841532</c:v>
                </c:pt>
                <c:pt idx="9212">
                  <c:v>4.995320640586951</c:v>
                </c:pt>
                <c:pt idx="9213">
                  <c:v>5.1953761932819473</c:v>
                </c:pt>
                <c:pt idx="9214">
                  <c:v>4.9551814937108647</c:v>
                </c:pt>
                <c:pt idx="9215">
                  <c:v>6.0959400523193095</c:v>
                </c:pt>
                <c:pt idx="9216">
                  <c:v>5.0505126156424298</c:v>
                </c:pt>
                <c:pt idx="9217">
                  <c:v>6.7982535747578767</c:v>
                </c:pt>
                <c:pt idx="9218">
                  <c:v>4.936130507289489</c:v>
                </c:pt>
                <c:pt idx="9219">
                  <c:v>4.9711533956331424</c:v>
                </c:pt>
                <c:pt idx="9220">
                  <c:v>5.8913825521629635</c:v>
                </c:pt>
                <c:pt idx="9221">
                  <c:v>6.123990644657197</c:v>
                </c:pt>
                <c:pt idx="9222">
                  <c:v>5.9430967567856507</c:v>
                </c:pt>
                <c:pt idx="9223">
                  <c:v>4.9159177774891889</c:v>
                </c:pt>
                <c:pt idx="9224">
                  <c:v>6.9783491697306932</c:v>
                </c:pt>
                <c:pt idx="9225">
                  <c:v>6.819923528556636</c:v>
                </c:pt>
                <c:pt idx="9226">
                  <c:v>7.0264837542498224</c:v>
                </c:pt>
                <c:pt idx="9227">
                  <c:v>7.2212306922641485</c:v>
                </c:pt>
                <c:pt idx="9228">
                  <c:v>7.1322964877669977</c:v>
                </c:pt>
                <c:pt idx="9229">
                  <c:v>4.8988286640818606</c:v>
                </c:pt>
                <c:pt idx="9230">
                  <c:v>5.965990876840519</c:v>
                </c:pt>
                <c:pt idx="9231">
                  <c:v>6.0824284241729822</c:v>
                </c:pt>
                <c:pt idx="9232">
                  <c:v>5.9609466760512833</c:v>
                </c:pt>
                <c:pt idx="9233">
                  <c:v>4.9358463559301686</c:v>
                </c:pt>
                <c:pt idx="9234">
                  <c:v>4.9217866956964205</c:v>
                </c:pt>
                <c:pt idx="9235">
                  <c:v>4.9910345686094129</c:v>
                </c:pt>
                <c:pt idx="9236">
                  <c:v>4.9351293307671256</c:v>
                </c:pt>
                <c:pt idx="9237">
                  <c:v>6.0525613689525581</c:v>
                </c:pt>
                <c:pt idx="9238">
                  <c:v>5.013396047052562</c:v>
                </c:pt>
                <c:pt idx="9239">
                  <c:v>5.9534417781258133</c:v>
                </c:pt>
                <c:pt idx="9240">
                  <c:v>6.0782418826407891</c:v>
                </c:pt>
                <c:pt idx="9241">
                  <c:v>7.0098061898427888</c:v>
                </c:pt>
                <c:pt idx="9242">
                  <c:v>5.0931413774104639</c:v>
                </c:pt>
                <c:pt idx="9243">
                  <c:v>5.9916275678218067</c:v>
                </c:pt>
                <c:pt idx="9244">
                  <c:v>5.8558648692676467</c:v>
                </c:pt>
                <c:pt idx="9245">
                  <c:v>6.9118542929523468</c:v>
                </c:pt>
                <c:pt idx="9246">
                  <c:v>6.9151547689088293</c:v>
                </c:pt>
                <c:pt idx="9247">
                  <c:v>5.9070295668716364</c:v>
                </c:pt>
                <c:pt idx="9248">
                  <c:v>5.0124381250185097</c:v>
                </c:pt>
                <c:pt idx="9249">
                  <c:v>4.9680217720442208</c:v>
                </c:pt>
                <c:pt idx="9250">
                  <c:v>6.0253115372761048</c:v>
                </c:pt>
                <c:pt idx="9251">
                  <c:v>4.8629252302789272</c:v>
                </c:pt>
                <c:pt idx="9252">
                  <c:v>6.0356097553294363</c:v>
                </c:pt>
                <c:pt idx="9253">
                  <c:v>5.0908928267038069</c:v>
                </c:pt>
                <c:pt idx="9254">
                  <c:v>6.072088852437366</c:v>
                </c:pt>
                <c:pt idx="9255">
                  <c:v>5.9960255142441632</c:v>
                </c:pt>
                <c:pt idx="9256">
                  <c:v>5.0631769648584868</c:v>
                </c:pt>
                <c:pt idx="9257">
                  <c:v>5.9947852361991023</c:v>
                </c:pt>
                <c:pt idx="9258">
                  <c:v>4.963343986983217</c:v>
                </c:pt>
                <c:pt idx="9259">
                  <c:v>5.9781614497780691</c:v>
                </c:pt>
                <c:pt idx="9260">
                  <c:v>5.9599792322023806</c:v>
                </c:pt>
                <c:pt idx="9261">
                  <c:v>5.0916873136110246</c:v>
                </c:pt>
                <c:pt idx="9262">
                  <c:v>6.0592801844267186</c:v>
                </c:pt>
                <c:pt idx="9263">
                  <c:v>4.9795048786606344</c:v>
                </c:pt>
                <c:pt idx="9264">
                  <c:v>4.936060745339506</c:v>
                </c:pt>
                <c:pt idx="9265">
                  <c:v>5.9842640098709321</c:v>
                </c:pt>
                <c:pt idx="9266">
                  <c:v>4.9561866085004649</c:v>
                </c:pt>
                <c:pt idx="9267">
                  <c:v>5.0068345151649769</c:v>
                </c:pt>
                <c:pt idx="9268">
                  <c:v>5.0698343379115398</c:v>
                </c:pt>
                <c:pt idx="9269">
                  <c:v>6.0475735499901253</c:v>
                </c:pt>
                <c:pt idx="9270">
                  <c:v>5.9195521539601765</c:v>
                </c:pt>
                <c:pt idx="9271">
                  <c:v>6.0678515603030245</c:v>
                </c:pt>
                <c:pt idx="9272">
                  <c:v>5.9659507944502748</c:v>
                </c:pt>
                <c:pt idx="9273">
                  <c:v>5.8113259909408503</c:v>
                </c:pt>
                <c:pt idx="9274">
                  <c:v>6.16223996310001</c:v>
                </c:pt>
                <c:pt idx="9275">
                  <c:v>6.1303773471199818</c:v>
                </c:pt>
                <c:pt idx="9276">
                  <c:v>4.8988540399343492</c:v>
                </c:pt>
                <c:pt idx="9277">
                  <c:v>6.0126380948792963</c:v>
                </c:pt>
                <c:pt idx="9278">
                  <c:v>5.9775322815971892</c:v>
                </c:pt>
                <c:pt idx="9279">
                  <c:v>6.0189517776498791</c:v>
                </c:pt>
                <c:pt idx="9280">
                  <c:v>6.0001003367741044</c:v>
                </c:pt>
                <c:pt idx="9281">
                  <c:v>6.091878978186763</c:v>
                </c:pt>
                <c:pt idx="9282">
                  <c:v>5.966725334998773</c:v>
                </c:pt>
                <c:pt idx="9283">
                  <c:v>5.8922503633546492</c:v>
                </c:pt>
                <c:pt idx="9284">
                  <c:v>5.1142940431340733</c:v>
                </c:pt>
                <c:pt idx="9285">
                  <c:v>5.9708040850066677</c:v>
                </c:pt>
                <c:pt idx="9286">
                  <c:v>5.932390177549383</c:v>
                </c:pt>
                <c:pt idx="9287">
                  <c:v>5.0478620677842221</c:v>
                </c:pt>
                <c:pt idx="9288">
                  <c:v>4.911727142565633</c:v>
                </c:pt>
                <c:pt idx="9289">
                  <c:v>4.7877877261274264</c:v>
                </c:pt>
                <c:pt idx="9290">
                  <c:v>3.0443314972664393</c:v>
                </c:pt>
                <c:pt idx="9291">
                  <c:v>4.9588591502023647</c:v>
                </c:pt>
                <c:pt idx="9292">
                  <c:v>6.0835641850051818</c:v>
                </c:pt>
                <c:pt idx="9293">
                  <c:v>6.0096906112777724</c:v>
                </c:pt>
                <c:pt idx="9294">
                  <c:v>5.0121563897600403</c:v>
                </c:pt>
                <c:pt idx="9295">
                  <c:v>5.0145371174536519</c:v>
                </c:pt>
                <c:pt idx="9296">
                  <c:v>4.9699383488170223</c:v>
                </c:pt>
                <c:pt idx="9297">
                  <c:v>5.9919446152186477</c:v>
                </c:pt>
                <c:pt idx="9298">
                  <c:v>5.0206349491492386</c:v>
                </c:pt>
                <c:pt idx="9299">
                  <c:v>6.16518012835727</c:v>
                </c:pt>
                <c:pt idx="9300">
                  <c:v>5.0438277438935604</c:v>
                </c:pt>
                <c:pt idx="9301">
                  <c:v>6.0467713359918793</c:v>
                </c:pt>
                <c:pt idx="9302">
                  <c:v>5.9937724442437128</c:v>
                </c:pt>
                <c:pt idx="9303">
                  <c:v>6.1409783950244954</c:v>
                </c:pt>
                <c:pt idx="9304">
                  <c:v>5.6491192386771996</c:v>
                </c:pt>
                <c:pt idx="9305">
                  <c:v>4.9796963064816291</c:v>
                </c:pt>
                <c:pt idx="9306">
                  <c:v>4.9712182293008924</c:v>
                </c:pt>
                <c:pt idx="9307">
                  <c:v>6.1097622266031415</c:v>
                </c:pt>
                <c:pt idx="9308">
                  <c:v>4.9880672713242848</c:v>
                </c:pt>
                <c:pt idx="9309">
                  <c:v>6.066688142145618</c:v>
                </c:pt>
                <c:pt idx="9310">
                  <c:v>6.0155734585662097</c:v>
                </c:pt>
                <c:pt idx="9311">
                  <c:v>4.974341323964528</c:v>
                </c:pt>
                <c:pt idx="9312">
                  <c:v>5.1110488558643299</c:v>
                </c:pt>
                <c:pt idx="9313">
                  <c:v>5.8734960506337037</c:v>
                </c:pt>
                <c:pt idx="9314">
                  <c:v>6.0590733059181536</c:v>
                </c:pt>
                <c:pt idx="9315">
                  <c:v>5.8781416755201166</c:v>
                </c:pt>
                <c:pt idx="9316">
                  <c:v>6.0775595411943337</c:v>
                </c:pt>
                <c:pt idx="9317">
                  <c:v>4.9817427254534259</c:v>
                </c:pt>
                <c:pt idx="9318">
                  <c:v>6.0850642948938019</c:v>
                </c:pt>
                <c:pt idx="9319">
                  <c:v>6.0222462006700068</c:v>
                </c:pt>
                <c:pt idx="9320">
                  <c:v>7.1687699124276172</c:v>
                </c:pt>
                <c:pt idx="9321">
                  <c:v>5.0180026259660941</c:v>
                </c:pt>
                <c:pt idx="9322">
                  <c:v>5.8997947166241573</c:v>
                </c:pt>
                <c:pt idx="9323">
                  <c:v>5.1592475641045077</c:v>
                </c:pt>
                <c:pt idx="9324">
                  <c:v>5.727322212867838</c:v>
                </c:pt>
                <c:pt idx="9325">
                  <c:v>5.8266527225218541</c:v>
                </c:pt>
                <c:pt idx="9326">
                  <c:v>5.962107935359402</c:v>
                </c:pt>
                <c:pt idx="9327">
                  <c:v>6.0301380242274298</c:v>
                </c:pt>
                <c:pt idx="9328">
                  <c:v>5.0383019303533771</c:v>
                </c:pt>
                <c:pt idx="9329">
                  <c:v>6.0006152040786045</c:v>
                </c:pt>
                <c:pt idx="9330">
                  <c:v>5.1640539197581772</c:v>
                </c:pt>
                <c:pt idx="9331">
                  <c:v>6.1230434043385014</c:v>
                </c:pt>
                <c:pt idx="9332">
                  <c:v>4.859172498576819</c:v>
                </c:pt>
                <c:pt idx="9333">
                  <c:v>5.043285583949638</c:v>
                </c:pt>
                <c:pt idx="9334">
                  <c:v>5.0609657403461457</c:v>
                </c:pt>
                <c:pt idx="9335">
                  <c:v>6.0029110910060881</c:v>
                </c:pt>
                <c:pt idx="9336">
                  <c:v>6.0484794124253849</c:v>
                </c:pt>
                <c:pt idx="9337">
                  <c:v>5.0251730416899161</c:v>
                </c:pt>
                <c:pt idx="9338">
                  <c:v>6.1497489374420784</c:v>
                </c:pt>
                <c:pt idx="9339">
                  <c:v>4.9762685987647854</c:v>
                </c:pt>
                <c:pt idx="9340">
                  <c:v>5.0460297381213683</c:v>
                </c:pt>
                <c:pt idx="9341">
                  <c:v>4.8542853845834495</c:v>
                </c:pt>
                <c:pt idx="9342">
                  <c:v>5.9186971137192748</c:v>
                </c:pt>
                <c:pt idx="9343">
                  <c:v>7.1483610124072907</c:v>
                </c:pt>
                <c:pt idx="9344">
                  <c:v>5.017957366621749</c:v>
                </c:pt>
                <c:pt idx="9345">
                  <c:v>4.7582987384084054</c:v>
                </c:pt>
                <c:pt idx="9346">
                  <c:v>6.0295654235924658</c:v>
                </c:pt>
                <c:pt idx="9347">
                  <c:v>5.7924074729920614</c:v>
                </c:pt>
                <c:pt idx="9348">
                  <c:v>5.9927749906925296</c:v>
                </c:pt>
                <c:pt idx="9349">
                  <c:v>5.8865165230790906</c:v>
                </c:pt>
                <c:pt idx="9350">
                  <c:v>4.94992660829468</c:v>
                </c:pt>
                <c:pt idx="9351">
                  <c:v>5.1197853878263286</c:v>
                </c:pt>
                <c:pt idx="9352">
                  <c:v>4.998841033835248</c:v>
                </c:pt>
                <c:pt idx="9353">
                  <c:v>5.0086743802374549</c:v>
                </c:pt>
                <c:pt idx="9354">
                  <c:v>6.1244157789363234</c:v>
                </c:pt>
                <c:pt idx="9355">
                  <c:v>5.1619185383863364</c:v>
                </c:pt>
                <c:pt idx="9356">
                  <c:v>5.9748696037015314</c:v>
                </c:pt>
                <c:pt idx="9357">
                  <c:v>4.8319114053278902</c:v>
                </c:pt>
                <c:pt idx="9358">
                  <c:v>5.9032899980647784</c:v>
                </c:pt>
                <c:pt idx="9359">
                  <c:v>5.8093534641060636</c:v>
                </c:pt>
                <c:pt idx="9360">
                  <c:v>4.944420542490926</c:v>
                </c:pt>
                <c:pt idx="9361">
                  <c:v>4.974677621236741</c:v>
                </c:pt>
                <c:pt idx="9362">
                  <c:v>4.8860908503037326</c:v>
                </c:pt>
                <c:pt idx="9363">
                  <c:v>6.0462331014621133</c:v>
                </c:pt>
                <c:pt idx="9364">
                  <c:v>5.0131079295283403</c:v>
                </c:pt>
                <c:pt idx="9365">
                  <c:v>6.0472718834396648</c:v>
                </c:pt>
                <c:pt idx="9366">
                  <c:v>6.0178916151250714</c:v>
                </c:pt>
                <c:pt idx="9367">
                  <c:v>6.0985532431870997</c:v>
                </c:pt>
                <c:pt idx="9368">
                  <c:v>4.8497371364222293</c:v>
                </c:pt>
                <c:pt idx="9369">
                  <c:v>6.0306701118930741</c:v>
                </c:pt>
                <c:pt idx="9370">
                  <c:v>5.9628739728676772</c:v>
                </c:pt>
                <c:pt idx="9371">
                  <c:v>6.0866893236125019</c:v>
                </c:pt>
                <c:pt idx="9372">
                  <c:v>5.9849181822143542</c:v>
                </c:pt>
                <c:pt idx="9373">
                  <c:v>4.9432408516162099</c:v>
                </c:pt>
                <c:pt idx="9374">
                  <c:v>6.0073377403504562</c:v>
                </c:pt>
                <c:pt idx="9375">
                  <c:v>6.0795396587704325</c:v>
                </c:pt>
                <c:pt idx="9376">
                  <c:v>6.1988770399375381</c:v>
                </c:pt>
                <c:pt idx="9377">
                  <c:v>6.0936963421642165</c:v>
                </c:pt>
                <c:pt idx="9378">
                  <c:v>4.8766912464783259</c:v>
                </c:pt>
                <c:pt idx="9379">
                  <c:v>5.9210685562259293</c:v>
                </c:pt>
                <c:pt idx="9380">
                  <c:v>5.1468580075658856</c:v>
                </c:pt>
                <c:pt idx="9381">
                  <c:v>5.965437065317408</c:v>
                </c:pt>
                <c:pt idx="9382">
                  <c:v>5.8618327808661093</c:v>
                </c:pt>
                <c:pt idx="9383">
                  <c:v>6.0497089474108074</c:v>
                </c:pt>
                <c:pt idx="9384">
                  <c:v>5.8650465033693004</c:v>
                </c:pt>
                <c:pt idx="9385">
                  <c:v>4.9683421827614431</c:v>
                </c:pt>
                <c:pt idx="9386">
                  <c:v>6.0728867447576418</c:v>
                </c:pt>
                <c:pt idx="9387">
                  <c:v>5.9356576243735297</c:v>
                </c:pt>
                <c:pt idx="9388">
                  <c:v>5.892678259132917</c:v>
                </c:pt>
                <c:pt idx="9389">
                  <c:v>5.8870703990364346</c:v>
                </c:pt>
                <c:pt idx="9390">
                  <c:v>5.9812977516656813</c:v>
                </c:pt>
                <c:pt idx="9391">
                  <c:v>5.901371914502092</c:v>
                </c:pt>
                <c:pt idx="9392">
                  <c:v>5.9681184937314509</c:v>
                </c:pt>
                <c:pt idx="9393">
                  <c:v>5.1186195165358841</c:v>
                </c:pt>
                <c:pt idx="9394">
                  <c:v>6.13898026270373</c:v>
                </c:pt>
                <c:pt idx="9395">
                  <c:v>4.7873028217763958</c:v>
                </c:pt>
                <c:pt idx="9396">
                  <c:v>6.2240051873877942</c:v>
                </c:pt>
                <c:pt idx="9397">
                  <c:v>5.8730968818372613</c:v>
                </c:pt>
                <c:pt idx="9398">
                  <c:v>5.0951585610164836</c:v>
                </c:pt>
                <c:pt idx="9399">
                  <c:v>5.8445149400155625</c:v>
                </c:pt>
                <c:pt idx="9400">
                  <c:v>6.0672876701054239</c:v>
                </c:pt>
                <c:pt idx="9401">
                  <c:v>5.0025126943448619</c:v>
                </c:pt>
                <c:pt idx="9402">
                  <c:v>4.9275183963600995</c:v>
                </c:pt>
                <c:pt idx="9403">
                  <c:v>4.8414837230563572</c:v>
                </c:pt>
                <c:pt idx="9404">
                  <c:v>6.0354399938147134</c:v>
                </c:pt>
                <c:pt idx="9405">
                  <c:v>4.9242730873797687</c:v>
                </c:pt>
                <c:pt idx="9406">
                  <c:v>5.9692869501716102</c:v>
                </c:pt>
                <c:pt idx="9407">
                  <c:v>5.9081937323020357</c:v>
                </c:pt>
                <c:pt idx="9408">
                  <c:v>5.9881026818480887</c:v>
                </c:pt>
                <c:pt idx="9409">
                  <c:v>5.8626028930436629</c:v>
                </c:pt>
                <c:pt idx="9410">
                  <c:v>6.0726634212009776</c:v>
                </c:pt>
                <c:pt idx="9411">
                  <c:v>6.1008279470899494</c:v>
                </c:pt>
                <c:pt idx="9412">
                  <c:v>4.0983157321662453</c:v>
                </c:pt>
                <c:pt idx="9413">
                  <c:v>5.9241351602033134</c:v>
                </c:pt>
                <c:pt idx="9414">
                  <c:v>5.8522406191495548</c:v>
                </c:pt>
                <c:pt idx="9415">
                  <c:v>5.9292274945862697</c:v>
                </c:pt>
                <c:pt idx="9416">
                  <c:v>6.02459365493156</c:v>
                </c:pt>
                <c:pt idx="9417">
                  <c:v>4.9998318882748789</c:v>
                </c:pt>
                <c:pt idx="9418">
                  <c:v>5.9548801623229517</c:v>
                </c:pt>
                <c:pt idx="9419">
                  <c:v>5.0523177803060886</c:v>
                </c:pt>
                <c:pt idx="9420">
                  <c:v>5.9862928999208602</c:v>
                </c:pt>
                <c:pt idx="9421">
                  <c:v>6.1331476221448185</c:v>
                </c:pt>
                <c:pt idx="9422">
                  <c:v>6.1735851685575733</c:v>
                </c:pt>
                <c:pt idx="9423">
                  <c:v>6.0271286245625406</c:v>
                </c:pt>
                <c:pt idx="9424">
                  <c:v>6.0155762882011059</c:v>
                </c:pt>
                <c:pt idx="9425">
                  <c:v>6.1017216095410927</c:v>
                </c:pt>
                <c:pt idx="9426">
                  <c:v>6.188951324438662</c:v>
                </c:pt>
                <c:pt idx="9427">
                  <c:v>6.0239966096851738</c:v>
                </c:pt>
                <c:pt idx="9428">
                  <c:v>5.9555689637590232</c:v>
                </c:pt>
                <c:pt idx="9429">
                  <c:v>5.8562496868889387</c:v>
                </c:pt>
                <c:pt idx="9430">
                  <c:v>6.0483466838639339</c:v>
                </c:pt>
                <c:pt idx="9431">
                  <c:v>6.0192772795212939</c:v>
                </c:pt>
                <c:pt idx="9432">
                  <c:v>4.9777883743836515</c:v>
                </c:pt>
                <c:pt idx="9433">
                  <c:v>5.9586354891367979</c:v>
                </c:pt>
                <c:pt idx="9434">
                  <c:v>4.8361223390696884</c:v>
                </c:pt>
                <c:pt idx="9435">
                  <c:v>6.084970608438236</c:v>
                </c:pt>
                <c:pt idx="9436">
                  <c:v>5.8865146361122456</c:v>
                </c:pt>
                <c:pt idx="9437">
                  <c:v>6.1051929144906421</c:v>
                </c:pt>
                <c:pt idx="9438">
                  <c:v>5.9919165395456293</c:v>
                </c:pt>
                <c:pt idx="9439">
                  <c:v>4.9418020001555263</c:v>
                </c:pt>
                <c:pt idx="9440">
                  <c:v>4.9934960320644031</c:v>
                </c:pt>
                <c:pt idx="9441">
                  <c:v>4.8294048293705547</c:v>
                </c:pt>
                <c:pt idx="9442">
                  <c:v>5.9986397389417094</c:v>
                </c:pt>
                <c:pt idx="9443">
                  <c:v>4.9224710384517003</c:v>
                </c:pt>
                <c:pt idx="9444">
                  <c:v>4.983526642317563</c:v>
                </c:pt>
                <c:pt idx="9445">
                  <c:v>5.9023068263653631</c:v>
                </c:pt>
                <c:pt idx="9446">
                  <c:v>4.9509595686726096</c:v>
                </c:pt>
                <c:pt idx="9447">
                  <c:v>5.0406878847988121</c:v>
                </c:pt>
                <c:pt idx="9448">
                  <c:v>3.944428474241636</c:v>
                </c:pt>
                <c:pt idx="9449">
                  <c:v>4.8772675652542263</c:v>
                </c:pt>
                <c:pt idx="9450">
                  <c:v>5.0295985202303886</c:v>
                </c:pt>
                <c:pt idx="9451">
                  <c:v>5.991222960522026</c:v>
                </c:pt>
                <c:pt idx="9452">
                  <c:v>5.0238572087070175</c:v>
                </c:pt>
                <c:pt idx="9453">
                  <c:v>5.0039022052323521</c:v>
                </c:pt>
                <c:pt idx="9454">
                  <c:v>4.9105575625197364</c:v>
                </c:pt>
                <c:pt idx="9455">
                  <c:v>5.8844446975979068</c:v>
                </c:pt>
                <c:pt idx="9456">
                  <c:v>4.8682911275439258</c:v>
                </c:pt>
                <c:pt idx="9457">
                  <c:v>5.9168272364416641</c:v>
                </c:pt>
                <c:pt idx="9458">
                  <c:v>4.9781474785323772</c:v>
                </c:pt>
                <c:pt idx="9459">
                  <c:v>5.9187901304447603</c:v>
                </c:pt>
                <c:pt idx="9460">
                  <c:v>6.0824664752011763</c:v>
                </c:pt>
                <c:pt idx="9461">
                  <c:v>5.9701615462900461</c:v>
                </c:pt>
                <c:pt idx="9462">
                  <c:v>5.0633526791567514</c:v>
                </c:pt>
                <c:pt idx="9463">
                  <c:v>5.9859817763603003</c:v>
                </c:pt>
                <c:pt idx="9464">
                  <c:v>5.9327644301687847</c:v>
                </c:pt>
                <c:pt idx="9465">
                  <c:v>6.0193959178871701</c:v>
                </c:pt>
                <c:pt idx="9466">
                  <c:v>6.0480152408495238</c:v>
                </c:pt>
                <c:pt idx="9467">
                  <c:v>5.892620758566526</c:v>
                </c:pt>
                <c:pt idx="9468">
                  <c:v>4.9593261160462561</c:v>
                </c:pt>
                <c:pt idx="9469">
                  <c:v>5.0339024383377788</c:v>
                </c:pt>
                <c:pt idx="9470">
                  <c:v>6.9747470096034236</c:v>
                </c:pt>
                <c:pt idx="9471">
                  <c:v>6.1797834135758647</c:v>
                </c:pt>
                <c:pt idx="9472">
                  <c:v>6.055744862128547</c:v>
                </c:pt>
                <c:pt idx="9473">
                  <c:v>6.0702325482102601</c:v>
                </c:pt>
                <c:pt idx="9474">
                  <c:v>5.8720201799542799</c:v>
                </c:pt>
                <c:pt idx="9475">
                  <c:v>4.9212887463236585</c:v>
                </c:pt>
                <c:pt idx="9476">
                  <c:v>6.017745833084013</c:v>
                </c:pt>
                <c:pt idx="9477">
                  <c:v>5.8728716965703809</c:v>
                </c:pt>
                <c:pt idx="9478">
                  <c:v>4.9279353180752077</c:v>
                </c:pt>
                <c:pt idx="9479">
                  <c:v>5.896823810916457</c:v>
                </c:pt>
                <c:pt idx="9480">
                  <c:v>6.0209592050873892</c:v>
                </c:pt>
                <c:pt idx="9481">
                  <c:v>5.9425130241092994</c:v>
                </c:pt>
                <c:pt idx="9482">
                  <c:v>5.9970219417556097</c:v>
                </c:pt>
                <c:pt idx="9483">
                  <c:v>5.902975406976962</c:v>
                </c:pt>
                <c:pt idx="9484">
                  <c:v>6.0990103927841703</c:v>
                </c:pt>
                <c:pt idx="9485">
                  <c:v>5.9441090785823079</c:v>
                </c:pt>
                <c:pt idx="9486">
                  <c:v>4.8407165206106928</c:v>
                </c:pt>
                <c:pt idx="9487">
                  <c:v>5.8464847263406474</c:v>
                </c:pt>
                <c:pt idx="9488">
                  <c:v>6.0594434816779108</c:v>
                </c:pt>
                <c:pt idx="9489">
                  <c:v>5.8783215463549947</c:v>
                </c:pt>
                <c:pt idx="9490">
                  <c:v>4.8961706261176055</c:v>
                </c:pt>
                <c:pt idx="9491">
                  <c:v>5.9057774491675739</c:v>
                </c:pt>
                <c:pt idx="9492">
                  <c:v>4.8025896814363724</c:v>
                </c:pt>
                <c:pt idx="9493">
                  <c:v>4.9605271352716533</c:v>
                </c:pt>
                <c:pt idx="9494">
                  <c:v>5.0511146312201767</c:v>
                </c:pt>
                <c:pt idx="9495">
                  <c:v>4.9346550413121095</c:v>
                </c:pt>
                <c:pt idx="9496">
                  <c:v>4.9327605489555388</c:v>
                </c:pt>
                <c:pt idx="9497">
                  <c:v>5.995718074989469</c:v>
                </c:pt>
                <c:pt idx="9498">
                  <c:v>4.8849067093701732</c:v>
                </c:pt>
                <c:pt idx="9499">
                  <c:v>6.0365754923650128</c:v>
                </c:pt>
                <c:pt idx="9500">
                  <c:v>6.036800925990633</c:v>
                </c:pt>
                <c:pt idx="9501">
                  <c:v>4.8747267807066983</c:v>
                </c:pt>
                <c:pt idx="9502">
                  <c:v>4.9687127977523851</c:v>
                </c:pt>
                <c:pt idx="9503">
                  <c:v>5.0656815788410166</c:v>
                </c:pt>
                <c:pt idx="9504">
                  <c:v>6.0707220437024736</c:v>
                </c:pt>
                <c:pt idx="9505">
                  <c:v>5.9145971954181391</c:v>
                </c:pt>
                <c:pt idx="9506">
                  <c:v>5.0557517526136913</c:v>
                </c:pt>
                <c:pt idx="9507">
                  <c:v>5.959431969825232</c:v>
                </c:pt>
                <c:pt idx="9508">
                  <c:v>6.1848700086664126</c:v>
                </c:pt>
                <c:pt idx="9509">
                  <c:v>5.8667082503699151</c:v>
                </c:pt>
                <c:pt idx="9510">
                  <c:v>5.9181852003688293</c:v>
                </c:pt>
                <c:pt idx="9511">
                  <c:v>6.029076446819098</c:v>
                </c:pt>
                <c:pt idx="9512">
                  <c:v>6.1525325908279527</c:v>
                </c:pt>
                <c:pt idx="9513">
                  <c:v>5.8120550246068374</c:v>
                </c:pt>
                <c:pt idx="9514">
                  <c:v>4.8883970020390972</c:v>
                </c:pt>
                <c:pt idx="9515">
                  <c:v>6.0520354051160901</c:v>
                </c:pt>
                <c:pt idx="9516">
                  <c:v>4.9525113715187654</c:v>
                </c:pt>
                <c:pt idx="9517">
                  <c:v>6.0195973518185513</c:v>
                </c:pt>
                <c:pt idx="9518">
                  <c:v>5.9278846115272668</c:v>
                </c:pt>
                <c:pt idx="9519">
                  <c:v>5.1073301320138889</c:v>
                </c:pt>
                <c:pt idx="9520">
                  <c:v>4.9514607373193558</c:v>
                </c:pt>
                <c:pt idx="9521">
                  <c:v>5.7958484302220246</c:v>
                </c:pt>
                <c:pt idx="9522">
                  <c:v>5.045074540983264</c:v>
                </c:pt>
                <c:pt idx="9523">
                  <c:v>5.9652220770019806</c:v>
                </c:pt>
                <c:pt idx="9524">
                  <c:v>6.8501535741504789</c:v>
                </c:pt>
                <c:pt idx="9525">
                  <c:v>4.9898074275078157</c:v>
                </c:pt>
                <c:pt idx="9526">
                  <c:v>5.7628364470026261</c:v>
                </c:pt>
                <c:pt idx="9527">
                  <c:v>6.1535345874946374</c:v>
                </c:pt>
                <c:pt idx="9528">
                  <c:v>6.0573829297901893</c:v>
                </c:pt>
                <c:pt idx="9529">
                  <c:v>4.9881826378371406</c:v>
                </c:pt>
                <c:pt idx="9530">
                  <c:v>5.8905518022422259</c:v>
                </c:pt>
                <c:pt idx="9531">
                  <c:v>5.0367077371156883</c:v>
                </c:pt>
                <c:pt idx="9532">
                  <c:v>7.0388162323667567</c:v>
                </c:pt>
                <c:pt idx="9533">
                  <c:v>5.0281821866617369</c:v>
                </c:pt>
                <c:pt idx="9534">
                  <c:v>5.9448166602648591</c:v>
                </c:pt>
                <c:pt idx="9535">
                  <c:v>5.9798737756582199</c:v>
                </c:pt>
                <c:pt idx="9536">
                  <c:v>5.9033784679259913</c:v>
                </c:pt>
                <c:pt idx="9537">
                  <c:v>5.096351254112875</c:v>
                </c:pt>
                <c:pt idx="9538">
                  <c:v>6.0933889978036397</c:v>
                </c:pt>
                <c:pt idx="9539">
                  <c:v>6.0084276076294509</c:v>
                </c:pt>
                <c:pt idx="9540">
                  <c:v>6.1027717353372566</c:v>
                </c:pt>
                <c:pt idx="9541">
                  <c:v>5.9182599619453331</c:v>
                </c:pt>
                <c:pt idx="9542">
                  <c:v>6.0926164225820596</c:v>
                </c:pt>
                <c:pt idx="9543">
                  <c:v>6.0553965528202784</c:v>
                </c:pt>
                <c:pt idx="9544">
                  <c:v>4.9478018430459301</c:v>
                </c:pt>
                <c:pt idx="9545">
                  <c:v>4.958013815038858</c:v>
                </c:pt>
                <c:pt idx="9546">
                  <c:v>6.0062655402069467</c:v>
                </c:pt>
                <c:pt idx="9547">
                  <c:v>5.0830315078096611</c:v>
                </c:pt>
                <c:pt idx="9548">
                  <c:v>5.0241491775903544</c:v>
                </c:pt>
                <c:pt idx="9549">
                  <c:v>5.1764396542500366</c:v>
                </c:pt>
                <c:pt idx="9550">
                  <c:v>4.9761973238424728</c:v>
                </c:pt>
                <c:pt idx="9551">
                  <c:v>5.9069100976152944</c:v>
                </c:pt>
                <c:pt idx="9552">
                  <c:v>5.9872119891897846</c:v>
                </c:pt>
                <c:pt idx="9553">
                  <c:v>5.9545142207918174</c:v>
                </c:pt>
                <c:pt idx="9554">
                  <c:v>4.9129931260762216</c:v>
                </c:pt>
                <c:pt idx="9555">
                  <c:v>6.1074368603974589</c:v>
                </c:pt>
                <c:pt idx="9556">
                  <c:v>5.9868174790355839</c:v>
                </c:pt>
                <c:pt idx="9557">
                  <c:v>5.0625852847246193</c:v>
                </c:pt>
                <c:pt idx="9558">
                  <c:v>5.7997029589732678</c:v>
                </c:pt>
                <c:pt idx="9559">
                  <c:v>6.2164413936191032</c:v>
                </c:pt>
                <c:pt idx="9560">
                  <c:v>5.9769658218791397</c:v>
                </c:pt>
                <c:pt idx="9561">
                  <c:v>5.9307619361838153</c:v>
                </c:pt>
                <c:pt idx="9562">
                  <c:v>4.9730491138721389</c:v>
                </c:pt>
                <c:pt idx="9563">
                  <c:v>4.9367022279817441</c:v>
                </c:pt>
                <c:pt idx="9564">
                  <c:v>5.0604217405147311</c:v>
                </c:pt>
                <c:pt idx="9565">
                  <c:v>5.0752902489179421</c:v>
                </c:pt>
                <c:pt idx="9566">
                  <c:v>5.1079800478202282</c:v>
                </c:pt>
                <c:pt idx="9567">
                  <c:v>5.89585502920177</c:v>
                </c:pt>
                <c:pt idx="9568">
                  <c:v>5.9695042476128801</c:v>
                </c:pt>
                <c:pt idx="9569">
                  <c:v>4.8964764606295352</c:v>
                </c:pt>
                <c:pt idx="9570">
                  <c:v>5.8916186481867463</c:v>
                </c:pt>
                <c:pt idx="9571">
                  <c:v>5.1131915397386347</c:v>
                </c:pt>
                <c:pt idx="9572">
                  <c:v>7.2229033074165399</c:v>
                </c:pt>
                <c:pt idx="9573">
                  <c:v>4.9106854274989482</c:v>
                </c:pt>
                <c:pt idx="9574">
                  <c:v>5.959324814907494</c:v>
                </c:pt>
                <c:pt idx="9575">
                  <c:v>4.9173301765921025</c:v>
                </c:pt>
                <c:pt idx="9576">
                  <c:v>4.9281158798215232</c:v>
                </c:pt>
                <c:pt idx="9577">
                  <c:v>4.909810509952</c:v>
                </c:pt>
                <c:pt idx="9578">
                  <c:v>7.0499919844381411</c:v>
                </c:pt>
                <c:pt idx="9579">
                  <c:v>5.0346564740789335</c:v>
                </c:pt>
                <c:pt idx="9580">
                  <c:v>6.1680101060219474</c:v>
                </c:pt>
                <c:pt idx="9581">
                  <c:v>5.9869562134549374</c:v>
                </c:pt>
                <c:pt idx="9582">
                  <c:v>6.0944634497838654</c:v>
                </c:pt>
                <c:pt idx="9583">
                  <c:v>6.9416236674722462</c:v>
                </c:pt>
                <c:pt idx="9584">
                  <c:v>4.97809365948733</c:v>
                </c:pt>
                <c:pt idx="9585">
                  <c:v>6.0954520406739379</c:v>
                </c:pt>
                <c:pt idx="9586">
                  <c:v>5.1100323107031294</c:v>
                </c:pt>
                <c:pt idx="9587">
                  <c:v>4.875755286559782</c:v>
                </c:pt>
                <c:pt idx="9588">
                  <c:v>5.8645507332857765</c:v>
                </c:pt>
                <c:pt idx="9589">
                  <c:v>5.01134876832859</c:v>
                </c:pt>
                <c:pt idx="9590">
                  <c:v>4.9742169755061223</c:v>
                </c:pt>
                <c:pt idx="9591">
                  <c:v>4.9620506980466565</c:v>
                </c:pt>
                <c:pt idx="9592">
                  <c:v>4.8840745922839881</c:v>
                </c:pt>
                <c:pt idx="9593">
                  <c:v>4.8623253758850637</c:v>
                </c:pt>
                <c:pt idx="9594">
                  <c:v>5.9833208523981991</c:v>
                </c:pt>
                <c:pt idx="9595">
                  <c:v>4.8695541658142636</c:v>
                </c:pt>
                <c:pt idx="9596">
                  <c:v>4.9914489563769466</c:v>
                </c:pt>
                <c:pt idx="9597">
                  <c:v>5.9811449277498223</c:v>
                </c:pt>
                <c:pt idx="9598">
                  <c:v>5.9081567296161142</c:v>
                </c:pt>
                <c:pt idx="9599">
                  <c:v>6.0175823616327779</c:v>
                </c:pt>
                <c:pt idx="9600">
                  <c:v>5.198288968779508</c:v>
                </c:pt>
                <c:pt idx="9601">
                  <c:v>5.9712063654737317</c:v>
                </c:pt>
                <c:pt idx="9602">
                  <c:v>4.874666919640207</c:v>
                </c:pt>
                <c:pt idx="9603">
                  <c:v>5.0032475080935175</c:v>
                </c:pt>
                <c:pt idx="9604">
                  <c:v>5.191302973350588</c:v>
                </c:pt>
                <c:pt idx="9605">
                  <c:v>5.0671235851823093</c:v>
                </c:pt>
                <c:pt idx="9606">
                  <c:v>4.9608257349717055</c:v>
                </c:pt>
                <c:pt idx="9607">
                  <c:v>5.0771694301651884</c:v>
                </c:pt>
                <c:pt idx="9608">
                  <c:v>4.8773849698088254</c:v>
                </c:pt>
                <c:pt idx="9609">
                  <c:v>4.9341681318047375</c:v>
                </c:pt>
                <c:pt idx="9610">
                  <c:v>5.0470357347558075</c:v>
                </c:pt>
                <c:pt idx="9611">
                  <c:v>4.8803171246007571</c:v>
                </c:pt>
                <c:pt idx="9612">
                  <c:v>5.112508657072194</c:v>
                </c:pt>
                <c:pt idx="9613">
                  <c:v>6.0291298731421072</c:v>
                </c:pt>
                <c:pt idx="9614">
                  <c:v>6.0241011098763098</c:v>
                </c:pt>
                <c:pt idx="9615">
                  <c:v>4.8495104004409519</c:v>
                </c:pt>
                <c:pt idx="9616">
                  <c:v>4.8871614835024308</c:v>
                </c:pt>
                <c:pt idx="9617">
                  <c:v>5.1776936437651377</c:v>
                </c:pt>
                <c:pt idx="9618">
                  <c:v>6.037606003225978</c:v>
                </c:pt>
                <c:pt idx="9619">
                  <c:v>4.8898458086883165</c:v>
                </c:pt>
                <c:pt idx="9620">
                  <c:v>4.9679402881939128</c:v>
                </c:pt>
                <c:pt idx="9621">
                  <c:v>5.0942904879141482</c:v>
                </c:pt>
                <c:pt idx="9622">
                  <c:v>4.9860132981996319</c:v>
                </c:pt>
                <c:pt idx="9623">
                  <c:v>5.0565758450491884</c:v>
                </c:pt>
                <c:pt idx="9624">
                  <c:v>6.1440686774613367</c:v>
                </c:pt>
                <c:pt idx="9625">
                  <c:v>5.1052179101774673</c:v>
                </c:pt>
                <c:pt idx="9626">
                  <c:v>5.0491589518300533</c:v>
                </c:pt>
                <c:pt idx="9627">
                  <c:v>6.0123750036703036</c:v>
                </c:pt>
                <c:pt idx="9628">
                  <c:v>5.9902753861395981</c:v>
                </c:pt>
                <c:pt idx="9629">
                  <c:v>5.0886321256411993</c:v>
                </c:pt>
                <c:pt idx="9630">
                  <c:v>5.0313347782381364</c:v>
                </c:pt>
                <c:pt idx="9631">
                  <c:v>4.9124803058950981</c:v>
                </c:pt>
                <c:pt idx="9632">
                  <c:v>5.8976866242423487</c:v>
                </c:pt>
                <c:pt idx="9633">
                  <c:v>4.84761627809341</c:v>
                </c:pt>
                <c:pt idx="9634">
                  <c:v>4.8368340005499189</c:v>
                </c:pt>
                <c:pt idx="9635">
                  <c:v>5.984731997634622</c:v>
                </c:pt>
                <c:pt idx="9636">
                  <c:v>5.027724739599571</c:v>
                </c:pt>
                <c:pt idx="9637">
                  <c:v>4.1744310563943348</c:v>
                </c:pt>
                <c:pt idx="9638">
                  <c:v>3.9577292662010719</c:v>
                </c:pt>
                <c:pt idx="9639">
                  <c:v>6.0538970922257382</c:v>
                </c:pt>
                <c:pt idx="9640">
                  <c:v>4.903450830490339</c:v>
                </c:pt>
                <c:pt idx="9641">
                  <c:v>4.994189037171644</c:v>
                </c:pt>
                <c:pt idx="9642">
                  <c:v>5.0419981816805945</c:v>
                </c:pt>
                <c:pt idx="9643">
                  <c:v>6.0184929020275142</c:v>
                </c:pt>
                <c:pt idx="9644">
                  <c:v>6.0637274459309394</c:v>
                </c:pt>
                <c:pt idx="9645">
                  <c:v>5.0896405031641239</c:v>
                </c:pt>
                <c:pt idx="9646">
                  <c:v>6.0233967340870986</c:v>
                </c:pt>
                <c:pt idx="9647">
                  <c:v>5.1479324297306404</c:v>
                </c:pt>
                <c:pt idx="9648">
                  <c:v>4.9212749323737688</c:v>
                </c:pt>
                <c:pt idx="9649">
                  <c:v>4.9469616738614901</c:v>
                </c:pt>
                <c:pt idx="9650">
                  <c:v>4.9782707544500981</c:v>
                </c:pt>
                <c:pt idx="9651">
                  <c:v>5.2141645271826125</c:v>
                </c:pt>
                <c:pt idx="9652">
                  <c:v>6.9150795760375052</c:v>
                </c:pt>
                <c:pt idx="9653">
                  <c:v>5.9233506948836965</c:v>
                </c:pt>
                <c:pt idx="9654">
                  <c:v>4.8308054961409264</c:v>
                </c:pt>
                <c:pt idx="9655">
                  <c:v>6.112296889014071</c:v>
                </c:pt>
                <c:pt idx="9656">
                  <c:v>5.1404447643174871</c:v>
                </c:pt>
                <c:pt idx="9657">
                  <c:v>5.9721518245532135</c:v>
                </c:pt>
                <c:pt idx="9658">
                  <c:v>6.0877577865688375</c:v>
                </c:pt>
                <c:pt idx="9659">
                  <c:v>4.9153412271179153</c:v>
                </c:pt>
                <c:pt idx="9660">
                  <c:v>5.9907629328919318</c:v>
                </c:pt>
                <c:pt idx="9661">
                  <c:v>6.1488159384079548</c:v>
                </c:pt>
                <c:pt idx="9662">
                  <c:v>5.1659263377292293</c:v>
                </c:pt>
                <c:pt idx="9663">
                  <c:v>6.0667229014591664</c:v>
                </c:pt>
                <c:pt idx="9664">
                  <c:v>6.0836614166439951</c:v>
                </c:pt>
                <c:pt idx="9665">
                  <c:v>4.9253316826150408</c:v>
                </c:pt>
                <c:pt idx="9666">
                  <c:v>5.0768624288872024</c:v>
                </c:pt>
                <c:pt idx="9667">
                  <c:v>5.0346494847623173</c:v>
                </c:pt>
                <c:pt idx="9668">
                  <c:v>5.9704368783994832</c:v>
                </c:pt>
                <c:pt idx="9669">
                  <c:v>4.8174365782958191</c:v>
                </c:pt>
                <c:pt idx="9670">
                  <c:v>5.212637437375089</c:v>
                </c:pt>
                <c:pt idx="9671">
                  <c:v>5.9046818436135906</c:v>
                </c:pt>
                <c:pt idx="9672">
                  <c:v>4.9884676219646504</c:v>
                </c:pt>
                <c:pt idx="9673">
                  <c:v>6.0268604177681304</c:v>
                </c:pt>
                <c:pt idx="9674">
                  <c:v>5.8700013399919868</c:v>
                </c:pt>
                <c:pt idx="9675">
                  <c:v>6.1494510769544801</c:v>
                </c:pt>
                <c:pt idx="9676">
                  <c:v>6.0549535218244337</c:v>
                </c:pt>
                <c:pt idx="9677">
                  <c:v>5.9608687769394839</c:v>
                </c:pt>
                <c:pt idx="9678">
                  <c:v>5.948865511527166</c:v>
                </c:pt>
                <c:pt idx="9679">
                  <c:v>6.0563991640296857</c:v>
                </c:pt>
                <c:pt idx="9680">
                  <c:v>5.0618195095464946</c:v>
                </c:pt>
                <c:pt idx="9681">
                  <c:v>5.895462981265621</c:v>
                </c:pt>
                <c:pt idx="9682">
                  <c:v>4.0023356133864905</c:v>
                </c:pt>
                <c:pt idx="9683">
                  <c:v>4.0195888370899899</c:v>
                </c:pt>
                <c:pt idx="9684">
                  <c:v>6.8932439663567182</c:v>
                </c:pt>
                <c:pt idx="9685">
                  <c:v>5.9319840812289222</c:v>
                </c:pt>
                <c:pt idx="9686">
                  <c:v>6.0106733027640455</c:v>
                </c:pt>
                <c:pt idx="9687">
                  <c:v>5.9732357913415415</c:v>
                </c:pt>
                <c:pt idx="9688">
                  <c:v>6.1314103404013949</c:v>
                </c:pt>
                <c:pt idx="9689">
                  <c:v>5.9153728966973906</c:v>
                </c:pt>
                <c:pt idx="9690">
                  <c:v>6.2025711188714698</c:v>
                </c:pt>
                <c:pt idx="9691">
                  <c:v>5.8519443906149879</c:v>
                </c:pt>
                <c:pt idx="9692">
                  <c:v>6.1657510797163253</c:v>
                </c:pt>
                <c:pt idx="9693">
                  <c:v>5.1447120220490348</c:v>
                </c:pt>
                <c:pt idx="9694">
                  <c:v>5.0017707735617076</c:v>
                </c:pt>
                <c:pt idx="9695">
                  <c:v>5.1266142085281796</c:v>
                </c:pt>
                <c:pt idx="9696">
                  <c:v>4.9671457049824514</c:v>
                </c:pt>
                <c:pt idx="9697">
                  <c:v>5.0594448625168651</c:v>
                </c:pt>
                <c:pt idx="9698">
                  <c:v>4.8632927151421601</c:v>
                </c:pt>
                <c:pt idx="9699">
                  <c:v>5.9010825379645961</c:v>
                </c:pt>
                <c:pt idx="9700">
                  <c:v>5.001750966358073</c:v>
                </c:pt>
                <c:pt idx="9701">
                  <c:v>6.0402284179155439</c:v>
                </c:pt>
                <c:pt idx="9702">
                  <c:v>5.9830160766646543</c:v>
                </c:pt>
                <c:pt idx="9703">
                  <c:v>5.8424753190606129</c:v>
                </c:pt>
                <c:pt idx="9704">
                  <c:v>6.069950807879736</c:v>
                </c:pt>
                <c:pt idx="9705">
                  <c:v>6.0391263157196171</c:v>
                </c:pt>
                <c:pt idx="9706">
                  <c:v>6.0564201690562127</c:v>
                </c:pt>
                <c:pt idx="9707">
                  <c:v>5.0321259255561213</c:v>
                </c:pt>
                <c:pt idx="9708">
                  <c:v>4.0307375105215568</c:v>
                </c:pt>
                <c:pt idx="9709">
                  <c:v>4.8137673704146149</c:v>
                </c:pt>
                <c:pt idx="9710">
                  <c:v>5.9062480380493172</c:v>
                </c:pt>
                <c:pt idx="9711">
                  <c:v>5.1590251931376132</c:v>
                </c:pt>
                <c:pt idx="9712">
                  <c:v>5.9915768043177611</c:v>
                </c:pt>
                <c:pt idx="9713">
                  <c:v>5.9535546918861106</c:v>
                </c:pt>
                <c:pt idx="9714">
                  <c:v>5.9741507033697818</c:v>
                </c:pt>
                <c:pt idx="9715">
                  <c:v>6.0071455592914047</c:v>
                </c:pt>
                <c:pt idx="9716">
                  <c:v>2.910928797674746</c:v>
                </c:pt>
                <c:pt idx="9717">
                  <c:v>5.8545744685034675</c:v>
                </c:pt>
                <c:pt idx="9718">
                  <c:v>5.9939939577005674</c:v>
                </c:pt>
                <c:pt idx="9719">
                  <c:v>2.9094285139093632</c:v>
                </c:pt>
                <c:pt idx="9720">
                  <c:v>5.1022514293502459</c:v>
                </c:pt>
                <c:pt idx="9721">
                  <c:v>2.9703911315938614</c:v>
                </c:pt>
                <c:pt idx="9722">
                  <c:v>5.0450301965538467</c:v>
                </c:pt>
                <c:pt idx="9723">
                  <c:v>5.9875685542552928</c:v>
                </c:pt>
                <c:pt idx="9724">
                  <c:v>5.9322766514047212</c:v>
                </c:pt>
                <c:pt idx="9725">
                  <c:v>5.9382197137468946</c:v>
                </c:pt>
                <c:pt idx="9726">
                  <c:v>4.9375824157219146</c:v>
                </c:pt>
                <c:pt idx="9727">
                  <c:v>4.8856599388567332</c:v>
                </c:pt>
                <c:pt idx="9728">
                  <c:v>5.9735814021808373</c:v>
                </c:pt>
                <c:pt idx="9729">
                  <c:v>6.0663845087494552</c:v>
                </c:pt>
                <c:pt idx="9730">
                  <c:v>6.9092863659930241</c:v>
                </c:pt>
                <c:pt idx="9731">
                  <c:v>5.9505231250166597</c:v>
                </c:pt>
                <c:pt idx="9732">
                  <c:v>5.9630228614957552</c:v>
                </c:pt>
                <c:pt idx="9733">
                  <c:v>4.9484497463167596</c:v>
                </c:pt>
                <c:pt idx="9734">
                  <c:v>5.1166721484342945</c:v>
                </c:pt>
                <c:pt idx="9735">
                  <c:v>6.24630205695372</c:v>
                </c:pt>
                <c:pt idx="9736">
                  <c:v>4.9571740434828504</c:v>
                </c:pt>
                <c:pt idx="9737">
                  <c:v>5.9670102431938732</c:v>
                </c:pt>
                <c:pt idx="9738">
                  <c:v>6.0629113960026375</c:v>
                </c:pt>
                <c:pt idx="9739">
                  <c:v>6.0154910043138257</c:v>
                </c:pt>
                <c:pt idx="9740">
                  <c:v>6.0621850351185094</c:v>
                </c:pt>
                <c:pt idx="9741">
                  <c:v>5.9293206374421992</c:v>
                </c:pt>
                <c:pt idx="9742">
                  <c:v>5.9942309630383832</c:v>
                </c:pt>
                <c:pt idx="9743">
                  <c:v>6.8795675695445606</c:v>
                </c:pt>
                <c:pt idx="9744">
                  <c:v>6.0254596542420078</c:v>
                </c:pt>
                <c:pt idx="9745">
                  <c:v>6.0277643444637219</c:v>
                </c:pt>
                <c:pt idx="9746">
                  <c:v>5.9505226522633841</c:v>
                </c:pt>
                <c:pt idx="9747">
                  <c:v>6.0401224733741383</c:v>
                </c:pt>
                <c:pt idx="9748">
                  <c:v>5.0256835848171102</c:v>
                </c:pt>
                <c:pt idx="9749">
                  <c:v>4.9072874591944631</c:v>
                </c:pt>
                <c:pt idx="9750">
                  <c:v>4.8281322478726798</c:v>
                </c:pt>
                <c:pt idx="9751">
                  <c:v>6.1047456188203046</c:v>
                </c:pt>
                <c:pt idx="9752">
                  <c:v>5.0662739683800462</c:v>
                </c:pt>
                <c:pt idx="9753">
                  <c:v>5.087634730296803</c:v>
                </c:pt>
                <c:pt idx="9754">
                  <c:v>1.9318062446772142</c:v>
                </c:pt>
                <c:pt idx="9755">
                  <c:v>1.9606230070228625</c:v>
                </c:pt>
                <c:pt idx="9756">
                  <c:v>6.0218019749832177</c:v>
                </c:pt>
                <c:pt idx="9757">
                  <c:v>5.0144398548965166</c:v>
                </c:pt>
                <c:pt idx="9758">
                  <c:v>5.0871416233646904</c:v>
                </c:pt>
                <c:pt idx="9759">
                  <c:v>5.0024939107788811</c:v>
                </c:pt>
                <c:pt idx="9760">
                  <c:v>5.0325478315521313</c:v>
                </c:pt>
                <c:pt idx="9761">
                  <c:v>6.1428066109479307</c:v>
                </c:pt>
                <c:pt idx="9762">
                  <c:v>5.8764656030808284</c:v>
                </c:pt>
                <c:pt idx="9763">
                  <c:v>4.8256747870335932</c:v>
                </c:pt>
                <c:pt idx="9764">
                  <c:v>5.8732703808195392</c:v>
                </c:pt>
                <c:pt idx="9765">
                  <c:v>6.0765664350321851</c:v>
                </c:pt>
                <c:pt idx="9766">
                  <c:v>6.9280002187633194</c:v>
                </c:pt>
                <c:pt idx="9767">
                  <c:v>5.9583949927576425</c:v>
                </c:pt>
                <c:pt idx="9768">
                  <c:v>5.0469478070828515</c:v>
                </c:pt>
                <c:pt idx="9769">
                  <c:v>6.0455423603405762</c:v>
                </c:pt>
                <c:pt idx="9770">
                  <c:v>5.931844452027188</c:v>
                </c:pt>
                <c:pt idx="9771">
                  <c:v>6.0635631804431753</c:v>
                </c:pt>
                <c:pt idx="9772">
                  <c:v>6.0921419761633739</c:v>
                </c:pt>
                <c:pt idx="9773">
                  <c:v>5.9314542139130557</c:v>
                </c:pt>
                <c:pt idx="9774">
                  <c:v>6.0511470707270858</c:v>
                </c:pt>
                <c:pt idx="9775">
                  <c:v>5.980303433427606</c:v>
                </c:pt>
                <c:pt idx="9776">
                  <c:v>6.2146487476230359</c:v>
                </c:pt>
                <c:pt idx="9777">
                  <c:v>5.9994325056539299</c:v>
                </c:pt>
                <c:pt idx="9778">
                  <c:v>4.8369598595527599</c:v>
                </c:pt>
                <c:pt idx="9779">
                  <c:v>3.0798320571685172</c:v>
                </c:pt>
                <c:pt idx="9780">
                  <c:v>6.1223342654138149</c:v>
                </c:pt>
                <c:pt idx="9781">
                  <c:v>6.0319020264165752</c:v>
                </c:pt>
                <c:pt idx="9782">
                  <c:v>5.9828905367394878</c:v>
                </c:pt>
                <c:pt idx="9783">
                  <c:v>5.0001101872250047</c:v>
                </c:pt>
                <c:pt idx="9784">
                  <c:v>5.023035920134828</c:v>
                </c:pt>
                <c:pt idx="9785">
                  <c:v>5.9090265810320286</c:v>
                </c:pt>
                <c:pt idx="9786">
                  <c:v>6.1523296822791345</c:v>
                </c:pt>
                <c:pt idx="9787">
                  <c:v>6.0188021656956554</c:v>
                </c:pt>
                <c:pt idx="9788">
                  <c:v>5.9596734903953781</c:v>
                </c:pt>
                <c:pt idx="9789">
                  <c:v>5.8996267807317402</c:v>
                </c:pt>
                <c:pt idx="9790">
                  <c:v>5.1008272776409074</c:v>
                </c:pt>
                <c:pt idx="9791">
                  <c:v>5.9922937094435316</c:v>
                </c:pt>
                <c:pt idx="9792">
                  <c:v>5.9749488014842767</c:v>
                </c:pt>
                <c:pt idx="9793">
                  <c:v>5.6959144752045718</c:v>
                </c:pt>
                <c:pt idx="9794">
                  <c:v>5.8755152082816249</c:v>
                </c:pt>
                <c:pt idx="9795">
                  <c:v>6.1311238247973012</c:v>
                </c:pt>
                <c:pt idx="9796">
                  <c:v>6.1733875071755699</c:v>
                </c:pt>
                <c:pt idx="9797">
                  <c:v>6.0888786413494458</c:v>
                </c:pt>
                <c:pt idx="9798">
                  <c:v>5.9360178171359212</c:v>
                </c:pt>
                <c:pt idx="9799">
                  <c:v>5.9857854339549865</c:v>
                </c:pt>
                <c:pt idx="9800">
                  <c:v>5.8215118859532851</c:v>
                </c:pt>
                <c:pt idx="9801">
                  <c:v>4.8976600751388748</c:v>
                </c:pt>
                <c:pt idx="9802">
                  <c:v>6.0775666525805008</c:v>
                </c:pt>
                <c:pt idx="9803">
                  <c:v>5.8794327093285021</c:v>
                </c:pt>
                <c:pt idx="9804">
                  <c:v>6.1230797876485319</c:v>
                </c:pt>
                <c:pt idx="9805">
                  <c:v>6.0898244579866381</c:v>
                </c:pt>
                <c:pt idx="9806">
                  <c:v>6.1292865334461153</c:v>
                </c:pt>
                <c:pt idx="9807">
                  <c:v>6.8912665204084602</c:v>
                </c:pt>
                <c:pt idx="9808">
                  <c:v>4.9953563705557782</c:v>
                </c:pt>
                <c:pt idx="9809">
                  <c:v>6.1182209975938511</c:v>
                </c:pt>
                <c:pt idx="9810">
                  <c:v>4.9081860045229933</c:v>
                </c:pt>
                <c:pt idx="9811">
                  <c:v>5.9255479884870734</c:v>
                </c:pt>
                <c:pt idx="9812">
                  <c:v>6.1390118427808602</c:v>
                </c:pt>
                <c:pt idx="9813">
                  <c:v>2.9826318074555243</c:v>
                </c:pt>
                <c:pt idx="9814">
                  <c:v>6.0547081412299466</c:v>
                </c:pt>
                <c:pt idx="9815">
                  <c:v>4.9572762579147689</c:v>
                </c:pt>
                <c:pt idx="9816">
                  <c:v>5.9239390985265521</c:v>
                </c:pt>
                <c:pt idx="9817">
                  <c:v>5.7519619650314375</c:v>
                </c:pt>
                <c:pt idx="9818">
                  <c:v>6.2028820949355854</c:v>
                </c:pt>
                <c:pt idx="9819">
                  <c:v>5.0341353079234468</c:v>
                </c:pt>
                <c:pt idx="9820">
                  <c:v>6.1165638239583835</c:v>
                </c:pt>
                <c:pt idx="9821">
                  <c:v>5.9158527929723279</c:v>
                </c:pt>
                <c:pt idx="9822">
                  <c:v>5.1532778430541644</c:v>
                </c:pt>
                <c:pt idx="9823">
                  <c:v>5.9132037800151194</c:v>
                </c:pt>
                <c:pt idx="9824">
                  <c:v>6.0577015148612752</c:v>
                </c:pt>
                <c:pt idx="9825">
                  <c:v>6.1453218422314411</c:v>
                </c:pt>
                <c:pt idx="9826">
                  <c:v>5.8780441119279692</c:v>
                </c:pt>
                <c:pt idx="9827">
                  <c:v>5.0898211600746697</c:v>
                </c:pt>
                <c:pt idx="9828">
                  <c:v>4.7578697175007987</c:v>
                </c:pt>
                <c:pt idx="9829">
                  <c:v>5.8773914584027871</c:v>
                </c:pt>
                <c:pt idx="9830">
                  <c:v>4.9777544546879096</c:v>
                </c:pt>
                <c:pt idx="9831">
                  <c:v>7.0603775218910076</c:v>
                </c:pt>
                <c:pt idx="9832">
                  <c:v>4.9617571172863748</c:v>
                </c:pt>
                <c:pt idx="9833">
                  <c:v>4.7690818886301356</c:v>
                </c:pt>
                <c:pt idx="9834">
                  <c:v>5.0639666662545793</c:v>
                </c:pt>
                <c:pt idx="9835">
                  <c:v>5.9103073297297062</c:v>
                </c:pt>
                <c:pt idx="9836">
                  <c:v>4.901511774064395</c:v>
                </c:pt>
                <c:pt idx="9837">
                  <c:v>7.0478195845428226</c:v>
                </c:pt>
                <c:pt idx="9838">
                  <c:v>4.930654162940038</c:v>
                </c:pt>
                <c:pt idx="9839">
                  <c:v>6.0668582663435471</c:v>
                </c:pt>
                <c:pt idx="9840">
                  <c:v>5.1105253233302355</c:v>
                </c:pt>
                <c:pt idx="9841">
                  <c:v>4.886845324659534</c:v>
                </c:pt>
                <c:pt idx="9842">
                  <c:v>6.0761143650216303</c:v>
                </c:pt>
                <c:pt idx="9843">
                  <c:v>5.0043806633124257</c:v>
                </c:pt>
                <c:pt idx="9844">
                  <c:v>5.9221493277888788</c:v>
                </c:pt>
                <c:pt idx="9845">
                  <c:v>6.0307008428962954</c:v>
                </c:pt>
                <c:pt idx="9846">
                  <c:v>5.8562687437954972</c:v>
                </c:pt>
                <c:pt idx="9847">
                  <c:v>6.0480594746899259</c:v>
                </c:pt>
                <c:pt idx="9848">
                  <c:v>4.9466330381816705</c:v>
                </c:pt>
                <c:pt idx="9849">
                  <c:v>4.9796149380853851</c:v>
                </c:pt>
                <c:pt idx="9850">
                  <c:v>7.1569132313230632</c:v>
                </c:pt>
                <c:pt idx="9851">
                  <c:v>6.1128923051166444</c:v>
                </c:pt>
                <c:pt idx="9852">
                  <c:v>5.9502125667408468</c:v>
                </c:pt>
                <c:pt idx="9853">
                  <c:v>6.9157423045193456</c:v>
                </c:pt>
                <c:pt idx="9854">
                  <c:v>6.9264494554276048</c:v>
                </c:pt>
                <c:pt idx="9855">
                  <c:v>6.9091649133176594</c:v>
                </c:pt>
                <c:pt idx="9856">
                  <c:v>6.9731635292180085</c:v>
                </c:pt>
                <c:pt idx="9857">
                  <c:v>5.9602560536960709</c:v>
                </c:pt>
                <c:pt idx="9858">
                  <c:v>5.8376070096843327</c:v>
                </c:pt>
                <c:pt idx="9859">
                  <c:v>5.8861478829984346</c:v>
                </c:pt>
                <c:pt idx="9860">
                  <c:v>5.0835980224713211</c:v>
                </c:pt>
                <c:pt idx="9861">
                  <c:v>5.1322022267834848</c:v>
                </c:pt>
                <c:pt idx="9862">
                  <c:v>6.0010725437122074</c:v>
                </c:pt>
                <c:pt idx="9863">
                  <c:v>5.9783307431523101</c:v>
                </c:pt>
                <c:pt idx="9864">
                  <c:v>5.9980960179940821</c:v>
                </c:pt>
                <c:pt idx="9865">
                  <c:v>4.9468422950320692</c:v>
                </c:pt>
                <c:pt idx="9866">
                  <c:v>6.0147770726931267</c:v>
                </c:pt>
                <c:pt idx="9867">
                  <c:v>4.9097460768546517</c:v>
                </c:pt>
                <c:pt idx="9868">
                  <c:v>5.9039257171991046</c:v>
                </c:pt>
                <c:pt idx="9869">
                  <c:v>4.9909912885026273</c:v>
                </c:pt>
                <c:pt idx="9870">
                  <c:v>5.0146535424597509</c:v>
                </c:pt>
                <c:pt idx="9871">
                  <c:v>4.8131717474255886</c:v>
                </c:pt>
                <c:pt idx="9872">
                  <c:v>4.9633790287625539</c:v>
                </c:pt>
                <c:pt idx="9873">
                  <c:v>6.1142431012842033</c:v>
                </c:pt>
                <c:pt idx="9874">
                  <c:v>5.8763244752015567</c:v>
                </c:pt>
                <c:pt idx="9875">
                  <c:v>5.8388364499165624</c:v>
                </c:pt>
                <c:pt idx="9876">
                  <c:v>7.1046301498941418</c:v>
                </c:pt>
                <c:pt idx="9877">
                  <c:v>5.972548886359677</c:v>
                </c:pt>
                <c:pt idx="9878">
                  <c:v>6.048342722955474</c:v>
                </c:pt>
                <c:pt idx="9879">
                  <c:v>4.952522066866865</c:v>
                </c:pt>
                <c:pt idx="9880">
                  <c:v>4.9826683350540755</c:v>
                </c:pt>
                <c:pt idx="9881">
                  <c:v>5.9652673508392766</c:v>
                </c:pt>
                <c:pt idx="9882">
                  <c:v>5.9038698168317065</c:v>
                </c:pt>
                <c:pt idx="9883">
                  <c:v>6.1661174485551102</c:v>
                </c:pt>
                <c:pt idx="9884">
                  <c:v>5.8415401171338734</c:v>
                </c:pt>
                <c:pt idx="9885">
                  <c:v>5.189513837903946</c:v>
                </c:pt>
                <c:pt idx="9886">
                  <c:v>4.9751596529537609</c:v>
                </c:pt>
                <c:pt idx="9887">
                  <c:v>4.9729990429220194</c:v>
                </c:pt>
                <c:pt idx="9888">
                  <c:v>6.033076171140495</c:v>
                </c:pt>
                <c:pt idx="9889">
                  <c:v>5.1867645153668782</c:v>
                </c:pt>
                <c:pt idx="9890">
                  <c:v>6.0933615467137585</c:v>
                </c:pt>
                <c:pt idx="9891">
                  <c:v>6.9854275616051389</c:v>
                </c:pt>
                <c:pt idx="9892">
                  <c:v>4.9292678848736813</c:v>
                </c:pt>
                <c:pt idx="9893">
                  <c:v>5.0570349784204716</c:v>
                </c:pt>
                <c:pt idx="9894">
                  <c:v>5.0815593482239043</c:v>
                </c:pt>
                <c:pt idx="9895">
                  <c:v>4.9745899041734241</c:v>
                </c:pt>
                <c:pt idx="9896">
                  <c:v>5.8484542620734272</c:v>
                </c:pt>
                <c:pt idx="9897">
                  <c:v>5.0704523026256743</c:v>
                </c:pt>
                <c:pt idx="9898">
                  <c:v>5.8501077406930158</c:v>
                </c:pt>
                <c:pt idx="9899">
                  <c:v>5.94381934475597</c:v>
                </c:pt>
                <c:pt idx="9900">
                  <c:v>5.8401427567092767</c:v>
                </c:pt>
                <c:pt idx="9901">
                  <c:v>5.9379981793782184</c:v>
                </c:pt>
                <c:pt idx="9902">
                  <c:v>5.0708863194891443</c:v>
                </c:pt>
                <c:pt idx="9903">
                  <c:v>7.0468587245942826</c:v>
                </c:pt>
                <c:pt idx="9904">
                  <c:v>6.1204474927619978</c:v>
                </c:pt>
                <c:pt idx="9905">
                  <c:v>5.1401935672982422</c:v>
                </c:pt>
                <c:pt idx="9906">
                  <c:v>6.0195897854286899</c:v>
                </c:pt>
                <c:pt idx="9907">
                  <c:v>6.1245479774535339</c:v>
                </c:pt>
                <c:pt idx="9908">
                  <c:v>6.0486172548601651</c:v>
                </c:pt>
                <c:pt idx="9909">
                  <c:v>5.9802819735128514</c:v>
                </c:pt>
                <c:pt idx="9910">
                  <c:v>5.9876721478100725</c:v>
                </c:pt>
                <c:pt idx="9911">
                  <c:v>5.1201448859329064</c:v>
                </c:pt>
                <c:pt idx="9912">
                  <c:v>6.0198362413420554</c:v>
                </c:pt>
                <c:pt idx="9913">
                  <c:v>4.8232398819467361</c:v>
                </c:pt>
                <c:pt idx="9914">
                  <c:v>5.1415626600558548</c:v>
                </c:pt>
                <c:pt idx="9915">
                  <c:v>5.9887194735764631</c:v>
                </c:pt>
                <c:pt idx="9916">
                  <c:v>6.0792648328848351</c:v>
                </c:pt>
                <c:pt idx="9917">
                  <c:v>5.0925233680534925</c:v>
                </c:pt>
                <c:pt idx="9918">
                  <c:v>6.0702390286045373</c:v>
                </c:pt>
                <c:pt idx="9919">
                  <c:v>5.091668885905074</c:v>
                </c:pt>
                <c:pt idx="9920">
                  <c:v>5.0533998866209799</c:v>
                </c:pt>
                <c:pt idx="9921">
                  <c:v>4.9228771326102292</c:v>
                </c:pt>
                <c:pt idx="9922">
                  <c:v>5.0348827184673581</c:v>
                </c:pt>
                <c:pt idx="9923">
                  <c:v>5.2065220017705176</c:v>
                </c:pt>
                <c:pt idx="9924">
                  <c:v>5.9837435915548545</c:v>
                </c:pt>
                <c:pt idx="9925">
                  <c:v>5.9591819017650929</c:v>
                </c:pt>
                <c:pt idx="9926">
                  <c:v>4.9813898059429418</c:v>
                </c:pt>
                <c:pt idx="9927">
                  <c:v>6.7686933016470752</c:v>
                </c:pt>
                <c:pt idx="9928">
                  <c:v>5.9704769121431402</c:v>
                </c:pt>
                <c:pt idx="9929">
                  <c:v>5.9113674201641144</c:v>
                </c:pt>
                <c:pt idx="9930">
                  <c:v>7.009221592286897</c:v>
                </c:pt>
                <c:pt idx="9931">
                  <c:v>5.9280901741758036</c:v>
                </c:pt>
                <c:pt idx="9932">
                  <c:v>5.9184490170138151</c:v>
                </c:pt>
                <c:pt idx="9933">
                  <c:v>2.9649255073497107</c:v>
                </c:pt>
                <c:pt idx="9934">
                  <c:v>4.8453341003813684</c:v>
                </c:pt>
                <c:pt idx="9935">
                  <c:v>7.0495626251881349</c:v>
                </c:pt>
                <c:pt idx="9936">
                  <c:v>6.0988111205618063</c:v>
                </c:pt>
                <c:pt idx="9937">
                  <c:v>5.0043633950320174</c:v>
                </c:pt>
                <c:pt idx="9938">
                  <c:v>6.0134680903197468</c:v>
                </c:pt>
                <c:pt idx="9939">
                  <c:v>6.06222635590371</c:v>
                </c:pt>
                <c:pt idx="9940">
                  <c:v>7.0287566569185556</c:v>
                </c:pt>
                <c:pt idx="9941">
                  <c:v>7.008107956215107</c:v>
                </c:pt>
                <c:pt idx="9942">
                  <c:v>6.0892440918914774</c:v>
                </c:pt>
                <c:pt idx="9943">
                  <c:v>6.9323446248942471</c:v>
                </c:pt>
                <c:pt idx="9944">
                  <c:v>7.0769539138889535</c:v>
                </c:pt>
                <c:pt idx="9945">
                  <c:v>7.0606503132671667</c:v>
                </c:pt>
                <c:pt idx="9946">
                  <c:v>5.8694864719419364</c:v>
                </c:pt>
                <c:pt idx="9947">
                  <c:v>7.0689149509979643</c:v>
                </c:pt>
                <c:pt idx="9948">
                  <c:v>5.9187280736941243</c:v>
                </c:pt>
                <c:pt idx="9949">
                  <c:v>6.2195795508622815</c:v>
                </c:pt>
                <c:pt idx="9950">
                  <c:v>6.1140034589582468</c:v>
                </c:pt>
                <c:pt idx="9951">
                  <c:v>5.9860451192893969</c:v>
                </c:pt>
                <c:pt idx="9952">
                  <c:v>7.2148351896278271</c:v>
                </c:pt>
                <c:pt idx="9953">
                  <c:v>5.9346359860952269</c:v>
                </c:pt>
                <c:pt idx="9954">
                  <c:v>6.0775195380544247</c:v>
                </c:pt>
                <c:pt idx="9955">
                  <c:v>6.0817824321797413</c:v>
                </c:pt>
                <c:pt idx="9956">
                  <c:v>4.985405455999615</c:v>
                </c:pt>
                <c:pt idx="9957">
                  <c:v>6.0558110974774078</c:v>
                </c:pt>
                <c:pt idx="9958">
                  <c:v>6.0640618032481148</c:v>
                </c:pt>
                <c:pt idx="9959">
                  <c:v>5.0327922233456084</c:v>
                </c:pt>
                <c:pt idx="9960">
                  <c:v>4.8799047712171983</c:v>
                </c:pt>
                <c:pt idx="9961">
                  <c:v>5.8827142839585873</c:v>
                </c:pt>
                <c:pt idx="9962">
                  <c:v>7.1667314834160321</c:v>
                </c:pt>
                <c:pt idx="9963">
                  <c:v>6.0379292017036938</c:v>
                </c:pt>
                <c:pt idx="9964">
                  <c:v>3.9866178189481358</c:v>
                </c:pt>
                <c:pt idx="9965">
                  <c:v>6.017945931698522</c:v>
                </c:pt>
                <c:pt idx="9966">
                  <c:v>4.7930521464638041</c:v>
                </c:pt>
                <c:pt idx="9967">
                  <c:v>5.0280860640985532</c:v>
                </c:pt>
                <c:pt idx="9968">
                  <c:v>5.9107031771321301</c:v>
                </c:pt>
                <c:pt idx="9969">
                  <c:v>5.8619317161076561</c:v>
                </c:pt>
                <c:pt idx="9970">
                  <c:v>5.9057238368453744</c:v>
                </c:pt>
                <c:pt idx="9971">
                  <c:v>5.0448960433264762</c:v>
                </c:pt>
                <c:pt idx="9972">
                  <c:v>5.9203921558111841</c:v>
                </c:pt>
                <c:pt idx="9973">
                  <c:v>5.0609740598687054</c:v>
                </c:pt>
                <c:pt idx="9974">
                  <c:v>4.8062870700343794</c:v>
                </c:pt>
                <c:pt idx="9975">
                  <c:v>6.1836530558304617</c:v>
                </c:pt>
                <c:pt idx="9976">
                  <c:v>5.945332464714471</c:v>
                </c:pt>
                <c:pt idx="9977">
                  <c:v>5.9826591401860973</c:v>
                </c:pt>
                <c:pt idx="9978">
                  <c:v>5.8208818503719391</c:v>
                </c:pt>
                <c:pt idx="9979">
                  <c:v>4.7935964672882463</c:v>
                </c:pt>
                <c:pt idx="9980">
                  <c:v>5.0166442628072607</c:v>
                </c:pt>
                <c:pt idx="9981">
                  <c:v>7.1083400936942862</c:v>
                </c:pt>
                <c:pt idx="9982">
                  <c:v>6.0119678026741337</c:v>
                </c:pt>
                <c:pt idx="9983">
                  <c:v>4.9376097970428035</c:v>
                </c:pt>
                <c:pt idx="9984">
                  <c:v>6.0155524599628301</c:v>
                </c:pt>
                <c:pt idx="9985">
                  <c:v>4.8479288065266495</c:v>
                </c:pt>
                <c:pt idx="9986">
                  <c:v>5.8362538804783473</c:v>
                </c:pt>
                <c:pt idx="9987">
                  <c:v>5.0259264632241303</c:v>
                </c:pt>
                <c:pt idx="9988">
                  <c:v>4.799564993284565</c:v>
                </c:pt>
                <c:pt idx="9989">
                  <c:v>6.1198152819650558</c:v>
                </c:pt>
                <c:pt idx="9990">
                  <c:v>5.6169416928589255</c:v>
                </c:pt>
                <c:pt idx="9991">
                  <c:v>5.8898736550241617</c:v>
                </c:pt>
                <c:pt idx="9992">
                  <c:v>6.0667497014022107</c:v>
                </c:pt>
                <c:pt idx="9993">
                  <c:v>6.1337927630409501</c:v>
                </c:pt>
                <c:pt idx="9994">
                  <c:v>6.0855696743894558</c:v>
                </c:pt>
                <c:pt idx="9995">
                  <c:v>3.1908145412575264</c:v>
                </c:pt>
                <c:pt idx="9996">
                  <c:v>6.1772623401370668</c:v>
                </c:pt>
                <c:pt idx="9997">
                  <c:v>5.0780316735745474</c:v>
                </c:pt>
                <c:pt idx="9998">
                  <c:v>5.8781182371865794</c:v>
                </c:pt>
                <c:pt idx="9999">
                  <c:v>5.9363665325225909</c:v>
                </c:pt>
                <c:pt idx="10000">
                  <c:v>5.0808584126229865</c:v>
                </c:pt>
                <c:pt idx="10001">
                  <c:v>7.0900745858192069</c:v>
                </c:pt>
                <c:pt idx="10002">
                  <c:v>5.0909051977990867</c:v>
                </c:pt>
                <c:pt idx="10003">
                  <c:v>4.9664969742296794</c:v>
                </c:pt>
                <c:pt idx="10004">
                  <c:v>4.9657386890544712</c:v>
                </c:pt>
                <c:pt idx="10005">
                  <c:v>5.8663040370734132</c:v>
                </c:pt>
                <c:pt idx="10006">
                  <c:v>5.967652696996316</c:v>
                </c:pt>
                <c:pt idx="10007">
                  <c:v>5.9048239936226539</c:v>
                </c:pt>
                <c:pt idx="10008">
                  <c:v>6.0021809300005247</c:v>
                </c:pt>
                <c:pt idx="10009">
                  <c:v>6.2491629465409284</c:v>
                </c:pt>
                <c:pt idx="10010">
                  <c:v>6.0481894575655071</c:v>
                </c:pt>
                <c:pt idx="10011">
                  <c:v>7.0462024036923241</c:v>
                </c:pt>
                <c:pt idx="10012">
                  <c:v>7.0801742120688074</c:v>
                </c:pt>
                <c:pt idx="10013">
                  <c:v>6.0418515068407137</c:v>
                </c:pt>
                <c:pt idx="10014">
                  <c:v>6.1603466346300229</c:v>
                </c:pt>
                <c:pt idx="10015">
                  <c:v>4.0371857045636466</c:v>
                </c:pt>
                <c:pt idx="10016">
                  <c:v>5.8747183908183418</c:v>
                </c:pt>
                <c:pt idx="10017">
                  <c:v>4.9976802208051305</c:v>
                </c:pt>
                <c:pt idx="10018">
                  <c:v>5.9745786101329825</c:v>
                </c:pt>
                <c:pt idx="10019">
                  <c:v>4.8849136884146462</c:v>
                </c:pt>
                <c:pt idx="10020">
                  <c:v>6.041522988335509</c:v>
                </c:pt>
                <c:pt idx="10021">
                  <c:v>4.9939188175227835</c:v>
                </c:pt>
                <c:pt idx="10022">
                  <c:v>5.9699367689240805</c:v>
                </c:pt>
                <c:pt idx="10023">
                  <c:v>6.1068128676914766</c:v>
                </c:pt>
                <c:pt idx="10024">
                  <c:v>4.9611362718870051</c:v>
                </c:pt>
                <c:pt idx="10025">
                  <c:v>5.9475661868546883</c:v>
                </c:pt>
                <c:pt idx="10026">
                  <c:v>5.0025560353984222</c:v>
                </c:pt>
                <c:pt idx="10027">
                  <c:v>4.9797826387936368</c:v>
                </c:pt>
                <c:pt idx="10028">
                  <c:v>4.8500792269550654</c:v>
                </c:pt>
                <c:pt idx="10029">
                  <c:v>4.9446624622398501</c:v>
                </c:pt>
                <c:pt idx="10030">
                  <c:v>4.961190834764067</c:v>
                </c:pt>
                <c:pt idx="10031">
                  <c:v>4.6982688529750058</c:v>
                </c:pt>
                <c:pt idx="10032">
                  <c:v>5.9288851994724237</c:v>
                </c:pt>
                <c:pt idx="10033">
                  <c:v>6.0346426285074468</c:v>
                </c:pt>
                <c:pt idx="10034">
                  <c:v>5.0123750830661731</c:v>
                </c:pt>
                <c:pt idx="10035">
                  <c:v>6.1360767193862875</c:v>
                </c:pt>
                <c:pt idx="10036">
                  <c:v>5.9108655702214152</c:v>
                </c:pt>
                <c:pt idx="10037">
                  <c:v>4.9299398154828804</c:v>
                </c:pt>
                <c:pt idx="10038">
                  <c:v>5.9767216348388761</c:v>
                </c:pt>
                <c:pt idx="10039">
                  <c:v>6.0568485612141965</c:v>
                </c:pt>
                <c:pt idx="10040">
                  <c:v>4.9968929148418235</c:v>
                </c:pt>
                <c:pt idx="10041">
                  <c:v>6.0298734770212725</c:v>
                </c:pt>
                <c:pt idx="10042">
                  <c:v>4.8902672578702955</c:v>
                </c:pt>
                <c:pt idx="10043">
                  <c:v>5.1149758862392227</c:v>
                </c:pt>
                <c:pt idx="10044">
                  <c:v>4.928225006967268</c:v>
                </c:pt>
                <c:pt idx="10045">
                  <c:v>6.0209236698992861</c:v>
                </c:pt>
                <c:pt idx="10046">
                  <c:v>5.9379944133785063</c:v>
                </c:pt>
                <c:pt idx="10047">
                  <c:v>6.0365841943326988</c:v>
                </c:pt>
                <c:pt idx="10048">
                  <c:v>5.9186748343334967</c:v>
                </c:pt>
                <c:pt idx="10049">
                  <c:v>5.9848749391547598</c:v>
                </c:pt>
                <c:pt idx="10050">
                  <c:v>5.9885297924196284</c:v>
                </c:pt>
                <c:pt idx="10051">
                  <c:v>6.1148583681292115</c:v>
                </c:pt>
                <c:pt idx="10052">
                  <c:v>6.0693591964010558</c:v>
                </c:pt>
                <c:pt idx="10053">
                  <c:v>5.9006643505720788</c:v>
                </c:pt>
                <c:pt idx="10054">
                  <c:v>3.9259055474764768</c:v>
                </c:pt>
                <c:pt idx="10055">
                  <c:v>4.0689298915164231</c:v>
                </c:pt>
                <c:pt idx="10056">
                  <c:v>6.0532288863690455</c:v>
                </c:pt>
                <c:pt idx="10057">
                  <c:v>6.1332404679317154</c:v>
                </c:pt>
                <c:pt idx="10058">
                  <c:v>6.1199311509648346</c:v>
                </c:pt>
                <c:pt idx="10059">
                  <c:v>5.0423651701493473</c:v>
                </c:pt>
                <c:pt idx="10060">
                  <c:v>6.07597657436785</c:v>
                </c:pt>
                <c:pt idx="10061">
                  <c:v>5.0668468002964602</c:v>
                </c:pt>
                <c:pt idx="10062">
                  <c:v>4.9140837931016765</c:v>
                </c:pt>
                <c:pt idx="10063">
                  <c:v>5.9787283185719673</c:v>
                </c:pt>
                <c:pt idx="10064">
                  <c:v>5.0919810068831968</c:v>
                </c:pt>
                <c:pt idx="10065">
                  <c:v>4.9348380251385979</c:v>
                </c:pt>
                <c:pt idx="10066">
                  <c:v>6.0543779076096076</c:v>
                </c:pt>
                <c:pt idx="10067">
                  <c:v>4.972040098009578</c:v>
                </c:pt>
                <c:pt idx="10068">
                  <c:v>5.9207265090099046</c:v>
                </c:pt>
                <c:pt idx="10069">
                  <c:v>5.027879570092721</c:v>
                </c:pt>
                <c:pt idx="10070">
                  <c:v>4.8971491212648326</c:v>
                </c:pt>
                <c:pt idx="10071">
                  <c:v>6.1660673677659013</c:v>
                </c:pt>
                <c:pt idx="10072">
                  <c:v>5.9350071483226206</c:v>
                </c:pt>
                <c:pt idx="10073">
                  <c:v>5.1052442974725931</c:v>
                </c:pt>
                <c:pt idx="10074">
                  <c:v>5.0441848900684052</c:v>
                </c:pt>
                <c:pt idx="10075">
                  <c:v>6.1432107087445393</c:v>
                </c:pt>
                <c:pt idx="10076">
                  <c:v>5.9421360488959971</c:v>
                </c:pt>
                <c:pt idx="10077">
                  <c:v>5.8787387936503563</c:v>
                </c:pt>
                <c:pt idx="10078">
                  <c:v>5.0446123925194097</c:v>
                </c:pt>
                <c:pt idx="10079">
                  <c:v>6.1027135646240289</c:v>
                </c:pt>
                <c:pt idx="10080">
                  <c:v>5.8795420982884261</c:v>
                </c:pt>
                <c:pt idx="10081">
                  <c:v>5.9998690137810424</c:v>
                </c:pt>
                <c:pt idx="10082">
                  <c:v>4.9835528313246042</c:v>
                </c:pt>
                <c:pt idx="10083">
                  <c:v>5.0209097646377066</c:v>
                </c:pt>
                <c:pt idx="10084">
                  <c:v>6.0757183237323691</c:v>
                </c:pt>
                <c:pt idx="10085">
                  <c:v>6.0739533209631151</c:v>
                </c:pt>
                <c:pt idx="10086">
                  <c:v>5.868763212145014</c:v>
                </c:pt>
                <c:pt idx="10087">
                  <c:v>5.068972030697136</c:v>
                </c:pt>
                <c:pt idx="10088">
                  <c:v>5.9211916022915592</c:v>
                </c:pt>
                <c:pt idx="10089">
                  <c:v>6.0761859552141582</c:v>
                </c:pt>
                <c:pt idx="10090">
                  <c:v>4.9992367477290607</c:v>
                </c:pt>
                <c:pt idx="10091">
                  <c:v>5.8278888914487386</c:v>
                </c:pt>
                <c:pt idx="10092">
                  <c:v>6.064147588857784</c:v>
                </c:pt>
                <c:pt idx="10093">
                  <c:v>6.1422954407554373</c:v>
                </c:pt>
                <c:pt idx="10094">
                  <c:v>5.9055344609716274</c:v>
                </c:pt>
                <c:pt idx="10095">
                  <c:v>6.0443335972853784</c:v>
                </c:pt>
                <c:pt idx="10096">
                  <c:v>6.0401693990254843</c:v>
                </c:pt>
                <c:pt idx="10097">
                  <c:v>6.0853397652750223</c:v>
                </c:pt>
                <c:pt idx="10098">
                  <c:v>5.1155617224670502</c:v>
                </c:pt>
                <c:pt idx="10099">
                  <c:v>4.9993178925560438</c:v>
                </c:pt>
                <c:pt idx="10100">
                  <c:v>5.9418381998127954</c:v>
                </c:pt>
                <c:pt idx="10101">
                  <c:v>4.8691569055930559</c:v>
                </c:pt>
                <c:pt idx="10102">
                  <c:v>5.9849547322042573</c:v>
                </c:pt>
                <c:pt idx="10103">
                  <c:v>6.1386142353364708</c:v>
                </c:pt>
                <c:pt idx="10104">
                  <c:v>4.8836180784508985</c:v>
                </c:pt>
                <c:pt idx="10105">
                  <c:v>4.0327561585699545</c:v>
                </c:pt>
                <c:pt idx="10106">
                  <c:v>4.9880608409691618</c:v>
                </c:pt>
                <c:pt idx="10107">
                  <c:v>5.9180698912400933</c:v>
                </c:pt>
                <c:pt idx="10108">
                  <c:v>4.8309438264072773</c:v>
                </c:pt>
                <c:pt idx="10109">
                  <c:v>5.0990927205565812</c:v>
                </c:pt>
                <c:pt idx="10110">
                  <c:v>6.0442465670798686</c:v>
                </c:pt>
                <c:pt idx="10111">
                  <c:v>4.9995841539464516</c:v>
                </c:pt>
                <c:pt idx="10112">
                  <c:v>5.210368752037418</c:v>
                </c:pt>
                <c:pt idx="10113">
                  <c:v>5.6384333350631746</c:v>
                </c:pt>
                <c:pt idx="10114">
                  <c:v>4.8888773609341794</c:v>
                </c:pt>
                <c:pt idx="10115">
                  <c:v>6.0995576478429356</c:v>
                </c:pt>
                <c:pt idx="10116">
                  <c:v>5.9060808610781255</c:v>
                </c:pt>
                <c:pt idx="10117">
                  <c:v>5.8934394399043137</c:v>
                </c:pt>
                <c:pt idx="10118">
                  <c:v>5.0488683989552054</c:v>
                </c:pt>
                <c:pt idx="10119">
                  <c:v>5.2658874384098553</c:v>
                </c:pt>
                <c:pt idx="10120">
                  <c:v>4.9979114000040701</c:v>
                </c:pt>
                <c:pt idx="10121">
                  <c:v>5.9441523592555745</c:v>
                </c:pt>
                <c:pt idx="10122">
                  <c:v>6.1440352572387873</c:v>
                </c:pt>
                <c:pt idx="10123">
                  <c:v>6.1165539147622203</c:v>
                </c:pt>
                <c:pt idx="10124">
                  <c:v>4.941962220291769</c:v>
                </c:pt>
                <c:pt idx="10125">
                  <c:v>6.3244007163582605</c:v>
                </c:pt>
                <c:pt idx="10126">
                  <c:v>5.0215981489326031</c:v>
                </c:pt>
                <c:pt idx="10127">
                  <c:v>6.1224859035968215</c:v>
                </c:pt>
                <c:pt idx="10128">
                  <c:v>5.9802940002695903</c:v>
                </c:pt>
                <c:pt idx="10129">
                  <c:v>5.8014143173258965</c:v>
                </c:pt>
                <c:pt idx="10130">
                  <c:v>5.0256106887663821</c:v>
                </c:pt>
                <c:pt idx="10131">
                  <c:v>6.0531735302495662</c:v>
                </c:pt>
                <c:pt idx="10132">
                  <c:v>5.9158917686411119</c:v>
                </c:pt>
                <c:pt idx="10133">
                  <c:v>6.1337849553678456</c:v>
                </c:pt>
                <c:pt idx="10134">
                  <c:v>5.8935300330179485</c:v>
                </c:pt>
                <c:pt idx="10135">
                  <c:v>5.1160238185528222</c:v>
                </c:pt>
                <c:pt idx="10136">
                  <c:v>5.962045090774347</c:v>
                </c:pt>
                <c:pt idx="10137">
                  <c:v>5.9295622471551344</c:v>
                </c:pt>
                <c:pt idx="10138">
                  <c:v>6.2111500737390859</c:v>
                </c:pt>
                <c:pt idx="10139">
                  <c:v>6.0773862602345901</c:v>
                </c:pt>
                <c:pt idx="10140">
                  <c:v>5.918305641261064</c:v>
                </c:pt>
                <c:pt idx="10141">
                  <c:v>4.8957833020101127</c:v>
                </c:pt>
                <c:pt idx="10142">
                  <c:v>5.958013805071559</c:v>
                </c:pt>
                <c:pt idx="10143">
                  <c:v>5.9620225815309231</c:v>
                </c:pt>
                <c:pt idx="10144">
                  <c:v>5.9054683282802483</c:v>
                </c:pt>
                <c:pt idx="10145">
                  <c:v>6.0652546616665948</c:v>
                </c:pt>
                <c:pt idx="10146">
                  <c:v>5.8996698600809889</c:v>
                </c:pt>
                <c:pt idx="10147">
                  <c:v>6.1212827265745622</c:v>
                </c:pt>
                <c:pt idx="10148">
                  <c:v>6.0562038288241222</c:v>
                </c:pt>
                <c:pt idx="10149">
                  <c:v>4.9659465362898603</c:v>
                </c:pt>
                <c:pt idx="10150">
                  <c:v>6.0496821983571287</c:v>
                </c:pt>
                <c:pt idx="10151">
                  <c:v>5.9385423671956099</c:v>
                </c:pt>
                <c:pt idx="10152">
                  <c:v>6.1573795976789469</c:v>
                </c:pt>
                <c:pt idx="10153">
                  <c:v>6.1445682376186443</c:v>
                </c:pt>
                <c:pt idx="10154">
                  <c:v>6.0002716569403365</c:v>
                </c:pt>
                <c:pt idx="10155">
                  <c:v>4.9710853291414727</c:v>
                </c:pt>
                <c:pt idx="10156">
                  <c:v>5.9314610847512066</c:v>
                </c:pt>
                <c:pt idx="10157">
                  <c:v>5.0184346583364823</c:v>
                </c:pt>
                <c:pt idx="10158">
                  <c:v>5.0987078992085619</c:v>
                </c:pt>
                <c:pt idx="10159">
                  <c:v>5.055862778961604</c:v>
                </c:pt>
                <c:pt idx="10160">
                  <c:v>6.1607777842427041</c:v>
                </c:pt>
                <c:pt idx="10161">
                  <c:v>5.8680124266265432</c:v>
                </c:pt>
                <c:pt idx="10162">
                  <c:v>6.1398683069933506</c:v>
                </c:pt>
                <c:pt idx="10163">
                  <c:v>5.1662092366552326</c:v>
                </c:pt>
                <c:pt idx="10164">
                  <c:v>5.0448941388171278</c:v>
                </c:pt>
                <c:pt idx="10165">
                  <c:v>5.0006592271257686</c:v>
                </c:pt>
                <c:pt idx="10166">
                  <c:v>6.0301260396347667</c:v>
                </c:pt>
                <c:pt idx="10167">
                  <c:v>5.9371318332332343</c:v>
                </c:pt>
                <c:pt idx="10168">
                  <c:v>5.9717171263116224</c:v>
                </c:pt>
                <c:pt idx="10169">
                  <c:v>5.0274691511528751</c:v>
                </c:pt>
                <c:pt idx="10170">
                  <c:v>5.9920671864962847</c:v>
                </c:pt>
                <c:pt idx="10171">
                  <c:v>4.9904828522559992</c:v>
                </c:pt>
                <c:pt idx="10172">
                  <c:v>5.8034074563484399</c:v>
                </c:pt>
                <c:pt idx="10173">
                  <c:v>5.1101708808010295</c:v>
                </c:pt>
                <c:pt idx="10174">
                  <c:v>5.9963627233780326</c:v>
                </c:pt>
                <c:pt idx="10175">
                  <c:v>5.9837595050144659</c:v>
                </c:pt>
                <c:pt idx="10176">
                  <c:v>6.0811610516497208</c:v>
                </c:pt>
                <c:pt idx="10177">
                  <c:v>4.8565088772922387</c:v>
                </c:pt>
                <c:pt idx="10178">
                  <c:v>6.0274145697273065</c:v>
                </c:pt>
                <c:pt idx="10179">
                  <c:v>5.0804442514435308</c:v>
                </c:pt>
                <c:pt idx="10180">
                  <c:v>5.935654983413218</c:v>
                </c:pt>
                <c:pt idx="10181">
                  <c:v>5.7941874828588205</c:v>
                </c:pt>
                <c:pt idx="10182">
                  <c:v>7.0698192426026507</c:v>
                </c:pt>
                <c:pt idx="10183">
                  <c:v>4.8154297932175938</c:v>
                </c:pt>
                <c:pt idx="10184">
                  <c:v>4.6961537118565984</c:v>
                </c:pt>
                <c:pt idx="10185">
                  <c:v>5.9248970021510452</c:v>
                </c:pt>
                <c:pt idx="10186">
                  <c:v>5.9236159621185136</c:v>
                </c:pt>
                <c:pt idx="10187">
                  <c:v>6.9097689617105305</c:v>
                </c:pt>
                <c:pt idx="10188">
                  <c:v>5.0774166238954495</c:v>
                </c:pt>
                <c:pt idx="10189">
                  <c:v>4.9977516506772783</c:v>
                </c:pt>
                <c:pt idx="10190">
                  <c:v>4.0103290929034134</c:v>
                </c:pt>
                <c:pt idx="10191">
                  <c:v>4.9746239165967756</c:v>
                </c:pt>
                <c:pt idx="10192">
                  <c:v>6.0662959307254365</c:v>
                </c:pt>
                <c:pt idx="10193">
                  <c:v>5.8478957258113029</c:v>
                </c:pt>
                <c:pt idx="10194">
                  <c:v>5.9010153404709023</c:v>
                </c:pt>
                <c:pt idx="10195">
                  <c:v>6.1207589262258155</c:v>
                </c:pt>
                <c:pt idx="10196">
                  <c:v>5.1374095274086651</c:v>
                </c:pt>
                <c:pt idx="10197">
                  <c:v>4.989471163755371</c:v>
                </c:pt>
                <c:pt idx="10198">
                  <c:v>6.0688812213537027</c:v>
                </c:pt>
                <c:pt idx="10199">
                  <c:v>5.0056524415571788</c:v>
                </c:pt>
                <c:pt idx="10200">
                  <c:v>5.9124834718967065</c:v>
                </c:pt>
                <c:pt idx="10201">
                  <c:v>4.8900015606792362</c:v>
                </c:pt>
                <c:pt idx="10202">
                  <c:v>5.976890317386947</c:v>
                </c:pt>
                <c:pt idx="10203">
                  <c:v>6.1130804645550674</c:v>
                </c:pt>
                <c:pt idx="10204">
                  <c:v>4.9657748506795372</c:v>
                </c:pt>
                <c:pt idx="10205">
                  <c:v>7.2008410679181223</c:v>
                </c:pt>
                <c:pt idx="10206">
                  <c:v>6.0339271992630508</c:v>
                </c:pt>
                <c:pt idx="10207">
                  <c:v>5.972515874447172</c:v>
                </c:pt>
                <c:pt idx="10208">
                  <c:v>6.187744962276561</c:v>
                </c:pt>
                <c:pt idx="10209">
                  <c:v>6.0271015822479121</c:v>
                </c:pt>
                <c:pt idx="10210">
                  <c:v>6.0463246662702597</c:v>
                </c:pt>
                <c:pt idx="10211">
                  <c:v>6.1458864633291936</c:v>
                </c:pt>
                <c:pt idx="10212">
                  <c:v>5.8023135512237074</c:v>
                </c:pt>
                <c:pt idx="10213">
                  <c:v>6.8707561496933387</c:v>
                </c:pt>
                <c:pt idx="10214">
                  <c:v>5.8397852631015557</c:v>
                </c:pt>
                <c:pt idx="10215">
                  <c:v>6.1349234434746274</c:v>
                </c:pt>
                <c:pt idx="10216">
                  <c:v>6.0187351435097174</c:v>
                </c:pt>
                <c:pt idx="10217">
                  <c:v>5.9110382573539413</c:v>
                </c:pt>
                <c:pt idx="10218">
                  <c:v>3.9827345155077634</c:v>
                </c:pt>
                <c:pt idx="10219">
                  <c:v>6.0054334487267411</c:v>
                </c:pt>
                <c:pt idx="10220">
                  <c:v>6.1070330454806854</c:v>
                </c:pt>
                <c:pt idx="10221">
                  <c:v>5.100749438150368</c:v>
                </c:pt>
                <c:pt idx="10222">
                  <c:v>6.9520114975030625</c:v>
                </c:pt>
                <c:pt idx="10223">
                  <c:v>5.9349986737564393</c:v>
                </c:pt>
                <c:pt idx="10224">
                  <c:v>4.9190802430513445</c:v>
                </c:pt>
                <c:pt idx="10225">
                  <c:v>5.9067757198227655</c:v>
                </c:pt>
                <c:pt idx="10226">
                  <c:v>4.9843450339489825</c:v>
                </c:pt>
                <c:pt idx="10227">
                  <c:v>5.9656274310523125</c:v>
                </c:pt>
                <c:pt idx="10228">
                  <c:v>4.9560425719428967</c:v>
                </c:pt>
                <c:pt idx="10229">
                  <c:v>5.9001390221489149</c:v>
                </c:pt>
                <c:pt idx="10230">
                  <c:v>6.0743573840674516</c:v>
                </c:pt>
                <c:pt idx="10231">
                  <c:v>4.997530314975295</c:v>
                </c:pt>
                <c:pt idx="10232">
                  <c:v>5.9008974804770862</c:v>
                </c:pt>
                <c:pt idx="10233">
                  <c:v>6.1989648477635688</c:v>
                </c:pt>
                <c:pt idx="10234">
                  <c:v>6.0591067211941185</c:v>
                </c:pt>
                <c:pt idx="10235">
                  <c:v>5.9332150254692122</c:v>
                </c:pt>
                <c:pt idx="10236">
                  <c:v>5.0861583237969308</c:v>
                </c:pt>
                <c:pt idx="10237">
                  <c:v>6.1284148883493499</c:v>
                </c:pt>
                <c:pt idx="10238">
                  <c:v>5.9330006567828706</c:v>
                </c:pt>
                <c:pt idx="10239">
                  <c:v>5.9500876516607955</c:v>
                </c:pt>
                <c:pt idx="10240">
                  <c:v>6.2873966502633749</c:v>
                </c:pt>
                <c:pt idx="10241">
                  <c:v>5.9432188613967067</c:v>
                </c:pt>
                <c:pt idx="10242">
                  <c:v>5.0266931197963949</c:v>
                </c:pt>
                <c:pt idx="10243">
                  <c:v>4.8834563549532115</c:v>
                </c:pt>
                <c:pt idx="10244">
                  <c:v>4.7720821696258335</c:v>
                </c:pt>
                <c:pt idx="10245">
                  <c:v>5.1087683900230703</c:v>
                </c:pt>
                <c:pt idx="10246">
                  <c:v>4.9724908887291974</c:v>
                </c:pt>
                <c:pt idx="10247">
                  <c:v>6.0316392069841918</c:v>
                </c:pt>
                <c:pt idx="10248">
                  <c:v>3.9859885773260171</c:v>
                </c:pt>
                <c:pt idx="10249">
                  <c:v>4.8780335806028985</c:v>
                </c:pt>
                <c:pt idx="10250">
                  <c:v>5.0660218222585289</c:v>
                </c:pt>
                <c:pt idx="10251">
                  <c:v>4.8981850802972788</c:v>
                </c:pt>
                <c:pt idx="10252">
                  <c:v>4.8833192969767598</c:v>
                </c:pt>
                <c:pt idx="10253">
                  <c:v>6.1217062249262639</c:v>
                </c:pt>
                <c:pt idx="10254">
                  <c:v>6.0586600883995798</c:v>
                </c:pt>
                <c:pt idx="10255">
                  <c:v>5.0540770129965535</c:v>
                </c:pt>
                <c:pt idx="10256">
                  <c:v>6.0226821743643848</c:v>
                </c:pt>
                <c:pt idx="10257">
                  <c:v>5.9837071891710645</c:v>
                </c:pt>
                <c:pt idx="10258">
                  <c:v>5.1078209702364381</c:v>
                </c:pt>
                <c:pt idx="10259">
                  <c:v>4.9962298029263472</c:v>
                </c:pt>
                <c:pt idx="10260">
                  <c:v>5.191400169893166</c:v>
                </c:pt>
                <c:pt idx="10261">
                  <c:v>7.0790732509587819</c:v>
                </c:pt>
                <c:pt idx="10262">
                  <c:v>6.1102951788814854</c:v>
                </c:pt>
                <c:pt idx="10263">
                  <c:v>6.3954622226750875</c:v>
                </c:pt>
                <c:pt idx="10264">
                  <c:v>5.9531627988705349</c:v>
                </c:pt>
                <c:pt idx="10265">
                  <c:v>4.9467246990184988</c:v>
                </c:pt>
                <c:pt idx="10266">
                  <c:v>4.8799653476445988</c:v>
                </c:pt>
                <c:pt idx="10267">
                  <c:v>4.9291799526117659</c:v>
                </c:pt>
                <c:pt idx="10268">
                  <c:v>4.935932715168005</c:v>
                </c:pt>
                <c:pt idx="10269">
                  <c:v>5.8851293763287309</c:v>
                </c:pt>
                <c:pt idx="10270">
                  <c:v>5.8881206191932733</c:v>
                </c:pt>
                <c:pt idx="10271">
                  <c:v>5.9853142163323954</c:v>
                </c:pt>
                <c:pt idx="10272">
                  <c:v>5.7949774213656031</c:v>
                </c:pt>
                <c:pt idx="10273">
                  <c:v>4.7938095140872958</c:v>
                </c:pt>
                <c:pt idx="10274">
                  <c:v>5.9016606672974108</c:v>
                </c:pt>
                <c:pt idx="10275">
                  <c:v>5.9181984325331687</c:v>
                </c:pt>
                <c:pt idx="10276">
                  <c:v>4.9541132836946611</c:v>
                </c:pt>
                <c:pt idx="10277">
                  <c:v>6.0410258815867488</c:v>
                </c:pt>
                <c:pt idx="10278">
                  <c:v>5.9153518122289555</c:v>
                </c:pt>
                <c:pt idx="10279">
                  <c:v>4.9741759102324936</c:v>
                </c:pt>
                <c:pt idx="10280">
                  <c:v>6.0357100736744682</c:v>
                </c:pt>
                <c:pt idx="10281">
                  <c:v>4.9476387868517957</c:v>
                </c:pt>
                <c:pt idx="10282">
                  <c:v>6.0323671252489435</c:v>
                </c:pt>
                <c:pt idx="10283">
                  <c:v>6.2213664307074206</c:v>
                </c:pt>
                <c:pt idx="10284">
                  <c:v>6.0958851446290083</c:v>
                </c:pt>
                <c:pt idx="10285">
                  <c:v>4.9887258036987392</c:v>
                </c:pt>
                <c:pt idx="10286">
                  <c:v>5.0855812098252891</c:v>
                </c:pt>
                <c:pt idx="10287">
                  <c:v>5.8816302887148844</c:v>
                </c:pt>
                <c:pt idx="10288">
                  <c:v>6.1219798455851642</c:v>
                </c:pt>
                <c:pt idx="10289">
                  <c:v>5.9638185104442671</c:v>
                </c:pt>
                <c:pt idx="10290">
                  <c:v>5.9080682932627884</c:v>
                </c:pt>
                <c:pt idx="10291">
                  <c:v>5.9680892295626942</c:v>
                </c:pt>
                <c:pt idx="10292">
                  <c:v>6.0138838878138019</c:v>
                </c:pt>
                <c:pt idx="10293">
                  <c:v>6.1428684006904417</c:v>
                </c:pt>
                <c:pt idx="10294">
                  <c:v>5.162718629816557</c:v>
                </c:pt>
                <c:pt idx="10295">
                  <c:v>6.082718812890902</c:v>
                </c:pt>
                <c:pt idx="10296">
                  <c:v>5.8829541276069941</c:v>
                </c:pt>
                <c:pt idx="10297">
                  <c:v>5.8666787338890574</c:v>
                </c:pt>
                <c:pt idx="10298">
                  <c:v>5.9887133337436413</c:v>
                </c:pt>
                <c:pt idx="10299">
                  <c:v>3.9708677954420137</c:v>
                </c:pt>
                <c:pt idx="10300">
                  <c:v>6.2409091505132093</c:v>
                </c:pt>
                <c:pt idx="10301">
                  <c:v>5.1909569067847539</c:v>
                </c:pt>
                <c:pt idx="10302">
                  <c:v>6.2880587353844319</c:v>
                </c:pt>
                <c:pt idx="10303">
                  <c:v>6.0400835960273431</c:v>
                </c:pt>
                <c:pt idx="10304">
                  <c:v>5.240898387532007</c:v>
                </c:pt>
                <c:pt idx="10305">
                  <c:v>5.0723751917454498</c:v>
                </c:pt>
                <c:pt idx="10306">
                  <c:v>4.9549087509496497</c:v>
                </c:pt>
                <c:pt idx="10307">
                  <c:v>6.0376964473713466</c:v>
                </c:pt>
                <c:pt idx="10308">
                  <c:v>4.9174513116330019</c:v>
                </c:pt>
                <c:pt idx="10309">
                  <c:v>5.9927882625194293</c:v>
                </c:pt>
                <c:pt idx="10310">
                  <c:v>5.9029027005469787</c:v>
                </c:pt>
                <c:pt idx="10311">
                  <c:v>5.0333448146088315</c:v>
                </c:pt>
                <c:pt idx="10312">
                  <c:v>5.8580084062297209</c:v>
                </c:pt>
                <c:pt idx="10313">
                  <c:v>6.0476240976564739</c:v>
                </c:pt>
                <c:pt idx="10314">
                  <c:v>5.8037952513060107</c:v>
                </c:pt>
                <c:pt idx="10315">
                  <c:v>3.1546531519755061</c:v>
                </c:pt>
                <c:pt idx="10316">
                  <c:v>3.0351372820323337</c:v>
                </c:pt>
                <c:pt idx="10317">
                  <c:v>5.9226737381753258</c:v>
                </c:pt>
                <c:pt idx="10318">
                  <c:v>2.967362238667314</c:v>
                </c:pt>
                <c:pt idx="10319">
                  <c:v>5.0530407340766734</c:v>
                </c:pt>
                <c:pt idx="10320">
                  <c:v>6.0405243773451724</c:v>
                </c:pt>
                <c:pt idx="10321">
                  <c:v>5.8980060144327195</c:v>
                </c:pt>
                <c:pt idx="10322">
                  <c:v>5.1357037191077115</c:v>
                </c:pt>
                <c:pt idx="10323">
                  <c:v>5.9773694703227411</c:v>
                </c:pt>
                <c:pt idx="10324">
                  <c:v>5.9839124862007722</c:v>
                </c:pt>
                <c:pt idx="10325">
                  <c:v>5.0489099198447818</c:v>
                </c:pt>
                <c:pt idx="10326">
                  <c:v>5.2192411853559966</c:v>
                </c:pt>
                <c:pt idx="10327">
                  <c:v>6.0499306038010126</c:v>
                </c:pt>
                <c:pt idx="10328">
                  <c:v>4.8498894376021919</c:v>
                </c:pt>
                <c:pt idx="10329">
                  <c:v>6.0957230187688829</c:v>
                </c:pt>
                <c:pt idx="10330">
                  <c:v>5.0622099033798733</c:v>
                </c:pt>
                <c:pt idx="10331">
                  <c:v>6.1154997518210061</c:v>
                </c:pt>
                <c:pt idx="10332">
                  <c:v>4.8571360421238818</c:v>
                </c:pt>
                <c:pt idx="10333">
                  <c:v>6.061045308305772</c:v>
                </c:pt>
                <c:pt idx="10334">
                  <c:v>6.1046707198439538</c:v>
                </c:pt>
                <c:pt idx="10335">
                  <c:v>6.1212828163103943</c:v>
                </c:pt>
                <c:pt idx="10336">
                  <c:v>5.075525307130123</c:v>
                </c:pt>
                <c:pt idx="10337">
                  <c:v>5.9070618535995632</c:v>
                </c:pt>
                <c:pt idx="10338">
                  <c:v>6.0937857379971563</c:v>
                </c:pt>
                <c:pt idx="10339">
                  <c:v>6.0701715123424602</c:v>
                </c:pt>
                <c:pt idx="10340">
                  <c:v>5.0893662971787439</c:v>
                </c:pt>
                <c:pt idx="10341">
                  <c:v>5.9901094851620993</c:v>
                </c:pt>
                <c:pt idx="10342">
                  <c:v>6.0545141364044941</c:v>
                </c:pt>
                <c:pt idx="10343">
                  <c:v>5.1920198596009763</c:v>
                </c:pt>
                <c:pt idx="10344">
                  <c:v>7.0699668935731861</c:v>
                </c:pt>
                <c:pt idx="10345">
                  <c:v>6.0262435478944392</c:v>
                </c:pt>
                <c:pt idx="10346">
                  <c:v>5.1308710542319345</c:v>
                </c:pt>
                <c:pt idx="10347">
                  <c:v>6.0018498002672267</c:v>
                </c:pt>
                <c:pt idx="10348">
                  <c:v>5.8544450814474613</c:v>
                </c:pt>
                <c:pt idx="10349">
                  <c:v>5.8636207572472996</c:v>
                </c:pt>
                <c:pt idx="10350">
                  <c:v>4.9858334720357158</c:v>
                </c:pt>
                <c:pt idx="10351">
                  <c:v>5.8619951874377199</c:v>
                </c:pt>
                <c:pt idx="10352">
                  <c:v>5.9067425901521329</c:v>
                </c:pt>
                <c:pt idx="10353">
                  <c:v>5.9433196794317027</c:v>
                </c:pt>
                <c:pt idx="10354">
                  <c:v>5.0093759730883081</c:v>
                </c:pt>
                <c:pt idx="10355">
                  <c:v>5.1170243619942806</c:v>
                </c:pt>
                <c:pt idx="10356">
                  <c:v>4.9519673574964207</c:v>
                </c:pt>
                <c:pt idx="10357">
                  <c:v>5.0428550588664809</c:v>
                </c:pt>
                <c:pt idx="10358">
                  <c:v>4.9764087715981518</c:v>
                </c:pt>
                <c:pt idx="10359">
                  <c:v>5.9614120534340032</c:v>
                </c:pt>
                <c:pt idx="10360">
                  <c:v>6.1363401392809713</c:v>
                </c:pt>
                <c:pt idx="10361">
                  <c:v>5.039232219175859</c:v>
                </c:pt>
                <c:pt idx="10362">
                  <c:v>7.1273820349781305</c:v>
                </c:pt>
                <c:pt idx="10363">
                  <c:v>5.0419055118160028</c:v>
                </c:pt>
                <c:pt idx="10364">
                  <c:v>4.8835320305985697</c:v>
                </c:pt>
                <c:pt idx="10365">
                  <c:v>6.0146435112399734</c:v>
                </c:pt>
                <c:pt idx="10366">
                  <c:v>7.1185472701633872</c:v>
                </c:pt>
                <c:pt idx="10367">
                  <c:v>4.9362379962183258</c:v>
                </c:pt>
                <c:pt idx="10368">
                  <c:v>6.0007888897492521</c:v>
                </c:pt>
                <c:pt idx="10369">
                  <c:v>6.1459060866363346</c:v>
                </c:pt>
                <c:pt idx="10370">
                  <c:v>6.0027647283859888</c:v>
                </c:pt>
                <c:pt idx="10371">
                  <c:v>3.9709692327323411</c:v>
                </c:pt>
                <c:pt idx="10372">
                  <c:v>4.001013342853839</c:v>
                </c:pt>
                <c:pt idx="10373">
                  <c:v>6.0452652708686569</c:v>
                </c:pt>
                <c:pt idx="10374">
                  <c:v>3.9174531511422188</c:v>
                </c:pt>
                <c:pt idx="10375">
                  <c:v>3.9726893817722528</c:v>
                </c:pt>
                <c:pt idx="10376">
                  <c:v>6.0635948011433296</c:v>
                </c:pt>
                <c:pt idx="10377">
                  <c:v>1.842097849600475</c:v>
                </c:pt>
                <c:pt idx="10378">
                  <c:v>6.01660735341967</c:v>
                </c:pt>
                <c:pt idx="10379">
                  <c:v>5.0869538039743309</c:v>
                </c:pt>
                <c:pt idx="10380">
                  <c:v>5.8969081777342662</c:v>
                </c:pt>
                <c:pt idx="10381">
                  <c:v>5.9943126800354971</c:v>
                </c:pt>
                <c:pt idx="10382">
                  <c:v>5.9564540208805816</c:v>
                </c:pt>
                <c:pt idx="10383">
                  <c:v>6.0240988302220044</c:v>
                </c:pt>
                <c:pt idx="10384">
                  <c:v>5.9789537190207618</c:v>
                </c:pt>
                <c:pt idx="10385">
                  <c:v>6.0011748841059909</c:v>
                </c:pt>
                <c:pt idx="10386">
                  <c:v>5.8569775198447669</c:v>
                </c:pt>
                <c:pt idx="10387">
                  <c:v>5.9273445014036268</c:v>
                </c:pt>
                <c:pt idx="10388">
                  <c:v>6.1239295791616861</c:v>
                </c:pt>
                <c:pt idx="10389">
                  <c:v>6.0837354918123721</c:v>
                </c:pt>
                <c:pt idx="10390">
                  <c:v>6.0623275508491172</c:v>
                </c:pt>
                <c:pt idx="10391">
                  <c:v>5.0351862301228092</c:v>
                </c:pt>
                <c:pt idx="10392">
                  <c:v>6.1276653953185365</c:v>
                </c:pt>
                <c:pt idx="10393">
                  <c:v>5.9362326729284041</c:v>
                </c:pt>
                <c:pt idx="10394">
                  <c:v>5.833532680553577</c:v>
                </c:pt>
                <c:pt idx="10395">
                  <c:v>5.8579446020835668</c:v>
                </c:pt>
                <c:pt idx="10396">
                  <c:v>5.0878474814776382</c:v>
                </c:pt>
                <c:pt idx="10397">
                  <c:v>6.044309815165243</c:v>
                </c:pt>
                <c:pt idx="10398">
                  <c:v>5.0012245636681065</c:v>
                </c:pt>
                <c:pt idx="10399">
                  <c:v>6.2841551130861895</c:v>
                </c:pt>
                <c:pt idx="10400">
                  <c:v>4.1623970912685557</c:v>
                </c:pt>
                <c:pt idx="10401">
                  <c:v>4.8937368108405668</c:v>
                </c:pt>
                <c:pt idx="10402">
                  <c:v>5.9968883674721249</c:v>
                </c:pt>
                <c:pt idx="10403">
                  <c:v>5.9409044013180434</c:v>
                </c:pt>
                <c:pt idx="10404">
                  <c:v>6.0137768762197874</c:v>
                </c:pt>
                <c:pt idx="10405">
                  <c:v>6.1554093404325414</c:v>
                </c:pt>
                <c:pt idx="10406">
                  <c:v>4.9826231293081173</c:v>
                </c:pt>
                <c:pt idx="10407">
                  <c:v>6.1315476540262166</c:v>
                </c:pt>
                <c:pt idx="10408">
                  <c:v>5.9175436894700075</c:v>
                </c:pt>
                <c:pt idx="10409">
                  <c:v>5.1068629789442967</c:v>
                </c:pt>
                <c:pt idx="10410">
                  <c:v>4.8154953910282963</c:v>
                </c:pt>
                <c:pt idx="10411">
                  <c:v>6.1155766177682054</c:v>
                </c:pt>
                <c:pt idx="10412">
                  <c:v>5.0264130601178403</c:v>
                </c:pt>
                <c:pt idx="10413">
                  <c:v>4.8138835441840211</c:v>
                </c:pt>
                <c:pt idx="10414">
                  <c:v>7.0748699597417328</c:v>
                </c:pt>
                <c:pt idx="10415">
                  <c:v>5.9589303811137659</c:v>
                </c:pt>
                <c:pt idx="10416">
                  <c:v>6.0584521781097793</c:v>
                </c:pt>
                <c:pt idx="10417">
                  <c:v>5.879940937127742</c:v>
                </c:pt>
                <c:pt idx="10418">
                  <c:v>5.9916511302686679</c:v>
                </c:pt>
                <c:pt idx="10419">
                  <c:v>6.9800062156431384</c:v>
                </c:pt>
                <c:pt idx="10420">
                  <c:v>6.0606402541913038</c:v>
                </c:pt>
                <c:pt idx="10421">
                  <c:v>5.0167566407244149</c:v>
                </c:pt>
                <c:pt idx="10422">
                  <c:v>4.9208530453408468</c:v>
                </c:pt>
                <c:pt idx="10423">
                  <c:v>6.1244537712042675</c:v>
                </c:pt>
                <c:pt idx="10424">
                  <c:v>5.9830188475384549</c:v>
                </c:pt>
                <c:pt idx="10425">
                  <c:v>4.9981413832262218</c:v>
                </c:pt>
                <c:pt idx="10426">
                  <c:v>5.9057373913458049</c:v>
                </c:pt>
                <c:pt idx="10427">
                  <c:v>6.0545796941393926</c:v>
                </c:pt>
                <c:pt idx="10428">
                  <c:v>5.9871777896163758</c:v>
                </c:pt>
                <c:pt idx="10429">
                  <c:v>6.1557562796657788</c:v>
                </c:pt>
                <c:pt idx="10430">
                  <c:v>6.0600198642240448</c:v>
                </c:pt>
                <c:pt idx="10431">
                  <c:v>6.1657451158973435</c:v>
                </c:pt>
                <c:pt idx="10432">
                  <c:v>6.0758782496498513</c:v>
                </c:pt>
                <c:pt idx="10433">
                  <c:v>5.0458071426033486</c:v>
                </c:pt>
                <c:pt idx="10434">
                  <c:v>6.1388181314009556</c:v>
                </c:pt>
                <c:pt idx="10435">
                  <c:v>5.9982160012644705</c:v>
                </c:pt>
                <c:pt idx="10436">
                  <c:v>5.9673610634824827</c:v>
                </c:pt>
                <c:pt idx="10437">
                  <c:v>6.0380606496511797</c:v>
                </c:pt>
                <c:pt idx="10438">
                  <c:v>5.1687925990355188</c:v>
                </c:pt>
                <c:pt idx="10439">
                  <c:v>5.9371132218123641</c:v>
                </c:pt>
                <c:pt idx="10440">
                  <c:v>6.0341072702099874</c:v>
                </c:pt>
                <c:pt idx="10441">
                  <c:v>6.9715420035289801</c:v>
                </c:pt>
                <c:pt idx="10442">
                  <c:v>4.9441062351032157</c:v>
                </c:pt>
                <c:pt idx="10443">
                  <c:v>5.9699874995167495</c:v>
                </c:pt>
                <c:pt idx="10444">
                  <c:v>5.1118498316878496</c:v>
                </c:pt>
                <c:pt idx="10445">
                  <c:v>5.0627730450827775</c:v>
                </c:pt>
                <c:pt idx="10446">
                  <c:v>4.961430605831568</c:v>
                </c:pt>
                <c:pt idx="10447">
                  <c:v>5.9976146631836675</c:v>
                </c:pt>
                <c:pt idx="10448">
                  <c:v>5.1352967443579889</c:v>
                </c:pt>
                <c:pt idx="10449">
                  <c:v>4.9331684072082931</c:v>
                </c:pt>
                <c:pt idx="10450">
                  <c:v>5.9196532502632477</c:v>
                </c:pt>
                <c:pt idx="10451">
                  <c:v>5.9881577925013802</c:v>
                </c:pt>
                <c:pt idx="10452">
                  <c:v>6.0197026145514334</c:v>
                </c:pt>
                <c:pt idx="10453">
                  <c:v>6.0566867849388668</c:v>
                </c:pt>
                <c:pt idx="10454">
                  <c:v>6.1230150582598313</c:v>
                </c:pt>
                <c:pt idx="10455">
                  <c:v>5.7555061661725437</c:v>
                </c:pt>
                <c:pt idx="10456">
                  <c:v>5.8687350514542453</c:v>
                </c:pt>
                <c:pt idx="10457">
                  <c:v>6.0132195811463811</c:v>
                </c:pt>
                <c:pt idx="10458">
                  <c:v>6.14248124701958</c:v>
                </c:pt>
                <c:pt idx="10459">
                  <c:v>5.9335615748880528</c:v>
                </c:pt>
                <c:pt idx="10460">
                  <c:v>5.9835357379734733</c:v>
                </c:pt>
                <c:pt idx="10461">
                  <c:v>5.9397542344662035</c:v>
                </c:pt>
                <c:pt idx="10462">
                  <c:v>6.0842756688598216</c:v>
                </c:pt>
                <c:pt idx="10463">
                  <c:v>5.9418391957177503</c:v>
                </c:pt>
                <c:pt idx="10464">
                  <c:v>5.9425444049818328</c:v>
                </c:pt>
                <c:pt idx="10465">
                  <c:v>4.8405389236858722</c:v>
                </c:pt>
                <c:pt idx="10466">
                  <c:v>7.1172580942021595</c:v>
                </c:pt>
                <c:pt idx="10467">
                  <c:v>6.0377211951503993</c:v>
                </c:pt>
                <c:pt idx="10468">
                  <c:v>4.8913321674274464</c:v>
                </c:pt>
                <c:pt idx="10469">
                  <c:v>6.0605966049688975</c:v>
                </c:pt>
                <c:pt idx="10470">
                  <c:v>5.868088443735461</c:v>
                </c:pt>
                <c:pt idx="10471">
                  <c:v>5.9573609283677804</c:v>
                </c:pt>
                <c:pt idx="10472">
                  <c:v>6.0885296219444669</c:v>
                </c:pt>
                <c:pt idx="10473">
                  <c:v>4.9221647789902478</c:v>
                </c:pt>
                <c:pt idx="10474">
                  <c:v>5.0248245523645938</c:v>
                </c:pt>
                <c:pt idx="10475">
                  <c:v>5.0886698329027311</c:v>
                </c:pt>
                <c:pt idx="10476">
                  <c:v>5.8736787931586996</c:v>
                </c:pt>
                <c:pt idx="10477">
                  <c:v>5.0379793810276698</c:v>
                </c:pt>
                <c:pt idx="10478">
                  <c:v>4.7865114781506808</c:v>
                </c:pt>
                <c:pt idx="10479">
                  <c:v>6.0428671056341212</c:v>
                </c:pt>
                <c:pt idx="10480">
                  <c:v>6.0232290726488449</c:v>
                </c:pt>
                <c:pt idx="10481">
                  <c:v>5.9085983373306119</c:v>
                </c:pt>
                <c:pt idx="10482">
                  <c:v>6.0723773496339284</c:v>
                </c:pt>
                <c:pt idx="10483">
                  <c:v>4.9363162968127794</c:v>
                </c:pt>
                <c:pt idx="10484">
                  <c:v>3.9486216246861336</c:v>
                </c:pt>
                <c:pt idx="10485">
                  <c:v>5.0247283716999345</c:v>
                </c:pt>
                <c:pt idx="10486">
                  <c:v>4.9045690172325651</c:v>
                </c:pt>
                <c:pt idx="10487">
                  <c:v>5.0453042186816388</c:v>
                </c:pt>
                <c:pt idx="10488">
                  <c:v>5.0424143137690685</c:v>
                </c:pt>
                <c:pt idx="10489">
                  <c:v>4.9151774897354992</c:v>
                </c:pt>
                <c:pt idx="10490">
                  <c:v>4.8839588260613835</c:v>
                </c:pt>
                <c:pt idx="10491">
                  <c:v>5.0880837680087598</c:v>
                </c:pt>
                <c:pt idx="10492">
                  <c:v>7.0485085728763961</c:v>
                </c:pt>
                <c:pt idx="10493">
                  <c:v>4.9380640632176895</c:v>
                </c:pt>
                <c:pt idx="10494">
                  <c:v>6.0739724150234062</c:v>
                </c:pt>
                <c:pt idx="10495">
                  <c:v>7.1225605232732594</c:v>
                </c:pt>
                <c:pt idx="10496">
                  <c:v>5.9189252846860283</c:v>
                </c:pt>
                <c:pt idx="10497">
                  <c:v>6.105613542937002</c:v>
                </c:pt>
                <c:pt idx="10498">
                  <c:v>6.0411243894897311</c:v>
                </c:pt>
                <c:pt idx="10499">
                  <c:v>5.006579423397608</c:v>
                </c:pt>
                <c:pt idx="10500">
                  <c:v>6.090556504607247</c:v>
                </c:pt>
                <c:pt idx="10501">
                  <c:v>4.9989661059783197</c:v>
                </c:pt>
                <c:pt idx="10502">
                  <c:v>6.0476052829754687</c:v>
                </c:pt>
                <c:pt idx="10503">
                  <c:v>5.2354110287026092</c:v>
                </c:pt>
                <c:pt idx="10504">
                  <c:v>5.9240705663199043</c:v>
                </c:pt>
                <c:pt idx="10505">
                  <c:v>5.1648896374110658</c:v>
                </c:pt>
                <c:pt idx="10506">
                  <c:v>6.0325985072084345</c:v>
                </c:pt>
                <c:pt idx="10507">
                  <c:v>6.0043534683325701</c:v>
                </c:pt>
                <c:pt idx="10508">
                  <c:v>6.2104388222473501</c:v>
                </c:pt>
                <c:pt idx="10509">
                  <c:v>5.0108983205983382</c:v>
                </c:pt>
                <c:pt idx="10510">
                  <c:v>4.9983798257494536</c:v>
                </c:pt>
                <c:pt idx="10511">
                  <c:v>6.1870594589888883</c:v>
                </c:pt>
                <c:pt idx="10512">
                  <c:v>5.2162317996041647</c:v>
                </c:pt>
                <c:pt idx="10513">
                  <c:v>5.9401254859045958</c:v>
                </c:pt>
                <c:pt idx="10514">
                  <c:v>5.0965983740880869</c:v>
                </c:pt>
                <c:pt idx="10515">
                  <c:v>4.9777972615748629</c:v>
                </c:pt>
                <c:pt idx="10516">
                  <c:v>5.1725324921697133</c:v>
                </c:pt>
                <c:pt idx="10517">
                  <c:v>5.953501933995093</c:v>
                </c:pt>
                <c:pt idx="10518">
                  <c:v>6.1042508864131229</c:v>
                </c:pt>
                <c:pt idx="10519">
                  <c:v>6.0479356275100589</c:v>
                </c:pt>
                <c:pt idx="10520">
                  <c:v>5.0426393803464586</c:v>
                </c:pt>
                <c:pt idx="10521">
                  <c:v>7.0699582207617189</c:v>
                </c:pt>
                <c:pt idx="10522">
                  <c:v>6.1123787846071922</c:v>
                </c:pt>
                <c:pt idx="10523">
                  <c:v>6.999536478317375</c:v>
                </c:pt>
                <c:pt idx="10524">
                  <c:v>4.9914616353629624</c:v>
                </c:pt>
                <c:pt idx="10525">
                  <c:v>6.0542949573861931</c:v>
                </c:pt>
                <c:pt idx="10526">
                  <c:v>5.9473189744689767</c:v>
                </c:pt>
                <c:pt idx="10527">
                  <c:v>6.0355550799329833</c:v>
                </c:pt>
                <c:pt idx="10528">
                  <c:v>6.1757598625156289</c:v>
                </c:pt>
                <c:pt idx="10529">
                  <c:v>5.8216658372869112</c:v>
                </c:pt>
                <c:pt idx="10530">
                  <c:v>6.0762564912353625</c:v>
                </c:pt>
                <c:pt idx="10531">
                  <c:v>6.1377156812982978</c:v>
                </c:pt>
                <c:pt idx="10532">
                  <c:v>6.1334315276681464</c:v>
                </c:pt>
                <c:pt idx="10533">
                  <c:v>5.9312051217140374</c:v>
                </c:pt>
                <c:pt idx="10534">
                  <c:v>5.9533003704130349</c:v>
                </c:pt>
                <c:pt idx="10535">
                  <c:v>6.0403646923084811</c:v>
                </c:pt>
                <c:pt idx="10536">
                  <c:v>5.9797093373598695</c:v>
                </c:pt>
                <c:pt idx="10537">
                  <c:v>5.9278799964221749</c:v>
                </c:pt>
                <c:pt idx="10538">
                  <c:v>6.1834191782905723</c:v>
                </c:pt>
                <c:pt idx="10539">
                  <c:v>6.2800139844826335</c:v>
                </c:pt>
                <c:pt idx="10540">
                  <c:v>4.9520013769325093</c:v>
                </c:pt>
                <c:pt idx="10541">
                  <c:v>7.1951437630022737</c:v>
                </c:pt>
                <c:pt idx="10542">
                  <c:v>6.1434192626576056</c:v>
                </c:pt>
                <c:pt idx="10543">
                  <c:v>5.0124907540432577</c:v>
                </c:pt>
                <c:pt idx="10544">
                  <c:v>5.0426252741863244</c:v>
                </c:pt>
                <c:pt idx="10545">
                  <c:v>6.065348819854556</c:v>
                </c:pt>
                <c:pt idx="10546">
                  <c:v>4.9572871274091455</c:v>
                </c:pt>
                <c:pt idx="10547">
                  <c:v>4.9986117991357162</c:v>
                </c:pt>
                <c:pt idx="10548">
                  <c:v>4.0947362339139142</c:v>
                </c:pt>
                <c:pt idx="10549">
                  <c:v>4.961102736520437</c:v>
                </c:pt>
                <c:pt idx="10550">
                  <c:v>6.0556784731047646</c:v>
                </c:pt>
                <c:pt idx="10551">
                  <c:v>5.0717918998425331</c:v>
                </c:pt>
                <c:pt idx="10552">
                  <c:v>4.90162616563632</c:v>
                </c:pt>
                <c:pt idx="10553">
                  <c:v>5.9969062147209975</c:v>
                </c:pt>
                <c:pt idx="10554">
                  <c:v>5.946511469856409</c:v>
                </c:pt>
                <c:pt idx="10555">
                  <c:v>5.1084301556876044</c:v>
                </c:pt>
                <c:pt idx="10556">
                  <c:v>5.9210134029018331</c:v>
                </c:pt>
                <c:pt idx="10557">
                  <c:v>6.1070958270494344</c:v>
                </c:pt>
                <c:pt idx="10558">
                  <c:v>6.9613427760838729</c:v>
                </c:pt>
                <c:pt idx="10559">
                  <c:v>6.0490099518472551</c:v>
                </c:pt>
                <c:pt idx="10560">
                  <c:v>4.9509839665998427</c:v>
                </c:pt>
                <c:pt idx="10561">
                  <c:v>6.0907432853277506</c:v>
                </c:pt>
                <c:pt idx="10562">
                  <c:v>5.9272298051246439</c:v>
                </c:pt>
                <c:pt idx="10563">
                  <c:v>4.9145204015084891</c:v>
                </c:pt>
                <c:pt idx="10564">
                  <c:v>5.1135484687685526</c:v>
                </c:pt>
                <c:pt idx="10565">
                  <c:v>5.9435904935021187</c:v>
                </c:pt>
                <c:pt idx="10566">
                  <c:v>5.9059843828608933</c:v>
                </c:pt>
                <c:pt idx="10567">
                  <c:v>5.1240615786628005</c:v>
                </c:pt>
                <c:pt idx="10568">
                  <c:v>4.9298641159387211</c:v>
                </c:pt>
                <c:pt idx="10569">
                  <c:v>4.9252570453359601</c:v>
                </c:pt>
                <c:pt idx="10570">
                  <c:v>5.9924077013492481</c:v>
                </c:pt>
                <c:pt idx="10571">
                  <c:v>6.9213444724072701</c:v>
                </c:pt>
                <c:pt idx="10572">
                  <c:v>6.0218611543448954</c:v>
                </c:pt>
                <c:pt idx="10573">
                  <c:v>5.9048635009007251</c:v>
                </c:pt>
                <c:pt idx="10574">
                  <c:v>5.9019222243040206</c:v>
                </c:pt>
                <c:pt idx="10575">
                  <c:v>5.9716324055296992</c:v>
                </c:pt>
                <c:pt idx="10576">
                  <c:v>5.9684481577951276</c:v>
                </c:pt>
                <c:pt idx="10577">
                  <c:v>4.9316633105260532</c:v>
                </c:pt>
                <c:pt idx="10578">
                  <c:v>6.1909350642411276</c:v>
                </c:pt>
                <c:pt idx="10579">
                  <c:v>7.0932670005970069</c:v>
                </c:pt>
                <c:pt idx="10580">
                  <c:v>6.2591697004001858</c:v>
                </c:pt>
                <c:pt idx="10581">
                  <c:v>7.0475104648861162</c:v>
                </c:pt>
                <c:pt idx="10582">
                  <c:v>6.9096807129347591</c:v>
                </c:pt>
                <c:pt idx="10583">
                  <c:v>6.1319146281729422</c:v>
                </c:pt>
                <c:pt idx="10584">
                  <c:v>6.8746522106946184</c:v>
                </c:pt>
                <c:pt idx="10585">
                  <c:v>3.8184611846911847</c:v>
                </c:pt>
                <c:pt idx="10586">
                  <c:v>6.0364890786615835</c:v>
                </c:pt>
                <c:pt idx="10587">
                  <c:v>7.210197237728635</c:v>
                </c:pt>
                <c:pt idx="10588">
                  <c:v>6.015816394061356</c:v>
                </c:pt>
                <c:pt idx="10589">
                  <c:v>5.9695549046577376</c:v>
                </c:pt>
                <c:pt idx="10590">
                  <c:v>5.0345129081093472</c:v>
                </c:pt>
                <c:pt idx="10591">
                  <c:v>5.7786856507105897</c:v>
                </c:pt>
                <c:pt idx="10592">
                  <c:v>6.1392907012419622</c:v>
                </c:pt>
                <c:pt idx="10593">
                  <c:v>4.1399151652882082</c:v>
                </c:pt>
                <c:pt idx="10594">
                  <c:v>6.1794577308838017</c:v>
                </c:pt>
                <c:pt idx="10595">
                  <c:v>5.9827460317608798</c:v>
                </c:pt>
                <c:pt idx="10596">
                  <c:v>6.043957131103892</c:v>
                </c:pt>
                <c:pt idx="10597">
                  <c:v>6.086530568717115</c:v>
                </c:pt>
                <c:pt idx="10598">
                  <c:v>6.072212751988558</c:v>
                </c:pt>
                <c:pt idx="10599">
                  <c:v>5.9887702479860945</c:v>
                </c:pt>
                <c:pt idx="10600">
                  <c:v>7.1980863359553826</c:v>
                </c:pt>
                <c:pt idx="10601">
                  <c:v>6.1228490667905859</c:v>
                </c:pt>
                <c:pt idx="10602">
                  <c:v>6.2987597345341264</c:v>
                </c:pt>
                <c:pt idx="10603">
                  <c:v>5.9229243083786596</c:v>
                </c:pt>
                <c:pt idx="10604">
                  <c:v>5.8096933745848229</c:v>
                </c:pt>
                <c:pt idx="10605">
                  <c:v>6.1192050915377809</c:v>
                </c:pt>
                <c:pt idx="10606">
                  <c:v>6.0327703881114596</c:v>
                </c:pt>
                <c:pt idx="10607">
                  <c:v>5.0222280247323825</c:v>
                </c:pt>
                <c:pt idx="10608">
                  <c:v>6.0667199583331319</c:v>
                </c:pt>
                <c:pt idx="10609">
                  <c:v>5.9428204202995767</c:v>
                </c:pt>
                <c:pt idx="10610">
                  <c:v>5.9305783289733114</c:v>
                </c:pt>
                <c:pt idx="10611">
                  <c:v>5.8334320468618444</c:v>
                </c:pt>
                <c:pt idx="10612">
                  <c:v>5.9172633756356099</c:v>
                </c:pt>
                <c:pt idx="10613">
                  <c:v>6.0119504346674919</c:v>
                </c:pt>
                <c:pt idx="10614">
                  <c:v>6.141912412121024</c:v>
                </c:pt>
                <c:pt idx="10615">
                  <c:v>5.9580289145368877</c:v>
                </c:pt>
                <c:pt idx="10616">
                  <c:v>7.0764797161909714</c:v>
                </c:pt>
                <c:pt idx="10617">
                  <c:v>4.9641455176723346</c:v>
                </c:pt>
                <c:pt idx="10618">
                  <c:v>6.1314533274194147</c:v>
                </c:pt>
                <c:pt idx="10619">
                  <c:v>6.0981719196615947</c:v>
                </c:pt>
                <c:pt idx="10620">
                  <c:v>6.1361937976411127</c:v>
                </c:pt>
                <c:pt idx="10621">
                  <c:v>5.8641912033328953</c:v>
                </c:pt>
                <c:pt idx="10622">
                  <c:v>6.112905039366094</c:v>
                </c:pt>
                <c:pt idx="10623">
                  <c:v>4.8858004036587959</c:v>
                </c:pt>
                <c:pt idx="10624">
                  <c:v>6.0071839489043555</c:v>
                </c:pt>
                <c:pt idx="10625">
                  <c:v>6.0744912100022033</c:v>
                </c:pt>
                <c:pt idx="10626">
                  <c:v>6.0353114717138663</c:v>
                </c:pt>
                <c:pt idx="10627">
                  <c:v>5.943288844279655</c:v>
                </c:pt>
                <c:pt idx="10628">
                  <c:v>5.9720031304577308</c:v>
                </c:pt>
                <c:pt idx="10629">
                  <c:v>5.9080299747713276</c:v>
                </c:pt>
                <c:pt idx="10630">
                  <c:v>5.9461737079604973</c:v>
                </c:pt>
                <c:pt idx="10631">
                  <c:v>6.1030113267924522</c:v>
                </c:pt>
                <c:pt idx="10632">
                  <c:v>6.0730477942629566</c:v>
                </c:pt>
                <c:pt idx="10633">
                  <c:v>7.0934938682185633</c:v>
                </c:pt>
                <c:pt idx="10634">
                  <c:v>4.9095724442374955</c:v>
                </c:pt>
                <c:pt idx="10635">
                  <c:v>6.1241561251015693</c:v>
                </c:pt>
                <c:pt idx="10636">
                  <c:v>5.8834161246500916</c:v>
                </c:pt>
                <c:pt idx="10637">
                  <c:v>6.0573048726692216</c:v>
                </c:pt>
                <c:pt idx="10638">
                  <c:v>5.9037643534095858</c:v>
                </c:pt>
                <c:pt idx="10639">
                  <c:v>5.9392713465030447</c:v>
                </c:pt>
                <c:pt idx="10640">
                  <c:v>6.9499185954348235</c:v>
                </c:pt>
                <c:pt idx="10641">
                  <c:v>5.8754828284694245</c:v>
                </c:pt>
                <c:pt idx="10642">
                  <c:v>5.9813044588384523</c:v>
                </c:pt>
                <c:pt idx="10643">
                  <c:v>5.959061281820607</c:v>
                </c:pt>
                <c:pt idx="10644">
                  <c:v>5.9640232455291109</c:v>
                </c:pt>
                <c:pt idx="10645">
                  <c:v>5.9331769209105545</c:v>
                </c:pt>
                <c:pt idx="10646">
                  <c:v>5.9399496807491756</c:v>
                </c:pt>
                <c:pt idx="10647">
                  <c:v>6.1434407407260681</c:v>
                </c:pt>
                <c:pt idx="10648">
                  <c:v>6.0950492792198014</c:v>
                </c:pt>
                <c:pt idx="10649">
                  <c:v>6.057108053595762</c:v>
                </c:pt>
                <c:pt idx="10650">
                  <c:v>5.0305609484533313</c:v>
                </c:pt>
                <c:pt idx="10651">
                  <c:v>6.09916028562506</c:v>
                </c:pt>
                <c:pt idx="10652">
                  <c:v>5.7980216893155179</c:v>
                </c:pt>
                <c:pt idx="10653">
                  <c:v>5.9480408428146765</c:v>
                </c:pt>
                <c:pt idx="10654">
                  <c:v>5.8940931004560868</c:v>
                </c:pt>
                <c:pt idx="10655">
                  <c:v>6.9732310927058982</c:v>
                </c:pt>
                <c:pt idx="10656">
                  <c:v>5.9585038628979383</c:v>
                </c:pt>
                <c:pt idx="10657">
                  <c:v>5.8746931589036988</c:v>
                </c:pt>
                <c:pt idx="10658">
                  <c:v>5.0678404639745507</c:v>
                </c:pt>
                <c:pt idx="10659">
                  <c:v>6.1210693009386858</c:v>
                </c:pt>
                <c:pt idx="10660">
                  <c:v>5.9490328597711812</c:v>
                </c:pt>
                <c:pt idx="10661">
                  <c:v>6.0902318727492055</c:v>
                </c:pt>
                <c:pt idx="10662">
                  <c:v>4.9658519721403138</c:v>
                </c:pt>
                <c:pt idx="10663">
                  <c:v>6.2060248896343282</c:v>
                </c:pt>
                <c:pt idx="10664">
                  <c:v>3.9826272924559514</c:v>
                </c:pt>
                <c:pt idx="10665">
                  <c:v>7.0061381111511123</c:v>
                </c:pt>
                <c:pt idx="10666">
                  <c:v>6.9660047535693437</c:v>
                </c:pt>
                <c:pt idx="10667">
                  <c:v>6.0579906081099884</c:v>
                </c:pt>
                <c:pt idx="10668">
                  <c:v>5.9678275509465335</c:v>
                </c:pt>
                <c:pt idx="10669">
                  <c:v>6.0178196411924469</c:v>
                </c:pt>
                <c:pt idx="10670">
                  <c:v>6.0793862430200285</c:v>
                </c:pt>
                <c:pt idx="10671">
                  <c:v>5.8967682214081405</c:v>
                </c:pt>
                <c:pt idx="10672">
                  <c:v>6.1505574848919782</c:v>
                </c:pt>
                <c:pt idx="10673">
                  <c:v>5.7619453734082633</c:v>
                </c:pt>
                <c:pt idx="10674">
                  <c:v>5.9778989679442756</c:v>
                </c:pt>
                <c:pt idx="10675">
                  <c:v>5.9051974222851138</c:v>
                </c:pt>
                <c:pt idx="10676">
                  <c:v>5.2044578094288756</c:v>
                </c:pt>
                <c:pt idx="10677">
                  <c:v>5.9251664963507178</c:v>
                </c:pt>
                <c:pt idx="10678">
                  <c:v>6.0214503665310337</c:v>
                </c:pt>
                <c:pt idx="10679">
                  <c:v>5.963094731619635</c:v>
                </c:pt>
                <c:pt idx="10680">
                  <c:v>5.9051404310543161</c:v>
                </c:pt>
                <c:pt idx="10681">
                  <c:v>6.1192501840841071</c:v>
                </c:pt>
                <c:pt idx="10682">
                  <c:v>6.0691075849577079</c:v>
                </c:pt>
                <c:pt idx="10683">
                  <c:v>5.8940889020076153</c:v>
                </c:pt>
                <c:pt idx="10684">
                  <c:v>5.2162913768589236</c:v>
                </c:pt>
                <c:pt idx="10685">
                  <c:v>5.9764940258823041</c:v>
                </c:pt>
                <c:pt idx="10686">
                  <c:v>6.0806766530123406</c:v>
                </c:pt>
                <c:pt idx="10687">
                  <c:v>5.9367202254450495</c:v>
                </c:pt>
                <c:pt idx="10688">
                  <c:v>5.7564363839923338</c:v>
                </c:pt>
                <c:pt idx="10689">
                  <c:v>6.1911875496259148</c:v>
                </c:pt>
                <c:pt idx="10690">
                  <c:v>5.7751930015944755</c:v>
                </c:pt>
                <c:pt idx="10691">
                  <c:v>6.0422442727265127</c:v>
                </c:pt>
                <c:pt idx="10692">
                  <c:v>5.8568248551340849</c:v>
                </c:pt>
                <c:pt idx="10693">
                  <c:v>6.0027603419108067</c:v>
                </c:pt>
                <c:pt idx="10694">
                  <c:v>6.0207294235945135</c:v>
                </c:pt>
                <c:pt idx="10695">
                  <c:v>6.0059172789479964</c:v>
                </c:pt>
                <c:pt idx="10696">
                  <c:v>5.9109199416115867</c:v>
                </c:pt>
                <c:pt idx="10697">
                  <c:v>5.9161020894620027</c:v>
                </c:pt>
                <c:pt idx="10698">
                  <c:v>5.9231171651892733</c:v>
                </c:pt>
                <c:pt idx="10699">
                  <c:v>6.1072557021270724</c:v>
                </c:pt>
                <c:pt idx="10700">
                  <c:v>5.0414440137616081</c:v>
                </c:pt>
                <c:pt idx="10701">
                  <c:v>5.911284838047294</c:v>
                </c:pt>
                <c:pt idx="10702">
                  <c:v>6.1133775921334816</c:v>
                </c:pt>
                <c:pt idx="10703">
                  <c:v>5.950883891208135</c:v>
                </c:pt>
                <c:pt idx="10704">
                  <c:v>6.0807812610818273</c:v>
                </c:pt>
                <c:pt idx="10705">
                  <c:v>4.9516644163116563</c:v>
                </c:pt>
                <c:pt idx="10706">
                  <c:v>5.9414961756580498</c:v>
                </c:pt>
                <c:pt idx="10707">
                  <c:v>5.0828192470106801</c:v>
                </c:pt>
                <c:pt idx="10708">
                  <c:v>5.1471920972558074</c:v>
                </c:pt>
                <c:pt idx="10709">
                  <c:v>5.820369093128809</c:v>
                </c:pt>
                <c:pt idx="10710">
                  <c:v>5.9743273178691947</c:v>
                </c:pt>
                <c:pt idx="10711">
                  <c:v>6.1599580851407962</c:v>
                </c:pt>
                <c:pt idx="10712">
                  <c:v>5.8762551973304742</c:v>
                </c:pt>
                <c:pt idx="10713">
                  <c:v>5.1233280782957396</c:v>
                </c:pt>
                <c:pt idx="10714">
                  <c:v>5.0904164108736927</c:v>
                </c:pt>
                <c:pt idx="10715">
                  <c:v>4.8575146434491883</c:v>
                </c:pt>
                <c:pt idx="10716">
                  <c:v>6.0315382939131181</c:v>
                </c:pt>
                <c:pt idx="10717">
                  <c:v>6.2109839730214365</c:v>
                </c:pt>
                <c:pt idx="10718">
                  <c:v>5.9516622285715481</c:v>
                </c:pt>
                <c:pt idx="10719">
                  <c:v>4.8159130177012068</c:v>
                </c:pt>
                <c:pt idx="10720">
                  <c:v>5.8948202367940166</c:v>
                </c:pt>
                <c:pt idx="10721">
                  <c:v>7.144895961794969</c:v>
                </c:pt>
                <c:pt idx="10722">
                  <c:v>5.912537525585611</c:v>
                </c:pt>
                <c:pt idx="10723">
                  <c:v>5.9449550842411636</c:v>
                </c:pt>
                <c:pt idx="10724">
                  <c:v>4.9679226191451464</c:v>
                </c:pt>
                <c:pt idx="10725">
                  <c:v>4.8192399950828388</c:v>
                </c:pt>
                <c:pt idx="10726">
                  <c:v>5.1170303524946537</c:v>
                </c:pt>
                <c:pt idx="10727">
                  <c:v>4.8427527434004833</c:v>
                </c:pt>
                <c:pt idx="10728">
                  <c:v>6.9855788294721339</c:v>
                </c:pt>
                <c:pt idx="10729">
                  <c:v>6.8943660671541904</c:v>
                </c:pt>
                <c:pt idx="10730">
                  <c:v>4.9354756758703591</c:v>
                </c:pt>
                <c:pt idx="10731">
                  <c:v>5.1359765373736899</c:v>
                </c:pt>
                <c:pt idx="10732">
                  <c:v>4.2387691433860777</c:v>
                </c:pt>
                <c:pt idx="10733">
                  <c:v>6.1887099112606592</c:v>
                </c:pt>
                <c:pt idx="10734">
                  <c:v>5.1052211297304595</c:v>
                </c:pt>
                <c:pt idx="10735">
                  <c:v>6.2141497623904716</c:v>
                </c:pt>
                <c:pt idx="10736">
                  <c:v>5.0376532054817327</c:v>
                </c:pt>
                <c:pt idx="10737">
                  <c:v>7.0924040209009585</c:v>
                </c:pt>
                <c:pt idx="10738">
                  <c:v>6.0608410806425166</c:v>
                </c:pt>
                <c:pt idx="10739">
                  <c:v>4.8983240974581967</c:v>
                </c:pt>
                <c:pt idx="10740">
                  <c:v>6.1036297156926906</c:v>
                </c:pt>
                <c:pt idx="10741">
                  <c:v>6.0128599085108112</c:v>
                </c:pt>
                <c:pt idx="10742">
                  <c:v>5.8587368857909583</c:v>
                </c:pt>
                <c:pt idx="10743">
                  <c:v>5.9554892328934894</c:v>
                </c:pt>
                <c:pt idx="10744">
                  <c:v>5.891547716903724</c:v>
                </c:pt>
                <c:pt idx="10745">
                  <c:v>5.9655465572984481</c:v>
                </c:pt>
                <c:pt idx="10746">
                  <c:v>6.1439857519175369</c:v>
                </c:pt>
                <c:pt idx="10747">
                  <c:v>4.9040896220763663</c:v>
                </c:pt>
                <c:pt idx="10748">
                  <c:v>4.9047786261943864</c:v>
                </c:pt>
                <c:pt idx="10749">
                  <c:v>6.0850422194796208</c:v>
                </c:pt>
                <c:pt idx="10750">
                  <c:v>5.8946662296475534</c:v>
                </c:pt>
                <c:pt idx="10751">
                  <c:v>5.8097268048912998</c:v>
                </c:pt>
                <c:pt idx="10752">
                  <c:v>5.2591817013474103</c:v>
                </c:pt>
                <c:pt idx="10753">
                  <c:v>5.8719481110332117</c:v>
                </c:pt>
                <c:pt idx="10754">
                  <c:v>6.1517976704977286</c:v>
                </c:pt>
                <c:pt idx="10755">
                  <c:v>3.8949335234146929</c:v>
                </c:pt>
                <c:pt idx="10756">
                  <c:v>5.9365672854001641</c:v>
                </c:pt>
                <c:pt idx="10757">
                  <c:v>5.0019171259007749</c:v>
                </c:pt>
                <c:pt idx="10758">
                  <c:v>6.0541603917199343</c:v>
                </c:pt>
                <c:pt idx="10759">
                  <c:v>4.9491173551649466</c:v>
                </c:pt>
                <c:pt idx="10760">
                  <c:v>5.0300944142030026</c:v>
                </c:pt>
                <c:pt idx="10761">
                  <c:v>6.0537337042540029</c:v>
                </c:pt>
                <c:pt idx="10762">
                  <c:v>5.9567896469839567</c:v>
                </c:pt>
                <c:pt idx="10763">
                  <c:v>5.8730185491408831</c:v>
                </c:pt>
                <c:pt idx="10764">
                  <c:v>6.1498181445179156</c:v>
                </c:pt>
                <c:pt idx="10765">
                  <c:v>6.0626402771362837</c:v>
                </c:pt>
                <c:pt idx="10766">
                  <c:v>5.1337028860644756</c:v>
                </c:pt>
                <c:pt idx="10767">
                  <c:v>5.0031115012522784</c:v>
                </c:pt>
                <c:pt idx="10768">
                  <c:v>6.1000965512804388</c:v>
                </c:pt>
                <c:pt idx="10769">
                  <c:v>4.9957638650343661</c:v>
                </c:pt>
                <c:pt idx="10770">
                  <c:v>6.0712615577121696</c:v>
                </c:pt>
                <c:pt idx="10771">
                  <c:v>4.0041919356863218</c:v>
                </c:pt>
                <c:pt idx="10772">
                  <c:v>4.1087253507865533</c:v>
                </c:pt>
                <c:pt idx="10773">
                  <c:v>4.9215676231966077</c:v>
                </c:pt>
                <c:pt idx="10774">
                  <c:v>5.8919585789779108</c:v>
                </c:pt>
                <c:pt idx="10775">
                  <c:v>6.062937512398622</c:v>
                </c:pt>
                <c:pt idx="10776">
                  <c:v>4.0665246551211922</c:v>
                </c:pt>
                <c:pt idx="10777">
                  <c:v>5.9604398087155701</c:v>
                </c:pt>
                <c:pt idx="10778">
                  <c:v>6.0715494296352359</c:v>
                </c:pt>
                <c:pt idx="10779">
                  <c:v>4.7939250422549247</c:v>
                </c:pt>
                <c:pt idx="10780">
                  <c:v>4.9749081706423066</c:v>
                </c:pt>
                <c:pt idx="10781">
                  <c:v>3.9201020046978892</c:v>
                </c:pt>
                <c:pt idx="10782">
                  <c:v>5.0775047172573222</c:v>
                </c:pt>
                <c:pt idx="10783">
                  <c:v>4.8735615442041942</c:v>
                </c:pt>
                <c:pt idx="10784">
                  <c:v>5.9852214889929707</c:v>
                </c:pt>
                <c:pt idx="10785">
                  <c:v>5.9123457370320001</c:v>
                </c:pt>
                <c:pt idx="10786">
                  <c:v>4.8274184212549072</c:v>
                </c:pt>
                <c:pt idx="10787">
                  <c:v>5.0268340188611873</c:v>
                </c:pt>
                <c:pt idx="10788">
                  <c:v>5.954347946153316</c:v>
                </c:pt>
                <c:pt idx="10789">
                  <c:v>4.843432627691894</c:v>
                </c:pt>
                <c:pt idx="10790">
                  <c:v>5.9740549664038198</c:v>
                </c:pt>
                <c:pt idx="10791">
                  <c:v>7.0918399366671263</c:v>
                </c:pt>
                <c:pt idx="10792">
                  <c:v>4.95670711263777</c:v>
                </c:pt>
                <c:pt idx="10793">
                  <c:v>7.1493092139444432</c:v>
                </c:pt>
                <c:pt idx="10794">
                  <c:v>7.076675625839921</c:v>
                </c:pt>
                <c:pt idx="10795">
                  <c:v>6.0940019864898431</c:v>
                </c:pt>
                <c:pt idx="10796">
                  <c:v>6.1224278946037405</c:v>
                </c:pt>
                <c:pt idx="10797">
                  <c:v>5.9859441093351426</c:v>
                </c:pt>
                <c:pt idx="10798">
                  <c:v>5.0972306794006057</c:v>
                </c:pt>
                <c:pt idx="10799">
                  <c:v>5.9290353552932338</c:v>
                </c:pt>
                <c:pt idx="10800">
                  <c:v>6.1042992490928611</c:v>
                </c:pt>
                <c:pt idx="10801">
                  <c:v>4.8491738005121015</c:v>
                </c:pt>
                <c:pt idx="10802">
                  <c:v>5.058477963097026</c:v>
                </c:pt>
                <c:pt idx="10803">
                  <c:v>4.8512469869335542</c:v>
                </c:pt>
                <c:pt idx="10804">
                  <c:v>5.9078080503493355</c:v>
                </c:pt>
                <c:pt idx="10805">
                  <c:v>5.961013076162013</c:v>
                </c:pt>
                <c:pt idx="10806">
                  <c:v>5.0464219700671551</c:v>
                </c:pt>
                <c:pt idx="10807">
                  <c:v>5.9101748623585335</c:v>
                </c:pt>
                <c:pt idx="10808">
                  <c:v>5.832002418792487</c:v>
                </c:pt>
                <c:pt idx="10809">
                  <c:v>5.0681394896302887</c:v>
                </c:pt>
                <c:pt idx="10810">
                  <c:v>4.8803715238401324</c:v>
                </c:pt>
                <c:pt idx="10811">
                  <c:v>5.9907289086432565</c:v>
                </c:pt>
                <c:pt idx="10812">
                  <c:v>3.9471634790893875</c:v>
                </c:pt>
                <c:pt idx="10813">
                  <c:v>5.0291510515634146</c:v>
                </c:pt>
                <c:pt idx="10814">
                  <c:v>6.1100959438094318</c:v>
                </c:pt>
                <c:pt idx="10815">
                  <c:v>5.8704908562830971</c:v>
                </c:pt>
                <c:pt idx="10816">
                  <c:v>6.8460412204095569</c:v>
                </c:pt>
                <c:pt idx="10817">
                  <c:v>5.0083143930327294</c:v>
                </c:pt>
                <c:pt idx="10818">
                  <c:v>7.0672561648723065</c:v>
                </c:pt>
                <c:pt idx="10819">
                  <c:v>4.9551955392303837</c:v>
                </c:pt>
                <c:pt idx="10820">
                  <c:v>6.0707897564560183</c:v>
                </c:pt>
                <c:pt idx="10821">
                  <c:v>5.084344049603887</c:v>
                </c:pt>
                <c:pt idx="10822">
                  <c:v>6.1074895664582014</c:v>
                </c:pt>
                <c:pt idx="10823">
                  <c:v>6.0185818257652128</c:v>
                </c:pt>
                <c:pt idx="10824">
                  <c:v>4.974412659013832</c:v>
                </c:pt>
                <c:pt idx="10825">
                  <c:v>5.0355943169983668</c:v>
                </c:pt>
                <c:pt idx="10826">
                  <c:v>5.9948966214843074</c:v>
                </c:pt>
                <c:pt idx="10827">
                  <c:v>6.9730110178379618</c:v>
                </c:pt>
                <c:pt idx="10828">
                  <c:v>5.2049435934799639</c:v>
                </c:pt>
                <c:pt idx="10829">
                  <c:v>5.0376162744865356</c:v>
                </c:pt>
                <c:pt idx="10830">
                  <c:v>4.9931294088286204</c:v>
                </c:pt>
                <c:pt idx="10831">
                  <c:v>4.8886329355568847</c:v>
                </c:pt>
                <c:pt idx="10832">
                  <c:v>6.0026455476462566</c:v>
                </c:pt>
                <c:pt idx="10833">
                  <c:v>5.1045571690279665</c:v>
                </c:pt>
                <c:pt idx="10834">
                  <c:v>5.944935334415101</c:v>
                </c:pt>
                <c:pt idx="10835">
                  <c:v>4.9002575382775895</c:v>
                </c:pt>
                <c:pt idx="10836">
                  <c:v>6.1203176930893397</c:v>
                </c:pt>
                <c:pt idx="10837">
                  <c:v>5.0002860794435735</c:v>
                </c:pt>
                <c:pt idx="10838">
                  <c:v>5.8890787467206174</c:v>
                </c:pt>
                <c:pt idx="10839">
                  <c:v>6.0697851695014782</c:v>
                </c:pt>
                <c:pt idx="10840">
                  <c:v>6.0338830805711785</c:v>
                </c:pt>
                <c:pt idx="10841">
                  <c:v>7.0875762248793972</c:v>
                </c:pt>
                <c:pt idx="10842">
                  <c:v>7.1200374769302615</c:v>
                </c:pt>
                <c:pt idx="10843">
                  <c:v>7.1196741613365662</c:v>
                </c:pt>
                <c:pt idx="10844">
                  <c:v>5.0804734034981172</c:v>
                </c:pt>
                <c:pt idx="10845">
                  <c:v>5.0956549490515695</c:v>
                </c:pt>
                <c:pt idx="10846">
                  <c:v>4.9227488875608918</c:v>
                </c:pt>
                <c:pt idx="10847">
                  <c:v>5.148601657352434</c:v>
                </c:pt>
                <c:pt idx="10848">
                  <c:v>5.0153879592108961</c:v>
                </c:pt>
                <c:pt idx="10849">
                  <c:v>4.6793480769077958</c:v>
                </c:pt>
                <c:pt idx="10850">
                  <c:v>4.8671093305779065</c:v>
                </c:pt>
                <c:pt idx="10851">
                  <c:v>5.1871442457638084</c:v>
                </c:pt>
                <c:pt idx="10852">
                  <c:v>4.9257397240820717</c:v>
                </c:pt>
                <c:pt idx="10853">
                  <c:v>5.0676171782749337</c:v>
                </c:pt>
                <c:pt idx="10854">
                  <c:v>5.9704337087680308</c:v>
                </c:pt>
                <c:pt idx="10855">
                  <c:v>4.8520649227548454</c:v>
                </c:pt>
                <c:pt idx="10856">
                  <c:v>5.0956712753843494</c:v>
                </c:pt>
                <c:pt idx="10857">
                  <c:v>6.9314248817719806</c:v>
                </c:pt>
                <c:pt idx="10858">
                  <c:v>5.9187451489613983</c:v>
                </c:pt>
                <c:pt idx="10859">
                  <c:v>4.8887271649869151</c:v>
                </c:pt>
                <c:pt idx="10860">
                  <c:v>5.0637877258467281</c:v>
                </c:pt>
                <c:pt idx="10861">
                  <c:v>5.0356347714520222</c:v>
                </c:pt>
                <c:pt idx="10862">
                  <c:v>5.9319184129052918</c:v>
                </c:pt>
                <c:pt idx="10863">
                  <c:v>4.965509422835062</c:v>
                </c:pt>
                <c:pt idx="10864">
                  <c:v>4.1579575083068141</c:v>
                </c:pt>
                <c:pt idx="10865">
                  <c:v>5.003728835153038</c:v>
                </c:pt>
                <c:pt idx="10866">
                  <c:v>6.971683125753505</c:v>
                </c:pt>
                <c:pt idx="10867">
                  <c:v>5.0772059403853262</c:v>
                </c:pt>
                <c:pt idx="10868">
                  <c:v>5.9312664308561338</c:v>
                </c:pt>
                <c:pt idx="10869">
                  <c:v>4.912967072844717</c:v>
                </c:pt>
                <c:pt idx="10870">
                  <c:v>5.9721474011569384</c:v>
                </c:pt>
                <c:pt idx="10871">
                  <c:v>4.9120142822135318</c:v>
                </c:pt>
                <c:pt idx="10872">
                  <c:v>4.8833406760582818</c:v>
                </c:pt>
                <c:pt idx="10873">
                  <c:v>4.9519081466733894</c:v>
                </c:pt>
                <c:pt idx="10874">
                  <c:v>5.8922715629527698</c:v>
                </c:pt>
                <c:pt idx="10875">
                  <c:v>5.0622854147388336</c:v>
                </c:pt>
                <c:pt idx="10876">
                  <c:v>5.1937535999523234</c:v>
                </c:pt>
                <c:pt idx="10877">
                  <c:v>4.9622265542545723</c:v>
                </c:pt>
                <c:pt idx="10878">
                  <c:v>7.0805717202273506</c:v>
                </c:pt>
                <c:pt idx="10879">
                  <c:v>5.0188270335075691</c:v>
                </c:pt>
                <c:pt idx="10880">
                  <c:v>5.0007517411429081</c:v>
                </c:pt>
                <c:pt idx="10881">
                  <c:v>6.0318518189279322</c:v>
                </c:pt>
                <c:pt idx="10882">
                  <c:v>6.0288700638380917</c:v>
                </c:pt>
                <c:pt idx="10883">
                  <c:v>6.1259923325440697</c:v>
                </c:pt>
                <c:pt idx="10884">
                  <c:v>4.9184762703544509</c:v>
                </c:pt>
                <c:pt idx="10885">
                  <c:v>5.9578388856339419</c:v>
                </c:pt>
                <c:pt idx="10886">
                  <c:v>5.9131021178346277</c:v>
                </c:pt>
                <c:pt idx="10887">
                  <c:v>4.8302998668265742</c:v>
                </c:pt>
                <c:pt idx="10888">
                  <c:v>6.1276413904201386</c:v>
                </c:pt>
                <c:pt idx="10889">
                  <c:v>4.9990398701243324</c:v>
                </c:pt>
                <c:pt idx="10890">
                  <c:v>4.8301257097097672</c:v>
                </c:pt>
                <c:pt idx="10891">
                  <c:v>5.1600957161188967</c:v>
                </c:pt>
                <c:pt idx="10892">
                  <c:v>6.0916617988251289</c:v>
                </c:pt>
                <c:pt idx="10893">
                  <c:v>6.0617802617226841</c:v>
                </c:pt>
                <c:pt idx="10894">
                  <c:v>4.9173669294420943</c:v>
                </c:pt>
                <c:pt idx="10895">
                  <c:v>6.0385062634450861</c:v>
                </c:pt>
                <c:pt idx="10896">
                  <c:v>6.1179626767254005</c:v>
                </c:pt>
                <c:pt idx="10897">
                  <c:v>5.0333886019025096</c:v>
                </c:pt>
                <c:pt idx="10898">
                  <c:v>5.8690874101068733</c:v>
                </c:pt>
                <c:pt idx="10899">
                  <c:v>5.1204963538487567</c:v>
                </c:pt>
                <c:pt idx="10900">
                  <c:v>6.0016720105286705</c:v>
                </c:pt>
                <c:pt idx="10901">
                  <c:v>5.1692737149678178</c:v>
                </c:pt>
                <c:pt idx="10902">
                  <c:v>5.9140618757220835</c:v>
                </c:pt>
                <c:pt idx="10903">
                  <c:v>5.0060739071989069</c:v>
                </c:pt>
                <c:pt idx="10904">
                  <c:v>5.9996844519911008</c:v>
                </c:pt>
                <c:pt idx="10905">
                  <c:v>5.9294421071846397</c:v>
                </c:pt>
                <c:pt idx="10906">
                  <c:v>5.9990224958337475</c:v>
                </c:pt>
                <c:pt idx="10907">
                  <c:v>6.0368175554371017</c:v>
                </c:pt>
                <c:pt idx="10908">
                  <c:v>5.9622943255450149</c:v>
                </c:pt>
                <c:pt idx="10909">
                  <c:v>4.8854890633020052</c:v>
                </c:pt>
                <c:pt idx="10910">
                  <c:v>5.0077114424402192</c:v>
                </c:pt>
                <c:pt idx="10911">
                  <c:v>5.2026563422022116</c:v>
                </c:pt>
                <c:pt idx="10912">
                  <c:v>6.0495692406507606</c:v>
                </c:pt>
                <c:pt idx="10913">
                  <c:v>6.1253513250142051</c:v>
                </c:pt>
                <c:pt idx="10914">
                  <c:v>5.9886620938858517</c:v>
                </c:pt>
                <c:pt idx="10915">
                  <c:v>6.0820557336281622</c:v>
                </c:pt>
                <c:pt idx="10916">
                  <c:v>4.8970190469725612</c:v>
                </c:pt>
                <c:pt idx="10917">
                  <c:v>5.0562363009425679</c:v>
                </c:pt>
                <c:pt idx="10918">
                  <c:v>5.9927377483311446</c:v>
                </c:pt>
                <c:pt idx="10919">
                  <c:v>5.0044687832800889</c:v>
                </c:pt>
                <c:pt idx="10920">
                  <c:v>5.1481382081015692</c:v>
                </c:pt>
                <c:pt idx="10921">
                  <c:v>6.048620691964409</c:v>
                </c:pt>
                <c:pt idx="10922">
                  <c:v>6.13930375962277</c:v>
                </c:pt>
                <c:pt idx="10923">
                  <c:v>6.0197349180876811</c:v>
                </c:pt>
                <c:pt idx="10924">
                  <c:v>5.9627874826274576</c:v>
                </c:pt>
                <c:pt idx="10925">
                  <c:v>4.9397731326441807</c:v>
                </c:pt>
                <c:pt idx="10926">
                  <c:v>5.1071277529811754</c:v>
                </c:pt>
                <c:pt idx="10927">
                  <c:v>4.8712420811380044</c:v>
                </c:pt>
                <c:pt idx="10928">
                  <c:v>5.9137146099874984</c:v>
                </c:pt>
                <c:pt idx="10929">
                  <c:v>5.9533432430520641</c:v>
                </c:pt>
                <c:pt idx="10930">
                  <c:v>5.9674589284173685</c:v>
                </c:pt>
                <c:pt idx="10931">
                  <c:v>5.0292149405233779</c:v>
                </c:pt>
                <c:pt idx="10932">
                  <c:v>5.9874158320367163</c:v>
                </c:pt>
                <c:pt idx="10933">
                  <c:v>5.1604415721099146</c:v>
                </c:pt>
                <c:pt idx="10934">
                  <c:v>5.0364999002710089</c:v>
                </c:pt>
                <c:pt idx="10935">
                  <c:v>4.9146359713584644</c:v>
                </c:pt>
                <c:pt idx="10936">
                  <c:v>5.0831010496584605</c:v>
                </c:pt>
                <c:pt idx="10937">
                  <c:v>5.8934203609390439</c:v>
                </c:pt>
                <c:pt idx="10938">
                  <c:v>6.0137331609210563</c:v>
                </c:pt>
                <c:pt idx="10939">
                  <c:v>5.0772401468211479</c:v>
                </c:pt>
                <c:pt idx="10940">
                  <c:v>4.8624419571623578</c:v>
                </c:pt>
                <c:pt idx="10941">
                  <c:v>6.0336198400639587</c:v>
                </c:pt>
                <c:pt idx="10942">
                  <c:v>5.0248651381664908</c:v>
                </c:pt>
                <c:pt idx="10943">
                  <c:v>6.1187425914971056</c:v>
                </c:pt>
                <c:pt idx="10944">
                  <c:v>5.9845830585461677</c:v>
                </c:pt>
                <c:pt idx="10945">
                  <c:v>5.0125367933133971</c:v>
                </c:pt>
                <c:pt idx="10946">
                  <c:v>5.9335537121137696</c:v>
                </c:pt>
                <c:pt idx="10947">
                  <c:v>4.9450106486557655</c:v>
                </c:pt>
                <c:pt idx="10948">
                  <c:v>6.0186693340316229</c:v>
                </c:pt>
                <c:pt idx="10949">
                  <c:v>5.8246258896823822</c:v>
                </c:pt>
                <c:pt idx="10950">
                  <c:v>6.0087160544135623</c:v>
                </c:pt>
                <c:pt idx="10951">
                  <c:v>6.0434784196568661</c:v>
                </c:pt>
                <c:pt idx="10952">
                  <c:v>5.8676247276837898</c:v>
                </c:pt>
                <c:pt idx="10953">
                  <c:v>5.9077554290511483</c:v>
                </c:pt>
                <c:pt idx="10954">
                  <c:v>5.9707107391980987</c:v>
                </c:pt>
                <c:pt idx="10955">
                  <c:v>5.0159939497665738</c:v>
                </c:pt>
                <c:pt idx="10956">
                  <c:v>6.1094446476445281</c:v>
                </c:pt>
                <c:pt idx="10957">
                  <c:v>5.8991191476686371</c:v>
                </c:pt>
                <c:pt idx="10958">
                  <c:v>3.9544182596572583</c:v>
                </c:pt>
                <c:pt idx="10959">
                  <c:v>4.9607381227519838</c:v>
                </c:pt>
                <c:pt idx="10960">
                  <c:v>5.8817780289333639</c:v>
                </c:pt>
                <c:pt idx="10961">
                  <c:v>6.0202561311380496</c:v>
                </c:pt>
                <c:pt idx="10962">
                  <c:v>4.988255505435566</c:v>
                </c:pt>
                <c:pt idx="10963">
                  <c:v>6.1677843924951157</c:v>
                </c:pt>
                <c:pt idx="10964">
                  <c:v>5.970436890028628</c:v>
                </c:pt>
                <c:pt idx="10965">
                  <c:v>2.9088993955288043</c:v>
                </c:pt>
                <c:pt idx="10966">
                  <c:v>2.9175281913896454</c:v>
                </c:pt>
                <c:pt idx="10967">
                  <c:v>3.100032174455996</c:v>
                </c:pt>
                <c:pt idx="10968">
                  <c:v>3.0073745956357976</c:v>
                </c:pt>
                <c:pt idx="10969">
                  <c:v>3.0276358807940742</c:v>
                </c:pt>
                <c:pt idx="10970">
                  <c:v>5.1295432475030687</c:v>
                </c:pt>
                <c:pt idx="10971">
                  <c:v>5.1008368079002961</c:v>
                </c:pt>
                <c:pt idx="10972">
                  <c:v>5.1060271759178324</c:v>
                </c:pt>
                <c:pt idx="10973">
                  <c:v>4.955573018375194</c:v>
                </c:pt>
                <c:pt idx="10974">
                  <c:v>4.9303325663065607</c:v>
                </c:pt>
                <c:pt idx="10975">
                  <c:v>4.9780475566909708</c:v>
                </c:pt>
                <c:pt idx="10976">
                  <c:v>5.0251498437826845</c:v>
                </c:pt>
                <c:pt idx="10977">
                  <c:v>6.0508164771304651</c:v>
                </c:pt>
                <c:pt idx="10978">
                  <c:v>5.8686304314954594</c:v>
                </c:pt>
                <c:pt idx="10979">
                  <c:v>6.0468653286490159</c:v>
                </c:pt>
                <c:pt idx="10980">
                  <c:v>6.0427664395687124</c:v>
                </c:pt>
                <c:pt idx="10981">
                  <c:v>6.944042280302904</c:v>
                </c:pt>
                <c:pt idx="10982">
                  <c:v>6.0705665961358273</c:v>
                </c:pt>
                <c:pt idx="10983">
                  <c:v>4.9979985979621047</c:v>
                </c:pt>
                <c:pt idx="10984">
                  <c:v>5.9816451017837524</c:v>
                </c:pt>
                <c:pt idx="10985">
                  <c:v>4.9599226432437034</c:v>
                </c:pt>
                <c:pt idx="10986">
                  <c:v>5.9695472649088188</c:v>
                </c:pt>
                <c:pt idx="10987">
                  <c:v>7.1261601602212057</c:v>
                </c:pt>
                <c:pt idx="10988">
                  <c:v>6.0996830791613972</c:v>
                </c:pt>
                <c:pt idx="10989">
                  <c:v>6.1563045471767959</c:v>
                </c:pt>
                <c:pt idx="10990">
                  <c:v>6.1104026590063878</c:v>
                </c:pt>
                <c:pt idx="10991">
                  <c:v>6.2257786553321459</c:v>
                </c:pt>
                <c:pt idx="10992">
                  <c:v>6.0730471065600105</c:v>
                </c:pt>
                <c:pt idx="10993">
                  <c:v>5.0655890912665118</c:v>
                </c:pt>
                <c:pt idx="10994">
                  <c:v>4.9893282559424765</c:v>
                </c:pt>
                <c:pt idx="10995">
                  <c:v>5.9542477531249514</c:v>
                </c:pt>
                <c:pt idx="10996">
                  <c:v>5.9688998564534002</c:v>
                </c:pt>
                <c:pt idx="10997">
                  <c:v>6.0426915132313175</c:v>
                </c:pt>
                <c:pt idx="10998">
                  <c:v>6.0691915527146092</c:v>
                </c:pt>
                <c:pt idx="10999">
                  <c:v>6.0248876144457784</c:v>
                </c:pt>
                <c:pt idx="11000">
                  <c:v>6.1893366206187563</c:v>
                </c:pt>
                <c:pt idx="11001">
                  <c:v>4.9265000975628848</c:v>
                </c:pt>
                <c:pt idx="11002">
                  <c:v>5.9047212940389286</c:v>
                </c:pt>
                <c:pt idx="11003">
                  <c:v>5.8184813808031262</c:v>
                </c:pt>
                <c:pt idx="11004">
                  <c:v>4.9148390959892891</c:v>
                </c:pt>
                <c:pt idx="11005">
                  <c:v>5.9410175188510532</c:v>
                </c:pt>
                <c:pt idx="11006">
                  <c:v>4.9076011422818286</c:v>
                </c:pt>
                <c:pt idx="11007">
                  <c:v>5.8915578679816258</c:v>
                </c:pt>
                <c:pt idx="11008">
                  <c:v>6.0754214640016118</c:v>
                </c:pt>
                <c:pt idx="11009">
                  <c:v>5.9887954710995341</c:v>
                </c:pt>
                <c:pt idx="11010">
                  <c:v>5.1046554277976988</c:v>
                </c:pt>
                <c:pt idx="11011">
                  <c:v>5.025191327273232</c:v>
                </c:pt>
                <c:pt idx="11012">
                  <c:v>4.9590163814434547</c:v>
                </c:pt>
                <c:pt idx="11013">
                  <c:v>6.0403457695099938</c:v>
                </c:pt>
                <c:pt idx="11014">
                  <c:v>5.0968459081941893</c:v>
                </c:pt>
                <c:pt idx="11015">
                  <c:v>5.9374790818343</c:v>
                </c:pt>
                <c:pt idx="11016">
                  <c:v>5.1239634816586657</c:v>
                </c:pt>
                <c:pt idx="11017">
                  <c:v>6.8529069821370516</c:v>
                </c:pt>
                <c:pt idx="11018">
                  <c:v>5.9935722072487616</c:v>
                </c:pt>
                <c:pt idx="11019">
                  <c:v>5.9379217648316098</c:v>
                </c:pt>
                <c:pt idx="11020">
                  <c:v>5.0879366796511896</c:v>
                </c:pt>
                <c:pt idx="11021">
                  <c:v>4.9738979430412229</c:v>
                </c:pt>
                <c:pt idx="11022">
                  <c:v>6.1479417434281212</c:v>
                </c:pt>
                <c:pt idx="11023">
                  <c:v>5.8559914358592939</c:v>
                </c:pt>
                <c:pt idx="11024">
                  <c:v>5.0344183522763579</c:v>
                </c:pt>
                <c:pt idx="11025">
                  <c:v>5.9424658817763447</c:v>
                </c:pt>
                <c:pt idx="11026">
                  <c:v>6.1245048267050217</c:v>
                </c:pt>
                <c:pt idx="11027">
                  <c:v>5.0792578039536211</c:v>
                </c:pt>
                <c:pt idx="11028">
                  <c:v>5.8825508148380292</c:v>
                </c:pt>
                <c:pt idx="11029">
                  <c:v>5.9326927754654815</c:v>
                </c:pt>
                <c:pt idx="11030">
                  <c:v>4.86680716506085</c:v>
                </c:pt>
                <c:pt idx="11031">
                  <c:v>6.0565897133526123</c:v>
                </c:pt>
                <c:pt idx="11032">
                  <c:v>6.013763171106028</c:v>
                </c:pt>
                <c:pt idx="11033">
                  <c:v>6.1618732206659388</c:v>
                </c:pt>
                <c:pt idx="11034">
                  <c:v>5.9507899631568915</c:v>
                </c:pt>
                <c:pt idx="11035">
                  <c:v>4.9710833934522114</c:v>
                </c:pt>
                <c:pt idx="11036">
                  <c:v>5.9537763173810534</c:v>
                </c:pt>
                <c:pt idx="11037">
                  <c:v>6.009927870144276</c:v>
                </c:pt>
                <c:pt idx="11038">
                  <c:v>5.9718076725246405</c:v>
                </c:pt>
                <c:pt idx="11039">
                  <c:v>6.0536620034666546</c:v>
                </c:pt>
                <c:pt idx="11040">
                  <c:v>5.9612822486270431</c:v>
                </c:pt>
                <c:pt idx="11041">
                  <c:v>5.9610728606100238</c:v>
                </c:pt>
                <c:pt idx="11042">
                  <c:v>5.9634767488744078</c:v>
                </c:pt>
                <c:pt idx="11043">
                  <c:v>5.9727003386730804</c:v>
                </c:pt>
                <c:pt idx="11044">
                  <c:v>6.015922055305496</c:v>
                </c:pt>
                <c:pt idx="11045">
                  <c:v>6.1263172989058301</c:v>
                </c:pt>
                <c:pt idx="11046">
                  <c:v>6.0516616940670547</c:v>
                </c:pt>
                <c:pt idx="11047">
                  <c:v>6.1570201813018866</c:v>
                </c:pt>
                <c:pt idx="11048">
                  <c:v>5.1470373511520044</c:v>
                </c:pt>
                <c:pt idx="11049">
                  <c:v>4.8923048131581526</c:v>
                </c:pt>
                <c:pt idx="11050">
                  <c:v>6.0248442897910151</c:v>
                </c:pt>
                <c:pt idx="11051">
                  <c:v>6.0023749231329875</c:v>
                </c:pt>
                <c:pt idx="11052">
                  <c:v>6.0222741615951403</c:v>
                </c:pt>
                <c:pt idx="11053">
                  <c:v>4.0496776296526162</c:v>
                </c:pt>
                <c:pt idx="11054">
                  <c:v>5.9378358259402884</c:v>
                </c:pt>
                <c:pt idx="11055">
                  <c:v>5.8927864775398344</c:v>
                </c:pt>
                <c:pt idx="11056">
                  <c:v>5.0188110825829977</c:v>
                </c:pt>
                <c:pt idx="11057">
                  <c:v>5.8165284627360059</c:v>
                </c:pt>
                <c:pt idx="11058">
                  <c:v>6.0502220282351038</c:v>
                </c:pt>
                <c:pt idx="11059">
                  <c:v>5.9953976499717285</c:v>
                </c:pt>
                <c:pt idx="11060">
                  <c:v>4.7403522116148578</c:v>
                </c:pt>
                <c:pt idx="11061">
                  <c:v>5.7473500847859942</c:v>
                </c:pt>
                <c:pt idx="11062">
                  <c:v>4.7279340106929899</c:v>
                </c:pt>
                <c:pt idx="11063">
                  <c:v>5.9935753710489621</c:v>
                </c:pt>
                <c:pt idx="11064">
                  <c:v>5.0709389761332693</c:v>
                </c:pt>
                <c:pt idx="11065">
                  <c:v>5.8780059055768472</c:v>
                </c:pt>
                <c:pt idx="11066">
                  <c:v>4.9503696983007472</c:v>
                </c:pt>
                <c:pt idx="11067">
                  <c:v>5.9267011600055577</c:v>
                </c:pt>
                <c:pt idx="11068">
                  <c:v>5.9011774163922226</c:v>
                </c:pt>
                <c:pt idx="11069">
                  <c:v>5.1943466541792978</c:v>
                </c:pt>
                <c:pt idx="11070">
                  <c:v>6.0313233966541233</c:v>
                </c:pt>
                <c:pt idx="11071">
                  <c:v>5.1844514553441181</c:v>
                </c:pt>
                <c:pt idx="11072">
                  <c:v>6.0618886089737627</c:v>
                </c:pt>
                <c:pt idx="11073">
                  <c:v>5.915017610184659</c:v>
                </c:pt>
                <c:pt idx="11074">
                  <c:v>5.1179126737311753</c:v>
                </c:pt>
                <c:pt idx="11075">
                  <c:v>5.8933942231650773</c:v>
                </c:pt>
                <c:pt idx="11076">
                  <c:v>5.9929363037606969</c:v>
                </c:pt>
                <c:pt idx="11077">
                  <c:v>5.7708445771730075</c:v>
                </c:pt>
                <c:pt idx="11078">
                  <c:v>4.9793121165313474</c:v>
                </c:pt>
                <c:pt idx="11079">
                  <c:v>5.9456366821758673</c:v>
                </c:pt>
                <c:pt idx="11080">
                  <c:v>6.2067846378393927</c:v>
                </c:pt>
                <c:pt idx="11081">
                  <c:v>4.8550700858805067</c:v>
                </c:pt>
                <c:pt idx="11082">
                  <c:v>5.9645746569018927</c:v>
                </c:pt>
                <c:pt idx="11083">
                  <c:v>5.1212552527145148</c:v>
                </c:pt>
                <c:pt idx="11084">
                  <c:v>6.0556227439035464</c:v>
                </c:pt>
                <c:pt idx="11085">
                  <c:v>5.9970780453026222</c:v>
                </c:pt>
                <c:pt idx="11086">
                  <c:v>5.0773194409942297</c:v>
                </c:pt>
                <c:pt idx="11087">
                  <c:v>5.8045643147175889</c:v>
                </c:pt>
                <c:pt idx="11088">
                  <c:v>5.9038807364388406</c:v>
                </c:pt>
                <c:pt idx="11089">
                  <c:v>6.0605868065617061</c:v>
                </c:pt>
                <c:pt idx="11090">
                  <c:v>5.8627191176056286</c:v>
                </c:pt>
                <c:pt idx="11091">
                  <c:v>5.9977722835774676</c:v>
                </c:pt>
                <c:pt idx="11092">
                  <c:v>6.051173382821454</c:v>
                </c:pt>
                <c:pt idx="11093">
                  <c:v>6.0488620766390779</c:v>
                </c:pt>
                <c:pt idx="11094">
                  <c:v>7.1568882657113422</c:v>
                </c:pt>
                <c:pt idx="11095">
                  <c:v>6.0046954358869238</c:v>
                </c:pt>
                <c:pt idx="11096">
                  <c:v>6.0959056032169121</c:v>
                </c:pt>
                <c:pt idx="11097">
                  <c:v>6.1506986452258925</c:v>
                </c:pt>
                <c:pt idx="11098">
                  <c:v>6.0016694023997266</c:v>
                </c:pt>
                <c:pt idx="11099">
                  <c:v>6.0444798846922483</c:v>
                </c:pt>
                <c:pt idx="11100">
                  <c:v>5.9423921405927498</c:v>
                </c:pt>
                <c:pt idx="11101">
                  <c:v>6.058687765333862</c:v>
                </c:pt>
                <c:pt idx="11102">
                  <c:v>6.1705790630748449</c:v>
                </c:pt>
                <c:pt idx="11103">
                  <c:v>6.1358548279600598</c:v>
                </c:pt>
                <c:pt idx="11104">
                  <c:v>5.8805079892220995</c:v>
                </c:pt>
                <c:pt idx="11105">
                  <c:v>6.0438623369477549</c:v>
                </c:pt>
                <c:pt idx="11106">
                  <c:v>5.880670968412165</c:v>
                </c:pt>
                <c:pt idx="11107">
                  <c:v>6.0134153392557481</c:v>
                </c:pt>
                <c:pt idx="11108">
                  <c:v>6.2519802089882743</c:v>
                </c:pt>
                <c:pt idx="11109">
                  <c:v>6.1369441793148551</c:v>
                </c:pt>
                <c:pt idx="11110">
                  <c:v>5.9297834548563202</c:v>
                </c:pt>
                <c:pt idx="11111">
                  <c:v>5.9905932928368815</c:v>
                </c:pt>
                <c:pt idx="11112">
                  <c:v>6.0582039852915059</c:v>
                </c:pt>
                <c:pt idx="11113">
                  <c:v>4.0851117410109499</c:v>
                </c:pt>
                <c:pt idx="11114">
                  <c:v>6.1190322981406489</c:v>
                </c:pt>
                <c:pt idx="11115">
                  <c:v>5.8103789934372667</c:v>
                </c:pt>
                <c:pt idx="11116">
                  <c:v>5.8894370388230577</c:v>
                </c:pt>
                <c:pt idx="11117">
                  <c:v>6.1008801749667994</c:v>
                </c:pt>
                <c:pt idx="11118">
                  <c:v>5.9700522875237976</c:v>
                </c:pt>
                <c:pt idx="11119">
                  <c:v>5.1399605698289728</c:v>
                </c:pt>
                <c:pt idx="11120">
                  <c:v>6.0250847401523151</c:v>
                </c:pt>
                <c:pt idx="11121">
                  <c:v>6.0766383969692397</c:v>
                </c:pt>
                <c:pt idx="11122">
                  <c:v>5.0937564367387367</c:v>
                </c:pt>
                <c:pt idx="11123">
                  <c:v>3.9248131211994473</c:v>
                </c:pt>
                <c:pt idx="11124">
                  <c:v>5.9357617038402486</c:v>
                </c:pt>
                <c:pt idx="11125">
                  <c:v>6.1627115224153926</c:v>
                </c:pt>
                <c:pt idx="11126">
                  <c:v>6.0806026410782499</c:v>
                </c:pt>
                <c:pt idx="11127">
                  <c:v>6.073905365544892</c:v>
                </c:pt>
                <c:pt idx="11128">
                  <c:v>5.0663337212722803</c:v>
                </c:pt>
                <c:pt idx="11129">
                  <c:v>5.9882138369100062</c:v>
                </c:pt>
                <c:pt idx="11130">
                  <c:v>6.0392941211558862</c:v>
                </c:pt>
                <c:pt idx="11131">
                  <c:v>6.9582472627432708</c:v>
                </c:pt>
                <c:pt idx="11132">
                  <c:v>6.9826008087131637</c:v>
                </c:pt>
                <c:pt idx="11133">
                  <c:v>6.2324841473118022</c:v>
                </c:pt>
                <c:pt idx="11134">
                  <c:v>5.9408962378866006</c:v>
                </c:pt>
                <c:pt idx="11135">
                  <c:v>6.0635665903695024</c:v>
                </c:pt>
                <c:pt idx="11136">
                  <c:v>6.9408243625404946</c:v>
                </c:pt>
                <c:pt idx="11137">
                  <c:v>6.0258558458307423</c:v>
                </c:pt>
                <c:pt idx="11138">
                  <c:v>1.8247528341917081</c:v>
                </c:pt>
                <c:pt idx="11139">
                  <c:v>2.0065941031787022</c:v>
                </c:pt>
                <c:pt idx="11140">
                  <c:v>6.0488690000426617</c:v>
                </c:pt>
                <c:pt idx="11141">
                  <c:v>1.897755836365451</c:v>
                </c:pt>
                <c:pt idx="11142">
                  <c:v>6.0846925134459271</c:v>
                </c:pt>
                <c:pt idx="11143">
                  <c:v>5.979802095878072</c:v>
                </c:pt>
                <c:pt idx="11144">
                  <c:v>5.9748740415616357</c:v>
                </c:pt>
                <c:pt idx="11145">
                  <c:v>5.9176444064964793</c:v>
                </c:pt>
                <c:pt idx="11146">
                  <c:v>6.0325951515336742</c:v>
                </c:pt>
                <c:pt idx="11147">
                  <c:v>5.8746829952560864</c:v>
                </c:pt>
                <c:pt idx="11148">
                  <c:v>6.2867535132379802</c:v>
                </c:pt>
                <c:pt idx="11149">
                  <c:v>6.0426905060754867</c:v>
                </c:pt>
                <c:pt idx="11150">
                  <c:v>5.9773730463430832</c:v>
                </c:pt>
                <c:pt idx="11151">
                  <c:v>5.9973797103363911</c:v>
                </c:pt>
                <c:pt idx="11152">
                  <c:v>5.95346989355492</c:v>
                </c:pt>
                <c:pt idx="11153">
                  <c:v>5.0310437499599159</c:v>
                </c:pt>
                <c:pt idx="11154">
                  <c:v>5.9432066958368761</c:v>
                </c:pt>
                <c:pt idx="11155">
                  <c:v>7.0229751048044431</c:v>
                </c:pt>
                <c:pt idx="11156">
                  <c:v>5.9869420151811781</c:v>
                </c:pt>
                <c:pt idx="11157">
                  <c:v>6.0535696406992248</c:v>
                </c:pt>
                <c:pt idx="11158">
                  <c:v>5.967825755512175</c:v>
                </c:pt>
                <c:pt idx="11159">
                  <c:v>5.9254979160878962</c:v>
                </c:pt>
                <c:pt idx="11160">
                  <c:v>4.9356012264057201</c:v>
                </c:pt>
                <c:pt idx="11161">
                  <c:v>4.8665565470430119</c:v>
                </c:pt>
                <c:pt idx="11162">
                  <c:v>6.0125073805477811</c:v>
                </c:pt>
                <c:pt idx="11163">
                  <c:v>4.9586263776176152</c:v>
                </c:pt>
                <c:pt idx="11164">
                  <c:v>6.0750828394978145</c:v>
                </c:pt>
                <c:pt idx="11165">
                  <c:v>5.8544647690106002</c:v>
                </c:pt>
                <c:pt idx="11166">
                  <c:v>5.0949828797038359</c:v>
                </c:pt>
                <c:pt idx="11167">
                  <c:v>5.8564756272642722</c:v>
                </c:pt>
                <c:pt idx="11168">
                  <c:v>6.9436191195629835</c:v>
                </c:pt>
                <c:pt idx="11169">
                  <c:v>5.8516846862828791</c:v>
                </c:pt>
                <c:pt idx="11170">
                  <c:v>5.8781760403432779</c:v>
                </c:pt>
                <c:pt idx="11171">
                  <c:v>6.0870410540308626</c:v>
                </c:pt>
                <c:pt idx="11172">
                  <c:v>6.2695637526182386</c:v>
                </c:pt>
                <c:pt idx="11173">
                  <c:v>6.2202258158513795</c:v>
                </c:pt>
                <c:pt idx="11174">
                  <c:v>6.0374835394667086</c:v>
                </c:pt>
                <c:pt idx="11175">
                  <c:v>5.85239938281783</c:v>
                </c:pt>
                <c:pt idx="11176">
                  <c:v>6.9454203728767938</c:v>
                </c:pt>
                <c:pt idx="11177">
                  <c:v>5.8608830692446201</c:v>
                </c:pt>
                <c:pt idx="11178">
                  <c:v>4.8722189594372116</c:v>
                </c:pt>
                <c:pt idx="11179">
                  <c:v>5.9918605223436741</c:v>
                </c:pt>
                <c:pt idx="11180">
                  <c:v>6.0173555856243954</c:v>
                </c:pt>
                <c:pt idx="11181">
                  <c:v>5.8554686681630548</c:v>
                </c:pt>
                <c:pt idx="11182">
                  <c:v>6.0261553117905438</c:v>
                </c:pt>
                <c:pt idx="11183">
                  <c:v>6.0899492981110201</c:v>
                </c:pt>
                <c:pt idx="11184">
                  <c:v>5.9986873561139999</c:v>
                </c:pt>
                <c:pt idx="11185">
                  <c:v>6.0454659640446646</c:v>
                </c:pt>
                <c:pt idx="11186">
                  <c:v>6.0775985832940025</c:v>
                </c:pt>
                <c:pt idx="11187">
                  <c:v>5.9169276553820662</c:v>
                </c:pt>
                <c:pt idx="11188">
                  <c:v>3.1965787535498125</c:v>
                </c:pt>
                <c:pt idx="11189">
                  <c:v>5.8592096721351856</c:v>
                </c:pt>
                <c:pt idx="11190">
                  <c:v>5.8983500432377625</c:v>
                </c:pt>
                <c:pt idx="11191">
                  <c:v>5.8580076212887118</c:v>
                </c:pt>
                <c:pt idx="11192">
                  <c:v>5.1191946003098563</c:v>
                </c:pt>
                <c:pt idx="11193">
                  <c:v>6.2328934988232065</c:v>
                </c:pt>
                <c:pt idx="11194">
                  <c:v>5.9625353361522375</c:v>
                </c:pt>
                <c:pt idx="11195">
                  <c:v>5.9509274603747233</c:v>
                </c:pt>
                <c:pt idx="11196">
                  <c:v>5.9949537933449291</c:v>
                </c:pt>
                <c:pt idx="11197">
                  <c:v>6.0459110878263704</c:v>
                </c:pt>
                <c:pt idx="11198">
                  <c:v>5.7903273600484395</c:v>
                </c:pt>
                <c:pt idx="11199">
                  <c:v>6.0234079850104179</c:v>
                </c:pt>
                <c:pt idx="11200">
                  <c:v>5.931037031608982</c:v>
                </c:pt>
                <c:pt idx="11201">
                  <c:v>5.9676379439787475</c:v>
                </c:pt>
                <c:pt idx="11202">
                  <c:v>6.222943591290111</c:v>
                </c:pt>
                <c:pt idx="11203">
                  <c:v>6.0322524279157728</c:v>
                </c:pt>
                <c:pt idx="11204">
                  <c:v>6.1327447403806135</c:v>
                </c:pt>
                <c:pt idx="11205">
                  <c:v>5.9767163441508702</c:v>
                </c:pt>
                <c:pt idx="11206">
                  <c:v>7.0169109623175414</c:v>
                </c:pt>
                <c:pt idx="11207">
                  <c:v>6.1250489856410395</c:v>
                </c:pt>
                <c:pt idx="11208">
                  <c:v>6.1288461319074035</c:v>
                </c:pt>
                <c:pt idx="11209">
                  <c:v>5.0341787941537683</c:v>
                </c:pt>
                <c:pt idx="11210">
                  <c:v>5.0279428342164403</c:v>
                </c:pt>
                <c:pt idx="11211">
                  <c:v>5.1363926632843677</c:v>
                </c:pt>
                <c:pt idx="11212">
                  <c:v>4.9836270454407572</c:v>
                </c:pt>
                <c:pt idx="11213">
                  <c:v>3.9356400033138574</c:v>
                </c:pt>
                <c:pt idx="11214">
                  <c:v>3.8727526330003634</c:v>
                </c:pt>
                <c:pt idx="11215">
                  <c:v>6.2082531715766658</c:v>
                </c:pt>
                <c:pt idx="11216">
                  <c:v>6.1352763724819139</c:v>
                </c:pt>
                <c:pt idx="11217">
                  <c:v>6.0347449144651382</c:v>
                </c:pt>
                <c:pt idx="11218">
                  <c:v>3.8534934010443673</c:v>
                </c:pt>
                <c:pt idx="11219">
                  <c:v>3.883101788286099</c:v>
                </c:pt>
                <c:pt idx="11220">
                  <c:v>4.1019260112272322</c:v>
                </c:pt>
                <c:pt idx="11221">
                  <c:v>6.00882170073357</c:v>
                </c:pt>
                <c:pt idx="11222">
                  <c:v>5.9688081158291242</c:v>
                </c:pt>
                <c:pt idx="11223">
                  <c:v>4.9799006543744273</c:v>
                </c:pt>
                <c:pt idx="11224">
                  <c:v>6.0178067468526848</c:v>
                </c:pt>
                <c:pt idx="11225">
                  <c:v>5.9916662090750501</c:v>
                </c:pt>
                <c:pt idx="11226">
                  <c:v>6.0094088695981061</c:v>
                </c:pt>
                <c:pt idx="11227">
                  <c:v>6.0389426155992574</c:v>
                </c:pt>
                <c:pt idx="11228">
                  <c:v>5.9868942136299177</c:v>
                </c:pt>
                <c:pt idx="11229">
                  <c:v>3.8580857035667533</c:v>
                </c:pt>
                <c:pt idx="11230">
                  <c:v>4.0006430429597808</c:v>
                </c:pt>
                <c:pt idx="11231">
                  <c:v>4.0026573522947064</c:v>
                </c:pt>
                <c:pt idx="11232">
                  <c:v>3.9887648554752646</c:v>
                </c:pt>
                <c:pt idx="11233">
                  <c:v>3.8925763804134448</c:v>
                </c:pt>
                <c:pt idx="11234">
                  <c:v>6.0108199747400386</c:v>
                </c:pt>
                <c:pt idx="11235">
                  <c:v>6.1688766388338099</c:v>
                </c:pt>
                <c:pt idx="11236">
                  <c:v>2.0375824134319735</c:v>
                </c:pt>
                <c:pt idx="11237">
                  <c:v>5.0609443627037027</c:v>
                </c:pt>
                <c:pt idx="11238">
                  <c:v>5.0775050080428139</c:v>
                </c:pt>
                <c:pt idx="11239">
                  <c:v>6.0324057881407347</c:v>
                </c:pt>
                <c:pt idx="11240">
                  <c:v>5.9279859585123038</c:v>
                </c:pt>
                <c:pt idx="11241">
                  <c:v>5.9233650757420113</c:v>
                </c:pt>
                <c:pt idx="11242">
                  <c:v>5.1089470933378029</c:v>
                </c:pt>
                <c:pt idx="11243">
                  <c:v>5.1423929827647097</c:v>
                </c:pt>
                <c:pt idx="11244">
                  <c:v>5.9235264552887097</c:v>
                </c:pt>
                <c:pt idx="11245">
                  <c:v>6.13231627906202</c:v>
                </c:pt>
                <c:pt idx="11246">
                  <c:v>5.9207363570648219</c:v>
                </c:pt>
                <c:pt idx="11247">
                  <c:v>6.8540074753443632</c:v>
                </c:pt>
                <c:pt idx="11248">
                  <c:v>5.9081949898126886</c:v>
                </c:pt>
                <c:pt idx="11249">
                  <c:v>5.09281754164991</c:v>
                </c:pt>
                <c:pt idx="11250">
                  <c:v>4.9894777122237954</c:v>
                </c:pt>
                <c:pt idx="11251">
                  <c:v>6.0270135475783135</c:v>
                </c:pt>
                <c:pt idx="11252">
                  <c:v>4.9297638180803949</c:v>
                </c:pt>
                <c:pt idx="11253">
                  <c:v>6.0163615908002317</c:v>
                </c:pt>
                <c:pt idx="11254">
                  <c:v>5.0713557909543647</c:v>
                </c:pt>
                <c:pt idx="11255">
                  <c:v>5.9364264983664583</c:v>
                </c:pt>
                <c:pt idx="11256">
                  <c:v>6.0068321403309826</c:v>
                </c:pt>
                <c:pt idx="11257">
                  <c:v>6.0153232298018358</c:v>
                </c:pt>
                <c:pt idx="11258">
                  <c:v>4.9612789862749951</c:v>
                </c:pt>
                <c:pt idx="11259">
                  <c:v>6.0248399411210247</c:v>
                </c:pt>
                <c:pt idx="11260">
                  <c:v>6.0138837653716948</c:v>
                </c:pt>
                <c:pt idx="11261">
                  <c:v>6.0410206460391578</c:v>
                </c:pt>
                <c:pt idx="11262">
                  <c:v>4.9104555691165404</c:v>
                </c:pt>
                <c:pt idx="11263">
                  <c:v>7.108884191419147</c:v>
                </c:pt>
                <c:pt idx="11264">
                  <c:v>5.8384128713165975</c:v>
                </c:pt>
                <c:pt idx="11265">
                  <c:v>4.9471659967916102</c:v>
                </c:pt>
                <c:pt idx="11266">
                  <c:v>5.9907807180979313</c:v>
                </c:pt>
                <c:pt idx="11267">
                  <c:v>4.8330222078268585</c:v>
                </c:pt>
                <c:pt idx="11268">
                  <c:v>5.9038585937272412</c:v>
                </c:pt>
                <c:pt idx="11269">
                  <c:v>5.9360741177339333</c:v>
                </c:pt>
                <c:pt idx="11270">
                  <c:v>6.1325806459039445</c:v>
                </c:pt>
                <c:pt idx="11271">
                  <c:v>5.8385611144080194</c:v>
                </c:pt>
                <c:pt idx="11272">
                  <c:v>5.9575576606921228</c:v>
                </c:pt>
                <c:pt idx="11273">
                  <c:v>5.0162444794377361</c:v>
                </c:pt>
                <c:pt idx="11274">
                  <c:v>5.0674212754148815</c:v>
                </c:pt>
                <c:pt idx="11275">
                  <c:v>5.0662891966861086</c:v>
                </c:pt>
                <c:pt idx="11276">
                  <c:v>4.8572613659248676</c:v>
                </c:pt>
                <c:pt idx="11277">
                  <c:v>6.0609011389087897</c:v>
                </c:pt>
                <c:pt idx="11278">
                  <c:v>4.8161206365992317</c:v>
                </c:pt>
                <c:pt idx="11279">
                  <c:v>5.7781277982619832</c:v>
                </c:pt>
                <c:pt idx="11280">
                  <c:v>6.0033071318896996</c:v>
                </c:pt>
                <c:pt idx="11281">
                  <c:v>6.1186607962474433</c:v>
                </c:pt>
                <c:pt idx="11282">
                  <c:v>5.9573837001886778</c:v>
                </c:pt>
                <c:pt idx="11283">
                  <c:v>6.0276270385645354</c:v>
                </c:pt>
                <c:pt idx="11284">
                  <c:v>6.0337131994912019</c:v>
                </c:pt>
                <c:pt idx="11285">
                  <c:v>6.0967316821726376</c:v>
                </c:pt>
                <c:pt idx="11286">
                  <c:v>4.8646265739298657</c:v>
                </c:pt>
                <c:pt idx="11287">
                  <c:v>5.1881041327507429</c:v>
                </c:pt>
                <c:pt idx="11288">
                  <c:v>5.1424424778771609</c:v>
                </c:pt>
                <c:pt idx="11289">
                  <c:v>5.9656457783207761</c:v>
                </c:pt>
                <c:pt idx="11290">
                  <c:v>4.7971288715426503</c:v>
                </c:pt>
                <c:pt idx="11291">
                  <c:v>6.0334229548921172</c:v>
                </c:pt>
                <c:pt idx="11292">
                  <c:v>6.0517016685062393</c:v>
                </c:pt>
                <c:pt idx="11293">
                  <c:v>5.9807727426684529</c:v>
                </c:pt>
                <c:pt idx="11294">
                  <c:v>5.0863721240743942</c:v>
                </c:pt>
                <c:pt idx="11295">
                  <c:v>5.9521234139243768</c:v>
                </c:pt>
                <c:pt idx="11296">
                  <c:v>6.2191274855971495</c:v>
                </c:pt>
                <c:pt idx="11297">
                  <c:v>6.004853503288933</c:v>
                </c:pt>
                <c:pt idx="11298">
                  <c:v>6.0783860133156749</c:v>
                </c:pt>
                <c:pt idx="11299">
                  <c:v>6.0151206950381733</c:v>
                </c:pt>
                <c:pt idx="11300">
                  <c:v>5.8771753823361923</c:v>
                </c:pt>
                <c:pt idx="11301">
                  <c:v>5.9290741288728119</c:v>
                </c:pt>
                <c:pt idx="11302">
                  <c:v>6.0026462735721182</c:v>
                </c:pt>
                <c:pt idx="11303">
                  <c:v>5.961697027718099</c:v>
                </c:pt>
                <c:pt idx="11304">
                  <c:v>5.008719660948028</c:v>
                </c:pt>
                <c:pt idx="11305">
                  <c:v>5.0107429139534609</c:v>
                </c:pt>
                <c:pt idx="11306">
                  <c:v>5.8952368612422097</c:v>
                </c:pt>
                <c:pt idx="11307">
                  <c:v>4.8649378453050893</c:v>
                </c:pt>
                <c:pt idx="11308">
                  <c:v>5.2267341074732236</c:v>
                </c:pt>
                <c:pt idx="11309">
                  <c:v>4.9760056777301145</c:v>
                </c:pt>
                <c:pt idx="11310">
                  <c:v>5.1330339593868226</c:v>
                </c:pt>
                <c:pt idx="11311">
                  <c:v>5.8021395231295854</c:v>
                </c:pt>
                <c:pt idx="11312">
                  <c:v>5.9189552962361782</c:v>
                </c:pt>
                <c:pt idx="11313">
                  <c:v>5.9416668529187548</c:v>
                </c:pt>
                <c:pt idx="11314">
                  <c:v>4.9941912225523124</c:v>
                </c:pt>
                <c:pt idx="11315">
                  <c:v>4.9681747733462673</c:v>
                </c:pt>
                <c:pt idx="11316">
                  <c:v>6.0253406864444932</c:v>
                </c:pt>
                <c:pt idx="11317">
                  <c:v>5.8936281460963897</c:v>
                </c:pt>
                <c:pt idx="11318">
                  <c:v>5.7931529541285265</c:v>
                </c:pt>
                <c:pt idx="11319">
                  <c:v>5.0671365179603987</c:v>
                </c:pt>
                <c:pt idx="11320">
                  <c:v>4.9414967049650329</c:v>
                </c:pt>
                <c:pt idx="11321">
                  <c:v>5.0262875813813057</c:v>
                </c:pt>
                <c:pt idx="11322">
                  <c:v>4.9866531318582457</c:v>
                </c:pt>
                <c:pt idx="11323">
                  <c:v>6.1053682958239026</c:v>
                </c:pt>
                <c:pt idx="11324">
                  <c:v>5.8179070418145731</c:v>
                </c:pt>
                <c:pt idx="11325">
                  <c:v>6.0947276630156217</c:v>
                </c:pt>
                <c:pt idx="11326">
                  <c:v>5.1363252007178399</c:v>
                </c:pt>
                <c:pt idx="11327">
                  <c:v>4.9682763596492512</c:v>
                </c:pt>
                <c:pt idx="11328">
                  <c:v>5.0471280062908015</c:v>
                </c:pt>
                <c:pt idx="11329">
                  <c:v>6.0315759703822431</c:v>
                </c:pt>
                <c:pt idx="11330">
                  <c:v>5.8926273169250116</c:v>
                </c:pt>
                <c:pt idx="11331">
                  <c:v>5.9772271971175321</c:v>
                </c:pt>
                <c:pt idx="11332">
                  <c:v>5.0917250684261903</c:v>
                </c:pt>
                <c:pt idx="11333">
                  <c:v>5.0077773920559991</c:v>
                </c:pt>
                <c:pt idx="11334">
                  <c:v>6.1061949390772012</c:v>
                </c:pt>
                <c:pt idx="11335">
                  <c:v>4.9755112495880223</c:v>
                </c:pt>
                <c:pt idx="11336">
                  <c:v>5.979652224453865</c:v>
                </c:pt>
                <c:pt idx="11337">
                  <c:v>2.85179803421281</c:v>
                </c:pt>
                <c:pt idx="11338">
                  <c:v>4.8984522458386888</c:v>
                </c:pt>
                <c:pt idx="11339">
                  <c:v>6.0610034717507384</c:v>
                </c:pt>
                <c:pt idx="11340">
                  <c:v>5.0201921776637484</c:v>
                </c:pt>
                <c:pt idx="11341">
                  <c:v>5.8505119488147246</c:v>
                </c:pt>
                <c:pt idx="11342">
                  <c:v>5.7940135438558382</c:v>
                </c:pt>
                <c:pt idx="11343">
                  <c:v>4.8993286992579836</c:v>
                </c:pt>
                <c:pt idx="11344">
                  <c:v>4.9665225010104992</c:v>
                </c:pt>
                <c:pt idx="11345">
                  <c:v>6.0906612626158028</c:v>
                </c:pt>
                <c:pt idx="11346">
                  <c:v>6.1690883361250863</c:v>
                </c:pt>
                <c:pt idx="11347">
                  <c:v>5.9033160669335984</c:v>
                </c:pt>
                <c:pt idx="11348">
                  <c:v>4.8689137872865569</c:v>
                </c:pt>
                <c:pt idx="11349">
                  <c:v>5.0918555614001191</c:v>
                </c:pt>
                <c:pt idx="11350">
                  <c:v>5.9912073556886325</c:v>
                </c:pt>
                <c:pt idx="11351">
                  <c:v>5.8295808978585431</c:v>
                </c:pt>
                <c:pt idx="11352">
                  <c:v>6.1146854320173389</c:v>
                </c:pt>
                <c:pt idx="11353">
                  <c:v>6.2277765737102015</c:v>
                </c:pt>
                <c:pt idx="11354">
                  <c:v>6.0449001478406856</c:v>
                </c:pt>
                <c:pt idx="11355">
                  <c:v>4.9850006017294239</c:v>
                </c:pt>
                <c:pt idx="11356">
                  <c:v>5.915587452957257</c:v>
                </c:pt>
                <c:pt idx="11357">
                  <c:v>5.0457567332550326</c:v>
                </c:pt>
                <c:pt idx="11358">
                  <c:v>6.1382431383586002</c:v>
                </c:pt>
                <c:pt idx="11359">
                  <c:v>6.0259662541290293</c:v>
                </c:pt>
                <c:pt idx="11360">
                  <c:v>6.1788637775147421</c:v>
                </c:pt>
                <c:pt idx="11361">
                  <c:v>3.9849819246345208</c:v>
                </c:pt>
                <c:pt idx="11362">
                  <c:v>4.0566634509001052</c:v>
                </c:pt>
                <c:pt idx="11363">
                  <c:v>4.9780747577794973</c:v>
                </c:pt>
                <c:pt idx="11364">
                  <c:v>5.8404271311878091</c:v>
                </c:pt>
                <c:pt idx="11365">
                  <c:v>6.0142255434640273</c:v>
                </c:pt>
                <c:pt idx="11366">
                  <c:v>6.1037990509460673</c:v>
                </c:pt>
                <c:pt idx="11367">
                  <c:v>5.1349878151088264</c:v>
                </c:pt>
                <c:pt idx="11368">
                  <c:v>6.0495857111385352</c:v>
                </c:pt>
                <c:pt idx="11369">
                  <c:v>6.0813537229103751</c:v>
                </c:pt>
                <c:pt idx="11370">
                  <c:v>6.0448069233767594</c:v>
                </c:pt>
                <c:pt idx="11371">
                  <c:v>6.0234391854941327</c:v>
                </c:pt>
                <c:pt idx="11372">
                  <c:v>4.8243250481615387</c:v>
                </c:pt>
                <c:pt idx="11373">
                  <c:v>5.0427691181696099</c:v>
                </c:pt>
                <c:pt idx="11374">
                  <c:v>5.9942093191773358</c:v>
                </c:pt>
                <c:pt idx="11375">
                  <c:v>6.0404423928649198</c:v>
                </c:pt>
                <c:pt idx="11376">
                  <c:v>5.8565913504114357</c:v>
                </c:pt>
                <c:pt idx="11377">
                  <c:v>6.0850442065905881</c:v>
                </c:pt>
                <c:pt idx="11378">
                  <c:v>5.7546833171635363</c:v>
                </c:pt>
                <c:pt idx="11379">
                  <c:v>6.9014195472276194</c:v>
                </c:pt>
                <c:pt idx="11380">
                  <c:v>5.1324029635427024</c:v>
                </c:pt>
                <c:pt idx="11381">
                  <c:v>6.9337104209365714</c:v>
                </c:pt>
                <c:pt idx="11382">
                  <c:v>5.7715715787923436</c:v>
                </c:pt>
                <c:pt idx="11383">
                  <c:v>6.0898920969382164</c:v>
                </c:pt>
                <c:pt idx="11384">
                  <c:v>5.8969566724229106</c:v>
                </c:pt>
                <c:pt idx="11385">
                  <c:v>5.7835374264981096</c:v>
                </c:pt>
                <c:pt idx="11386">
                  <c:v>6.9809473975315948</c:v>
                </c:pt>
                <c:pt idx="11387">
                  <c:v>6.0118867857363965</c:v>
                </c:pt>
                <c:pt idx="11388">
                  <c:v>7.0300569578226364</c:v>
                </c:pt>
                <c:pt idx="11389">
                  <c:v>7.1609822480270724</c:v>
                </c:pt>
                <c:pt idx="11390">
                  <c:v>6.1595782246967161</c:v>
                </c:pt>
                <c:pt idx="11391">
                  <c:v>5.9495210865104395</c:v>
                </c:pt>
                <c:pt idx="11392">
                  <c:v>4.862754410356616</c:v>
                </c:pt>
                <c:pt idx="11393">
                  <c:v>6.0866392360210551</c:v>
                </c:pt>
                <c:pt idx="11394">
                  <c:v>5.9956387534751316</c:v>
                </c:pt>
                <c:pt idx="11395">
                  <c:v>6.1929776947942647</c:v>
                </c:pt>
                <c:pt idx="11396">
                  <c:v>4.9601757406434261</c:v>
                </c:pt>
                <c:pt idx="11397">
                  <c:v>4.9215026394678958</c:v>
                </c:pt>
                <c:pt idx="11398">
                  <c:v>5.7550289128996166</c:v>
                </c:pt>
                <c:pt idx="11399">
                  <c:v>6.0568041675700668</c:v>
                </c:pt>
                <c:pt idx="11400">
                  <c:v>6.1542785838057839</c:v>
                </c:pt>
                <c:pt idx="11401">
                  <c:v>6.024072513822011</c:v>
                </c:pt>
                <c:pt idx="11402">
                  <c:v>5.1056471056355912</c:v>
                </c:pt>
                <c:pt idx="11403">
                  <c:v>5.8846132065346994</c:v>
                </c:pt>
                <c:pt idx="11404">
                  <c:v>6.0070042539284936</c:v>
                </c:pt>
                <c:pt idx="11405">
                  <c:v>6.0054666794517342</c:v>
                </c:pt>
                <c:pt idx="11406">
                  <c:v>5.036652471601081</c:v>
                </c:pt>
                <c:pt idx="11407">
                  <c:v>5.0575992125294604</c:v>
                </c:pt>
                <c:pt idx="11408">
                  <c:v>5.8808308752694636</c:v>
                </c:pt>
                <c:pt idx="11409">
                  <c:v>6.1062082445614116</c:v>
                </c:pt>
                <c:pt idx="11410">
                  <c:v>5.8291801395844853</c:v>
                </c:pt>
                <c:pt idx="11411">
                  <c:v>6.0246339036365102</c:v>
                </c:pt>
                <c:pt idx="11412">
                  <c:v>5.1137556780073341</c:v>
                </c:pt>
                <c:pt idx="11413">
                  <c:v>5.8460612194199593</c:v>
                </c:pt>
                <c:pt idx="11414">
                  <c:v>4.9864000605049128</c:v>
                </c:pt>
                <c:pt idx="11415">
                  <c:v>5.9643419861995639</c:v>
                </c:pt>
                <c:pt idx="11416">
                  <c:v>7.0485521729279954</c:v>
                </c:pt>
                <c:pt idx="11417">
                  <c:v>5.0618894132682</c:v>
                </c:pt>
                <c:pt idx="11418">
                  <c:v>6.1121622369719786</c:v>
                </c:pt>
                <c:pt idx="11419">
                  <c:v>5.9541570911462092</c:v>
                </c:pt>
                <c:pt idx="11420">
                  <c:v>5.9687931816030613</c:v>
                </c:pt>
                <c:pt idx="11421">
                  <c:v>6.0282191172608375</c:v>
                </c:pt>
                <c:pt idx="11422">
                  <c:v>6.1181376018041913</c:v>
                </c:pt>
                <c:pt idx="11423">
                  <c:v>5.0276177115732086</c:v>
                </c:pt>
                <c:pt idx="11424">
                  <c:v>7.1166395507755809</c:v>
                </c:pt>
                <c:pt idx="11425">
                  <c:v>5.954834887937583</c:v>
                </c:pt>
                <c:pt idx="11426">
                  <c:v>6.2386799338909631</c:v>
                </c:pt>
                <c:pt idx="11427">
                  <c:v>5.0022273852146002</c:v>
                </c:pt>
                <c:pt idx="11428">
                  <c:v>7.0364433507777058</c:v>
                </c:pt>
                <c:pt idx="11429">
                  <c:v>5.8672252692074203</c:v>
                </c:pt>
                <c:pt idx="11430">
                  <c:v>5.7510997237962584</c:v>
                </c:pt>
                <c:pt idx="11431">
                  <c:v>5.0903674194199242</c:v>
                </c:pt>
                <c:pt idx="11432">
                  <c:v>6.9557531082725443</c:v>
                </c:pt>
                <c:pt idx="11433">
                  <c:v>6.8199208317325821</c:v>
                </c:pt>
                <c:pt idx="11434">
                  <c:v>5.940961033154359</c:v>
                </c:pt>
                <c:pt idx="11435">
                  <c:v>7.2162224045766816</c:v>
                </c:pt>
                <c:pt idx="11436">
                  <c:v>7.0104314543823492</c:v>
                </c:pt>
                <c:pt idx="11437">
                  <c:v>5.0098021720874462</c:v>
                </c:pt>
                <c:pt idx="11438">
                  <c:v>5.9056875508225382</c:v>
                </c:pt>
                <c:pt idx="11439">
                  <c:v>5.8584410366061199</c:v>
                </c:pt>
                <c:pt idx="11440">
                  <c:v>5.9031425331936891</c:v>
                </c:pt>
                <c:pt idx="11441">
                  <c:v>5.9645005897390186</c:v>
                </c:pt>
                <c:pt idx="11442">
                  <c:v>5.9211840745291742</c:v>
                </c:pt>
                <c:pt idx="11443">
                  <c:v>5.8938443372735865</c:v>
                </c:pt>
                <c:pt idx="11444">
                  <c:v>5.0871222300186965</c:v>
                </c:pt>
                <c:pt idx="11445">
                  <c:v>6.081471970536672</c:v>
                </c:pt>
                <c:pt idx="11446">
                  <c:v>6.0480796175381837</c:v>
                </c:pt>
                <c:pt idx="11447">
                  <c:v>5.0824710779731594</c:v>
                </c:pt>
                <c:pt idx="11448">
                  <c:v>5.8155546264448992</c:v>
                </c:pt>
                <c:pt idx="11449">
                  <c:v>5.9554660080270683</c:v>
                </c:pt>
                <c:pt idx="11450">
                  <c:v>5.8632378750005154</c:v>
                </c:pt>
                <c:pt idx="11451">
                  <c:v>6.1085342506797957</c:v>
                </c:pt>
                <c:pt idx="11452">
                  <c:v>5.0049822425977002</c:v>
                </c:pt>
                <c:pt idx="11453">
                  <c:v>6.1083438660830129</c:v>
                </c:pt>
                <c:pt idx="11454">
                  <c:v>5.0395263797784215</c:v>
                </c:pt>
                <c:pt idx="11455">
                  <c:v>4.9713648696071964</c:v>
                </c:pt>
                <c:pt idx="11456">
                  <c:v>5.010771743962664</c:v>
                </c:pt>
                <c:pt idx="11457">
                  <c:v>5.8437609057331841</c:v>
                </c:pt>
                <c:pt idx="11458">
                  <c:v>3.8865077689159628</c:v>
                </c:pt>
                <c:pt idx="11459">
                  <c:v>3.9821982049454352</c:v>
                </c:pt>
                <c:pt idx="11460">
                  <c:v>5.9522427362332744</c:v>
                </c:pt>
                <c:pt idx="11461">
                  <c:v>6.7544310473430533</c:v>
                </c:pt>
                <c:pt idx="11462">
                  <c:v>6.8807851618339111</c:v>
                </c:pt>
                <c:pt idx="11463">
                  <c:v>6.9841653228196732</c:v>
                </c:pt>
                <c:pt idx="11464">
                  <c:v>6.0397795282492863</c:v>
                </c:pt>
                <c:pt idx="11465">
                  <c:v>5.8505572272123159</c:v>
                </c:pt>
                <c:pt idx="11466">
                  <c:v>6.0103071240481549</c:v>
                </c:pt>
                <c:pt idx="11467">
                  <c:v>6.0484968142871187</c:v>
                </c:pt>
                <c:pt idx="11468">
                  <c:v>4.9716868612648577</c:v>
                </c:pt>
                <c:pt idx="11469">
                  <c:v>5.1710274153451836</c:v>
                </c:pt>
                <c:pt idx="11470">
                  <c:v>5.88153399605239</c:v>
                </c:pt>
                <c:pt idx="11471">
                  <c:v>6.0422626770568391</c:v>
                </c:pt>
                <c:pt idx="11472">
                  <c:v>4.942307348809301</c:v>
                </c:pt>
                <c:pt idx="11473">
                  <c:v>5.9689822752993287</c:v>
                </c:pt>
                <c:pt idx="11474">
                  <c:v>4.0961652663540802</c:v>
                </c:pt>
                <c:pt idx="11475">
                  <c:v>5.9823678234371203</c:v>
                </c:pt>
                <c:pt idx="11476">
                  <c:v>5.0877351527750045</c:v>
                </c:pt>
                <c:pt idx="11477">
                  <c:v>5.9743415804383471</c:v>
                </c:pt>
                <c:pt idx="11478">
                  <c:v>5.7766832399895272</c:v>
                </c:pt>
                <c:pt idx="11479">
                  <c:v>4.9715614820466776</c:v>
                </c:pt>
                <c:pt idx="11480">
                  <c:v>6.9159454451422189</c:v>
                </c:pt>
                <c:pt idx="11481">
                  <c:v>4.903965990803794</c:v>
                </c:pt>
                <c:pt idx="11482">
                  <c:v>5.8368733981787431</c:v>
                </c:pt>
                <c:pt idx="11483">
                  <c:v>4.9469785464837095</c:v>
                </c:pt>
                <c:pt idx="11484">
                  <c:v>5.1611255610512012</c:v>
                </c:pt>
                <c:pt idx="11485">
                  <c:v>6.0979382751205105</c:v>
                </c:pt>
                <c:pt idx="11486">
                  <c:v>6.0982083164683747</c:v>
                </c:pt>
                <c:pt idx="11487">
                  <c:v>5.1186812313758958</c:v>
                </c:pt>
                <c:pt idx="11488">
                  <c:v>4.9775514791276754</c:v>
                </c:pt>
                <c:pt idx="11489">
                  <c:v>5.9714148296756084</c:v>
                </c:pt>
                <c:pt idx="11490">
                  <c:v>6.0618707532095311</c:v>
                </c:pt>
                <c:pt idx="11491">
                  <c:v>6.0919092980391794</c:v>
                </c:pt>
                <c:pt idx="11492">
                  <c:v>6.0193590945963038</c:v>
                </c:pt>
                <c:pt idx="11493">
                  <c:v>5.921766038555746</c:v>
                </c:pt>
                <c:pt idx="11494">
                  <c:v>5.987524462433135</c:v>
                </c:pt>
                <c:pt idx="11495">
                  <c:v>5.8832821103273503</c:v>
                </c:pt>
                <c:pt idx="11496">
                  <c:v>5.8428313196912107</c:v>
                </c:pt>
                <c:pt idx="11497">
                  <c:v>6.0020817798302879</c:v>
                </c:pt>
                <c:pt idx="11498">
                  <c:v>5.0024090118100268</c:v>
                </c:pt>
                <c:pt idx="11499">
                  <c:v>5.9139638411496804</c:v>
                </c:pt>
                <c:pt idx="11500">
                  <c:v>7.0450348435591117</c:v>
                </c:pt>
                <c:pt idx="11501">
                  <c:v>5.8164065305261632</c:v>
                </c:pt>
                <c:pt idx="11502">
                  <c:v>6.837134050232045</c:v>
                </c:pt>
                <c:pt idx="11503">
                  <c:v>6.0770158361078295</c:v>
                </c:pt>
                <c:pt idx="11504">
                  <c:v>4.8884400699774302</c:v>
                </c:pt>
                <c:pt idx="11505">
                  <c:v>5.9034172458415659</c:v>
                </c:pt>
                <c:pt idx="11506">
                  <c:v>4.907967367838034</c:v>
                </c:pt>
                <c:pt idx="11507">
                  <c:v>5.9032611925079079</c:v>
                </c:pt>
                <c:pt idx="11508">
                  <c:v>6.0283326453340802</c:v>
                </c:pt>
                <c:pt idx="11509">
                  <c:v>5.9665957616617531</c:v>
                </c:pt>
                <c:pt idx="11510">
                  <c:v>5.8360512629653032</c:v>
                </c:pt>
                <c:pt idx="11511">
                  <c:v>4.0551179615859629</c:v>
                </c:pt>
                <c:pt idx="11512">
                  <c:v>4.079556135186114</c:v>
                </c:pt>
                <c:pt idx="11513">
                  <c:v>5.1626137199463145</c:v>
                </c:pt>
                <c:pt idx="11514">
                  <c:v>5.9910011534032206</c:v>
                </c:pt>
                <c:pt idx="11515">
                  <c:v>5.1771000709585238</c:v>
                </c:pt>
                <c:pt idx="11516">
                  <c:v>6.0753505994591732</c:v>
                </c:pt>
                <c:pt idx="11517">
                  <c:v>4.9254909011807539</c:v>
                </c:pt>
                <c:pt idx="11518">
                  <c:v>6.1235055021924216</c:v>
                </c:pt>
                <c:pt idx="11519">
                  <c:v>6.1148654545722954</c:v>
                </c:pt>
                <c:pt idx="11520">
                  <c:v>5.9800604687100609</c:v>
                </c:pt>
                <c:pt idx="11521">
                  <c:v>5.0625568972295252</c:v>
                </c:pt>
                <c:pt idx="11522">
                  <c:v>5.0875857485413762</c:v>
                </c:pt>
                <c:pt idx="11523">
                  <c:v>5.9636362830360827</c:v>
                </c:pt>
                <c:pt idx="11524">
                  <c:v>5.9030348167345847</c:v>
                </c:pt>
                <c:pt idx="11525">
                  <c:v>6.0927203586265701</c:v>
                </c:pt>
                <c:pt idx="11526">
                  <c:v>5.9084569461267735</c:v>
                </c:pt>
                <c:pt idx="11527">
                  <c:v>5.0179915411218667</c:v>
                </c:pt>
                <c:pt idx="11528">
                  <c:v>4.8803949912643105</c:v>
                </c:pt>
                <c:pt idx="11529">
                  <c:v>5.9508678867749234</c:v>
                </c:pt>
                <c:pt idx="11530">
                  <c:v>4.9398054700682339</c:v>
                </c:pt>
                <c:pt idx="11531">
                  <c:v>6.19098811676424</c:v>
                </c:pt>
                <c:pt idx="11532">
                  <c:v>6.0121087411503433</c:v>
                </c:pt>
                <c:pt idx="11533">
                  <c:v>5.9338217457659663</c:v>
                </c:pt>
                <c:pt idx="11534">
                  <c:v>6.1099848320759778</c:v>
                </c:pt>
                <c:pt idx="11535">
                  <c:v>6.1457296238074717</c:v>
                </c:pt>
                <c:pt idx="11536">
                  <c:v>5.8466429391234822</c:v>
                </c:pt>
                <c:pt idx="11537">
                  <c:v>5.8742946187325611</c:v>
                </c:pt>
                <c:pt idx="11538">
                  <c:v>8.0671490381665212</c:v>
                </c:pt>
                <c:pt idx="11539">
                  <c:v>6.2368120651856618</c:v>
                </c:pt>
                <c:pt idx="11540">
                  <c:v>6.0024994402253595</c:v>
                </c:pt>
                <c:pt idx="11541">
                  <c:v>6.099361554944581</c:v>
                </c:pt>
                <c:pt idx="11542">
                  <c:v>6.0234575069366478</c:v>
                </c:pt>
                <c:pt idx="11543">
                  <c:v>6.1148799124800099</c:v>
                </c:pt>
                <c:pt idx="11544">
                  <c:v>5.9096101415297531</c:v>
                </c:pt>
                <c:pt idx="11545">
                  <c:v>5.0338761527177489</c:v>
                </c:pt>
                <c:pt idx="11546">
                  <c:v>5.1427598099884948</c:v>
                </c:pt>
                <c:pt idx="11547">
                  <c:v>5.9277713037250104</c:v>
                </c:pt>
                <c:pt idx="11548">
                  <c:v>6.1494391212189203</c:v>
                </c:pt>
                <c:pt idx="11549">
                  <c:v>7.1025231015718973</c:v>
                </c:pt>
                <c:pt idx="11550">
                  <c:v>6.1380291879897735</c:v>
                </c:pt>
                <c:pt idx="11551">
                  <c:v>5.9680937116729416</c:v>
                </c:pt>
                <c:pt idx="11552">
                  <c:v>5.9699899200498159</c:v>
                </c:pt>
                <c:pt idx="11553">
                  <c:v>7.0341170516461355</c:v>
                </c:pt>
                <c:pt idx="11554">
                  <c:v>4.9950314577155295</c:v>
                </c:pt>
                <c:pt idx="11555">
                  <c:v>6.9263637467098276</c:v>
                </c:pt>
                <c:pt idx="11556">
                  <c:v>4.8739156136099062</c:v>
                </c:pt>
                <c:pt idx="11557">
                  <c:v>7.0012082534932274</c:v>
                </c:pt>
                <c:pt idx="11558">
                  <c:v>6.91656437770515</c:v>
                </c:pt>
                <c:pt idx="11559">
                  <c:v>6.9333788585170826</c:v>
                </c:pt>
                <c:pt idx="11560">
                  <c:v>7.0615502123854768</c:v>
                </c:pt>
                <c:pt idx="11561">
                  <c:v>6.8606770403212884</c:v>
                </c:pt>
                <c:pt idx="11562">
                  <c:v>5.9550840568579568</c:v>
                </c:pt>
                <c:pt idx="11563">
                  <c:v>4.9705194906820145</c:v>
                </c:pt>
                <c:pt idx="11564">
                  <c:v>5.971629171657538</c:v>
                </c:pt>
                <c:pt idx="11565">
                  <c:v>4.8336488087836189</c:v>
                </c:pt>
                <c:pt idx="11566">
                  <c:v>6.2438331760521528</c:v>
                </c:pt>
                <c:pt idx="11567">
                  <c:v>6.0226480626421113</c:v>
                </c:pt>
                <c:pt idx="11568">
                  <c:v>4.871932862736128</c:v>
                </c:pt>
                <c:pt idx="11569">
                  <c:v>5.0049181335023851</c:v>
                </c:pt>
                <c:pt idx="11570">
                  <c:v>5.9938868961564022</c:v>
                </c:pt>
                <c:pt idx="11571">
                  <c:v>6.0313483334258491</c:v>
                </c:pt>
                <c:pt idx="11572">
                  <c:v>5.9290036160229347</c:v>
                </c:pt>
                <c:pt idx="11573">
                  <c:v>5.9708003314469025</c:v>
                </c:pt>
                <c:pt idx="11574">
                  <c:v>5.8425845417899742</c:v>
                </c:pt>
                <c:pt idx="11575">
                  <c:v>5.9769244397609969</c:v>
                </c:pt>
                <c:pt idx="11576">
                  <c:v>6.0526317648870958</c:v>
                </c:pt>
                <c:pt idx="11577">
                  <c:v>7.1575795978619174</c:v>
                </c:pt>
                <c:pt idx="11578">
                  <c:v>5.9043463891489498</c:v>
                </c:pt>
                <c:pt idx="11579">
                  <c:v>5.9066904910768248</c:v>
                </c:pt>
                <c:pt idx="11580">
                  <c:v>5.8470900258690035</c:v>
                </c:pt>
                <c:pt idx="11581">
                  <c:v>5.7990048890768788</c:v>
                </c:pt>
                <c:pt idx="11582">
                  <c:v>5.8081035792494671</c:v>
                </c:pt>
                <c:pt idx="11583">
                  <c:v>6.9676677131520766</c:v>
                </c:pt>
                <c:pt idx="11584">
                  <c:v>5.0322286816737298</c:v>
                </c:pt>
                <c:pt idx="11585">
                  <c:v>6.0366266249508307</c:v>
                </c:pt>
                <c:pt idx="11586">
                  <c:v>6.0034942190016798</c:v>
                </c:pt>
                <c:pt idx="11587">
                  <c:v>6.1972998760972873</c:v>
                </c:pt>
                <c:pt idx="11588">
                  <c:v>6.0107210893026366</c:v>
                </c:pt>
                <c:pt idx="11589">
                  <c:v>5.9552417459818123</c:v>
                </c:pt>
                <c:pt idx="11590">
                  <c:v>6.0169595003365144</c:v>
                </c:pt>
                <c:pt idx="11591">
                  <c:v>5.8645661876867505</c:v>
                </c:pt>
                <c:pt idx="11592">
                  <c:v>6.0404655065782986</c:v>
                </c:pt>
                <c:pt idx="11593">
                  <c:v>5.9441838570188033</c:v>
                </c:pt>
                <c:pt idx="11594">
                  <c:v>5.8816936567833684</c:v>
                </c:pt>
                <c:pt idx="11595">
                  <c:v>4.8438569123253723</c:v>
                </c:pt>
                <c:pt idx="11596">
                  <c:v>5.959397635995729</c:v>
                </c:pt>
                <c:pt idx="11597">
                  <c:v>5.9945068909918282</c:v>
                </c:pt>
                <c:pt idx="11598">
                  <c:v>4.9750725896783905</c:v>
                </c:pt>
                <c:pt idx="11599">
                  <c:v>5.2343511771446414</c:v>
                </c:pt>
                <c:pt idx="11600">
                  <c:v>5.8948964305829987</c:v>
                </c:pt>
                <c:pt idx="11601">
                  <c:v>6.0811958068306451</c:v>
                </c:pt>
                <c:pt idx="11602">
                  <c:v>6.0339110402502483</c:v>
                </c:pt>
                <c:pt idx="11603">
                  <c:v>4.9310437831026501</c:v>
                </c:pt>
                <c:pt idx="11604">
                  <c:v>6.0673699924056272</c:v>
                </c:pt>
                <c:pt idx="11605">
                  <c:v>4.7926934290176488</c:v>
                </c:pt>
                <c:pt idx="11606">
                  <c:v>5.0306991146636388</c:v>
                </c:pt>
                <c:pt idx="11607">
                  <c:v>3.9474748804788837</c:v>
                </c:pt>
                <c:pt idx="11608">
                  <c:v>4.8516605973192819</c:v>
                </c:pt>
                <c:pt idx="11609">
                  <c:v>5.9501376574829337</c:v>
                </c:pt>
                <c:pt idx="11610">
                  <c:v>5.1406797971544194</c:v>
                </c:pt>
                <c:pt idx="11611">
                  <c:v>4.9063647199576064</c:v>
                </c:pt>
                <c:pt idx="11612">
                  <c:v>5.9643473918149548</c:v>
                </c:pt>
                <c:pt idx="11613">
                  <c:v>6.0030758804715116</c:v>
                </c:pt>
                <c:pt idx="11614">
                  <c:v>6.0144188390744411</c:v>
                </c:pt>
                <c:pt idx="11615">
                  <c:v>6.0022002828743304</c:v>
                </c:pt>
                <c:pt idx="11616">
                  <c:v>5.9927345811502004</c:v>
                </c:pt>
                <c:pt idx="11617">
                  <c:v>5.8544236796879137</c:v>
                </c:pt>
                <c:pt idx="11618">
                  <c:v>4.9080374922952856</c:v>
                </c:pt>
                <c:pt idx="11619">
                  <c:v>5.9689669792204612</c:v>
                </c:pt>
                <c:pt idx="11620">
                  <c:v>6.063498431681567</c:v>
                </c:pt>
                <c:pt idx="11621">
                  <c:v>5.0746811804703915</c:v>
                </c:pt>
                <c:pt idx="11622">
                  <c:v>6.0122888106929899</c:v>
                </c:pt>
                <c:pt idx="11623">
                  <c:v>5.1411296141951901</c:v>
                </c:pt>
                <c:pt idx="11624">
                  <c:v>5.0004015473407559</c:v>
                </c:pt>
                <c:pt idx="11625">
                  <c:v>4.9265559849516487</c:v>
                </c:pt>
                <c:pt idx="11626">
                  <c:v>5.9420680778853701</c:v>
                </c:pt>
                <c:pt idx="11627">
                  <c:v>7.0488880518661947</c:v>
                </c:pt>
                <c:pt idx="11628">
                  <c:v>5.097736651582272</c:v>
                </c:pt>
                <c:pt idx="11629">
                  <c:v>5.88573920579391</c:v>
                </c:pt>
                <c:pt idx="11630">
                  <c:v>7.1177986430085003</c:v>
                </c:pt>
                <c:pt idx="11631">
                  <c:v>6.138146740079832</c:v>
                </c:pt>
                <c:pt idx="11632">
                  <c:v>5.0355497050629756</c:v>
                </c:pt>
                <c:pt idx="11633">
                  <c:v>5.0312424038456527</c:v>
                </c:pt>
                <c:pt idx="11634">
                  <c:v>6.0758603269342544</c:v>
                </c:pt>
                <c:pt idx="11635">
                  <c:v>6.1676655428018012</c:v>
                </c:pt>
                <c:pt idx="11636">
                  <c:v>6.0905933590951173</c:v>
                </c:pt>
                <c:pt idx="11637">
                  <c:v>5.8342106020437754</c:v>
                </c:pt>
                <c:pt idx="11638">
                  <c:v>5.0233023330679529</c:v>
                </c:pt>
                <c:pt idx="11639">
                  <c:v>6.0381484370849074</c:v>
                </c:pt>
                <c:pt idx="11640">
                  <c:v>6.0815932435044839</c:v>
                </c:pt>
                <c:pt idx="11641">
                  <c:v>6.0883921509660901</c:v>
                </c:pt>
                <c:pt idx="11642">
                  <c:v>5.0858741436843014</c:v>
                </c:pt>
                <c:pt idx="11643">
                  <c:v>4.9235049077960253</c:v>
                </c:pt>
                <c:pt idx="11644">
                  <c:v>6.0283244619495955</c:v>
                </c:pt>
                <c:pt idx="11645">
                  <c:v>6.1994150378681896</c:v>
                </c:pt>
                <c:pt idx="11646">
                  <c:v>5.985078265288962</c:v>
                </c:pt>
                <c:pt idx="11647">
                  <c:v>5.9132768723833466</c:v>
                </c:pt>
                <c:pt idx="11648">
                  <c:v>6.0935184699602187</c:v>
                </c:pt>
                <c:pt idx="11649">
                  <c:v>5.921979662267316</c:v>
                </c:pt>
                <c:pt idx="11650">
                  <c:v>6.0526727073340512</c:v>
                </c:pt>
                <c:pt idx="11651">
                  <c:v>5.0452731578178271</c:v>
                </c:pt>
                <c:pt idx="11652">
                  <c:v>5.9232864695637586</c:v>
                </c:pt>
                <c:pt idx="11653">
                  <c:v>5.9106933615731307</c:v>
                </c:pt>
                <c:pt idx="11654">
                  <c:v>4.6752069447082141</c:v>
                </c:pt>
                <c:pt idx="11655">
                  <c:v>5.0686532070868919</c:v>
                </c:pt>
                <c:pt idx="11656">
                  <c:v>5.918652535153047</c:v>
                </c:pt>
                <c:pt idx="11657">
                  <c:v>5.8893473577148123</c:v>
                </c:pt>
                <c:pt idx="11658">
                  <c:v>6.1067520426721513</c:v>
                </c:pt>
                <c:pt idx="11659">
                  <c:v>7.0395590517741597</c:v>
                </c:pt>
                <c:pt idx="11660">
                  <c:v>4.9110626561405395</c:v>
                </c:pt>
                <c:pt idx="11661">
                  <c:v>6.0169768319672059</c:v>
                </c:pt>
                <c:pt idx="11662">
                  <c:v>5.00540269418227</c:v>
                </c:pt>
                <c:pt idx="11663">
                  <c:v>5.132106509706575</c:v>
                </c:pt>
                <c:pt idx="11664">
                  <c:v>5.0847900268495128</c:v>
                </c:pt>
                <c:pt idx="11665">
                  <c:v>4.9311211876147567</c:v>
                </c:pt>
                <c:pt idx="11666">
                  <c:v>5.935573339763363</c:v>
                </c:pt>
                <c:pt idx="11667">
                  <c:v>6.0564185475891925</c:v>
                </c:pt>
                <c:pt idx="11668">
                  <c:v>6.0493526651155252</c:v>
                </c:pt>
                <c:pt idx="11669">
                  <c:v>4.8849135532144849</c:v>
                </c:pt>
                <c:pt idx="11670">
                  <c:v>5.8400129483729879</c:v>
                </c:pt>
                <c:pt idx="11671">
                  <c:v>6.0676669804447156</c:v>
                </c:pt>
                <c:pt idx="11672">
                  <c:v>5.0232603609186537</c:v>
                </c:pt>
                <c:pt idx="11673">
                  <c:v>5.9811532717759572</c:v>
                </c:pt>
                <c:pt idx="11674">
                  <c:v>4.8778653769156612</c:v>
                </c:pt>
                <c:pt idx="11675">
                  <c:v>5.961589805803948</c:v>
                </c:pt>
                <c:pt idx="11676">
                  <c:v>6.0387356895596485</c:v>
                </c:pt>
                <c:pt idx="11677">
                  <c:v>5.8977668681432602</c:v>
                </c:pt>
                <c:pt idx="11678">
                  <c:v>7.1029430993006102</c:v>
                </c:pt>
                <c:pt idx="11679">
                  <c:v>5.8702111653156743</c:v>
                </c:pt>
                <c:pt idx="11680">
                  <c:v>6.0009257935944929</c:v>
                </c:pt>
                <c:pt idx="11681">
                  <c:v>6.0080314039235816</c:v>
                </c:pt>
                <c:pt idx="11682">
                  <c:v>5.8103952325879487</c:v>
                </c:pt>
                <c:pt idx="11683">
                  <c:v>6.0237581537772229</c:v>
                </c:pt>
                <c:pt idx="11684">
                  <c:v>6.1004099963191445</c:v>
                </c:pt>
                <c:pt idx="11685">
                  <c:v>4.9200333981708555</c:v>
                </c:pt>
                <c:pt idx="11686">
                  <c:v>5.9333738945618695</c:v>
                </c:pt>
                <c:pt idx="11687">
                  <c:v>6.1461945536658975</c:v>
                </c:pt>
                <c:pt idx="11688">
                  <c:v>6.0534703884257626</c:v>
                </c:pt>
                <c:pt idx="11689">
                  <c:v>6.0025765543822267</c:v>
                </c:pt>
                <c:pt idx="11690">
                  <c:v>6.1323417698094662</c:v>
                </c:pt>
                <c:pt idx="11691">
                  <c:v>7.0960828972569905</c:v>
                </c:pt>
                <c:pt idx="11692">
                  <c:v>6.0609425680776434</c:v>
                </c:pt>
                <c:pt idx="11693">
                  <c:v>6.0199197485055933</c:v>
                </c:pt>
                <c:pt idx="11694">
                  <c:v>5.9640336802447891</c:v>
                </c:pt>
                <c:pt idx="11695">
                  <c:v>5.9512937421522132</c:v>
                </c:pt>
                <c:pt idx="11696">
                  <c:v>6.0539480278966877</c:v>
                </c:pt>
                <c:pt idx="11697">
                  <c:v>5.0524704350076703</c:v>
                </c:pt>
                <c:pt idx="11698">
                  <c:v>6.0169060725468864</c:v>
                </c:pt>
                <c:pt idx="11699">
                  <c:v>6.0486824858459558</c:v>
                </c:pt>
                <c:pt idx="11700">
                  <c:v>5.9939199466646675</c:v>
                </c:pt>
                <c:pt idx="11701">
                  <c:v>5.9602998537823959</c:v>
                </c:pt>
                <c:pt idx="11702">
                  <c:v>5.913195710981733</c:v>
                </c:pt>
                <c:pt idx="11703">
                  <c:v>6.0494843427374416</c:v>
                </c:pt>
                <c:pt idx="11704">
                  <c:v>4.9842264182091984</c:v>
                </c:pt>
                <c:pt idx="11705">
                  <c:v>6.0015826217702228</c:v>
                </c:pt>
                <c:pt idx="11706">
                  <c:v>5.0323755244207513</c:v>
                </c:pt>
                <c:pt idx="11707">
                  <c:v>6.0749895945802308</c:v>
                </c:pt>
                <c:pt idx="11708">
                  <c:v>6.0903450133667114</c:v>
                </c:pt>
                <c:pt idx="11709">
                  <c:v>5.8617648919937961</c:v>
                </c:pt>
                <c:pt idx="11710">
                  <c:v>6.0274757662482212</c:v>
                </c:pt>
                <c:pt idx="11711">
                  <c:v>5.8980713691989175</c:v>
                </c:pt>
                <c:pt idx="11712">
                  <c:v>4.8746140986595377</c:v>
                </c:pt>
                <c:pt idx="11713">
                  <c:v>5.9983558544930053</c:v>
                </c:pt>
                <c:pt idx="11714">
                  <c:v>5.9283092560920023</c:v>
                </c:pt>
                <c:pt idx="11715">
                  <c:v>4.8306087697629039</c:v>
                </c:pt>
                <c:pt idx="11716">
                  <c:v>5.8621898490075219</c:v>
                </c:pt>
                <c:pt idx="11717">
                  <c:v>5.8760118181436081</c:v>
                </c:pt>
                <c:pt idx="11718">
                  <c:v>6.0890355761592438</c:v>
                </c:pt>
                <c:pt idx="11719">
                  <c:v>6.0417538443130452</c:v>
                </c:pt>
                <c:pt idx="11720">
                  <c:v>6.0075811122173004</c:v>
                </c:pt>
                <c:pt idx="11721">
                  <c:v>6.1185367654822151</c:v>
                </c:pt>
                <c:pt idx="11722">
                  <c:v>5.9773407785579611</c:v>
                </c:pt>
                <c:pt idx="11723">
                  <c:v>6.1128591470766835</c:v>
                </c:pt>
                <c:pt idx="11724">
                  <c:v>5.9002899384714933</c:v>
                </c:pt>
                <c:pt idx="11725">
                  <c:v>6.03363749252585</c:v>
                </c:pt>
                <c:pt idx="11726">
                  <c:v>6.0452517991566035</c:v>
                </c:pt>
                <c:pt idx="11727">
                  <c:v>4.0369391271770514</c:v>
                </c:pt>
                <c:pt idx="11728">
                  <c:v>6.016734544393656</c:v>
                </c:pt>
                <c:pt idx="11729">
                  <c:v>6.1357075858394259</c:v>
                </c:pt>
                <c:pt idx="11730">
                  <c:v>5.0440982888165751</c:v>
                </c:pt>
                <c:pt idx="11731">
                  <c:v>5.823721945418983</c:v>
                </c:pt>
                <c:pt idx="11732">
                  <c:v>6.8225580976905551</c:v>
                </c:pt>
                <c:pt idx="11733">
                  <c:v>5.8833305512161944</c:v>
                </c:pt>
                <c:pt idx="11734">
                  <c:v>6.8293695460634307</c:v>
                </c:pt>
                <c:pt idx="11735">
                  <c:v>6.0218570331141699</c:v>
                </c:pt>
                <c:pt idx="11736">
                  <c:v>7.0940080499011353</c:v>
                </c:pt>
                <c:pt idx="11737">
                  <c:v>5.9290637184067645</c:v>
                </c:pt>
                <c:pt idx="11738">
                  <c:v>5.9635318794872436</c:v>
                </c:pt>
                <c:pt idx="11739">
                  <c:v>5.0635677462407989</c:v>
                </c:pt>
                <c:pt idx="11740">
                  <c:v>4.8492897186639388</c:v>
                </c:pt>
                <c:pt idx="11741">
                  <c:v>4.9689432225064785</c:v>
                </c:pt>
                <c:pt idx="11742">
                  <c:v>5.9877212192193792</c:v>
                </c:pt>
                <c:pt idx="11743">
                  <c:v>5.861921647785822</c:v>
                </c:pt>
                <c:pt idx="11744">
                  <c:v>5.1032814436699407</c:v>
                </c:pt>
                <c:pt idx="11745">
                  <c:v>6.9836778404395083</c:v>
                </c:pt>
                <c:pt idx="11746">
                  <c:v>7.0675159176212796</c:v>
                </c:pt>
                <c:pt idx="11747">
                  <c:v>7.0047830930425752</c:v>
                </c:pt>
                <c:pt idx="11748">
                  <c:v>6.0456282114885598</c:v>
                </c:pt>
                <c:pt idx="11749">
                  <c:v>5.9316260593122463</c:v>
                </c:pt>
                <c:pt idx="11750">
                  <c:v>5.9361498796416265</c:v>
                </c:pt>
                <c:pt idx="11751">
                  <c:v>5.9488576210378437</c:v>
                </c:pt>
                <c:pt idx="11752">
                  <c:v>5.9619289463681993</c:v>
                </c:pt>
                <c:pt idx="11753">
                  <c:v>4.9490488747344079</c:v>
                </c:pt>
                <c:pt idx="11754">
                  <c:v>7.0337467307061967</c:v>
                </c:pt>
                <c:pt idx="11755">
                  <c:v>5.9189730631435413</c:v>
                </c:pt>
                <c:pt idx="11756">
                  <c:v>5.9093732516236184</c:v>
                </c:pt>
                <c:pt idx="11757">
                  <c:v>5.933987136680118</c:v>
                </c:pt>
                <c:pt idx="11758">
                  <c:v>5.8851624877856388</c:v>
                </c:pt>
                <c:pt idx="11759">
                  <c:v>6.1013720173907968</c:v>
                </c:pt>
                <c:pt idx="11760">
                  <c:v>6.9754013882631014</c:v>
                </c:pt>
                <c:pt idx="11761">
                  <c:v>6.1048867797480399</c:v>
                </c:pt>
                <c:pt idx="11762">
                  <c:v>4.0951744828579013</c:v>
                </c:pt>
                <c:pt idx="11763">
                  <c:v>5.9858506424292957</c:v>
                </c:pt>
                <c:pt idx="11764">
                  <c:v>7.0395322628906385</c:v>
                </c:pt>
                <c:pt idx="11765">
                  <c:v>5.8832034104166135</c:v>
                </c:pt>
                <c:pt idx="11766">
                  <c:v>5.8915464328212561</c:v>
                </c:pt>
                <c:pt idx="11767">
                  <c:v>3.864761295197773</c:v>
                </c:pt>
                <c:pt idx="11768">
                  <c:v>6.0795786278703678</c:v>
                </c:pt>
                <c:pt idx="11769">
                  <c:v>5.9873840687788489</c:v>
                </c:pt>
                <c:pt idx="11770">
                  <c:v>6.0717293977340834</c:v>
                </c:pt>
                <c:pt idx="11771">
                  <c:v>3.0394526699067814</c:v>
                </c:pt>
                <c:pt idx="11772">
                  <c:v>5.8631776640274378</c:v>
                </c:pt>
                <c:pt idx="11773">
                  <c:v>6.0211326615040335</c:v>
                </c:pt>
                <c:pt idx="11774">
                  <c:v>5.9593817912284752</c:v>
                </c:pt>
                <c:pt idx="11775">
                  <c:v>5.9812355677677331</c:v>
                </c:pt>
                <c:pt idx="11776">
                  <c:v>5.943920759891081</c:v>
                </c:pt>
                <c:pt idx="11777">
                  <c:v>5.9709205104207772</c:v>
                </c:pt>
                <c:pt idx="11778">
                  <c:v>6.1801679413014181</c:v>
                </c:pt>
                <c:pt idx="11779">
                  <c:v>6.2488609942084929</c:v>
                </c:pt>
                <c:pt idx="11780">
                  <c:v>6.2288075289979528</c:v>
                </c:pt>
                <c:pt idx="11781">
                  <c:v>6.0160281738495636</c:v>
                </c:pt>
                <c:pt idx="11782">
                  <c:v>5.1380874537106429</c:v>
                </c:pt>
                <c:pt idx="11783">
                  <c:v>5.900294578149393</c:v>
                </c:pt>
                <c:pt idx="11784">
                  <c:v>4.9044963132413839</c:v>
                </c:pt>
                <c:pt idx="11785">
                  <c:v>5.8102399748891989</c:v>
                </c:pt>
                <c:pt idx="11786">
                  <c:v>5.8778650993304726</c:v>
                </c:pt>
                <c:pt idx="11787">
                  <c:v>6.9057126324550371</c:v>
                </c:pt>
                <c:pt idx="11788">
                  <c:v>5.0416648542077453</c:v>
                </c:pt>
                <c:pt idx="11789">
                  <c:v>5.0169609172649867</c:v>
                </c:pt>
                <c:pt idx="11790">
                  <c:v>4.8754765369874633</c:v>
                </c:pt>
                <c:pt idx="11791">
                  <c:v>6.0768638416031253</c:v>
                </c:pt>
                <c:pt idx="11792">
                  <c:v>6.0821766501879395</c:v>
                </c:pt>
                <c:pt idx="11793">
                  <c:v>5.8642058172550966</c:v>
                </c:pt>
                <c:pt idx="11794">
                  <c:v>6.9370818800050857</c:v>
                </c:pt>
                <c:pt idx="11795">
                  <c:v>6.1169356010702192</c:v>
                </c:pt>
                <c:pt idx="11796">
                  <c:v>5.9448735833180644</c:v>
                </c:pt>
                <c:pt idx="11797">
                  <c:v>3.9644924522792784</c:v>
                </c:pt>
                <c:pt idx="11798">
                  <c:v>4.9051491491585972</c:v>
                </c:pt>
                <c:pt idx="11799">
                  <c:v>4.9944203506390128</c:v>
                </c:pt>
                <c:pt idx="11800">
                  <c:v>3.9879414160667119</c:v>
                </c:pt>
                <c:pt idx="11801">
                  <c:v>4.0772846325811205</c:v>
                </c:pt>
                <c:pt idx="11802">
                  <c:v>6.1627804349425359</c:v>
                </c:pt>
                <c:pt idx="11803">
                  <c:v>4.9638953631423552</c:v>
                </c:pt>
                <c:pt idx="11804">
                  <c:v>6.8062294813483586</c:v>
                </c:pt>
                <c:pt idx="11805">
                  <c:v>6.1113968565130738</c:v>
                </c:pt>
                <c:pt idx="11806">
                  <c:v>6.9337891400156124</c:v>
                </c:pt>
                <c:pt idx="11807">
                  <c:v>5.1906490985326998</c:v>
                </c:pt>
                <c:pt idx="11808">
                  <c:v>4.9428238739645796</c:v>
                </c:pt>
                <c:pt idx="11809">
                  <c:v>6.1242336033744218</c:v>
                </c:pt>
                <c:pt idx="11810">
                  <c:v>5.9937534500813445</c:v>
                </c:pt>
                <c:pt idx="11811">
                  <c:v>4.9715210184430791</c:v>
                </c:pt>
                <c:pt idx="11812">
                  <c:v>5.9812122578139792</c:v>
                </c:pt>
                <c:pt idx="11813">
                  <c:v>5.9082527863359182</c:v>
                </c:pt>
                <c:pt idx="11814">
                  <c:v>6.0612433670377559</c:v>
                </c:pt>
                <c:pt idx="11815">
                  <c:v>5.9898244109300904</c:v>
                </c:pt>
                <c:pt idx="11816">
                  <c:v>5.8848106458182921</c:v>
                </c:pt>
                <c:pt idx="11817">
                  <c:v>5.9518253132866761</c:v>
                </c:pt>
                <c:pt idx="11818">
                  <c:v>5.046317311654116</c:v>
                </c:pt>
                <c:pt idx="11819">
                  <c:v>4.9731108248138067</c:v>
                </c:pt>
                <c:pt idx="11820">
                  <c:v>5.8515485327518908</c:v>
                </c:pt>
                <c:pt idx="11821">
                  <c:v>5.0892276644754739</c:v>
                </c:pt>
                <c:pt idx="11822">
                  <c:v>4.9473803099097378</c:v>
                </c:pt>
                <c:pt idx="11823">
                  <c:v>5.1458859667952046</c:v>
                </c:pt>
                <c:pt idx="11824">
                  <c:v>5.9571969195418131</c:v>
                </c:pt>
                <c:pt idx="11825">
                  <c:v>4.9887096739877768</c:v>
                </c:pt>
                <c:pt idx="11826">
                  <c:v>6.01544616709712</c:v>
                </c:pt>
                <c:pt idx="11827">
                  <c:v>5.846677430356654</c:v>
                </c:pt>
                <c:pt idx="11828">
                  <c:v>6.0447224888368023</c:v>
                </c:pt>
                <c:pt idx="11829">
                  <c:v>5.0174033313515762</c:v>
                </c:pt>
                <c:pt idx="11830">
                  <c:v>4.9246695271645118</c:v>
                </c:pt>
                <c:pt idx="11831">
                  <c:v>5.1786369717866059</c:v>
                </c:pt>
                <c:pt idx="11832">
                  <c:v>5.9403229613190014</c:v>
                </c:pt>
                <c:pt idx="11833">
                  <c:v>5.1697949703118589</c:v>
                </c:pt>
                <c:pt idx="11834">
                  <c:v>5.0592223504700566</c:v>
                </c:pt>
                <c:pt idx="11835">
                  <c:v>4.9209687970041287</c:v>
                </c:pt>
                <c:pt idx="11836">
                  <c:v>5.88294122878421</c:v>
                </c:pt>
                <c:pt idx="11837">
                  <c:v>4.8964871505008176</c:v>
                </c:pt>
                <c:pt idx="11838">
                  <c:v>6.1952984310198023</c:v>
                </c:pt>
                <c:pt idx="11839">
                  <c:v>5.1445084973261146</c:v>
                </c:pt>
                <c:pt idx="11840">
                  <c:v>5.0678663146292227</c:v>
                </c:pt>
                <c:pt idx="11841">
                  <c:v>6.09935941708709</c:v>
                </c:pt>
                <c:pt idx="11842">
                  <c:v>5.0701272483432955</c:v>
                </c:pt>
                <c:pt idx="11843">
                  <c:v>4.904073460991861</c:v>
                </c:pt>
                <c:pt idx="11844">
                  <c:v>5.0088184993115306</c:v>
                </c:pt>
                <c:pt idx="11845">
                  <c:v>4.7252032513158868</c:v>
                </c:pt>
                <c:pt idx="11846">
                  <c:v>6.8932110189089704</c:v>
                </c:pt>
                <c:pt idx="11847">
                  <c:v>6.1289584015906566</c:v>
                </c:pt>
                <c:pt idx="11848">
                  <c:v>4.9919373294005762</c:v>
                </c:pt>
                <c:pt idx="11849">
                  <c:v>5.1051916105851687</c:v>
                </c:pt>
                <c:pt idx="11850">
                  <c:v>4.9936646897755645</c:v>
                </c:pt>
                <c:pt idx="11851">
                  <c:v>4.9809082456924774</c:v>
                </c:pt>
                <c:pt idx="11852">
                  <c:v>5.0840201248744163</c:v>
                </c:pt>
                <c:pt idx="11853">
                  <c:v>5.0560125425706834</c:v>
                </c:pt>
                <c:pt idx="11854">
                  <c:v>5.0250767905360361</c:v>
                </c:pt>
                <c:pt idx="11855">
                  <c:v>5.1677609802728508</c:v>
                </c:pt>
                <c:pt idx="11856">
                  <c:v>4.7708661101847589</c:v>
                </c:pt>
                <c:pt idx="11857">
                  <c:v>5.0701873667091695</c:v>
                </c:pt>
                <c:pt idx="11858">
                  <c:v>4.8263373867640063</c:v>
                </c:pt>
                <c:pt idx="11859">
                  <c:v>6.0627246409508597</c:v>
                </c:pt>
                <c:pt idx="11860">
                  <c:v>5.2234091810808536</c:v>
                </c:pt>
                <c:pt idx="11861">
                  <c:v>5.1087605325441077</c:v>
                </c:pt>
                <c:pt idx="11862">
                  <c:v>5.0422714326529521</c:v>
                </c:pt>
                <c:pt idx="11863">
                  <c:v>5.0401049466740657</c:v>
                </c:pt>
                <c:pt idx="11864">
                  <c:v>6.0431774061634105</c:v>
                </c:pt>
                <c:pt idx="11865">
                  <c:v>5.9829632780530142</c:v>
                </c:pt>
                <c:pt idx="11866">
                  <c:v>4.9469192064528436</c:v>
                </c:pt>
                <c:pt idx="11867">
                  <c:v>4.744913409428543</c:v>
                </c:pt>
                <c:pt idx="11868">
                  <c:v>6.0266226250270218</c:v>
                </c:pt>
                <c:pt idx="11869">
                  <c:v>4.928702665841592</c:v>
                </c:pt>
                <c:pt idx="11870">
                  <c:v>5.9665215261232252</c:v>
                </c:pt>
                <c:pt idx="11871">
                  <c:v>4.9793222964663615</c:v>
                </c:pt>
                <c:pt idx="11872">
                  <c:v>3.9877048630674206</c:v>
                </c:pt>
                <c:pt idx="11873">
                  <c:v>6.8868136501610913</c:v>
                </c:pt>
                <c:pt idx="11874">
                  <c:v>6.0028824103922149</c:v>
                </c:pt>
                <c:pt idx="11875">
                  <c:v>4.9223626779284206</c:v>
                </c:pt>
                <c:pt idx="11876">
                  <c:v>5.094847024427331</c:v>
                </c:pt>
                <c:pt idx="11877">
                  <c:v>5.26715547008763</c:v>
                </c:pt>
                <c:pt idx="11878">
                  <c:v>4.9214410243181259</c:v>
                </c:pt>
                <c:pt idx="11879">
                  <c:v>4.9618157566666854</c:v>
                </c:pt>
                <c:pt idx="11880">
                  <c:v>6.0693690250935521</c:v>
                </c:pt>
                <c:pt idx="11881">
                  <c:v>5.8601634049911295</c:v>
                </c:pt>
                <c:pt idx="11882">
                  <c:v>5.8738296531210414</c:v>
                </c:pt>
                <c:pt idx="11883">
                  <c:v>5.1637537427800355</c:v>
                </c:pt>
                <c:pt idx="11884">
                  <c:v>4.9233460932104771</c:v>
                </c:pt>
                <c:pt idx="11885">
                  <c:v>5.9926525644936763</c:v>
                </c:pt>
                <c:pt idx="11886">
                  <c:v>5.0371892596210266</c:v>
                </c:pt>
                <c:pt idx="11887">
                  <c:v>6.1153115069979433</c:v>
                </c:pt>
                <c:pt idx="11888">
                  <c:v>6.0951532609762387</c:v>
                </c:pt>
                <c:pt idx="11889">
                  <c:v>6.034040314717604</c:v>
                </c:pt>
                <c:pt idx="11890">
                  <c:v>5.0226774144529163</c:v>
                </c:pt>
                <c:pt idx="11891">
                  <c:v>7.0330189980257725</c:v>
                </c:pt>
                <c:pt idx="11892">
                  <c:v>6.1439958218088089</c:v>
                </c:pt>
                <c:pt idx="11893">
                  <c:v>5.8171631695098469</c:v>
                </c:pt>
                <c:pt idx="11894">
                  <c:v>5.1183948310710097</c:v>
                </c:pt>
                <c:pt idx="11895">
                  <c:v>5.9062145185027086</c:v>
                </c:pt>
                <c:pt idx="11896">
                  <c:v>5.9829192177929755</c:v>
                </c:pt>
                <c:pt idx="11897">
                  <c:v>5.968078030054226</c:v>
                </c:pt>
                <c:pt idx="11898">
                  <c:v>5.9709161424629595</c:v>
                </c:pt>
                <c:pt idx="11899">
                  <c:v>6.1026559571691585</c:v>
                </c:pt>
                <c:pt idx="11900">
                  <c:v>4.9182654079452153</c:v>
                </c:pt>
                <c:pt idx="11901">
                  <c:v>4.9495862786819194</c:v>
                </c:pt>
                <c:pt idx="11902">
                  <c:v>6.0821164850874849</c:v>
                </c:pt>
                <c:pt idx="11903">
                  <c:v>5.0818770685303249</c:v>
                </c:pt>
                <c:pt idx="11904">
                  <c:v>5.9774122059917509</c:v>
                </c:pt>
                <c:pt idx="11905">
                  <c:v>6.9434267330297708</c:v>
                </c:pt>
                <c:pt idx="11906">
                  <c:v>6.058791506234428</c:v>
                </c:pt>
                <c:pt idx="11907">
                  <c:v>5.0910253731319939</c:v>
                </c:pt>
                <c:pt idx="11908">
                  <c:v>5.1122013242810915</c:v>
                </c:pt>
                <c:pt idx="11909">
                  <c:v>5.9544249278013703</c:v>
                </c:pt>
                <c:pt idx="11910">
                  <c:v>7.0390936968643913</c:v>
                </c:pt>
                <c:pt idx="11911">
                  <c:v>5.9992044069181478</c:v>
                </c:pt>
                <c:pt idx="11912">
                  <c:v>5.8854678112709582</c:v>
                </c:pt>
                <c:pt idx="11913">
                  <c:v>5.9464011671217385</c:v>
                </c:pt>
                <c:pt idx="11914">
                  <c:v>5.8874213045628112</c:v>
                </c:pt>
                <c:pt idx="11915">
                  <c:v>6.1269789985233256</c:v>
                </c:pt>
                <c:pt idx="11916">
                  <c:v>6.1921780394753236</c:v>
                </c:pt>
                <c:pt idx="11917">
                  <c:v>7.1007951323187743</c:v>
                </c:pt>
                <c:pt idx="11918">
                  <c:v>6.1388443722984833</c:v>
                </c:pt>
                <c:pt idx="11919">
                  <c:v>4.9946491485265634</c:v>
                </c:pt>
                <c:pt idx="11920">
                  <c:v>6.0232184549068721</c:v>
                </c:pt>
                <c:pt idx="11921">
                  <c:v>6.1222009246743294</c:v>
                </c:pt>
                <c:pt idx="11922">
                  <c:v>5.0387691724524677</c:v>
                </c:pt>
                <c:pt idx="11923">
                  <c:v>5.975378521538965</c:v>
                </c:pt>
                <c:pt idx="11924">
                  <c:v>4.9301167181864107</c:v>
                </c:pt>
                <c:pt idx="11925">
                  <c:v>6.8751539317845358</c:v>
                </c:pt>
                <c:pt idx="11926">
                  <c:v>6.0245093303076303</c:v>
                </c:pt>
                <c:pt idx="11927">
                  <c:v>7.0866984401186395</c:v>
                </c:pt>
                <c:pt idx="11928">
                  <c:v>6.9934250036907608</c:v>
                </c:pt>
                <c:pt idx="11929">
                  <c:v>5.9424825419820424</c:v>
                </c:pt>
                <c:pt idx="11930">
                  <c:v>6.0251870738451787</c:v>
                </c:pt>
                <c:pt idx="11931">
                  <c:v>6.0838994648832418</c:v>
                </c:pt>
                <c:pt idx="11932">
                  <c:v>4.981423155387156</c:v>
                </c:pt>
                <c:pt idx="11933">
                  <c:v>6.1533633242673496</c:v>
                </c:pt>
                <c:pt idx="11934">
                  <c:v>5.9608792437049569</c:v>
                </c:pt>
                <c:pt idx="11935">
                  <c:v>6.0254847284058473</c:v>
                </c:pt>
                <c:pt idx="11936">
                  <c:v>5.9764691209112009</c:v>
                </c:pt>
                <c:pt idx="11937">
                  <c:v>5.0286030249430489</c:v>
                </c:pt>
                <c:pt idx="11938">
                  <c:v>5.9547814295757542</c:v>
                </c:pt>
                <c:pt idx="11939">
                  <c:v>6.1623339247015538</c:v>
                </c:pt>
                <c:pt idx="11940">
                  <c:v>6.1838989473385526</c:v>
                </c:pt>
                <c:pt idx="11941">
                  <c:v>5.0770319307837983</c:v>
                </c:pt>
                <c:pt idx="11942">
                  <c:v>4.9196948101657298</c:v>
                </c:pt>
                <c:pt idx="11943">
                  <c:v>6.0480578845933879</c:v>
                </c:pt>
                <c:pt idx="11944">
                  <c:v>6.0234622948571159</c:v>
                </c:pt>
                <c:pt idx="11945">
                  <c:v>5.9711267094927303</c:v>
                </c:pt>
                <c:pt idx="11946">
                  <c:v>6.1783026493445696</c:v>
                </c:pt>
                <c:pt idx="11947">
                  <c:v>6.0926319320108719</c:v>
                </c:pt>
                <c:pt idx="11948">
                  <c:v>4.9221042167405464</c:v>
                </c:pt>
                <c:pt idx="11949">
                  <c:v>6.9465226428781</c:v>
                </c:pt>
                <c:pt idx="11950">
                  <c:v>5.9058796466818295</c:v>
                </c:pt>
                <c:pt idx="11951">
                  <c:v>5.9956696521193704</c:v>
                </c:pt>
                <c:pt idx="11952">
                  <c:v>5.9379686216746634</c:v>
                </c:pt>
                <c:pt idx="11953">
                  <c:v>5.9574778413855576</c:v>
                </c:pt>
                <c:pt idx="11954">
                  <c:v>6.1857731915567653</c:v>
                </c:pt>
                <c:pt idx="11955">
                  <c:v>4.8718196579695405</c:v>
                </c:pt>
                <c:pt idx="11956">
                  <c:v>5.8352806428637765</c:v>
                </c:pt>
                <c:pt idx="11957">
                  <c:v>5.9893983885304491</c:v>
                </c:pt>
                <c:pt idx="11958">
                  <c:v>6.0381073447044926</c:v>
                </c:pt>
                <c:pt idx="11959">
                  <c:v>6.0828689585788638</c:v>
                </c:pt>
                <c:pt idx="11960">
                  <c:v>5.9272371246942068</c:v>
                </c:pt>
                <c:pt idx="11961">
                  <c:v>6.0265849767184987</c:v>
                </c:pt>
                <c:pt idx="11962">
                  <c:v>5.8775676435572892</c:v>
                </c:pt>
                <c:pt idx="11963">
                  <c:v>6.1941081878993698</c:v>
                </c:pt>
                <c:pt idx="11964">
                  <c:v>5.9684391108953401</c:v>
                </c:pt>
                <c:pt idx="11965">
                  <c:v>5.9383571306051071</c:v>
                </c:pt>
                <c:pt idx="11966">
                  <c:v>6.0981326494281731</c:v>
                </c:pt>
                <c:pt idx="11967">
                  <c:v>6.0613206089880434</c:v>
                </c:pt>
                <c:pt idx="11968">
                  <c:v>5.9011820898922744</c:v>
                </c:pt>
                <c:pt idx="11969">
                  <c:v>6.1653980075441348</c:v>
                </c:pt>
                <c:pt idx="11970">
                  <c:v>5.9306624735158069</c:v>
                </c:pt>
                <c:pt idx="11971">
                  <c:v>5.6423887198257496</c:v>
                </c:pt>
                <c:pt idx="11972">
                  <c:v>6.0418629012668079</c:v>
                </c:pt>
                <c:pt idx="11973">
                  <c:v>5.0392407680635163</c:v>
                </c:pt>
                <c:pt idx="11974">
                  <c:v>5.9719820596293118</c:v>
                </c:pt>
                <c:pt idx="11975">
                  <c:v>7.1302799666098737</c:v>
                </c:pt>
                <c:pt idx="11976">
                  <c:v>4.8784414309716562</c:v>
                </c:pt>
                <c:pt idx="11977">
                  <c:v>3.2056488128511993</c:v>
                </c:pt>
                <c:pt idx="11978">
                  <c:v>7.0735102699908827</c:v>
                </c:pt>
                <c:pt idx="11979">
                  <c:v>5.0482164209719977</c:v>
                </c:pt>
                <c:pt idx="11980">
                  <c:v>6.1077738150992262</c:v>
                </c:pt>
                <c:pt idx="11981">
                  <c:v>5.920326071253581</c:v>
                </c:pt>
                <c:pt idx="11982">
                  <c:v>6.0026733374430217</c:v>
                </c:pt>
                <c:pt idx="11983">
                  <c:v>5.0821092363698401</c:v>
                </c:pt>
                <c:pt idx="11984">
                  <c:v>5.8970118798578479</c:v>
                </c:pt>
                <c:pt idx="11985">
                  <c:v>6.1388124417337453</c:v>
                </c:pt>
                <c:pt idx="11986">
                  <c:v>4.8778782694720064</c:v>
                </c:pt>
                <c:pt idx="11987">
                  <c:v>6.1720114863657427</c:v>
                </c:pt>
                <c:pt idx="11988">
                  <c:v>5.1043398995126577</c:v>
                </c:pt>
                <c:pt idx="11989">
                  <c:v>5.972300737826842</c:v>
                </c:pt>
                <c:pt idx="11990">
                  <c:v>6.0850746657490165</c:v>
                </c:pt>
                <c:pt idx="11991">
                  <c:v>6.001401721180482</c:v>
                </c:pt>
                <c:pt idx="11992">
                  <c:v>5.9100146183902629</c:v>
                </c:pt>
                <c:pt idx="11993">
                  <c:v>5.9026301804207222</c:v>
                </c:pt>
                <c:pt idx="11994">
                  <c:v>6.1157524747792067</c:v>
                </c:pt>
                <c:pt idx="11995">
                  <c:v>7.2235029835414286</c:v>
                </c:pt>
                <c:pt idx="11996">
                  <c:v>5.8981497915216172</c:v>
                </c:pt>
                <c:pt idx="11997">
                  <c:v>5.8240288641997573</c:v>
                </c:pt>
                <c:pt idx="11998">
                  <c:v>6.0071681004163535</c:v>
                </c:pt>
                <c:pt idx="11999">
                  <c:v>4.7117547192954818</c:v>
                </c:pt>
                <c:pt idx="12000">
                  <c:v>5.8237453736400688</c:v>
                </c:pt>
                <c:pt idx="12001">
                  <c:v>6.0290330549312818</c:v>
                </c:pt>
                <c:pt idx="12002">
                  <c:v>6.0968292666082773</c:v>
                </c:pt>
                <c:pt idx="12003">
                  <c:v>3.0612001731802465</c:v>
                </c:pt>
                <c:pt idx="12004">
                  <c:v>6.2388374261448796</c:v>
                </c:pt>
                <c:pt idx="12005">
                  <c:v>5.9152589825257404</c:v>
                </c:pt>
                <c:pt idx="12006">
                  <c:v>5.2108171971378434</c:v>
                </c:pt>
                <c:pt idx="12007">
                  <c:v>7.1338780613975548</c:v>
                </c:pt>
                <c:pt idx="12008">
                  <c:v>6.9338223143742717</c:v>
                </c:pt>
                <c:pt idx="12009">
                  <c:v>5.9349019445733173</c:v>
                </c:pt>
                <c:pt idx="12010">
                  <c:v>7.0563272978206859</c:v>
                </c:pt>
                <c:pt idx="12011">
                  <c:v>5.984983486760667</c:v>
                </c:pt>
                <c:pt idx="12012">
                  <c:v>7.0314776789303215</c:v>
                </c:pt>
                <c:pt idx="12013">
                  <c:v>5.9918981044529867</c:v>
                </c:pt>
                <c:pt idx="12014">
                  <c:v>5.9325666942531194</c:v>
                </c:pt>
                <c:pt idx="12015">
                  <c:v>5.9283099450392429</c:v>
                </c:pt>
                <c:pt idx="12016">
                  <c:v>5.859877163496038</c:v>
                </c:pt>
                <c:pt idx="12017">
                  <c:v>6.9684830551554366</c:v>
                </c:pt>
                <c:pt idx="12018">
                  <c:v>6.0065609868179575</c:v>
                </c:pt>
                <c:pt idx="12019">
                  <c:v>7.1049650146513121</c:v>
                </c:pt>
                <c:pt idx="12020">
                  <c:v>4.953307977356574</c:v>
                </c:pt>
                <c:pt idx="12021">
                  <c:v>5.134874223753326</c:v>
                </c:pt>
                <c:pt idx="12022">
                  <c:v>6.0572654883080643</c:v>
                </c:pt>
                <c:pt idx="12023">
                  <c:v>6.2014186741411654</c:v>
                </c:pt>
                <c:pt idx="12024">
                  <c:v>6.0719317493123546</c:v>
                </c:pt>
                <c:pt idx="12025">
                  <c:v>5.9481853530996647</c:v>
                </c:pt>
                <c:pt idx="12026">
                  <c:v>6.1018185533904203</c:v>
                </c:pt>
                <c:pt idx="12027">
                  <c:v>5.862418068814419</c:v>
                </c:pt>
                <c:pt idx="12028">
                  <c:v>5.062541742905716</c:v>
                </c:pt>
                <c:pt idx="12029">
                  <c:v>6.0936446177676249</c:v>
                </c:pt>
                <c:pt idx="12030">
                  <c:v>5.041216021333601</c:v>
                </c:pt>
                <c:pt idx="12031">
                  <c:v>5.7991153956858206</c:v>
                </c:pt>
                <c:pt idx="12032">
                  <c:v>5.9754834142788527</c:v>
                </c:pt>
                <c:pt idx="12033">
                  <c:v>6.0194474837181353</c:v>
                </c:pt>
                <c:pt idx="12034">
                  <c:v>5.9783965111405983</c:v>
                </c:pt>
                <c:pt idx="12035">
                  <c:v>5.782659177811138</c:v>
                </c:pt>
                <c:pt idx="12036">
                  <c:v>5.9680151835334074</c:v>
                </c:pt>
                <c:pt idx="12037">
                  <c:v>5.9088423430950217</c:v>
                </c:pt>
                <c:pt idx="12038">
                  <c:v>6.0337988136785627</c:v>
                </c:pt>
                <c:pt idx="12039">
                  <c:v>6.0897474676878849</c:v>
                </c:pt>
                <c:pt idx="12040">
                  <c:v>6.2358088102235465</c:v>
                </c:pt>
                <c:pt idx="12041">
                  <c:v>6.0013352194369416</c:v>
                </c:pt>
                <c:pt idx="12042">
                  <c:v>6.1722247593325648</c:v>
                </c:pt>
                <c:pt idx="12043">
                  <c:v>5.0108240608732029</c:v>
                </c:pt>
                <c:pt idx="12044">
                  <c:v>5.8477728623704941</c:v>
                </c:pt>
                <c:pt idx="12045">
                  <c:v>6.033973707887899</c:v>
                </c:pt>
                <c:pt idx="12046">
                  <c:v>5.968987610330009</c:v>
                </c:pt>
                <c:pt idx="12047">
                  <c:v>6.0943615905025679</c:v>
                </c:pt>
                <c:pt idx="12048">
                  <c:v>6.0131560593084608</c:v>
                </c:pt>
                <c:pt idx="12049">
                  <c:v>5.034520410168188</c:v>
                </c:pt>
                <c:pt idx="12050">
                  <c:v>5.1236426579655543</c:v>
                </c:pt>
                <c:pt idx="12051">
                  <c:v>4.9058884743159901</c:v>
                </c:pt>
                <c:pt idx="12052">
                  <c:v>7.0875429860371737</c:v>
                </c:pt>
                <c:pt idx="12053">
                  <c:v>5.0944119813432618</c:v>
                </c:pt>
                <c:pt idx="12054">
                  <c:v>6.0685433750809237</c:v>
                </c:pt>
                <c:pt idx="12055">
                  <c:v>4.9280869059848822</c:v>
                </c:pt>
                <c:pt idx="12056">
                  <c:v>7.0274243615303957</c:v>
                </c:pt>
                <c:pt idx="12057">
                  <c:v>6.1369904227805847</c:v>
                </c:pt>
                <c:pt idx="12058">
                  <c:v>5.8728888118351517</c:v>
                </c:pt>
                <c:pt idx="12059">
                  <c:v>5.0373496865055314</c:v>
                </c:pt>
                <c:pt idx="12060">
                  <c:v>6.9273050929930644</c:v>
                </c:pt>
                <c:pt idx="12061">
                  <c:v>5.0956083162759276</c:v>
                </c:pt>
                <c:pt idx="12062">
                  <c:v>5.9771853977931286</c:v>
                </c:pt>
                <c:pt idx="12063">
                  <c:v>5.1277845177703583</c:v>
                </c:pt>
                <c:pt idx="12064">
                  <c:v>4.9785517023397921</c:v>
                </c:pt>
                <c:pt idx="12065">
                  <c:v>5.9424137616192354</c:v>
                </c:pt>
                <c:pt idx="12066">
                  <c:v>5.1401494773193797</c:v>
                </c:pt>
                <c:pt idx="12067">
                  <c:v>5.9752120009392158</c:v>
                </c:pt>
                <c:pt idx="12068">
                  <c:v>5.9053902100213538</c:v>
                </c:pt>
                <c:pt idx="12069">
                  <c:v>6.9356591408166244</c:v>
                </c:pt>
                <c:pt idx="12070">
                  <c:v>7.0319915222511922</c:v>
                </c:pt>
                <c:pt idx="12071">
                  <c:v>6.9536920153852151</c:v>
                </c:pt>
                <c:pt idx="12072">
                  <c:v>6.1185947864887016</c:v>
                </c:pt>
                <c:pt idx="12073">
                  <c:v>5.9671223951837975</c:v>
                </c:pt>
                <c:pt idx="12074">
                  <c:v>6.0261657016969394</c:v>
                </c:pt>
                <c:pt idx="12075">
                  <c:v>6.0071066501963832</c:v>
                </c:pt>
                <c:pt idx="12076">
                  <c:v>6.060194920394756</c:v>
                </c:pt>
                <c:pt idx="12077">
                  <c:v>6.0552780411152076</c:v>
                </c:pt>
                <c:pt idx="12078">
                  <c:v>5.9259826128666422</c:v>
                </c:pt>
                <c:pt idx="12079">
                  <c:v>5.9374614455192969</c:v>
                </c:pt>
                <c:pt idx="12080">
                  <c:v>6.0261078515854676</c:v>
                </c:pt>
                <c:pt idx="12081">
                  <c:v>5.9963807248542036</c:v>
                </c:pt>
                <c:pt idx="12082">
                  <c:v>6.9220029052454226</c:v>
                </c:pt>
                <c:pt idx="12083">
                  <c:v>5.9666729831386522</c:v>
                </c:pt>
                <c:pt idx="12084">
                  <c:v>4.856821228900551</c:v>
                </c:pt>
                <c:pt idx="12085">
                  <c:v>5.1033182123943046</c:v>
                </c:pt>
                <c:pt idx="12086">
                  <c:v>5.9930364987094826</c:v>
                </c:pt>
                <c:pt idx="12087">
                  <c:v>5.9547135806765548</c:v>
                </c:pt>
                <c:pt idx="12088">
                  <c:v>5.9213347125572575</c:v>
                </c:pt>
                <c:pt idx="12089">
                  <c:v>6.1654705021909662</c:v>
                </c:pt>
                <c:pt idx="12090">
                  <c:v>6.0077268422909018</c:v>
                </c:pt>
                <c:pt idx="12091">
                  <c:v>4.9873468131750274</c:v>
                </c:pt>
                <c:pt idx="12092">
                  <c:v>5.9990060079947165</c:v>
                </c:pt>
                <c:pt idx="12093">
                  <c:v>6.0200892116655194</c:v>
                </c:pt>
                <c:pt idx="12094">
                  <c:v>6.9914388719208711</c:v>
                </c:pt>
                <c:pt idx="12095">
                  <c:v>5.9287008236703436</c:v>
                </c:pt>
                <c:pt idx="12096">
                  <c:v>5.8227754079807665</c:v>
                </c:pt>
                <c:pt idx="12097">
                  <c:v>5.9721772576576981</c:v>
                </c:pt>
                <c:pt idx="12098">
                  <c:v>6.1472192987334964</c:v>
                </c:pt>
                <c:pt idx="12099">
                  <c:v>5.1131851432621982</c:v>
                </c:pt>
                <c:pt idx="12100">
                  <c:v>6.0091487571411042</c:v>
                </c:pt>
                <c:pt idx="12101">
                  <c:v>7.0349079037341786</c:v>
                </c:pt>
                <c:pt idx="12102">
                  <c:v>5.1506686929571011</c:v>
                </c:pt>
                <c:pt idx="12103">
                  <c:v>6.1255707738025631</c:v>
                </c:pt>
                <c:pt idx="12104">
                  <c:v>7.0273533593743656</c:v>
                </c:pt>
                <c:pt idx="12105">
                  <c:v>7.1091703171752432</c:v>
                </c:pt>
                <c:pt idx="12106">
                  <c:v>4.9279437033442202</c:v>
                </c:pt>
                <c:pt idx="12107">
                  <c:v>6.0684595008856661</c:v>
                </c:pt>
                <c:pt idx="12108">
                  <c:v>6.0624748518993776</c:v>
                </c:pt>
                <c:pt idx="12109">
                  <c:v>6.0366811457622571</c:v>
                </c:pt>
                <c:pt idx="12110">
                  <c:v>4.8707610775286696</c:v>
                </c:pt>
                <c:pt idx="12111">
                  <c:v>5.9280631105982087</c:v>
                </c:pt>
                <c:pt idx="12112">
                  <c:v>5.9331301946488333</c:v>
                </c:pt>
                <c:pt idx="12113">
                  <c:v>6.0572968566455492</c:v>
                </c:pt>
                <c:pt idx="12114">
                  <c:v>6.0717429024552327</c:v>
                </c:pt>
                <c:pt idx="12115">
                  <c:v>6.0230024832961302</c:v>
                </c:pt>
                <c:pt idx="12116">
                  <c:v>7.0582311723573765</c:v>
                </c:pt>
                <c:pt idx="12117">
                  <c:v>7.1627096391531362</c:v>
                </c:pt>
                <c:pt idx="12118">
                  <c:v>7.083016924554995</c:v>
                </c:pt>
                <c:pt idx="12119">
                  <c:v>5.8584393566432382</c:v>
                </c:pt>
                <c:pt idx="12120">
                  <c:v>7.0836208245624936</c:v>
                </c:pt>
                <c:pt idx="12121">
                  <c:v>6.0598265711310439</c:v>
                </c:pt>
                <c:pt idx="12122">
                  <c:v>5.9977577619792823</c:v>
                </c:pt>
                <c:pt idx="12123">
                  <c:v>6.0416049957485276</c:v>
                </c:pt>
                <c:pt idx="12124">
                  <c:v>5.9489305738931701</c:v>
                </c:pt>
                <c:pt idx="12125">
                  <c:v>7.0818273852954938</c:v>
                </c:pt>
                <c:pt idx="12126">
                  <c:v>7.1709392438869664</c:v>
                </c:pt>
                <c:pt idx="12127">
                  <c:v>6.006271093577916</c:v>
                </c:pt>
                <c:pt idx="12128">
                  <c:v>5.8858093229324497</c:v>
                </c:pt>
                <c:pt idx="12129">
                  <c:v>5.9515586650893573</c:v>
                </c:pt>
                <c:pt idx="12130">
                  <c:v>6.9389297696731482</c:v>
                </c:pt>
                <c:pt idx="12131">
                  <c:v>7.0399650472137116</c:v>
                </c:pt>
                <c:pt idx="12132">
                  <c:v>7.0045944697896818</c:v>
                </c:pt>
                <c:pt idx="12133">
                  <c:v>4.9717533706563675</c:v>
                </c:pt>
                <c:pt idx="12134">
                  <c:v>4.8266781759010735</c:v>
                </c:pt>
                <c:pt idx="12135">
                  <c:v>6.8653263019624768</c:v>
                </c:pt>
                <c:pt idx="12136">
                  <c:v>5.9234300153551942</c:v>
                </c:pt>
                <c:pt idx="12137">
                  <c:v>7.0220160732790875</c:v>
                </c:pt>
                <c:pt idx="12138">
                  <c:v>6.9258392537881308</c:v>
                </c:pt>
                <c:pt idx="12139">
                  <c:v>5.9617096975468122</c:v>
                </c:pt>
                <c:pt idx="12140">
                  <c:v>6.007346684444105</c:v>
                </c:pt>
                <c:pt idx="12141">
                  <c:v>6.0005631270799631</c:v>
                </c:pt>
                <c:pt idx="12142">
                  <c:v>6.0703275303930679</c:v>
                </c:pt>
                <c:pt idx="12143">
                  <c:v>4.8928095342699889</c:v>
                </c:pt>
                <c:pt idx="12144">
                  <c:v>7.0545431098550395</c:v>
                </c:pt>
                <c:pt idx="12145">
                  <c:v>6.8647288847669694</c:v>
                </c:pt>
                <c:pt idx="12146">
                  <c:v>5.9072216036479723</c:v>
                </c:pt>
                <c:pt idx="12147">
                  <c:v>4.756835356098871</c:v>
                </c:pt>
                <c:pt idx="12148">
                  <c:v>6.0789303393379654</c:v>
                </c:pt>
                <c:pt idx="12149">
                  <c:v>5.8986208039834143</c:v>
                </c:pt>
                <c:pt idx="12150">
                  <c:v>5.2578150035793216</c:v>
                </c:pt>
                <c:pt idx="12151">
                  <c:v>5.9795868003761061</c:v>
                </c:pt>
                <c:pt idx="12152">
                  <c:v>5.06265289602098</c:v>
                </c:pt>
                <c:pt idx="12153">
                  <c:v>5.0802536836443073</c:v>
                </c:pt>
                <c:pt idx="12154">
                  <c:v>5.0865245572315461</c:v>
                </c:pt>
                <c:pt idx="12155">
                  <c:v>6.9649097608412323</c:v>
                </c:pt>
                <c:pt idx="12156">
                  <c:v>4.9000874973498583</c:v>
                </c:pt>
                <c:pt idx="12157">
                  <c:v>6.0663056705024712</c:v>
                </c:pt>
                <c:pt idx="12158">
                  <c:v>4.0380600015376755</c:v>
                </c:pt>
                <c:pt idx="12159">
                  <c:v>6.0301616068637998</c:v>
                </c:pt>
                <c:pt idx="12160">
                  <c:v>5.0476529779410173</c:v>
                </c:pt>
                <c:pt idx="12161">
                  <c:v>5.9805904111383157</c:v>
                </c:pt>
                <c:pt idx="12162">
                  <c:v>5.1518558981566507</c:v>
                </c:pt>
                <c:pt idx="12163">
                  <c:v>7.0464825634439947</c:v>
                </c:pt>
                <c:pt idx="12164">
                  <c:v>7.0022287306241457</c:v>
                </c:pt>
                <c:pt idx="12165">
                  <c:v>6.1544173204461998</c:v>
                </c:pt>
                <c:pt idx="12166">
                  <c:v>5.9225070891825027</c:v>
                </c:pt>
                <c:pt idx="12167">
                  <c:v>4.9719455190931408</c:v>
                </c:pt>
                <c:pt idx="12168">
                  <c:v>5.0158075896739911</c:v>
                </c:pt>
                <c:pt idx="12169">
                  <c:v>5.8457708367660777</c:v>
                </c:pt>
                <c:pt idx="12170">
                  <c:v>5.0229849062921836</c:v>
                </c:pt>
                <c:pt idx="12171">
                  <c:v>6.1658900191277652</c:v>
                </c:pt>
                <c:pt idx="12172">
                  <c:v>6.068294300377346</c:v>
                </c:pt>
                <c:pt idx="12173">
                  <c:v>5.9350513361815578</c:v>
                </c:pt>
                <c:pt idx="12174">
                  <c:v>6.06487195733704</c:v>
                </c:pt>
                <c:pt idx="12175">
                  <c:v>6.0828843662380869</c:v>
                </c:pt>
                <c:pt idx="12176">
                  <c:v>5.8558115739462924</c:v>
                </c:pt>
                <c:pt idx="12177">
                  <c:v>5.8208616558469624</c:v>
                </c:pt>
                <c:pt idx="12178">
                  <c:v>5.9887129395078817</c:v>
                </c:pt>
                <c:pt idx="12179">
                  <c:v>5.9382598813551972</c:v>
                </c:pt>
                <c:pt idx="12180">
                  <c:v>6.2735380154101579</c:v>
                </c:pt>
                <c:pt idx="12181">
                  <c:v>6.1110473898783058</c:v>
                </c:pt>
                <c:pt idx="12182">
                  <c:v>6.8547814299125802</c:v>
                </c:pt>
                <c:pt idx="12183">
                  <c:v>5.9619548887966083</c:v>
                </c:pt>
                <c:pt idx="12184">
                  <c:v>4.9590690606576926</c:v>
                </c:pt>
                <c:pt idx="12185">
                  <c:v>6.8411327959807995</c:v>
                </c:pt>
                <c:pt idx="12186">
                  <c:v>5.9651089214994073</c:v>
                </c:pt>
                <c:pt idx="12187">
                  <c:v>6.0836778017369202</c:v>
                </c:pt>
                <c:pt idx="12188">
                  <c:v>5.8298022570921733</c:v>
                </c:pt>
                <c:pt idx="12189">
                  <c:v>5.0285769389498176</c:v>
                </c:pt>
                <c:pt idx="12190">
                  <c:v>5.9445962736503812</c:v>
                </c:pt>
                <c:pt idx="12191">
                  <c:v>6.790209606505929</c:v>
                </c:pt>
                <c:pt idx="12192">
                  <c:v>5.9255813859419337</c:v>
                </c:pt>
                <c:pt idx="12193">
                  <c:v>5.9618576129097409</c:v>
                </c:pt>
                <c:pt idx="12194">
                  <c:v>4.9519507716256479</c:v>
                </c:pt>
                <c:pt idx="12195">
                  <c:v>6.8849222671967576</c:v>
                </c:pt>
                <c:pt idx="12196">
                  <c:v>7.0931838932246505</c:v>
                </c:pt>
                <c:pt idx="12197">
                  <c:v>7.1011894664230226</c:v>
                </c:pt>
                <c:pt idx="12198">
                  <c:v>7.0650566523176437</c:v>
                </c:pt>
                <c:pt idx="12199">
                  <c:v>4.9812594205417744</c:v>
                </c:pt>
                <c:pt idx="12200">
                  <c:v>6.0334350313176577</c:v>
                </c:pt>
                <c:pt idx="12201">
                  <c:v>7.1600899736422354</c:v>
                </c:pt>
                <c:pt idx="12202">
                  <c:v>6.0395099695633139</c:v>
                </c:pt>
                <c:pt idx="12203">
                  <c:v>6.8897853237426974</c:v>
                </c:pt>
                <c:pt idx="12204">
                  <c:v>5.8080294341256709</c:v>
                </c:pt>
                <c:pt idx="12205">
                  <c:v>6.0118704528749909</c:v>
                </c:pt>
                <c:pt idx="12206">
                  <c:v>7.0416620399758383</c:v>
                </c:pt>
                <c:pt idx="12207">
                  <c:v>5.9253958675578762</c:v>
                </c:pt>
                <c:pt idx="12208">
                  <c:v>5.1237255274681752</c:v>
                </c:pt>
                <c:pt idx="12209">
                  <c:v>5.8149123851302811</c:v>
                </c:pt>
                <c:pt idx="12210">
                  <c:v>5.9970127225548415</c:v>
                </c:pt>
                <c:pt idx="12211">
                  <c:v>6.0190919543447245</c:v>
                </c:pt>
                <c:pt idx="12212">
                  <c:v>6.1170856655289896</c:v>
                </c:pt>
                <c:pt idx="12213">
                  <c:v>5.0344039695338392</c:v>
                </c:pt>
                <c:pt idx="12214">
                  <c:v>6.1248631170081422</c:v>
                </c:pt>
                <c:pt idx="12215">
                  <c:v>5.973847719925093</c:v>
                </c:pt>
                <c:pt idx="12216">
                  <c:v>6.137588000459294</c:v>
                </c:pt>
                <c:pt idx="12217">
                  <c:v>5.0524407744595186</c:v>
                </c:pt>
                <c:pt idx="12218">
                  <c:v>5.9476563897725425</c:v>
                </c:pt>
                <c:pt idx="12219">
                  <c:v>5.9340087127915888</c:v>
                </c:pt>
                <c:pt idx="12220">
                  <c:v>5.8408091894548013</c:v>
                </c:pt>
                <c:pt idx="12221">
                  <c:v>7.0477661089771688</c:v>
                </c:pt>
                <c:pt idx="12222">
                  <c:v>6.8474648660088784</c:v>
                </c:pt>
                <c:pt idx="12223">
                  <c:v>6.9999192637103693</c:v>
                </c:pt>
                <c:pt idx="12224">
                  <c:v>5.8619270726835326</c:v>
                </c:pt>
                <c:pt idx="12225">
                  <c:v>6.0137603000596824</c:v>
                </c:pt>
                <c:pt idx="12226">
                  <c:v>6.0880839553415083</c:v>
                </c:pt>
                <c:pt idx="12227">
                  <c:v>5.0475194725414312</c:v>
                </c:pt>
                <c:pt idx="12228">
                  <c:v>6.0215633115545248</c:v>
                </c:pt>
                <c:pt idx="12229">
                  <c:v>5.1581631193681261</c:v>
                </c:pt>
                <c:pt idx="12230">
                  <c:v>5.9474107259923139</c:v>
                </c:pt>
                <c:pt idx="12231">
                  <c:v>5.790091181325665</c:v>
                </c:pt>
                <c:pt idx="12232">
                  <c:v>6.1969049921523851</c:v>
                </c:pt>
                <c:pt idx="12233">
                  <c:v>6.077067682413988</c:v>
                </c:pt>
                <c:pt idx="12234">
                  <c:v>6.1015485071795146</c:v>
                </c:pt>
                <c:pt idx="12235">
                  <c:v>5.143368878094587</c:v>
                </c:pt>
                <c:pt idx="12236">
                  <c:v>5.9947932967870683</c:v>
                </c:pt>
                <c:pt idx="12237">
                  <c:v>6.0061142729267365</c:v>
                </c:pt>
                <c:pt idx="12238">
                  <c:v>5.991223825983603</c:v>
                </c:pt>
                <c:pt idx="12239">
                  <c:v>5.015402848136806</c:v>
                </c:pt>
                <c:pt idx="12240">
                  <c:v>5.8041557541726903</c:v>
                </c:pt>
                <c:pt idx="12241">
                  <c:v>5.0959153502629793</c:v>
                </c:pt>
                <c:pt idx="12242">
                  <c:v>5.8039082378063647</c:v>
                </c:pt>
                <c:pt idx="12243">
                  <c:v>5.9544259196827198</c:v>
                </c:pt>
                <c:pt idx="12244">
                  <c:v>8.9697964181873981</c:v>
                </c:pt>
                <c:pt idx="12245">
                  <c:v>8.0327085564418592</c:v>
                </c:pt>
                <c:pt idx="12246">
                  <c:v>4.9344589320427339</c:v>
                </c:pt>
                <c:pt idx="12247">
                  <c:v>6.0593985968063633</c:v>
                </c:pt>
                <c:pt idx="12248">
                  <c:v>1.9369471503582578</c:v>
                </c:pt>
                <c:pt idx="12249">
                  <c:v>5.8785046067998685</c:v>
                </c:pt>
                <c:pt idx="12250">
                  <c:v>5.8559691373964373</c:v>
                </c:pt>
                <c:pt idx="12251">
                  <c:v>5.9853679929706161</c:v>
                </c:pt>
                <c:pt idx="12252">
                  <c:v>5.8321638481219917</c:v>
                </c:pt>
                <c:pt idx="12253">
                  <c:v>5.9787339113470654</c:v>
                </c:pt>
                <c:pt idx="12254">
                  <c:v>6.0571547129514069</c:v>
                </c:pt>
                <c:pt idx="12255">
                  <c:v>6.0850660221061164</c:v>
                </c:pt>
                <c:pt idx="12256">
                  <c:v>5.7494972888722629</c:v>
                </c:pt>
                <c:pt idx="12257">
                  <c:v>5.0051082241391089</c:v>
                </c:pt>
                <c:pt idx="12258">
                  <c:v>6.9878823571347368</c:v>
                </c:pt>
                <c:pt idx="12259">
                  <c:v>5.975148670319725</c:v>
                </c:pt>
                <c:pt idx="12260">
                  <c:v>6.9835031546415749</c:v>
                </c:pt>
                <c:pt idx="12261">
                  <c:v>6.1097537775329229</c:v>
                </c:pt>
                <c:pt idx="12262">
                  <c:v>3.0978333897477532</c:v>
                </c:pt>
                <c:pt idx="12263">
                  <c:v>6.0493386463201162</c:v>
                </c:pt>
                <c:pt idx="12264">
                  <c:v>5.7684594748408919</c:v>
                </c:pt>
                <c:pt idx="12265">
                  <c:v>4.8620110512472507</c:v>
                </c:pt>
                <c:pt idx="12266">
                  <c:v>6.1171974212552689</c:v>
                </c:pt>
                <c:pt idx="12267">
                  <c:v>5.958866779336863</c:v>
                </c:pt>
                <c:pt idx="12268">
                  <c:v>4.8732561734563102</c:v>
                </c:pt>
                <c:pt idx="12269">
                  <c:v>5.0612767937649661</c:v>
                </c:pt>
                <c:pt idx="12270">
                  <c:v>5.9998241432845481</c:v>
                </c:pt>
                <c:pt idx="12271">
                  <c:v>4.8625736123723309</c:v>
                </c:pt>
                <c:pt idx="12272">
                  <c:v>6.020248583097537</c:v>
                </c:pt>
                <c:pt idx="12273">
                  <c:v>5.1194927266030756</c:v>
                </c:pt>
                <c:pt idx="12274">
                  <c:v>6.219820283232778</c:v>
                </c:pt>
                <c:pt idx="12275">
                  <c:v>5.0962522731779023</c:v>
                </c:pt>
                <c:pt idx="12276">
                  <c:v>4.8870757107827867</c:v>
                </c:pt>
                <c:pt idx="12277">
                  <c:v>6.0922160434778014</c:v>
                </c:pt>
                <c:pt idx="12278">
                  <c:v>5.0228766643857705</c:v>
                </c:pt>
                <c:pt idx="12279">
                  <c:v>5.9596683633989542</c:v>
                </c:pt>
                <c:pt idx="12280">
                  <c:v>5.9391291095543375</c:v>
                </c:pt>
                <c:pt idx="12281">
                  <c:v>5.0634108391916612</c:v>
                </c:pt>
                <c:pt idx="12282">
                  <c:v>7.1116165130467053</c:v>
                </c:pt>
                <c:pt idx="12283">
                  <c:v>5.0018967508273144</c:v>
                </c:pt>
                <c:pt idx="12284">
                  <c:v>5.9711941704912741</c:v>
                </c:pt>
                <c:pt idx="12285">
                  <c:v>5.0275657494490078</c:v>
                </c:pt>
                <c:pt idx="12286">
                  <c:v>6.1757670756444565</c:v>
                </c:pt>
                <c:pt idx="12287">
                  <c:v>6.0466869087593986</c:v>
                </c:pt>
                <c:pt idx="12288">
                  <c:v>6.090300167919815</c:v>
                </c:pt>
                <c:pt idx="12289">
                  <c:v>4.9686644158087194</c:v>
                </c:pt>
                <c:pt idx="12290">
                  <c:v>5.8893347966009637</c:v>
                </c:pt>
                <c:pt idx="12291">
                  <c:v>5.9936170845282124</c:v>
                </c:pt>
                <c:pt idx="12292">
                  <c:v>6.9091013117841031</c:v>
                </c:pt>
                <c:pt idx="12293">
                  <c:v>6.7417075635927315</c:v>
                </c:pt>
                <c:pt idx="12294">
                  <c:v>6.0174852280666347</c:v>
                </c:pt>
                <c:pt idx="12295">
                  <c:v>7.1062044201979795</c:v>
                </c:pt>
                <c:pt idx="12296">
                  <c:v>5.9933992272838559</c:v>
                </c:pt>
                <c:pt idx="12297">
                  <c:v>4.777302052541021</c:v>
                </c:pt>
                <c:pt idx="12298">
                  <c:v>5.8681049069772966</c:v>
                </c:pt>
                <c:pt idx="12299">
                  <c:v>5.9673711290265965</c:v>
                </c:pt>
                <c:pt idx="12300">
                  <c:v>5.897958969271536</c:v>
                </c:pt>
                <c:pt idx="12301">
                  <c:v>5.0828388867958854</c:v>
                </c:pt>
                <c:pt idx="12302">
                  <c:v>5.9071168700511167</c:v>
                </c:pt>
                <c:pt idx="12303">
                  <c:v>6.9200953484680845</c:v>
                </c:pt>
                <c:pt idx="12304">
                  <c:v>6.9751928856479282</c:v>
                </c:pt>
                <c:pt idx="12305">
                  <c:v>4.9922789810519621</c:v>
                </c:pt>
                <c:pt idx="12306">
                  <c:v>4.9559688136118787</c:v>
                </c:pt>
                <c:pt idx="12307">
                  <c:v>7.1414785011041788</c:v>
                </c:pt>
                <c:pt idx="12308">
                  <c:v>3.8186399037625778</c:v>
                </c:pt>
                <c:pt idx="12309">
                  <c:v>6.2083630930905498</c:v>
                </c:pt>
                <c:pt idx="12310">
                  <c:v>7.0192547137384711</c:v>
                </c:pt>
                <c:pt idx="12311">
                  <c:v>6.9891707276067487</c:v>
                </c:pt>
                <c:pt idx="12312">
                  <c:v>5.8570218525886162</c:v>
                </c:pt>
                <c:pt idx="12313">
                  <c:v>5.0634564150630457</c:v>
                </c:pt>
                <c:pt idx="12314">
                  <c:v>5.8789527817448972</c:v>
                </c:pt>
                <c:pt idx="12315">
                  <c:v>5.9339788885420468</c:v>
                </c:pt>
                <c:pt idx="12316">
                  <c:v>5.0393853381827913</c:v>
                </c:pt>
                <c:pt idx="12317">
                  <c:v>5.9592633245556073</c:v>
                </c:pt>
                <c:pt idx="12318">
                  <c:v>5.1202836796287245</c:v>
                </c:pt>
                <c:pt idx="12319">
                  <c:v>6.0479919437258411</c:v>
                </c:pt>
                <c:pt idx="12320">
                  <c:v>5.0075060588772544</c:v>
                </c:pt>
                <c:pt idx="12321">
                  <c:v>5.1848955912170576</c:v>
                </c:pt>
                <c:pt idx="12322">
                  <c:v>5.0642954412111845</c:v>
                </c:pt>
                <c:pt idx="12323">
                  <c:v>6.8987887664402834</c:v>
                </c:pt>
                <c:pt idx="12324">
                  <c:v>4.9116047575540396</c:v>
                </c:pt>
                <c:pt idx="12325">
                  <c:v>5.002423110305287</c:v>
                </c:pt>
                <c:pt idx="12326">
                  <c:v>5.1399859180145739</c:v>
                </c:pt>
                <c:pt idx="12327">
                  <c:v>5.0858363155121165</c:v>
                </c:pt>
                <c:pt idx="12328">
                  <c:v>6.0135189843913812</c:v>
                </c:pt>
                <c:pt idx="12329">
                  <c:v>4.9959232005116485</c:v>
                </c:pt>
                <c:pt idx="12330">
                  <c:v>5.9280280264670973</c:v>
                </c:pt>
                <c:pt idx="12331">
                  <c:v>4.8683197736206862</c:v>
                </c:pt>
                <c:pt idx="12332">
                  <c:v>5.0242818941648153</c:v>
                </c:pt>
                <c:pt idx="12333">
                  <c:v>5.0033055123421146</c:v>
                </c:pt>
                <c:pt idx="12334">
                  <c:v>6.0268423260209758</c:v>
                </c:pt>
                <c:pt idx="12335">
                  <c:v>5.0280330247633929</c:v>
                </c:pt>
                <c:pt idx="12336">
                  <c:v>5.3183378979566474</c:v>
                </c:pt>
                <c:pt idx="12337">
                  <c:v>4.9082061476020336</c:v>
                </c:pt>
                <c:pt idx="12338">
                  <c:v>4.851402618837759</c:v>
                </c:pt>
                <c:pt idx="12339">
                  <c:v>5.8912917542920376</c:v>
                </c:pt>
                <c:pt idx="12340">
                  <c:v>4.9523704473599066</c:v>
                </c:pt>
                <c:pt idx="12341">
                  <c:v>6.0170897304388857</c:v>
                </c:pt>
                <c:pt idx="12342">
                  <c:v>4.804206151904963</c:v>
                </c:pt>
                <c:pt idx="12343">
                  <c:v>6.0129499545422478</c:v>
                </c:pt>
                <c:pt idx="12344">
                  <c:v>4.9883721754583448</c:v>
                </c:pt>
                <c:pt idx="12345">
                  <c:v>7.0996820051636913</c:v>
                </c:pt>
                <c:pt idx="12346">
                  <c:v>5.9746314472981119</c:v>
                </c:pt>
                <c:pt idx="12347">
                  <c:v>5.0017324470976279</c:v>
                </c:pt>
                <c:pt idx="12348">
                  <c:v>4.1981168016853925</c:v>
                </c:pt>
                <c:pt idx="12349">
                  <c:v>6.124653731773587</c:v>
                </c:pt>
                <c:pt idx="12350">
                  <c:v>6.0140874550958934</c:v>
                </c:pt>
                <c:pt idx="12351">
                  <c:v>5.0166976553968752</c:v>
                </c:pt>
                <c:pt idx="12352">
                  <c:v>6.0975407928351375</c:v>
                </c:pt>
                <c:pt idx="12353">
                  <c:v>5.879272019711931</c:v>
                </c:pt>
                <c:pt idx="12354">
                  <c:v>6.2479484844326443</c:v>
                </c:pt>
                <c:pt idx="12355">
                  <c:v>6.0033623575380215</c:v>
                </c:pt>
                <c:pt idx="12356">
                  <c:v>6.0974092693720481</c:v>
                </c:pt>
                <c:pt idx="12357">
                  <c:v>6.0327838525557373</c:v>
                </c:pt>
                <c:pt idx="12358">
                  <c:v>6.0225066501306985</c:v>
                </c:pt>
                <c:pt idx="12359">
                  <c:v>5.1058538524096271</c:v>
                </c:pt>
                <c:pt idx="12360">
                  <c:v>4.9208119564868031</c:v>
                </c:pt>
                <c:pt idx="12361">
                  <c:v>5.1981074837677141</c:v>
                </c:pt>
                <c:pt idx="12362">
                  <c:v>5.0199067993409399</c:v>
                </c:pt>
                <c:pt idx="12363">
                  <c:v>5.0778023718654683</c:v>
                </c:pt>
                <c:pt idx="12364">
                  <c:v>6.0024932440738095</c:v>
                </c:pt>
                <c:pt idx="12365">
                  <c:v>5.0180238004589466</c:v>
                </c:pt>
                <c:pt idx="12366">
                  <c:v>6.0431528106325212</c:v>
                </c:pt>
                <c:pt idx="12367">
                  <c:v>6.0272941587928335</c:v>
                </c:pt>
                <c:pt idx="12368">
                  <c:v>5.8850185161792385</c:v>
                </c:pt>
                <c:pt idx="12369">
                  <c:v>5.9963141522678978</c:v>
                </c:pt>
                <c:pt idx="12370">
                  <c:v>6.0386362091673176</c:v>
                </c:pt>
                <c:pt idx="12371">
                  <c:v>5.9051101448748344</c:v>
                </c:pt>
                <c:pt idx="12372">
                  <c:v>5.1526174079907516</c:v>
                </c:pt>
                <c:pt idx="12373">
                  <c:v>6.1465264522958822</c:v>
                </c:pt>
                <c:pt idx="12374">
                  <c:v>5.9603325241000116</c:v>
                </c:pt>
                <c:pt idx="12375">
                  <c:v>4.9957224428232783</c:v>
                </c:pt>
                <c:pt idx="12376">
                  <c:v>5.8482790120143004</c:v>
                </c:pt>
                <c:pt idx="12377">
                  <c:v>4.9385480652099689</c:v>
                </c:pt>
                <c:pt idx="12378">
                  <c:v>5.9763986325793859</c:v>
                </c:pt>
                <c:pt idx="12379">
                  <c:v>6.0520601196750654</c:v>
                </c:pt>
                <c:pt idx="12380">
                  <c:v>7.1069613757301626</c:v>
                </c:pt>
                <c:pt idx="12381">
                  <c:v>5.0068926707346142</c:v>
                </c:pt>
                <c:pt idx="12382">
                  <c:v>6.0263142831136882</c:v>
                </c:pt>
                <c:pt idx="12383">
                  <c:v>5.984989434329461</c:v>
                </c:pt>
                <c:pt idx="12384">
                  <c:v>6.0236589831550624</c:v>
                </c:pt>
                <c:pt idx="12385">
                  <c:v>6.0655918780057654</c:v>
                </c:pt>
                <c:pt idx="12386">
                  <c:v>6.9578662324070537</c:v>
                </c:pt>
                <c:pt idx="12387">
                  <c:v>5.9981034745063795</c:v>
                </c:pt>
                <c:pt idx="12388">
                  <c:v>6.9445883179823813</c:v>
                </c:pt>
                <c:pt idx="12389">
                  <c:v>5.8698540800718861</c:v>
                </c:pt>
                <c:pt idx="12390">
                  <c:v>6.1359989570357962</c:v>
                </c:pt>
                <c:pt idx="12391">
                  <c:v>5.9567679891124659</c:v>
                </c:pt>
                <c:pt idx="12392">
                  <c:v>4.8334318355260599</c:v>
                </c:pt>
                <c:pt idx="12393">
                  <c:v>6.8444216249541112</c:v>
                </c:pt>
                <c:pt idx="12394">
                  <c:v>6.018963244347054</c:v>
                </c:pt>
                <c:pt idx="12395">
                  <c:v>6.0380304480649389</c:v>
                </c:pt>
                <c:pt idx="12396">
                  <c:v>6.9213604863486333</c:v>
                </c:pt>
                <c:pt idx="12397">
                  <c:v>5.9584260901135968</c:v>
                </c:pt>
                <c:pt idx="12398">
                  <c:v>6.0111142396596948</c:v>
                </c:pt>
                <c:pt idx="12399">
                  <c:v>4.8435305267248392</c:v>
                </c:pt>
                <c:pt idx="12400">
                  <c:v>5.9883404000983287</c:v>
                </c:pt>
                <c:pt idx="12401">
                  <c:v>5.8247419149032584</c:v>
                </c:pt>
                <c:pt idx="12402">
                  <c:v>5.9082399799507304</c:v>
                </c:pt>
                <c:pt idx="12403">
                  <c:v>5.9660905013998855</c:v>
                </c:pt>
                <c:pt idx="12404">
                  <c:v>7.032496402379194</c:v>
                </c:pt>
                <c:pt idx="12405">
                  <c:v>5.9735864064307949</c:v>
                </c:pt>
                <c:pt idx="12406">
                  <c:v>6.9715724023164336</c:v>
                </c:pt>
                <c:pt idx="12407">
                  <c:v>6.0764756371132718</c:v>
                </c:pt>
                <c:pt idx="12408">
                  <c:v>6.0215945279159522</c:v>
                </c:pt>
                <c:pt idx="12409">
                  <c:v>4.9493748356535701</c:v>
                </c:pt>
                <c:pt idx="12410">
                  <c:v>5.8941440970709902</c:v>
                </c:pt>
                <c:pt idx="12411">
                  <c:v>6.1437097792289865</c:v>
                </c:pt>
                <c:pt idx="12412">
                  <c:v>6.1426867924105819</c:v>
                </c:pt>
                <c:pt idx="12413">
                  <c:v>6.0168249700843175</c:v>
                </c:pt>
                <c:pt idx="12414">
                  <c:v>6.0629232743246844</c:v>
                </c:pt>
                <c:pt idx="12415">
                  <c:v>6.0535033744676321</c:v>
                </c:pt>
                <c:pt idx="12416">
                  <c:v>6.0580487112256129</c:v>
                </c:pt>
                <c:pt idx="12417">
                  <c:v>5.7662145259117024</c:v>
                </c:pt>
                <c:pt idx="12418">
                  <c:v>6.131084846700622</c:v>
                </c:pt>
                <c:pt idx="12419">
                  <c:v>5.8711834840976111</c:v>
                </c:pt>
                <c:pt idx="12420">
                  <c:v>7.0677205881458347</c:v>
                </c:pt>
                <c:pt idx="12421">
                  <c:v>6.0259738804093725</c:v>
                </c:pt>
                <c:pt idx="12422">
                  <c:v>5.9094912257137695</c:v>
                </c:pt>
                <c:pt idx="12423">
                  <c:v>5.8567226232068794</c:v>
                </c:pt>
                <c:pt idx="12424">
                  <c:v>6.1275615223941138</c:v>
                </c:pt>
                <c:pt idx="12425">
                  <c:v>5.9700291983964489</c:v>
                </c:pt>
                <c:pt idx="12426">
                  <c:v>5.8757550733487349</c:v>
                </c:pt>
                <c:pt idx="12427">
                  <c:v>6.0238955785364254</c:v>
                </c:pt>
                <c:pt idx="12428">
                  <c:v>6.8593787374901227</c:v>
                </c:pt>
                <c:pt idx="12429">
                  <c:v>6.0022244570501631</c:v>
                </c:pt>
                <c:pt idx="12430">
                  <c:v>7.1869129293068728</c:v>
                </c:pt>
                <c:pt idx="12431">
                  <c:v>5.8958324824606558</c:v>
                </c:pt>
                <c:pt idx="12432">
                  <c:v>6.0741282445414519</c:v>
                </c:pt>
                <c:pt idx="12433">
                  <c:v>5.825252297726685</c:v>
                </c:pt>
                <c:pt idx="12434">
                  <c:v>5.0855530740869481</c:v>
                </c:pt>
                <c:pt idx="12435">
                  <c:v>3.8269730225027225</c:v>
                </c:pt>
                <c:pt idx="12436">
                  <c:v>6.0678095234678739</c:v>
                </c:pt>
                <c:pt idx="12437">
                  <c:v>4.1756300779893341</c:v>
                </c:pt>
                <c:pt idx="12438">
                  <c:v>5.9112141512277709</c:v>
                </c:pt>
                <c:pt idx="12439">
                  <c:v>6.0948923086311195</c:v>
                </c:pt>
                <c:pt idx="12440">
                  <c:v>5.1256538909121234</c:v>
                </c:pt>
                <c:pt idx="12441">
                  <c:v>6.0810546802003671</c:v>
                </c:pt>
                <c:pt idx="12442">
                  <c:v>4.0795317467708765</c:v>
                </c:pt>
                <c:pt idx="12443">
                  <c:v>6.050066713136248</c:v>
                </c:pt>
                <c:pt idx="12444">
                  <c:v>6.0775429022280676</c:v>
                </c:pt>
                <c:pt idx="12445">
                  <c:v>6.0220228506930287</c:v>
                </c:pt>
                <c:pt idx="12446">
                  <c:v>6.1116734405239468</c:v>
                </c:pt>
                <c:pt idx="12447">
                  <c:v>7.0359037564182092</c:v>
                </c:pt>
                <c:pt idx="12448">
                  <c:v>4.8417474555848914</c:v>
                </c:pt>
                <c:pt idx="12449">
                  <c:v>6.205809831771707</c:v>
                </c:pt>
                <c:pt idx="12450">
                  <c:v>7.0677875264616583</c:v>
                </c:pt>
                <c:pt idx="12451">
                  <c:v>5.9346433587132399</c:v>
                </c:pt>
                <c:pt idx="12452">
                  <c:v>5.018100837800926</c:v>
                </c:pt>
                <c:pt idx="12453">
                  <c:v>6.0757487553870879</c:v>
                </c:pt>
                <c:pt idx="12454">
                  <c:v>6.06170407715544</c:v>
                </c:pt>
                <c:pt idx="12455">
                  <c:v>6.0500880466007665</c:v>
                </c:pt>
                <c:pt idx="12456">
                  <c:v>5.990543945346559</c:v>
                </c:pt>
                <c:pt idx="12457">
                  <c:v>3.8404232916354863</c:v>
                </c:pt>
                <c:pt idx="12458">
                  <c:v>6.9079131313399573</c:v>
                </c:pt>
                <c:pt idx="12459">
                  <c:v>5.9970751259004258</c:v>
                </c:pt>
                <c:pt idx="12460">
                  <c:v>6.9595786925820962</c:v>
                </c:pt>
                <c:pt idx="12461">
                  <c:v>6.1267719536005405</c:v>
                </c:pt>
                <c:pt idx="12462">
                  <c:v>4.8655516512264008</c:v>
                </c:pt>
                <c:pt idx="12463">
                  <c:v>5.9854568875558831</c:v>
                </c:pt>
                <c:pt idx="12464">
                  <c:v>5.9192379401195394</c:v>
                </c:pt>
                <c:pt idx="12465">
                  <c:v>5.9642565371848901</c:v>
                </c:pt>
                <c:pt idx="12466">
                  <c:v>7.2506500577139015</c:v>
                </c:pt>
                <c:pt idx="12467">
                  <c:v>5.981351942958776</c:v>
                </c:pt>
                <c:pt idx="12468">
                  <c:v>5.0143956607034035</c:v>
                </c:pt>
                <c:pt idx="12469">
                  <c:v>6.9843231967671464</c:v>
                </c:pt>
                <c:pt idx="12470">
                  <c:v>5.0503812545813958</c:v>
                </c:pt>
                <c:pt idx="12471">
                  <c:v>4.9370131918513929</c:v>
                </c:pt>
                <c:pt idx="12472">
                  <c:v>5.9315808380246819</c:v>
                </c:pt>
                <c:pt idx="12473">
                  <c:v>5.9450560557607037</c:v>
                </c:pt>
                <c:pt idx="12474">
                  <c:v>6.9842800642512426</c:v>
                </c:pt>
                <c:pt idx="12475">
                  <c:v>6.9620292719386994</c:v>
                </c:pt>
                <c:pt idx="12476">
                  <c:v>6.0870061011120562</c:v>
                </c:pt>
                <c:pt idx="12477">
                  <c:v>4.9536406278191745</c:v>
                </c:pt>
                <c:pt idx="12478">
                  <c:v>5.9772186023648741</c:v>
                </c:pt>
                <c:pt idx="12479">
                  <c:v>6.9315125071804111</c:v>
                </c:pt>
                <c:pt idx="12480">
                  <c:v>6.0847438775694824</c:v>
                </c:pt>
                <c:pt idx="12481">
                  <c:v>5.9726849031352156</c:v>
                </c:pt>
                <c:pt idx="12482">
                  <c:v>7.0942791212587295</c:v>
                </c:pt>
                <c:pt idx="12483">
                  <c:v>6.9301045142268096</c:v>
                </c:pt>
                <c:pt idx="12484">
                  <c:v>4.9603410520520992</c:v>
                </c:pt>
                <c:pt idx="12485">
                  <c:v>5.9159489532764189</c:v>
                </c:pt>
                <c:pt idx="12486">
                  <c:v>7.0573888721046574</c:v>
                </c:pt>
                <c:pt idx="12487">
                  <c:v>5.9069732564007253</c:v>
                </c:pt>
                <c:pt idx="12488">
                  <c:v>4.9909118611068637</c:v>
                </c:pt>
                <c:pt idx="12489">
                  <c:v>4.8657084333300729</c:v>
                </c:pt>
                <c:pt idx="12490">
                  <c:v>7.1383629276669502</c:v>
                </c:pt>
                <c:pt idx="12491">
                  <c:v>5.9700854820467173</c:v>
                </c:pt>
                <c:pt idx="12492">
                  <c:v>5.9333495261469427</c:v>
                </c:pt>
                <c:pt idx="12493">
                  <c:v>6.9836965705761784</c:v>
                </c:pt>
                <c:pt idx="12494">
                  <c:v>6.0201124368195789</c:v>
                </c:pt>
                <c:pt idx="12495">
                  <c:v>7.0187883969785014</c:v>
                </c:pt>
                <c:pt idx="12496">
                  <c:v>6.1348928208380489</c:v>
                </c:pt>
                <c:pt idx="12497">
                  <c:v>5.8162807930870599</c:v>
                </c:pt>
                <c:pt idx="12498">
                  <c:v>7.0977451739077448</c:v>
                </c:pt>
                <c:pt idx="12499">
                  <c:v>6.1112436907175089</c:v>
                </c:pt>
                <c:pt idx="12500">
                  <c:v>7.0341902754338372</c:v>
                </c:pt>
                <c:pt idx="12501">
                  <c:v>7.0717192205019526</c:v>
                </c:pt>
                <c:pt idx="12502">
                  <c:v>6.9888494295636141</c:v>
                </c:pt>
                <c:pt idx="12503">
                  <c:v>5.9488457455572936</c:v>
                </c:pt>
                <c:pt idx="12504">
                  <c:v>6.8926288128118705</c:v>
                </c:pt>
                <c:pt idx="12505">
                  <c:v>6.7914553202174535</c:v>
                </c:pt>
                <c:pt idx="12506">
                  <c:v>6.9291520150946821</c:v>
                </c:pt>
                <c:pt idx="12507">
                  <c:v>5.9970985038957636</c:v>
                </c:pt>
                <c:pt idx="12508">
                  <c:v>6.1049183312270401</c:v>
                </c:pt>
                <c:pt idx="12509">
                  <c:v>3.9263915675200498</c:v>
                </c:pt>
                <c:pt idx="12510">
                  <c:v>6.0337959120350781</c:v>
                </c:pt>
                <c:pt idx="12511">
                  <c:v>6.8895703700418647</c:v>
                </c:pt>
                <c:pt idx="12512">
                  <c:v>7.1621296140667488</c:v>
                </c:pt>
                <c:pt idx="12513">
                  <c:v>6.9996457502806342</c:v>
                </c:pt>
                <c:pt idx="12514">
                  <c:v>3.0533032506038471</c:v>
                </c:pt>
                <c:pt idx="12515">
                  <c:v>6.1417582254162131</c:v>
                </c:pt>
                <c:pt idx="12516">
                  <c:v>7.0449373209042241</c:v>
                </c:pt>
                <c:pt idx="12517">
                  <c:v>6.9521504808440655</c:v>
                </c:pt>
                <c:pt idx="12518">
                  <c:v>5.0183721449420862</c:v>
                </c:pt>
                <c:pt idx="12519">
                  <c:v>6.0781998100523777</c:v>
                </c:pt>
                <c:pt idx="12520">
                  <c:v>5.951734599251929</c:v>
                </c:pt>
                <c:pt idx="12521">
                  <c:v>6.0560543707897958</c:v>
                </c:pt>
                <c:pt idx="12522">
                  <c:v>4.8561330856166993</c:v>
                </c:pt>
                <c:pt idx="12523">
                  <c:v>5.9345603951306929</c:v>
                </c:pt>
                <c:pt idx="12524">
                  <c:v>6.7978689691471468</c:v>
                </c:pt>
                <c:pt idx="12525">
                  <c:v>6.0625436628862897</c:v>
                </c:pt>
                <c:pt idx="12526">
                  <c:v>4.9827217773634604</c:v>
                </c:pt>
                <c:pt idx="12527">
                  <c:v>6.0304847131003747</c:v>
                </c:pt>
                <c:pt idx="12528">
                  <c:v>5.8650973291304567</c:v>
                </c:pt>
                <c:pt idx="12529">
                  <c:v>5.0700090580334694</c:v>
                </c:pt>
                <c:pt idx="12530">
                  <c:v>5.8726949925297216</c:v>
                </c:pt>
                <c:pt idx="12531">
                  <c:v>5.0330976817454465</c:v>
                </c:pt>
                <c:pt idx="12532">
                  <c:v>5.0407771863918605</c:v>
                </c:pt>
                <c:pt idx="12533">
                  <c:v>6.1104729271173044</c:v>
                </c:pt>
                <c:pt idx="12534">
                  <c:v>5.9106466146923822</c:v>
                </c:pt>
                <c:pt idx="12535">
                  <c:v>6.1608241847917808</c:v>
                </c:pt>
                <c:pt idx="12536">
                  <c:v>6.053590674879036</c:v>
                </c:pt>
                <c:pt idx="12537">
                  <c:v>6.9282250794592386</c:v>
                </c:pt>
                <c:pt idx="12538">
                  <c:v>6.0769938977058642</c:v>
                </c:pt>
                <c:pt idx="12539">
                  <c:v>5.8905298693693116</c:v>
                </c:pt>
                <c:pt idx="12540">
                  <c:v>6.0059675197137379</c:v>
                </c:pt>
                <c:pt idx="12541">
                  <c:v>6.0945529847674083</c:v>
                </c:pt>
                <c:pt idx="12542">
                  <c:v>1.9444771351321299</c:v>
                </c:pt>
                <c:pt idx="12543">
                  <c:v>5.8366687187289923</c:v>
                </c:pt>
                <c:pt idx="12544">
                  <c:v>6.3239402387660668</c:v>
                </c:pt>
                <c:pt idx="12545">
                  <c:v>6.9774121344182944</c:v>
                </c:pt>
                <c:pt idx="12546">
                  <c:v>5.0667000266821436</c:v>
                </c:pt>
                <c:pt idx="12547">
                  <c:v>5.9626460912327595</c:v>
                </c:pt>
                <c:pt idx="12548">
                  <c:v>7.1693857186145395</c:v>
                </c:pt>
                <c:pt idx="12549">
                  <c:v>6.0277078134265585</c:v>
                </c:pt>
                <c:pt idx="12550">
                  <c:v>6.0962296961757048</c:v>
                </c:pt>
                <c:pt idx="12551">
                  <c:v>5.8800630745036582</c:v>
                </c:pt>
                <c:pt idx="12552">
                  <c:v>6.1372102193592921</c:v>
                </c:pt>
                <c:pt idx="12553">
                  <c:v>6.8764704747095093</c:v>
                </c:pt>
                <c:pt idx="12554">
                  <c:v>2.1861048549222044</c:v>
                </c:pt>
                <c:pt idx="12555">
                  <c:v>5.9952060671323588</c:v>
                </c:pt>
                <c:pt idx="12556">
                  <c:v>6.0193470672033076</c:v>
                </c:pt>
                <c:pt idx="12557">
                  <c:v>4.9791072779773966</c:v>
                </c:pt>
                <c:pt idx="12558">
                  <c:v>5.9737174766364207</c:v>
                </c:pt>
                <c:pt idx="12559">
                  <c:v>6.1195493719708294</c:v>
                </c:pt>
                <c:pt idx="12560">
                  <c:v>5.8956641511202061</c:v>
                </c:pt>
                <c:pt idx="12561">
                  <c:v>5.8325529377932384</c:v>
                </c:pt>
                <c:pt idx="12562">
                  <c:v>6.0621872556309091</c:v>
                </c:pt>
                <c:pt idx="12563">
                  <c:v>5.8561129542094719</c:v>
                </c:pt>
                <c:pt idx="12564">
                  <c:v>6.2943603292040136</c:v>
                </c:pt>
                <c:pt idx="12565">
                  <c:v>6.0034051585482171</c:v>
                </c:pt>
                <c:pt idx="12566">
                  <c:v>6.1559974934685027</c:v>
                </c:pt>
                <c:pt idx="12567">
                  <c:v>5.8672310118208362</c:v>
                </c:pt>
                <c:pt idx="12568">
                  <c:v>5.9401591770838706</c:v>
                </c:pt>
                <c:pt idx="12569">
                  <c:v>5.963079742083278</c:v>
                </c:pt>
                <c:pt idx="12570">
                  <c:v>5.0078945950724485</c:v>
                </c:pt>
                <c:pt idx="12571">
                  <c:v>6.0177430336588911</c:v>
                </c:pt>
                <c:pt idx="12572">
                  <c:v>4.880816111180037</c:v>
                </c:pt>
                <c:pt idx="12573">
                  <c:v>6.0248796949304477</c:v>
                </c:pt>
                <c:pt idx="12574">
                  <c:v>5.0280860738682147</c:v>
                </c:pt>
                <c:pt idx="12575">
                  <c:v>6.9729959159643364</c:v>
                </c:pt>
                <c:pt idx="12576">
                  <c:v>5.9896893789371788</c:v>
                </c:pt>
                <c:pt idx="12577">
                  <c:v>6.0906777505212988</c:v>
                </c:pt>
                <c:pt idx="12578">
                  <c:v>6.7371432976861314</c:v>
                </c:pt>
                <c:pt idx="12579">
                  <c:v>5.9307173656251528</c:v>
                </c:pt>
                <c:pt idx="12580">
                  <c:v>6.1708736857354864</c:v>
                </c:pt>
                <c:pt idx="12581">
                  <c:v>5.886813209769536</c:v>
                </c:pt>
                <c:pt idx="12582">
                  <c:v>5.9363015073802483</c:v>
                </c:pt>
                <c:pt idx="12583">
                  <c:v>6.0676692180464959</c:v>
                </c:pt>
                <c:pt idx="12584">
                  <c:v>5.9195732702292894</c:v>
                </c:pt>
                <c:pt idx="12585">
                  <c:v>5.8612206181971001</c:v>
                </c:pt>
                <c:pt idx="12586">
                  <c:v>5.8386580435757454</c:v>
                </c:pt>
                <c:pt idx="12587">
                  <c:v>6.0149330780596779</c:v>
                </c:pt>
                <c:pt idx="12588">
                  <c:v>6.0162980490043898</c:v>
                </c:pt>
                <c:pt idx="12589">
                  <c:v>6.0559946862119078</c:v>
                </c:pt>
                <c:pt idx="12590">
                  <c:v>5.7993783812223958</c:v>
                </c:pt>
                <c:pt idx="12591">
                  <c:v>6.9525935120704085</c:v>
                </c:pt>
                <c:pt idx="12592">
                  <c:v>4.0752358930515822</c:v>
                </c:pt>
                <c:pt idx="12593">
                  <c:v>5.8467269325469031</c:v>
                </c:pt>
                <c:pt idx="12594">
                  <c:v>5.9021736357879888</c:v>
                </c:pt>
                <c:pt idx="12595">
                  <c:v>6.0787814333319101</c:v>
                </c:pt>
                <c:pt idx="12596">
                  <c:v>6.1103340432458522</c:v>
                </c:pt>
                <c:pt idx="12597">
                  <c:v>6.1158979986223452</c:v>
                </c:pt>
                <c:pt idx="12598">
                  <c:v>5.9546514695331938</c:v>
                </c:pt>
                <c:pt idx="12599">
                  <c:v>5.9387889620214356</c:v>
                </c:pt>
                <c:pt idx="12600">
                  <c:v>5.8591793943855697</c:v>
                </c:pt>
                <c:pt idx="12601">
                  <c:v>5.9755095795865341</c:v>
                </c:pt>
                <c:pt idx="12602">
                  <c:v>5.8776707030901427</c:v>
                </c:pt>
                <c:pt idx="12603">
                  <c:v>6.139659592453194</c:v>
                </c:pt>
                <c:pt idx="12604">
                  <c:v>6.9618562786093001</c:v>
                </c:pt>
                <c:pt idx="12605">
                  <c:v>5.9980262127018298</c:v>
                </c:pt>
                <c:pt idx="12606">
                  <c:v>6.0449834867042682</c:v>
                </c:pt>
                <c:pt idx="12607">
                  <c:v>6.9241699756238244</c:v>
                </c:pt>
                <c:pt idx="12608">
                  <c:v>6.0626676041726437</c:v>
                </c:pt>
                <c:pt idx="12609">
                  <c:v>5.8310983186727077</c:v>
                </c:pt>
                <c:pt idx="12610">
                  <c:v>5.8499801302425558</c:v>
                </c:pt>
                <c:pt idx="12611">
                  <c:v>5.8863490289588665</c:v>
                </c:pt>
                <c:pt idx="12612">
                  <c:v>6.1936783741300587</c:v>
                </c:pt>
                <c:pt idx="12613">
                  <c:v>5.9932773660295178</c:v>
                </c:pt>
                <c:pt idx="12614">
                  <c:v>6.0080804099803986</c:v>
                </c:pt>
                <c:pt idx="12615">
                  <c:v>6.0561149795766509</c:v>
                </c:pt>
                <c:pt idx="12616">
                  <c:v>6.1358861914006777</c:v>
                </c:pt>
                <c:pt idx="12617">
                  <c:v>5.8826563055667709</c:v>
                </c:pt>
                <c:pt idx="12618">
                  <c:v>6.0204089434773467</c:v>
                </c:pt>
                <c:pt idx="12619">
                  <c:v>6.1203960890602129</c:v>
                </c:pt>
                <c:pt idx="12620">
                  <c:v>6.6696032514314787</c:v>
                </c:pt>
                <c:pt idx="12621">
                  <c:v>6.0822771785007106</c:v>
                </c:pt>
                <c:pt idx="12622">
                  <c:v>6.1773772275438308</c:v>
                </c:pt>
                <c:pt idx="12623">
                  <c:v>6.7976880761366356</c:v>
                </c:pt>
                <c:pt idx="12624">
                  <c:v>3.0269737410496664</c:v>
                </c:pt>
                <c:pt idx="12625">
                  <c:v>7.0786278353117726</c:v>
                </c:pt>
                <c:pt idx="12626">
                  <c:v>6.1515952184995637</c:v>
                </c:pt>
                <c:pt idx="12627">
                  <c:v>7.0265679740663947</c:v>
                </c:pt>
                <c:pt idx="12628">
                  <c:v>5.997413032325615</c:v>
                </c:pt>
                <c:pt idx="12629">
                  <c:v>5.8477492433427978</c:v>
                </c:pt>
                <c:pt idx="12630">
                  <c:v>6.0285402314796848</c:v>
                </c:pt>
                <c:pt idx="12631">
                  <c:v>5.8869408892892601</c:v>
                </c:pt>
                <c:pt idx="12632">
                  <c:v>6.0192069697734629</c:v>
                </c:pt>
                <c:pt idx="12633">
                  <c:v>6.0950656526248608</c:v>
                </c:pt>
                <c:pt idx="12634">
                  <c:v>5.8895283755333745</c:v>
                </c:pt>
                <c:pt idx="12635">
                  <c:v>6.1067655015510747</c:v>
                </c:pt>
                <c:pt idx="12636">
                  <c:v>6.0438264812721165</c:v>
                </c:pt>
                <c:pt idx="12637">
                  <c:v>6.0919549088735314</c:v>
                </c:pt>
                <c:pt idx="12638">
                  <c:v>6.1128436437886009</c:v>
                </c:pt>
                <c:pt idx="12639">
                  <c:v>6.0371399707814559</c:v>
                </c:pt>
                <c:pt idx="12640">
                  <c:v>6.154492464412364</c:v>
                </c:pt>
                <c:pt idx="12641">
                  <c:v>5.9552051720499311</c:v>
                </c:pt>
                <c:pt idx="12642">
                  <c:v>6.0676362667105428</c:v>
                </c:pt>
                <c:pt idx="12643">
                  <c:v>5.9802761376342213</c:v>
                </c:pt>
                <c:pt idx="12644">
                  <c:v>5.0629710207567724</c:v>
                </c:pt>
                <c:pt idx="12645">
                  <c:v>6.1565268765005046</c:v>
                </c:pt>
                <c:pt idx="12646">
                  <c:v>6.0303720260529543</c:v>
                </c:pt>
                <c:pt idx="12647">
                  <c:v>6.9732326524726664</c:v>
                </c:pt>
                <c:pt idx="12648">
                  <c:v>6.9356138594164145</c:v>
                </c:pt>
                <c:pt idx="12649">
                  <c:v>5.8663647406681454</c:v>
                </c:pt>
                <c:pt idx="12650">
                  <c:v>6.1123683699984701</c:v>
                </c:pt>
                <c:pt idx="12651">
                  <c:v>5.0002850993163523</c:v>
                </c:pt>
                <c:pt idx="12652">
                  <c:v>4.017703542072744</c:v>
                </c:pt>
                <c:pt idx="12653">
                  <c:v>3.9222297218111644</c:v>
                </c:pt>
                <c:pt idx="12654">
                  <c:v>5.897116104167238</c:v>
                </c:pt>
                <c:pt idx="12655">
                  <c:v>7.1644864234994179</c:v>
                </c:pt>
                <c:pt idx="12656">
                  <c:v>5.0736765198485765</c:v>
                </c:pt>
                <c:pt idx="12657">
                  <c:v>6.0452188367573312</c:v>
                </c:pt>
                <c:pt idx="12658">
                  <c:v>6.0642173820719432</c:v>
                </c:pt>
                <c:pt idx="12659">
                  <c:v>5.004812211522875</c:v>
                </c:pt>
                <c:pt idx="12660">
                  <c:v>5.0918384348814021</c:v>
                </c:pt>
                <c:pt idx="12661">
                  <c:v>5.9177658302905156</c:v>
                </c:pt>
                <c:pt idx="12662">
                  <c:v>4.9452411259560112</c:v>
                </c:pt>
                <c:pt idx="12663">
                  <c:v>6.1157249052648259</c:v>
                </c:pt>
                <c:pt idx="12664">
                  <c:v>6.0320558279728518</c:v>
                </c:pt>
                <c:pt idx="12665">
                  <c:v>4.9386415199736415</c:v>
                </c:pt>
                <c:pt idx="12666">
                  <c:v>5.943723422475558</c:v>
                </c:pt>
                <c:pt idx="12667">
                  <c:v>7.0692576016358393</c:v>
                </c:pt>
                <c:pt idx="12668">
                  <c:v>5.9673659061460951</c:v>
                </c:pt>
                <c:pt idx="12669">
                  <c:v>6.9755155566703078</c:v>
                </c:pt>
                <c:pt idx="12670">
                  <c:v>4.872169731235295</c:v>
                </c:pt>
                <c:pt idx="12671">
                  <c:v>4.9348931735159116</c:v>
                </c:pt>
                <c:pt idx="12672">
                  <c:v>5.98026771911948</c:v>
                </c:pt>
                <c:pt idx="12673">
                  <c:v>6.0657782694687015</c:v>
                </c:pt>
                <c:pt idx="12674">
                  <c:v>5.1181897551515405</c:v>
                </c:pt>
                <c:pt idx="12675">
                  <c:v>6.0734669709654598</c:v>
                </c:pt>
                <c:pt idx="12676">
                  <c:v>6.122984246826654</c:v>
                </c:pt>
                <c:pt idx="12677">
                  <c:v>5.9095423077091827</c:v>
                </c:pt>
                <c:pt idx="12678">
                  <c:v>5.8793470802112244</c:v>
                </c:pt>
                <c:pt idx="12679">
                  <c:v>7.0437350373457059</c:v>
                </c:pt>
                <c:pt idx="12680">
                  <c:v>7.0381617188990084</c:v>
                </c:pt>
                <c:pt idx="12681">
                  <c:v>7.0991960712011331</c:v>
                </c:pt>
                <c:pt idx="12682">
                  <c:v>6.9624281280167439</c:v>
                </c:pt>
                <c:pt idx="12683">
                  <c:v>5.9278897500334917</c:v>
                </c:pt>
                <c:pt idx="12684">
                  <c:v>7.0345319739540066</c:v>
                </c:pt>
                <c:pt idx="12685">
                  <c:v>5.8477395404025527</c:v>
                </c:pt>
                <c:pt idx="12686">
                  <c:v>6.045866667913141</c:v>
                </c:pt>
                <c:pt idx="12687">
                  <c:v>6.1226534169492286</c:v>
                </c:pt>
                <c:pt idx="12688">
                  <c:v>6.0669669113346716</c:v>
                </c:pt>
                <c:pt idx="12689">
                  <c:v>6.0147184640897402</c:v>
                </c:pt>
                <c:pt idx="12690">
                  <c:v>5.9301001082011844</c:v>
                </c:pt>
                <c:pt idx="12691">
                  <c:v>4.9953426413430577</c:v>
                </c:pt>
                <c:pt idx="12692">
                  <c:v>6.0414879231445004</c:v>
                </c:pt>
                <c:pt idx="12693">
                  <c:v>5.8123329304592035</c:v>
                </c:pt>
                <c:pt idx="12694">
                  <c:v>5.8971475962533715</c:v>
                </c:pt>
                <c:pt idx="12695">
                  <c:v>6.0662297363024829</c:v>
                </c:pt>
                <c:pt idx="12696">
                  <c:v>6.1654970849832829</c:v>
                </c:pt>
                <c:pt idx="12697">
                  <c:v>5.9447833852030838</c:v>
                </c:pt>
                <c:pt idx="12698">
                  <c:v>5.8826305017787091</c:v>
                </c:pt>
                <c:pt idx="12699">
                  <c:v>6.0269533795047847</c:v>
                </c:pt>
                <c:pt idx="12700">
                  <c:v>5.0018401228886198</c:v>
                </c:pt>
                <c:pt idx="12701">
                  <c:v>5.9782955394904276</c:v>
                </c:pt>
                <c:pt idx="12702">
                  <c:v>7.0073104870721847</c:v>
                </c:pt>
                <c:pt idx="12703">
                  <c:v>5.9278119851193658</c:v>
                </c:pt>
                <c:pt idx="12704">
                  <c:v>5.9665642055665602</c:v>
                </c:pt>
                <c:pt idx="12705">
                  <c:v>4.9075114761661673</c:v>
                </c:pt>
                <c:pt idx="12706">
                  <c:v>5.909836848397406</c:v>
                </c:pt>
                <c:pt idx="12707">
                  <c:v>6.0658854310799306</c:v>
                </c:pt>
                <c:pt idx="12708">
                  <c:v>5.92431434971689</c:v>
                </c:pt>
                <c:pt idx="12709">
                  <c:v>6.9600979619186019</c:v>
                </c:pt>
                <c:pt idx="12710">
                  <c:v>6.0032700582475407</c:v>
                </c:pt>
                <c:pt idx="12711">
                  <c:v>6.0032907406223925</c:v>
                </c:pt>
                <c:pt idx="12712">
                  <c:v>5.981100064189766</c:v>
                </c:pt>
                <c:pt idx="12713">
                  <c:v>6.1168398569443081</c:v>
                </c:pt>
                <c:pt idx="12714">
                  <c:v>6.1409091196987982</c:v>
                </c:pt>
                <c:pt idx="12715">
                  <c:v>5.0956300513233641</c:v>
                </c:pt>
                <c:pt idx="12716">
                  <c:v>5.9069240284394722</c:v>
                </c:pt>
                <c:pt idx="12717">
                  <c:v>5.9178110068597336</c:v>
                </c:pt>
                <c:pt idx="12718">
                  <c:v>6.1184839803740774</c:v>
                </c:pt>
                <c:pt idx="12719">
                  <c:v>4.9602749504803603</c:v>
                </c:pt>
                <c:pt idx="12720">
                  <c:v>6.0513757172422222</c:v>
                </c:pt>
                <c:pt idx="12721">
                  <c:v>7.0095139871802559</c:v>
                </c:pt>
                <c:pt idx="12722">
                  <c:v>6.1212141911846141</c:v>
                </c:pt>
                <c:pt idx="12723">
                  <c:v>6.0434613865304279</c:v>
                </c:pt>
                <c:pt idx="12724">
                  <c:v>6.2425671952820636</c:v>
                </c:pt>
                <c:pt idx="12725">
                  <c:v>5.9933474644265274</c:v>
                </c:pt>
                <c:pt idx="12726">
                  <c:v>6.1564388002791191</c:v>
                </c:pt>
                <c:pt idx="12727">
                  <c:v>5.9765162997110437</c:v>
                </c:pt>
                <c:pt idx="12728">
                  <c:v>5.8855668449705689</c:v>
                </c:pt>
                <c:pt idx="12729">
                  <c:v>4.9642499126818933</c:v>
                </c:pt>
                <c:pt idx="12730">
                  <c:v>5.9558573667155343</c:v>
                </c:pt>
                <c:pt idx="12731">
                  <c:v>4.98092200326158</c:v>
                </c:pt>
                <c:pt idx="12732">
                  <c:v>5.966704583612791</c:v>
                </c:pt>
                <c:pt idx="12733">
                  <c:v>5.9901220799074322</c:v>
                </c:pt>
                <c:pt idx="12734">
                  <c:v>6.8212082305006057</c:v>
                </c:pt>
                <c:pt idx="12735">
                  <c:v>7.0856398215784262</c:v>
                </c:pt>
                <c:pt idx="12736">
                  <c:v>6.0785845575424737</c:v>
                </c:pt>
                <c:pt idx="12737">
                  <c:v>5.9205312248677311</c:v>
                </c:pt>
                <c:pt idx="12738">
                  <c:v>5.9144728955654369</c:v>
                </c:pt>
                <c:pt idx="12739">
                  <c:v>5.1557007073720289</c:v>
                </c:pt>
                <c:pt idx="12740">
                  <c:v>5.9381023629031215</c:v>
                </c:pt>
                <c:pt idx="12741">
                  <c:v>4.950810167906849</c:v>
                </c:pt>
                <c:pt idx="12742">
                  <c:v>5.0714360400085674</c:v>
                </c:pt>
                <c:pt idx="12743">
                  <c:v>7.0220584742693983</c:v>
                </c:pt>
                <c:pt idx="12744">
                  <c:v>6.9980034800454467</c:v>
                </c:pt>
                <c:pt idx="12745">
                  <c:v>6.02117315151611</c:v>
                </c:pt>
                <c:pt idx="12746">
                  <c:v>6.9796919597653488</c:v>
                </c:pt>
                <c:pt idx="12747">
                  <c:v>7.1336064069370462</c:v>
                </c:pt>
                <c:pt idx="12748">
                  <c:v>6.8884272099769541</c:v>
                </c:pt>
                <c:pt idx="12749">
                  <c:v>6.9515230876181731</c:v>
                </c:pt>
                <c:pt idx="12750">
                  <c:v>6.9698944480456761</c:v>
                </c:pt>
                <c:pt idx="12751">
                  <c:v>7.0686429074129187</c:v>
                </c:pt>
                <c:pt idx="12752">
                  <c:v>7.0092899210714075</c:v>
                </c:pt>
                <c:pt idx="12753">
                  <c:v>7.2744873771048759</c:v>
                </c:pt>
                <c:pt idx="12754">
                  <c:v>6.8842889263865077</c:v>
                </c:pt>
                <c:pt idx="12755">
                  <c:v>5.8529685288440945</c:v>
                </c:pt>
                <c:pt idx="12756">
                  <c:v>6.9517086587037884</c:v>
                </c:pt>
                <c:pt idx="12757">
                  <c:v>7.0469805339227705</c:v>
                </c:pt>
                <c:pt idx="12758">
                  <c:v>7.114554895741497</c:v>
                </c:pt>
                <c:pt idx="12759">
                  <c:v>5.8752798840788447</c:v>
                </c:pt>
                <c:pt idx="12760">
                  <c:v>6.0288352178063462</c:v>
                </c:pt>
                <c:pt idx="12761">
                  <c:v>5.9992018317878841</c:v>
                </c:pt>
                <c:pt idx="12762">
                  <c:v>6.0266974342793471</c:v>
                </c:pt>
                <c:pt idx="12763">
                  <c:v>5.9108510877631417</c:v>
                </c:pt>
                <c:pt idx="12764">
                  <c:v>5.9662823117987296</c:v>
                </c:pt>
                <c:pt idx="12765">
                  <c:v>6.0915908222989721</c:v>
                </c:pt>
                <c:pt idx="12766">
                  <c:v>6.9781544671389684</c:v>
                </c:pt>
                <c:pt idx="12767">
                  <c:v>6.1798004408642448</c:v>
                </c:pt>
                <c:pt idx="12768">
                  <c:v>6.0951969260187884</c:v>
                </c:pt>
                <c:pt idx="12769">
                  <c:v>7.1103645483307236</c:v>
                </c:pt>
                <c:pt idx="12770">
                  <c:v>7.0324330885037156</c:v>
                </c:pt>
                <c:pt idx="12771">
                  <c:v>7.0302636432224537</c:v>
                </c:pt>
                <c:pt idx="12772">
                  <c:v>6.0654251960924208</c:v>
                </c:pt>
                <c:pt idx="12773">
                  <c:v>6.0363187141294112</c:v>
                </c:pt>
                <c:pt idx="12774">
                  <c:v>6.1054469097795243</c:v>
                </c:pt>
                <c:pt idx="12775">
                  <c:v>6.031885339559107</c:v>
                </c:pt>
                <c:pt idx="12776">
                  <c:v>5.881049122110805</c:v>
                </c:pt>
                <c:pt idx="12777">
                  <c:v>5.8887265747529591</c:v>
                </c:pt>
                <c:pt idx="12778">
                  <c:v>6.0476084896886757</c:v>
                </c:pt>
                <c:pt idx="12779">
                  <c:v>5.8720614776830313</c:v>
                </c:pt>
                <c:pt idx="12780">
                  <c:v>5.9093272371334447</c:v>
                </c:pt>
                <c:pt idx="12781">
                  <c:v>6.1441252723004611</c:v>
                </c:pt>
                <c:pt idx="12782">
                  <c:v>6.1099758532925206</c:v>
                </c:pt>
                <c:pt idx="12783">
                  <c:v>2.0411116702457424</c:v>
                </c:pt>
                <c:pt idx="12784">
                  <c:v>6.0500886304544634</c:v>
                </c:pt>
                <c:pt idx="12785">
                  <c:v>5.1031398678356998</c:v>
                </c:pt>
                <c:pt idx="12786">
                  <c:v>5.9119358251722085</c:v>
                </c:pt>
                <c:pt idx="12787">
                  <c:v>6.1012497036310167</c:v>
                </c:pt>
                <c:pt idx="12788">
                  <c:v>6.146766909442662</c:v>
                </c:pt>
                <c:pt idx="12789">
                  <c:v>6.0630490178036327</c:v>
                </c:pt>
                <c:pt idx="12790">
                  <c:v>4.8321730625174446</c:v>
                </c:pt>
                <c:pt idx="12791">
                  <c:v>5.9218735974627235</c:v>
                </c:pt>
                <c:pt idx="12792">
                  <c:v>6.035662566220509</c:v>
                </c:pt>
                <c:pt idx="12793">
                  <c:v>6.0701931659291288</c:v>
                </c:pt>
                <c:pt idx="12794">
                  <c:v>3.848765604355096</c:v>
                </c:pt>
                <c:pt idx="12795">
                  <c:v>5.9207605191169348</c:v>
                </c:pt>
                <c:pt idx="12796">
                  <c:v>6.0903474920863312</c:v>
                </c:pt>
                <c:pt idx="12797">
                  <c:v>6.1782833384995621</c:v>
                </c:pt>
                <c:pt idx="12798">
                  <c:v>5.0775831112698349</c:v>
                </c:pt>
                <c:pt idx="12799">
                  <c:v>5.9886771101556491</c:v>
                </c:pt>
                <c:pt idx="12800">
                  <c:v>5.916032756320317</c:v>
                </c:pt>
                <c:pt idx="12801">
                  <c:v>5.8196259924563334</c:v>
                </c:pt>
                <c:pt idx="12802">
                  <c:v>4.7336306456651451</c:v>
                </c:pt>
                <c:pt idx="12803">
                  <c:v>5.0150009191970115</c:v>
                </c:pt>
                <c:pt idx="12804">
                  <c:v>6.0037259452576155</c:v>
                </c:pt>
                <c:pt idx="12805">
                  <c:v>6.0717146864960831</c:v>
                </c:pt>
                <c:pt idx="12806">
                  <c:v>6.0640871174890272</c:v>
                </c:pt>
                <c:pt idx="12807">
                  <c:v>5.9009567681430317</c:v>
                </c:pt>
                <c:pt idx="12808">
                  <c:v>6.113474328964176</c:v>
                </c:pt>
                <c:pt idx="12809">
                  <c:v>6.059356482717166</c:v>
                </c:pt>
                <c:pt idx="12810">
                  <c:v>4.9597903788854865</c:v>
                </c:pt>
                <c:pt idx="12811">
                  <c:v>7.0542394100695045</c:v>
                </c:pt>
                <c:pt idx="12812">
                  <c:v>6.9756497565842999</c:v>
                </c:pt>
                <c:pt idx="12813">
                  <c:v>5.8943201843005522</c:v>
                </c:pt>
                <c:pt idx="12814">
                  <c:v>6.1130375196960536</c:v>
                </c:pt>
                <c:pt idx="12815">
                  <c:v>5.8301192130626962</c:v>
                </c:pt>
                <c:pt idx="12816">
                  <c:v>5.9299282410733625</c:v>
                </c:pt>
                <c:pt idx="12817">
                  <c:v>5.9794995681696186</c:v>
                </c:pt>
                <c:pt idx="12818">
                  <c:v>4.9672367098364951</c:v>
                </c:pt>
                <c:pt idx="12819">
                  <c:v>4.8402973953555462</c:v>
                </c:pt>
                <c:pt idx="12820">
                  <c:v>6.9010292665158914</c:v>
                </c:pt>
                <c:pt idx="12821">
                  <c:v>7.187252563607017</c:v>
                </c:pt>
                <c:pt idx="12822">
                  <c:v>5.1838625322080354</c:v>
                </c:pt>
                <c:pt idx="12823">
                  <c:v>6.0296363449029027</c:v>
                </c:pt>
                <c:pt idx="12824">
                  <c:v>5.8895804175791104</c:v>
                </c:pt>
                <c:pt idx="12825">
                  <c:v>5.0055953629993528</c:v>
                </c:pt>
                <c:pt idx="12826">
                  <c:v>5.8522117981517594</c:v>
                </c:pt>
                <c:pt idx="12827">
                  <c:v>5.9213297481881702</c:v>
                </c:pt>
                <c:pt idx="12828">
                  <c:v>6.0800845024673125</c:v>
                </c:pt>
                <c:pt idx="12829">
                  <c:v>6.1530754789016111</c:v>
                </c:pt>
                <c:pt idx="12830">
                  <c:v>5.046865502258763</c:v>
                </c:pt>
                <c:pt idx="12831">
                  <c:v>4.8927468318458276</c:v>
                </c:pt>
                <c:pt idx="12832">
                  <c:v>5.8841455651724832</c:v>
                </c:pt>
                <c:pt idx="12833">
                  <c:v>5.9683086855502818</c:v>
                </c:pt>
                <c:pt idx="12834">
                  <c:v>4.9225428274064198</c:v>
                </c:pt>
                <c:pt idx="12835">
                  <c:v>6.9230837221116914</c:v>
                </c:pt>
                <c:pt idx="12836">
                  <c:v>6.9118515492166424</c:v>
                </c:pt>
                <c:pt idx="12837">
                  <c:v>5.011453051649486</c:v>
                </c:pt>
                <c:pt idx="12838">
                  <c:v>7.1143028644922497</c:v>
                </c:pt>
                <c:pt idx="12839">
                  <c:v>6.9710229135618507</c:v>
                </c:pt>
                <c:pt idx="12840">
                  <c:v>4.9145861357720184</c:v>
                </c:pt>
                <c:pt idx="12841">
                  <c:v>6.9803493692950926</c:v>
                </c:pt>
                <c:pt idx="12842">
                  <c:v>6.01408302337442</c:v>
                </c:pt>
                <c:pt idx="12843">
                  <c:v>6.1322008216394108</c:v>
                </c:pt>
                <c:pt idx="12844">
                  <c:v>5.0164811130104665</c:v>
                </c:pt>
                <c:pt idx="12845">
                  <c:v>7.0918289421444243</c:v>
                </c:pt>
                <c:pt idx="12846">
                  <c:v>4.9251359714067542</c:v>
                </c:pt>
                <c:pt idx="12847">
                  <c:v>5.9532978929206184</c:v>
                </c:pt>
                <c:pt idx="12848">
                  <c:v>5.9414113048041859</c:v>
                </c:pt>
                <c:pt idx="12849">
                  <c:v>5.9484167694495724</c:v>
                </c:pt>
                <c:pt idx="12850">
                  <c:v>5.8812269870491312</c:v>
                </c:pt>
                <c:pt idx="12851">
                  <c:v>5.8974517102901443</c:v>
                </c:pt>
                <c:pt idx="12852">
                  <c:v>5.9542420186868519</c:v>
                </c:pt>
                <c:pt idx="12853">
                  <c:v>6.0903906432201191</c:v>
                </c:pt>
                <c:pt idx="12854">
                  <c:v>4.0399411286139335</c:v>
                </c:pt>
                <c:pt idx="12855">
                  <c:v>2.9281401492276387</c:v>
                </c:pt>
                <c:pt idx="12856">
                  <c:v>5.8592813485686577</c:v>
                </c:pt>
                <c:pt idx="12857">
                  <c:v>5.9005240259403093</c:v>
                </c:pt>
                <c:pt idx="12858">
                  <c:v>5.0703922372214425</c:v>
                </c:pt>
                <c:pt idx="12859">
                  <c:v>5.9943096239866165</c:v>
                </c:pt>
                <c:pt idx="12860">
                  <c:v>4.848654815405018</c:v>
                </c:pt>
                <c:pt idx="12861">
                  <c:v>6.0361903690146894</c:v>
                </c:pt>
                <c:pt idx="12862">
                  <c:v>5.0569591387576889</c:v>
                </c:pt>
                <c:pt idx="12863">
                  <c:v>4.9498250788375149</c:v>
                </c:pt>
                <c:pt idx="12864">
                  <c:v>4.9537318561505641</c:v>
                </c:pt>
                <c:pt idx="12865">
                  <c:v>5.0885224554238899</c:v>
                </c:pt>
                <c:pt idx="12866">
                  <c:v>5.0121411079236875</c:v>
                </c:pt>
                <c:pt idx="12867">
                  <c:v>6.0287986045493147</c:v>
                </c:pt>
                <c:pt idx="12868">
                  <c:v>7.0615967741493613</c:v>
                </c:pt>
                <c:pt idx="12869">
                  <c:v>4.9523468243485915</c:v>
                </c:pt>
                <c:pt idx="12870">
                  <c:v>6.202174912958017</c:v>
                </c:pt>
                <c:pt idx="12871">
                  <c:v>5.9388729886422551</c:v>
                </c:pt>
                <c:pt idx="12872">
                  <c:v>5.8772094684034402</c:v>
                </c:pt>
                <c:pt idx="12873">
                  <c:v>5.0070822397337116</c:v>
                </c:pt>
                <c:pt idx="12874">
                  <c:v>5.0220208344001946</c:v>
                </c:pt>
                <c:pt idx="12875">
                  <c:v>5.0255280873532362</c:v>
                </c:pt>
                <c:pt idx="12876">
                  <c:v>5.9230622201616203</c:v>
                </c:pt>
                <c:pt idx="12877">
                  <c:v>5.0140521183150932</c:v>
                </c:pt>
                <c:pt idx="12878">
                  <c:v>5.9078344069212783</c:v>
                </c:pt>
                <c:pt idx="12879">
                  <c:v>5.869655159500315</c:v>
                </c:pt>
                <c:pt idx="12880">
                  <c:v>6.117287688056753</c:v>
                </c:pt>
                <c:pt idx="12881">
                  <c:v>9.0449240105679909</c:v>
                </c:pt>
                <c:pt idx="12882">
                  <c:v>6.0431729281061033</c:v>
                </c:pt>
                <c:pt idx="12883">
                  <c:v>3.9935901267655614</c:v>
                </c:pt>
                <c:pt idx="12884">
                  <c:v>5.7882856494349086</c:v>
                </c:pt>
                <c:pt idx="12885">
                  <c:v>7.1275211836454071</c:v>
                </c:pt>
                <c:pt idx="12886">
                  <c:v>7.0455750898627967</c:v>
                </c:pt>
                <c:pt idx="12887">
                  <c:v>5.9125098944978145</c:v>
                </c:pt>
                <c:pt idx="12888">
                  <c:v>5.8327997293939102</c:v>
                </c:pt>
                <c:pt idx="12889">
                  <c:v>4.8362247594034518</c:v>
                </c:pt>
                <c:pt idx="12890">
                  <c:v>7.0482565947881657</c:v>
                </c:pt>
                <c:pt idx="12891">
                  <c:v>6.0185297245985732</c:v>
                </c:pt>
                <c:pt idx="12892">
                  <c:v>4.9697718256937815</c:v>
                </c:pt>
                <c:pt idx="12893">
                  <c:v>5.924633671233682</c:v>
                </c:pt>
                <c:pt idx="12894">
                  <c:v>4.9982759934781011</c:v>
                </c:pt>
                <c:pt idx="12895">
                  <c:v>6.8496627549674853</c:v>
                </c:pt>
                <c:pt idx="12896">
                  <c:v>6.020840344412818</c:v>
                </c:pt>
                <c:pt idx="12897">
                  <c:v>6.0048891489217668</c:v>
                </c:pt>
                <c:pt idx="12898">
                  <c:v>5.8656442944021183</c:v>
                </c:pt>
                <c:pt idx="12899">
                  <c:v>6.169584686257358</c:v>
                </c:pt>
                <c:pt idx="12900">
                  <c:v>6.9834741262756133</c:v>
                </c:pt>
                <c:pt idx="12901">
                  <c:v>5.8570814867493066</c:v>
                </c:pt>
                <c:pt idx="12902">
                  <c:v>7.1567651859778261</c:v>
                </c:pt>
                <c:pt idx="12903">
                  <c:v>5.8355165490004328</c:v>
                </c:pt>
                <c:pt idx="12904">
                  <c:v>5.0584735644717336</c:v>
                </c:pt>
                <c:pt idx="12905">
                  <c:v>5.9972088128806931</c:v>
                </c:pt>
                <c:pt idx="12906">
                  <c:v>5.9737813719367576</c:v>
                </c:pt>
                <c:pt idx="12907">
                  <c:v>6.07639760007046</c:v>
                </c:pt>
                <c:pt idx="12908">
                  <c:v>6.024970998391491</c:v>
                </c:pt>
                <c:pt idx="12909">
                  <c:v>6.0519281752899268</c:v>
                </c:pt>
                <c:pt idx="12910">
                  <c:v>9.1281917455379293</c:v>
                </c:pt>
                <c:pt idx="12911">
                  <c:v>5.9099024977769039</c:v>
                </c:pt>
                <c:pt idx="12912">
                  <c:v>5.9806966056732351</c:v>
                </c:pt>
                <c:pt idx="12913">
                  <c:v>6.953299529223214</c:v>
                </c:pt>
                <c:pt idx="12914">
                  <c:v>4.9014291046749792</c:v>
                </c:pt>
                <c:pt idx="12915">
                  <c:v>6.9193499529556002</c:v>
                </c:pt>
                <c:pt idx="12916">
                  <c:v>3.906069628371001</c:v>
                </c:pt>
                <c:pt idx="12917">
                  <c:v>6.0784591530381773</c:v>
                </c:pt>
                <c:pt idx="12918">
                  <c:v>6.0837880070051771</c:v>
                </c:pt>
                <c:pt idx="12919">
                  <c:v>4.1652740031689621</c:v>
                </c:pt>
                <c:pt idx="12920">
                  <c:v>5.9541304270465556</c:v>
                </c:pt>
                <c:pt idx="12921">
                  <c:v>6.9595987621587616</c:v>
                </c:pt>
                <c:pt idx="12922">
                  <c:v>5.9890735066229954</c:v>
                </c:pt>
                <c:pt idx="12923">
                  <c:v>6.048981761237842</c:v>
                </c:pt>
                <c:pt idx="12924">
                  <c:v>6.1607698157626123</c:v>
                </c:pt>
                <c:pt idx="12925">
                  <c:v>6.9399283065298212</c:v>
                </c:pt>
                <c:pt idx="12926">
                  <c:v>7.0185448643518589</c:v>
                </c:pt>
                <c:pt idx="12927">
                  <c:v>6.0300636961778862</c:v>
                </c:pt>
                <c:pt idx="12928">
                  <c:v>7.8899505866676813</c:v>
                </c:pt>
                <c:pt idx="12929">
                  <c:v>4.2873586785438365</c:v>
                </c:pt>
                <c:pt idx="12930">
                  <c:v>4.065252983590228</c:v>
                </c:pt>
                <c:pt idx="12931">
                  <c:v>3.9368257098590198</c:v>
                </c:pt>
                <c:pt idx="12932">
                  <c:v>6.1627363326608551</c:v>
                </c:pt>
                <c:pt idx="12933">
                  <c:v>3.9721912786418181</c:v>
                </c:pt>
                <c:pt idx="12934">
                  <c:v>6.9655497501138912</c:v>
                </c:pt>
                <c:pt idx="12935">
                  <c:v>7.0754733171881528</c:v>
                </c:pt>
                <c:pt idx="12936">
                  <c:v>6.9442828129696146</c:v>
                </c:pt>
                <c:pt idx="12937">
                  <c:v>4.1307914303332467</c:v>
                </c:pt>
                <c:pt idx="12938">
                  <c:v>3.8769352766369987</c:v>
                </c:pt>
                <c:pt idx="12939">
                  <c:v>5.9160122312229797</c:v>
                </c:pt>
                <c:pt idx="12940">
                  <c:v>5.9684764299769837</c:v>
                </c:pt>
                <c:pt idx="12941">
                  <c:v>6.2418958711224874</c:v>
                </c:pt>
                <c:pt idx="12942">
                  <c:v>7.0363719865584304</c:v>
                </c:pt>
                <c:pt idx="12943">
                  <c:v>4.8728133585746898</c:v>
                </c:pt>
                <c:pt idx="12944">
                  <c:v>5.9983861347653802</c:v>
                </c:pt>
                <c:pt idx="12945">
                  <c:v>6.8327938134362585</c:v>
                </c:pt>
                <c:pt idx="12946">
                  <c:v>2.0604309912966232</c:v>
                </c:pt>
                <c:pt idx="12947">
                  <c:v>5.9846071204397076</c:v>
                </c:pt>
                <c:pt idx="12948">
                  <c:v>4.871791124196009</c:v>
                </c:pt>
                <c:pt idx="12949">
                  <c:v>7.0529706404731876</c:v>
                </c:pt>
                <c:pt idx="12950">
                  <c:v>4.9575750999648243</c:v>
                </c:pt>
                <c:pt idx="12951">
                  <c:v>6.8713571806149067</c:v>
                </c:pt>
                <c:pt idx="12952">
                  <c:v>4.9039528379740984</c:v>
                </c:pt>
                <c:pt idx="12953">
                  <c:v>5.9690903463969223</c:v>
                </c:pt>
                <c:pt idx="12954">
                  <c:v>6.0168537813891332</c:v>
                </c:pt>
                <c:pt idx="12955">
                  <c:v>5.155317282117899</c:v>
                </c:pt>
                <c:pt idx="12956">
                  <c:v>4.9674628114884403</c:v>
                </c:pt>
                <c:pt idx="12957">
                  <c:v>5.938870155672606</c:v>
                </c:pt>
                <c:pt idx="12958">
                  <c:v>6.112416801626793</c:v>
                </c:pt>
                <c:pt idx="12959">
                  <c:v>4.932060235210753</c:v>
                </c:pt>
                <c:pt idx="12960">
                  <c:v>5.9749051794587</c:v>
                </c:pt>
                <c:pt idx="12961">
                  <c:v>5.1197759576353947</c:v>
                </c:pt>
                <c:pt idx="12962">
                  <c:v>6.0848947055077138</c:v>
                </c:pt>
                <c:pt idx="12963">
                  <c:v>7.1480641456314853</c:v>
                </c:pt>
                <c:pt idx="12964">
                  <c:v>5.0084232931765706</c:v>
                </c:pt>
                <c:pt idx="12965">
                  <c:v>5.9531802356159442</c:v>
                </c:pt>
                <c:pt idx="12966">
                  <c:v>4.9026826210676244</c:v>
                </c:pt>
                <c:pt idx="12967">
                  <c:v>4.8775003674406792</c:v>
                </c:pt>
                <c:pt idx="12968">
                  <c:v>4.8914703400706658</c:v>
                </c:pt>
                <c:pt idx="12969">
                  <c:v>5.8352450960807056</c:v>
                </c:pt>
                <c:pt idx="12970">
                  <c:v>4.8569313905935472</c:v>
                </c:pt>
                <c:pt idx="12971">
                  <c:v>6.8667943129736058</c:v>
                </c:pt>
                <c:pt idx="12972">
                  <c:v>5.7745955707604768</c:v>
                </c:pt>
                <c:pt idx="12973">
                  <c:v>6.1451751837600934</c:v>
                </c:pt>
                <c:pt idx="12974">
                  <c:v>4.9098740438195341</c:v>
                </c:pt>
                <c:pt idx="12975">
                  <c:v>3.0422621697778602</c:v>
                </c:pt>
                <c:pt idx="12976">
                  <c:v>6.035026644441893</c:v>
                </c:pt>
                <c:pt idx="12977">
                  <c:v>6.2475244359270503</c:v>
                </c:pt>
                <c:pt idx="12978">
                  <c:v>3.9391700489101233</c:v>
                </c:pt>
                <c:pt idx="12979">
                  <c:v>5.9169982514809227</c:v>
                </c:pt>
                <c:pt idx="12980">
                  <c:v>5.0041016928918722</c:v>
                </c:pt>
                <c:pt idx="12981">
                  <c:v>6.0887817035994996</c:v>
                </c:pt>
                <c:pt idx="12982">
                  <c:v>4.0656279740641192</c:v>
                </c:pt>
                <c:pt idx="12983">
                  <c:v>6.0434743878365538</c:v>
                </c:pt>
                <c:pt idx="12984">
                  <c:v>3.9141584293681775</c:v>
                </c:pt>
                <c:pt idx="12985">
                  <c:v>6.0913195486303371</c:v>
                </c:pt>
                <c:pt idx="12986">
                  <c:v>5.0464105285868373</c:v>
                </c:pt>
                <c:pt idx="12987">
                  <c:v>4.8756253165323171</c:v>
                </c:pt>
                <c:pt idx="12988">
                  <c:v>5.0111739994273305</c:v>
                </c:pt>
                <c:pt idx="12989">
                  <c:v>4.9883825313343229</c:v>
                </c:pt>
                <c:pt idx="12990">
                  <c:v>4.9849135260101347</c:v>
                </c:pt>
                <c:pt idx="12991">
                  <c:v>5.904504475267963</c:v>
                </c:pt>
                <c:pt idx="12992">
                  <c:v>4.817727909677445</c:v>
                </c:pt>
                <c:pt idx="12993">
                  <c:v>4.0694466899976449</c:v>
                </c:pt>
                <c:pt idx="12994">
                  <c:v>5.2487266069455547</c:v>
                </c:pt>
                <c:pt idx="12995">
                  <c:v>5.9067674445390042</c:v>
                </c:pt>
                <c:pt idx="12996">
                  <c:v>5.8797901067857365</c:v>
                </c:pt>
                <c:pt idx="12997">
                  <c:v>6.9235097227302438</c:v>
                </c:pt>
                <c:pt idx="12998">
                  <c:v>6.9563374959010575</c:v>
                </c:pt>
                <c:pt idx="12999">
                  <c:v>3.1337168436135756</c:v>
                </c:pt>
                <c:pt idx="13000">
                  <c:v>4.2744983259940392</c:v>
                </c:pt>
                <c:pt idx="13001">
                  <c:v>6.9613608845628612</c:v>
                </c:pt>
                <c:pt idx="13002">
                  <c:v>3.9727720120926984</c:v>
                </c:pt>
                <c:pt idx="13003">
                  <c:v>2.9999366087733077</c:v>
                </c:pt>
                <c:pt idx="13004">
                  <c:v>6.1616665215075042</c:v>
                </c:pt>
                <c:pt idx="13005">
                  <c:v>5.0133699362281199</c:v>
                </c:pt>
                <c:pt idx="13006">
                  <c:v>6.0060055172056135</c:v>
                </c:pt>
                <c:pt idx="13007">
                  <c:v>5.9110886086289449</c:v>
                </c:pt>
                <c:pt idx="13008">
                  <c:v>7.1240769936327784</c:v>
                </c:pt>
                <c:pt idx="13009">
                  <c:v>7.0338911636757953</c:v>
                </c:pt>
                <c:pt idx="13010">
                  <c:v>5.9151217530753843</c:v>
                </c:pt>
                <c:pt idx="13011">
                  <c:v>6.9114050632545467</c:v>
                </c:pt>
                <c:pt idx="13012">
                  <c:v>5.0776697392168568</c:v>
                </c:pt>
                <c:pt idx="13013">
                  <c:v>5.954949220048487</c:v>
                </c:pt>
                <c:pt idx="13014">
                  <c:v>5.8838756240795638</c:v>
                </c:pt>
                <c:pt idx="13015">
                  <c:v>5.0233410703068042</c:v>
                </c:pt>
                <c:pt idx="13016">
                  <c:v>7.9305516023115121</c:v>
                </c:pt>
                <c:pt idx="13017">
                  <c:v>5.0346771964621535</c:v>
                </c:pt>
                <c:pt idx="13018">
                  <c:v>6.1397204856747392</c:v>
                </c:pt>
                <c:pt idx="13019">
                  <c:v>7.1035798748719383</c:v>
                </c:pt>
                <c:pt idx="13020">
                  <c:v>5.9987052763483595</c:v>
                </c:pt>
                <c:pt idx="13021">
                  <c:v>7.0356393132613197</c:v>
                </c:pt>
                <c:pt idx="13022">
                  <c:v>2.9877402415856777</c:v>
                </c:pt>
                <c:pt idx="13023">
                  <c:v>2.9927817229751934</c:v>
                </c:pt>
                <c:pt idx="13024">
                  <c:v>6.0678893115153612</c:v>
                </c:pt>
                <c:pt idx="13025">
                  <c:v>3.0311397522508257</c:v>
                </c:pt>
                <c:pt idx="13026">
                  <c:v>5.0526035713069763</c:v>
                </c:pt>
                <c:pt idx="13027">
                  <c:v>5.0592100019276334</c:v>
                </c:pt>
                <c:pt idx="13028">
                  <c:v>6.0521412545019437</c:v>
                </c:pt>
                <c:pt idx="13029">
                  <c:v>7.0359304813654333</c:v>
                </c:pt>
                <c:pt idx="13030">
                  <c:v>4.8637341774992606</c:v>
                </c:pt>
                <c:pt idx="13031">
                  <c:v>7.0173994333300627</c:v>
                </c:pt>
                <c:pt idx="13032">
                  <c:v>3.0058190361483166</c:v>
                </c:pt>
                <c:pt idx="13033">
                  <c:v>4.9257655810675098</c:v>
                </c:pt>
                <c:pt idx="13034">
                  <c:v>6.0427861907019995</c:v>
                </c:pt>
                <c:pt idx="13035">
                  <c:v>6.9478215303365358</c:v>
                </c:pt>
                <c:pt idx="13036">
                  <c:v>5.1848036842148844</c:v>
                </c:pt>
                <c:pt idx="13037">
                  <c:v>2.0297000293494101</c:v>
                </c:pt>
                <c:pt idx="13038">
                  <c:v>4.9698589347474158</c:v>
                </c:pt>
                <c:pt idx="13039">
                  <c:v>6.0272936135539048</c:v>
                </c:pt>
                <c:pt idx="13040">
                  <c:v>8.02833359353113</c:v>
                </c:pt>
                <c:pt idx="13041">
                  <c:v>8.0289330266707637</c:v>
                </c:pt>
                <c:pt idx="13042">
                  <c:v>8.096038379773308</c:v>
                </c:pt>
                <c:pt idx="13043">
                  <c:v>8.0226374381105572</c:v>
                </c:pt>
                <c:pt idx="13044">
                  <c:v>7.9791864977780858</c:v>
                </c:pt>
                <c:pt idx="13045">
                  <c:v>5.9720061969252702</c:v>
                </c:pt>
                <c:pt idx="13046">
                  <c:v>6.0786666265607812</c:v>
                </c:pt>
                <c:pt idx="13047">
                  <c:v>5.9519201935610866</c:v>
                </c:pt>
                <c:pt idx="13048">
                  <c:v>5.9159762710620978</c:v>
                </c:pt>
                <c:pt idx="13049">
                  <c:v>7.115247403510315</c:v>
                </c:pt>
                <c:pt idx="13050">
                  <c:v>6.8952952268375061</c:v>
                </c:pt>
                <c:pt idx="13051">
                  <c:v>7.0222937623964867</c:v>
                </c:pt>
                <c:pt idx="13052">
                  <c:v>6.1639082769587787</c:v>
                </c:pt>
                <c:pt idx="13053">
                  <c:v>6.8913050406479277</c:v>
                </c:pt>
                <c:pt idx="13054">
                  <c:v>7.02197325591123</c:v>
                </c:pt>
                <c:pt idx="13055">
                  <c:v>3.9967825833492965</c:v>
                </c:pt>
                <c:pt idx="13056">
                  <c:v>5.0175739963299746</c:v>
                </c:pt>
                <c:pt idx="13057">
                  <c:v>3.8771865793336775</c:v>
                </c:pt>
                <c:pt idx="13058">
                  <c:v>5.9559768048808763</c:v>
                </c:pt>
                <c:pt idx="13059">
                  <c:v>5.9036136368231276</c:v>
                </c:pt>
                <c:pt idx="13060">
                  <c:v>7.0531412311597075</c:v>
                </c:pt>
                <c:pt idx="13061">
                  <c:v>6.8906431080914992</c:v>
                </c:pt>
                <c:pt idx="13062">
                  <c:v>5.9738345966711464</c:v>
                </c:pt>
                <c:pt idx="13063">
                  <c:v>4.9417148419643429</c:v>
                </c:pt>
                <c:pt idx="13064">
                  <c:v>7.077049533041758</c:v>
                </c:pt>
                <c:pt idx="13065">
                  <c:v>3.9639264590526837</c:v>
                </c:pt>
                <c:pt idx="13066">
                  <c:v>6.9211564355071209</c:v>
                </c:pt>
                <c:pt idx="13067">
                  <c:v>4.9732353419603044</c:v>
                </c:pt>
                <c:pt idx="13068">
                  <c:v>5.0025083250848965</c:v>
                </c:pt>
                <c:pt idx="13069">
                  <c:v>7.0969143951824121</c:v>
                </c:pt>
                <c:pt idx="13070">
                  <c:v>4.8692088612812876</c:v>
                </c:pt>
                <c:pt idx="13071">
                  <c:v>5.1043530288091565</c:v>
                </c:pt>
                <c:pt idx="13072">
                  <c:v>5.0276593994277974</c:v>
                </c:pt>
                <c:pt idx="13073">
                  <c:v>6.9371997964985752</c:v>
                </c:pt>
                <c:pt idx="13074">
                  <c:v>4.9676769299709163</c:v>
                </c:pt>
                <c:pt idx="13075">
                  <c:v>7.0383912737638612</c:v>
                </c:pt>
                <c:pt idx="13076">
                  <c:v>7.0059404557840601</c:v>
                </c:pt>
                <c:pt idx="13077">
                  <c:v>3.9667851694152656</c:v>
                </c:pt>
                <c:pt idx="13078">
                  <c:v>7.9598965873155487</c:v>
                </c:pt>
                <c:pt idx="13079">
                  <c:v>6.9151993678374861</c:v>
                </c:pt>
                <c:pt idx="13080">
                  <c:v>4.0978510674826119</c:v>
                </c:pt>
              </c:numCache>
            </c:numRef>
          </c:yVal>
          <c:smooth val="0"/>
          <c:extLst>
            <c:ext xmlns:c16="http://schemas.microsoft.com/office/drawing/2014/chart" uri="{C3380CC4-5D6E-409C-BE32-E72D297353CC}">
              <c16:uniqueId val="{00000006-CB98-46CC-B7E4-0466270B0873}"/>
            </c:ext>
          </c:extLst>
        </c:ser>
        <c:ser>
          <c:idx val="8"/>
          <c:order val="7"/>
          <c:tx>
            <c:strRef>
              <c:f>'power_generator-2024-09-23T (2)'!$AC$1</c:f>
              <c:strCache>
                <c:ptCount val="1"/>
                <c:pt idx="0">
                  <c:v>Nuclear</c:v>
                </c:pt>
              </c:strCache>
            </c:strRef>
          </c:tx>
          <c:spPr>
            <a:ln w="25400" cap="rnd">
              <a:noFill/>
              <a:round/>
            </a:ln>
            <a:effectLst/>
          </c:spPr>
          <c:marker>
            <c:symbol val="square"/>
            <c:size val="5"/>
            <c:spPr>
              <a:solidFill>
                <a:srgbClr val="FB41DC">
                  <a:alpha val="25000"/>
                </a:srgbClr>
              </a:solidFill>
              <a:ln w="12700">
                <a:solidFill>
                  <a:srgbClr val="FB41DC"/>
                </a:solidFill>
              </a:ln>
              <a:effectLst/>
            </c:spPr>
          </c:marker>
          <c:xVal>
            <c:numRef>
              <c:f>'power_generator-2024-09-23T (2)'!$AC$2:$AC$13082</c:f>
              <c:numCache>
                <c:formatCode>0.00</c:formatCode>
                <c:ptCount val="13081"/>
                <c:pt idx="0">
                  <c:v>#N/A</c:v>
                </c:pt>
                <c:pt idx="1">
                  <c:v>#N/A</c:v>
                </c:pt>
                <c:pt idx="2">
                  <c:v>#N/A</c:v>
                </c:pt>
                <c:pt idx="3">
                  <c:v>#N/A</c:v>
                </c:pt>
                <c:pt idx="4">
                  <c:v>#N/A</c:v>
                </c:pt>
                <c:pt idx="5">
                  <c:v>#N/A</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pt idx="34">
                  <c:v>#N/A</c:v>
                </c:pt>
                <c:pt idx="35">
                  <c:v>#N/A</c:v>
                </c:pt>
                <c:pt idx="36">
                  <c:v>#N/A</c:v>
                </c:pt>
                <c:pt idx="37">
                  <c:v>#N/A</c:v>
                </c:pt>
                <c:pt idx="38">
                  <c:v>#N/A</c:v>
                </c:pt>
                <c:pt idx="39">
                  <c:v>#N/A</c:v>
                </c:pt>
                <c:pt idx="40">
                  <c:v>#N/A</c:v>
                </c:pt>
                <c:pt idx="41">
                  <c:v>#N/A</c:v>
                </c:pt>
                <c:pt idx="42">
                  <c:v>#N/A</c:v>
                </c:pt>
                <c:pt idx="43">
                  <c:v>#N/A</c:v>
                </c:pt>
                <c:pt idx="44">
                  <c:v>#N/A</c:v>
                </c:pt>
                <c:pt idx="45">
                  <c:v>#N/A</c:v>
                </c:pt>
                <c:pt idx="46">
                  <c:v>#N/A</c:v>
                </c:pt>
                <c:pt idx="47">
                  <c:v>#N/A</c:v>
                </c:pt>
                <c:pt idx="48">
                  <c:v>#N/A</c:v>
                </c:pt>
                <c:pt idx="49">
                  <c:v>#N/A</c:v>
                </c:pt>
                <c:pt idx="50">
                  <c:v>#N/A</c:v>
                </c:pt>
                <c:pt idx="51">
                  <c:v>#N/A</c:v>
                </c:pt>
                <c:pt idx="52">
                  <c:v>#N/A</c:v>
                </c:pt>
                <c:pt idx="53">
                  <c:v>#N/A</c:v>
                </c:pt>
                <c:pt idx="54">
                  <c:v>#N/A</c:v>
                </c:pt>
                <c:pt idx="55">
                  <c:v>#N/A</c:v>
                </c:pt>
                <c:pt idx="56">
                  <c:v>#N/A</c:v>
                </c:pt>
                <c:pt idx="57">
                  <c:v>#N/A</c:v>
                </c:pt>
                <c:pt idx="58">
                  <c:v>#N/A</c:v>
                </c:pt>
                <c:pt idx="59">
                  <c:v>#N/A</c:v>
                </c:pt>
                <c:pt idx="60">
                  <c:v>#N/A</c:v>
                </c:pt>
                <c:pt idx="61">
                  <c:v>#N/A</c:v>
                </c:pt>
                <c:pt idx="62">
                  <c:v>#N/A</c:v>
                </c:pt>
                <c:pt idx="63">
                  <c:v>0.26027397260273971</c:v>
                </c:pt>
                <c:pt idx="64">
                  <c:v>#N/A</c:v>
                </c:pt>
                <c:pt idx="65">
                  <c:v>#N/A</c:v>
                </c:pt>
                <c:pt idx="66">
                  <c:v>#N/A</c:v>
                </c:pt>
                <c:pt idx="67">
                  <c:v>#N/A</c:v>
                </c:pt>
                <c:pt idx="68">
                  <c:v>#N/A</c:v>
                </c:pt>
                <c:pt idx="69">
                  <c:v>#N/A</c:v>
                </c:pt>
                <c:pt idx="70">
                  <c:v>#N/A</c:v>
                </c:pt>
                <c:pt idx="71">
                  <c:v>#N/A</c:v>
                </c:pt>
                <c:pt idx="72">
                  <c:v>#N/A</c:v>
                </c:pt>
                <c:pt idx="73">
                  <c:v>#N/A</c:v>
                </c:pt>
                <c:pt idx="74">
                  <c:v>#N/A</c:v>
                </c:pt>
                <c:pt idx="75">
                  <c:v>#N/A</c:v>
                </c:pt>
                <c:pt idx="76">
                  <c:v>#N/A</c:v>
                </c:pt>
                <c:pt idx="77">
                  <c:v>#N/A</c:v>
                </c:pt>
                <c:pt idx="78">
                  <c:v>#N/A</c:v>
                </c:pt>
                <c:pt idx="79">
                  <c:v>#N/A</c:v>
                </c:pt>
                <c:pt idx="80">
                  <c:v>#N/A</c:v>
                </c:pt>
                <c:pt idx="81">
                  <c:v>#N/A</c:v>
                </c:pt>
                <c:pt idx="82">
                  <c:v>#N/A</c:v>
                </c:pt>
                <c:pt idx="83">
                  <c:v>#N/A</c:v>
                </c:pt>
                <c:pt idx="84">
                  <c:v>#N/A</c:v>
                </c:pt>
                <c:pt idx="85">
                  <c:v>#N/A</c:v>
                </c:pt>
                <c:pt idx="86">
                  <c:v>#N/A</c:v>
                </c:pt>
                <c:pt idx="87">
                  <c:v>#N/A</c:v>
                </c:pt>
                <c:pt idx="88">
                  <c:v>#N/A</c:v>
                </c:pt>
                <c:pt idx="89">
                  <c:v>#N/A</c:v>
                </c:pt>
                <c:pt idx="90">
                  <c:v>#N/A</c:v>
                </c:pt>
                <c:pt idx="91">
                  <c:v>#N/A</c:v>
                </c:pt>
                <c:pt idx="92">
                  <c:v>#N/A</c:v>
                </c:pt>
                <c:pt idx="93">
                  <c:v>#N/A</c:v>
                </c:pt>
                <c:pt idx="94">
                  <c:v>#N/A</c:v>
                </c:pt>
                <c:pt idx="95">
                  <c:v>#N/A</c:v>
                </c:pt>
                <c:pt idx="96">
                  <c:v>#N/A</c:v>
                </c:pt>
                <c:pt idx="97">
                  <c:v>#N/A</c:v>
                </c:pt>
                <c:pt idx="98">
                  <c:v>#N/A</c:v>
                </c:pt>
                <c:pt idx="99">
                  <c:v>#N/A</c:v>
                </c:pt>
                <c:pt idx="100">
                  <c:v>#N/A</c:v>
                </c:pt>
                <c:pt idx="101">
                  <c:v>#N/A</c:v>
                </c:pt>
                <c:pt idx="102">
                  <c:v>#N/A</c:v>
                </c:pt>
                <c:pt idx="103">
                  <c:v>#N/A</c:v>
                </c:pt>
                <c:pt idx="104">
                  <c:v>#N/A</c:v>
                </c:pt>
                <c:pt idx="105">
                  <c:v>#N/A</c:v>
                </c:pt>
                <c:pt idx="106">
                  <c:v>#N/A</c:v>
                </c:pt>
                <c:pt idx="107">
                  <c:v>#N/A</c:v>
                </c:pt>
                <c:pt idx="108">
                  <c:v>#N/A</c:v>
                </c:pt>
                <c:pt idx="109">
                  <c:v>#N/A</c:v>
                </c:pt>
                <c:pt idx="110">
                  <c:v>#N/A</c:v>
                </c:pt>
                <c:pt idx="111">
                  <c:v>#N/A</c:v>
                </c:pt>
                <c:pt idx="112">
                  <c:v>#N/A</c:v>
                </c:pt>
                <c:pt idx="113">
                  <c:v>#N/A</c:v>
                </c:pt>
                <c:pt idx="114">
                  <c:v>#N/A</c:v>
                </c:pt>
                <c:pt idx="115">
                  <c:v>#N/A</c:v>
                </c:pt>
                <c:pt idx="116">
                  <c:v>#N/A</c:v>
                </c:pt>
                <c:pt idx="117">
                  <c:v>#N/A</c:v>
                </c:pt>
                <c:pt idx="118">
                  <c:v>#N/A</c:v>
                </c:pt>
                <c:pt idx="119">
                  <c:v>#N/A</c:v>
                </c:pt>
                <c:pt idx="120">
                  <c:v>#N/A</c:v>
                </c:pt>
                <c:pt idx="121">
                  <c:v>#N/A</c:v>
                </c:pt>
                <c:pt idx="122">
                  <c:v>#N/A</c:v>
                </c:pt>
                <c:pt idx="123">
                  <c:v>#N/A</c:v>
                </c:pt>
                <c:pt idx="124">
                  <c:v>#N/A</c:v>
                </c:pt>
                <c:pt idx="125">
                  <c:v>#N/A</c:v>
                </c:pt>
                <c:pt idx="126">
                  <c:v>#N/A</c:v>
                </c:pt>
                <c:pt idx="127">
                  <c:v>#N/A</c:v>
                </c:pt>
                <c:pt idx="128">
                  <c:v>#N/A</c:v>
                </c:pt>
                <c:pt idx="129">
                  <c:v>#N/A</c:v>
                </c:pt>
                <c:pt idx="130">
                  <c:v>#N/A</c:v>
                </c:pt>
                <c:pt idx="131">
                  <c:v>#N/A</c:v>
                </c:pt>
                <c:pt idx="132">
                  <c:v>#N/A</c:v>
                </c:pt>
                <c:pt idx="133">
                  <c:v>#N/A</c:v>
                </c:pt>
                <c:pt idx="134">
                  <c:v>#N/A</c:v>
                </c:pt>
                <c:pt idx="135">
                  <c:v>#N/A</c:v>
                </c:pt>
                <c:pt idx="136">
                  <c:v>#N/A</c:v>
                </c:pt>
                <c:pt idx="137">
                  <c:v>#N/A</c:v>
                </c:pt>
                <c:pt idx="138">
                  <c:v>#N/A</c:v>
                </c:pt>
                <c:pt idx="139">
                  <c:v>#N/A</c:v>
                </c:pt>
                <c:pt idx="140">
                  <c:v>#N/A</c:v>
                </c:pt>
                <c:pt idx="141">
                  <c:v>#N/A</c:v>
                </c:pt>
                <c:pt idx="142">
                  <c:v>#N/A</c:v>
                </c:pt>
                <c:pt idx="143">
                  <c:v>#N/A</c:v>
                </c:pt>
                <c:pt idx="144">
                  <c:v>#N/A</c:v>
                </c:pt>
                <c:pt idx="145">
                  <c:v>#N/A</c:v>
                </c:pt>
                <c:pt idx="146">
                  <c:v>#N/A</c:v>
                </c:pt>
                <c:pt idx="147">
                  <c:v>#N/A</c:v>
                </c:pt>
                <c:pt idx="148">
                  <c:v>#N/A</c:v>
                </c:pt>
                <c:pt idx="149">
                  <c:v>#N/A</c:v>
                </c:pt>
                <c:pt idx="150">
                  <c:v>#N/A</c:v>
                </c:pt>
                <c:pt idx="151">
                  <c:v>#N/A</c:v>
                </c:pt>
                <c:pt idx="152">
                  <c:v>#N/A</c:v>
                </c:pt>
                <c:pt idx="153">
                  <c:v>#N/A</c:v>
                </c:pt>
                <c:pt idx="154">
                  <c:v>#N/A</c:v>
                </c:pt>
                <c:pt idx="155">
                  <c:v>#N/A</c:v>
                </c:pt>
                <c:pt idx="156">
                  <c:v>#N/A</c:v>
                </c:pt>
                <c:pt idx="157">
                  <c:v>#N/A</c:v>
                </c:pt>
                <c:pt idx="158">
                  <c:v>#N/A</c:v>
                </c:pt>
                <c:pt idx="159">
                  <c:v>#N/A</c:v>
                </c:pt>
                <c:pt idx="160">
                  <c:v>#N/A</c:v>
                </c:pt>
                <c:pt idx="161">
                  <c:v>#N/A</c:v>
                </c:pt>
                <c:pt idx="162">
                  <c:v>#N/A</c:v>
                </c:pt>
                <c:pt idx="163">
                  <c:v>#N/A</c:v>
                </c:pt>
                <c:pt idx="164">
                  <c:v>#N/A</c:v>
                </c:pt>
                <c:pt idx="165">
                  <c:v>#N/A</c:v>
                </c:pt>
                <c:pt idx="166">
                  <c:v>#N/A</c:v>
                </c:pt>
                <c:pt idx="167">
                  <c:v>#N/A</c:v>
                </c:pt>
                <c:pt idx="168">
                  <c:v>#N/A</c:v>
                </c:pt>
                <c:pt idx="169">
                  <c:v>#N/A</c:v>
                </c:pt>
                <c:pt idx="170">
                  <c:v>#N/A</c:v>
                </c:pt>
                <c:pt idx="171">
                  <c:v>#N/A</c:v>
                </c:pt>
                <c:pt idx="172">
                  <c:v>#N/A</c:v>
                </c:pt>
                <c:pt idx="173">
                  <c:v>#N/A</c:v>
                </c:pt>
                <c:pt idx="174">
                  <c:v>#N/A</c:v>
                </c:pt>
                <c:pt idx="175">
                  <c:v>#N/A</c:v>
                </c:pt>
                <c:pt idx="176">
                  <c:v>#N/A</c:v>
                </c:pt>
                <c:pt idx="177">
                  <c:v>#N/A</c:v>
                </c:pt>
                <c:pt idx="178">
                  <c:v>#N/A</c:v>
                </c:pt>
                <c:pt idx="179">
                  <c:v>#N/A</c:v>
                </c:pt>
                <c:pt idx="180">
                  <c:v>#N/A</c:v>
                </c:pt>
                <c:pt idx="181">
                  <c:v>#N/A</c:v>
                </c:pt>
                <c:pt idx="182">
                  <c:v>#N/A</c:v>
                </c:pt>
                <c:pt idx="183">
                  <c:v>#N/A</c:v>
                </c:pt>
                <c:pt idx="184">
                  <c:v>#N/A</c:v>
                </c:pt>
                <c:pt idx="185">
                  <c:v>#N/A</c:v>
                </c:pt>
                <c:pt idx="186">
                  <c:v>#N/A</c:v>
                </c:pt>
                <c:pt idx="187">
                  <c:v>#N/A</c:v>
                </c:pt>
                <c:pt idx="188">
                  <c:v>#N/A</c:v>
                </c:pt>
                <c:pt idx="189">
                  <c:v>#N/A</c:v>
                </c:pt>
                <c:pt idx="190">
                  <c:v>#N/A</c:v>
                </c:pt>
                <c:pt idx="191">
                  <c:v>#N/A</c:v>
                </c:pt>
                <c:pt idx="192">
                  <c:v>#N/A</c:v>
                </c:pt>
                <c:pt idx="193">
                  <c:v>#N/A</c:v>
                </c:pt>
                <c:pt idx="194">
                  <c:v>#N/A</c:v>
                </c:pt>
                <c:pt idx="195">
                  <c:v>#N/A</c:v>
                </c:pt>
                <c:pt idx="196">
                  <c:v>#N/A</c:v>
                </c:pt>
                <c:pt idx="197">
                  <c:v>#N/A</c:v>
                </c:pt>
                <c:pt idx="198">
                  <c:v>#N/A</c:v>
                </c:pt>
                <c:pt idx="199">
                  <c:v>#N/A</c:v>
                </c:pt>
                <c:pt idx="200">
                  <c:v>#N/A</c:v>
                </c:pt>
                <c:pt idx="201">
                  <c:v>#N/A</c:v>
                </c:pt>
                <c:pt idx="202">
                  <c:v>#N/A</c:v>
                </c:pt>
                <c:pt idx="203">
                  <c:v>#N/A</c:v>
                </c:pt>
                <c:pt idx="204">
                  <c:v>#N/A</c:v>
                </c:pt>
                <c:pt idx="205">
                  <c:v>#N/A</c:v>
                </c:pt>
                <c:pt idx="206">
                  <c:v>#N/A</c:v>
                </c:pt>
                <c:pt idx="207">
                  <c:v>#N/A</c:v>
                </c:pt>
                <c:pt idx="208">
                  <c:v>#N/A</c:v>
                </c:pt>
                <c:pt idx="209">
                  <c:v>#N/A</c:v>
                </c:pt>
                <c:pt idx="210">
                  <c:v>#N/A</c:v>
                </c:pt>
                <c:pt idx="211">
                  <c:v>#N/A</c:v>
                </c:pt>
                <c:pt idx="212">
                  <c:v>#N/A</c:v>
                </c:pt>
                <c:pt idx="213">
                  <c:v>#N/A</c:v>
                </c:pt>
                <c:pt idx="214">
                  <c:v>#N/A</c:v>
                </c:pt>
                <c:pt idx="215">
                  <c:v>#N/A</c:v>
                </c:pt>
                <c:pt idx="216">
                  <c:v>#N/A</c:v>
                </c:pt>
                <c:pt idx="217">
                  <c:v>#N/A</c:v>
                </c:pt>
                <c:pt idx="218">
                  <c:v>#N/A</c:v>
                </c:pt>
                <c:pt idx="219">
                  <c:v>#N/A</c:v>
                </c:pt>
                <c:pt idx="220">
                  <c:v>#N/A</c:v>
                </c:pt>
                <c:pt idx="221">
                  <c:v>#N/A</c:v>
                </c:pt>
                <c:pt idx="222">
                  <c:v>#N/A</c:v>
                </c:pt>
                <c:pt idx="223">
                  <c:v>#N/A</c:v>
                </c:pt>
                <c:pt idx="224">
                  <c:v>#N/A</c:v>
                </c:pt>
                <c:pt idx="225">
                  <c:v>#N/A</c:v>
                </c:pt>
                <c:pt idx="226">
                  <c:v>#N/A</c:v>
                </c:pt>
                <c:pt idx="227">
                  <c:v>#N/A</c:v>
                </c:pt>
                <c:pt idx="228">
                  <c:v>#N/A</c:v>
                </c:pt>
                <c:pt idx="229">
                  <c:v>#N/A</c:v>
                </c:pt>
                <c:pt idx="230">
                  <c:v>#N/A</c:v>
                </c:pt>
                <c:pt idx="231">
                  <c:v>#N/A</c:v>
                </c:pt>
                <c:pt idx="232">
                  <c:v>#N/A</c:v>
                </c:pt>
                <c:pt idx="233">
                  <c:v>#N/A</c:v>
                </c:pt>
                <c:pt idx="234">
                  <c:v>#N/A</c:v>
                </c:pt>
                <c:pt idx="235">
                  <c:v>#N/A</c:v>
                </c:pt>
                <c:pt idx="236">
                  <c:v>#N/A</c:v>
                </c:pt>
                <c:pt idx="237">
                  <c:v>#N/A</c:v>
                </c:pt>
                <c:pt idx="238">
                  <c:v>#N/A</c:v>
                </c:pt>
                <c:pt idx="239">
                  <c:v>#N/A</c:v>
                </c:pt>
                <c:pt idx="240">
                  <c:v>#N/A</c:v>
                </c:pt>
                <c:pt idx="241">
                  <c:v>#N/A</c:v>
                </c:pt>
                <c:pt idx="242">
                  <c:v>#N/A</c:v>
                </c:pt>
                <c:pt idx="243">
                  <c:v>#N/A</c:v>
                </c:pt>
                <c:pt idx="244">
                  <c:v>#N/A</c:v>
                </c:pt>
                <c:pt idx="245">
                  <c:v>#N/A</c:v>
                </c:pt>
                <c:pt idx="246">
                  <c:v>#N/A</c:v>
                </c:pt>
                <c:pt idx="247">
                  <c:v>#N/A</c:v>
                </c:pt>
                <c:pt idx="248">
                  <c:v>#N/A</c:v>
                </c:pt>
                <c:pt idx="249">
                  <c:v>#N/A</c:v>
                </c:pt>
                <c:pt idx="250">
                  <c:v>#N/A</c:v>
                </c:pt>
                <c:pt idx="251">
                  <c:v>#N/A</c:v>
                </c:pt>
                <c:pt idx="252">
                  <c:v>#N/A</c:v>
                </c:pt>
                <c:pt idx="253">
                  <c:v>#N/A</c:v>
                </c:pt>
                <c:pt idx="254">
                  <c:v>#N/A</c:v>
                </c:pt>
                <c:pt idx="255">
                  <c:v>#N/A</c:v>
                </c:pt>
                <c:pt idx="256">
                  <c:v>#N/A</c:v>
                </c:pt>
                <c:pt idx="257">
                  <c:v>#N/A</c:v>
                </c:pt>
                <c:pt idx="258">
                  <c:v>#N/A</c:v>
                </c:pt>
                <c:pt idx="259">
                  <c:v>#N/A</c:v>
                </c:pt>
                <c:pt idx="260">
                  <c:v>#N/A</c:v>
                </c:pt>
                <c:pt idx="261">
                  <c:v>#N/A</c:v>
                </c:pt>
                <c:pt idx="262">
                  <c:v>#N/A</c:v>
                </c:pt>
                <c:pt idx="263">
                  <c:v>#N/A</c:v>
                </c:pt>
                <c:pt idx="264">
                  <c:v>#N/A</c:v>
                </c:pt>
                <c:pt idx="265">
                  <c:v>#N/A</c:v>
                </c:pt>
                <c:pt idx="266">
                  <c:v>#N/A</c:v>
                </c:pt>
                <c:pt idx="267">
                  <c:v>#N/A</c:v>
                </c:pt>
                <c:pt idx="268">
                  <c:v>#N/A</c:v>
                </c:pt>
                <c:pt idx="269">
                  <c:v>#N/A</c:v>
                </c:pt>
                <c:pt idx="270">
                  <c:v>#N/A</c:v>
                </c:pt>
                <c:pt idx="271">
                  <c:v>#N/A</c:v>
                </c:pt>
                <c:pt idx="272">
                  <c:v>#N/A</c:v>
                </c:pt>
                <c:pt idx="273">
                  <c:v>#N/A</c:v>
                </c:pt>
                <c:pt idx="274">
                  <c:v>#N/A</c:v>
                </c:pt>
                <c:pt idx="275">
                  <c:v>#N/A</c:v>
                </c:pt>
                <c:pt idx="276">
                  <c:v>#N/A</c:v>
                </c:pt>
                <c:pt idx="277">
                  <c:v>#N/A</c:v>
                </c:pt>
                <c:pt idx="278">
                  <c:v>#N/A</c:v>
                </c:pt>
                <c:pt idx="279">
                  <c:v>#N/A</c:v>
                </c:pt>
                <c:pt idx="280">
                  <c:v>#N/A</c:v>
                </c:pt>
                <c:pt idx="281">
                  <c:v>#N/A</c:v>
                </c:pt>
                <c:pt idx="282">
                  <c:v>#N/A</c:v>
                </c:pt>
                <c:pt idx="283">
                  <c:v>#N/A</c:v>
                </c:pt>
                <c:pt idx="284">
                  <c:v>#N/A</c:v>
                </c:pt>
                <c:pt idx="285">
                  <c:v>#N/A</c:v>
                </c:pt>
                <c:pt idx="286">
                  <c:v>#N/A</c:v>
                </c:pt>
                <c:pt idx="287">
                  <c:v>#N/A</c:v>
                </c:pt>
                <c:pt idx="288">
                  <c:v>#N/A</c:v>
                </c:pt>
                <c:pt idx="289">
                  <c:v>#N/A</c:v>
                </c:pt>
                <c:pt idx="290">
                  <c:v>#N/A</c:v>
                </c:pt>
                <c:pt idx="291">
                  <c:v>#N/A</c:v>
                </c:pt>
                <c:pt idx="292">
                  <c:v>#N/A</c:v>
                </c:pt>
                <c:pt idx="293">
                  <c:v>#N/A</c:v>
                </c:pt>
                <c:pt idx="294">
                  <c:v>#N/A</c:v>
                </c:pt>
                <c:pt idx="295">
                  <c:v>#N/A</c:v>
                </c:pt>
                <c:pt idx="296">
                  <c:v>#N/A</c:v>
                </c:pt>
                <c:pt idx="297">
                  <c:v>#N/A</c:v>
                </c:pt>
                <c:pt idx="298">
                  <c:v>#N/A</c:v>
                </c:pt>
                <c:pt idx="299">
                  <c:v>#N/A</c:v>
                </c:pt>
                <c:pt idx="300">
                  <c:v>#N/A</c:v>
                </c:pt>
                <c:pt idx="301">
                  <c:v>#N/A</c:v>
                </c:pt>
                <c:pt idx="302">
                  <c:v>#N/A</c:v>
                </c:pt>
                <c:pt idx="303">
                  <c:v>#N/A</c:v>
                </c:pt>
                <c:pt idx="304">
                  <c:v>#N/A</c:v>
                </c:pt>
                <c:pt idx="305">
                  <c:v>#N/A</c:v>
                </c:pt>
                <c:pt idx="306">
                  <c:v>#N/A</c:v>
                </c:pt>
                <c:pt idx="307">
                  <c:v>#N/A</c:v>
                </c:pt>
                <c:pt idx="308">
                  <c:v>#N/A</c:v>
                </c:pt>
                <c:pt idx="309">
                  <c:v>#N/A</c:v>
                </c:pt>
                <c:pt idx="310">
                  <c:v>#N/A</c:v>
                </c:pt>
                <c:pt idx="311">
                  <c:v>#N/A</c:v>
                </c:pt>
                <c:pt idx="312">
                  <c:v>#N/A</c:v>
                </c:pt>
                <c:pt idx="313">
                  <c:v>#N/A</c:v>
                </c:pt>
                <c:pt idx="314">
                  <c:v>#N/A</c:v>
                </c:pt>
                <c:pt idx="315">
                  <c:v>#N/A</c:v>
                </c:pt>
                <c:pt idx="316">
                  <c:v>#N/A</c:v>
                </c:pt>
                <c:pt idx="317">
                  <c:v>#N/A</c:v>
                </c:pt>
                <c:pt idx="318">
                  <c:v>#N/A</c:v>
                </c:pt>
                <c:pt idx="319">
                  <c:v>#N/A</c:v>
                </c:pt>
                <c:pt idx="320">
                  <c:v>#N/A</c:v>
                </c:pt>
                <c:pt idx="321">
                  <c:v>#N/A</c:v>
                </c:pt>
                <c:pt idx="322">
                  <c:v>#N/A</c:v>
                </c:pt>
                <c:pt idx="323">
                  <c:v>#N/A</c:v>
                </c:pt>
                <c:pt idx="324">
                  <c:v>#N/A</c:v>
                </c:pt>
                <c:pt idx="325">
                  <c:v>#N/A</c:v>
                </c:pt>
                <c:pt idx="326">
                  <c:v>#N/A</c:v>
                </c:pt>
                <c:pt idx="327">
                  <c:v>#N/A</c:v>
                </c:pt>
                <c:pt idx="328">
                  <c:v>#N/A</c:v>
                </c:pt>
                <c:pt idx="329">
                  <c:v>#N/A</c:v>
                </c:pt>
                <c:pt idx="330">
                  <c:v>#N/A</c:v>
                </c:pt>
                <c:pt idx="331">
                  <c:v>#N/A</c:v>
                </c:pt>
                <c:pt idx="332">
                  <c:v>#N/A</c:v>
                </c:pt>
                <c:pt idx="333">
                  <c:v>#N/A</c:v>
                </c:pt>
                <c:pt idx="334">
                  <c:v>#N/A</c:v>
                </c:pt>
                <c:pt idx="335">
                  <c:v>#N/A</c:v>
                </c:pt>
                <c:pt idx="336">
                  <c:v>#N/A</c:v>
                </c:pt>
                <c:pt idx="337">
                  <c:v>#N/A</c:v>
                </c:pt>
                <c:pt idx="338">
                  <c:v>#N/A</c:v>
                </c:pt>
                <c:pt idx="339">
                  <c:v>#N/A</c:v>
                </c:pt>
                <c:pt idx="340">
                  <c:v>#N/A</c:v>
                </c:pt>
                <c:pt idx="341">
                  <c:v>#N/A</c:v>
                </c:pt>
                <c:pt idx="342">
                  <c:v>#N/A</c:v>
                </c:pt>
                <c:pt idx="343">
                  <c:v>#N/A</c:v>
                </c:pt>
                <c:pt idx="344">
                  <c:v>#N/A</c:v>
                </c:pt>
                <c:pt idx="345">
                  <c:v>#N/A</c:v>
                </c:pt>
                <c:pt idx="346">
                  <c:v>#N/A</c:v>
                </c:pt>
                <c:pt idx="347">
                  <c:v>#N/A</c:v>
                </c:pt>
                <c:pt idx="348">
                  <c:v>#N/A</c:v>
                </c:pt>
                <c:pt idx="349">
                  <c:v>#N/A</c:v>
                </c:pt>
                <c:pt idx="350">
                  <c:v>#N/A</c:v>
                </c:pt>
                <c:pt idx="351">
                  <c:v>#N/A</c:v>
                </c:pt>
                <c:pt idx="352">
                  <c:v>#N/A</c:v>
                </c:pt>
                <c:pt idx="353">
                  <c:v>#N/A</c:v>
                </c:pt>
                <c:pt idx="354">
                  <c:v>#N/A</c:v>
                </c:pt>
                <c:pt idx="355">
                  <c:v>#N/A</c:v>
                </c:pt>
                <c:pt idx="356">
                  <c:v>#N/A</c:v>
                </c:pt>
                <c:pt idx="357">
                  <c:v>#N/A</c:v>
                </c:pt>
                <c:pt idx="358">
                  <c:v>#N/A</c:v>
                </c:pt>
                <c:pt idx="359">
                  <c:v>#N/A</c:v>
                </c:pt>
                <c:pt idx="360">
                  <c:v>#N/A</c:v>
                </c:pt>
                <c:pt idx="361">
                  <c:v>#N/A</c:v>
                </c:pt>
                <c:pt idx="362">
                  <c:v>#N/A</c:v>
                </c:pt>
                <c:pt idx="363">
                  <c:v>#N/A</c:v>
                </c:pt>
                <c:pt idx="364">
                  <c:v>#N/A</c:v>
                </c:pt>
                <c:pt idx="365">
                  <c:v>#N/A</c:v>
                </c:pt>
                <c:pt idx="366">
                  <c:v>#N/A</c:v>
                </c:pt>
                <c:pt idx="367">
                  <c:v>#N/A</c:v>
                </c:pt>
                <c:pt idx="368">
                  <c:v>#N/A</c:v>
                </c:pt>
                <c:pt idx="369">
                  <c:v>#N/A</c:v>
                </c:pt>
                <c:pt idx="370">
                  <c:v>#N/A</c:v>
                </c:pt>
                <c:pt idx="371">
                  <c:v>#N/A</c:v>
                </c:pt>
                <c:pt idx="372">
                  <c:v>#N/A</c:v>
                </c:pt>
                <c:pt idx="373">
                  <c:v>#N/A</c:v>
                </c:pt>
                <c:pt idx="374">
                  <c:v>#N/A</c:v>
                </c:pt>
                <c:pt idx="375">
                  <c:v>#N/A</c:v>
                </c:pt>
                <c:pt idx="376">
                  <c:v>#N/A</c:v>
                </c:pt>
                <c:pt idx="377">
                  <c:v>#N/A</c:v>
                </c:pt>
                <c:pt idx="378">
                  <c:v>#N/A</c:v>
                </c:pt>
                <c:pt idx="379">
                  <c:v>#N/A</c:v>
                </c:pt>
                <c:pt idx="380">
                  <c:v>#N/A</c:v>
                </c:pt>
                <c:pt idx="381">
                  <c:v>#N/A</c:v>
                </c:pt>
                <c:pt idx="382">
                  <c:v>#N/A</c:v>
                </c:pt>
                <c:pt idx="383">
                  <c:v>#N/A</c:v>
                </c:pt>
                <c:pt idx="384">
                  <c:v>#N/A</c:v>
                </c:pt>
                <c:pt idx="385">
                  <c:v>#N/A</c:v>
                </c:pt>
                <c:pt idx="386">
                  <c:v>#N/A</c:v>
                </c:pt>
                <c:pt idx="387">
                  <c:v>#N/A</c:v>
                </c:pt>
                <c:pt idx="388">
                  <c:v>#N/A</c:v>
                </c:pt>
                <c:pt idx="389">
                  <c:v>#N/A</c:v>
                </c:pt>
                <c:pt idx="390">
                  <c:v>#N/A</c:v>
                </c:pt>
                <c:pt idx="391">
                  <c:v>#N/A</c:v>
                </c:pt>
                <c:pt idx="392">
                  <c:v>#N/A</c:v>
                </c:pt>
                <c:pt idx="393">
                  <c:v>#N/A</c:v>
                </c:pt>
                <c:pt idx="394">
                  <c:v>#N/A</c:v>
                </c:pt>
                <c:pt idx="395">
                  <c:v>#N/A</c:v>
                </c:pt>
                <c:pt idx="396">
                  <c:v>#N/A</c:v>
                </c:pt>
                <c:pt idx="397">
                  <c:v>#N/A</c:v>
                </c:pt>
                <c:pt idx="398">
                  <c:v>#N/A</c:v>
                </c:pt>
                <c:pt idx="399">
                  <c:v>#N/A</c:v>
                </c:pt>
                <c:pt idx="400">
                  <c:v>#N/A</c:v>
                </c:pt>
                <c:pt idx="401">
                  <c:v>#N/A</c:v>
                </c:pt>
                <c:pt idx="402">
                  <c:v>#N/A</c:v>
                </c:pt>
                <c:pt idx="403">
                  <c:v>#N/A</c:v>
                </c:pt>
                <c:pt idx="404">
                  <c:v>#N/A</c:v>
                </c:pt>
                <c:pt idx="405">
                  <c:v>#N/A</c:v>
                </c:pt>
                <c:pt idx="406">
                  <c:v>#N/A</c:v>
                </c:pt>
                <c:pt idx="407">
                  <c:v>#N/A</c:v>
                </c:pt>
                <c:pt idx="408">
                  <c:v>#N/A</c:v>
                </c:pt>
                <c:pt idx="409">
                  <c:v>#N/A</c:v>
                </c:pt>
                <c:pt idx="410">
                  <c:v>#N/A</c:v>
                </c:pt>
                <c:pt idx="411">
                  <c:v>#N/A</c:v>
                </c:pt>
                <c:pt idx="412">
                  <c:v>#N/A</c:v>
                </c:pt>
                <c:pt idx="413">
                  <c:v>#N/A</c:v>
                </c:pt>
                <c:pt idx="414">
                  <c:v>#N/A</c:v>
                </c:pt>
                <c:pt idx="415">
                  <c:v>#N/A</c:v>
                </c:pt>
                <c:pt idx="416">
                  <c:v>#N/A</c:v>
                </c:pt>
                <c:pt idx="417">
                  <c:v>#N/A</c:v>
                </c:pt>
                <c:pt idx="418">
                  <c:v>#N/A</c:v>
                </c:pt>
                <c:pt idx="419">
                  <c:v>#N/A</c:v>
                </c:pt>
                <c:pt idx="420">
                  <c:v>#N/A</c:v>
                </c:pt>
                <c:pt idx="421">
                  <c:v>#N/A</c:v>
                </c:pt>
                <c:pt idx="422">
                  <c:v>#N/A</c:v>
                </c:pt>
                <c:pt idx="423">
                  <c:v>#N/A</c:v>
                </c:pt>
                <c:pt idx="424">
                  <c:v>#N/A</c:v>
                </c:pt>
                <c:pt idx="425">
                  <c:v>#N/A</c:v>
                </c:pt>
                <c:pt idx="426">
                  <c:v>#N/A</c:v>
                </c:pt>
                <c:pt idx="427">
                  <c:v>#N/A</c:v>
                </c:pt>
                <c:pt idx="428">
                  <c:v>#N/A</c:v>
                </c:pt>
                <c:pt idx="429">
                  <c:v>#N/A</c:v>
                </c:pt>
                <c:pt idx="430">
                  <c:v>#N/A</c:v>
                </c:pt>
                <c:pt idx="431">
                  <c:v>#N/A</c:v>
                </c:pt>
                <c:pt idx="432">
                  <c:v>#N/A</c:v>
                </c:pt>
                <c:pt idx="433">
                  <c:v>#N/A</c:v>
                </c:pt>
                <c:pt idx="434">
                  <c:v>#N/A</c:v>
                </c:pt>
                <c:pt idx="435">
                  <c:v>#N/A</c:v>
                </c:pt>
                <c:pt idx="436">
                  <c:v>#N/A</c:v>
                </c:pt>
                <c:pt idx="437">
                  <c:v>#N/A</c:v>
                </c:pt>
                <c:pt idx="438">
                  <c:v>#N/A</c:v>
                </c:pt>
                <c:pt idx="439">
                  <c:v>#N/A</c:v>
                </c:pt>
                <c:pt idx="440">
                  <c:v>#N/A</c:v>
                </c:pt>
                <c:pt idx="441">
                  <c:v>#N/A</c:v>
                </c:pt>
                <c:pt idx="442">
                  <c:v>#N/A</c:v>
                </c:pt>
                <c:pt idx="443">
                  <c:v>#N/A</c:v>
                </c:pt>
                <c:pt idx="444">
                  <c:v>#N/A</c:v>
                </c:pt>
                <c:pt idx="445">
                  <c:v>#N/A</c:v>
                </c:pt>
                <c:pt idx="446">
                  <c:v>#N/A</c:v>
                </c:pt>
                <c:pt idx="447">
                  <c:v>#N/A</c:v>
                </c:pt>
                <c:pt idx="448">
                  <c:v>#N/A</c:v>
                </c:pt>
                <c:pt idx="449">
                  <c:v>#N/A</c:v>
                </c:pt>
                <c:pt idx="450">
                  <c:v>#N/A</c:v>
                </c:pt>
                <c:pt idx="451">
                  <c:v>#N/A</c:v>
                </c:pt>
                <c:pt idx="452">
                  <c:v>#N/A</c:v>
                </c:pt>
                <c:pt idx="453">
                  <c:v>#N/A</c:v>
                </c:pt>
                <c:pt idx="454">
                  <c:v>#N/A</c:v>
                </c:pt>
                <c:pt idx="455">
                  <c:v>#N/A</c:v>
                </c:pt>
                <c:pt idx="456">
                  <c:v>#N/A</c:v>
                </c:pt>
                <c:pt idx="457">
                  <c:v>#N/A</c:v>
                </c:pt>
                <c:pt idx="458">
                  <c:v>#N/A</c:v>
                </c:pt>
                <c:pt idx="459">
                  <c:v>#N/A</c:v>
                </c:pt>
                <c:pt idx="460">
                  <c:v>#N/A</c:v>
                </c:pt>
                <c:pt idx="461">
                  <c:v>#N/A</c:v>
                </c:pt>
                <c:pt idx="462">
                  <c:v>#N/A</c:v>
                </c:pt>
                <c:pt idx="463">
                  <c:v>#N/A</c:v>
                </c:pt>
                <c:pt idx="464">
                  <c:v>#N/A</c:v>
                </c:pt>
                <c:pt idx="465">
                  <c:v>#N/A</c:v>
                </c:pt>
                <c:pt idx="466">
                  <c:v>#N/A</c:v>
                </c:pt>
                <c:pt idx="467">
                  <c:v>#N/A</c:v>
                </c:pt>
                <c:pt idx="468">
                  <c:v>#N/A</c:v>
                </c:pt>
                <c:pt idx="469">
                  <c:v>#N/A</c:v>
                </c:pt>
                <c:pt idx="470">
                  <c:v>#N/A</c:v>
                </c:pt>
                <c:pt idx="471">
                  <c:v>#N/A</c:v>
                </c:pt>
                <c:pt idx="472">
                  <c:v>#N/A</c:v>
                </c:pt>
                <c:pt idx="473">
                  <c:v>#N/A</c:v>
                </c:pt>
                <c:pt idx="474">
                  <c:v>#N/A</c:v>
                </c:pt>
                <c:pt idx="475">
                  <c:v>#N/A</c:v>
                </c:pt>
                <c:pt idx="476">
                  <c:v>#N/A</c:v>
                </c:pt>
                <c:pt idx="477">
                  <c:v>#N/A</c:v>
                </c:pt>
                <c:pt idx="478">
                  <c:v>#N/A</c:v>
                </c:pt>
                <c:pt idx="479">
                  <c:v>#N/A</c:v>
                </c:pt>
                <c:pt idx="480">
                  <c:v>#N/A</c:v>
                </c:pt>
                <c:pt idx="481">
                  <c:v>#N/A</c:v>
                </c:pt>
                <c:pt idx="482">
                  <c:v>#N/A</c:v>
                </c:pt>
                <c:pt idx="483">
                  <c:v>#N/A</c:v>
                </c:pt>
                <c:pt idx="484">
                  <c:v>#N/A</c:v>
                </c:pt>
                <c:pt idx="485">
                  <c:v>#N/A</c:v>
                </c:pt>
                <c:pt idx="486">
                  <c:v>#N/A</c:v>
                </c:pt>
                <c:pt idx="487">
                  <c:v>#N/A</c:v>
                </c:pt>
                <c:pt idx="488">
                  <c:v>#N/A</c:v>
                </c:pt>
                <c:pt idx="489">
                  <c:v>#N/A</c:v>
                </c:pt>
                <c:pt idx="490">
                  <c:v>#N/A</c:v>
                </c:pt>
                <c:pt idx="491">
                  <c:v>#N/A</c:v>
                </c:pt>
                <c:pt idx="492">
                  <c:v>#N/A</c:v>
                </c:pt>
                <c:pt idx="493">
                  <c:v>#N/A</c:v>
                </c:pt>
                <c:pt idx="494">
                  <c:v>#N/A</c:v>
                </c:pt>
                <c:pt idx="495">
                  <c:v>#N/A</c:v>
                </c:pt>
                <c:pt idx="496">
                  <c:v>#N/A</c:v>
                </c:pt>
                <c:pt idx="497">
                  <c:v>#N/A</c:v>
                </c:pt>
                <c:pt idx="498">
                  <c:v>#N/A</c:v>
                </c:pt>
                <c:pt idx="499">
                  <c:v>#N/A</c:v>
                </c:pt>
                <c:pt idx="500">
                  <c:v>#N/A</c:v>
                </c:pt>
                <c:pt idx="501">
                  <c:v>#N/A</c:v>
                </c:pt>
                <c:pt idx="502">
                  <c:v>#N/A</c:v>
                </c:pt>
                <c:pt idx="503">
                  <c:v>#N/A</c:v>
                </c:pt>
                <c:pt idx="504">
                  <c:v>#N/A</c:v>
                </c:pt>
                <c:pt idx="505">
                  <c:v>#N/A</c:v>
                </c:pt>
                <c:pt idx="506">
                  <c:v>#N/A</c:v>
                </c:pt>
                <c:pt idx="507">
                  <c:v>#N/A</c:v>
                </c:pt>
                <c:pt idx="508">
                  <c:v>#N/A</c:v>
                </c:pt>
                <c:pt idx="509">
                  <c:v>#N/A</c:v>
                </c:pt>
                <c:pt idx="510">
                  <c:v>#N/A</c:v>
                </c:pt>
                <c:pt idx="511">
                  <c:v>#N/A</c:v>
                </c:pt>
                <c:pt idx="512">
                  <c:v>#N/A</c:v>
                </c:pt>
                <c:pt idx="513">
                  <c:v>#N/A</c:v>
                </c:pt>
                <c:pt idx="514">
                  <c:v>#N/A</c:v>
                </c:pt>
                <c:pt idx="515">
                  <c:v>#N/A</c:v>
                </c:pt>
                <c:pt idx="516">
                  <c:v>#N/A</c:v>
                </c:pt>
                <c:pt idx="517">
                  <c:v>#N/A</c:v>
                </c:pt>
                <c:pt idx="518">
                  <c:v>#N/A</c:v>
                </c:pt>
                <c:pt idx="519">
                  <c:v>#N/A</c:v>
                </c:pt>
                <c:pt idx="520">
                  <c:v>#N/A</c:v>
                </c:pt>
                <c:pt idx="521">
                  <c:v>#N/A</c:v>
                </c:pt>
                <c:pt idx="522">
                  <c:v>#N/A</c:v>
                </c:pt>
                <c:pt idx="523">
                  <c:v>#N/A</c:v>
                </c:pt>
                <c:pt idx="524">
                  <c:v>#N/A</c:v>
                </c:pt>
                <c:pt idx="525">
                  <c:v>#N/A</c:v>
                </c:pt>
                <c:pt idx="526">
                  <c:v>#N/A</c:v>
                </c:pt>
                <c:pt idx="527">
                  <c:v>#N/A</c:v>
                </c:pt>
                <c:pt idx="528">
                  <c:v>#N/A</c:v>
                </c:pt>
                <c:pt idx="529">
                  <c:v>#N/A</c:v>
                </c:pt>
                <c:pt idx="530">
                  <c:v>#N/A</c:v>
                </c:pt>
                <c:pt idx="531">
                  <c:v>#N/A</c:v>
                </c:pt>
                <c:pt idx="532">
                  <c:v>#N/A</c:v>
                </c:pt>
                <c:pt idx="533">
                  <c:v>#N/A</c:v>
                </c:pt>
                <c:pt idx="534">
                  <c:v>#N/A</c:v>
                </c:pt>
                <c:pt idx="535">
                  <c:v>#N/A</c:v>
                </c:pt>
                <c:pt idx="536">
                  <c:v>#N/A</c:v>
                </c:pt>
                <c:pt idx="537">
                  <c:v>#N/A</c:v>
                </c:pt>
                <c:pt idx="538">
                  <c:v>#N/A</c:v>
                </c:pt>
                <c:pt idx="539">
                  <c:v>#N/A</c:v>
                </c:pt>
                <c:pt idx="540">
                  <c:v>#N/A</c:v>
                </c:pt>
                <c:pt idx="541">
                  <c:v>#N/A</c:v>
                </c:pt>
                <c:pt idx="542">
                  <c:v>#N/A</c:v>
                </c:pt>
                <c:pt idx="543">
                  <c:v>#N/A</c:v>
                </c:pt>
                <c:pt idx="544">
                  <c:v>#N/A</c:v>
                </c:pt>
                <c:pt idx="545">
                  <c:v>#N/A</c:v>
                </c:pt>
                <c:pt idx="546">
                  <c:v>#N/A</c:v>
                </c:pt>
                <c:pt idx="547">
                  <c:v>#N/A</c:v>
                </c:pt>
                <c:pt idx="548">
                  <c:v>#N/A</c:v>
                </c:pt>
                <c:pt idx="549">
                  <c:v>#N/A</c:v>
                </c:pt>
                <c:pt idx="550">
                  <c:v>#N/A</c:v>
                </c:pt>
                <c:pt idx="551">
                  <c:v>#N/A</c:v>
                </c:pt>
                <c:pt idx="552">
                  <c:v>#N/A</c:v>
                </c:pt>
                <c:pt idx="553">
                  <c:v>#N/A</c:v>
                </c:pt>
                <c:pt idx="554">
                  <c:v>#N/A</c:v>
                </c:pt>
                <c:pt idx="555">
                  <c:v>#N/A</c:v>
                </c:pt>
                <c:pt idx="556">
                  <c:v>#N/A</c:v>
                </c:pt>
                <c:pt idx="557">
                  <c:v>#N/A</c:v>
                </c:pt>
                <c:pt idx="558">
                  <c:v>#N/A</c:v>
                </c:pt>
                <c:pt idx="559">
                  <c:v>#N/A</c:v>
                </c:pt>
                <c:pt idx="560">
                  <c:v>#N/A</c:v>
                </c:pt>
                <c:pt idx="561">
                  <c:v>#N/A</c:v>
                </c:pt>
                <c:pt idx="562">
                  <c:v>#N/A</c:v>
                </c:pt>
                <c:pt idx="563">
                  <c:v>#N/A</c:v>
                </c:pt>
                <c:pt idx="564">
                  <c:v>#N/A</c:v>
                </c:pt>
                <c:pt idx="565">
                  <c:v>#N/A</c:v>
                </c:pt>
                <c:pt idx="566">
                  <c:v>#N/A</c:v>
                </c:pt>
                <c:pt idx="567">
                  <c:v>#N/A</c:v>
                </c:pt>
                <c:pt idx="568">
                  <c:v>#N/A</c:v>
                </c:pt>
                <c:pt idx="569">
                  <c:v>#N/A</c:v>
                </c:pt>
                <c:pt idx="570">
                  <c:v>#N/A</c:v>
                </c:pt>
                <c:pt idx="571">
                  <c:v>#N/A</c:v>
                </c:pt>
                <c:pt idx="572">
                  <c:v>#N/A</c:v>
                </c:pt>
                <c:pt idx="573">
                  <c:v>#N/A</c:v>
                </c:pt>
                <c:pt idx="574">
                  <c:v>#N/A</c:v>
                </c:pt>
                <c:pt idx="575">
                  <c:v>#N/A</c:v>
                </c:pt>
                <c:pt idx="576">
                  <c:v>#N/A</c:v>
                </c:pt>
                <c:pt idx="577">
                  <c:v>#N/A</c:v>
                </c:pt>
                <c:pt idx="578">
                  <c:v>#N/A</c:v>
                </c:pt>
                <c:pt idx="579">
                  <c:v>#N/A</c:v>
                </c:pt>
                <c:pt idx="580">
                  <c:v>#N/A</c:v>
                </c:pt>
                <c:pt idx="581">
                  <c:v>#N/A</c:v>
                </c:pt>
                <c:pt idx="582">
                  <c:v>#N/A</c:v>
                </c:pt>
                <c:pt idx="583">
                  <c:v>#N/A</c:v>
                </c:pt>
                <c:pt idx="584">
                  <c:v>#N/A</c:v>
                </c:pt>
                <c:pt idx="585">
                  <c:v>#N/A</c:v>
                </c:pt>
                <c:pt idx="586">
                  <c:v>#N/A</c:v>
                </c:pt>
                <c:pt idx="587">
                  <c:v>#N/A</c:v>
                </c:pt>
                <c:pt idx="588">
                  <c:v>#N/A</c:v>
                </c:pt>
                <c:pt idx="589">
                  <c:v>#N/A</c:v>
                </c:pt>
                <c:pt idx="590">
                  <c:v>#N/A</c:v>
                </c:pt>
                <c:pt idx="591">
                  <c:v>#N/A</c:v>
                </c:pt>
                <c:pt idx="592">
                  <c:v>#N/A</c:v>
                </c:pt>
                <c:pt idx="593">
                  <c:v>#N/A</c:v>
                </c:pt>
                <c:pt idx="594">
                  <c:v>#N/A</c:v>
                </c:pt>
                <c:pt idx="595">
                  <c:v>#N/A</c:v>
                </c:pt>
                <c:pt idx="596">
                  <c:v>#N/A</c:v>
                </c:pt>
                <c:pt idx="597">
                  <c:v>#N/A</c:v>
                </c:pt>
                <c:pt idx="598">
                  <c:v>#N/A</c:v>
                </c:pt>
                <c:pt idx="599">
                  <c:v>#N/A</c:v>
                </c:pt>
                <c:pt idx="600">
                  <c:v>#N/A</c:v>
                </c:pt>
                <c:pt idx="601">
                  <c:v>#N/A</c:v>
                </c:pt>
                <c:pt idx="602">
                  <c:v>#N/A</c:v>
                </c:pt>
                <c:pt idx="603">
                  <c:v>#N/A</c:v>
                </c:pt>
                <c:pt idx="604">
                  <c:v>#N/A</c:v>
                </c:pt>
                <c:pt idx="605">
                  <c:v>#N/A</c:v>
                </c:pt>
                <c:pt idx="606">
                  <c:v>#N/A</c:v>
                </c:pt>
                <c:pt idx="607">
                  <c:v>#N/A</c:v>
                </c:pt>
                <c:pt idx="608">
                  <c:v>#N/A</c:v>
                </c:pt>
                <c:pt idx="609">
                  <c:v>#N/A</c:v>
                </c:pt>
                <c:pt idx="610">
                  <c:v>#N/A</c:v>
                </c:pt>
                <c:pt idx="611">
                  <c:v>#N/A</c:v>
                </c:pt>
                <c:pt idx="612">
                  <c:v>#N/A</c:v>
                </c:pt>
                <c:pt idx="613">
                  <c:v>#N/A</c:v>
                </c:pt>
                <c:pt idx="614">
                  <c:v>#N/A</c:v>
                </c:pt>
                <c:pt idx="615">
                  <c:v>#N/A</c:v>
                </c:pt>
                <c:pt idx="616">
                  <c:v>#N/A</c:v>
                </c:pt>
                <c:pt idx="617">
                  <c:v>#N/A</c:v>
                </c:pt>
                <c:pt idx="618">
                  <c:v>#N/A</c:v>
                </c:pt>
                <c:pt idx="619">
                  <c:v>#N/A</c:v>
                </c:pt>
                <c:pt idx="620">
                  <c:v>#N/A</c:v>
                </c:pt>
                <c:pt idx="621">
                  <c:v>#N/A</c:v>
                </c:pt>
                <c:pt idx="622">
                  <c:v>#N/A</c:v>
                </c:pt>
                <c:pt idx="623">
                  <c:v>#N/A</c:v>
                </c:pt>
                <c:pt idx="624">
                  <c:v>#N/A</c:v>
                </c:pt>
                <c:pt idx="625">
                  <c:v>#N/A</c:v>
                </c:pt>
                <c:pt idx="626">
                  <c:v>#N/A</c:v>
                </c:pt>
                <c:pt idx="627">
                  <c:v>#N/A</c:v>
                </c:pt>
                <c:pt idx="628">
                  <c:v>#N/A</c:v>
                </c:pt>
                <c:pt idx="629">
                  <c:v>#N/A</c:v>
                </c:pt>
                <c:pt idx="630">
                  <c:v>#N/A</c:v>
                </c:pt>
                <c:pt idx="631">
                  <c:v>#N/A</c:v>
                </c:pt>
                <c:pt idx="632">
                  <c:v>#N/A</c:v>
                </c:pt>
                <c:pt idx="633">
                  <c:v>#N/A</c:v>
                </c:pt>
                <c:pt idx="634">
                  <c:v>#N/A</c:v>
                </c:pt>
                <c:pt idx="635">
                  <c:v>#N/A</c:v>
                </c:pt>
                <c:pt idx="636">
                  <c:v>#N/A</c:v>
                </c:pt>
                <c:pt idx="637">
                  <c:v>#N/A</c:v>
                </c:pt>
                <c:pt idx="638">
                  <c:v>#N/A</c:v>
                </c:pt>
                <c:pt idx="639">
                  <c:v>#N/A</c:v>
                </c:pt>
                <c:pt idx="640">
                  <c:v>#N/A</c:v>
                </c:pt>
                <c:pt idx="641">
                  <c:v>#N/A</c:v>
                </c:pt>
                <c:pt idx="642">
                  <c:v>#N/A</c:v>
                </c:pt>
                <c:pt idx="643">
                  <c:v>#N/A</c:v>
                </c:pt>
                <c:pt idx="644">
                  <c:v>#N/A</c:v>
                </c:pt>
                <c:pt idx="645">
                  <c:v>#N/A</c:v>
                </c:pt>
                <c:pt idx="646">
                  <c:v>#N/A</c:v>
                </c:pt>
                <c:pt idx="647">
                  <c:v>#N/A</c:v>
                </c:pt>
                <c:pt idx="648">
                  <c:v>#N/A</c:v>
                </c:pt>
                <c:pt idx="649">
                  <c:v>#N/A</c:v>
                </c:pt>
                <c:pt idx="650">
                  <c:v>#N/A</c:v>
                </c:pt>
                <c:pt idx="651">
                  <c:v>#N/A</c:v>
                </c:pt>
                <c:pt idx="652">
                  <c:v>#N/A</c:v>
                </c:pt>
                <c:pt idx="653">
                  <c:v>#N/A</c:v>
                </c:pt>
                <c:pt idx="654">
                  <c:v>#N/A</c:v>
                </c:pt>
                <c:pt idx="655">
                  <c:v>#N/A</c:v>
                </c:pt>
                <c:pt idx="656">
                  <c:v>#N/A</c:v>
                </c:pt>
                <c:pt idx="657">
                  <c:v>#N/A</c:v>
                </c:pt>
                <c:pt idx="658">
                  <c:v>#N/A</c:v>
                </c:pt>
                <c:pt idx="659">
                  <c:v>#N/A</c:v>
                </c:pt>
                <c:pt idx="660">
                  <c:v>#N/A</c:v>
                </c:pt>
                <c:pt idx="661">
                  <c:v>#N/A</c:v>
                </c:pt>
                <c:pt idx="662">
                  <c:v>#N/A</c:v>
                </c:pt>
                <c:pt idx="663">
                  <c:v>#N/A</c:v>
                </c:pt>
                <c:pt idx="664">
                  <c:v>#N/A</c:v>
                </c:pt>
                <c:pt idx="665">
                  <c:v>#N/A</c:v>
                </c:pt>
                <c:pt idx="666">
                  <c:v>#N/A</c:v>
                </c:pt>
                <c:pt idx="667">
                  <c:v>#N/A</c:v>
                </c:pt>
                <c:pt idx="668">
                  <c:v>#N/A</c:v>
                </c:pt>
                <c:pt idx="669">
                  <c:v>#N/A</c:v>
                </c:pt>
                <c:pt idx="670">
                  <c:v>#N/A</c:v>
                </c:pt>
                <c:pt idx="671">
                  <c:v>#N/A</c:v>
                </c:pt>
                <c:pt idx="672">
                  <c:v>#N/A</c:v>
                </c:pt>
                <c:pt idx="673">
                  <c:v>#N/A</c:v>
                </c:pt>
                <c:pt idx="674">
                  <c:v>#N/A</c:v>
                </c:pt>
                <c:pt idx="675">
                  <c:v>#N/A</c:v>
                </c:pt>
                <c:pt idx="676">
                  <c:v>#N/A</c:v>
                </c:pt>
                <c:pt idx="677">
                  <c:v>#N/A</c:v>
                </c:pt>
                <c:pt idx="678">
                  <c:v>#N/A</c:v>
                </c:pt>
                <c:pt idx="679">
                  <c:v>#N/A</c:v>
                </c:pt>
                <c:pt idx="680">
                  <c:v>#N/A</c:v>
                </c:pt>
                <c:pt idx="681">
                  <c:v>#N/A</c:v>
                </c:pt>
                <c:pt idx="682">
                  <c:v>#N/A</c:v>
                </c:pt>
                <c:pt idx="683">
                  <c:v>#N/A</c:v>
                </c:pt>
                <c:pt idx="684">
                  <c:v>#N/A</c:v>
                </c:pt>
                <c:pt idx="685">
                  <c:v>#N/A</c:v>
                </c:pt>
                <c:pt idx="686">
                  <c:v>#N/A</c:v>
                </c:pt>
                <c:pt idx="687">
                  <c:v>#N/A</c:v>
                </c:pt>
                <c:pt idx="688">
                  <c:v>#N/A</c:v>
                </c:pt>
                <c:pt idx="689">
                  <c:v>#N/A</c:v>
                </c:pt>
                <c:pt idx="690">
                  <c:v>#N/A</c:v>
                </c:pt>
                <c:pt idx="691">
                  <c:v>#N/A</c:v>
                </c:pt>
                <c:pt idx="692">
                  <c:v>#N/A</c:v>
                </c:pt>
                <c:pt idx="693">
                  <c:v>#N/A</c:v>
                </c:pt>
                <c:pt idx="694">
                  <c:v>#N/A</c:v>
                </c:pt>
                <c:pt idx="695">
                  <c:v>#N/A</c:v>
                </c:pt>
                <c:pt idx="696">
                  <c:v>#N/A</c:v>
                </c:pt>
                <c:pt idx="697">
                  <c:v>#N/A</c:v>
                </c:pt>
                <c:pt idx="698">
                  <c:v>#N/A</c:v>
                </c:pt>
                <c:pt idx="699">
                  <c:v>#N/A</c:v>
                </c:pt>
                <c:pt idx="700">
                  <c:v>#N/A</c:v>
                </c:pt>
                <c:pt idx="701">
                  <c:v>#N/A</c:v>
                </c:pt>
                <c:pt idx="702">
                  <c:v>#N/A</c:v>
                </c:pt>
                <c:pt idx="703">
                  <c:v>#N/A</c:v>
                </c:pt>
                <c:pt idx="704">
                  <c:v>#N/A</c:v>
                </c:pt>
                <c:pt idx="705">
                  <c:v>#N/A</c:v>
                </c:pt>
                <c:pt idx="706">
                  <c:v>#N/A</c:v>
                </c:pt>
                <c:pt idx="707">
                  <c:v>#N/A</c:v>
                </c:pt>
                <c:pt idx="708">
                  <c:v>#N/A</c:v>
                </c:pt>
                <c:pt idx="709">
                  <c:v>#N/A</c:v>
                </c:pt>
                <c:pt idx="710">
                  <c:v>#N/A</c:v>
                </c:pt>
                <c:pt idx="711">
                  <c:v>#N/A</c:v>
                </c:pt>
                <c:pt idx="712">
                  <c:v>#N/A</c:v>
                </c:pt>
                <c:pt idx="713">
                  <c:v>#N/A</c:v>
                </c:pt>
                <c:pt idx="714">
                  <c:v>#N/A</c:v>
                </c:pt>
                <c:pt idx="715">
                  <c:v>#N/A</c:v>
                </c:pt>
                <c:pt idx="716">
                  <c:v>#N/A</c:v>
                </c:pt>
                <c:pt idx="717">
                  <c:v>#N/A</c:v>
                </c:pt>
                <c:pt idx="718">
                  <c:v>#N/A</c:v>
                </c:pt>
                <c:pt idx="719">
                  <c:v>#N/A</c:v>
                </c:pt>
                <c:pt idx="720">
                  <c:v>#N/A</c:v>
                </c:pt>
                <c:pt idx="721">
                  <c:v>#N/A</c:v>
                </c:pt>
                <c:pt idx="722">
                  <c:v>#N/A</c:v>
                </c:pt>
                <c:pt idx="723">
                  <c:v>#N/A</c:v>
                </c:pt>
                <c:pt idx="724">
                  <c:v>#N/A</c:v>
                </c:pt>
                <c:pt idx="725">
                  <c:v>#N/A</c:v>
                </c:pt>
                <c:pt idx="726">
                  <c:v>#N/A</c:v>
                </c:pt>
                <c:pt idx="727">
                  <c:v>#N/A</c:v>
                </c:pt>
                <c:pt idx="728">
                  <c:v>#N/A</c:v>
                </c:pt>
                <c:pt idx="729">
                  <c:v>#N/A</c:v>
                </c:pt>
                <c:pt idx="730">
                  <c:v>#N/A</c:v>
                </c:pt>
                <c:pt idx="731">
                  <c:v>#N/A</c:v>
                </c:pt>
                <c:pt idx="732">
                  <c:v>#N/A</c:v>
                </c:pt>
                <c:pt idx="733">
                  <c:v>#N/A</c:v>
                </c:pt>
                <c:pt idx="734">
                  <c:v>#N/A</c:v>
                </c:pt>
                <c:pt idx="735">
                  <c:v>#N/A</c:v>
                </c:pt>
                <c:pt idx="736">
                  <c:v>#N/A</c:v>
                </c:pt>
                <c:pt idx="737">
                  <c:v>#N/A</c:v>
                </c:pt>
                <c:pt idx="738">
                  <c:v>#N/A</c:v>
                </c:pt>
                <c:pt idx="739">
                  <c:v>#N/A</c:v>
                </c:pt>
                <c:pt idx="740">
                  <c:v>#N/A</c:v>
                </c:pt>
                <c:pt idx="741">
                  <c:v>#N/A</c:v>
                </c:pt>
                <c:pt idx="742">
                  <c:v>#N/A</c:v>
                </c:pt>
                <c:pt idx="743">
                  <c:v>#N/A</c:v>
                </c:pt>
                <c:pt idx="744">
                  <c:v>#N/A</c:v>
                </c:pt>
                <c:pt idx="745">
                  <c:v>#N/A</c:v>
                </c:pt>
                <c:pt idx="746">
                  <c:v>#N/A</c:v>
                </c:pt>
                <c:pt idx="747">
                  <c:v>#N/A</c:v>
                </c:pt>
                <c:pt idx="748">
                  <c:v>#N/A</c:v>
                </c:pt>
                <c:pt idx="749">
                  <c:v>#N/A</c:v>
                </c:pt>
                <c:pt idx="750">
                  <c:v>#N/A</c:v>
                </c:pt>
                <c:pt idx="751">
                  <c:v>#N/A</c:v>
                </c:pt>
                <c:pt idx="752">
                  <c:v>#N/A</c:v>
                </c:pt>
                <c:pt idx="753">
                  <c:v>#N/A</c:v>
                </c:pt>
                <c:pt idx="754">
                  <c:v>#N/A</c:v>
                </c:pt>
                <c:pt idx="755">
                  <c:v>#N/A</c:v>
                </c:pt>
                <c:pt idx="756">
                  <c:v>#N/A</c:v>
                </c:pt>
                <c:pt idx="757">
                  <c:v>#N/A</c:v>
                </c:pt>
                <c:pt idx="758">
                  <c:v>#N/A</c:v>
                </c:pt>
                <c:pt idx="759">
                  <c:v>#N/A</c:v>
                </c:pt>
                <c:pt idx="760">
                  <c:v>#N/A</c:v>
                </c:pt>
                <c:pt idx="761">
                  <c:v>#N/A</c:v>
                </c:pt>
                <c:pt idx="762">
                  <c:v>#N/A</c:v>
                </c:pt>
                <c:pt idx="763">
                  <c:v>#N/A</c:v>
                </c:pt>
                <c:pt idx="764">
                  <c:v>#N/A</c:v>
                </c:pt>
                <c:pt idx="765">
                  <c:v>#N/A</c:v>
                </c:pt>
                <c:pt idx="766">
                  <c:v>#N/A</c:v>
                </c:pt>
                <c:pt idx="767">
                  <c:v>#N/A</c:v>
                </c:pt>
                <c:pt idx="768">
                  <c:v>#N/A</c:v>
                </c:pt>
                <c:pt idx="769">
                  <c:v>#N/A</c:v>
                </c:pt>
                <c:pt idx="770">
                  <c:v>#N/A</c:v>
                </c:pt>
                <c:pt idx="771">
                  <c:v>#N/A</c:v>
                </c:pt>
                <c:pt idx="772">
                  <c:v>#N/A</c:v>
                </c:pt>
                <c:pt idx="773">
                  <c:v>#N/A</c:v>
                </c:pt>
                <c:pt idx="774">
                  <c:v>#N/A</c:v>
                </c:pt>
                <c:pt idx="775">
                  <c:v>#N/A</c:v>
                </c:pt>
                <c:pt idx="776">
                  <c:v>#N/A</c:v>
                </c:pt>
                <c:pt idx="777">
                  <c:v>#N/A</c:v>
                </c:pt>
                <c:pt idx="778">
                  <c:v>#N/A</c:v>
                </c:pt>
                <c:pt idx="779">
                  <c:v>#N/A</c:v>
                </c:pt>
                <c:pt idx="780">
                  <c:v>#N/A</c:v>
                </c:pt>
                <c:pt idx="781">
                  <c:v>#N/A</c:v>
                </c:pt>
                <c:pt idx="782">
                  <c:v>#N/A</c:v>
                </c:pt>
                <c:pt idx="783">
                  <c:v>#N/A</c:v>
                </c:pt>
                <c:pt idx="784">
                  <c:v>#N/A</c:v>
                </c:pt>
                <c:pt idx="785">
                  <c:v>#N/A</c:v>
                </c:pt>
                <c:pt idx="786">
                  <c:v>#N/A</c:v>
                </c:pt>
                <c:pt idx="787">
                  <c:v>#N/A</c:v>
                </c:pt>
                <c:pt idx="788">
                  <c:v>#N/A</c:v>
                </c:pt>
                <c:pt idx="789">
                  <c:v>#N/A</c:v>
                </c:pt>
                <c:pt idx="790">
                  <c:v>#N/A</c:v>
                </c:pt>
                <c:pt idx="791">
                  <c:v>#N/A</c:v>
                </c:pt>
                <c:pt idx="792">
                  <c:v>#N/A</c:v>
                </c:pt>
                <c:pt idx="793">
                  <c:v>#N/A</c:v>
                </c:pt>
                <c:pt idx="794">
                  <c:v>#N/A</c:v>
                </c:pt>
                <c:pt idx="795">
                  <c:v>#N/A</c:v>
                </c:pt>
                <c:pt idx="796">
                  <c:v>#N/A</c:v>
                </c:pt>
                <c:pt idx="797">
                  <c:v>#N/A</c:v>
                </c:pt>
                <c:pt idx="798">
                  <c:v>#N/A</c:v>
                </c:pt>
                <c:pt idx="799">
                  <c:v>#N/A</c:v>
                </c:pt>
                <c:pt idx="800">
                  <c:v>#N/A</c:v>
                </c:pt>
                <c:pt idx="801">
                  <c:v>#N/A</c:v>
                </c:pt>
                <c:pt idx="802">
                  <c:v>#N/A</c:v>
                </c:pt>
                <c:pt idx="803">
                  <c:v>#N/A</c:v>
                </c:pt>
                <c:pt idx="804">
                  <c:v>#N/A</c:v>
                </c:pt>
                <c:pt idx="805">
                  <c:v>#N/A</c:v>
                </c:pt>
                <c:pt idx="806">
                  <c:v>#N/A</c:v>
                </c:pt>
                <c:pt idx="807">
                  <c:v>#N/A</c:v>
                </c:pt>
                <c:pt idx="808">
                  <c:v>#N/A</c:v>
                </c:pt>
                <c:pt idx="809">
                  <c:v>#N/A</c:v>
                </c:pt>
                <c:pt idx="810">
                  <c:v>#N/A</c:v>
                </c:pt>
                <c:pt idx="811">
                  <c:v>#N/A</c:v>
                </c:pt>
                <c:pt idx="812">
                  <c:v>#N/A</c:v>
                </c:pt>
                <c:pt idx="813">
                  <c:v>#N/A</c:v>
                </c:pt>
                <c:pt idx="814">
                  <c:v>#N/A</c:v>
                </c:pt>
                <c:pt idx="815">
                  <c:v>#N/A</c:v>
                </c:pt>
                <c:pt idx="816">
                  <c:v>#N/A</c:v>
                </c:pt>
                <c:pt idx="817">
                  <c:v>#N/A</c:v>
                </c:pt>
                <c:pt idx="818">
                  <c:v>#N/A</c:v>
                </c:pt>
                <c:pt idx="819">
                  <c:v>#N/A</c:v>
                </c:pt>
                <c:pt idx="820">
                  <c:v>#N/A</c:v>
                </c:pt>
                <c:pt idx="821">
                  <c:v>#N/A</c:v>
                </c:pt>
                <c:pt idx="822">
                  <c:v>#N/A</c:v>
                </c:pt>
                <c:pt idx="823">
                  <c:v>#N/A</c:v>
                </c:pt>
                <c:pt idx="824">
                  <c:v>#N/A</c:v>
                </c:pt>
                <c:pt idx="825">
                  <c:v>#N/A</c:v>
                </c:pt>
                <c:pt idx="826">
                  <c:v>#N/A</c:v>
                </c:pt>
                <c:pt idx="827">
                  <c:v>#N/A</c:v>
                </c:pt>
                <c:pt idx="828">
                  <c:v>#N/A</c:v>
                </c:pt>
                <c:pt idx="829">
                  <c:v>#N/A</c:v>
                </c:pt>
                <c:pt idx="830">
                  <c:v>#N/A</c:v>
                </c:pt>
                <c:pt idx="831">
                  <c:v>#N/A</c:v>
                </c:pt>
                <c:pt idx="832">
                  <c:v>#N/A</c:v>
                </c:pt>
                <c:pt idx="833">
                  <c:v>#N/A</c:v>
                </c:pt>
                <c:pt idx="834">
                  <c:v>#N/A</c:v>
                </c:pt>
                <c:pt idx="835">
                  <c:v>#N/A</c:v>
                </c:pt>
                <c:pt idx="836">
                  <c:v>#N/A</c:v>
                </c:pt>
                <c:pt idx="837">
                  <c:v>#N/A</c:v>
                </c:pt>
                <c:pt idx="838">
                  <c:v>#N/A</c:v>
                </c:pt>
                <c:pt idx="839">
                  <c:v>#N/A</c:v>
                </c:pt>
                <c:pt idx="840">
                  <c:v>#N/A</c:v>
                </c:pt>
                <c:pt idx="841">
                  <c:v>#N/A</c:v>
                </c:pt>
                <c:pt idx="842">
                  <c:v>#N/A</c:v>
                </c:pt>
                <c:pt idx="843">
                  <c:v>#N/A</c:v>
                </c:pt>
                <c:pt idx="844">
                  <c:v>#N/A</c:v>
                </c:pt>
                <c:pt idx="845">
                  <c:v>#N/A</c:v>
                </c:pt>
                <c:pt idx="846">
                  <c:v>#N/A</c:v>
                </c:pt>
                <c:pt idx="847">
                  <c:v>#N/A</c:v>
                </c:pt>
                <c:pt idx="848">
                  <c:v>#N/A</c:v>
                </c:pt>
                <c:pt idx="849">
                  <c:v>#N/A</c:v>
                </c:pt>
                <c:pt idx="850">
                  <c:v>#N/A</c:v>
                </c:pt>
                <c:pt idx="851">
                  <c:v>#N/A</c:v>
                </c:pt>
                <c:pt idx="852">
                  <c:v>#N/A</c:v>
                </c:pt>
                <c:pt idx="853">
                  <c:v>#N/A</c:v>
                </c:pt>
                <c:pt idx="854">
                  <c:v>#N/A</c:v>
                </c:pt>
                <c:pt idx="855">
                  <c:v>#N/A</c:v>
                </c:pt>
                <c:pt idx="856">
                  <c:v>#N/A</c:v>
                </c:pt>
                <c:pt idx="857">
                  <c:v>#N/A</c:v>
                </c:pt>
                <c:pt idx="858">
                  <c:v>#N/A</c:v>
                </c:pt>
                <c:pt idx="859">
                  <c:v>#N/A</c:v>
                </c:pt>
                <c:pt idx="860">
                  <c:v>#N/A</c:v>
                </c:pt>
                <c:pt idx="861">
                  <c:v>#N/A</c:v>
                </c:pt>
                <c:pt idx="862">
                  <c:v>#N/A</c:v>
                </c:pt>
                <c:pt idx="863">
                  <c:v>#N/A</c:v>
                </c:pt>
                <c:pt idx="864">
                  <c:v>#N/A</c:v>
                </c:pt>
                <c:pt idx="865">
                  <c:v>#N/A</c:v>
                </c:pt>
                <c:pt idx="866">
                  <c:v>#N/A</c:v>
                </c:pt>
                <c:pt idx="867">
                  <c:v>#N/A</c:v>
                </c:pt>
                <c:pt idx="868">
                  <c:v>#N/A</c:v>
                </c:pt>
                <c:pt idx="869">
                  <c:v>#N/A</c:v>
                </c:pt>
                <c:pt idx="870">
                  <c:v>#N/A</c:v>
                </c:pt>
                <c:pt idx="871">
                  <c:v>#N/A</c:v>
                </c:pt>
                <c:pt idx="872">
                  <c:v>#N/A</c:v>
                </c:pt>
                <c:pt idx="873">
                  <c:v>#N/A</c:v>
                </c:pt>
                <c:pt idx="874">
                  <c:v>#N/A</c:v>
                </c:pt>
                <c:pt idx="875">
                  <c:v>#N/A</c:v>
                </c:pt>
                <c:pt idx="876">
                  <c:v>#N/A</c:v>
                </c:pt>
                <c:pt idx="877">
                  <c:v>#N/A</c:v>
                </c:pt>
                <c:pt idx="878">
                  <c:v>#N/A</c:v>
                </c:pt>
                <c:pt idx="879">
                  <c:v>#N/A</c:v>
                </c:pt>
                <c:pt idx="880">
                  <c:v>#N/A</c:v>
                </c:pt>
                <c:pt idx="881">
                  <c:v>#N/A</c:v>
                </c:pt>
                <c:pt idx="882">
                  <c:v>#N/A</c:v>
                </c:pt>
                <c:pt idx="883">
                  <c:v>#N/A</c:v>
                </c:pt>
                <c:pt idx="884">
                  <c:v>#N/A</c:v>
                </c:pt>
                <c:pt idx="885">
                  <c:v>#N/A</c:v>
                </c:pt>
                <c:pt idx="886">
                  <c:v>#N/A</c:v>
                </c:pt>
                <c:pt idx="887">
                  <c:v>#N/A</c:v>
                </c:pt>
                <c:pt idx="888">
                  <c:v>#N/A</c:v>
                </c:pt>
                <c:pt idx="889">
                  <c:v>#N/A</c:v>
                </c:pt>
                <c:pt idx="890">
                  <c:v>#N/A</c:v>
                </c:pt>
                <c:pt idx="891">
                  <c:v>#N/A</c:v>
                </c:pt>
                <c:pt idx="892">
                  <c:v>#N/A</c:v>
                </c:pt>
                <c:pt idx="893">
                  <c:v>#N/A</c:v>
                </c:pt>
                <c:pt idx="894">
                  <c:v>#N/A</c:v>
                </c:pt>
                <c:pt idx="895">
                  <c:v>#N/A</c:v>
                </c:pt>
                <c:pt idx="896">
                  <c:v>#N/A</c:v>
                </c:pt>
                <c:pt idx="897">
                  <c:v>#N/A</c:v>
                </c:pt>
                <c:pt idx="898">
                  <c:v>#N/A</c:v>
                </c:pt>
                <c:pt idx="899">
                  <c:v>#N/A</c:v>
                </c:pt>
                <c:pt idx="900">
                  <c:v>#N/A</c:v>
                </c:pt>
                <c:pt idx="901">
                  <c:v>#N/A</c:v>
                </c:pt>
                <c:pt idx="902">
                  <c:v>#N/A</c:v>
                </c:pt>
                <c:pt idx="903">
                  <c:v>#N/A</c:v>
                </c:pt>
                <c:pt idx="904">
                  <c:v>#N/A</c:v>
                </c:pt>
                <c:pt idx="905">
                  <c:v>#N/A</c:v>
                </c:pt>
                <c:pt idx="906">
                  <c:v>#N/A</c:v>
                </c:pt>
                <c:pt idx="907">
                  <c:v>#N/A</c:v>
                </c:pt>
                <c:pt idx="908">
                  <c:v>#N/A</c:v>
                </c:pt>
                <c:pt idx="909">
                  <c:v>#N/A</c:v>
                </c:pt>
                <c:pt idx="910">
                  <c:v>#N/A</c:v>
                </c:pt>
                <c:pt idx="911">
                  <c:v>#N/A</c:v>
                </c:pt>
                <c:pt idx="912">
                  <c:v>#N/A</c:v>
                </c:pt>
                <c:pt idx="913">
                  <c:v>#N/A</c:v>
                </c:pt>
                <c:pt idx="914">
                  <c:v>#N/A</c:v>
                </c:pt>
                <c:pt idx="915">
                  <c:v>#N/A</c:v>
                </c:pt>
                <c:pt idx="916">
                  <c:v>#N/A</c:v>
                </c:pt>
                <c:pt idx="917">
                  <c:v>#N/A</c:v>
                </c:pt>
                <c:pt idx="918">
                  <c:v>#N/A</c:v>
                </c:pt>
                <c:pt idx="919">
                  <c:v>#N/A</c:v>
                </c:pt>
                <c:pt idx="920">
                  <c:v>#N/A</c:v>
                </c:pt>
                <c:pt idx="921">
                  <c:v>#N/A</c:v>
                </c:pt>
                <c:pt idx="922">
                  <c:v>#N/A</c:v>
                </c:pt>
                <c:pt idx="923">
                  <c:v>#N/A</c:v>
                </c:pt>
                <c:pt idx="924">
                  <c:v>#N/A</c:v>
                </c:pt>
                <c:pt idx="925">
                  <c:v>#N/A</c:v>
                </c:pt>
                <c:pt idx="926">
                  <c:v>#N/A</c:v>
                </c:pt>
                <c:pt idx="927">
                  <c:v>#N/A</c:v>
                </c:pt>
                <c:pt idx="928">
                  <c:v>#N/A</c:v>
                </c:pt>
                <c:pt idx="929">
                  <c:v>#N/A</c:v>
                </c:pt>
                <c:pt idx="930">
                  <c:v>#N/A</c:v>
                </c:pt>
                <c:pt idx="931">
                  <c:v>#N/A</c:v>
                </c:pt>
                <c:pt idx="932">
                  <c:v>#N/A</c:v>
                </c:pt>
                <c:pt idx="933">
                  <c:v>#N/A</c:v>
                </c:pt>
                <c:pt idx="934">
                  <c:v>#N/A</c:v>
                </c:pt>
                <c:pt idx="935">
                  <c:v>#N/A</c:v>
                </c:pt>
                <c:pt idx="936">
                  <c:v>#N/A</c:v>
                </c:pt>
                <c:pt idx="937">
                  <c:v>#N/A</c:v>
                </c:pt>
                <c:pt idx="938">
                  <c:v>#N/A</c:v>
                </c:pt>
                <c:pt idx="939">
                  <c:v>#N/A</c:v>
                </c:pt>
                <c:pt idx="940">
                  <c:v>#N/A</c:v>
                </c:pt>
                <c:pt idx="941">
                  <c:v>#N/A</c:v>
                </c:pt>
                <c:pt idx="942">
                  <c:v>#N/A</c:v>
                </c:pt>
                <c:pt idx="943">
                  <c:v>#N/A</c:v>
                </c:pt>
                <c:pt idx="944">
                  <c:v>#N/A</c:v>
                </c:pt>
                <c:pt idx="945">
                  <c:v>#N/A</c:v>
                </c:pt>
                <c:pt idx="946">
                  <c:v>#N/A</c:v>
                </c:pt>
                <c:pt idx="947">
                  <c:v>#N/A</c:v>
                </c:pt>
                <c:pt idx="948">
                  <c:v>#N/A</c:v>
                </c:pt>
                <c:pt idx="949">
                  <c:v>#N/A</c:v>
                </c:pt>
                <c:pt idx="950">
                  <c:v>#N/A</c:v>
                </c:pt>
                <c:pt idx="951">
                  <c:v>#N/A</c:v>
                </c:pt>
                <c:pt idx="952">
                  <c:v>#N/A</c:v>
                </c:pt>
                <c:pt idx="953">
                  <c:v>#N/A</c:v>
                </c:pt>
                <c:pt idx="954">
                  <c:v>#N/A</c:v>
                </c:pt>
                <c:pt idx="955">
                  <c:v>#N/A</c:v>
                </c:pt>
                <c:pt idx="956">
                  <c:v>#N/A</c:v>
                </c:pt>
                <c:pt idx="957">
                  <c:v>#N/A</c:v>
                </c:pt>
                <c:pt idx="958">
                  <c:v>#N/A</c:v>
                </c:pt>
                <c:pt idx="959">
                  <c:v>#N/A</c:v>
                </c:pt>
                <c:pt idx="960">
                  <c:v>#N/A</c:v>
                </c:pt>
                <c:pt idx="961">
                  <c:v>#N/A</c:v>
                </c:pt>
                <c:pt idx="962">
                  <c:v>#N/A</c:v>
                </c:pt>
                <c:pt idx="963">
                  <c:v>#N/A</c:v>
                </c:pt>
                <c:pt idx="964">
                  <c:v>#N/A</c:v>
                </c:pt>
                <c:pt idx="965">
                  <c:v>#N/A</c:v>
                </c:pt>
                <c:pt idx="966">
                  <c:v>#N/A</c:v>
                </c:pt>
                <c:pt idx="967">
                  <c:v>#N/A</c:v>
                </c:pt>
                <c:pt idx="968">
                  <c:v>#N/A</c:v>
                </c:pt>
                <c:pt idx="969">
                  <c:v>#N/A</c:v>
                </c:pt>
                <c:pt idx="970">
                  <c:v>#N/A</c:v>
                </c:pt>
                <c:pt idx="971">
                  <c:v>#N/A</c:v>
                </c:pt>
                <c:pt idx="972">
                  <c:v>#N/A</c:v>
                </c:pt>
                <c:pt idx="973">
                  <c:v>#N/A</c:v>
                </c:pt>
                <c:pt idx="974">
                  <c:v>#N/A</c:v>
                </c:pt>
                <c:pt idx="975">
                  <c:v>#N/A</c:v>
                </c:pt>
                <c:pt idx="976">
                  <c:v>#N/A</c:v>
                </c:pt>
                <c:pt idx="977">
                  <c:v>#N/A</c:v>
                </c:pt>
                <c:pt idx="978">
                  <c:v>#N/A</c:v>
                </c:pt>
                <c:pt idx="979">
                  <c:v>#N/A</c:v>
                </c:pt>
                <c:pt idx="980">
                  <c:v>#N/A</c:v>
                </c:pt>
                <c:pt idx="981">
                  <c:v>#N/A</c:v>
                </c:pt>
                <c:pt idx="982">
                  <c:v>#N/A</c:v>
                </c:pt>
                <c:pt idx="983">
                  <c:v>#N/A</c:v>
                </c:pt>
                <c:pt idx="984">
                  <c:v>#N/A</c:v>
                </c:pt>
                <c:pt idx="985">
                  <c:v>#N/A</c:v>
                </c:pt>
                <c:pt idx="986">
                  <c:v>#N/A</c:v>
                </c:pt>
                <c:pt idx="987">
                  <c:v>#N/A</c:v>
                </c:pt>
                <c:pt idx="988">
                  <c:v>#N/A</c:v>
                </c:pt>
                <c:pt idx="989">
                  <c:v>#N/A</c:v>
                </c:pt>
                <c:pt idx="990">
                  <c:v>#N/A</c:v>
                </c:pt>
                <c:pt idx="991">
                  <c:v>#N/A</c:v>
                </c:pt>
                <c:pt idx="992">
                  <c:v>#N/A</c:v>
                </c:pt>
                <c:pt idx="993">
                  <c:v>#N/A</c:v>
                </c:pt>
                <c:pt idx="994">
                  <c:v>#N/A</c:v>
                </c:pt>
                <c:pt idx="995">
                  <c:v>#N/A</c:v>
                </c:pt>
                <c:pt idx="996">
                  <c:v>#N/A</c:v>
                </c:pt>
                <c:pt idx="997">
                  <c:v>#N/A</c:v>
                </c:pt>
                <c:pt idx="998">
                  <c:v>#N/A</c:v>
                </c:pt>
                <c:pt idx="999">
                  <c:v>#N/A</c:v>
                </c:pt>
                <c:pt idx="1000">
                  <c:v>#N/A</c:v>
                </c:pt>
                <c:pt idx="1001">
                  <c:v>#N/A</c:v>
                </c:pt>
                <c:pt idx="1002">
                  <c:v>#N/A</c:v>
                </c:pt>
                <c:pt idx="1003">
                  <c:v>#N/A</c:v>
                </c:pt>
                <c:pt idx="1004">
                  <c:v>#N/A</c:v>
                </c:pt>
                <c:pt idx="1005">
                  <c:v>#N/A</c:v>
                </c:pt>
                <c:pt idx="1006">
                  <c:v>#N/A</c:v>
                </c:pt>
                <c:pt idx="1007">
                  <c:v>#N/A</c:v>
                </c:pt>
                <c:pt idx="1008">
                  <c:v>#N/A</c:v>
                </c:pt>
                <c:pt idx="1009">
                  <c:v>#N/A</c:v>
                </c:pt>
                <c:pt idx="1010">
                  <c:v>#N/A</c:v>
                </c:pt>
                <c:pt idx="1011">
                  <c:v>#N/A</c:v>
                </c:pt>
                <c:pt idx="1012">
                  <c:v>#N/A</c:v>
                </c:pt>
                <c:pt idx="1013">
                  <c:v>#N/A</c:v>
                </c:pt>
                <c:pt idx="1014">
                  <c:v>#N/A</c:v>
                </c:pt>
                <c:pt idx="1015">
                  <c:v>#N/A</c:v>
                </c:pt>
                <c:pt idx="1016">
                  <c:v>#N/A</c:v>
                </c:pt>
                <c:pt idx="1017">
                  <c:v>#N/A</c:v>
                </c:pt>
                <c:pt idx="1018">
                  <c:v>#N/A</c:v>
                </c:pt>
                <c:pt idx="1019">
                  <c:v>#N/A</c:v>
                </c:pt>
                <c:pt idx="1020">
                  <c:v>#N/A</c:v>
                </c:pt>
                <c:pt idx="1021">
                  <c:v>#N/A</c:v>
                </c:pt>
                <c:pt idx="1022">
                  <c:v>#N/A</c:v>
                </c:pt>
                <c:pt idx="1023">
                  <c:v>#N/A</c:v>
                </c:pt>
                <c:pt idx="1024">
                  <c:v>#N/A</c:v>
                </c:pt>
                <c:pt idx="1025">
                  <c:v>#N/A</c:v>
                </c:pt>
                <c:pt idx="1026">
                  <c:v>#N/A</c:v>
                </c:pt>
                <c:pt idx="1027">
                  <c:v>#N/A</c:v>
                </c:pt>
                <c:pt idx="1028">
                  <c:v>#N/A</c:v>
                </c:pt>
                <c:pt idx="1029">
                  <c:v>#N/A</c:v>
                </c:pt>
                <c:pt idx="1030">
                  <c:v>#N/A</c:v>
                </c:pt>
                <c:pt idx="1031">
                  <c:v>#N/A</c:v>
                </c:pt>
                <c:pt idx="1032">
                  <c:v>#N/A</c:v>
                </c:pt>
                <c:pt idx="1033">
                  <c:v>#N/A</c:v>
                </c:pt>
                <c:pt idx="1034">
                  <c:v>#N/A</c:v>
                </c:pt>
                <c:pt idx="1035">
                  <c:v>#N/A</c:v>
                </c:pt>
                <c:pt idx="1036">
                  <c:v>#N/A</c:v>
                </c:pt>
                <c:pt idx="1037">
                  <c:v>#N/A</c:v>
                </c:pt>
                <c:pt idx="1038">
                  <c:v>#N/A</c:v>
                </c:pt>
                <c:pt idx="1039">
                  <c:v>#N/A</c:v>
                </c:pt>
                <c:pt idx="1040">
                  <c:v>#N/A</c:v>
                </c:pt>
                <c:pt idx="1041">
                  <c:v>#N/A</c:v>
                </c:pt>
                <c:pt idx="1042">
                  <c:v>#N/A</c:v>
                </c:pt>
                <c:pt idx="1043">
                  <c:v>#N/A</c:v>
                </c:pt>
                <c:pt idx="1044">
                  <c:v>#N/A</c:v>
                </c:pt>
                <c:pt idx="1045">
                  <c:v>#N/A</c:v>
                </c:pt>
                <c:pt idx="1046">
                  <c:v>#N/A</c:v>
                </c:pt>
                <c:pt idx="1047">
                  <c:v>#N/A</c:v>
                </c:pt>
                <c:pt idx="1048">
                  <c:v>#N/A</c:v>
                </c:pt>
                <c:pt idx="1049">
                  <c:v>#N/A</c:v>
                </c:pt>
                <c:pt idx="1050">
                  <c:v>#N/A</c:v>
                </c:pt>
                <c:pt idx="1051">
                  <c:v>#N/A</c:v>
                </c:pt>
                <c:pt idx="1052">
                  <c:v>#N/A</c:v>
                </c:pt>
                <c:pt idx="1053">
                  <c:v>#N/A</c:v>
                </c:pt>
                <c:pt idx="1054">
                  <c:v>#N/A</c:v>
                </c:pt>
                <c:pt idx="1055">
                  <c:v>#N/A</c:v>
                </c:pt>
                <c:pt idx="1056">
                  <c:v>#N/A</c:v>
                </c:pt>
                <c:pt idx="1057">
                  <c:v>#N/A</c:v>
                </c:pt>
                <c:pt idx="1058">
                  <c:v>#N/A</c:v>
                </c:pt>
                <c:pt idx="1059">
                  <c:v>#N/A</c:v>
                </c:pt>
                <c:pt idx="1060">
                  <c:v>#N/A</c:v>
                </c:pt>
                <c:pt idx="1061">
                  <c:v>#N/A</c:v>
                </c:pt>
                <c:pt idx="1062">
                  <c:v>#N/A</c:v>
                </c:pt>
                <c:pt idx="1063">
                  <c:v>#N/A</c:v>
                </c:pt>
                <c:pt idx="1064">
                  <c:v>#N/A</c:v>
                </c:pt>
                <c:pt idx="1065">
                  <c:v>#N/A</c:v>
                </c:pt>
                <c:pt idx="1066">
                  <c:v>#N/A</c:v>
                </c:pt>
                <c:pt idx="1067">
                  <c:v>#N/A</c:v>
                </c:pt>
                <c:pt idx="1068">
                  <c:v>#N/A</c:v>
                </c:pt>
                <c:pt idx="1069">
                  <c:v>#N/A</c:v>
                </c:pt>
                <c:pt idx="1070">
                  <c:v>#N/A</c:v>
                </c:pt>
                <c:pt idx="1071">
                  <c:v>#N/A</c:v>
                </c:pt>
                <c:pt idx="1072">
                  <c:v>#N/A</c:v>
                </c:pt>
                <c:pt idx="1073">
                  <c:v>#N/A</c:v>
                </c:pt>
                <c:pt idx="1074">
                  <c:v>#N/A</c:v>
                </c:pt>
                <c:pt idx="1075">
                  <c:v>#N/A</c:v>
                </c:pt>
                <c:pt idx="1076">
                  <c:v>#N/A</c:v>
                </c:pt>
                <c:pt idx="1077">
                  <c:v>#N/A</c:v>
                </c:pt>
                <c:pt idx="1078">
                  <c:v>#N/A</c:v>
                </c:pt>
                <c:pt idx="1079">
                  <c:v>#N/A</c:v>
                </c:pt>
                <c:pt idx="1080">
                  <c:v>#N/A</c:v>
                </c:pt>
                <c:pt idx="1081">
                  <c:v>#N/A</c:v>
                </c:pt>
                <c:pt idx="1082">
                  <c:v>#N/A</c:v>
                </c:pt>
                <c:pt idx="1083">
                  <c:v>#N/A</c:v>
                </c:pt>
                <c:pt idx="1084">
                  <c:v>#N/A</c:v>
                </c:pt>
                <c:pt idx="1085">
                  <c:v>#N/A</c:v>
                </c:pt>
                <c:pt idx="1086">
                  <c:v>#N/A</c:v>
                </c:pt>
                <c:pt idx="1087">
                  <c:v>#N/A</c:v>
                </c:pt>
                <c:pt idx="1088">
                  <c:v>#N/A</c:v>
                </c:pt>
                <c:pt idx="1089">
                  <c:v>#N/A</c:v>
                </c:pt>
                <c:pt idx="1090">
                  <c:v>#N/A</c:v>
                </c:pt>
                <c:pt idx="1091">
                  <c:v>#N/A</c:v>
                </c:pt>
                <c:pt idx="1092">
                  <c:v>#N/A</c:v>
                </c:pt>
                <c:pt idx="1093">
                  <c:v>#N/A</c:v>
                </c:pt>
                <c:pt idx="1094">
                  <c:v>#N/A</c:v>
                </c:pt>
                <c:pt idx="1095">
                  <c:v>#N/A</c:v>
                </c:pt>
                <c:pt idx="1096">
                  <c:v>#N/A</c:v>
                </c:pt>
                <c:pt idx="1097">
                  <c:v>#N/A</c:v>
                </c:pt>
                <c:pt idx="1098">
                  <c:v>#N/A</c:v>
                </c:pt>
                <c:pt idx="1099">
                  <c:v>#N/A</c:v>
                </c:pt>
                <c:pt idx="1100">
                  <c:v>#N/A</c:v>
                </c:pt>
                <c:pt idx="1101">
                  <c:v>#N/A</c:v>
                </c:pt>
                <c:pt idx="1102">
                  <c:v>#N/A</c:v>
                </c:pt>
                <c:pt idx="1103">
                  <c:v>#N/A</c:v>
                </c:pt>
                <c:pt idx="1104">
                  <c:v>#N/A</c:v>
                </c:pt>
                <c:pt idx="1105">
                  <c:v>#N/A</c:v>
                </c:pt>
                <c:pt idx="1106">
                  <c:v>#N/A</c:v>
                </c:pt>
                <c:pt idx="1107">
                  <c:v>#N/A</c:v>
                </c:pt>
                <c:pt idx="1108">
                  <c:v>#N/A</c:v>
                </c:pt>
                <c:pt idx="1109">
                  <c:v>#N/A</c:v>
                </c:pt>
                <c:pt idx="1110">
                  <c:v>#N/A</c:v>
                </c:pt>
                <c:pt idx="1111">
                  <c:v>#N/A</c:v>
                </c:pt>
                <c:pt idx="1112">
                  <c:v>#N/A</c:v>
                </c:pt>
                <c:pt idx="1113">
                  <c:v>#N/A</c:v>
                </c:pt>
                <c:pt idx="1114">
                  <c:v>#N/A</c:v>
                </c:pt>
                <c:pt idx="1115">
                  <c:v>#N/A</c:v>
                </c:pt>
                <c:pt idx="1116">
                  <c:v>#N/A</c:v>
                </c:pt>
                <c:pt idx="1117">
                  <c:v>#N/A</c:v>
                </c:pt>
                <c:pt idx="1118">
                  <c:v>#N/A</c:v>
                </c:pt>
                <c:pt idx="1119">
                  <c:v>#N/A</c:v>
                </c:pt>
                <c:pt idx="1120">
                  <c:v>#N/A</c:v>
                </c:pt>
                <c:pt idx="1121">
                  <c:v>#N/A</c:v>
                </c:pt>
                <c:pt idx="1122">
                  <c:v>#N/A</c:v>
                </c:pt>
                <c:pt idx="1123">
                  <c:v>#N/A</c:v>
                </c:pt>
                <c:pt idx="1124">
                  <c:v>#N/A</c:v>
                </c:pt>
                <c:pt idx="1125">
                  <c:v>#N/A</c:v>
                </c:pt>
                <c:pt idx="1126">
                  <c:v>#N/A</c:v>
                </c:pt>
                <c:pt idx="1127">
                  <c:v>#N/A</c:v>
                </c:pt>
                <c:pt idx="1128">
                  <c:v>#N/A</c:v>
                </c:pt>
                <c:pt idx="1129">
                  <c:v>#N/A</c:v>
                </c:pt>
                <c:pt idx="1130">
                  <c:v>#N/A</c:v>
                </c:pt>
                <c:pt idx="1131">
                  <c:v>#N/A</c:v>
                </c:pt>
                <c:pt idx="1132">
                  <c:v>#N/A</c:v>
                </c:pt>
                <c:pt idx="1133">
                  <c:v>#N/A</c:v>
                </c:pt>
                <c:pt idx="1134">
                  <c:v>#N/A</c:v>
                </c:pt>
                <c:pt idx="1135">
                  <c:v>#N/A</c:v>
                </c:pt>
                <c:pt idx="1136">
                  <c:v>#N/A</c:v>
                </c:pt>
                <c:pt idx="1137">
                  <c:v>#N/A</c:v>
                </c:pt>
                <c:pt idx="1138">
                  <c:v>#N/A</c:v>
                </c:pt>
                <c:pt idx="1139">
                  <c:v>#N/A</c:v>
                </c:pt>
                <c:pt idx="1140">
                  <c:v>#N/A</c:v>
                </c:pt>
                <c:pt idx="1141">
                  <c:v>#N/A</c:v>
                </c:pt>
                <c:pt idx="1142">
                  <c:v>#N/A</c:v>
                </c:pt>
                <c:pt idx="1143">
                  <c:v>#N/A</c:v>
                </c:pt>
                <c:pt idx="1144">
                  <c:v>#N/A</c:v>
                </c:pt>
                <c:pt idx="1145">
                  <c:v>#N/A</c:v>
                </c:pt>
                <c:pt idx="1146">
                  <c:v>#N/A</c:v>
                </c:pt>
                <c:pt idx="1147">
                  <c:v>#N/A</c:v>
                </c:pt>
                <c:pt idx="1148">
                  <c:v>#N/A</c:v>
                </c:pt>
                <c:pt idx="1149">
                  <c:v>#N/A</c:v>
                </c:pt>
                <c:pt idx="1150">
                  <c:v>#N/A</c:v>
                </c:pt>
                <c:pt idx="1151">
                  <c:v>#N/A</c:v>
                </c:pt>
                <c:pt idx="1152">
                  <c:v>#N/A</c:v>
                </c:pt>
                <c:pt idx="1153">
                  <c:v>#N/A</c:v>
                </c:pt>
                <c:pt idx="1154">
                  <c:v>#N/A</c:v>
                </c:pt>
                <c:pt idx="1155">
                  <c:v>#N/A</c:v>
                </c:pt>
                <c:pt idx="1156">
                  <c:v>#N/A</c:v>
                </c:pt>
                <c:pt idx="1157">
                  <c:v>#N/A</c:v>
                </c:pt>
                <c:pt idx="1158">
                  <c:v>#N/A</c:v>
                </c:pt>
                <c:pt idx="1159">
                  <c:v>#N/A</c:v>
                </c:pt>
                <c:pt idx="1160">
                  <c:v>#N/A</c:v>
                </c:pt>
                <c:pt idx="1161">
                  <c:v>#N/A</c:v>
                </c:pt>
                <c:pt idx="1162">
                  <c:v>#N/A</c:v>
                </c:pt>
                <c:pt idx="1163">
                  <c:v>#N/A</c:v>
                </c:pt>
                <c:pt idx="1164">
                  <c:v>#N/A</c:v>
                </c:pt>
                <c:pt idx="1165">
                  <c:v>#N/A</c:v>
                </c:pt>
                <c:pt idx="1166">
                  <c:v>#N/A</c:v>
                </c:pt>
                <c:pt idx="1167">
                  <c:v>#N/A</c:v>
                </c:pt>
                <c:pt idx="1168">
                  <c:v>#N/A</c:v>
                </c:pt>
                <c:pt idx="1169">
                  <c:v>#N/A</c:v>
                </c:pt>
                <c:pt idx="1170">
                  <c:v>#N/A</c:v>
                </c:pt>
                <c:pt idx="1171">
                  <c:v>#N/A</c:v>
                </c:pt>
                <c:pt idx="1172">
                  <c:v>#N/A</c:v>
                </c:pt>
                <c:pt idx="1173">
                  <c:v>#N/A</c:v>
                </c:pt>
                <c:pt idx="1174">
                  <c:v>#N/A</c:v>
                </c:pt>
                <c:pt idx="1175">
                  <c:v>#N/A</c:v>
                </c:pt>
                <c:pt idx="1176">
                  <c:v>#N/A</c:v>
                </c:pt>
                <c:pt idx="1177">
                  <c:v>#N/A</c:v>
                </c:pt>
                <c:pt idx="1178">
                  <c:v>#N/A</c:v>
                </c:pt>
                <c:pt idx="1179">
                  <c:v>#N/A</c:v>
                </c:pt>
                <c:pt idx="1180">
                  <c:v>#N/A</c:v>
                </c:pt>
                <c:pt idx="1181">
                  <c:v>#N/A</c:v>
                </c:pt>
                <c:pt idx="1182">
                  <c:v>#N/A</c:v>
                </c:pt>
                <c:pt idx="1183">
                  <c:v>#N/A</c:v>
                </c:pt>
                <c:pt idx="1184">
                  <c:v>#N/A</c:v>
                </c:pt>
                <c:pt idx="1185">
                  <c:v>#N/A</c:v>
                </c:pt>
                <c:pt idx="1186">
                  <c:v>#N/A</c:v>
                </c:pt>
                <c:pt idx="1187">
                  <c:v>#N/A</c:v>
                </c:pt>
                <c:pt idx="1188">
                  <c:v>#N/A</c:v>
                </c:pt>
                <c:pt idx="1189">
                  <c:v>#N/A</c:v>
                </c:pt>
                <c:pt idx="1190">
                  <c:v>#N/A</c:v>
                </c:pt>
                <c:pt idx="1191">
                  <c:v>#N/A</c:v>
                </c:pt>
                <c:pt idx="1192">
                  <c:v>#N/A</c:v>
                </c:pt>
                <c:pt idx="1193">
                  <c:v>#N/A</c:v>
                </c:pt>
                <c:pt idx="1194">
                  <c:v>#N/A</c:v>
                </c:pt>
                <c:pt idx="1195">
                  <c:v>#N/A</c:v>
                </c:pt>
                <c:pt idx="1196">
                  <c:v>#N/A</c:v>
                </c:pt>
                <c:pt idx="1197">
                  <c:v>#N/A</c:v>
                </c:pt>
                <c:pt idx="1198">
                  <c:v>#N/A</c:v>
                </c:pt>
                <c:pt idx="1199">
                  <c:v>#N/A</c:v>
                </c:pt>
                <c:pt idx="1200">
                  <c:v>#N/A</c:v>
                </c:pt>
                <c:pt idx="1201">
                  <c:v>#N/A</c:v>
                </c:pt>
                <c:pt idx="1202">
                  <c:v>#N/A</c:v>
                </c:pt>
                <c:pt idx="1203">
                  <c:v>#N/A</c:v>
                </c:pt>
                <c:pt idx="1204">
                  <c:v>#N/A</c:v>
                </c:pt>
                <c:pt idx="1205">
                  <c:v>#N/A</c:v>
                </c:pt>
                <c:pt idx="1206">
                  <c:v>#N/A</c:v>
                </c:pt>
                <c:pt idx="1207">
                  <c:v>#N/A</c:v>
                </c:pt>
                <c:pt idx="1208">
                  <c:v>#N/A</c:v>
                </c:pt>
                <c:pt idx="1209">
                  <c:v>#N/A</c:v>
                </c:pt>
                <c:pt idx="1210">
                  <c:v>#N/A</c:v>
                </c:pt>
                <c:pt idx="1211">
                  <c:v>#N/A</c:v>
                </c:pt>
                <c:pt idx="1212">
                  <c:v>#N/A</c:v>
                </c:pt>
                <c:pt idx="1213">
                  <c:v>#N/A</c:v>
                </c:pt>
                <c:pt idx="1214">
                  <c:v>#N/A</c:v>
                </c:pt>
                <c:pt idx="1215">
                  <c:v>#N/A</c:v>
                </c:pt>
                <c:pt idx="1216">
                  <c:v>#N/A</c:v>
                </c:pt>
                <c:pt idx="1217">
                  <c:v>#N/A</c:v>
                </c:pt>
                <c:pt idx="1218">
                  <c:v>#N/A</c:v>
                </c:pt>
                <c:pt idx="1219">
                  <c:v>#N/A</c:v>
                </c:pt>
                <c:pt idx="1220">
                  <c:v>#N/A</c:v>
                </c:pt>
                <c:pt idx="1221">
                  <c:v>#N/A</c:v>
                </c:pt>
                <c:pt idx="1222">
                  <c:v>#N/A</c:v>
                </c:pt>
                <c:pt idx="1223">
                  <c:v>#N/A</c:v>
                </c:pt>
                <c:pt idx="1224">
                  <c:v>#N/A</c:v>
                </c:pt>
                <c:pt idx="1225">
                  <c:v>#N/A</c:v>
                </c:pt>
                <c:pt idx="1226">
                  <c:v>#N/A</c:v>
                </c:pt>
                <c:pt idx="1227">
                  <c:v>#N/A</c:v>
                </c:pt>
                <c:pt idx="1228">
                  <c:v>#N/A</c:v>
                </c:pt>
                <c:pt idx="1229">
                  <c:v>#N/A</c:v>
                </c:pt>
                <c:pt idx="1230">
                  <c:v>#N/A</c:v>
                </c:pt>
                <c:pt idx="1231">
                  <c:v>#N/A</c:v>
                </c:pt>
                <c:pt idx="1232">
                  <c:v>#N/A</c:v>
                </c:pt>
                <c:pt idx="1233">
                  <c:v>#N/A</c:v>
                </c:pt>
                <c:pt idx="1234">
                  <c:v>#N/A</c:v>
                </c:pt>
                <c:pt idx="1235">
                  <c:v>#N/A</c:v>
                </c:pt>
                <c:pt idx="1236">
                  <c:v>#N/A</c:v>
                </c:pt>
                <c:pt idx="1237">
                  <c:v>#N/A</c:v>
                </c:pt>
                <c:pt idx="1238">
                  <c:v>#N/A</c:v>
                </c:pt>
                <c:pt idx="1239">
                  <c:v>#N/A</c:v>
                </c:pt>
                <c:pt idx="1240">
                  <c:v>#N/A</c:v>
                </c:pt>
                <c:pt idx="1241">
                  <c:v>#N/A</c:v>
                </c:pt>
                <c:pt idx="1242">
                  <c:v>#N/A</c:v>
                </c:pt>
                <c:pt idx="1243">
                  <c:v>#N/A</c:v>
                </c:pt>
                <c:pt idx="1244">
                  <c:v>#N/A</c:v>
                </c:pt>
                <c:pt idx="1245">
                  <c:v>#N/A</c:v>
                </c:pt>
                <c:pt idx="1246">
                  <c:v>#N/A</c:v>
                </c:pt>
                <c:pt idx="1247">
                  <c:v>#N/A</c:v>
                </c:pt>
                <c:pt idx="1248">
                  <c:v>#N/A</c:v>
                </c:pt>
                <c:pt idx="1249">
                  <c:v>#N/A</c:v>
                </c:pt>
                <c:pt idx="1250">
                  <c:v>#N/A</c:v>
                </c:pt>
                <c:pt idx="1251">
                  <c:v>#N/A</c:v>
                </c:pt>
                <c:pt idx="1252">
                  <c:v>#N/A</c:v>
                </c:pt>
                <c:pt idx="1253">
                  <c:v>#N/A</c:v>
                </c:pt>
                <c:pt idx="1254">
                  <c:v>#N/A</c:v>
                </c:pt>
                <c:pt idx="1255">
                  <c:v>#N/A</c:v>
                </c:pt>
                <c:pt idx="1256">
                  <c:v>#N/A</c:v>
                </c:pt>
                <c:pt idx="1257">
                  <c:v>#N/A</c:v>
                </c:pt>
                <c:pt idx="1258">
                  <c:v>#N/A</c:v>
                </c:pt>
                <c:pt idx="1259">
                  <c:v>#N/A</c:v>
                </c:pt>
                <c:pt idx="1260">
                  <c:v>#N/A</c:v>
                </c:pt>
                <c:pt idx="1261">
                  <c:v>#N/A</c:v>
                </c:pt>
                <c:pt idx="1262">
                  <c:v>#N/A</c:v>
                </c:pt>
                <c:pt idx="1263">
                  <c:v>#N/A</c:v>
                </c:pt>
                <c:pt idx="1264">
                  <c:v>#N/A</c:v>
                </c:pt>
                <c:pt idx="1265">
                  <c:v>#N/A</c:v>
                </c:pt>
                <c:pt idx="1266">
                  <c:v>#N/A</c:v>
                </c:pt>
                <c:pt idx="1267">
                  <c:v>#N/A</c:v>
                </c:pt>
                <c:pt idx="1268">
                  <c:v>#N/A</c:v>
                </c:pt>
                <c:pt idx="1269">
                  <c:v>#N/A</c:v>
                </c:pt>
                <c:pt idx="1270">
                  <c:v>#N/A</c:v>
                </c:pt>
                <c:pt idx="1271">
                  <c:v>#N/A</c:v>
                </c:pt>
                <c:pt idx="1272">
                  <c:v>#N/A</c:v>
                </c:pt>
                <c:pt idx="1273">
                  <c:v>#N/A</c:v>
                </c:pt>
                <c:pt idx="1274">
                  <c:v>#N/A</c:v>
                </c:pt>
                <c:pt idx="1275">
                  <c:v>#N/A</c:v>
                </c:pt>
                <c:pt idx="1276">
                  <c:v>#N/A</c:v>
                </c:pt>
                <c:pt idx="1277">
                  <c:v>#N/A</c:v>
                </c:pt>
                <c:pt idx="1278">
                  <c:v>#N/A</c:v>
                </c:pt>
                <c:pt idx="1279">
                  <c:v>#N/A</c:v>
                </c:pt>
                <c:pt idx="1280">
                  <c:v>#N/A</c:v>
                </c:pt>
                <c:pt idx="1281">
                  <c:v>#N/A</c:v>
                </c:pt>
                <c:pt idx="1282">
                  <c:v>#N/A</c:v>
                </c:pt>
                <c:pt idx="1283">
                  <c:v>#N/A</c:v>
                </c:pt>
                <c:pt idx="1284">
                  <c:v>#N/A</c:v>
                </c:pt>
                <c:pt idx="1285">
                  <c:v>#N/A</c:v>
                </c:pt>
                <c:pt idx="1286">
                  <c:v>#N/A</c:v>
                </c:pt>
                <c:pt idx="1287">
                  <c:v>#N/A</c:v>
                </c:pt>
                <c:pt idx="1288">
                  <c:v>#N/A</c:v>
                </c:pt>
                <c:pt idx="1289">
                  <c:v>#N/A</c:v>
                </c:pt>
                <c:pt idx="1290">
                  <c:v>#N/A</c:v>
                </c:pt>
                <c:pt idx="1291">
                  <c:v>#N/A</c:v>
                </c:pt>
                <c:pt idx="1292">
                  <c:v>#N/A</c:v>
                </c:pt>
                <c:pt idx="1293">
                  <c:v>#N/A</c:v>
                </c:pt>
                <c:pt idx="1294">
                  <c:v>#N/A</c:v>
                </c:pt>
                <c:pt idx="1295">
                  <c:v>#N/A</c:v>
                </c:pt>
                <c:pt idx="1296">
                  <c:v>#N/A</c:v>
                </c:pt>
                <c:pt idx="1297">
                  <c:v>#N/A</c:v>
                </c:pt>
                <c:pt idx="1298">
                  <c:v>#N/A</c:v>
                </c:pt>
                <c:pt idx="1299">
                  <c:v>#N/A</c:v>
                </c:pt>
                <c:pt idx="1300">
                  <c:v>#N/A</c:v>
                </c:pt>
                <c:pt idx="1301">
                  <c:v>#N/A</c:v>
                </c:pt>
                <c:pt idx="1302">
                  <c:v>#N/A</c:v>
                </c:pt>
                <c:pt idx="1303">
                  <c:v>#N/A</c:v>
                </c:pt>
                <c:pt idx="1304">
                  <c:v>#N/A</c:v>
                </c:pt>
                <c:pt idx="1305">
                  <c:v>#N/A</c:v>
                </c:pt>
                <c:pt idx="1306">
                  <c:v>#N/A</c:v>
                </c:pt>
                <c:pt idx="1307">
                  <c:v>#N/A</c:v>
                </c:pt>
                <c:pt idx="1308">
                  <c:v>#N/A</c:v>
                </c:pt>
                <c:pt idx="1309">
                  <c:v>#N/A</c:v>
                </c:pt>
                <c:pt idx="1310">
                  <c:v>#N/A</c:v>
                </c:pt>
                <c:pt idx="1311">
                  <c:v>#N/A</c:v>
                </c:pt>
                <c:pt idx="1312">
                  <c:v>#N/A</c:v>
                </c:pt>
                <c:pt idx="1313">
                  <c:v>#N/A</c:v>
                </c:pt>
                <c:pt idx="1314">
                  <c:v>#N/A</c:v>
                </c:pt>
                <c:pt idx="1315">
                  <c:v>#N/A</c:v>
                </c:pt>
                <c:pt idx="1316">
                  <c:v>#N/A</c:v>
                </c:pt>
                <c:pt idx="1317">
                  <c:v>#N/A</c:v>
                </c:pt>
                <c:pt idx="1318">
                  <c:v>#N/A</c:v>
                </c:pt>
                <c:pt idx="1319">
                  <c:v>#N/A</c:v>
                </c:pt>
                <c:pt idx="1320">
                  <c:v>#N/A</c:v>
                </c:pt>
                <c:pt idx="1321">
                  <c:v>#N/A</c:v>
                </c:pt>
                <c:pt idx="1322">
                  <c:v>#N/A</c:v>
                </c:pt>
                <c:pt idx="1323">
                  <c:v>#N/A</c:v>
                </c:pt>
                <c:pt idx="1324">
                  <c:v>#N/A</c:v>
                </c:pt>
                <c:pt idx="1325">
                  <c:v>#N/A</c:v>
                </c:pt>
                <c:pt idx="1326">
                  <c:v>#N/A</c:v>
                </c:pt>
                <c:pt idx="1327">
                  <c:v>#N/A</c:v>
                </c:pt>
                <c:pt idx="1328">
                  <c:v>#N/A</c:v>
                </c:pt>
                <c:pt idx="1329">
                  <c:v>#N/A</c:v>
                </c:pt>
                <c:pt idx="1330">
                  <c:v>#N/A</c:v>
                </c:pt>
                <c:pt idx="1331">
                  <c:v>#N/A</c:v>
                </c:pt>
                <c:pt idx="1332">
                  <c:v>#N/A</c:v>
                </c:pt>
                <c:pt idx="1333">
                  <c:v>#N/A</c:v>
                </c:pt>
                <c:pt idx="1334">
                  <c:v>#N/A</c:v>
                </c:pt>
                <c:pt idx="1335">
                  <c:v>#N/A</c:v>
                </c:pt>
                <c:pt idx="1336">
                  <c:v>#N/A</c:v>
                </c:pt>
                <c:pt idx="1337">
                  <c:v>#N/A</c:v>
                </c:pt>
                <c:pt idx="1338">
                  <c:v>#N/A</c:v>
                </c:pt>
                <c:pt idx="1339">
                  <c:v>#N/A</c:v>
                </c:pt>
                <c:pt idx="1340">
                  <c:v>#N/A</c:v>
                </c:pt>
                <c:pt idx="1341">
                  <c:v>#N/A</c:v>
                </c:pt>
                <c:pt idx="1342">
                  <c:v>#N/A</c:v>
                </c:pt>
                <c:pt idx="1343">
                  <c:v>#N/A</c:v>
                </c:pt>
                <c:pt idx="1344">
                  <c:v>#N/A</c:v>
                </c:pt>
                <c:pt idx="1345">
                  <c:v>#N/A</c:v>
                </c:pt>
                <c:pt idx="1346">
                  <c:v>#N/A</c:v>
                </c:pt>
                <c:pt idx="1347">
                  <c:v>#N/A</c:v>
                </c:pt>
                <c:pt idx="1348">
                  <c:v>#N/A</c:v>
                </c:pt>
                <c:pt idx="1349">
                  <c:v>#N/A</c:v>
                </c:pt>
                <c:pt idx="1350">
                  <c:v>#N/A</c:v>
                </c:pt>
                <c:pt idx="1351">
                  <c:v>#N/A</c:v>
                </c:pt>
                <c:pt idx="1352">
                  <c:v>#N/A</c:v>
                </c:pt>
                <c:pt idx="1353">
                  <c:v>#N/A</c:v>
                </c:pt>
                <c:pt idx="1354">
                  <c:v>#N/A</c:v>
                </c:pt>
                <c:pt idx="1355">
                  <c:v>#N/A</c:v>
                </c:pt>
                <c:pt idx="1356">
                  <c:v>#N/A</c:v>
                </c:pt>
                <c:pt idx="1357">
                  <c:v>#N/A</c:v>
                </c:pt>
                <c:pt idx="1358">
                  <c:v>#N/A</c:v>
                </c:pt>
                <c:pt idx="1359">
                  <c:v>#N/A</c:v>
                </c:pt>
                <c:pt idx="1360">
                  <c:v>#N/A</c:v>
                </c:pt>
                <c:pt idx="1361">
                  <c:v>#N/A</c:v>
                </c:pt>
                <c:pt idx="1362">
                  <c:v>#N/A</c:v>
                </c:pt>
                <c:pt idx="1363">
                  <c:v>#N/A</c:v>
                </c:pt>
                <c:pt idx="1364">
                  <c:v>#N/A</c:v>
                </c:pt>
                <c:pt idx="1365">
                  <c:v>#N/A</c:v>
                </c:pt>
                <c:pt idx="1366">
                  <c:v>#N/A</c:v>
                </c:pt>
                <c:pt idx="1367">
                  <c:v>#N/A</c:v>
                </c:pt>
                <c:pt idx="1368">
                  <c:v>#N/A</c:v>
                </c:pt>
                <c:pt idx="1369">
                  <c:v>#N/A</c:v>
                </c:pt>
                <c:pt idx="1370">
                  <c:v>#N/A</c:v>
                </c:pt>
                <c:pt idx="1371">
                  <c:v>#N/A</c:v>
                </c:pt>
                <c:pt idx="1372">
                  <c:v>#N/A</c:v>
                </c:pt>
                <c:pt idx="1373">
                  <c:v>#N/A</c:v>
                </c:pt>
                <c:pt idx="1374">
                  <c:v>#N/A</c:v>
                </c:pt>
                <c:pt idx="1375">
                  <c:v>#N/A</c:v>
                </c:pt>
                <c:pt idx="1376">
                  <c:v>#N/A</c:v>
                </c:pt>
                <c:pt idx="1377">
                  <c:v>#N/A</c:v>
                </c:pt>
                <c:pt idx="1378">
                  <c:v>#N/A</c:v>
                </c:pt>
                <c:pt idx="1379">
                  <c:v>#N/A</c:v>
                </c:pt>
                <c:pt idx="1380">
                  <c:v>#N/A</c:v>
                </c:pt>
                <c:pt idx="1381">
                  <c:v>#N/A</c:v>
                </c:pt>
                <c:pt idx="1382">
                  <c:v>#N/A</c:v>
                </c:pt>
                <c:pt idx="1383">
                  <c:v>#N/A</c:v>
                </c:pt>
                <c:pt idx="1384">
                  <c:v>#N/A</c:v>
                </c:pt>
                <c:pt idx="1385">
                  <c:v>#N/A</c:v>
                </c:pt>
                <c:pt idx="1386">
                  <c:v>#N/A</c:v>
                </c:pt>
                <c:pt idx="1387">
                  <c:v>#N/A</c:v>
                </c:pt>
                <c:pt idx="1388">
                  <c:v>#N/A</c:v>
                </c:pt>
                <c:pt idx="1389">
                  <c:v>#N/A</c:v>
                </c:pt>
                <c:pt idx="1390">
                  <c:v>#N/A</c:v>
                </c:pt>
                <c:pt idx="1391">
                  <c:v>#N/A</c:v>
                </c:pt>
                <c:pt idx="1392">
                  <c:v>#N/A</c:v>
                </c:pt>
                <c:pt idx="1393">
                  <c:v>#N/A</c:v>
                </c:pt>
                <c:pt idx="1394">
                  <c:v>#N/A</c:v>
                </c:pt>
                <c:pt idx="1395">
                  <c:v>#N/A</c:v>
                </c:pt>
                <c:pt idx="1396">
                  <c:v>#N/A</c:v>
                </c:pt>
                <c:pt idx="1397">
                  <c:v>#N/A</c:v>
                </c:pt>
                <c:pt idx="1398">
                  <c:v>#N/A</c:v>
                </c:pt>
                <c:pt idx="1399">
                  <c:v>#N/A</c:v>
                </c:pt>
                <c:pt idx="1400">
                  <c:v>#N/A</c:v>
                </c:pt>
                <c:pt idx="1401">
                  <c:v>#N/A</c:v>
                </c:pt>
                <c:pt idx="1402">
                  <c:v>#N/A</c:v>
                </c:pt>
                <c:pt idx="1403">
                  <c:v>#N/A</c:v>
                </c:pt>
                <c:pt idx="1404">
                  <c:v>#N/A</c:v>
                </c:pt>
                <c:pt idx="1405">
                  <c:v>#N/A</c:v>
                </c:pt>
                <c:pt idx="1406">
                  <c:v>#N/A</c:v>
                </c:pt>
                <c:pt idx="1407">
                  <c:v>#N/A</c:v>
                </c:pt>
                <c:pt idx="1408">
                  <c:v>#N/A</c:v>
                </c:pt>
                <c:pt idx="1409">
                  <c:v>#N/A</c:v>
                </c:pt>
                <c:pt idx="1410">
                  <c:v>#N/A</c:v>
                </c:pt>
                <c:pt idx="1411">
                  <c:v>#N/A</c:v>
                </c:pt>
                <c:pt idx="1412">
                  <c:v>#N/A</c:v>
                </c:pt>
                <c:pt idx="1413">
                  <c:v>#N/A</c:v>
                </c:pt>
                <c:pt idx="1414">
                  <c:v>#N/A</c:v>
                </c:pt>
                <c:pt idx="1415">
                  <c:v>#N/A</c:v>
                </c:pt>
                <c:pt idx="1416">
                  <c:v>#N/A</c:v>
                </c:pt>
                <c:pt idx="1417">
                  <c:v>#N/A</c:v>
                </c:pt>
                <c:pt idx="1418">
                  <c:v>#N/A</c:v>
                </c:pt>
                <c:pt idx="1419">
                  <c:v>#N/A</c:v>
                </c:pt>
                <c:pt idx="1420">
                  <c:v>#N/A</c:v>
                </c:pt>
                <c:pt idx="1421">
                  <c:v>#N/A</c:v>
                </c:pt>
                <c:pt idx="1422">
                  <c:v>#N/A</c:v>
                </c:pt>
                <c:pt idx="1423">
                  <c:v>#N/A</c:v>
                </c:pt>
                <c:pt idx="1424">
                  <c:v>#N/A</c:v>
                </c:pt>
                <c:pt idx="1425">
                  <c:v>#N/A</c:v>
                </c:pt>
                <c:pt idx="1426">
                  <c:v>#N/A</c:v>
                </c:pt>
                <c:pt idx="1427">
                  <c:v>#N/A</c:v>
                </c:pt>
                <c:pt idx="1428">
                  <c:v>#N/A</c:v>
                </c:pt>
                <c:pt idx="1429">
                  <c:v>#N/A</c:v>
                </c:pt>
                <c:pt idx="1430">
                  <c:v>#N/A</c:v>
                </c:pt>
                <c:pt idx="1431">
                  <c:v>#N/A</c:v>
                </c:pt>
                <c:pt idx="1432">
                  <c:v>#N/A</c:v>
                </c:pt>
                <c:pt idx="1433">
                  <c:v>#N/A</c:v>
                </c:pt>
                <c:pt idx="1434">
                  <c:v>#N/A</c:v>
                </c:pt>
                <c:pt idx="1435">
                  <c:v>#N/A</c:v>
                </c:pt>
                <c:pt idx="1436">
                  <c:v>#N/A</c:v>
                </c:pt>
                <c:pt idx="1437">
                  <c:v>#N/A</c:v>
                </c:pt>
                <c:pt idx="1438">
                  <c:v>#N/A</c:v>
                </c:pt>
                <c:pt idx="1439">
                  <c:v>#N/A</c:v>
                </c:pt>
                <c:pt idx="1440">
                  <c:v>#N/A</c:v>
                </c:pt>
                <c:pt idx="1441">
                  <c:v>#N/A</c:v>
                </c:pt>
                <c:pt idx="1442">
                  <c:v>#N/A</c:v>
                </c:pt>
                <c:pt idx="1443">
                  <c:v>#N/A</c:v>
                </c:pt>
                <c:pt idx="1444">
                  <c:v>#N/A</c:v>
                </c:pt>
                <c:pt idx="1445">
                  <c:v>#N/A</c:v>
                </c:pt>
                <c:pt idx="1446">
                  <c:v>#N/A</c:v>
                </c:pt>
                <c:pt idx="1447">
                  <c:v>#N/A</c:v>
                </c:pt>
                <c:pt idx="1448">
                  <c:v>#N/A</c:v>
                </c:pt>
                <c:pt idx="1449">
                  <c:v>#N/A</c:v>
                </c:pt>
                <c:pt idx="1450">
                  <c:v>#N/A</c:v>
                </c:pt>
                <c:pt idx="1451">
                  <c:v>#N/A</c:v>
                </c:pt>
                <c:pt idx="1452">
                  <c:v>#N/A</c:v>
                </c:pt>
                <c:pt idx="1453">
                  <c:v>#N/A</c:v>
                </c:pt>
                <c:pt idx="1454">
                  <c:v>#N/A</c:v>
                </c:pt>
                <c:pt idx="1455">
                  <c:v>#N/A</c:v>
                </c:pt>
                <c:pt idx="1456">
                  <c:v>#N/A</c:v>
                </c:pt>
                <c:pt idx="1457">
                  <c:v>#N/A</c:v>
                </c:pt>
                <c:pt idx="1458">
                  <c:v>#N/A</c:v>
                </c:pt>
                <c:pt idx="1459">
                  <c:v>#N/A</c:v>
                </c:pt>
                <c:pt idx="1460">
                  <c:v>#N/A</c:v>
                </c:pt>
                <c:pt idx="1461">
                  <c:v>#N/A</c:v>
                </c:pt>
                <c:pt idx="1462">
                  <c:v>#N/A</c:v>
                </c:pt>
                <c:pt idx="1463">
                  <c:v>#N/A</c:v>
                </c:pt>
                <c:pt idx="1464">
                  <c:v>#N/A</c:v>
                </c:pt>
                <c:pt idx="1465">
                  <c:v>#N/A</c:v>
                </c:pt>
                <c:pt idx="1466">
                  <c:v>#N/A</c:v>
                </c:pt>
                <c:pt idx="1467">
                  <c:v>#N/A</c:v>
                </c:pt>
                <c:pt idx="1468">
                  <c:v>#N/A</c:v>
                </c:pt>
                <c:pt idx="1469">
                  <c:v>#N/A</c:v>
                </c:pt>
                <c:pt idx="1470">
                  <c:v>#N/A</c:v>
                </c:pt>
                <c:pt idx="1471">
                  <c:v>#N/A</c:v>
                </c:pt>
                <c:pt idx="1472">
                  <c:v>#N/A</c:v>
                </c:pt>
                <c:pt idx="1473">
                  <c:v>#N/A</c:v>
                </c:pt>
                <c:pt idx="1474">
                  <c:v>#N/A</c:v>
                </c:pt>
                <c:pt idx="1475">
                  <c:v>#N/A</c:v>
                </c:pt>
                <c:pt idx="1476">
                  <c:v>#N/A</c:v>
                </c:pt>
                <c:pt idx="1477">
                  <c:v>#N/A</c:v>
                </c:pt>
                <c:pt idx="1478">
                  <c:v>#N/A</c:v>
                </c:pt>
                <c:pt idx="1479">
                  <c:v>#N/A</c:v>
                </c:pt>
                <c:pt idx="1480">
                  <c:v>#N/A</c:v>
                </c:pt>
                <c:pt idx="1481">
                  <c:v>#N/A</c:v>
                </c:pt>
                <c:pt idx="1482">
                  <c:v>#N/A</c:v>
                </c:pt>
                <c:pt idx="1483">
                  <c:v>#N/A</c:v>
                </c:pt>
                <c:pt idx="1484">
                  <c:v>#N/A</c:v>
                </c:pt>
                <c:pt idx="1485">
                  <c:v>#N/A</c:v>
                </c:pt>
                <c:pt idx="1486">
                  <c:v>#N/A</c:v>
                </c:pt>
                <c:pt idx="1487">
                  <c:v>#N/A</c:v>
                </c:pt>
                <c:pt idx="1488">
                  <c:v>#N/A</c:v>
                </c:pt>
                <c:pt idx="1489">
                  <c:v>#N/A</c:v>
                </c:pt>
                <c:pt idx="1490">
                  <c:v>#N/A</c:v>
                </c:pt>
                <c:pt idx="1491">
                  <c:v>#N/A</c:v>
                </c:pt>
                <c:pt idx="1492">
                  <c:v>#N/A</c:v>
                </c:pt>
                <c:pt idx="1493">
                  <c:v>#N/A</c:v>
                </c:pt>
                <c:pt idx="1494">
                  <c:v>#N/A</c:v>
                </c:pt>
                <c:pt idx="1495">
                  <c:v>#N/A</c:v>
                </c:pt>
                <c:pt idx="1496">
                  <c:v>#N/A</c:v>
                </c:pt>
                <c:pt idx="1497">
                  <c:v>#N/A</c:v>
                </c:pt>
                <c:pt idx="1498">
                  <c:v>#N/A</c:v>
                </c:pt>
                <c:pt idx="1499">
                  <c:v>#N/A</c:v>
                </c:pt>
                <c:pt idx="1500">
                  <c:v>#N/A</c:v>
                </c:pt>
                <c:pt idx="1501">
                  <c:v>#N/A</c:v>
                </c:pt>
                <c:pt idx="1502">
                  <c:v>#N/A</c:v>
                </c:pt>
                <c:pt idx="1503">
                  <c:v>#N/A</c:v>
                </c:pt>
                <c:pt idx="1504">
                  <c:v>#N/A</c:v>
                </c:pt>
                <c:pt idx="1505">
                  <c:v>#N/A</c:v>
                </c:pt>
                <c:pt idx="1506">
                  <c:v>#N/A</c:v>
                </c:pt>
                <c:pt idx="1507">
                  <c:v>#N/A</c:v>
                </c:pt>
                <c:pt idx="1508">
                  <c:v>#N/A</c:v>
                </c:pt>
                <c:pt idx="1509">
                  <c:v>#N/A</c:v>
                </c:pt>
                <c:pt idx="1510">
                  <c:v>#N/A</c:v>
                </c:pt>
                <c:pt idx="1511">
                  <c:v>#N/A</c:v>
                </c:pt>
                <c:pt idx="1512">
                  <c:v>#N/A</c:v>
                </c:pt>
                <c:pt idx="1513">
                  <c:v>#N/A</c:v>
                </c:pt>
                <c:pt idx="1514">
                  <c:v>#N/A</c:v>
                </c:pt>
                <c:pt idx="1515">
                  <c:v>#N/A</c:v>
                </c:pt>
                <c:pt idx="1516">
                  <c:v>#N/A</c:v>
                </c:pt>
                <c:pt idx="1517">
                  <c:v>#N/A</c:v>
                </c:pt>
                <c:pt idx="1518">
                  <c:v>#N/A</c:v>
                </c:pt>
                <c:pt idx="1519">
                  <c:v>#N/A</c:v>
                </c:pt>
                <c:pt idx="1520">
                  <c:v>#N/A</c:v>
                </c:pt>
                <c:pt idx="1521">
                  <c:v>#N/A</c:v>
                </c:pt>
                <c:pt idx="1522">
                  <c:v>#N/A</c:v>
                </c:pt>
                <c:pt idx="1523">
                  <c:v>#N/A</c:v>
                </c:pt>
                <c:pt idx="1524">
                  <c:v>#N/A</c:v>
                </c:pt>
                <c:pt idx="1525">
                  <c:v>#N/A</c:v>
                </c:pt>
                <c:pt idx="1526">
                  <c:v>#N/A</c:v>
                </c:pt>
                <c:pt idx="1527">
                  <c:v>#N/A</c:v>
                </c:pt>
                <c:pt idx="1528">
                  <c:v>#N/A</c:v>
                </c:pt>
                <c:pt idx="1529">
                  <c:v>#N/A</c:v>
                </c:pt>
                <c:pt idx="1530">
                  <c:v>#N/A</c:v>
                </c:pt>
                <c:pt idx="1531">
                  <c:v>#N/A</c:v>
                </c:pt>
                <c:pt idx="1532">
                  <c:v>#N/A</c:v>
                </c:pt>
                <c:pt idx="1533">
                  <c:v>#N/A</c:v>
                </c:pt>
                <c:pt idx="1534">
                  <c:v>#N/A</c:v>
                </c:pt>
                <c:pt idx="1535">
                  <c:v>#N/A</c:v>
                </c:pt>
                <c:pt idx="1536">
                  <c:v>#N/A</c:v>
                </c:pt>
                <c:pt idx="1537">
                  <c:v>#N/A</c:v>
                </c:pt>
                <c:pt idx="1538">
                  <c:v>#N/A</c:v>
                </c:pt>
                <c:pt idx="1539">
                  <c:v>#N/A</c:v>
                </c:pt>
                <c:pt idx="1540">
                  <c:v>#N/A</c:v>
                </c:pt>
                <c:pt idx="1541">
                  <c:v>#N/A</c:v>
                </c:pt>
                <c:pt idx="1542">
                  <c:v>#N/A</c:v>
                </c:pt>
                <c:pt idx="1543">
                  <c:v>#N/A</c:v>
                </c:pt>
                <c:pt idx="1544">
                  <c:v>#N/A</c:v>
                </c:pt>
                <c:pt idx="1545">
                  <c:v>#N/A</c:v>
                </c:pt>
                <c:pt idx="1546">
                  <c:v>#N/A</c:v>
                </c:pt>
                <c:pt idx="1547">
                  <c:v>#N/A</c:v>
                </c:pt>
                <c:pt idx="1548">
                  <c:v>#N/A</c:v>
                </c:pt>
                <c:pt idx="1549">
                  <c:v>#N/A</c:v>
                </c:pt>
                <c:pt idx="1550">
                  <c:v>#N/A</c:v>
                </c:pt>
                <c:pt idx="1551">
                  <c:v>#N/A</c:v>
                </c:pt>
                <c:pt idx="1552">
                  <c:v>#N/A</c:v>
                </c:pt>
                <c:pt idx="1553">
                  <c:v>#N/A</c:v>
                </c:pt>
                <c:pt idx="1554">
                  <c:v>#N/A</c:v>
                </c:pt>
                <c:pt idx="1555">
                  <c:v>#N/A</c:v>
                </c:pt>
                <c:pt idx="1556">
                  <c:v>#N/A</c:v>
                </c:pt>
                <c:pt idx="1557">
                  <c:v>#N/A</c:v>
                </c:pt>
                <c:pt idx="1558">
                  <c:v>#N/A</c:v>
                </c:pt>
                <c:pt idx="1559">
                  <c:v>#N/A</c:v>
                </c:pt>
                <c:pt idx="1560">
                  <c:v>#N/A</c:v>
                </c:pt>
                <c:pt idx="1561">
                  <c:v>#N/A</c:v>
                </c:pt>
                <c:pt idx="1562">
                  <c:v>#N/A</c:v>
                </c:pt>
                <c:pt idx="1563">
                  <c:v>#N/A</c:v>
                </c:pt>
                <c:pt idx="1564">
                  <c:v>#N/A</c:v>
                </c:pt>
                <c:pt idx="1565">
                  <c:v>#N/A</c:v>
                </c:pt>
                <c:pt idx="1566">
                  <c:v>#N/A</c:v>
                </c:pt>
                <c:pt idx="1567">
                  <c:v>#N/A</c:v>
                </c:pt>
                <c:pt idx="1568">
                  <c:v>#N/A</c:v>
                </c:pt>
                <c:pt idx="1569">
                  <c:v>#N/A</c:v>
                </c:pt>
                <c:pt idx="1570">
                  <c:v>#N/A</c:v>
                </c:pt>
                <c:pt idx="1571">
                  <c:v>#N/A</c:v>
                </c:pt>
                <c:pt idx="1572">
                  <c:v>#N/A</c:v>
                </c:pt>
                <c:pt idx="1573">
                  <c:v>#N/A</c:v>
                </c:pt>
                <c:pt idx="1574">
                  <c:v>#N/A</c:v>
                </c:pt>
                <c:pt idx="1575">
                  <c:v>#N/A</c:v>
                </c:pt>
                <c:pt idx="1576">
                  <c:v>#N/A</c:v>
                </c:pt>
                <c:pt idx="1577">
                  <c:v>#N/A</c:v>
                </c:pt>
                <c:pt idx="1578">
                  <c:v>#N/A</c:v>
                </c:pt>
                <c:pt idx="1579">
                  <c:v>#N/A</c:v>
                </c:pt>
                <c:pt idx="1580">
                  <c:v>#N/A</c:v>
                </c:pt>
                <c:pt idx="1581">
                  <c:v>#N/A</c:v>
                </c:pt>
                <c:pt idx="1582">
                  <c:v>#N/A</c:v>
                </c:pt>
                <c:pt idx="1583">
                  <c:v>#N/A</c:v>
                </c:pt>
                <c:pt idx="1584">
                  <c:v>#N/A</c:v>
                </c:pt>
                <c:pt idx="1585">
                  <c:v>#N/A</c:v>
                </c:pt>
                <c:pt idx="1586">
                  <c:v>#N/A</c:v>
                </c:pt>
                <c:pt idx="1587">
                  <c:v>#N/A</c:v>
                </c:pt>
                <c:pt idx="1588">
                  <c:v>#N/A</c:v>
                </c:pt>
                <c:pt idx="1589">
                  <c:v>#N/A</c:v>
                </c:pt>
                <c:pt idx="1590">
                  <c:v>#N/A</c:v>
                </c:pt>
                <c:pt idx="1591">
                  <c:v>#N/A</c:v>
                </c:pt>
                <c:pt idx="1592">
                  <c:v>#N/A</c:v>
                </c:pt>
                <c:pt idx="1593">
                  <c:v>#N/A</c:v>
                </c:pt>
                <c:pt idx="1594">
                  <c:v>#N/A</c:v>
                </c:pt>
                <c:pt idx="1595">
                  <c:v>#N/A</c:v>
                </c:pt>
                <c:pt idx="1596">
                  <c:v>#N/A</c:v>
                </c:pt>
                <c:pt idx="1597">
                  <c:v>#N/A</c:v>
                </c:pt>
                <c:pt idx="1598">
                  <c:v>#N/A</c:v>
                </c:pt>
                <c:pt idx="1599">
                  <c:v>#N/A</c:v>
                </c:pt>
                <c:pt idx="1600">
                  <c:v>#N/A</c:v>
                </c:pt>
                <c:pt idx="1601">
                  <c:v>#N/A</c:v>
                </c:pt>
                <c:pt idx="1602">
                  <c:v>#N/A</c:v>
                </c:pt>
                <c:pt idx="1603">
                  <c:v>#N/A</c:v>
                </c:pt>
                <c:pt idx="1604">
                  <c:v>#N/A</c:v>
                </c:pt>
                <c:pt idx="1605">
                  <c:v>#N/A</c:v>
                </c:pt>
                <c:pt idx="1606">
                  <c:v>#N/A</c:v>
                </c:pt>
                <c:pt idx="1607">
                  <c:v>#N/A</c:v>
                </c:pt>
                <c:pt idx="1608">
                  <c:v>#N/A</c:v>
                </c:pt>
                <c:pt idx="1609">
                  <c:v>#N/A</c:v>
                </c:pt>
                <c:pt idx="1610">
                  <c:v>#N/A</c:v>
                </c:pt>
                <c:pt idx="1611">
                  <c:v>#N/A</c:v>
                </c:pt>
                <c:pt idx="1612">
                  <c:v>#N/A</c:v>
                </c:pt>
                <c:pt idx="1613">
                  <c:v>#N/A</c:v>
                </c:pt>
                <c:pt idx="1614">
                  <c:v>#N/A</c:v>
                </c:pt>
                <c:pt idx="1615">
                  <c:v>#N/A</c:v>
                </c:pt>
                <c:pt idx="1616">
                  <c:v>#N/A</c:v>
                </c:pt>
                <c:pt idx="1617">
                  <c:v>#N/A</c:v>
                </c:pt>
                <c:pt idx="1618">
                  <c:v>#N/A</c:v>
                </c:pt>
                <c:pt idx="1619">
                  <c:v>#N/A</c:v>
                </c:pt>
                <c:pt idx="1620">
                  <c:v>#N/A</c:v>
                </c:pt>
                <c:pt idx="1621">
                  <c:v>#N/A</c:v>
                </c:pt>
                <c:pt idx="1622">
                  <c:v>#N/A</c:v>
                </c:pt>
                <c:pt idx="1623">
                  <c:v>#N/A</c:v>
                </c:pt>
                <c:pt idx="1624">
                  <c:v>#N/A</c:v>
                </c:pt>
                <c:pt idx="1625">
                  <c:v>#N/A</c:v>
                </c:pt>
                <c:pt idx="1626">
                  <c:v>#N/A</c:v>
                </c:pt>
                <c:pt idx="1627">
                  <c:v>#N/A</c:v>
                </c:pt>
                <c:pt idx="1628">
                  <c:v>#N/A</c:v>
                </c:pt>
                <c:pt idx="1629">
                  <c:v>#N/A</c:v>
                </c:pt>
                <c:pt idx="1630">
                  <c:v>#N/A</c:v>
                </c:pt>
                <c:pt idx="1631">
                  <c:v>#N/A</c:v>
                </c:pt>
                <c:pt idx="1632">
                  <c:v>#N/A</c:v>
                </c:pt>
                <c:pt idx="1633">
                  <c:v>#N/A</c:v>
                </c:pt>
                <c:pt idx="1634">
                  <c:v>#N/A</c:v>
                </c:pt>
                <c:pt idx="1635">
                  <c:v>#N/A</c:v>
                </c:pt>
                <c:pt idx="1636">
                  <c:v>#N/A</c:v>
                </c:pt>
                <c:pt idx="1637">
                  <c:v>#N/A</c:v>
                </c:pt>
                <c:pt idx="1638">
                  <c:v>#N/A</c:v>
                </c:pt>
                <c:pt idx="1639">
                  <c:v>#N/A</c:v>
                </c:pt>
                <c:pt idx="1640">
                  <c:v>#N/A</c:v>
                </c:pt>
                <c:pt idx="1641">
                  <c:v>#N/A</c:v>
                </c:pt>
                <c:pt idx="1642">
                  <c:v>#N/A</c:v>
                </c:pt>
                <c:pt idx="1643">
                  <c:v>#N/A</c:v>
                </c:pt>
                <c:pt idx="1644">
                  <c:v>#N/A</c:v>
                </c:pt>
                <c:pt idx="1645">
                  <c:v>#N/A</c:v>
                </c:pt>
                <c:pt idx="1646">
                  <c:v>#N/A</c:v>
                </c:pt>
                <c:pt idx="1647">
                  <c:v>#N/A</c:v>
                </c:pt>
                <c:pt idx="1648">
                  <c:v>#N/A</c:v>
                </c:pt>
                <c:pt idx="1649">
                  <c:v>#N/A</c:v>
                </c:pt>
                <c:pt idx="1650">
                  <c:v>#N/A</c:v>
                </c:pt>
                <c:pt idx="1651">
                  <c:v>#N/A</c:v>
                </c:pt>
                <c:pt idx="1652">
                  <c:v>#N/A</c:v>
                </c:pt>
                <c:pt idx="1653">
                  <c:v>#N/A</c:v>
                </c:pt>
                <c:pt idx="1654">
                  <c:v>#N/A</c:v>
                </c:pt>
                <c:pt idx="1655">
                  <c:v>#N/A</c:v>
                </c:pt>
                <c:pt idx="1656">
                  <c:v>#N/A</c:v>
                </c:pt>
                <c:pt idx="1657">
                  <c:v>#N/A</c:v>
                </c:pt>
                <c:pt idx="1658">
                  <c:v>#N/A</c:v>
                </c:pt>
                <c:pt idx="1659">
                  <c:v>#N/A</c:v>
                </c:pt>
                <c:pt idx="1660">
                  <c:v>#N/A</c:v>
                </c:pt>
                <c:pt idx="1661">
                  <c:v>#N/A</c:v>
                </c:pt>
                <c:pt idx="1662">
                  <c:v>#N/A</c:v>
                </c:pt>
                <c:pt idx="1663">
                  <c:v>#N/A</c:v>
                </c:pt>
                <c:pt idx="1664">
                  <c:v>#N/A</c:v>
                </c:pt>
                <c:pt idx="1665">
                  <c:v>#N/A</c:v>
                </c:pt>
                <c:pt idx="1666">
                  <c:v>#N/A</c:v>
                </c:pt>
                <c:pt idx="1667">
                  <c:v>#N/A</c:v>
                </c:pt>
                <c:pt idx="1668">
                  <c:v>#N/A</c:v>
                </c:pt>
                <c:pt idx="1669">
                  <c:v>#N/A</c:v>
                </c:pt>
                <c:pt idx="1670">
                  <c:v>#N/A</c:v>
                </c:pt>
                <c:pt idx="1671">
                  <c:v>#N/A</c:v>
                </c:pt>
                <c:pt idx="1672">
                  <c:v>#N/A</c:v>
                </c:pt>
                <c:pt idx="1673">
                  <c:v>#N/A</c:v>
                </c:pt>
                <c:pt idx="1674">
                  <c:v>#N/A</c:v>
                </c:pt>
                <c:pt idx="1675">
                  <c:v>#N/A</c:v>
                </c:pt>
                <c:pt idx="1676">
                  <c:v>#N/A</c:v>
                </c:pt>
                <c:pt idx="1677">
                  <c:v>#N/A</c:v>
                </c:pt>
                <c:pt idx="1678">
                  <c:v>#N/A</c:v>
                </c:pt>
                <c:pt idx="1679">
                  <c:v>#N/A</c:v>
                </c:pt>
                <c:pt idx="1680">
                  <c:v>#N/A</c:v>
                </c:pt>
                <c:pt idx="1681">
                  <c:v>#N/A</c:v>
                </c:pt>
                <c:pt idx="1682">
                  <c:v>#N/A</c:v>
                </c:pt>
                <c:pt idx="1683">
                  <c:v>#N/A</c:v>
                </c:pt>
                <c:pt idx="1684">
                  <c:v>#N/A</c:v>
                </c:pt>
                <c:pt idx="1685">
                  <c:v>#N/A</c:v>
                </c:pt>
                <c:pt idx="1686">
                  <c:v>#N/A</c:v>
                </c:pt>
                <c:pt idx="1687">
                  <c:v>#N/A</c:v>
                </c:pt>
                <c:pt idx="1688">
                  <c:v>#N/A</c:v>
                </c:pt>
                <c:pt idx="1689">
                  <c:v>#N/A</c:v>
                </c:pt>
                <c:pt idx="1690">
                  <c:v>#N/A</c:v>
                </c:pt>
                <c:pt idx="1691">
                  <c:v>#N/A</c:v>
                </c:pt>
                <c:pt idx="1692">
                  <c:v>#N/A</c:v>
                </c:pt>
                <c:pt idx="1693">
                  <c:v>#N/A</c:v>
                </c:pt>
                <c:pt idx="1694">
                  <c:v>#N/A</c:v>
                </c:pt>
                <c:pt idx="1695">
                  <c:v>#N/A</c:v>
                </c:pt>
                <c:pt idx="1696">
                  <c:v>#N/A</c:v>
                </c:pt>
                <c:pt idx="1697">
                  <c:v>#N/A</c:v>
                </c:pt>
                <c:pt idx="1698">
                  <c:v>#N/A</c:v>
                </c:pt>
                <c:pt idx="1699">
                  <c:v>#N/A</c:v>
                </c:pt>
                <c:pt idx="1700">
                  <c:v>#N/A</c:v>
                </c:pt>
                <c:pt idx="1701">
                  <c:v>#N/A</c:v>
                </c:pt>
                <c:pt idx="1702">
                  <c:v>#N/A</c:v>
                </c:pt>
                <c:pt idx="1703">
                  <c:v>#N/A</c:v>
                </c:pt>
                <c:pt idx="1704">
                  <c:v>#N/A</c:v>
                </c:pt>
                <c:pt idx="1705">
                  <c:v>#N/A</c:v>
                </c:pt>
                <c:pt idx="1706">
                  <c:v>#N/A</c:v>
                </c:pt>
                <c:pt idx="1707">
                  <c:v>#N/A</c:v>
                </c:pt>
                <c:pt idx="1708">
                  <c:v>#N/A</c:v>
                </c:pt>
                <c:pt idx="1709">
                  <c:v>#N/A</c:v>
                </c:pt>
                <c:pt idx="1710">
                  <c:v>#N/A</c:v>
                </c:pt>
                <c:pt idx="1711">
                  <c:v>#N/A</c:v>
                </c:pt>
                <c:pt idx="1712">
                  <c:v>#N/A</c:v>
                </c:pt>
                <c:pt idx="1713">
                  <c:v>#N/A</c:v>
                </c:pt>
                <c:pt idx="1714">
                  <c:v>#N/A</c:v>
                </c:pt>
                <c:pt idx="1715">
                  <c:v>#N/A</c:v>
                </c:pt>
                <c:pt idx="1716">
                  <c:v>#N/A</c:v>
                </c:pt>
                <c:pt idx="1717">
                  <c:v>#N/A</c:v>
                </c:pt>
                <c:pt idx="1718">
                  <c:v>#N/A</c:v>
                </c:pt>
                <c:pt idx="1719">
                  <c:v>#N/A</c:v>
                </c:pt>
                <c:pt idx="1720">
                  <c:v>#N/A</c:v>
                </c:pt>
                <c:pt idx="1721">
                  <c:v>#N/A</c:v>
                </c:pt>
                <c:pt idx="1722">
                  <c:v>#N/A</c:v>
                </c:pt>
                <c:pt idx="1723">
                  <c:v>#N/A</c:v>
                </c:pt>
                <c:pt idx="1724">
                  <c:v>#N/A</c:v>
                </c:pt>
                <c:pt idx="1725">
                  <c:v>#N/A</c:v>
                </c:pt>
                <c:pt idx="1726">
                  <c:v>#N/A</c:v>
                </c:pt>
                <c:pt idx="1727">
                  <c:v>#N/A</c:v>
                </c:pt>
                <c:pt idx="1728">
                  <c:v>#N/A</c:v>
                </c:pt>
                <c:pt idx="1729">
                  <c:v>#N/A</c:v>
                </c:pt>
                <c:pt idx="1730">
                  <c:v>#N/A</c:v>
                </c:pt>
                <c:pt idx="1731">
                  <c:v>#N/A</c:v>
                </c:pt>
                <c:pt idx="1732">
                  <c:v>#N/A</c:v>
                </c:pt>
                <c:pt idx="1733">
                  <c:v>#N/A</c:v>
                </c:pt>
                <c:pt idx="1734">
                  <c:v>#N/A</c:v>
                </c:pt>
                <c:pt idx="1735">
                  <c:v>#N/A</c:v>
                </c:pt>
                <c:pt idx="1736">
                  <c:v>#N/A</c:v>
                </c:pt>
                <c:pt idx="1737">
                  <c:v>#N/A</c:v>
                </c:pt>
                <c:pt idx="1738">
                  <c:v>#N/A</c:v>
                </c:pt>
                <c:pt idx="1739">
                  <c:v>#N/A</c:v>
                </c:pt>
                <c:pt idx="1740">
                  <c:v>#N/A</c:v>
                </c:pt>
                <c:pt idx="1741">
                  <c:v>#N/A</c:v>
                </c:pt>
                <c:pt idx="1742">
                  <c:v>#N/A</c:v>
                </c:pt>
                <c:pt idx="1743">
                  <c:v>#N/A</c:v>
                </c:pt>
                <c:pt idx="1744">
                  <c:v>#N/A</c:v>
                </c:pt>
                <c:pt idx="1745">
                  <c:v>#N/A</c:v>
                </c:pt>
                <c:pt idx="1746">
                  <c:v>#N/A</c:v>
                </c:pt>
                <c:pt idx="1747">
                  <c:v>#N/A</c:v>
                </c:pt>
                <c:pt idx="1748">
                  <c:v>#N/A</c:v>
                </c:pt>
                <c:pt idx="1749">
                  <c:v>#N/A</c:v>
                </c:pt>
                <c:pt idx="1750">
                  <c:v>#N/A</c:v>
                </c:pt>
                <c:pt idx="1751">
                  <c:v>#N/A</c:v>
                </c:pt>
                <c:pt idx="1752">
                  <c:v>#N/A</c:v>
                </c:pt>
                <c:pt idx="1753">
                  <c:v>#N/A</c:v>
                </c:pt>
                <c:pt idx="1754">
                  <c:v>#N/A</c:v>
                </c:pt>
                <c:pt idx="1755">
                  <c:v>#N/A</c:v>
                </c:pt>
                <c:pt idx="1756">
                  <c:v>#N/A</c:v>
                </c:pt>
                <c:pt idx="1757">
                  <c:v>#N/A</c:v>
                </c:pt>
                <c:pt idx="1758">
                  <c:v>#N/A</c:v>
                </c:pt>
                <c:pt idx="1759">
                  <c:v>#N/A</c:v>
                </c:pt>
                <c:pt idx="1760">
                  <c:v>#N/A</c:v>
                </c:pt>
                <c:pt idx="1761">
                  <c:v>#N/A</c:v>
                </c:pt>
                <c:pt idx="1762">
                  <c:v>#N/A</c:v>
                </c:pt>
                <c:pt idx="1763">
                  <c:v>#N/A</c:v>
                </c:pt>
                <c:pt idx="1764">
                  <c:v>#N/A</c:v>
                </c:pt>
                <c:pt idx="1765">
                  <c:v>#N/A</c:v>
                </c:pt>
                <c:pt idx="1766">
                  <c:v>#N/A</c:v>
                </c:pt>
                <c:pt idx="1767">
                  <c:v>#N/A</c:v>
                </c:pt>
                <c:pt idx="1768">
                  <c:v>#N/A</c:v>
                </c:pt>
                <c:pt idx="1769">
                  <c:v>#N/A</c:v>
                </c:pt>
                <c:pt idx="1770">
                  <c:v>#N/A</c:v>
                </c:pt>
                <c:pt idx="1771">
                  <c:v>#N/A</c:v>
                </c:pt>
                <c:pt idx="1772">
                  <c:v>#N/A</c:v>
                </c:pt>
                <c:pt idx="1773">
                  <c:v>#N/A</c:v>
                </c:pt>
                <c:pt idx="1774">
                  <c:v>#N/A</c:v>
                </c:pt>
                <c:pt idx="1775">
                  <c:v>#N/A</c:v>
                </c:pt>
                <c:pt idx="1776">
                  <c:v>#N/A</c:v>
                </c:pt>
                <c:pt idx="1777">
                  <c:v>#N/A</c:v>
                </c:pt>
                <c:pt idx="1778">
                  <c:v>#N/A</c:v>
                </c:pt>
                <c:pt idx="1779">
                  <c:v>#N/A</c:v>
                </c:pt>
                <c:pt idx="1780">
                  <c:v>#N/A</c:v>
                </c:pt>
                <c:pt idx="1781">
                  <c:v>#N/A</c:v>
                </c:pt>
                <c:pt idx="1782">
                  <c:v>#N/A</c:v>
                </c:pt>
                <c:pt idx="1783">
                  <c:v>#N/A</c:v>
                </c:pt>
                <c:pt idx="1784">
                  <c:v>#N/A</c:v>
                </c:pt>
                <c:pt idx="1785">
                  <c:v>#N/A</c:v>
                </c:pt>
                <c:pt idx="1786">
                  <c:v>#N/A</c:v>
                </c:pt>
                <c:pt idx="1787">
                  <c:v>#N/A</c:v>
                </c:pt>
                <c:pt idx="1788">
                  <c:v>#N/A</c:v>
                </c:pt>
                <c:pt idx="1789">
                  <c:v>#N/A</c:v>
                </c:pt>
                <c:pt idx="1790">
                  <c:v>#N/A</c:v>
                </c:pt>
                <c:pt idx="1791">
                  <c:v>#N/A</c:v>
                </c:pt>
                <c:pt idx="1792">
                  <c:v>#N/A</c:v>
                </c:pt>
                <c:pt idx="1793">
                  <c:v>#N/A</c:v>
                </c:pt>
                <c:pt idx="1794">
                  <c:v>#N/A</c:v>
                </c:pt>
                <c:pt idx="1795">
                  <c:v>#N/A</c:v>
                </c:pt>
                <c:pt idx="1796">
                  <c:v>#N/A</c:v>
                </c:pt>
                <c:pt idx="1797">
                  <c:v>#N/A</c:v>
                </c:pt>
                <c:pt idx="1798">
                  <c:v>#N/A</c:v>
                </c:pt>
                <c:pt idx="1799">
                  <c:v>#N/A</c:v>
                </c:pt>
                <c:pt idx="1800">
                  <c:v>#N/A</c:v>
                </c:pt>
                <c:pt idx="1801">
                  <c:v>#N/A</c:v>
                </c:pt>
                <c:pt idx="1802">
                  <c:v>#N/A</c:v>
                </c:pt>
                <c:pt idx="1803">
                  <c:v>#N/A</c:v>
                </c:pt>
                <c:pt idx="1804">
                  <c:v>#N/A</c:v>
                </c:pt>
                <c:pt idx="1805">
                  <c:v>#N/A</c:v>
                </c:pt>
                <c:pt idx="1806">
                  <c:v>#N/A</c:v>
                </c:pt>
                <c:pt idx="1807">
                  <c:v>#N/A</c:v>
                </c:pt>
                <c:pt idx="1808">
                  <c:v>#N/A</c:v>
                </c:pt>
                <c:pt idx="1809">
                  <c:v>#N/A</c:v>
                </c:pt>
                <c:pt idx="1810">
                  <c:v>#N/A</c:v>
                </c:pt>
                <c:pt idx="1811">
                  <c:v>#N/A</c:v>
                </c:pt>
                <c:pt idx="1812">
                  <c:v>#N/A</c:v>
                </c:pt>
                <c:pt idx="1813">
                  <c:v>#N/A</c:v>
                </c:pt>
                <c:pt idx="1814">
                  <c:v>#N/A</c:v>
                </c:pt>
                <c:pt idx="1815">
                  <c:v>#N/A</c:v>
                </c:pt>
                <c:pt idx="1816">
                  <c:v>#N/A</c:v>
                </c:pt>
                <c:pt idx="1817">
                  <c:v>#N/A</c:v>
                </c:pt>
                <c:pt idx="1818">
                  <c:v>#N/A</c:v>
                </c:pt>
                <c:pt idx="1819">
                  <c:v>#N/A</c:v>
                </c:pt>
                <c:pt idx="1820">
                  <c:v>#N/A</c:v>
                </c:pt>
                <c:pt idx="1821">
                  <c:v>#N/A</c:v>
                </c:pt>
                <c:pt idx="1822">
                  <c:v>#N/A</c:v>
                </c:pt>
                <c:pt idx="1823">
                  <c:v>#N/A</c:v>
                </c:pt>
                <c:pt idx="1824">
                  <c:v>#N/A</c:v>
                </c:pt>
                <c:pt idx="1825">
                  <c:v>#N/A</c:v>
                </c:pt>
                <c:pt idx="1826">
                  <c:v>0.88219178082191785</c:v>
                </c:pt>
                <c:pt idx="1827">
                  <c:v>#N/A</c:v>
                </c:pt>
                <c:pt idx="1828">
                  <c:v>#N/A</c:v>
                </c:pt>
                <c:pt idx="1829">
                  <c:v>#N/A</c:v>
                </c:pt>
                <c:pt idx="1830">
                  <c:v>#N/A</c:v>
                </c:pt>
                <c:pt idx="1831">
                  <c:v>#N/A</c:v>
                </c:pt>
                <c:pt idx="1832">
                  <c:v>#N/A</c:v>
                </c:pt>
                <c:pt idx="1833">
                  <c:v>#N/A</c:v>
                </c:pt>
                <c:pt idx="1834">
                  <c:v>#N/A</c:v>
                </c:pt>
                <c:pt idx="1835">
                  <c:v>#N/A</c:v>
                </c:pt>
                <c:pt idx="1836">
                  <c:v>#N/A</c:v>
                </c:pt>
                <c:pt idx="1837">
                  <c:v>#N/A</c:v>
                </c:pt>
                <c:pt idx="1838">
                  <c:v>#N/A</c:v>
                </c:pt>
                <c:pt idx="1839">
                  <c:v>#N/A</c:v>
                </c:pt>
                <c:pt idx="1840">
                  <c:v>#N/A</c:v>
                </c:pt>
                <c:pt idx="1841">
                  <c:v>#N/A</c:v>
                </c:pt>
                <c:pt idx="1842">
                  <c:v>#N/A</c:v>
                </c:pt>
                <c:pt idx="1843">
                  <c:v>#N/A</c:v>
                </c:pt>
                <c:pt idx="1844">
                  <c:v>#N/A</c:v>
                </c:pt>
                <c:pt idx="1845">
                  <c:v>#N/A</c:v>
                </c:pt>
                <c:pt idx="1846">
                  <c:v>#N/A</c:v>
                </c:pt>
                <c:pt idx="1847">
                  <c:v>#N/A</c:v>
                </c:pt>
                <c:pt idx="1848">
                  <c:v>#N/A</c:v>
                </c:pt>
                <c:pt idx="1849">
                  <c:v>#N/A</c:v>
                </c:pt>
                <c:pt idx="1850">
                  <c:v>#N/A</c:v>
                </c:pt>
                <c:pt idx="1851">
                  <c:v>#N/A</c:v>
                </c:pt>
                <c:pt idx="1852">
                  <c:v>#N/A</c:v>
                </c:pt>
                <c:pt idx="1853">
                  <c:v>#N/A</c:v>
                </c:pt>
                <c:pt idx="1854">
                  <c:v>#N/A</c:v>
                </c:pt>
                <c:pt idx="1855">
                  <c:v>#N/A</c:v>
                </c:pt>
                <c:pt idx="1856">
                  <c:v>#N/A</c:v>
                </c:pt>
                <c:pt idx="1857">
                  <c:v>#N/A</c:v>
                </c:pt>
                <c:pt idx="1858">
                  <c:v>#N/A</c:v>
                </c:pt>
                <c:pt idx="1859">
                  <c:v>#N/A</c:v>
                </c:pt>
                <c:pt idx="1860">
                  <c:v>#N/A</c:v>
                </c:pt>
                <c:pt idx="1861">
                  <c:v>#N/A</c:v>
                </c:pt>
                <c:pt idx="1862">
                  <c:v>#N/A</c:v>
                </c:pt>
                <c:pt idx="1863">
                  <c:v>#N/A</c:v>
                </c:pt>
                <c:pt idx="1864">
                  <c:v>#N/A</c:v>
                </c:pt>
                <c:pt idx="1865">
                  <c:v>#N/A</c:v>
                </c:pt>
                <c:pt idx="1866">
                  <c:v>#N/A</c:v>
                </c:pt>
                <c:pt idx="1867">
                  <c:v>#N/A</c:v>
                </c:pt>
                <c:pt idx="1868">
                  <c:v>#N/A</c:v>
                </c:pt>
                <c:pt idx="1869">
                  <c:v>#N/A</c:v>
                </c:pt>
                <c:pt idx="1870">
                  <c:v>#N/A</c:v>
                </c:pt>
                <c:pt idx="1871">
                  <c:v>#N/A</c:v>
                </c:pt>
                <c:pt idx="1872">
                  <c:v>#N/A</c:v>
                </c:pt>
                <c:pt idx="1873">
                  <c:v>#N/A</c:v>
                </c:pt>
                <c:pt idx="1874">
                  <c:v>#N/A</c:v>
                </c:pt>
                <c:pt idx="1875">
                  <c:v>#N/A</c:v>
                </c:pt>
                <c:pt idx="1876">
                  <c:v>#N/A</c:v>
                </c:pt>
                <c:pt idx="1877">
                  <c:v>#N/A</c:v>
                </c:pt>
                <c:pt idx="1878">
                  <c:v>#N/A</c:v>
                </c:pt>
                <c:pt idx="1879">
                  <c:v>#N/A</c:v>
                </c:pt>
                <c:pt idx="1880">
                  <c:v>#N/A</c:v>
                </c:pt>
                <c:pt idx="1881">
                  <c:v>#N/A</c:v>
                </c:pt>
                <c:pt idx="1882">
                  <c:v>#N/A</c:v>
                </c:pt>
                <c:pt idx="1883">
                  <c:v>#N/A</c:v>
                </c:pt>
                <c:pt idx="1884">
                  <c:v>#N/A</c:v>
                </c:pt>
                <c:pt idx="1885">
                  <c:v>#N/A</c:v>
                </c:pt>
                <c:pt idx="1886">
                  <c:v>#N/A</c:v>
                </c:pt>
                <c:pt idx="1887">
                  <c:v>#N/A</c:v>
                </c:pt>
                <c:pt idx="1888">
                  <c:v>#N/A</c:v>
                </c:pt>
                <c:pt idx="1889">
                  <c:v>#N/A</c:v>
                </c:pt>
                <c:pt idx="1890">
                  <c:v>#N/A</c:v>
                </c:pt>
                <c:pt idx="1891">
                  <c:v>#N/A</c:v>
                </c:pt>
                <c:pt idx="1892">
                  <c:v>#N/A</c:v>
                </c:pt>
                <c:pt idx="1893">
                  <c:v>#N/A</c:v>
                </c:pt>
                <c:pt idx="1894">
                  <c:v>#N/A</c:v>
                </c:pt>
                <c:pt idx="1895">
                  <c:v>#N/A</c:v>
                </c:pt>
                <c:pt idx="1896">
                  <c:v>#N/A</c:v>
                </c:pt>
                <c:pt idx="1897">
                  <c:v>#N/A</c:v>
                </c:pt>
                <c:pt idx="1898">
                  <c:v>#N/A</c:v>
                </c:pt>
                <c:pt idx="1899">
                  <c:v>#N/A</c:v>
                </c:pt>
                <c:pt idx="1900">
                  <c:v>#N/A</c:v>
                </c:pt>
                <c:pt idx="1901">
                  <c:v>#N/A</c:v>
                </c:pt>
                <c:pt idx="1902">
                  <c:v>#N/A</c:v>
                </c:pt>
                <c:pt idx="1903">
                  <c:v>#N/A</c:v>
                </c:pt>
                <c:pt idx="1904">
                  <c:v>#N/A</c:v>
                </c:pt>
                <c:pt idx="1905">
                  <c:v>#N/A</c:v>
                </c:pt>
                <c:pt idx="1906">
                  <c:v>#N/A</c:v>
                </c:pt>
                <c:pt idx="1907">
                  <c:v>#N/A</c:v>
                </c:pt>
                <c:pt idx="1908">
                  <c:v>#N/A</c:v>
                </c:pt>
                <c:pt idx="1909">
                  <c:v>#N/A</c:v>
                </c:pt>
                <c:pt idx="1910">
                  <c:v>#N/A</c:v>
                </c:pt>
                <c:pt idx="1911">
                  <c:v>#N/A</c:v>
                </c:pt>
                <c:pt idx="1912">
                  <c:v>#N/A</c:v>
                </c:pt>
                <c:pt idx="1913">
                  <c:v>#N/A</c:v>
                </c:pt>
                <c:pt idx="1914">
                  <c:v>#N/A</c:v>
                </c:pt>
                <c:pt idx="1915">
                  <c:v>#N/A</c:v>
                </c:pt>
                <c:pt idx="1916">
                  <c:v>#N/A</c:v>
                </c:pt>
                <c:pt idx="1917">
                  <c:v>#N/A</c:v>
                </c:pt>
                <c:pt idx="1918">
                  <c:v>#N/A</c:v>
                </c:pt>
                <c:pt idx="1919">
                  <c:v>#N/A</c:v>
                </c:pt>
                <c:pt idx="1920">
                  <c:v>#N/A</c:v>
                </c:pt>
                <c:pt idx="1921">
                  <c:v>#N/A</c:v>
                </c:pt>
                <c:pt idx="1922">
                  <c:v>#N/A</c:v>
                </c:pt>
                <c:pt idx="1923">
                  <c:v>#N/A</c:v>
                </c:pt>
                <c:pt idx="1924">
                  <c:v>#N/A</c:v>
                </c:pt>
                <c:pt idx="1925">
                  <c:v>#N/A</c:v>
                </c:pt>
                <c:pt idx="1926">
                  <c:v>#N/A</c:v>
                </c:pt>
                <c:pt idx="1927">
                  <c:v>#N/A</c:v>
                </c:pt>
                <c:pt idx="1928">
                  <c:v>#N/A</c:v>
                </c:pt>
                <c:pt idx="1929">
                  <c:v>#N/A</c:v>
                </c:pt>
                <c:pt idx="1930">
                  <c:v>#N/A</c:v>
                </c:pt>
                <c:pt idx="1931">
                  <c:v>#N/A</c:v>
                </c:pt>
                <c:pt idx="1932">
                  <c:v>#N/A</c:v>
                </c:pt>
                <c:pt idx="1933">
                  <c:v>#N/A</c:v>
                </c:pt>
                <c:pt idx="1934">
                  <c:v>#N/A</c:v>
                </c:pt>
                <c:pt idx="1935">
                  <c:v>#N/A</c:v>
                </c:pt>
                <c:pt idx="1936">
                  <c:v>#N/A</c:v>
                </c:pt>
                <c:pt idx="1937">
                  <c:v>#N/A</c:v>
                </c:pt>
                <c:pt idx="1938">
                  <c:v>#N/A</c:v>
                </c:pt>
                <c:pt idx="1939">
                  <c:v>#N/A</c:v>
                </c:pt>
                <c:pt idx="1940">
                  <c:v>#N/A</c:v>
                </c:pt>
                <c:pt idx="1941">
                  <c:v>#N/A</c:v>
                </c:pt>
                <c:pt idx="1942">
                  <c:v>#N/A</c:v>
                </c:pt>
                <c:pt idx="1943">
                  <c:v>#N/A</c:v>
                </c:pt>
                <c:pt idx="1944">
                  <c:v>#N/A</c:v>
                </c:pt>
                <c:pt idx="1945">
                  <c:v>#N/A</c:v>
                </c:pt>
                <c:pt idx="1946">
                  <c:v>#N/A</c:v>
                </c:pt>
                <c:pt idx="1947">
                  <c:v>#N/A</c:v>
                </c:pt>
                <c:pt idx="1948">
                  <c:v>#N/A</c:v>
                </c:pt>
                <c:pt idx="1949">
                  <c:v>#N/A</c:v>
                </c:pt>
                <c:pt idx="1950">
                  <c:v>#N/A</c:v>
                </c:pt>
                <c:pt idx="1951">
                  <c:v>#N/A</c:v>
                </c:pt>
                <c:pt idx="1952">
                  <c:v>#N/A</c:v>
                </c:pt>
                <c:pt idx="1953">
                  <c:v>#N/A</c:v>
                </c:pt>
                <c:pt idx="1954">
                  <c:v>#N/A</c:v>
                </c:pt>
                <c:pt idx="1955">
                  <c:v>#N/A</c:v>
                </c:pt>
                <c:pt idx="1956">
                  <c:v>#N/A</c:v>
                </c:pt>
                <c:pt idx="1957">
                  <c:v>#N/A</c:v>
                </c:pt>
                <c:pt idx="1958">
                  <c:v>#N/A</c:v>
                </c:pt>
                <c:pt idx="1959">
                  <c:v>#N/A</c:v>
                </c:pt>
                <c:pt idx="1960">
                  <c:v>#N/A</c:v>
                </c:pt>
                <c:pt idx="1961">
                  <c:v>#N/A</c:v>
                </c:pt>
                <c:pt idx="1962">
                  <c:v>#N/A</c:v>
                </c:pt>
                <c:pt idx="1963">
                  <c:v>#N/A</c:v>
                </c:pt>
                <c:pt idx="1964">
                  <c:v>#N/A</c:v>
                </c:pt>
                <c:pt idx="1965">
                  <c:v>#N/A</c:v>
                </c:pt>
                <c:pt idx="1966">
                  <c:v>#N/A</c:v>
                </c:pt>
                <c:pt idx="1967">
                  <c:v>#N/A</c:v>
                </c:pt>
                <c:pt idx="1968">
                  <c:v>#N/A</c:v>
                </c:pt>
                <c:pt idx="1969">
                  <c:v>#N/A</c:v>
                </c:pt>
                <c:pt idx="1970">
                  <c:v>#N/A</c:v>
                </c:pt>
                <c:pt idx="1971">
                  <c:v>#N/A</c:v>
                </c:pt>
                <c:pt idx="1972">
                  <c:v>#N/A</c:v>
                </c:pt>
                <c:pt idx="1973">
                  <c:v>#N/A</c:v>
                </c:pt>
                <c:pt idx="1974">
                  <c:v>#N/A</c:v>
                </c:pt>
                <c:pt idx="1975">
                  <c:v>#N/A</c:v>
                </c:pt>
                <c:pt idx="1976">
                  <c:v>#N/A</c:v>
                </c:pt>
                <c:pt idx="1977">
                  <c:v>#N/A</c:v>
                </c:pt>
                <c:pt idx="1978">
                  <c:v>#N/A</c:v>
                </c:pt>
                <c:pt idx="1979">
                  <c:v>#N/A</c:v>
                </c:pt>
                <c:pt idx="1980">
                  <c:v>#N/A</c:v>
                </c:pt>
                <c:pt idx="1981">
                  <c:v>#N/A</c:v>
                </c:pt>
                <c:pt idx="1982">
                  <c:v>#N/A</c:v>
                </c:pt>
                <c:pt idx="1983">
                  <c:v>#N/A</c:v>
                </c:pt>
                <c:pt idx="1984">
                  <c:v>#N/A</c:v>
                </c:pt>
                <c:pt idx="1985">
                  <c:v>#N/A</c:v>
                </c:pt>
                <c:pt idx="1986">
                  <c:v>#N/A</c:v>
                </c:pt>
                <c:pt idx="1987">
                  <c:v>#N/A</c:v>
                </c:pt>
                <c:pt idx="1988">
                  <c:v>#N/A</c:v>
                </c:pt>
                <c:pt idx="1989">
                  <c:v>#N/A</c:v>
                </c:pt>
                <c:pt idx="1990">
                  <c:v>#N/A</c:v>
                </c:pt>
                <c:pt idx="1991">
                  <c:v>#N/A</c:v>
                </c:pt>
                <c:pt idx="1992">
                  <c:v>#N/A</c:v>
                </c:pt>
                <c:pt idx="1993">
                  <c:v>#N/A</c:v>
                </c:pt>
                <c:pt idx="1994">
                  <c:v>#N/A</c:v>
                </c:pt>
                <c:pt idx="1995">
                  <c:v>#N/A</c:v>
                </c:pt>
                <c:pt idx="1996">
                  <c:v>#N/A</c:v>
                </c:pt>
                <c:pt idx="1997">
                  <c:v>#N/A</c:v>
                </c:pt>
                <c:pt idx="1998">
                  <c:v>#N/A</c:v>
                </c:pt>
                <c:pt idx="1999">
                  <c:v>#N/A</c:v>
                </c:pt>
                <c:pt idx="2000">
                  <c:v>#N/A</c:v>
                </c:pt>
                <c:pt idx="2001">
                  <c:v>#N/A</c:v>
                </c:pt>
                <c:pt idx="2002">
                  <c:v>#N/A</c:v>
                </c:pt>
                <c:pt idx="2003">
                  <c:v>#N/A</c:v>
                </c:pt>
                <c:pt idx="2004">
                  <c:v>#N/A</c:v>
                </c:pt>
                <c:pt idx="2005">
                  <c:v>#N/A</c:v>
                </c:pt>
                <c:pt idx="2006">
                  <c:v>#N/A</c:v>
                </c:pt>
                <c:pt idx="2007">
                  <c:v>#N/A</c:v>
                </c:pt>
                <c:pt idx="2008">
                  <c:v>#N/A</c:v>
                </c:pt>
                <c:pt idx="2009">
                  <c:v>#N/A</c:v>
                </c:pt>
                <c:pt idx="2010">
                  <c:v>#N/A</c:v>
                </c:pt>
                <c:pt idx="2011">
                  <c:v>#N/A</c:v>
                </c:pt>
                <c:pt idx="2012">
                  <c:v>#N/A</c:v>
                </c:pt>
                <c:pt idx="2013">
                  <c:v>#N/A</c:v>
                </c:pt>
                <c:pt idx="2014">
                  <c:v>#N/A</c:v>
                </c:pt>
                <c:pt idx="2015">
                  <c:v>#N/A</c:v>
                </c:pt>
                <c:pt idx="2016">
                  <c:v>#N/A</c:v>
                </c:pt>
                <c:pt idx="2017">
                  <c:v>#N/A</c:v>
                </c:pt>
                <c:pt idx="2018">
                  <c:v>#N/A</c:v>
                </c:pt>
                <c:pt idx="2019">
                  <c:v>#N/A</c:v>
                </c:pt>
                <c:pt idx="2020">
                  <c:v>#N/A</c:v>
                </c:pt>
                <c:pt idx="2021">
                  <c:v>#N/A</c:v>
                </c:pt>
                <c:pt idx="2022">
                  <c:v>#N/A</c:v>
                </c:pt>
                <c:pt idx="2023">
                  <c:v>#N/A</c:v>
                </c:pt>
                <c:pt idx="2024">
                  <c:v>#N/A</c:v>
                </c:pt>
                <c:pt idx="2025">
                  <c:v>#N/A</c:v>
                </c:pt>
                <c:pt idx="2026">
                  <c:v>#N/A</c:v>
                </c:pt>
                <c:pt idx="2027">
                  <c:v>#N/A</c:v>
                </c:pt>
                <c:pt idx="2028">
                  <c:v>#N/A</c:v>
                </c:pt>
                <c:pt idx="2029">
                  <c:v>#N/A</c:v>
                </c:pt>
                <c:pt idx="2030">
                  <c:v>#N/A</c:v>
                </c:pt>
                <c:pt idx="2031">
                  <c:v>#N/A</c:v>
                </c:pt>
                <c:pt idx="2032">
                  <c:v>#N/A</c:v>
                </c:pt>
                <c:pt idx="2033">
                  <c:v>#N/A</c:v>
                </c:pt>
                <c:pt idx="2034">
                  <c:v>#N/A</c:v>
                </c:pt>
                <c:pt idx="2035">
                  <c:v>#N/A</c:v>
                </c:pt>
                <c:pt idx="2036">
                  <c:v>#N/A</c:v>
                </c:pt>
                <c:pt idx="2037">
                  <c:v>#N/A</c:v>
                </c:pt>
                <c:pt idx="2038">
                  <c:v>#N/A</c:v>
                </c:pt>
                <c:pt idx="2039">
                  <c:v>#N/A</c:v>
                </c:pt>
                <c:pt idx="2040">
                  <c:v>#N/A</c:v>
                </c:pt>
                <c:pt idx="2041">
                  <c:v>#N/A</c:v>
                </c:pt>
                <c:pt idx="2042">
                  <c:v>#N/A</c:v>
                </c:pt>
                <c:pt idx="2043">
                  <c:v>#N/A</c:v>
                </c:pt>
                <c:pt idx="2044">
                  <c:v>#N/A</c:v>
                </c:pt>
                <c:pt idx="2045">
                  <c:v>#N/A</c:v>
                </c:pt>
                <c:pt idx="2046">
                  <c:v>#N/A</c:v>
                </c:pt>
                <c:pt idx="2047">
                  <c:v>#N/A</c:v>
                </c:pt>
                <c:pt idx="2048">
                  <c:v>#N/A</c:v>
                </c:pt>
                <c:pt idx="2049">
                  <c:v>#N/A</c:v>
                </c:pt>
                <c:pt idx="2050">
                  <c:v>#N/A</c:v>
                </c:pt>
                <c:pt idx="2051">
                  <c:v>#N/A</c:v>
                </c:pt>
                <c:pt idx="2052">
                  <c:v>#N/A</c:v>
                </c:pt>
                <c:pt idx="2053">
                  <c:v>#N/A</c:v>
                </c:pt>
                <c:pt idx="2054">
                  <c:v>#N/A</c:v>
                </c:pt>
                <c:pt idx="2055">
                  <c:v>#N/A</c:v>
                </c:pt>
                <c:pt idx="2056">
                  <c:v>#N/A</c:v>
                </c:pt>
                <c:pt idx="2057">
                  <c:v>#N/A</c:v>
                </c:pt>
                <c:pt idx="2058">
                  <c:v>#N/A</c:v>
                </c:pt>
                <c:pt idx="2059">
                  <c:v>#N/A</c:v>
                </c:pt>
                <c:pt idx="2060">
                  <c:v>#N/A</c:v>
                </c:pt>
                <c:pt idx="2061">
                  <c:v>#N/A</c:v>
                </c:pt>
                <c:pt idx="2062">
                  <c:v>#N/A</c:v>
                </c:pt>
                <c:pt idx="2063">
                  <c:v>#N/A</c:v>
                </c:pt>
                <c:pt idx="2064">
                  <c:v>#N/A</c:v>
                </c:pt>
                <c:pt idx="2065">
                  <c:v>#N/A</c:v>
                </c:pt>
                <c:pt idx="2066">
                  <c:v>#N/A</c:v>
                </c:pt>
                <c:pt idx="2067">
                  <c:v>#N/A</c:v>
                </c:pt>
                <c:pt idx="2068">
                  <c:v>#N/A</c:v>
                </c:pt>
                <c:pt idx="2069">
                  <c:v>#N/A</c:v>
                </c:pt>
                <c:pt idx="2070">
                  <c:v>#N/A</c:v>
                </c:pt>
                <c:pt idx="2071">
                  <c:v>#N/A</c:v>
                </c:pt>
                <c:pt idx="2072">
                  <c:v>#N/A</c:v>
                </c:pt>
                <c:pt idx="2073">
                  <c:v>#N/A</c:v>
                </c:pt>
                <c:pt idx="2074">
                  <c:v>#N/A</c:v>
                </c:pt>
                <c:pt idx="2075">
                  <c:v>#N/A</c:v>
                </c:pt>
                <c:pt idx="2076">
                  <c:v>#N/A</c:v>
                </c:pt>
                <c:pt idx="2077">
                  <c:v>#N/A</c:v>
                </c:pt>
                <c:pt idx="2078">
                  <c:v>#N/A</c:v>
                </c:pt>
                <c:pt idx="2079">
                  <c:v>#N/A</c:v>
                </c:pt>
                <c:pt idx="2080">
                  <c:v>#N/A</c:v>
                </c:pt>
                <c:pt idx="2081">
                  <c:v>#N/A</c:v>
                </c:pt>
                <c:pt idx="2082">
                  <c:v>#N/A</c:v>
                </c:pt>
                <c:pt idx="2083">
                  <c:v>#N/A</c:v>
                </c:pt>
                <c:pt idx="2084">
                  <c:v>#N/A</c:v>
                </c:pt>
                <c:pt idx="2085">
                  <c:v>#N/A</c:v>
                </c:pt>
                <c:pt idx="2086">
                  <c:v>#N/A</c:v>
                </c:pt>
                <c:pt idx="2087">
                  <c:v>#N/A</c:v>
                </c:pt>
                <c:pt idx="2088">
                  <c:v>#N/A</c:v>
                </c:pt>
                <c:pt idx="2089">
                  <c:v>#N/A</c:v>
                </c:pt>
                <c:pt idx="2090">
                  <c:v>#N/A</c:v>
                </c:pt>
                <c:pt idx="2091">
                  <c:v>#N/A</c:v>
                </c:pt>
                <c:pt idx="2092">
                  <c:v>#N/A</c:v>
                </c:pt>
                <c:pt idx="2093">
                  <c:v>#N/A</c:v>
                </c:pt>
                <c:pt idx="2094">
                  <c:v>#N/A</c:v>
                </c:pt>
                <c:pt idx="2095">
                  <c:v>#N/A</c:v>
                </c:pt>
                <c:pt idx="2096">
                  <c:v>#N/A</c:v>
                </c:pt>
                <c:pt idx="2097">
                  <c:v>#N/A</c:v>
                </c:pt>
                <c:pt idx="2098">
                  <c:v>#N/A</c:v>
                </c:pt>
                <c:pt idx="2099">
                  <c:v>#N/A</c:v>
                </c:pt>
                <c:pt idx="2100">
                  <c:v>#N/A</c:v>
                </c:pt>
                <c:pt idx="2101">
                  <c:v>#N/A</c:v>
                </c:pt>
                <c:pt idx="2102">
                  <c:v>#N/A</c:v>
                </c:pt>
                <c:pt idx="2103">
                  <c:v>#N/A</c:v>
                </c:pt>
                <c:pt idx="2104">
                  <c:v>#N/A</c:v>
                </c:pt>
                <c:pt idx="2105">
                  <c:v>#N/A</c:v>
                </c:pt>
                <c:pt idx="2106">
                  <c:v>#N/A</c:v>
                </c:pt>
                <c:pt idx="2107">
                  <c:v>#N/A</c:v>
                </c:pt>
                <c:pt idx="2108">
                  <c:v>#N/A</c:v>
                </c:pt>
                <c:pt idx="2109">
                  <c:v>#N/A</c:v>
                </c:pt>
                <c:pt idx="2110">
                  <c:v>#N/A</c:v>
                </c:pt>
                <c:pt idx="2111">
                  <c:v>#N/A</c:v>
                </c:pt>
                <c:pt idx="2112">
                  <c:v>#N/A</c:v>
                </c:pt>
                <c:pt idx="2113">
                  <c:v>#N/A</c:v>
                </c:pt>
                <c:pt idx="2114">
                  <c:v>#N/A</c:v>
                </c:pt>
                <c:pt idx="2115">
                  <c:v>#N/A</c:v>
                </c:pt>
                <c:pt idx="2116">
                  <c:v>#N/A</c:v>
                </c:pt>
                <c:pt idx="2117">
                  <c:v>#N/A</c:v>
                </c:pt>
                <c:pt idx="2118">
                  <c:v>#N/A</c:v>
                </c:pt>
                <c:pt idx="2119">
                  <c:v>#N/A</c:v>
                </c:pt>
                <c:pt idx="2120">
                  <c:v>#N/A</c:v>
                </c:pt>
                <c:pt idx="2121">
                  <c:v>#N/A</c:v>
                </c:pt>
                <c:pt idx="2122">
                  <c:v>#N/A</c:v>
                </c:pt>
                <c:pt idx="2123">
                  <c:v>#N/A</c:v>
                </c:pt>
                <c:pt idx="2124">
                  <c:v>#N/A</c:v>
                </c:pt>
                <c:pt idx="2125">
                  <c:v>#N/A</c:v>
                </c:pt>
                <c:pt idx="2126">
                  <c:v>#N/A</c:v>
                </c:pt>
                <c:pt idx="2127">
                  <c:v>#N/A</c:v>
                </c:pt>
                <c:pt idx="2128">
                  <c:v>#N/A</c:v>
                </c:pt>
                <c:pt idx="2129">
                  <c:v>#N/A</c:v>
                </c:pt>
                <c:pt idx="2130">
                  <c:v>#N/A</c:v>
                </c:pt>
                <c:pt idx="2131">
                  <c:v>#N/A</c:v>
                </c:pt>
                <c:pt idx="2132">
                  <c:v>#N/A</c:v>
                </c:pt>
                <c:pt idx="2133">
                  <c:v>#N/A</c:v>
                </c:pt>
                <c:pt idx="2134">
                  <c:v>#N/A</c:v>
                </c:pt>
                <c:pt idx="2135">
                  <c:v>#N/A</c:v>
                </c:pt>
                <c:pt idx="2136">
                  <c:v>#N/A</c:v>
                </c:pt>
                <c:pt idx="2137">
                  <c:v>#N/A</c:v>
                </c:pt>
                <c:pt idx="2138">
                  <c:v>#N/A</c:v>
                </c:pt>
                <c:pt idx="2139">
                  <c:v>#N/A</c:v>
                </c:pt>
                <c:pt idx="2140">
                  <c:v>#N/A</c:v>
                </c:pt>
                <c:pt idx="2141">
                  <c:v>#N/A</c:v>
                </c:pt>
                <c:pt idx="2142">
                  <c:v>#N/A</c:v>
                </c:pt>
                <c:pt idx="2143">
                  <c:v>#N/A</c:v>
                </c:pt>
                <c:pt idx="2144">
                  <c:v>#N/A</c:v>
                </c:pt>
                <c:pt idx="2145">
                  <c:v>#N/A</c:v>
                </c:pt>
                <c:pt idx="2146">
                  <c:v>#N/A</c:v>
                </c:pt>
                <c:pt idx="2147">
                  <c:v>#N/A</c:v>
                </c:pt>
                <c:pt idx="2148">
                  <c:v>#N/A</c:v>
                </c:pt>
                <c:pt idx="2149">
                  <c:v>#N/A</c:v>
                </c:pt>
                <c:pt idx="2150">
                  <c:v>#N/A</c:v>
                </c:pt>
                <c:pt idx="2151">
                  <c:v>#N/A</c:v>
                </c:pt>
                <c:pt idx="2152">
                  <c:v>#N/A</c:v>
                </c:pt>
                <c:pt idx="2153">
                  <c:v>#N/A</c:v>
                </c:pt>
                <c:pt idx="2154">
                  <c:v>#N/A</c:v>
                </c:pt>
                <c:pt idx="2155">
                  <c:v>#N/A</c:v>
                </c:pt>
                <c:pt idx="2156">
                  <c:v>#N/A</c:v>
                </c:pt>
                <c:pt idx="2157">
                  <c:v>#N/A</c:v>
                </c:pt>
                <c:pt idx="2158">
                  <c:v>#N/A</c:v>
                </c:pt>
                <c:pt idx="2159">
                  <c:v>#N/A</c:v>
                </c:pt>
                <c:pt idx="2160">
                  <c:v>#N/A</c:v>
                </c:pt>
                <c:pt idx="2161">
                  <c:v>#N/A</c:v>
                </c:pt>
                <c:pt idx="2162">
                  <c:v>#N/A</c:v>
                </c:pt>
                <c:pt idx="2163">
                  <c:v>#N/A</c:v>
                </c:pt>
                <c:pt idx="2164">
                  <c:v>#N/A</c:v>
                </c:pt>
                <c:pt idx="2165">
                  <c:v>#N/A</c:v>
                </c:pt>
                <c:pt idx="2166">
                  <c:v>#N/A</c:v>
                </c:pt>
                <c:pt idx="2167">
                  <c:v>#N/A</c:v>
                </c:pt>
                <c:pt idx="2168">
                  <c:v>#N/A</c:v>
                </c:pt>
                <c:pt idx="2169">
                  <c:v>#N/A</c:v>
                </c:pt>
                <c:pt idx="2170">
                  <c:v>#N/A</c:v>
                </c:pt>
                <c:pt idx="2171">
                  <c:v>#N/A</c:v>
                </c:pt>
                <c:pt idx="2172">
                  <c:v>#N/A</c:v>
                </c:pt>
                <c:pt idx="2173">
                  <c:v>#N/A</c:v>
                </c:pt>
                <c:pt idx="2174">
                  <c:v>#N/A</c:v>
                </c:pt>
                <c:pt idx="2175">
                  <c:v>#N/A</c:v>
                </c:pt>
                <c:pt idx="2176">
                  <c:v>#N/A</c:v>
                </c:pt>
                <c:pt idx="2177">
                  <c:v>#N/A</c:v>
                </c:pt>
                <c:pt idx="2178">
                  <c:v>#N/A</c:v>
                </c:pt>
                <c:pt idx="2179">
                  <c:v>#N/A</c:v>
                </c:pt>
                <c:pt idx="2180">
                  <c:v>#N/A</c:v>
                </c:pt>
                <c:pt idx="2181">
                  <c:v>#N/A</c:v>
                </c:pt>
                <c:pt idx="2182">
                  <c:v>#N/A</c:v>
                </c:pt>
                <c:pt idx="2183">
                  <c:v>#N/A</c:v>
                </c:pt>
                <c:pt idx="2184">
                  <c:v>#N/A</c:v>
                </c:pt>
                <c:pt idx="2185">
                  <c:v>#N/A</c:v>
                </c:pt>
                <c:pt idx="2186">
                  <c:v>#N/A</c:v>
                </c:pt>
                <c:pt idx="2187">
                  <c:v>#N/A</c:v>
                </c:pt>
                <c:pt idx="2188">
                  <c:v>#N/A</c:v>
                </c:pt>
                <c:pt idx="2189">
                  <c:v>#N/A</c:v>
                </c:pt>
                <c:pt idx="2190">
                  <c:v>#N/A</c:v>
                </c:pt>
                <c:pt idx="2191">
                  <c:v>#N/A</c:v>
                </c:pt>
                <c:pt idx="2192">
                  <c:v>#N/A</c:v>
                </c:pt>
                <c:pt idx="2193">
                  <c:v>#N/A</c:v>
                </c:pt>
                <c:pt idx="2194">
                  <c:v>#N/A</c:v>
                </c:pt>
                <c:pt idx="2195">
                  <c:v>#N/A</c:v>
                </c:pt>
                <c:pt idx="2196">
                  <c:v>#N/A</c:v>
                </c:pt>
                <c:pt idx="2197">
                  <c:v>#N/A</c:v>
                </c:pt>
                <c:pt idx="2198">
                  <c:v>#N/A</c:v>
                </c:pt>
                <c:pt idx="2199">
                  <c:v>#N/A</c:v>
                </c:pt>
                <c:pt idx="2200">
                  <c:v>#N/A</c:v>
                </c:pt>
                <c:pt idx="2201">
                  <c:v>#N/A</c:v>
                </c:pt>
                <c:pt idx="2202">
                  <c:v>#N/A</c:v>
                </c:pt>
                <c:pt idx="2203">
                  <c:v>#N/A</c:v>
                </c:pt>
                <c:pt idx="2204">
                  <c:v>#N/A</c:v>
                </c:pt>
                <c:pt idx="2205">
                  <c:v>#N/A</c:v>
                </c:pt>
                <c:pt idx="2206">
                  <c:v>#N/A</c:v>
                </c:pt>
                <c:pt idx="2207">
                  <c:v>#N/A</c:v>
                </c:pt>
                <c:pt idx="2208">
                  <c:v>#N/A</c:v>
                </c:pt>
                <c:pt idx="2209">
                  <c:v>#N/A</c:v>
                </c:pt>
                <c:pt idx="2210">
                  <c:v>#N/A</c:v>
                </c:pt>
                <c:pt idx="2211">
                  <c:v>#N/A</c:v>
                </c:pt>
                <c:pt idx="2212">
                  <c:v>#N/A</c:v>
                </c:pt>
                <c:pt idx="2213">
                  <c:v>#N/A</c:v>
                </c:pt>
                <c:pt idx="2214">
                  <c:v>#N/A</c:v>
                </c:pt>
                <c:pt idx="2215">
                  <c:v>#N/A</c:v>
                </c:pt>
                <c:pt idx="2216">
                  <c:v>#N/A</c:v>
                </c:pt>
                <c:pt idx="2217">
                  <c:v>#N/A</c:v>
                </c:pt>
                <c:pt idx="2218">
                  <c:v>#N/A</c:v>
                </c:pt>
                <c:pt idx="2219">
                  <c:v>#N/A</c:v>
                </c:pt>
                <c:pt idx="2220">
                  <c:v>#N/A</c:v>
                </c:pt>
                <c:pt idx="2221">
                  <c:v>#N/A</c:v>
                </c:pt>
                <c:pt idx="2222">
                  <c:v>#N/A</c:v>
                </c:pt>
                <c:pt idx="2223">
                  <c:v>#N/A</c:v>
                </c:pt>
                <c:pt idx="2224">
                  <c:v>#N/A</c:v>
                </c:pt>
                <c:pt idx="2225">
                  <c:v>#N/A</c:v>
                </c:pt>
                <c:pt idx="2226">
                  <c:v>#N/A</c:v>
                </c:pt>
                <c:pt idx="2227">
                  <c:v>#N/A</c:v>
                </c:pt>
                <c:pt idx="2228">
                  <c:v>#N/A</c:v>
                </c:pt>
                <c:pt idx="2229">
                  <c:v>#N/A</c:v>
                </c:pt>
                <c:pt idx="2230">
                  <c:v>#N/A</c:v>
                </c:pt>
                <c:pt idx="2231">
                  <c:v>#N/A</c:v>
                </c:pt>
                <c:pt idx="2232">
                  <c:v>#N/A</c:v>
                </c:pt>
                <c:pt idx="2233">
                  <c:v>#N/A</c:v>
                </c:pt>
                <c:pt idx="2234">
                  <c:v>#N/A</c:v>
                </c:pt>
                <c:pt idx="2235">
                  <c:v>#N/A</c:v>
                </c:pt>
                <c:pt idx="2236">
                  <c:v>#N/A</c:v>
                </c:pt>
                <c:pt idx="2237">
                  <c:v>#N/A</c:v>
                </c:pt>
                <c:pt idx="2238">
                  <c:v>#N/A</c:v>
                </c:pt>
                <c:pt idx="2239">
                  <c:v>#N/A</c:v>
                </c:pt>
                <c:pt idx="2240">
                  <c:v>#N/A</c:v>
                </c:pt>
                <c:pt idx="2241">
                  <c:v>#N/A</c:v>
                </c:pt>
                <c:pt idx="2242">
                  <c:v>#N/A</c:v>
                </c:pt>
                <c:pt idx="2243">
                  <c:v>#N/A</c:v>
                </c:pt>
                <c:pt idx="2244">
                  <c:v>#N/A</c:v>
                </c:pt>
                <c:pt idx="2245">
                  <c:v>#N/A</c:v>
                </c:pt>
                <c:pt idx="2246">
                  <c:v>#N/A</c:v>
                </c:pt>
                <c:pt idx="2247">
                  <c:v>#N/A</c:v>
                </c:pt>
                <c:pt idx="2248">
                  <c:v>#N/A</c:v>
                </c:pt>
                <c:pt idx="2249">
                  <c:v>#N/A</c:v>
                </c:pt>
                <c:pt idx="2250">
                  <c:v>#N/A</c:v>
                </c:pt>
                <c:pt idx="2251">
                  <c:v>#N/A</c:v>
                </c:pt>
                <c:pt idx="2252">
                  <c:v>#N/A</c:v>
                </c:pt>
                <c:pt idx="2253">
                  <c:v>#N/A</c:v>
                </c:pt>
                <c:pt idx="2254">
                  <c:v>#N/A</c:v>
                </c:pt>
                <c:pt idx="2255">
                  <c:v>#N/A</c:v>
                </c:pt>
                <c:pt idx="2256">
                  <c:v>#N/A</c:v>
                </c:pt>
                <c:pt idx="2257">
                  <c:v>#N/A</c:v>
                </c:pt>
                <c:pt idx="2258">
                  <c:v>#N/A</c:v>
                </c:pt>
                <c:pt idx="2259">
                  <c:v>#N/A</c:v>
                </c:pt>
                <c:pt idx="2260">
                  <c:v>#N/A</c:v>
                </c:pt>
                <c:pt idx="2261">
                  <c:v>#N/A</c:v>
                </c:pt>
                <c:pt idx="2262">
                  <c:v>#N/A</c:v>
                </c:pt>
                <c:pt idx="2263">
                  <c:v>#N/A</c:v>
                </c:pt>
                <c:pt idx="2264">
                  <c:v>#N/A</c:v>
                </c:pt>
                <c:pt idx="2265">
                  <c:v>#N/A</c:v>
                </c:pt>
                <c:pt idx="2266">
                  <c:v>#N/A</c:v>
                </c:pt>
                <c:pt idx="2267">
                  <c:v>#N/A</c:v>
                </c:pt>
                <c:pt idx="2268">
                  <c:v>#N/A</c:v>
                </c:pt>
                <c:pt idx="2269">
                  <c:v>#N/A</c:v>
                </c:pt>
                <c:pt idx="2270">
                  <c:v>#N/A</c:v>
                </c:pt>
                <c:pt idx="2271">
                  <c:v>#N/A</c:v>
                </c:pt>
                <c:pt idx="2272">
                  <c:v>#N/A</c:v>
                </c:pt>
                <c:pt idx="2273">
                  <c:v>#N/A</c:v>
                </c:pt>
                <c:pt idx="2274">
                  <c:v>#N/A</c:v>
                </c:pt>
                <c:pt idx="2275">
                  <c:v>#N/A</c:v>
                </c:pt>
                <c:pt idx="2276">
                  <c:v>#N/A</c:v>
                </c:pt>
                <c:pt idx="2277">
                  <c:v>#N/A</c:v>
                </c:pt>
                <c:pt idx="2278">
                  <c:v>#N/A</c:v>
                </c:pt>
                <c:pt idx="2279">
                  <c:v>#N/A</c:v>
                </c:pt>
                <c:pt idx="2280">
                  <c:v>#N/A</c:v>
                </c:pt>
                <c:pt idx="2281">
                  <c:v>#N/A</c:v>
                </c:pt>
                <c:pt idx="2282">
                  <c:v>#N/A</c:v>
                </c:pt>
                <c:pt idx="2283">
                  <c:v>#N/A</c:v>
                </c:pt>
                <c:pt idx="2284">
                  <c:v>#N/A</c:v>
                </c:pt>
                <c:pt idx="2285">
                  <c:v>#N/A</c:v>
                </c:pt>
                <c:pt idx="2286">
                  <c:v>#N/A</c:v>
                </c:pt>
                <c:pt idx="2287">
                  <c:v>#N/A</c:v>
                </c:pt>
                <c:pt idx="2288">
                  <c:v>#N/A</c:v>
                </c:pt>
                <c:pt idx="2289">
                  <c:v>#N/A</c:v>
                </c:pt>
                <c:pt idx="2290">
                  <c:v>#N/A</c:v>
                </c:pt>
                <c:pt idx="2291">
                  <c:v>#N/A</c:v>
                </c:pt>
                <c:pt idx="2292">
                  <c:v>#N/A</c:v>
                </c:pt>
                <c:pt idx="2293">
                  <c:v>#N/A</c:v>
                </c:pt>
                <c:pt idx="2294">
                  <c:v>#N/A</c:v>
                </c:pt>
                <c:pt idx="2295">
                  <c:v>#N/A</c:v>
                </c:pt>
                <c:pt idx="2296">
                  <c:v>#N/A</c:v>
                </c:pt>
                <c:pt idx="2297">
                  <c:v>#N/A</c:v>
                </c:pt>
                <c:pt idx="2298">
                  <c:v>#N/A</c:v>
                </c:pt>
                <c:pt idx="2299">
                  <c:v>#N/A</c:v>
                </c:pt>
                <c:pt idx="2300">
                  <c:v>#N/A</c:v>
                </c:pt>
                <c:pt idx="2301">
                  <c:v>#N/A</c:v>
                </c:pt>
                <c:pt idx="2302">
                  <c:v>#N/A</c:v>
                </c:pt>
                <c:pt idx="2303">
                  <c:v>#N/A</c:v>
                </c:pt>
                <c:pt idx="2304">
                  <c:v>#N/A</c:v>
                </c:pt>
                <c:pt idx="2305">
                  <c:v>#N/A</c:v>
                </c:pt>
                <c:pt idx="2306">
                  <c:v>#N/A</c:v>
                </c:pt>
                <c:pt idx="2307">
                  <c:v>#N/A</c:v>
                </c:pt>
                <c:pt idx="2308">
                  <c:v>#N/A</c:v>
                </c:pt>
                <c:pt idx="2309">
                  <c:v>#N/A</c:v>
                </c:pt>
                <c:pt idx="2310">
                  <c:v>#N/A</c:v>
                </c:pt>
                <c:pt idx="2311">
                  <c:v>#N/A</c:v>
                </c:pt>
                <c:pt idx="2312">
                  <c:v>#N/A</c:v>
                </c:pt>
                <c:pt idx="2313">
                  <c:v>#N/A</c:v>
                </c:pt>
                <c:pt idx="2314">
                  <c:v>#N/A</c:v>
                </c:pt>
                <c:pt idx="2315">
                  <c:v>#N/A</c:v>
                </c:pt>
                <c:pt idx="2316">
                  <c:v>#N/A</c:v>
                </c:pt>
                <c:pt idx="2317">
                  <c:v>#N/A</c:v>
                </c:pt>
                <c:pt idx="2318">
                  <c:v>#N/A</c:v>
                </c:pt>
                <c:pt idx="2319">
                  <c:v>#N/A</c:v>
                </c:pt>
                <c:pt idx="2320">
                  <c:v>#N/A</c:v>
                </c:pt>
                <c:pt idx="2321">
                  <c:v>#N/A</c:v>
                </c:pt>
                <c:pt idx="2322">
                  <c:v>#N/A</c:v>
                </c:pt>
                <c:pt idx="2323">
                  <c:v>#N/A</c:v>
                </c:pt>
                <c:pt idx="2324">
                  <c:v>#N/A</c:v>
                </c:pt>
                <c:pt idx="2325">
                  <c:v>#N/A</c:v>
                </c:pt>
                <c:pt idx="2326">
                  <c:v>#N/A</c:v>
                </c:pt>
                <c:pt idx="2327">
                  <c:v>#N/A</c:v>
                </c:pt>
                <c:pt idx="2328">
                  <c:v>#N/A</c:v>
                </c:pt>
                <c:pt idx="2329">
                  <c:v>#N/A</c:v>
                </c:pt>
                <c:pt idx="2330">
                  <c:v>#N/A</c:v>
                </c:pt>
                <c:pt idx="2331">
                  <c:v>#N/A</c:v>
                </c:pt>
                <c:pt idx="2332">
                  <c:v>#N/A</c:v>
                </c:pt>
                <c:pt idx="2333">
                  <c:v>#N/A</c:v>
                </c:pt>
                <c:pt idx="2334">
                  <c:v>#N/A</c:v>
                </c:pt>
                <c:pt idx="2335">
                  <c:v>#N/A</c:v>
                </c:pt>
                <c:pt idx="2336">
                  <c:v>#N/A</c:v>
                </c:pt>
                <c:pt idx="2337">
                  <c:v>#N/A</c:v>
                </c:pt>
                <c:pt idx="2338">
                  <c:v>#N/A</c:v>
                </c:pt>
                <c:pt idx="2339">
                  <c:v>#N/A</c:v>
                </c:pt>
                <c:pt idx="2340">
                  <c:v>#N/A</c:v>
                </c:pt>
                <c:pt idx="2341">
                  <c:v>#N/A</c:v>
                </c:pt>
                <c:pt idx="2342">
                  <c:v>#N/A</c:v>
                </c:pt>
                <c:pt idx="2343">
                  <c:v>#N/A</c:v>
                </c:pt>
                <c:pt idx="2344">
                  <c:v>#N/A</c:v>
                </c:pt>
                <c:pt idx="2345">
                  <c:v>#N/A</c:v>
                </c:pt>
                <c:pt idx="2346">
                  <c:v>#N/A</c:v>
                </c:pt>
                <c:pt idx="2347">
                  <c:v>#N/A</c:v>
                </c:pt>
                <c:pt idx="2348">
                  <c:v>#N/A</c:v>
                </c:pt>
                <c:pt idx="2349">
                  <c:v>#N/A</c:v>
                </c:pt>
                <c:pt idx="2350">
                  <c:v>#N/A</c:v>
                </c:pt>
                <c:pt idx="2351">
                  <c:v>#N/A</c:v>
                </c:pt>
                <c:pt idx="2352">
                  <c:v>#N/A</c:v>
                </c:pt>
                <c:pt idx="2353">
                  <c:v>#N/A</c:v>
                </c:pt>
                <c:pt idx="2354">
                  <c:v>#N/A</c:v>
                </c:pt>
                <c:pt idx="2355">
                  <c:v>#N/A</c:v>
                </c:pt>
                <c:pt idx="2356">
                  <c:v>#N/A</c:v>
                </c:pt>
                <c:pt idx="2357">
                  <c:v>#N/A</c:v>
                </c:pt>
                <c:pt idx="2358">
                  <c:v>#N/A</c:v>
                </c:pt>
                <c:pt idx="2359">
                  <c:v>#N/A</c:v>
                </c:pt>
                <c:pt idx="2360">
                  <c:v>#N/A</c:v>
                </c:pt>
                <c:pt idx="2361">
                  <c:v>#N/A</c:v>
                </c:pt>
                <c:pt idx="2362">
                  <c:v>#N/A</c:v>
                </c:pt>
                <c:pt idx="2363">
                  <c:v>#N/A</c:v>
                </c:pt>
                <c:pt idx="2364">
                  <c:v>#N/A</c:v>
                </c:pt>
                <c:pt idx="2365">
                  <c:v>#N/A</c:v>
                </c:pt>
                <c:pt idx="2366">
                  <c:v>#N/A</c:v>
                </c:pt>
                <c:pt idx="2367">
                  <c:v>#N/A</c:v>
                </c:pt>
                <c:pt idx="2368">
                  <c:v>#N/A</c:v>
                </c:pt>
                <c:pt idx="2369">
                  <c:v>#N/A</c:v>
                </c:pt>
                <c:pt idx="2370">
                  <c:v>#N/A</c:v>
                </c:pt>
                <c:pt idx="2371">
                  <c:v>#N/A</c:v>
                </c:pt>
                <c:pt idx="2372">
                  <c:v>#N/A</c:v>
                </c:pt>
                <c:pt idx="2373">
                  <c:v>#N/A</c:v>
                </c:pt>
                <c:pt idx="2374">
                  <c:v>#N/A</c:v>
                </c:pt>
                <c:pt idx="2375">
                  <c:v>#N/A</c:v>
                </c:pt>
                <c:pt idx="2376">
                  <c:v>#N/A</c:v>
                </c:pt>
                <c:pt idx="2377">
                  <c:v>1.1095890410958904</c:v>
                </c:pt>
                <c:pt idx="2378">
                  <c:v>#N/A</c:v>
                </c:pt>
                <c:pt idx="2379">
                  <c:v>#N/A</c:v>
                </c:pt>
                <c:pt idx="2380">
                  <c:v>#N/A</c:v>
                </c:pt>
                <c:pt idx="2381">
                  <c:v>#N/A</c:v>
                </c:pt>
                <c:pt idx="2382">
                  <c:v>#N/A</c:v>
                </c:pt>
                <c:pt idx="2383">
                  <c:v>#N/A</c:v>
                </c:pt>
                <c:pt idx="2384">
                  <c:v>#N/A</c:v>
                </c:pt>
                <c:pt idx="2385">
                  <c:v>#N/A</c:v>
                </c:pt>
                <c:pt idx="2386">
                  <c:v>#N/A</c:v>
                </c:pt>
                <c:pt idx="2387">
                  <c:v>#N/A</c:v>
                </c:pt>
                <c:pt idx="2388">
                  <c:v>#N/A</c:v>
                </c:pt>
                <c:pt idx="2389">
                  <c:v>#N/A</c:v>
                </c:pt>
                <c:pt idx="2390">
                  <c:v>#N/A</c:v>
                </c:pt>
                <c:pt idx="2391">
                  <c:v>#N/A</c:v>
                </c:pt>
                <c:pt idx="2392">
                  <c:v>#N/A</c:v>
                </c:pt>
                <c:pt idx="2393">
                  <c:v>#N/A</c:v>
                </c:pt>
                <c:pt idx="2394">
                  <c:v>#N/A</c:v>
                </c:pt>
                <c:pt idx="2395">
                  <c:v>#N/A</c:v>
                </c:pt>
                <c:pt idx="2396">
                  <c:v>#N/A</c:v>
                </c:pt>
                <c:pt idx="2397">
                  <c:v>#N/A</c:v>
                </c:pt>
                <c:pt idx="2398">
                  <c:v>#N/A</c:v>
                </c:pt>
                <c:pt idx="2399">
                  <c:v>#N/A</c:v>
                </c:pt>
                <c:pt idx="2400">
                  <c:v>#N/A</c:v>
                </c:pt>
                <c:pt idx="2401">
                  <c:v>#N/A</c:v>
                </c:pt>
                <c:pt idx="2402">
                  <c:v>#N/A</c:v>
                </c:pt>
                <c:pt idx="2403">
                  <c:v>#N/A</c:v>
                </c:pt>
                <c:pt idx="2404">
                  <c:v>#N/A</c:v>
                </c:pt>
                <c:pt idx="2405">
                  <c:v>#N/A</c:v>
                </c:pt>
                <c:pt idx="2406">
                  <c:v>#N/A</c:v>
                </c:pt>
                <c:pt idx="2407">
                  <c:v>#N/A</c:v>
                </c:pt>
                <c:pt idx="2408">
                  <c:v>#N/A</c:v>
                </c:pt>
                <c:pt idx="2409">
                  <c:v>#N/A</c:v>
                </c:pt>
                <c:pt idx="2410">
                  <c:v>#N/A</c:v>
                </c:pt>
                <c:pt idx="2411">
                  <c:v>#N/A</c:v>
                </c:pt>
                <c:pt idx="2412">
                  <c:v>#N/A</c:v>
                </c:pt>
                <c:pt idx="2413">
                  <c:v>#N/A</c:v>
                </c:pt>
                <c:pt idx="2414">
                  <c:v>#N/A</c:v>
                </c:pt>
                <c:pt idx="2415">
                  <c:v>#N/A</c:v>
                </c:pt>
                <c:pt idx="2416">
                  <c:v>#N/A</c:v>
                </c:pt>
                <c:pt idx="2417">
                  <c:v>#N/A</c:v>
                </c:pt>
                <c:pt idx="2418">
                  <c:v>#N/A</c:v>
                </c:pt>
                <c:pt idx="2419">
                  <c:v>#N/A</c:v>
                </c:pt>
                <c:pt idx="2420">
                  <c:v>#N/A</c:v>
                </c:pt>
                <c:pt idx="2421">
                  <c:v>#N/A</c:v>
                </c:pt>
                <c:pt idx="2422">
                  <c:v>#N/A</c:v>
                </c:pt>
                <c:pt idx="2423">
                  <c:v>#N/A</c:v>
                </c:pt>
                <c:pt idx="2424">
                  <c:v>#N/A</c:v>
                </c:pt>
                <c:pt idx="2425">
                  <c:v>#N/A</c:v>
                </c:pt>
                <c:pt idx="2426">
                  <c:v>#N/A</c:v>
                </c:pt>
                <c:pt idx="2427">
                  <c:v>#N/A</c:v>
                </c:pt>
                <c:pt idx="2428">
                  <c:v>#N/A</c:v>
                </c:pt>
                <c:pt idx="2429">
                  <c:v>#N/A</c:v>
                </c:pt>
                <c:pt idx="2430">
                  <c:v>#N/A</c:v>
                </c:pt>
                <c:pt idx="2431">
                  <c:v>#N/A</c:v>
                </c:pt>
                <c:pt idx="2432">
                  <c:v>#N/A</c:v>
                </c:pt>
                <c:pt idx="2433">
                  <c:v>#N/A</c:v>
                </c:pt>
                <c:pt idx="2434">
                  <c:v>#N/A</c:v>
                </c:pt>
                <c:pt idx="2435">
                  <c:v>#N/A</c:v>
                </c:pt>
                <c:pt idx="2436">
                  <c:v>#N/A</c:v>
                </c:pt>
                <c:pt idx="2437">
                  <c:v>#N/A</c:v>
                </c:pt>
                <c:pt idx="2438">
                  <c:v>#N/A</c:v>
                </c:pt>
                <c:pt idx="2439">
                  <c:v>#N/A</c:v>
                </c:pt>
                <c:pt idx="2440">
                  <c:v>#N/A</c:v>
                </c:pt>
                <c:pt idx="2441">
                  <c:v>#N/A</c:v>
                </c:pt>
                <c:pt idx="2442">
                  <c:v>#N/A</c:v>
                </c:pt>
                <c:pt idx="2443">
                  <c:v>#N/A</c:v>
                </c:pt>
                <c:pt idx="2444">
                  <c:v>#N/A</c:v>
                </c:pt>
                <c:pt idx="2445">
                  <c:v>#N/A</c:v>
                </c:pt>
                <c:pt idx="2446">
                  <c:v>#N/A</c:v>
                </c:pt>
                <c:pt idx="2447">
                  <c:v>#N/A</c:v>
                </c:pt>
                <c:pt idx="2448">
                  <c:v>#N/A</c:v>
                </c:pt>
                <c:pt idx="2449">
                  <c:v>#N/A</c:v>
                </c:pt>
                <c:pt idx="2450">
                  <c:v>#N/A</c:v>
                </c:pt>
                <c:pt idx="2451">
                  <c:v>#N/A</c:v>
                </c:pt>
                <c:pt idx="2452">
                  <c:v>#N/A</c:v>
                </c:pt>
                <c:pt idx="2453">
                  <c:v>#N/A</c:v>
                </c:pt>
                <c:pt idx="2454">
                  <c:v>#N/A</c:v>
                </c:pt>
                <c:pt idx="2455">
                  <c:v>#N/A</c:v>
                </c:pt>
                <c:pt idx="2456">
                  <c:v>#N/A</c:v>
                </c:pt>
                <c:pt idx="2457">
                  <c:v>#N/A</c:v>
                </c:pt>
                <c:pt idx="2458">
                  <c:v>#N/A</c:v>
                </c:pt>
                <c:pt idx="2459">
                  <c:v>#N/A</c:v>
                </c:pt>
                <c:pt idx="2460">
                  <c:v>#N/A</c:v>
                </c:pt>
                <c:pt idx="2461">
                  <c:v>#N/A</c:v>
                </c:pt>
                <c:pt idx="2462">
                  <c:v>#N/A</c:v>
                </c:pt>
                <c:pt idx="2463">
                  <c:v>#N/A</c:v>
                </c:pt>
                <c:pt idx="2464">
                  <c:v>#N/A</c:v>
                </c:pt>
                <c:pt idx="2465">
                  <c:v>#N/A</c:v>
                </c:pt>
                <c:pt idx="2466">
                  <c:v>#N/A</c:v>
                </c:pt>
                <c:pt idx="2467">
                  <c:v>#N/A</c:v>
                </c:pt>
                <c:pt idx="2468">
                  <c:v>#N/A</c:v>
                </c:pt>
                <c:pt idx="2469">
                  <c:v>#N/A</c:v>
                </c:pt>
                <c:pt idx="2470">
                  <c:v>#N/A</c:v>
                </c:pt>
                <c:pt idx="2471">
                  <c:v>#N/A</c:v>
                </c:pt>
                <c:pt idx="2472">
                  <c:v>#N/A</c:v>
                </c:pt>
                <c:pt idx="2473">
                  <c:v>#N/A</c:v>
                </c:pt>
                <c:pt idx="2474">
                  <c:v>#N/A</c:v>
                </c:pt>
                <c:pt idx="2475">
                  <c:v>#N/A</c:v>
                </c:pt>
                <c:pt idx="2476">
                  <c:v>#N/A</c:v>
                </c:pt>
                <c:pt idx="2477">
                  <c:v>#N/A</c:v>
                </c:pt>
                <c:pt idx="2478">
                  <c:v>#N/A</c:v>
                </c:pt>
                <c:pt idx="2479">
                  <c:v>#N/A</c:v>
                </c:pt>
                <c:pt idx="2480">
                  <c:v>#N/A</c:v>
                </c:pt>
                <c:pt idx="2481">
                  <c:v>#N/A</c:v>
                </c:pt>
                <c:pt idx="2482">
                  <c:v>#N/A</c:v>
                </c:pt>
                <c:pt idx="2483">
                  <c:v>#N/A</c:v>
                </c:pt>
                <c:pt idx="2484">
                  <c:v>#N/A</c:v>
                </c:pt>
                <c:pt idx="2485">
                  <c:v>#N/A</c:v>
                </c:pt>
                <c:pt idx="2486">
                  <c:v>#N/A</c:v>
                </c:pt>
                <c:pt idx="2487">
                  <c:v>#N/A</c:v>
                </c:pt>
                <c:pt idx="2488">
                  <c:v>#N/A</c:v>
                </c:pt>
                <c:pt idx="2489">
                  <c:v>#N/A</c:v>
                </c:pt>
                <c:pt idx="2490">
                  <c:v>#N/A</c:v>
                </c:pt>
                <c:pt idx="2491">
                  <c:v>#N/A</c:v>
                </c:pt>
                <c:pt idx="2492">
                  <c:v>#N/A</c:v>
                </c:pt>
                <c:pt idx="2493">
                  <c:v>#N/A</c:v>
                </c:pt>
                <c:pt idx="2494">
                  <c:v>#N/A</c:v>
                </c:pt>
                <c:pt idx="2495">
                  <c:v>#N/A</c:v>
                </c:pt>
                <c:pt idx="2496">
                  <c:v>#N/A</c:v>
                </c:pt>
                <c:pt idx="2497">
                  <c:v>#N/A</c:v>
                </c:pt>
                <c:pt idx="2498">
                  <c:v>#N/A</c:v>
                </c:pt>
                <c:pt idx="2499">
                  <c:v>#N/A</c:v>
                </c:pt>
                <c:pt idx="2500">
                  <c:v>#N/A</c:v>
                </c:pt>
                <c:pt idx="2501">
                  <c:v>#N/A</c:v>
                </c:pt>
                <c:pt idx="2502">
                  <c:v>#N/A</c:v>
                </c:pt>
                <c:pt idx="2503">
                  <c:v>#N/A</c:v>
                </c:pt>
                <c:pt idx="2504">
                  <c:v>#N/A</c:v>
                </c:pt>
                <c:pt idx="2505">
                  <c:v>#N/A</c:v>
                </c:pt>
                <c:pt idx="2506">
                  <c:v>#N/A</c:v>
                </c:pt>
                <c:pt idx="2507">
                  <c:v>#N/A</c:v>
                </c:pt>
                <c:pt idx="2508">
                  <c:v>#N/A</c:v>
                </c:pt>
                <c:pt idx="2509">
                  <c:v>#N/A</c:v>
                </c:pt>
                <c:pt idx="2510">
                  <c:v>#N/A</c:v>
                </c:pt>
                <c:pt idx="2511">
                  <c:v>#N/A</c:v>
                </c:pt>
                <c:pt idx="2512">
                  <c:v>#N/A</c:v>
                </c:pt>
                <c:pt idx="2513">
                  <c:v>#N/A</c:v>
                </c:pt>
                <c:pt idx="2514">
                  <c:v>#N/A</c:v>
                </c:pt>
                <c:pt idx="2515">
                  <c:v>#N/A</c:v>
                </c:pt>
                <c:pt idx="2516">
                  <c:v>#N/A</c:v>
                </c:pt>
                <c:pt idx="2517">
                  <c:v>#N/A</c:v>
                </c:pt>
                <c:pt idx="2518">
                  <c:v>#N/A</c:v>
                </c:pt>
                <c:pt idx="2519">
                  <c:v>#N/A</c:v>
                </c:pt>
                <c:pt idx="2520">
                  <c:v>#N/A</c:v>
                </c:pt>
                <c:pt idx="2521">
                  <c:v>#N/A</c:v>
                </c:pt>
                <c:pt idx="2522">
                  <c:v>#N/A</c:v>
                </c:pt>
                <c:pt idx="2523">
                  <c:v>#N/A</c:v>
                </c:pt>
                <c:pt idx="2524">
                  <c:v>#N/A</c:v>
                </c:pt>
                <c:pt idx="2525">
                  <c:v>#N/A</c:v>
                </c:pt>
                <c:pt idx="2526">
                  <c:v>#N/A</c:v>
                </c:pt>
                <c:pt idx="2527">
                  <c:v>#N/A</c:v>
                </c:pt>
                <c:pt idx="2528">
                  <c:v>#N/A</c:v>
                </c:pt>
                <c:pt idx="2529">
                  <c:v>#N/A</c:v>
                </c:pt>
                <c:pt idx="2530">
                  <c:v>#N/A</c:v>
                </c:pt>
                <c:pt idx="2531">
                  <c:v>#N/A</c:v>
                </c:pt>
                <c:pt idx="2532">
                  <c:v>#N/A</c:v>
                </c:pt>
                <c:pt idx="2533">
                  <c:v>#N/A</c:v>
                </c:pt>
                <c:pt idx="2534">
                  <c:v>#N/A</c:v>
                </c:pt>
                <c:pt idx="2535">
                  <c:v>#N/A</c:v>
                </c:pt>
                <c:pt idx="2536">
                  <c:v>#N/A</c:v>
                </c:pt>
                <c:pt idx="2537">
                  <c:v>#N/A</c:v>
                </c:pt>
                <c:pt idx="2538">
                  <c:v>#N/A</c:v>
                </c:pt>
                <c:pt idx="2539">
                  <c:v>#N/A</c:v>
                </c:pt>
                <c:pt idx="2540">
                  <c:v>#N/A</c:v>
                </c:pt>
                <c:pt idx="2541">
                  <c:v>#N/A</c:v>
                </c:pt>
                <c:pt idx="2542">
                  <c:v>#N/A</c:v>
                </c:pt>
                <c:pt idx="2543">
                  <c:v>#N/A</c:v>
                </c:pt>
                <c:pt idx="2544">
                  <c:v>#N/A</c:v>
                </c:pt>
                <c:pt idx="2545">
                  <c:v>#N/A</c:v>
                </c:pt>
                <c:pt idx="2546">
                  <c:v>#N/A</c:v>
                </c:pt>
                <c:pt idx="2547">
                  <c:v>#N/A</c:v>
                </c:pt>
                <c:pt idx="2548">
                  <c:v>#N/A</c:v>
                </c:pt>
                <c:pt idx="2549">
                  <c:v>#N/A</c:v>
                </c:pt>
                <c:pt idx="2550">
                  <c:v>#N/A</c:v>
                </c:pt>
                <c:pt idx="2551">
                  <c:v>#N/A</c:v>
                </c:pt>
                <c:pt idx="2552">
                  <c:v>#N/A</c:v>
                </c:pt>
                <c:pt idx="2553">
                  <c:v>#N/A</c:v>
                </c:pt>
                <c:pt idx="2554">
                  <c:v>#N/A</c:v>
                </c:pt>
                <c:pt idx="2555">
                  <c:v>#N/A</c:v>
                </c:pt>
                <c:pt idx="2556">
                  <c:v>#N/A</c:v>
                </c:pt>
                <c:pt idx="2557">
                  <c:v>#N/A</c:v>
                </c:pt>
                <c:pt idx="2558">
                  <c:v>#N/A</c:v>
                </c:pt>
                <c:pt idx="2559">
                  <c:v>#N/A</c:v>
                </c:pt>
                <c:pt idx="2560">
                  <c:v>#N/A</c:v>
                </c:pt>
                <c:pt idx="2561">
                  <c:v>#N/A</c:v>
                </c:pt>
                <c:pt idx="2562">
                  <c:v>#N/A</c:v>
                </c:pt>
                <c:pt idx="2563">
                  <c:v>#N/A</c:v>
                </c:pt>
                <c:pt idx="2564">
                  <c:v>#N/A</c:v>
                </c:pt>
                <c:pt idx="2565">
                  <c:v>#N/A</c:v>
                </c:pt>
                <c:pt idx="2566">
                  <c:v>#N/A</c:v>
                </c:pt>
                <c:pt idx="2567">
                  <c:v>#N/A</c:v>
                </c:pt>
                <c:pt idx="2568">
                  <c:v>#N/A</c:v>
                </c:pt>
                <c:pt idx="2569">
                  <c:v>#N/A</c:v>
                </c:pt>
                <c:pt idx="2570">
                  <c:v>#N/A</c:v>
                </c:pt>
                <c:pt idx="2571">
                  <c:v>#N/A</c:v>
                </c:pt>
                <c:pt idx="2572">
                  <c:v>#N/A</c:v>
                </c:pt>
                <c:pt idx="2573">
                  <c:v>#N/A</c:v>
                </c:pt>
                <c:pt idx="2574">
                  <c:v>#N/A</c:v>
                </c:pt>
                <c:pt idx="2575">
                  <c:v>#N/A</c:v>
                </c:pt>
                <c:pt idx="2576">
                  <c:v>#N/A</c:v>
                </c:pt>
                <c:pt idx="2577">
                  <c:v>#N/A</c:v>
                </c:pt>
                <c:pt idx="2578">
                  <c:v>#N/A</c:v>
                </c:pt>
                <c:pt idx="2579">
                  <c:v>#N/A</c:v>
                </c:pt>
                <c:pt idx="2580">
                  <c:v>#N/A</c:v>
                </c:pt>
                <c:pt idx="2581">
                  <c:v>#N/A</c:v>
                </c:pt>
                <c:pt idx="2582">
                  <c:v>#N/A</c:v>
                </c:pt>
                <c:pt idx="2583">
                  <c:v>#N/A</c:v>
                </c:pt>
                <c:pt idx="2584">
                  <c:v>#N/A</c:v>
                </c:pt>
                <c:pt idx="2585">
                  <c:v>#N/A</c:v>
                </c:pt>
                <c:pt idx="2586">
                  <c:v>#N/A</c:v>
                </c:pt>
                <c:pt idx="2587">
                  <c:v>#N/A</c:v>
                </c:pt>
                <c:pt idx="2588">
                  <c:v>#N/A</c:v>
                </c:pt>
                <c:pt idx="2589">
                  <c:v>#N/A</c:v>
                </c:pt>
                <c:pt idx="2590">
                  <c:v>#N/A</c:v>
                </c:pt>
                <c:pt idx="2591">
                  <c:v>#N/A</c:v>
                </c:pt>
                <c:pt idx="2592">
                  <c:v>#N/A</c:v>
                </c:pt>
                <c:pt idx="2593">
                  <c:v>#N/A</c:v>
                </c:pt>
                <c:pt idx="2594">
                  <c:v>#N/A</c:v>
                </c:pt>
                <c:pt idx="2595">
                  <c:v>#N/A</c:v>
                </c:pt>
                <c:pt idx="2596">
                  <c:v>#N/A</c:v>
                </c:pt>
                <c:pt idx="2597">
                  <c:v>#N/A</c:v>
                </c:pt>
                <c:pt idx="2598">
                  <c:v>#N/A</c:v>
                </c:pt>
                <c:pt idx="2599">
                  <c:v>#N/A</c:v>
                </c:pt>
                <c:pt idx="2600">
                  <c:v>#N/A</c:v>
                </c:pt>
                <c:pt idx="2601">
                  <c:v>#N/A</c:v>
                </c:pt>
                <c:pt idx="2602">
                  <c:v>#N/A</c:v>
                </c:pt>
                <c:pt idx="2603">
                  <c:v>#N/A</c:v>
                </c:pt>
                <c:pt idx="2604">
                  <c:v>#N/A</c:v>
                </c:pt>
                <c:pt idx="2605">
                  <c:v>#N/A</c:v>
                </c:pt>
                <c:pt idx="2606">
                  <c:v>#N/A</c:v>
                </c:pt>
                <c:pt idx="2607">
                  <c:v>#N/A</c:v>
                </c:pt>
                <c:pt idx="2608">
                  <c:v>#N/A</c:v>
                </c:pt>
                <c:pt idx="2609">
                  <c:v>#N/A</c:v>
                </c:pt>
                <c:pt idx="2610">
                  <c:v>#N/A</c:v>
                </c:pt>
                <c:pt idx="2611">
                  <c:v>#N/A</c:v>
                </c:pt>
                <c:pt idx="2612">
                  <c:v>#N/A</c:v>
                </c:pt>
                <c:pt idx="2613">
                  <c:v>#N/A</c:v>
                </c:pt>
                <c:pt idx="2614">
                  <c:v>#N/A</c:v>
                </c:pt>
                <c:pt idx="2615">
                  <c:v>#N/A</c:v>
                </c:pt>
                <c:pt idx="2616">
                  <c:v>#N/A</c:v>
                </c:pt>
                <c:pt idx="2617">
                  <c:v>#N/A</c:v>
                </c:pt>
                <c:pt idx="2618">
                  <c:v>#N/A</c:v>
                </c:pt>
                <c:pt idx="2619">
                  <c:v>#N/A</c:v>
                </c:pt>
                <c:pt idx="2620">
                  <c:v>#N/A</c:v>
                </c:pt>
                <c:pt idx="2621">
                  <c:v>#N/A</c:v>
                </c:pt>
                <c:pt idx="2622">
                  <c:v>#N/A</c:v>
                </c:pt>
                <c:pt idx="2623">
                  <c:v>#N/A</c:v>
                </c:pt>
                <c:pt idx="2624">
                  <c:v>#N/A</c:v>
                </c:pt>
                <c:pt idx="2625">
                  <c:v>#N/A</c:v>
                </c:pt>
                <c:pt idx="2626">
                  <c:v>#N/A</c:v>
                </c:pt>
                <c:pt idx="2627">
                  <c:v>#N/A</c:v>
                </c:pt>
                <c:pt idx="2628">
                  <c:v>#N/A</c:v>
                </c:pt>
                <c:pt idx="2629">
                  <c:v>#N/A</c:v>
                </c:pt>
                <c:pt idx="2630">
                  <c:v>#N/A</c:v>
                </c:pt>
                <c:pt idx="2631">
                  <c:v>#N/A</c:v>
                </c:pt>
                <c:pt idx="2632">
                  <c:v>#N/A</c:v>
                </c:pt>
                <c:pt idx="2633">
                  <c:v>#N/A</c:v>
                </c:pt>
                <c:pt idx="2634">
                  <c:v>#N/A</c:v>
                </c:pt>
                <c:pt idx="2635">
                  <c:v>#N/A</c:v>
                </c:pt>
                <c:pt idx="2636">
                  <c:v>#N/A</c:v>
                </c:pt>
                <c:pt idx="2637">
                  <c:v>#N/A</c:v>
                </c:pt>
                <c:pt idx="2638">
                  <c:v>#N/A</c:v>
                </c:pt>
                <c:pt idx="2639">
                  <c:v>#N/A</c:v>
                </c:pt>
                <c:pt idx="2640">
                  <c:v>#N/A</c:v>
                </c:pt>
                <c:pt idx="2641">
                  <c:v>#N/A</c:v>
                </c:pt>
                <c:pt idx="2642">
                  <c:v>#N/A</c:v>
                </c:pt>
                <c:pt idx="2643">
                  <c:v>#N/A</c:v>
                </c:pt>
                <c:pt idx="2644">
                  <c:v>#N/A</c:v>
                </c:pt>
                <c:pt idx="2645">
                  <c:v>#N/A</c:v>
                </c:pt>
                <c:pt idx="2646">
                  <c:v>#N/A</c:v>
                </c:pt>
                <c:pt idx="2647">
                  <c:v>#N/A</c:v>
                </c:pt>
                <c:pt idx="2648">
                  <c:v>#N/A</c:v>
                </c:pt>
                <c:pt idx="2649">
                  <c:v>#N/A</c:v>
                </c:pt>
                <c:pt idx="2650">
                  <c:v>#N/A</c:v>
                </c:pt>
                <c:pt idx="2651">
                  <c:v>#N/A</c:v>
                </c:pt>
                <c:pt idx="2652">
                  <c:v>#N/A</c:v>
                </c:pt>
                <c:pt idx="2653">
                  <c:v>#N/A</c:v>
                </c:pt>
                <c:pt idx="2654">
                  <c:v>#N/A</c:v>
                </c:pt>
                <c:pt idx="2655">
                  <c:v>#N/A</c:v>
                </c:pt>
                <c:pt idx="2656">
                  <c:v>#N/A</c:v>
                </c:pt>
                <c:pt idx="2657">
                  <c:v>#N/A</c:v>
                </c:pt>
                <c:pt idx="2658">
                  <c:v>#N/A</c:v>
                </c:pt>
                <c:pt idx="2659">
                  <c:v>#N/A</c:v>
                </c:pt>
                <c:pt idx="2660">
                  <c:v>#N/A</c:v>
                </c:pt>
                <c:pt idx="2661">
                  <c:v>#N/A</c:v>
                </c:pt>
                <c:pt idx="2662">
                  <c:v>#N/A</c:v>
                </c:pt>
                <c:pt idx="2663">
                  <c:v>#N/A</c:v>
                </c:pt>
                <c:pt idx="2664">
                  <c:v>#N/A</c:v>
                </c:pt>
                <c:pt idx="2665">
                  <c:v>#N/A</c:v>
                </c:pt>
                <c:pt idx="2666">
                  <c:v>#N/A</c:v>
                </c:pt>
                <c:pt idx="2667">
                  <c:v>#N/A</c:v>
                </c:pt>
                <c:pt idx="2668">
                  <c:v>#N/A</c:v>
                </c:pt>
                <c:pt idx="2669">
                  <c:v>#N/A</c:v>
                </c:pt>
                <c:pt idx="2670">
                  <c:v>#N/A</c:v>
                </c:pt>
                <c:pt idx="2671">
                  <c:v>#N/A</c:v>
                </c:pt>
                <c:pt idx="2672">
                  <c:v>#N/A</c:v>
                </c:pt>
                <c:pt idx="2673">
                  <c:v>#N/A</c:v>
                </c:pt>
                <c:pt idx="2674">
                  <c:v>#N/A</c:v>
                </c:pt>
                <c:pt idx="2675">
                  <c:v>#N/A</c:v>
                </c:pt>
                <c:pt idx="2676">
                  <c:v>#N/A</c:v>
                </c:pt>
                <c:pt idx="2677">
                  <c:v>#N/A</c:v>
                </c:pt>
                <c:pt idx="2678">
                  <c:v>#N/A</c:v>
                </c:pt>
                <c:pt idx="2679">
                  <c:v>#N/A</c:v>
                </c:pt>
                <c:pt idx="2680">
                  <c:v>#N/A</c:v>
                </c:pt>
                <c:pt idx="2681">
                  <c:v>#N/A</c:v>
                </c:pt>
                <c:pt idx="2682">
                  <c:v>#N/A</c:v>
                </c:pt>
                <c:pt idx="2683">
                  <c:v>#N/A</c:v>
                </c:pt>
                <c:pt idx="2684">
                  <c:v>#N/A</c:v>
                </c:pt>
                <c:pt idx="2685">
                  <c:v>#N/A</c:v>
                </c:pt>
                <c:pt idx="2686">
                  <c:v>#N/A</c:v>
                </c:pt>
                <c:pt idx="2687">
                  <c:v>#N/A</c:v>
                </c:pt>
                <c:pt idx="2688">
                  <c:v>#N/A</c:v>
                </c:pt>
                <c:pt idx="2689">
                  <c:v>#N/A</c:v>
                </c:pt>
                <c:pt idx="2690">
                  <c:v>#N/A</c:v>
                </c:pt>
                <c:pt idx="2691">
                  <c:v>#N/A</c:v>
                </c:pt>
                <c:pt idx="2692">
                  <c:v>#N/A</c:v>
                </c:pt>
                <c:pt idx="2693">
                  <c:v>#N/A</c:v>
                </c:pt>
                <c:pt idx="2694">
                  <c:v>#N/A</c:v>
                </c:pt>
                <c:pt idx="2695">
                  <c:v>#N/A</c:v>
                </c:pt>
                <c:pt idx="2696">
                  <c:v>#N/A</c:v>
                </c:pt>
                <c:pt idx="2697">
                  <c:v>#N/A</c:v>
                </c:pt>
                <c:pt idx="2698">
                  <c:v>#N/A</c:v>
                </c:pt>
                <c:pt idx="2699">
                  <c:v>#N/A</c:v>
                </c:pt>
                <c:pt idx="2700">
                  <c:v>#N/A</c:v>
                </c:pt>
                <c:pt idx="2701">
                  <c:v>#N/A</c:v>
                </c:pt>
                <c:pt idx="2702">
                  <c:v>#N/A</c:v>
                </c:pt>
                <c:pt idx="2703">
                  <c:v>#N/A</c:v>
                </c:pt>
                <c:pt idx="2704">
                  <c:v>#N/A</c:v>
                </c:pt>
                <c:pt idx="2705">
                  <c:v>#N/A</c:v>
                </c:pt>
                <c:pt idx="2706">
                  <c:v>#N/A</c:v>
                </c:pt>
                <c:pt idx="2707">
                  <c:v>#N/A</c:v>
                </c:pt>
                <c:pt idx="2708">
                  <c:v>#N/A</c:v>
                </c:pt>
                <c:pt idx="2709">
                  <c:v>#N/A</c:v>
                </c:pt>
                <c:pt idx="2710">
                  <c:v>#N/A</c:v>
                </c:pt>
                <c:pt idx="2711">
                  <c:v>#N/A</c:v>
                </c:pt>
                <c:pt idx="2712">
                  <c:v>#N/A</c:v>
                </c:pt>
                <c:pt idx="2713">
                  <c:v>#N/A</c:v>
                </c:pt>
                <c:pt idx="2714">
                  <c:v>#N/A</c:v>
                </c:pt>
                <c:pt idx="2715">
                  <c:v>#N/A</c:v>
                </c:pt>
                <c:pt idx="2716">
                  <c:v>#N/A</c:v>
                </c:pt>
                <c:pt idx="2717">
                  <c:v>#N/A</c:v>
                </c:pt>
                <c:pt idx="2718">
                  <c:v>#N/A</c:v>
                </c:pt>
                <c:pt idx="2719">
                  <c:v>#N/A</c:v>
                </c:pt>
                <c:pt idx="2720">
                  <c:v>#N/A</c:v>
                </c:pt>
                <c:pt idx="2721">
                  <c:v>#N/A</c:v>
                </c:pt>
                <c:pt idx="2722">
                  <c:v>#N/A</c:v>
                </c:pt>
                <c:pt idx="2723">
                  <c:v>#N/A</c:v>
                </c:pt>
                <c:pt idx="2724">
                  <c:v>#N/A</c:v>
                </c:pt>
                <c:pt idx="2725">
                  <c:v>#N/A</c:v>
                </c:pt>
                <c:pt idx="2726">
                  <c:v>1.3013698630136987</c:v>
                </c:pt>
                <c:pt idx="2727">
                  <c:v>#N/A</c:v>
                </c:pt>
                <c:pt idx="2728">
                  <c:v>#N/A</c:v>
                </c:pt>
                <c:pt idx="2729">
                  <c:v>#N/A</c:v>
                </c:pt>
                <c:pt idx="2730">
                  <c:v>#N/A</c:v>
                </c:pt>
                <c:pt idx="2731">
                  <c:v>#N/A</c:v>
                </c:pt>
                <c:pt idx="2732">
                  <c:v>#N/A</c:v>
                </c:pt>
                <c:pt idx="2733">
                  <c:v>#N/A</c:v>
                </c:pt>
                <c:pt idx="2734">
                  <c:v>#N/A</c:v>
                </c:pt>
                <c:pt idx="2735">
                  <c:v>#N/A</c:v>
                </c:pt>
                <c:pt idx="2736">
                  <c:v>#N/A</c:v>
                </c:pt>
                <c:pt idx="2737">
                  <c:v>#N/A</c:v>
                </c:pt>
                <c:pt idx="2738">
                  <c:v>#N/A</c:v>
                </c:pt>
                <c:pt idx="2739">
                  <c:v>#N/A</c:v>
                </c:pt>
                <c:pt idx="2740">
                  <c:v>#N/A</c:v>
                </c:pt>
                <c:pt idx="2741">
                  <c:v>#N/A</c:v>
                </c:pt>
                <c:pt idx="2742">
                  <c:v>#N/A</c:v>
                </c:pt>
                <c:pt idx="2743">
                  <c:v>#N/A</c:v>
                </c:pt>
                <c:pt idx="2744">
                  <c:v>#N/A</c:v>
                </c:pt>
                <c:pt idx="2745">
                  <c:v>#N/A</c:v>
                </c:pt>
                <c:pt idx="2746">
                  <c:v>#N/A</c:v>
                </c:pt>
                <c:pt idx="2747">
                  <c:v>#N/A</c:v>
                </c:pt>
                <c:pt idx="2748">
                  <c:v>#N/A</c:v>
                </c:pt>
                <c:pt idx="2749">
                  <c:v>#N/A</c:v>
                </c:pt>
                <c:pt idx="2750">
                  <c:v>#N/A</c:v>
                </c:pt>
                <c:pt idx="2751">
                  <c:v>#N/A</c:v>
                </c:pt>
                <c:pt idx="2752">
                  <c:v>#N/A</c:v>
                </c:pt>
                <c:pt idx="2753">
                  <c:v>#N/A</c:v>
                </c:pt>
                <c:pt idx="2754">
                  <c:v>#N/A</c:v>
                </c:pt>
                <c:pt idx="2755">
                  <c:v>#N/A</c:v>
                </c:pt>
                <c:pt idx="2756">
                  <c:v>#N/A</c:v>
                </c:pt>
                <c:pt idx="2757">
                  <c:v>#N/A</c:v>
                </c:pt>
                <c:pt idx="2758">
                  <c:v>#N/A</c:v>
                </c:pt>
                <c:pt idx="2759">
                  <c:v>#N/A</c:v>
                </c:pt>
                <c:pt idx="2760">
                  <c:v>#N/A</c:v>
                </c:pt>
                <c:pt idx="2761">
                  <c:v>#N/A</c:v>
                </c:pt>
                <c:pt idx="2762">
                  <c:v>#N/A</c:v>
                </c:pt>
                <c:pt idx="2763">
                  <c:v>#N/A</c:v>
                </c:pt>
                <c:pt idx="2764">
                  <c:v>#N/A</c:v>
                </c:pt>
                <c:pt idx="2765">
                  <c:v>#N/A</c:v>
                </c:pt>
                <c:pt idx="2766">
                  <c:v>#N/A</c:v>
                </c:pt>
                <c:pt idx="2767">
                  <c:v>#N/A</c:v>
                </c:pt>
                <c:pt idx="2768">
                  <c:v>#N/A</c:v>
                </c:pt>
                <c:pt idx="2769">
                  <c:v>#N/A</c:v>
                </c:pt>
                <c:pt idx="2770">
                  <c:v>#N/A</c:v>
                </c:pt>
                <c:pt idx="2771">
                  <c:v>#N/A</c:v>
                </c:pt>
                <c:pt idx="2772">
                  <c:v>#N/A</c:v>
                </c:pt>
                <c:pt idx="2773">
                  <c:v>#N/A</c:v>
                </c:pt>
                <c:pt idx="2774">
                  <c:v>#N/A</c:v>
                </c:pt>
                <c:pt idx="2775">
                  <c:v>#N/A</c:v>
                </c:pt>
                <c:pt idx="2776">
                  <c:v>#N/A</c:v>
                </c:pt>
                <c:pt idx="2777">
                  <c:v>#N/A</c:v>
                </c:pt>
                <c:pt idx="2778">
                  <c:v>#N/A</c:v>
                </c:pt>
                <c:pt idx="2779">
                  <c:v>#N/A</c:v>
                </c:pt>
                <c:pt idx="2780">
                  <c:v>#N/A</c:v>
                </c:pt>
                <c:pt idx="2781">
                  <c:v>#N/A</c:v>
                </c:pt>
                <c:pt idx="2782">
                  <c:v>#N/A</c:v>
                </c:pt>
                <c:pt idx="2783">
                  <c:v>#N/A</c:v>
                </c:pt>
                <c:pt idx="2784">
                  <c:v>#N/A</c:v>
                </c:pt>
                <c:pt idx="2785">
                  <c:v>#N/A</c:v>
                </c:pt>
                <c:pt idx="2786">
                  <c:v>#N/A</c:v>
                </c:pt>
                <c:pt idx="2787">
                  <c:v>#N/A</c:v>
                </c:pt>
                <c:pt idx="2788">
                  <c:v>#N/A</c:v>
                </c:pt>
                <c:pt idx="2789">
                  <c:v>#N/A</c:v>
                </c:pt>
                <c:pt idx="2790">
                  <c:v>#N/A</c:v>
                </c:pt>
                <c:pt idx="2791">
                  <c:v>#N/A</c:v>
                </c:pt>
                <c:pt idx="2792">
                  <c:v>#N/A</c:v>
                </c:pt>
                <c:pt idx="2793">
                  <c:v>#N/A</c:v>
                </c:pt>
                <c:pt idx="2794">
                  <c:v>#N/A</c:v>
                </c:pt>
                <c:pt idx="2795">
                  <c:v>#N/A</c:v>
                </c:pt>
                <c:pt idx="2796">
                  <c:v>#N/A</c:v>
                </c:pt>
                <c:pt idx="2797">
                  <c:v>#N/A</c:v>
                </c:pt>
                <c:pt idx="2798">
                  <c:v>#N/A</c:v>
                </c:pt>
                <c:pt idx="2799">
                  <c:v>#N/A</c:v>
                </c:pt>
                <c:pt idx="2800">
                  <c:v>#N/A</c:v>
                </c:pt>
                <c:pt idx="2801">
                  <c:v>#N/A</c:v>
                </c:pt>
                <c:pt idx="2802">
                  <c:v>#N/A</c:v>
                </c:pt>
                <c:pt idx="2803">
                  <c:v>#N/A</c:v>
                </c:pt>
                <c:pt idx="2804">
                  <c:v>#N/A</c:v>
                </c:pt>
                <c:pt idx="2805">
                  <c:v>#N/A</c:v>
                </c:pt>
                <c:pt idx="2806">
                  <c:v>#N/A</c:v>
                </c:pt>
                <c:pt idx="2807">
                  <c:v>#N/A</c:v>
                </c:pt>
                <c:pt idx="2808">
                  <c:v>#N/A</c:v>
                </c:pt>
                <c:pt idx="2809">
                  <c:v>#N/A</c:v>
                </c:pt>
                <c:pt idx="2810">
                  <c:v>#N/A</c:v>
                </c:pt>
                <c:pt idx="2811">
                  <c:v>#N/A</c:v>
                </c:pt>
                <c:pt idx="2812">
                  <c:v>#N/A</c:v>
                </c:pt>
                <c:pt idx="2813">
                  <c:v>#N/A</c:v>
                </c:pt>
                <c:pt idx="2814">
                  <c:v>#N/A</c:v>
                </c:pt>
                <c:pt idx="2815">
                  <c:v>#N/A</c:v>
                </c:pt>
                <c:pt idx="2816">
                  <c:v>#N/A</c:v>
                </c:pt>
                <c:pt idx="2817">
                  <c:v>#N/A</c:v>
                </c:pt>
                <c:pt idx="2818">
                  <c:v>#N/A</c:v>
                </c:pt>
                <c:pt idx="2819">
                  <c:v>#N/A</c:v>
                </c:pt>
                <c:pt idx="2820">
                  <c:v>#N/A</c:v>
                </c:pt>
                <c:pt idx="2821">
                  <c:v>#N/A</c:v>
                </c:pt>
                <c:pt idx="2822">
                  <c:v>#N/A</c:v>
                </c:pt>
                <c:pt idx="2823">
                  <c:v>#N/A</c:v>
                </c:pt>
                <c:pt idx="2824">
                  <c:v>#N/A</c:v>
                </c:pt>
                <c:pt idx="2825">
                  <c:v>#N/A</c:v>
                </c:pt>
                <c:pt idx="2826">
                  <c:v>#N/A</c:v>
                </c:pt>
                <c:pt idx="2827">
                  <c:v>#N/A</c:v>
                </c:pt>
                <c:pt idx="2828">
                  <c:v>#N/A</c:v>
                </c:pt>
                <c:pt idx="2829">
                  <c:v>#N/A</c:v>
                </c:pt>
                <c:pt idx="2830">
                  <c:v>#N/A</c:v>
                </c:pt>
                <c:pt idx="2831">
                  <c:v>#N/A</c:v>
                </c:pt>
                <c:pt idx="2832">
                  <c:v>#N/A</c:v>
                </c:pt>
                <c:pt idx="2833">
                  <c:v>#N/A</c:v>
                </c:pt>
                <c:pt idx="2834">
                  <c:v>#N/A</c:v>
                </c:pt>
                <c:pt idx="2835">
                  <c:v>#N/A</c:v>
                </c:pt>
                <c:pt idx="2836">
                  <c:v>#N/A</c:v>
                </c:pt>
                <c:pt idx="2837">
                  <c:v>#N/A</c:v>
                </c:pt>
                <c:pt idx="2838">
                  <c:v>#N/A</c:v>
                </c:pt>
                <c:pt idx="2839">
                  <c:v>#N/A</c:v>
                </c:pt>
                <c:pt idx="2840">
                  <c:v>#N/A</c:v>
                </c:pt>
                <c:pt idx="2841">
                  <c:v>#N/A</c:v>
                </c:pt>
                <c:pt idx="2842">
                  <c:v>#N/A</c:v>
                </c:pt>
                <c:pt idx="2843">
                  <c:v>#N/A</c:v>
                </c:pt>
                <c:pt idx="2844">
                  <c:v>#N/A</c:v>
                </c:pt>
                <c:pt idx="2845">
                  <c:v>#N/A</c:v>
                </c:pt>
                <c:pt idx="2846">
                  <c:v>#N/A</c:v>
                </c:pt>
                <c:pt idx="2847">
                  <c:v>#N/A</c:v>
                </c:pt>
                <c:pt idx="2848">
                  <c:v>#N/A</c:v>
                </c:pt>
                <c:pt idx="2849">
                  <c:v>#N/A</c:v>
                </c:pt>
                <c:pt idx="2850">
                  <c:v>#N/A</c:v>
                </c:pt>
                <c:pt idx="2851">
                  <c:v>#N/A</c:v>
                </c:pt>
                <c:pt idx="2852">
                  <c:v>#N/A</c:v>
                </c:pt>
                <c:pt idx="2853">
                  <c:v>#N/A</c:v>
                </c:pt>
                <c:pt idx="2854">
                  <c:v>#N/A</c:v>
                </c:pt>
                <c:pt idx="2855">
                  <c:v>#N/A</c:v>
                </c:pt>
                <c:pt idx="2856">
                  <c:v>#N/A</c:v>
                </c:pt>
                <c:pt idx="2857">
                  <c:v>#N/A</c:v>
                </c:pt>
                <c:pt idx="2858">
                  <c:v>#N/A</c:v>
                </c:pt>
                <c:pt idx="2859">
                  <c:v>#N/A</c:v>
                </c:pt>
                <c:pt idx="2860">
                  <c:v>#N/A</c:v>
                </c:pt>
                <c:pt idx="2861">
                  <c:v>#N/A</c:v>
                </c:pt>
                <c:pt idx="2862">
                  <c:v>#N/A</c:v>
                </c:pt>
                <c:pt idx="2863">
                  <c:v>#N/A</c:v>
                </c:pt>
                <c:pt idx="2864">
                  <c:v>#N/A</c:v>
                </c:pt>
                <c:pt idx="2865">
                  <c:v>#N/A</c:v>
                </c:pt>
                <c:pt idx="2866">
                  <c:v>#N/A</c:v>
                </c:pt>
                <c:pt idx="2867">
                  <c:v>#N/A</c:v>
                </c:pt>
                <c:pt idx="2868">
                  <c:v>#N/A</c:v>
                </c:pt>
                <c:pt idx="2869">
                  <c:v>#N/A</c:v>
                </c:pt>
                <c:pt idx="2870">
                  <c:v>#N/A</c:v>
                </c:pt>
                <c:pt idx="2871">
                  <c:v>#N/A</c:v>
                </c:pt>
                <c:pt idx="2872">
                  <c:v>#N/A</c:v>
                </c:pt>
                <c:pt idx="2873">
                  <c:v>#N/A</c:v>
                </c:pt>
                <c:pt idx="2874">
                  <c:v>#N/A</c:v>
                </c:pt>
                <c:pt idx="2875">
                  <c:v>#N/A</c:v>
                </c:pt>
                <c:pt idx="2876">
                  <c:v>#N/A</c:v>
                </c:pt>
                <c:pt idx="2877">
                  <c:v>#N/A</c:v>
                </c:pt>
                <c:pt idx="2878">
                  <c:v>#N/A</c:v>
                </c:pt>
                <c:pt idx="2879">
                  <c:v>#N/A</c:v>
                </c:pt>
                <c:pt idx="2880">
                  <c:v>#N/A</c:v>
                </c:pt>
                <c:pt idx="2881">
                  <c:v>#N/A</c:v>
                </c:pt>
                <c:pt idx="2882">
                  <c:v>#N/A</c:v>
                </c:pt>
                <c:pt idx="2883">
                  <c:v>#N/A</c:v>
                </c:pt>
                <c:pt idx="2884">
                  <c:v>#N/A</c:v>
                </c:pt>
                <c:pt idx="2885">
                  <c:v>#N/A</c:v>
                </c:pt>
                <c:pt idx="2886">
                  <c:v>#N/A</c:v>
                </c:pt>
                <c:pt idx="2887">
                  <c:v>#N/A</c:v>
                </c:pt>
                <c:pt idx="2888">
                  <c:v>#N/A</c:v>
                </c:pt>
                <c:pt idx="2889">
                  <c:v>#N/A</c:v>
                </c:pt>
                <c:pt idx="2890">
                  <c:v>#N/A</c:v>
                </c:pt>
                <c:pt idx="2891">
                  <c:v>#N/A</c:v>
                </c:pt>
                <c:pt idx="2892">
                  <c:v>#N/A</c:v>
                </c:pt>
                <c:pt idx="2893">
                  <c:v>#N/A</c:v>
                </c:pt>
                <c:pt idx="2894">
                  <c:v>#N/A</c:v>
                </c:pt>
                <c:pt idx="2895">
                  <c:v>#N/A</c:v>
                </c:pt>
                <c:pt idx="2896">
                  <c:v>#N/A</c:v>
                </c:pt>
                <c:pt idx="2897">
                  <c:v>#N/A</c:v>
                </c:pt>
                <c:pt idx="2898">
                  <c:v>#N/A</c:v>
                </c:pt>
                <c:pt idx="2899">
                  <c:v>#N/A</c:v>
                </c:pt>
                <c:pt idx="2900">
                  <c:v>#N/A</c:v>
                </c:pt>
                <c:pt idx="2901">
                  <c:v>#N/A</c:v>
                </c:pt>
                <c:pt idx="2902">
                  <c:v>#N/A</c:v>
                </c:pt>
                <c:pt idx="2903">
                  <c:v>#N/A</c:v>
                </c:pt>
                <c:pt idx="2904">
                  <c:v>#N/A</c:v>
                </c:pt>
                <c:pt idx="2905">
                  <c:v>#N/A</c:v>
                </c:pt>
                <c:pt idx="2906">
                  <c:v>#N/A</c:v>
                </c:pt>
                <c:pt idx="2907">
                  <c:v>#N/A</c:v>
                </c:pt>
                <c:pt idx="2908">
                  <c:v>#N/A</c:v>
                </c:pt>
                <c:pt idx="2909">
                  <c:v>#N/A</c:v>
                </c:pt>
                <c:pt idx="2910">
                  <c:v>#N/A</c:v>
                </c:pt>
                <c:pt idx="2911">
                  <c:v>#N/A</c:v>
                </c:pt>
                <c:pt idx="2912">
                  <c:v>#N/A</c:v>
                </c:pt>
                <c:pt idx="2913">
                  <c:v>#N/A</c:v>
                </c:pt>
                <c:pt idx="2914">
                  <c:v>#N/A</c:v>
                </c:pt>
                <c:pt idx="2915">
                  <c:v>#N/A</c:v>
                </c:pt>
                <c:pt idx="2916">
                  <c:v>#N/A</c:v>
                </c:pt>
                <c:pt idx="2917">
                  <c:v>#N/A</c:v>
                </c:pt>
                <c:pt idx="2918">
                  <c:v>#N/A</c:v>
                </c:pt>
                <c:pt idx="2919">
                  <c:v>#N/A</c:v>
                </c:pt>
                <c:pt idx="2920">
                  <c:v>#N/A</c:v>
                </c:pt>
                <c:pt idx="2921">
                  <c:v>#N/A</c:v>
                </c:pt>
                <c:pt idx="2922">
                  <c:v>#N/A</c:v>
                </c:pt>
                <c:pt idx="2923">
                  <c:v>#N/A</c:v>
                </c:pt>
                <c:pt idx="2924">
                  <c:v>#N/A</c:v>
                </c:pt>
                <c:pt idx="2925">
                  <c:v>#N/A</c:v>
                </c:pt>
                <c:pt idx="2926">
                  <c:v>#N/A</c:v>
                </c:pt>
                <c:pt idx="2927">
                  <c:v>#N/A</c:v>
                </c:pt>
                <c:pt idx="2928">
                  <c:v>#N/A</c:v>
                </c:pt>
                <c:pt idx="2929">
                  <c:v>#N/A</c:v>
                </c:pt>
                <c:pt idx="2930">
                  <c:v>#N/A</c:v>
                </c:pt>
                <c:pt idx="2931">
                  <c:v>#N/A</c:v>
                </c:pt>
                <c:pt idx="2932">
                  <c:v>#N/A</c:v>
                </c:pt>
                <c:pt idx="2933">
                  <c:v>#N/A</c:v>
                </c:pt>
                <c:pt idx="2934">
                  <c:v>#N/A</c:v>
                </c:pt>
                <c:pt idx="2935">
                  <c:v>#N/A</c:v>
                </c:pt>
                <c:pt idx="2936">
                  <c:v>#N/A</c:v>
                </c:pt>
                <c:pt idx="2937">
                  <c:v>#N/A</c:v>
                </c:pt>
                <c:pt idx="2938">
                  <c:v>#N/A</c:v>
                </c:pt>
                <c:pt idx="2939">
                  <c:v>#N/A</c:v>
                </c:pt>
                <c:pt idx="2940">
                  <c:v>#N/A</c:v>
                </c:pt>
                <c:pt idx="2941">
                  <c:v>#N/A</c:v>
                </c:pt>
                <c:pt idx="2942">
                  <c:v>#N/A</c:v>
                </c:pt>
                <c:pt idx="2943">
                  <c:v>#N/A</c:v>
                </c:pt>
                <c:pt idx="2944">
                  <c:v>#N/A</c:v>
                </c:pt>
                <c:pt idx="2945">
                  <c:v>#N/A</c:v>
                </c:pt>
                <c:pt idx="2946">
                  <c:v>#N/A</c:v>
                </c:pt>
                <c:pt idx="2947">
                  <c:v>#N/A</c:v>
                </c:pt>
                <c:pt idx="2948">
                  <c:v>#N/A</c:v>
                </c:pt>
                <c:pt idx="2949">
                  <c:v>#N/A</c:v>
                </c:pt>
                <c:pt idx="2950">
                  <c:v>#N/A</c:v>
                </c:pt>
                <c:pt idx="2951">
                  <c:v>#N/A</c:v>
                </c:pt>
                <c:pt idx="2952">
                  <c:v>#N/A</c:v>
                </c:pt>
                <c:pt idx="2953">
                  <c:v>#N/A</c:v>
                </c:pt>
                <c:pt idx="2954">
                  <c:v>#N/A</c:v>
                </c:pt>
                <c:pt idx="2955">
                  <c:v>#N/A</c:v>
                </c:pt>
                <c:pt idx="2956">
                  <c:v>#N/A</c:v>
                </c:pt>
                <c:pt idx="2957">
                  <c:v>#N/A</c:v>
                </c:pt>
                <c:pt idx="2958">
                  <c:v>#N/A</c:v>
                </c:pt>
                <c:pt idx="2959">
                  <c:v>#N/A</c:v>
                </c:pt>
                <c:pt idx="2960">
                  <c:v>#N/A</c:v>
                </c:pt>
                <c:pt idx="2961">
                  <c:v>#N/A</c:v>
                </c:pt>
                <c:pt idx="2962">
                  <c:v>#N/A</c:v>
                </c:pt>
                <c:pt idx="2963">
                  <c:v>#N/A</c:v>
                </c:pt>
                <c:pt idx="2964">
                  <c:v>#N/A</c:v>
                </c:pt>
                <c:pt idx="2965">
                  <c:v>#N/A</c:v>
                </c:pt>
                <c:pt idx="2966">
                  <c:v>#N/A</c:v>
                </c:pt>
                <c:pt idx="2967">
                  <c:v>#N/A</c:v>
                </c:pt>
                <c:pt idx="2968">
                  <c:v>#N/A</c:v>
                </c:pt>
                <c:pt idx="2969">
                  <c:v>#N/A</c:v>
                </c:pt>
                <c:pt idx="2970">
                  <c:v>#N/A</c:v>
                </c:pt>
                <c:pt idx="2971">
                  <c:v>#N/A</c:v>
                </c:pt>
                <c:pt idx="2972">
                  <c:v>#N/A</c:v>
                </c:pt>
                <c:pt idx="2973">
                  <c:v>#N/A</c:v>
                </c:pt>
                <c:pt idx="2974">
                  <c:v>#N/A</c:v>
                </c:pt>
                <c:pt idx="2975">
                  <c:v>#N/A</c:v>
                </c:pt>
                <c:pt idx="2976">
                  <c:v>#N/A</c:v>
                </c:pt>
                <c:pt idx="2977">
                  <c:v>#N/A</c:v>
                </c:pt>
                <c:pt idx="2978">
                  <c:v>#N/A</c:v>
                </c:pt>
                <c:pt idx="2979">
                  <c:v>#N/A</c:v>
                </c:pt>
                <c:pt idx="2980">
                  <c:v>#N/A</c:v>
                </c:pt>
                <c:pt idx="2981">
                  <c:v>#N/A</c:v>
                </c:pt>
                <c:pt idx="2982">
                  <c:v>#N/A</c:v>
                </c:pt>
                <c:pt idx="2983">
                  <c:v>#N/A</c:v>
                </c:pt>
                <c:pt idx="2984">
                  <c:v>#N/A</c:v>
                </c:pt>
                <c:pt idx="2985">
                  <c:v>#N/A</c:v>
                </c:pt>
                <c:pt idx="2986">
                  <c:v>#N/A</c:v>
                </c:pt>
                <c:pt idx="2987">
                  <c:v>#N/A</c:v>
                </c:pt>
                <c:pt idx="2988">
                  <c:v>#N/A</c:v>
                </c:pt>
                <c:pt idx="2989">
                  <c:v>#N/A</c:v>
                </c:pt>
                <c:pt idx="2990">
                  <c:v>#N/A</c:v>
                </c:pt>
                <c:pt idx="2991">
                  <c:v>#N/A</c:v>
                </c:pt>
                <c:pt idx="2992">
                  <c:v>#N/A</c:v>
                </c:pt>
                <c:pt idx="2993">
                  <c:v>#N/A</c:v>
                </c:pt>
                <c:pt idx="2994">
                  <c:v>#N/A</c:v>
                </c:pt>
                <c:pt idx="2995">
                  <c:v>#N/A</c:v>
                </c:pt>
                <c:pt idx="2996">
                  <c:v>#N/A</c:v>
                </c:pt>
                <c:pt idx="2997">
                  <c:v>#N/A</c:v>
                </c:pt>
                <c:pt idx="2998">
                  <c:v>#N/A</c:v>
                </c:pt>
                <c:pt idx="2999">
                  <c:v>#N/A</c:v>
                </c:pt>
                <c:pt idx="3000">
                  <c:v>#N/A</c:v>
                </c:pt>
                <c:pt idx="3001">
                  <c:v>#N/A</c:v>
                </c:pt>
                <c:pt idx="3002">
                  <c:v>#N/A</c:v>
                </c:pt>
                <c:pt idx="3003">
                  <c:v>#N/A</c:v>
                </c:pt>
                <c:pt idx="3004">
                  <c:v>#N/A</c:v>
                </c:pt>
                <c:pt idx="3005">
                  <c:v>#N/A</c:v>
                </c:pt>
                <c:pt idx="3006">
                  <c:v>#N/A</c:v>
                </c:pt>
                <c:pt idx="3007">
                  <c:v>#N/A</c:v>
                </c:pt>
                <c:pt idx="3008">
                  <c:v>#N/A</c:v>
                </c:pt>
                <c:pt idx="3009">
                  <c:v>#N/A</c:v>
                </c:pt>
                <c:pt idx="3010">
                  <c:v>#N/A</c:v>
                </c:pt>
                <c:pt idx="3011">
                  <c:v>#N/A</c:v>
                </c:pt>
                <c:pt idx="3012">
                  <c:v>#N/A</c:v>
                </c:pt>
                <c:pt idx="3013">
                  <c:v>#N/A</c:v>
                </c:pt>
                <c:pt idx="3014">
                  <c:v>#N/A</c:v>
                </c:pt>
                <c:pt idx="3015">
                  <c:v>#N/A</c:v>
                </c:pt>
                <c:pt idx="3016">
                  <c:v>#N/A</c:v>
                </c:pt>
                <c:pt idx="3017">
                  <c:v>#N/A</c:v>
                </c:pt>
                <c:pt idx="3018">
                  <c:v>#N/A</c:v>
                </c:pt>
                <c:pt idx="3019">
                  <c:v>#N/A</c:v>
                </c:pt>
                <c:pt idx="3020">
                  <c:v>#N/A</c:v>
                </c:pt>
                <c:pt idx="3021">
                  <c:v>#N/A</c:v>
                </c:pt>
                <c:pt idx="3022">
                  <c:v>#N/A</c:v>
                </c:pt>
                <c:pt idx="3023">
                  <c:v>#N/A</c:v>
                </c:pt>
                <c:pt idx="3024">
                  <c:v>#N/A</c:v>
                </c:pt>
                <c:pt idx="3025">
                  <c:v>#N/A</c:v>
                </c:pt>
                <c:pt idx="3026">
                  <c:v>#N/A</c:v>
                </c:pt>
                <c:pt idx="3027">
                  <c:v>#N/A</c:v>
                </c:pt>
                <c:pt idx="3028">
                  <c:v>#N/A</c:v>
                </c:pt>
                <c:pt idx="3029">
                  <c:v>#N/A</c:v>
                </c:pt>
                <c:pt idx="3030">
                  <c:v>#N/A</c:v>
                </c:pt>
                <c:pt idx="3031">
                  <c:v>#N/A</c:v>
                </c:pt>
                <c:pt idx="3032">
                  <c:v>#N/A</c:v>
                </c:pt>
                <c:pt idx="3033">
                  <c:v>#N/A</c:v>
                </c:pt>
                <c:pt idx="3034">
                  <c:v>#N/A</c:v>
                </c:pt>
                <c:pt idx="3035">
                  <c:v>#N/A</c:v>
                </c:pt>
                <c:pt idx="3036">
                  <c:v>#N/A</c:v>
                </c:pt>
                <c:pt idx="3037">
                  <c:v>#N/A</c:v>
                </c:pt>
                <c:pt idx="3038">
                  <c:v>#N/A</c:v>
                </c:pt>
                <c:pt idx="3039">
                  <c:v>#N/A</c:v>
                </c:pt>
                <c:pt idx="3040">
                  <c:v>#N/A</c:v>
                </c:pt>
                <c:pt idx="3041">
                  <c:v>#N/A</c:v>
                </c:pt>
                <c:pt idx="3042">
                  <c:v>#N/A</c:v>
                </c:pt>
                <c:pt idx="3043">
                  <c:v>#N/A</c:v>
                </c:pt>
                <c:pt idx="3044">
                  <c:v>#N/A</c:v>
                </c:pt>
                <c:pt idx="3045">
                  <c:v>#N/A</c:v>
                </c:pt>
                <c:pt idx="3046">
                  <c:v>#N/A</c:v>
                </c:pt>
                <c:pt idx="3047">
                  <c:v>#N/A</c:v>
                </c:pt>
                <c:pt idx="3048">
                  <c:v>#N/A</c:v>
                </c:pt>
                <c:pt idx="3049">
                  <c:v>#N/A</c:v>
                </c:pt>
                <c:pt idx="3050">
                  <c:v>#N/A</c:v>
                </c:pt>
                <c:pt idx="3051">
                  <c:v>#N/A</c:v>
                </c:pt>
                <c:pt idx="3052">
                  <c:v>#N/A</c:v>
                </c:pt>
                <c:pt idx="3053">
                  <c:v>#N/A</c:v>
                </c:pt>
                <c:pt idx="3054">
                  <c:v>#N/A</c:v>
                </c:pt>
                <c:pt idx="3055">
                  <c:v>#N/A</c:v>
                </c:pt>
                <c:pt idx="3056">
                  <c:v>#N/A</c:v>
                </c:pt>
                <c:pt idx="3057">
                  <c:v>#N/A</c:v>
                </c:pt>
                <c:pt idx="3058">
                  <c:v>#N/A</c:v>
                </c:pt>
                <c:pt idx="3059">
                  <c:v>#N/A</c:v>
                </c:pt>
                <c:pt idx="3060">
                  <c:v>#N/A</c:v>
                </c:pt>
                <c:pt idx="3061">
                  <c:v>#N/A</c:v>
                </c:pt>
                <c:pt idx="3062">
                  <c:v>#N/A</c:v>
                </c:pt>
                <c:pt idx="3063">
                  <c:v>#N/A</c:v>
                </c:pt>
                <c:pt idx="3064">
                  <c:v>#N/A</c:v>
                </c:pt>
                <c:pt idx="3065">
                  <c:v>#N/A</c:v>
                </c:pt>
                <c:pt idx="3066">
                  <c:v>#N/A</c:v>
                </c:pt>
                <c:pt idx="3067">
                  <c:v>#N/A</c:v>
                </c:pt>
                <c:pt idx="3068">
                  <c:v>#N/A</c:v>
                </c:pt>
                <c:pt idx="3069">
                  <c:v>#N/A</c:v>
                </c:pt>
                <c:pt idx="3070">
                  <c:v>#N/A</c:v>
                </c:pt>
                <c:pt idx="3071">
                  <c:v>#N/A</c:v>
                </c:pt>
                <c:pt idx="3072">
                  <c:v>#N/A</c:v>
                </c:pt>
                <c:pt idx="3073">
                  <c:v>#N/A</c:v>
                </c:pt>
                <c:pt idx="3074">
                  <c:v>#N/A</c:v>
                </c:pt>
                <c:pt idx="3075">
                  <c:v>#N/A</c:v>
                </c:pt>
                <c:pt idx="3076">
                  <c:v>#N/A</c:v>
                </c:pt>
                <c:pt idx="3077">
                  <c:v>#N/A</c:v>
                </c:pt>
                <c:pt idx="3078">
                  <c:v>#N/A</c:v>
                </c:pt>
                <c:pt idx="3079">
                  <c:v>#N/A</c:v>
                </c:pt>
                <c:pt idx="3080">
                  <c:v>#N/A</c:v>
                </c:pt>
                <c:pt idx="3081">
                  <c:v>#N/A</c:v>
                </c:pt>
                <c:pt idx="3082">
                  <c:v>#N/A</c:v>
                </c:pt>
                <c:pt idx="3083">
                  <c:v>#N/A</c:v>
                </c:pt>
                <c:pt idx="3084">
                  <c:v>#N/A</c:v>
                </c:pt>
                <c:pt idx="3085">
                  <c:v>#N/A</c:v>
                </c:pt>
                <c:pt idx="3086">
                  <c:v>#N/A</c:v>
                </c:pt>
                <c:pt idx="3087">
                  <c:v>#N/A</c:v>
                </c:pt>
                <c:pt idx="3088">
                  <c:v>#N/A</c:v>
                </c:pt>
                <c:pt idx="3089">
                  <c:v>#N/A</c:v>
                </c:pt>
                <c:pt idx="3090">
                  <c:v>#N/A</c:v>
                </c:pt>
                <c:pt idx="3091">
                  <c:v>#N/A</c:v>
                </c:pt>
                <c:pt idx="3092">
                  <c:v>#N/A</c:v>
                </c:pt>
                <c:pt idx="3093">
                  <c:v>#N/A</c:v>
                </c:pt>
                <c:pt idx="3094">
                  <c:v>#N/A</c:v>
                </c:pt>
                <c:pt idx="3095">
                  <c:v>#N/A</c:v>
                </c:pt>
                <c:pt idx="3096">
                  <c:v>#N/A</c:v>
                </c:pt>
                <c:pt idx="3097">
                  <c:v>#N/A</c:v>
                </c:pt>
                <c:pt idx="3098">
                  <c:v>#N/A</c:v>
                </c:pt>
                <c:pt idx="3099">
                  <c:v>#N/A</c:v>
                </c:pt>
                <c:pt idx="3100">
                  <c:v>#N/A</c:v>
                </c:pt>
                <c:pt idx="3101">
                  <c:v>#N/A</c:v>
                </c:pt>
                <c:pt idx="3102">
                  <c:v>#N/A</c:v>
                </c:pt>
                <c:pt idx="3103">
                  <c:v>#N/A</c:v>
                </c:pt>
                <c:pt idx="3104">
                  <c:v>#N/A</c:v>
                </c:pt>
                <c:pt idx="3105">
                  <c:v>#N/A</c:v>
                </c:pt>
                <c:pt idx="3106">
                  <c:v>#N/A</c:v>
                </c:pt>
                <c:pt idx="3107">
                  <c:v>#N/A</c:v>
                </c:pt>
                <c:pt idx="3108">
                  <c:v>#N/A</c:v>
                </c:pt>
                <c:pt idx="3109">
                  <c:v>#N/A</c:v>
                </c:pt>
                <c:pt idx="3110">
                  <c:v>#N/A</c:v>
                </c:pt>
                <c:pt idx="3111">
                  <c:v>#N/A</c:v>
                </c:pt>
                <c:pt idx="3112">
                  <c:v>#N/A</c:v>
                </c:pt>
                <c:pt idx="3113">
                  <c:v>#N/A</c:v>
                </c:pt>
                <c:pt idx="3114">
                  <c:v>#N/A</c:v>
                </c:pt>
                <c:pt idx="3115">
                  <c:v>#N/A</c:v>
                </c:pt>
                <c:pt idx="3116">
                  <c:v>#N/A</c:v>
                </c:pt>
                <c:pt idx="3117">
                  <c:v>#N/A</c:v>
                </c:pt>
                <c:pt idx="3118">
                  <c:v>#N/A</c:v>
                </c:pt>
                <c:pt idx="3119">
                  <c:v>#N/A</c:v>
                </c:pt>
                <c:pt idx="3120">
                  <c:v>#N/A</c:v>
                </c:pt>
                <c:pt idx="3121">
                  <c:v>#N/A</c:v>
                </c:pt>
                <c:pt idx="3122">
                  <c:v>#N/A</c:v>
                </c:pt>
                <c:pt idx="3123">
                  <c:v>#N/A</c:v>
                </c:pt>
                <c:pt idx="3124">
                  <c:v>#N/A</c:v>
                </c:pt>
                <c:pt idx="3125">
                  <c:v>#N/A</c:v>
                </c:pt>
                <c:pt idx="3126">
                  <c:v>#N/A</c:v>
                </c:pt>
                <c:pt idx="3127">
                  <c:v>#N/A</c:v>
                </c:pt>
                <c:pt idx="3128">
                  <c:v>#N/A</c:v>
                </c:pt>
                <c:pt idx="3129">
                  <c:v>#N/A</c:v>
                </c:pt>
                <c:pt idx="3130">
                  <c:v>#N/A</c:v>
                </c:pt>
                <c:pt idx="3131">
                  <c:v>#N/A</c:v>
                </c:pt>
                <c:pt idx="3132">
                  <c:v>#N/A</c:v>
                </c:pt>
                <c:pt idx="3133">
                  <c:v>#N/A</c:v>
                </c:pt>
                <c:pt idx="3134">
                  <c:v>#N/A</c:v>
                </c:pt>
                <c:pt idx="3135">
                  <c:v>#N/A</c:v>
                </c:pt>
                <c:pt idx="3136">
                  <c:v>#N/A</c:v>
                </c:pt>
                <c:pt idx="3137">
                  <c:v>#N/A</c:v>
                </c:pt>
                <c:pt idx="3138">
                  <c:v>#N/A</c:v>
                </c:pt>
                <c:pt idx="3139">
                  <c:v>#N/A</c:v>
                </c:pt>
                <c:pt idx="3140">
                  <c:v>#N/A</c:v>
                </c:pt>
                <c:pt idx="3141">
                  <c:v>#N/A</c:v>
                </c:pt>
                <c:pt idx="3142">
                  <c:v>#N/A</c:v>
                </c:pt>
                <c:pt idx="3143">
                  <c:v>#N/A</c:v>
                </c:pt>
                <c:pt idx="3144">
                  <c:v>#N/A</c:v>
                </c:pt>
                <c:pt idx="3145">
                  <c:v>#N/A</c:v>
                </c:pt>
                <c:pt idx="3146">
                  <c:v>#N/A</c:v>
                </c:pt>
                <c:pt idx="3147">
                  <c:v>#N/A</c:v>
                </c:pt>
                <c:pt idx="3148">
                  <c:v>#N/A</c:v>
                </c:pt>
                <c:pt idx="3149">
                  <c:v>#N/A</c:v>
                </c:pt>
                <c:pt idx="3150">
                  <c:v>#N/A</c:v>
                </c:pt>
                <c:pt idx="3151">
                  <c:v>#N/A</c:v>
                </c:pt>
                <c:pt idx="3152">
                  <c:v>#N/A</c:v>
                </c:pt>
                <c:pt idx="3153">
                  <c:v>#N/A</c:v>
                </c:pt>
                <c:pt idx="3154">
                  <c:v>#N/A</c:v>
                </c:pt>
                <c:pt idx="3155">
                  <c:v>#N/A</c:v>
                </c:pt>
                <c:pt idx="3156">
                  <c:v>#N/A</c:v>
                </c:pt>
                <c:pt idx="3157">
                  <c:v>#N/A</c:v>
                </c:pt>
                <c:pt idx="3158">
                  <c:v>#N/A</c:v>
                </c:pt>
                <c:pt idx="3159">
                  <c:v>#N/A</c:v>
                </c:pt>
                <c:pt idx="3160">
                  <c:v>#N/A</c:v>
                </c:pt>
                <c:pt idx="3161">
                  <c:v>#N/A</c:v>
                </c:pt>
                <c:pt idx="3162">
                  <c:v>#N/A</c:v>
                </c:pt>
                <c:pt idx="3163">
                  <c:v>#N/A</c:v>
                </c:pt>
                <c:pt idx="3164">
                  <c:v>#N/A</c:v>
                </c:pt>
                <c:pt idx="3165">
                  <c:v>#N/A</c:v>
                </c:pt>
                <c:pt idx="3166">
                  <c:v>#N/A</c:v>
                </c:pt>
                <c:pt idx="3167">
                  <c:v>#N/A</c:v>
                </c:pt>
                <c:pt idx="3168">
                  <c:v>#N/A</c:v>
                </c:pt>
                <c:pt idx="3169">
                  <c:v>#N/A</c:v>
                </c:pt>
                <c:pt idx="3170">
                  <c:v>#N/A</c:v>
                </c:pt>
                <c:pt idx="3171">
                  <c:v>#N/A</c:v>
                </c:pt>
                <c:pt idx="3172">
                  <c:v>#N/A</c:v>
                </c:pt>
                <c:pt idx="3173">
                  <c:v>#N/A</c:v>
                </c:pt>
                <c:pt idx="3174">
                  <c:v>#N/A</c:v>
                </c:pt>
                <c:pt idx="3175">
                  <c:v>#N/A</c:v>
                </c:pt>
                <c:pt idx="3176">
                  <c:v>#N/A</c:v>
                </c:pt>
                <c:pt idx="3177">
                  <c:v>#N/A</c:v>
                </c:pt>
                <c:pt idx="3178">
                  <c:v>#N/A</c:v>
                </c:pt>
                <c:pt idx="3179">
                  <c:v>#N/A</c:v>
                </c:pt>
                <c:pt idx="3180">
                  <c:v>#N/A</c:v>
                </c:pt>
                <c:pt idx="3181">
                  <c:v>#N/A</c:v>
                </c:pt>
                <c:pt idx="3182">
                  <c:v>#N/A</c:v>
                </c:pt>
                <c:pt idx="3183">
                  <c:v>#N/A</c:v>
                </c:pt>
                <c:pt idx="3184">
                  <c:v>#N/A</c:v>
                </c:pt>
                <c:pt idx="3185">
                  <c:v>#N/A</c:v>
                </c:pt>
                <c:pt idx="3186">
                  <c:v>#N/A</c:v>
                </c:pt>
                <c:pt idx="3187">
                  <c:v>#N/A</c:v>
                </c:pt>
                <c:pt idx="3188">
                  <c:v>#N/A</c:v>
                </c:pt>
                <c:pt idx="3189">
                  <c:v>#N/A</c:v>
                </c:pt>
                <c:pt idx="3190">
                  <c:v>#N/A</c:v>
                </c:pt>
                <c:pt idx="3191">
                  <c:v>#N/A</c:v>
                </c:pt>
                <c:pt idx="3192">
                  <c:v>#N/A</c:v>
                </c:pt>
                <c:pt idx="3193">
                  <c:v>#N/A</c:v>
                </c:pt>
                <c:pt idx="3194">
                  <c:v>#N/A</c:v>
                </c:pt>
                <c:pt idx="3195">
                  <c:v>#N/A</c:v>
                </c:pt>
                <c:pt idx="3196">
                  <c:v>#N/A</c:v>
                </c:pt>
                <c:pt idx="3197">
                  <c:v>#N/A</c:v>
                </c:pt>
                <c:pt idx="3198">
                  <c:v>#N/A</c:v>
                </c:pt>
                <c:pt idx="3199">
                  <c:v>#N/A</c:v>
                </c:pt>
                <c:pt idx="3200">
                  <c:v>#N/A</c:v>
                </c:pt>
                <c:pt idx="3201">
                  <c:v>#N/A</c:v>
                </c:pt>
                <c:pt idx="3202">
                  <c:v>#N/A</c:v>
                </c:pt>
                <c:pt idx="3203">
                  <c:v>#N/A</c:v>
                </c:pt>
                <c:pt idx="3204">
                  <c:v>#N/A</c:v>
                </c:pt>
                <c:pt idx="3205">
                  <c:v>#N/A</c:v>
                </c:pt>
                <c:pt idx="3206">
                  <c:v>#N/A</c:v>
                </c:pt>
                <c:pt idx="3207">
                  <c:v>#N/A</c:v>
                </c:pt>
                <c:pt idx="3208">
                  <c:v>#N/A</c:v>
                </c:pt>
                <c:pt idx="3209">
                  <c:v>#N/A</c:v>
                </c:pt>
                <c:pt idx="3210">
                  <c:v>#N/A</c:v>
                </c:pt>
                <c:pt idx="3211">
                  <c:v>#N/A</c:v>
                </c:pt>
                <c:pt idx="3212">
                  <c:v>#N/A</c:v>
                </c:pt>
                <c:pt idx="3213">
                  <c:v>#N/A</c:v>
                </c:pt>
                <c:pt idx="3214">
                  <c:v>#N/A</c:v>
                </c:pt>
                <c:pt idx="3215">
                  <c:v>#N/A</c:v>
                </c:pt>
                <c:pt idx="3216">
                  <c:v>#N/A</c:v>
                </c:pt>
                <c:pt idx="3217">
                  <c:v>#N/A</c:v>
                </c:pt>
                <c:pt idx="3218">
                  <c:v>#N/A</c:v>
                </c:pt>
                <c:pt idx="3219">
                  <c:v>#N/A</c:v>
                </c:pt>
                <c:pt idx="3220">
                  <c:v>#N/A</c:v>
                </c:pt>
                <c:pt idx="3221">
                  <c:v>#N/A</c:v>
                </c:pt>
                <c:pt idx="3222">
                  <c:v>#N/A</c:v>
                </c:pt>
                <c:pt idx="3223">
                  <c:v>#N/A</c:v>
                </c:pt>
                <c:pt idx="3224">
                  <c:v>#N/A</c:v>
                </c:pt>
                <c:pt idx="3225">
                  <c:v>#N/A</c:v>
                </c:pt>
                <c:pt idx="3226">
                  <c:v>#N/A</c:v>
                </c:pt>
                <c:pt idx="3227">
                  <c:v>#N/A</c:v>
                </c:pt>
                <c:pt idx="3228">
                  <c:v>#N/A</c:v>
                </c:pt>
                <c:pt idx="3229">
                  <c:v>#N/A</c:v>
                </c:pt>
                <c:pt idx="3230">
                  <c:v>#N/A</c:v>
                </c:pt>
                <c:pt idx="3231">
                  <c:v>#N/A</c:v>
                </c:pt>
                <c:pt idx="3232">
                  <c:v>#N/A</c:v>
                </c:pt>
                <c:pt idx="3233">
                  <c:v>#N/A</c:v>
                </c:pt>
                <c:pt idx="3234">
                  <c:v>#N/A</c:v>
                </c:pt>
                <c:pt idx="3235">
                  <c:v>#N/A</c:v>
                </c:pt>
                <c:pt idx="3236">
                  <c:v>#N/A</c:v>
                </c:pt>
                <c:pt idx="3237">
                  <c:v>#N/A</c:v>
                </c:pt>
                <c:pt idx="3238">
                  <c:v>#N/A</c:v>
                </c:pt>
                <c:pt idx="3239">
                  <c:v>#N/A</c:v>
                </c:pt>
                <c:pt idx="3240">
                  <c:v>#N/A</c:v>
                </c:pt>
                <c:pt idx="3241">
                  <c:v>#N/A</c:v>
                </c:pt>
                <c:pt idx="3242">
                  <c:v>#N/A</c:v>
                </c:pt>
                <c:pt idx="3243">
                  <c:v>#N/A</c:v>
                </c:pt>
                <c:pt idx="3244">
                  <c:v>#N/A</c:v>
                </c:pt>
                <c:pt idx="3245">
                  <c:v>#N/A</c:v>
                </c:pt>
                <c:pt idx="3246">
                  <c:v>#N/A</c:v>
                </c:pt>
                <c:pt idx="3247">
                  <c:v>#N/A</c:v>
                </c:pt>
                <c:pt idx="3248">
                  <c:v>#N/A</c:v>
                </c:pt>
                <c:pt idx="3249">
                  <c:v>#N/A</c:v>
                </c:pt>
                <c:pt idx="3250">
                  <c:v>#N/A</c:v>
                </c:pt>
                <c:pt idx="3251">
                  <c:v>#N/A</c:v>
                </c:pt>
                <c:pt idx="3252">
                  <c:v>#N/A</c:v>
                </c:pt>
                <c:pt idx="3253">
                  <c:v>#N/A</c:v>
                </c:pt>
                <c:pt idx="3254">
                  <c:v>#N/A</c:v>
                </c:pt>
                <c:pt idx="3255">
                  <c:v>#N/A</c:v>
                </c:pt>
                <c:pt idx="3256">
                  <c:v>#N/A</c:v>
                </c:pt>
                <c:pt idx="3257">
                  <c:v>#N/A</c:v>
                </c:pt>
                <c:pt idx="3258">
                  <c:v>#N/A</c:v>
                </c:pt>
                <c:pt idx="3259">
                  <c:v>#N/A</c:v>
                </c:pt>
                <c:pt idx="3260">
                  <c:v>#N/A</c:v>
                </c:pt>
                <c:pt idx="3261">
                  <c:v>#N/A</c:v>
                </c:pt>
                <c:pt idx="3262">
                  <c:v>#N/A</c:v>
                </c:pt>
                <c:pt idx="3263">
                  <c:v>#N/A</c:v>
                </c:pt>
                <c:pt idx="3264">
                  <c:v>#N/A</c:v>
                </c:pt>
                <c:pt idx="3265">
                  <c:v>#N/A</c:v>
                </c:pt>
                <c:pt idx="3266">
                  <c:v>#N/A</c:v>
                </c:pt>
                <c:pt idx="3267">
                  <c:v>#N/A</c:v>
                </c:pt>
                <c:pt idx="3268">
                  <c:v>#N/A</c:v>
                </c:pt>
                <c:pt idx="3269">
                  <c:v>#N/A</c:v>
                </c:pt>
                <c:pt idx="3270">
                  <c:v>#N/A</c:v>
                </c:pt>
                <c:pt idx="3271">
                  <c:v>#N/A</c:v>
                </c:pt>
                <c:pt idx="3272">
                  <c:v>#N/A</c:v>
                </c:pt>
                <c:pt idx="3273">
                  <c:v>#N/A</c:v>
                </c:pt>
                <c:pt idx="3274">
                  <c:v>#N/A</c:v>
                </c:pt>
                <c:pt idx="3275">
                  <c:v>#N/A</c:v>
                </c:pt>
                <c:pt idx="3276">
                  <c:v>#N/A</c:v>
                </c:pt>
                <c:pt idx="3277">
                  <c:v>#N/A</c:v>
                </c:pt>
                <c:pt idx="3278">
                  <c:v>#N/A</c:v>
                </c:pt>
                <c:pt idx="3279">
                  <c:v>#N/A</c:v>
                </c:pt>
                <c:pt idx="3280">
                  <c:v>#N/A</c:v>
                </c:pt>
                <c:pt idx="3281">
                  <c:v>#N/A</c:v>
                </c:pt>
                <c:pt idx="3282">
                  <c:v>#N/A</c:v>
                </c:pt>
                <c:pt idx="3283">
                  <c:v>#N/A</c:v>
                </c:pt>
                <c:pt idx="3284">
                  <c:v>#N/A</c:v>
                </c:pt>
                <c:pt idx="3285">
                  <c:v>#N/A</c:v>
                </c:pt>
                <c:pt idx="3286">
                  <c:v>#N/A</c:v>
                </c:pt>
                <c:pt idx="3287">
                  <c:v>#N/A</c:v>
                </c:pt>
                <c:pt idx="3288">
                  <c:v>#N/A</c:v>
                </c:pt>
                <c:pt idx="3289">
                  <c:v>#N/A</c:v>
                </c:pt>
                <c:pt idx="3290">
                  <c:v>#N/A</c:v>
                </c:pt>
                <c:pt idx="3291">
                  <c:v>#N/A</c:v>
                </c:pt>
                <c:pt idx="3292">
                  <c:v>#N/A</c:v>
                </c:pt>
                <c:pt idx="3293">
                  <c:v>#N/A</c:v>
                </c:pt>
                <c:pt idx="3294">
                  <c:v>#N/A</c:v>
                </c:pt>
                <c:pt idx="3295">
                  <c:v>#N/A</c:v>
                </c:pt>
                <c:pt idx="3296">
                  <c:v>#N/A</c:v>
                </c:pt>
                <c:pt idx="3297">
                  <c:v>#N/A</c:v>
                </c:pt>
                <c:pt idx="3298">
                  <c:v>#N/A</c:v>
                </c:pt>
                <c:pt idx="3299">
                  <c:v>#N/A</c:v>
                </c:pt>
                <c:pt idx="3300">
                  <c:v>#N/A</c:v>
                </c:pt>
                <c:pt idx="3301">
                  <c:v>#N/A</c:v>
                </c:pt>
                <c:pt idx="3302">
                  <c:v>#N/A</c:v>
                </c:pt>
                <c:pt idx="3303">
                  <c:v>#N/A</c:v>
                </c:pt>
                <c:pt idx="3304">
                  <c:v>#N/A</c:v>
                </c:pt>
                <c:pt idx="3305">
                  <c:v>#N/A</c:v>
                </c:pt>
                <c:pt idx="3306">
                  <c:v>#N/A</c:v>
                </c:pt>
                <c:pt idx="3307">
                  <c:v>#N/A</c:v>
                </c:pt>
                <c:pt idx="3308">
                  <c:v>#N/A</c:v>
                </c:pt>
                <c:pt idx="3309">
                  <c:v>#N/A</c:v>
                </c:pt>
                <c:pt idx="3310">
                  <c:v>#N/A</c:v>
                </c:pt>
                <c:pt idx="3311">
                  <c:v>#N/A</c:v>
                </c:pt>
                <c:pt idx="3312">
                  <c:v>#N/A</c:v>
                </c:pt>
                <c:pt idx="3313">
                  <c:v>#N/A</c:v>
                </c:pt>
                <c:pt idx="3314">
                  <c:v>#N/A</c:v>
                </c:pt>
                <c:pt idx="3315">
                  <c:v>#N/A</c:v>
                </c:pt>
                <c:pt idx="3316">
                  <c:v>#N/A</c:v>
                </c:pt>
                <c:pt idx="3317">
                  <c:v>#N/A</c:v>
                </c:pt>
                <c:pt idx="3318">
                  <c:v>#N/A</c:v>
                </c:pt>
                <c:pt idx="3319">
                  <c:v>#N/A</c:v>
                </c:pt>
                <c:pt idx="3320">
                  <c:v>#N/A</c:v>
                </c:pt>
                <c:pt idx="3321">
                  <c:v>#N/A</c:v>
                </c:pt>
                <c:pt idx="3322">
                  <c:v>#N/A</c:v>
                </c:pt>
                <c:pt idx="3323">
                  <c:v>#N/A</c:v>
                </c:pt>
                <c:pt idx="3324">
                  <c:v>#N/A</c:v>
                </c:pt>
                <c:pt idx="3325">
                  <c:v>#N/A</c:v>
                </c:pt>
                <c:pt idx="3326">
                  <c:v>#N/A</c:v>
                </c:pt>
                <c:pt idx="3327">
                  <c:v>#N/A</c:v>
                </c:pt>
                <c:pt idx="3328">
                  <c:v>#N/A</c:v>
                </c:pt>
                <c:pt idx="3329">
                  <c:v>#N/A</c:v>
                </c:pt>
                <c:pt idx="3330">
                  <c:v>#N/A</c:v>
                </c:pt>
                <c:pt idx="3331">
                  <c:v>#N/A</c:v>
                </c:pt>
                <c:pt idx="3332">
                  <c:v>#N/A</c:v>
                </c:pt>
                <c:pt idx="3333">
                  <c:v>#N/A</c:v>
                </c:pt>
                <c:pt idx="3334">
                  <c:v>#N/A</c:v>
                </c:pt>
                <c:pt idx="3335">
                  <c:v>#N/A</c:v>
                </c:pt>
                <c:pt idx="3336">
                  <c:v>#N/A</c:v>
                </c:pt>
                <c:pt idx="3337">
                  <c:v>#N/A</c:v>
                </c:pt>
                <c:pt idx="3338">
                  <c:v>#N/A</c:v>
                </c:pt>
                <c:pt idx="3339">
                  <c:v>#N/A</c:v>
                </c:pt>
                <c:pt idx="3340">
                  <c:v>#N/A</c:v>
                </c:pt>
                <c:pt idx="3341">
                  <c:v>#N/A</c:v>
                </c:pt>
                <c:pt idx="3342">
                  <c:v>#N/A</c:v>
                </c:pt>
                <c:pt idx="3343">
                  <c:v>#N/A</c:v>
                </c:pt>
                <c:pt idx="3344">
                  <c:v>#N/A</c:v>
                </c:pt>
                <c:pt idx="3345">
                  <c:v>#N/A</c:v>
                </c:pt>
                <c:pt idx="3346">
                  <c:v>#N/A</c:v>
                </c:pt>
                <c:pt idx="3347">
                  <c:v>#N/A</c:v>
                </c:pt>
                <c:pt idx="3348">
                  <c:v>#N/A</c:v>
                </c:pt>
                <c:pt idx="3349">
                  <c:v>#N/A</c:v>
                </c:pt>
                <c:pt idx="3350">
                  <c:v>#N/A</c:v>
                </c:pt>
                <c:pt idx="3351">
                  <c:v>#N/A</c:v>
                </c:pt>
                <c:pt idx="3352">
                  <c:v>#N/A</c:v>
                </c:pt>
                <c:pt idx="3353">
                  <c:v>#N/A</c:v>
                </c:pt>
                <c:pt idx="3354">
                  <c:v>#N/A</c:v>
                </c:pt>
                <c:pt idx="3355">
                  <c:v>#N/A</c:v>
                </c:pt>
                <c:pt idx="3356">
                  <c:v>#N/A</c:v>
                </c:pt>
                <c:pt idx="3357">
                  <c:v>#N/A</c:v>
                </c:pt>
                <c:pt idx="3358">
                  <c:v>#N/A</c:v>
                </c:pt>
                <c:pt idx="3359">
                  <c:v>#N/A</c:v>
                </c:pt>
                <c:pt idx="3360">
                  <c:v>#N/A</c:v>
                </c:pt>
                <c:pt idx="3361">
                  <c:v>#N/A</c:v>
                </c:pt>
                <c:pt idx="3362">
                  <c:v>#N/A</c:v>
                </c:pt>
                <c:pt idx="3363">
                  <c:v>#N/A</c:v>
                </c:pt>
                <c:pt idx="3364">
                  <c:v>#N/A</c:v>
                </c:pt>
                <c:pt idx="3365">
                  <c:v>#N/A</c:v>
                </c:pt>
                <c:pt idx="3366">
                  <c:v>#N/A</c:v>
                </c:pt>
                <c:pt idx="3367">
                  <c:v>#N/A</c:v>
                </c:pt>
                <c:pt idx="3368">
                  <c:v>#N/A</c:v>
                </c:pt>
                <c:pt idx="3369">
                  <c:v>#N/A</c:v>
                </c:pt>
                <c:pt idx="3370">
                  <c:v>#N/A</c:v>
                </c:pt>
                <c:pt idx="3371">
                  <c:v>#N/A</c:v>
                </c:pt>
                <c:pt idx="3372">
                  <c:v>#N/A</c:v>
                </c:pt>
                <c:pt idx="3373">
                  <c:v>#N/A</c:v>
                </c:pt>
                <c:pt idx="3374">
                  <c:v>#N/A</c:v>
                </c:pt>
                <c:pt idx="3375">
                  <c:v>#N/A</c:v>
                </c:pt>
                <c:pt idx="3376">
                  <c:v>#N/A</c:v>
                </c:pt>
                <c:pt idx="3377">
                  <c:v>#N/A</c:v>
                </c:pt>
                <c:pt idx="3378">
                  <c:v>#N/A</c:v>
                </c:pt>
                <c:pt idx="3379">
                  <c:v>#N/A</c:v>
                </c:pt>
                <c:pt idx="3380">
                  <c:v>#N/A</c:v>
                </c:pt>
                <c:pt idx="3381">
                  <c:v>#N/A</c:v>
                </c:pt>
                <c:pt idx="3382">
                  <c:v>#N/A</c:v>
                </c:pt>
                <c:pt idx="3383">
                  <c:v>#N/A</c:v>
                </c:pt>
                <c:pt idx="3384">
                  <c:v>#N/A</c:v>
                </c:pt>
                <c:pt idx="3385">
                  <c:v>#N/A</c:v>
                </c:pt>
                <c:pt idx="3386">
                  <c:v>#N/A</c:v>
                </c:pt>
                <c:pt idx="3387">
                  <c:v>#N/A</c:v>
                </c:pt>
                <c:pt idx="3388">
                  <c:v>#N/A</c:v>
                </c:pt>
                <c:pt idx="3389">
                  <c:v>#N/A</c:v>
                </c:pt>
                <c:pt idx="3390">
                  <c:v>#N/A</c:v>
                </c:pt>
                <c:pt idx="3391">
                  <c:v>#N/A</c:v>
                </c:pt>
                <c:pt idx="3392">
                  <c:v>#N/A</c:v>
                </c:pt>
                <c:pt idx="3393">
                  <c:v>#N/A</c:v>
                </c:pt>
                <c:pt idx="3394">
                  <c:v>#N/A</c:v>
                </c:pt>
                <c:pt idx="3395">
                  <c:v>#N/A</c:v>
                </c:pt>
                <c:pt idx="3396">
                  <c:v>#N/A</c:v>
                </c:pt>
                <c:pt idx="3397">
                  <c:v>#N/A</c:v>
                </c:pt>
                <c:pt idx="3398">
                  <c:v>#N/A</c:v>
                </c:pt>
                <c:pt idx="3399">
                  <c:v>#N/A</c:v>
                </c:pt>
                <c:pt idx="3400">
                  <c:v>#N/A</c:v>
                </c:pt>
                <c:pt idx="3401">
                  <c:v>#N/A</c:v>
                </c:pt>
                <c:pt idx="3402">
                  <c:v>#N/A</c:v>
                </c:pt>
                <c:pt idx="3403">
                  <c:v>#N/A</c:v>
                </c:pt>
                <c:pt idx="3404">
                  <c:v>#N/A</c:v>
                </c:pt>
                <c:pt idx="3405">
                  <c:v>#N/A</c:v>
                </c:pt>
                <c:pt idx="3406">
                  <c:v>#N/A</c:v>
                </c:pt>
                <c:pt idx="3407">
                  <c:v>#N/A</c:v>
                </c:pt>
                <c:pt idx="3408">
                  <c:v>#N/A</c:v>
                </c:pt>
                <c:pt idx="3409">
                  <c:v>#N/A</c:v>
                </c:pt>
                <c:pt idx="3410">
                  <c:v>#N/A</c:v>
                </c:pt>
                <c:pt idx="3411">
                  <c:v>#N/A</c:v>
                </c:pt>
                <c:pt idx="3412">
                  <c:v>#N/A</c:v>
                </c:pt>
                <c:pt idx="3413">
                  <c:v>#N/A</c:v>
                </c:pt>
                <c:pt idx="3414">
                  <c:v>#N/A</c:v>
                </c:pt>
                <c:pt idx="3415">
                  <c:v>#N/A</c:v>
                </c:pt>
                <c:pt idx="3416">
                  <c:v>#N/A</c:v>
                </c:pt>
                <c:pt idx="3417">
                  <c:v>#N/A</c:v>
                </c:pt>
                <c:pt idx="3418">
                  <c:v>#N/A</c:v>
                </c:pt>
                <c:pt idx="3419">
                  <c:v>#N/A</c:v>
                </c:pt>
                <c:pt idx="3420">
                  <c:v>#N/A</c:v>
                </c:pt>
                <c:pt idx="3421">
                  <c:v>#N/A</c:v>
                </c:pt>
                <c:pt idx="3422">
                  <c:v>#N/A</c:v>
                </c:pt>
                <c:pt idx="3423">
                  <c:v>#N/A</c:v>
                </c:pt>
                <c:pt idx="3424">
                  <c:v>#N/A</c:v>
                </c:pt>
                <c:pt idx="3425">
                  <c:v>#N/A</c:v>
                </c:pt>
                <c:pt idx="3426">
                  <c:v>#N/A</c:v>
                </c:pt>
                <c:pt idx="3427">
                  <c:v>#N/A</c:v>
                </c:pt>
                <c:pt idx="3428">
                  <c:v>#N/A</c:v>
                </c:pt>
                <c:pt idx="3429">
                  <c:v>#N/A</c:v>
                </c:pt>
                <c:pt idx="3430">
                  <c:v>#N/A</c:v>
                </c:pt>
                <c:pt idx="3431">
                  <c:v>#N/A</c:v>
                </c:pt>
                <c:pt idx="3432">
                  <c:v>#N/A</c:v>
                </c:pt>
                <c:pt idx="3433">
                  <c:v>#N/A</c:v>
                </c:pt>
                <c:pt idx="3434">
                  <c:v>#N/A</c:v>
                </c:pt>
                <c:pt idx="3435">
                  <c:v>#N/A</c:v>
                </c:pt>
                <c:pt idx="3436">
                  <c:v>#N/A</c:v>
                </c:pt>
                <c:pt idx="3437">
                  <c:v>#N/A</c:v>
                </c:pt>
                <c:pt idx="3438">
                  <c:v>#N/A</c:v>
                </c:pt>
                <c:pt idx="3439">
                  <c:v>#N/A</c:v>
                </c:pt>
                <c:pt idx="3440">
                  <c:v>#N/A</c:v>
                </c:pt>
                <c:pt idx="3441">
                  <c:v>#N/A</c:v>
                </c:pt>
                <c:pt idx="3442">
                  <c:v>#N/A</c:v>
                </c:pt>
                <c:pt idx="3443">
                  <c:v>#N/A</c:v>
                </c:pt>
                <c:pt idx="3444">
                  <c:v>#N/A</c:v>
                </c:pt>
                <c:pt idx="3445">
                  <c:v>#N/A</c:v>
                </c:pt>
                <c:pt idx="3446">
                  <c:v>#N/A</c:v>
                </c:pt>
                <c:pt idx="3447">
                  <c:v>#N/A</c:v>
                </c:pt>
                <c:pt idx="3448">
                  <c:v>#N/A</c:v>
                </c:pt>
                <c:pt idx="3449">
                  <c:v>#N/A</c:v>
                </c:pt>
                <c:pt idx="3450">
                  <c:v>#N/A</c:v>
                </c:pt>
                <c:pt idx="3451">
                  <c:v>#N/A</c:v>
                </c:pt>
                <c:pt idx="3452">
                  <c:v>#N/A</c:v>
                </c:pt>
                <c:pt idx="3453">
                  <c:v>#N/A</c:v>
                </c:pt>
                <c:pt idx="3454">
                  <c:v>#N/A</c:v>
                </c:pt>
                <c:pt idx="3455">
                  <c:v>#N/A</c:v>
                </c:pt>
                <c:pt idx="3456">
                  <c:v>#N/A</c:v>
                </c:pt>
                <c:pt idx="3457">
                  <c:v>#N/A</c:v>
                </c:pt>
                <c:pt idx="3458">
                  <c:v>#N/A</c:v>
                </c:pt>
                <c:pt idx="3459">
                  <c:v>#N/A</c:v>
                </c:pt>
                <c:pt idx="3460">
                  <c:v>#N/A</c:v>
                </c:pt>
                <c:pt idx="3461">
                  <c:v>#N/A</c:v>
                </c:pt>
                <c:pt idx="3462">
                  <c:v>#N/A</c:v>
                </c:pt>
                <c:pt idx="3463">
                  <c:v>#N/A</c:v>
                </c:pt>
                <c:pt idx="3464">
                  <c:v>#N/A</c:v>
                </c:pt>
                <c:pt idx="3465">
                  <c:v>#N/A</c:v>
                </c:pt>
                <c:pt idx="3466">
                  <c:v>#N/A</c:v>
                </c:pt>
                <c:pt idx="3467">
                  <c:v>#N/A</c:v>
                </c:pt>
                <c:pt idx="3468">
                  <c:v>#N/A</c:v>
                </c:pt>
                <c:pt idx="3469">
                  <c:v>#N/A</c:v>
                </c:pt>
                <c:pt idx="3470">
                  <c:v>#N/A</c:v>
                </c:pt>
                <c:pt idx="3471">
                  <c:v>#N/A</c:v>
                </c:pt>
                <c:pt idx="3472">
                  <c:v>#N/A</c:v>
                </c:pt>
                <c:pt idx="3473">
                  <c:v>#N/A</c:v>
                </c:pt>
                <c:pt idx="3474">
                  <c:v>#N/A</c:v>
                </c:pt>
                <c:pt idx="3475">
                  <c:v>#N/A</c:v>
                </c:pt>
                <c:pt idx="3476">
                  <c:v>#N/A</c:v>
                </c:pt>
                <c:pt idx="3477">
                  <c:v>#N/A</c:v>
                </c:pt>
                <c:pt idx="3478">
                  <c:v>#N/A</c:v>
                </c:pt>
                <c:pt idx="3479">
                  <c:v>#N/A</c:v>
                </c:pt>
                <c:pt idx="3480">
                  <c:v>#N/A</c:v>
                </c:pt>
                <c:pt idx="3481">
                  <c:v>#N/A</c:v>
                </c:pt>
                <c:pt idx="3482">
                  <c:v>#N/A</c:v>
                </c:pt>
                <c:pt idx="3483">
                  <c:v>#N/A</c:v>
                </c:pt>
                <c:pt idx="3484">
                  <c:v>#N/A</c:v>
                </c:pt>
                <c:pt idx="3485">
                  <c:v>#N/A</c:v>
                </c:pt>
                <c:pt idx="3486">
                  <c:v>#N/A</c:v>
                </c:pt>
                <c:pt idx="3487">
                  <c:v>#N/A</c:v>
                </c:pt>
                <c:pt idx="3488">
                  <c:v>#N/A</c:v>
                </c:pt>
                <c:pt idx="3489">
                  <c:v>#N/A</c:v>
                </c:pt>
                <c:pt idx="3490">
                  <c:v>#N/A</c:v>
                </c:pt>
                <c:pt idx="3491">
                  <c:v>#N/A</c:v>
                </c:pt>
                <c:pt idx="3492">
                  <c:v>#N/A</c:v>
                </c:pt>
                <c:pt idx="3493">
                  <c:v>#N/A</c:v>
                </c:pt>
                <c:pt idx="3494">
                  <c:v>#N/A</c:v>
                </c:pt>
                <c:pt idx="3495">
                  <c:v>#N/A</c:v>
                </c:pt>
                <c:pt idx="3496">
                  <c:v>#N/A</c:v>
                </c:pt>
                <c:pt idx="3497">
                  <c:v>#N/A</c:v>
                </c:pt>
                <c:pt idx="3498">
                  <c:v>#N/A</c:v>
                </c:pt>
                <c:pt idx="3499">
                  <c:v>#N/A</c:v>
                </c:pt>
                <c:pt idx="3500">
                  <c:v>#N/A</c:v>
                </c:pt>
                <c:pt idx="3501">
                  <c:v>#N/A</c:v>
                </c:pt>
                <c:pt idx="3502">
                  <c:v>#N/A</c:v>
                </c:pt>
                <c:pt idx="3503">
                  <c:v>#N/A</c:v>
                </c:pt>
                <c:pt idx="3504">
                  <c:v>#N/A</c:v>
                </c:pt>
                <c:pt idx="3505">
                  <c:v>#N/A</c:v>
                </c:pt>
                <c:pt idx="3506">
                  <c:v>#N/A</c:v>
                </c:pt>
                <c:pt idx="3507">
                  <c:v>#N/A</c:v>
                </c:pt>
                <c:pt idx="3508">
                  <c:v>#N/A</c:v>
                </c:pt>
                <c:pt idx="3509">
                  <c:v>#N/A</c:v>
                </c:pt>
                <c:pt idx="3510">
                  <c:v>#N/A</c:v>
                </c:pt>
                <c:pt idx="3511">
                  <c:v>#N/A</c:v>
                </c:pt>
                <c:pt idx="3512">
                  <c:v>#N/A</c:v>
                </c:pt>
                <c:pt idx="3513">
                  <c:v>#N/A</c:v>
                </c:pt>
                <c:pt idx="3514">
                  <c:v>#N/A</c:v>
                </c:pt>
                <c:pt idx="3515">
                  <c:v>#N/A</c:v>
                </c:pt>
                <c:pt idx="3516">
                  <c:v>#N/A</c:v>
                </c:pt>
                <c:pt idx="3517">
                  <c:v>#N/A</c:v>
                </c:pt>
                <c:pt idx="3518">
                  <c:v>#N/A</c:v>
                </c:pt>
                <c:pt idx="3519">
                  <c:v>#N/A</c:v>
                </c:pt>
                <c:pt idx="3520">
                  <c:v>#N/A</c:v>
                </c:pt>
                <c:pt idx="3521">
                  <c:v>#N/A</c:v>
                </c:pt>
                <c:pt idx="3522">
                  <c:v>#N/A</c:v>
                </c:pt>
                <c:pt idx="3523">
                  <c:v>#N/A</c:v>
                </c:pt>
                <c:pt idx="3524">
                  <c:v>#N/A</c:v>
                </c:pt>
                <c:pt idx="3525">
                  <c:v>#N/A</c:v>
                </c:pt>
                <c:pt idx="3526">
                  <c:v>#N/A</c:v>
                </c:pt>
                <c:pt idx="3527">
                  <c:v>#N/A</c:v>
                </c:pt>
                <c:pt idx="3528">
                  <c:v>#N/A</c:v>
                </c:pt>
                <c:pt idx="3529">
                  <c:v>#N/A</c:v>
                </c:pt>
                <c:pt idx="3530">
                  <c:v>#N/A</c:v>
                </c:pt>
                <c:pt idx="3531">
                  <c:v>#N/A</c:v>
                </c:pt>
                <c:pt idx="3532">
                  <c:v>#N/A</c:v>
                </c:pt>
                <c:pt idx="3533">
                  <c:v>#N/A</c:v>
                </c:pt>
                <c:pt idx="3534">
                  <c:v>#N/A</c:v>
                </c:pt>
                <c:pt idx="3535">
                  <c:v>#N/A</c:v>
                </c:pt>
                <c:pt idx="3536">
                  <c:v>#N/A</c:v>
                </c:pt>
                <c:pt idx="3537">
                  <c:v>#N/A</c:v>
                </c:pt>
                <c:pt idx="3538">
                  <c:v>#N/A</c:v>
                </c:pt>
                <c:pt idx="3539">
                  <c:v>#N/A</c:v>
                </c:pt>
                <c:pt idx="3540">
                  <c:v>#N/A</c:v>
                </c:pt>
                <c:pt idx="3541">
                  <c:v>#N/A</c:v>
                </c:pt>
                <c:pt idx="3542">
                  <c:v>#N/A</c:v>
                </c:pt>
                <c:pt idx="3543">
                  <c:v>#N/A</c:v>
                </c:pt>
                <c:pt idx="3544">
                  <c:v>#N/A</c:v>
                </c:pt>
                <c:pt idx="3545">
                  <c:v>#N/A</c:v>
                </c:pt>
                <c:pt idx="3546">
                  <c:v>#N/A</c:v>
                </c:pt>
                <c:pt idx="3547">
                  <c:v>#N/A</c:v>
                </c:pt>
                <c:pt idx="3548">
                  <c:v>#N/A</c:v>
                </c:pt>
                <c:pt idx="3549">
                  <c:v>#N/A</c:v>
                </c:pt>
                <c:pt idx="3550">
                  <c:v>#N/A</c:v>
                </c:pt>
                <c:pt idx="3551">
                  <c:v>#N/A</c:v>
                </c:pt>
                <c:pt idx="3552">
                  <c:v>#N/A</c:v>
                </c:pt>
                <c:pt idx="3553">
                  <c:v>#N/A</c:v>
                </c:pt>
                <c:pt idx="3554">
                  <c:v>#N/A</c:v>
                </c:pt>
                <c:pt idx="3555">
                  <c:v>#N/A</c:v>
                </c:pt>
                <c:pt idx="3556">
                  <c:v>#N/A</c:v>
                </c:pt>
                <c:pt idx="3557">
                  <c:v>#N/A</c:v>
                </c:pt>
                <c:pt idx="3558">
                  <c:v>#N/A</c:v>
                </c:pt>
                <c:pt idx="3559">
                  <c:v>#N/A</c:v>
                </c:pt>
                <c:pt idx="3560">
                  <c:v>#N/A</c:v>
                </c:pt>
                <c:pt idx="3561">
                  <c:v>#N/A</c:v>
                </c:pt>
                <c:pt idx="3562">
                  <c:v>#N/A</c:v>
                </c:pt>
                <c:pt idx="3563">
                  <c:v>#N/A</c:v>
                </c:pt>
                <c:pt idx="3564">
                  <c:v>#N/A</c:v>
                </c:pt>
                <c:pt idx="3565">
                  <c:v>#N/A</c:v>
                </c:pt>
                <c:pt idx="3566">
                  <c:v>#N/A</c:v>
                </c:pt>
                <c:pt idx="3567">
                  <c:v>#N/A</c:v>
                </c:pt>
                <c:pt idx="3568">
                  <c:v>#N/A</c:v>
                </c:pt>
                <c:pt idx="3569">
                  <c:v>#N/A</c:v>
                </c:pt>
                <c:pt idx="3570">
                  <c:v>#N/A</c:v>
                </c:pt>
                <c:pt idx="3571">
                  <c:v>#N/A</c:v>
                </c:pt>
                <c:pt idx="3572">
                  <c:v>#N/A</c:v>
                </c:pt>
                <c:pt idx="3573">
                  <c:v>#N/A</c:v>
                </c:pt>
                <c:pt idx="3574">
                  <c:v>#N/A</c:v>
                </c:pt>
                <c:pt idx="3575">
                  <c:v>#N/A</c:v>
                </c:pt>
                <c:pt idx="3576">
                  <c:v>#N/A</c:v>
                </c:pt>
                <c:pt idx="3577">
                  <c:v>#N/A</c:v>
                </c:pt>
                <c:pt idx="3578">
                  <c:v>#N/A</c:v>
                </c:pt>
                <c:pt idx="3579">
                  <c:v>#N/A</c:v>
                </c:pt>
                <c:pt idx="3580">
                  <c:v>#N/A</c:v>
                </c:pt>
                <c:pt idx="3581">
                  <c:v>#N/A</c:v>
                </c:pt>
                <c:pt idx="3582">
                  <c:v>#N/A</c:v>
                </c:pt>
                <c:pt idx="3583">
                  <c:v>#N/A</c:v>
                </c:pt>
                <c:pt idx="3584">
                  <c:v>#N/A</c:v>
                </c:pt>
                <c:pt idx="3585">
                  <c:v>#N/A</c:v>
                </c:pt>
                <c:pt idx="3586">
                  <c:v>#N/A</c:v>
                </c:pt>
                <c:pt idx="3587">
                  <c:v>#N/A</c:v>
                </c:pt>
                <c:pt idx="3588">
                  <c:v>#N/A</c:v>
                </c:pt>
                <c:pt idx="3589">
                  <c:v>#N/A</c:v>
                </c:pt>
                <c:pt idx="3590">
                  <c:v>#N/A</c:v>
                </c:pt>
                <c:pt idx="3591">
                  <c:v>#N/A</c:v>
                </c:pt>
                <c:pt idx="3592">
                  <c:v>#N/A</c:v>
                </c:pt>
                <c:pt idx="3593">
                  <c:v>#N/A</c:v>
                </c:pt>
                <c:pt idx="3594">
                  <c:v>#N/A</c:v>
                </c:pt>
                <c:pt idx="3595">
                  <c:v>#N/A</c:v>
                </c:pt>
                <c:pt idx="3596">
                  <c:v>#N/A</c:v>
                </c:pt>
                <c:pt idx="3597">
                  <c:v>#N/A</c:v>
                </c:pt>
                <c:pt idx="3598">
                  <c:v>#N/A</c:v>
                </c:pt>
                <c:pt idx="3599">
                  <c:v>#N/A</c:v>
                </c:pt>
                <c:pt idx="3600">
                  <c:v>#N/A</c:v>
                </c:pt>
                <c:pt idx="3601">
                  <c:v>#N/A</c:v>
                </c:pt>
                <c:pt idx="3602">
                  <c:v>#N/A</c:v>
                </c:pt>
                <c:pt idx="3603">
                  <c:v>#N/A</c:v>
                </c:pt>
                <c:pt idx="3604">
                  <c:v>#N/A</c:v>
                </c:pt>
                <c:pt idx="3605">
                  <c:v>#N/A</c:v>
                </c:pt>
                <c:pt idx="3606">
                  <c:v>#N/A</c:v>
                </c:pt>
                <c:pt idx="3607">
                  <c:v>#N/A</c:v>
                </c:pt>
                <c:pt idx="3608">
                  <c:v>#N/A</c:v>
                </c:pt>
                <c:pt idx="3609">
                  <c:v>#N/A</c:v>
                </c:pt>
                <c:pt idx="3610">
                  <c:v>#N/A</c:v>
                </c:pt>
                <c:pt idx="3611">
                  <c:v>#N/A</c:v>
                </c:pt>
                <c:pt idx="3612">
                  <c:v>#N/A</c:v>
                </c:pt>
                <c:pt idx="3613">
                  <c:v>#N/A</c:v>
                </c:pt>
                <c:pt idx="3614">
                  <c:v>#N/A</c:v>
                </c:pt>
                <c:pt idx="3615">
                  <c:v>#N/A</c:v>
                </c:pt>
                <c:pt idx="3616">
                  <c:v>#N/A</c:v>
                </c:pt>
                <c:pt idx="3617">
                  <c:v>#N/A</c:v>
                </c:pt>
                <c:pt idx="3618">
                  <c:v>#N/A</c:v>
                </c:pt>
                <c:pt idx="3619">
                  <c:v>#N/A</c:v>
                </c:pt>
                <c:pt idx="3620">
                  <c:v>#N/A</c:v>
                </c:pt>
                <c:pt idx="3621">
                  <c:v>#N/A</c:v>
                </c:pt>
                <c:pt idx="3622">
                  <c:v>#N/A</c:v>
                </c:pt>
                <c:pt idx="3623">
                  <c:v>#N/A</c:v>
                </c:pt>
                <c:pt idx="3624">
                  <c:v>#N/A</c:v>
                </c:pt>
                <c:pt idx="3625">
                  <c:v>#N/A</c:v>
                </c:pt>
                <c:pt idx="3626">
                  <c:v>#N/A</c:v>
                </c:pt>
                <c:pt idx="3627">
                  <c:v>#N/A</c:v>
                </c:pt>
                <c:pt idx="3628">
                  <c:v>#N/A</c:v>
                </c:pt>
                <c:pt idx="3629">
                  <c:v>#N/A</c:v>
                </c:pt>
                <c:pt idx="3630">
                  <c:v>#N/A</c:v>
                </c:pt>
                <c:pt idx="3631">
                  <c:v>#N/A</c:v>
                </c:pt>
                <c:pt idx="3632">
                  <c:v>#N/A</c:v>
                </c:pt>
                <c:pt idx="3633">
                  <c:v>#N/A</c:v>
                </c:pt>
                <c:pt idx="3634">
                  <c:v>#N/A</c:v>
                </c:pt>
                <c:pt idx="3635">
                  <c:v>#N/A</c:v>
                </c:pt>
                <c:pt idx="3636">
                  <c:v>#N/A</c:v>
                </c:pt>
                <c:pt idx="3637">
                  <c:v>#N/A</c:v>
                </c:pt>
                <c:pt idx="3638">
                  <c:v>#N/A</c:v>
                </c:pt>
                <c:pt idx="3639">
                  <c:v>#N/A</c:v>
                </c:pt>
                <c:pt idx="3640">
                  <c:v>#N/A</c:v>
                </c:pt>
                <c:pt idx="3641">
                  <c:v>#N/A</c:v>
                </c:pt>
                <c:pt idx="3642">
                  <c:v>#N/A</c:v>
                </c:pt>
                <c:pt idx="3643">
                  <c:v>#N/A</c:v>
                </c:pt>
                <c:pt idx="3644">
                  <c:v>#N/A</c:v>
                </c:pt>
                <c:pt idx="3645">
                  <c:v>#N/A</c:v>
                </c:pt>
                <c:pt idx="3646">
                  <c:v>#N/A</c:v>
                </c:pt>
                <c:pt idx="3647">
                  <c:v>#N/A</c:v>
                </c:pt>
                <c:pt idx="3648">
                  <c:v>#N/A</c:v>
                </c:pt>
                <c:pt idx="3649">
                  <c:v>#N/A</c:v>
                </c:pt>
                <c:pt idx="3650">
                  <c:v>#N/A</c:v>
                </c:pt>
                <c:pt idx="3651">
                  <c:v>#N/A</c:v>
                </c:pt>
                <c:pt idx="3652">
                  <c:v>#N/A</c:v>
                </c:pt>
                <c:pt idx="3653">
                  <c:v>#N/A</c:v>
                </c:pt>
                <c:pt idx="3654">
                  <c:v>#N/A</c:v>
                </c:pt>
                <c:pt idx="3655">
                  <c:v>#N/A</c:v>
                </c:pt>
                <c:pt idx="3656">
                  <c:v>#N/A</c:v>
                </c:pt>
                <c:pt idx="3657">
                  <c:v>#N/A</c:v>
                </c:pt>
                <c:pt idx="3658">
                  <c:v>#N/A</c:v>
                </c:pt>
                <c:pt idx="3659">
                  <c:v>#N/A</c:v>
                </c:pt>
                <c:pt idx="3660">
                  <c:v>#N/A</c:v>
                </c:pt>
                <c:pt idx="3661">
                  <c:v>#N/A</c:v>
                </c:pt>
                <c:pt idx="3662">
                  <c:v>#N/A</c:v>
                </c:pt>
                <c:pt idx="3663">
                  <c:v>#N/A</c:v>
                </c:pt>
                <c:pt idx="3664">
                  <c:v>#N/A</c:v>
                </c:pt>
                <c:pt idx="3665">
                  <c:v>#N/A</c:v>
                </c:pt>
                <c:pt idx="3666">
                  <c:v>#N/A</c:v>
                </c:pt>
                <c:pt idx="3667">
                  <c:v>#N/A</c:v>
                </c:pt>
                <c:pt idx="3668">
                  <c:v>#N/A</c:v>
                </c:pt>
                <c:pt idx="3669">
                  <c:v>#N/A</c:v>
                </c:pt>
                <c:pt idx="3670">
                  <c:v>#N/A</c:v>
                </c:pt>
                <c:pt idx="3671">
                  <c:v>#N/A</c:v>
                </c:pt>
                <c:pt idx="3672">
                  <c:v>#N/A</c:v>
                </c:pt>
                <c:pt idx="3673">
                  <c:v>#N/A</c:v>
                </c:pt>
                <c:pt idx="3674">
                  <c:v>#N/A</c:v>
                </c:pt>
                <c:pt idx="3675">
                  <c:v>#N/A</c:v>
                </c:pt>
                <c:pt idx="3676">
                  <c:v>#N/A</c:v>
                </c:pt>
                <c:pt idx="3677">
                  <c:v>#N/A</c:v>
                </c:pt>
                <c:pt idx="3678">
                  <c:v>#N/A</c:v>
                </c:pt>
                <c:pt idx="3679">
                  <c:v>#N/A</c:v>
                </c:pt>
                <c:pt idx="3680">
                  <c:v>#N/A</c:v>
                </c:pt>
                <c:pt idx="3681">
                  <c:v>#N/A</c:v>
                </c:pt>
                <c:pt idx="3682">
                  <c:v>#N/A</c:v>
                </c:pt>
                <c:pt idx="3683">
                  <c:v>#N/A</c:v>
                </c:pt>
                <c:pt idx="3684">
                  <c:v>#N/A</c:v>
                </c:pt>
                <c:pt idx="3685">
                  <c:v>#N/A</c:v>
                </c:pt>
                <c:pt idx="3686">
                  <c:v>#N/A</c:v>
                </c:pt>
                <c:pt idx="3687">
                  <c:v>#N/A</c:v>
                </c:pt>
                <c:pt idx="3688">
                  <c:v>#N/A</c:v>
                </c:pt>
                <c:pt idx="3689">
                  <c:v>#N/A</c:v>
                </c:pt>
                <c:pt idx="3690">
                  <c:v>#N/A</c:v>
                </c:pt>
                <c:pt idx="3691">
                  <c:v>#N/A</c:v>
                </c:pt>
                <c:pt idx="3692">
                  <c:v>#N/A</c:v>
                </c:pt>
                <c:pt idx="3693">
                  <c:v>#N/A</c:v>
                </c:pt>
                <c:pt idx="3694">
                  <c:v>#N/A</c:v>
                </c:pt>
                <c:pt idx="3695">
                  <c:v>#N/A</c:v>
                </c:pt>
                <c:pt idx="3696">
                  <c:v>#N/A</c:v>
                </c:pt>
                <c:pt idx="3697">
                  <c:v>#N/A</c:v>
                </c:pt>
                <c:pt idx="3698">
                  <c:v>#N/A</c:v>
                </c:pt>
                <c:pt idx="3699">
                  <c:v>#N/A</c:v>
                </c:pt>
                <c:pt idx="3700">
                  <c:v>#N/A</c:v>
                </c:pt>
                <c:pt idx="3701">
                  <c:v>#N/A</c:v>
                </c:pt>
                <c:pt idx="3702">
                  <c:v>#N/A</c:v>
                </c:pt>
                <c:pt idx="3703">
                  <c:v>#N/A</c:v>
                </c:pt>
                <c:pt idx="3704">
                  <c:v>#N/A</c:v>
                </c:pt>
                <c:pt idx="3705">
                  <c:v>#N/A</c:v>
                </c:pt>
                <c:pt idx="3706">
                  <c:v>#N/A</c:v>
                </c:pt>
                <c:pt idx="3707">
                  <c:v>#N/A</c:v>
                </c:pt>
                <c:pt idx="3708">
                  <c:v>#N/A</c:v>
                </c:pt>
                <c:pt idx="3709">
                  <c:v>#N/A</c:v>
                </c:pt>
                <c:pt idx="3710">
                  <c:v>#N/A</c:v>
                </c:pt>
                <c:pt idx="3711">
                  <c:v>#N/A</c:v>
                </c:pt>
                <c:pt idx="3712">
                  <c:v>#N/A</c:v>
                </c:pt>
                <c:pt idx="3713">
                  <c:v>#N/A</c:v>
                </c:pt>
                <c:pt idx="3714">
                  <c:v>#N/A</c:v>
                </c:pt>
                <c:pt idx="3715">
                  <c:v>#N/A</c:v>
                </c:pt>
                <c:pt idx="3716">
                  <c:v>#N/A</c:v>
                </c:pt>
                <c:pt idx="3717">
                  <c:v>#N/A</c:v>
                </c:pt>
                <c:pt idx="3718">
                  <c:v>#N/A</c:v>
                </c:pt>
                <c:pt idx="3719">
                  <c:v>#N/A</c:v>
                </c:pt>
                <c:pt idx="3720">
                  <c:v>#N/A</c:v>
                </c:pt>
                <c:pt idx="3721">
                  <c:v>#N/A</c:v>
                </c:pt>
                <c:pt idx="3722">
                  <c:v>#N/A</c:v>
                </c:pt>
                <c:pt idx="3723">
                  <c:v>#N/A</c:v>
                </c:pt>
                <c:pt idx="3724">
                  <c:v>#N/A</c:v>
                </c:pt>
                <c:pt idx="3725">
                  <c:v>#N/A</c:v>
                </c:pt>
                <c:pt idx="3726">
                  <c:v>#N/A</c:v>
                </c:pt>
                <c:pt idx="3727">
                  <c:v>#N/A</c:v>
                </c:pt>
                <c:pt idx="3728">
                  <c:v>#N/A</c:v>
                </c:pt>
                <c:pt idx="3729">
                  <c:v>#N/A</c:v>
                </c:pt>
                <c:pt idx="3730">
                  <c:v>#N/A</c:v>
                </c:pt>
                <c:pt idx="3731">
                  <c:v>#N/A</c:v>
                </c:pt>
                <c:pt idx="3732">
                  <c:v>#N/A</c:v>
                </c:pt>
                <c:pt idx="3733">
                  <c:v>#N/A</c:v>
                </c:pt>
                <c:pt idx="3734">
                  <c:v>#N/A</c:v>
                </c:pt>
                <c:pt idx="3735">
                  <c:v>#N/A</c:v>
                </c:pt>
                <c:pt idx="3736">
                  <c:v>#N/A</c:v>
                </c:pt>
                <c:pt idx="3737">
                  <c:v>#N/A</c:v>
                </c:pt>
                <c:pt idx="3738">
                  <c:v>#N/A</c:v>
                </c:pt>
                <c:pt idx="3739">
                  <c:v>#N/A</c:v>
                </c:pt>
                <c:pt idx="3740">
                  <c:v>#N/A</c:v>
                </c:pt>
                <c:pt idx="3741">
                  <c:v>#N/A</c:v>
                </c:pt>
                <c:pt idx="3742">
                  <c:v>#N/A</c:v>
                </c:pt>
                <c:pt idx="3743">
                  <c:v>#N/A</c:v>
                </c:pt>
                <c:pt idx="3744">
                  <c:v>#N/A</c:v>
                </c:pt>
                <c:pt idx="3745">
                  <c:v>#N/A</c:v>
                </c:pt>
                <c:pt idx="3746">
                  <c:v>#N/A</c:v>
                </c:pt>
                <c:pt idx="3747">
                  <c:v>#N/A</c:v>
                </c:pt>
                <c:pt idx="3748">
                  <c:v>#N/A</c:v>
                </c:pt>
                <c:pt idx="3749">
                  <c:v>#N/A</c:v>
                </c:pt>
                <c:pt idx="3750">
                  <c:v>#N/A</c:v>
                </c:pt>
                <c:pt idx="3751">
                  <c:v>#N/A</c:v>
                </c:pt>
                <c:pt idx="3752">
                  <c:v>#N/A</c:v>
                </c:pt>
                <c:pt idx="3753">
                  <c:v>#N/A</c:v>
                </c:pt>
                <c:pt idx="3754">
                  <c:v>#N/A</c:v>
                </c:pt>
                <c:pt idx="3755">
                  <c:v>#N/A</c:v>
                </c:pt>
                <c:pt idx="3756">
                  <c:v>#N/A</c:v>
                </c:pt>
                <c:pt idx="3757">
                  <c:v>#N/A</c:v>
                </c:pt>
                <c:pt idx="3758">
                  <c:v>#N/A</c:v>
                </c:pt>
                <c:pt idx="3759">
                  <c:v>#N/A</c:v>
                </c:pt>
                <c:pt idx="3760">
                  <c:v>#N/A</c:v>
                </c:pt>
                <c:pt idx="3761">
                  <c:v>#N/A</c:v>
                </c:pt>
                <c:pt idx="3762">
                  <c:v>#N/A</c:v>
                </c:pt>
                <c:pt idx="3763">
                  <c:v>#N/A</c:v>
                </c:pt>
                <c:pt idx="3764">
                  <c:v>#N/A</c:v>
                </c:pt>
                <c:pt idx="3765">
                  <c:v>#N/A</c:v>
                </c:pt>
                <c:pt idx="3766">
                  <c:v>#N/A</c:v>
                </c:pt>
                <c:pt idx="3767">
                  <c:v>#N/A</c:v>
                </c:pt>
                <c:pt idx="3768">
                  <c:v>#N/A</c:v>
                </c:pt>
                <c:pt idx="3769">
                  <c:v>#N/A</c:v>
                </c:pt>
                <c:pt idx="3770">
                  <c:v>#N/A</c:v>
                </c:pt>
                <c:pt idx="3771">
                  <c:v>#N/A</c:v>
                </c:pt>
                <c:pt idx="3772">
                  <c:v>#N/A</c:v>
                </c:pt>
                <c:pt idx="3773">
                  <c:v>#N/A</c:v>
                </c:pt>
                <c:pt idx="3774">
                  <c:v>#N/A</c:v>
                </c:pt>
                <c:pt idx="3775">
                  <c:v>#N/A</c:v>
                </c:pt>
                <c:pt idx="3776">
                  <c:v>#N/A</c:v>
                </c:pt>
                <c:pt idx="3777">
                  <c:v>#N/A</c:v>
                </c:pt>
                <c:pt idx="3778">
                  <c:v>#N/A</c:v>
                </c:pt>
                <c:pt idx="3779">
                  <c:v>#N/A</c:v>
                </c:pt>
                <c:pt idx="3780">
                  <c:v>#N/A</c:v>
                </c:pt>
                <c:pt idx="3781">
                  <c:v>#N/A</c:v>
                </c:pt>
                <c:pt idx="3782">
                  <c:v>#N/A</c:v>
                </c:pt>
                <c:pt idx="3783">
                  <c:v>#N/A</c:v>
                </c:pt>
                <c:pt idx="3784">
                  <c:v>#N/A</c:v>
                </c:pt>
                <c:pt idx="3785">
                  <c:v>#N/A</c:v>
                </c:pt>
                <c:pt idx="3786">
                  <c:v>#N/A</c:v>
                </c:pt>
                <c:pt idx="3787">
                  <c:v>#N/A</c:v>
                </c:pt>
                <c:pt idx="3788">
                  <c:v>#N/A</c:v>
                </c:pt>
                <c:pt idx="3789">
                  <c:v>#N/A</c:v>
                </c:pt>
                <c:pt idx="3790">
                  <c:v>#N/A</c:v>
                </c:pt>
                <c:pt idx="3791">
                  <c:v>#N/A</c:v>
                </c:pt>
                <c:pt idx="3792">
                  <c:v>#N/A</c:v>
                </c:pt>
                <c:pt idx="3793">
                  <c:v>#N/A</c:v>
                </c:pt>
                <c:pt idx="3794">
                  <c:v>#N/A</c:v>
                </c:pt>
                <c:pt idx="3795">
                  <c:v>#N/A</c:v>
                </c:pt>
                <c:pt idx="3796">
                  <c:v>#N/A</c:v>
                </c:pt>
                <c:pt idx="3797">
                  <c:v>#N/A</c:v>
                </c:pt>
                <c:pt idx="3798">
                  <c:v>#N/A</c:v>
                </c:pt>
                <c:pt idx="3799">
                  <c:v>#N/A</c:v>
                </c:pt>
                <c:pt idx="3800">
                  <c:v>#N/A</c:v>
                </c:pt>
                <c:pt idx="3801">
                  <c:v>#N/A</c:v>
                </c:pt>
                <c:pt idx="3802">
                  <c:v>#N/A</c:v>
                </c:pt>
                <c:pt idx="3803">
                  <c:v>#N/A</c:v>
                </c:pt>
                <c:pt idx="3804">
                  <c:v>#N/A</c:v>
                </c:pt>
                <c:pt idx="3805">
                  <c:v>#N/A</c:v>
                </c:pt>
                <c:pt idx="3806">
                  <c:v>#N/A</c:v>
                </c:pt>
                <c:pt idx="3807">
                  <c:v>#N/A</c:v>
                </c:pt>
                <c:pt idx="3808">
                  <c:v>#N/A</c:v>
                </c:pt>
                <c:pt idx="3809">
                  <c:v>#N/A</c:v>
                </c:pt>
                <c:pt idx="3810">
                  <c:v>#N/A</c:v>
                </c:pt>
                <c:pt idx="3811">
                  <c:v>#N/A</c:v>
                </c:pt>
                <c:pt idx="3812">
                  <c:v>#N/A</c:v>
                </c:pt>
                <c:pt idx="3813">
                  <c:v>#N/A</c:v>
                </c:pt>
                <c:pt idx="3814">
                  <c:v>#N/A</c:v>
                </c:pt>
                <c:pt idx="3815">
                  <c:v>#N/A</c:v>
                </c:pt>
                <c:pt idx="3816">
                  <c:v>#N/A</c:v>
                </c:pt>
                <c:pt idx="3817">
                  <c:v>#N/A</c:v>
                </c:pt>
                <c:pt idx="3818">
                  <c:v>#N/A</c:v>
                </c:pt>
                <c:pt idx="3819">
                  <c:v>#N/A</c:v>
                </c:pt>
                <c:pt idx="3820">
                  <c:v>#N/A</c:v>
                </c:pt>
                <c:pt idx="3821">
                  <c:v>#N/A</c:v>
                </c:pt>
                <c:pt idx="3822">
                  <c:v>#N/A</c:v>
                </c:pt>
                <c:pt idx="3823">
                  <c:v>#N/A</c:v>
                </c:pt>
                <c:pt idx="3824">
                  <c:v>#N/A</c:v>
                </c:pt>
                <c:pt idx="3825">
                  <c:v>#N/A</c:v>
                </c:pt>
                <c:pt idx="3826">
                  <c:v>#N/A</c:v>
                </c:pt>
                <c:pt idx="3827">
                  <c:v>#N/A</c:v>
                </c:pt>
                <c:pt idx="3828">
                  <c:v>#N/A</c:v>
                </c:pt>
                <c:pt idx="3829">
                  <c:v>#N/A</c:v>
                </c:pt>
                <c:pt idx="3830">
                  <c:v>#N/A</c:v>
                </c:pt>
                <c:pt idx="3831">
                  <c:v>#N/A</c:v>
                </c:pt>
                <c:pt idx="3832">
                  <c:v>#N/A</c:v>
                </c:pt>
                <c:pt idx="3833">
                  <c:v>#N/A</c:v>
                </c:pt>
                <c:pt idx="3834">
                  <c:v>#N/A</c:v>
                </c:pt>
                <c:pt idx="3835">
                  <c:v>#N/A</c:v>
                </c:pt>
                <c:pt idx="3836">
                  <c:v>#N/A</c:v>
                </c:pt>
                <c:pt idx="3837">
                  <c:v>#N/A</c:v>
                </c:pt>
                <c:pt idx="3838">
                  <c:v>#N/A</c:v>
                </c:pt>
                <c:pt idx="3839">
                  <c:v>#N/A</c:v>
                </c:pt>
                <c:pt idx="3840">
                  <c:v>#N/A</c:v>
                </c:pt>
                <c:pt idx="3841">
                  <c:v>#N/A</c:v>
                </c:pt>
                <c:pt idx="3842">
                  <c:v>#N/A</c:v>
                </c:pt>
                <c:pt idx="3843">
                  <c:v>#N/A</c:v>
                </c:pt>
                <c:pt idx="3844">
                  <c:v>#N/A</c:v>
                </c:pt>
                <c:pt idx="3845">
                  <c:v>#N/A</c:v>
                </c:pt>
                <c:pt idx="3846">
                  <c:v>#N/A</c:v>
                </c:pt>
                <c:pt idx="3847">
                  <c:v>#N/A</c:v>
                </c:pt>
                <c:pt idx="3848">
                  <c:v>#N/A</c:v>
                </c:pt>
                <c:pt idx="3849">
                  <c:v>#N/A</c:v>
                </c:pt>
                <c:pt idx="3850">
                  <c:v>#N/A</c:v>
                </c:pt>
                <c:pt idx="3851">
                  <c:v>#N/A</c:v>
                </c:pt>
                <c:pt idx="3852">
                  <c:v>#N/A</c:v>
                </c:pt>
                <c:pt idx="3853">
                  <c:v>#N/A</c:v>
                </c:pt>
                <c:pt idx="3854">
                  <c:v>#N/A</c:v>
                </c:pt>
                <c:pt idx="3855">
                  <c:v>#N/A</c:v>
                </c:pt>
                <c:pt idx="3856">
                  <c:v>#N/A</c:v>
                </c:pt>
                <c:pt idx="3857">
                  <c:v>#N/A</c:v>
                </c:pt>
                <c:pt idx="3858">
                  <c:v>#N/A</c:v>
                </c:pt>
                <c:pt idx="3859">
                  <c:v>#N/A</c:v>
                </c:pt>
                <c:pt idx="3860">
                  <c:v>#N/A</c:v>
                </c:pt>
                <c:pt idx="3861">
                  <c:v>#N/A</c:v>
                </c:pt>
                <c:pt idx="3862">
                  <c:v>#N/A</c:v>
                </c:pt>
                <c:pt idx="3863">
                  <c:v>#N/A</c:v>
                </c:pt>
                <c:pt idx="3864">
                  <c:v>#N/A</c:v>
                </c:pt>
                <c:pt idx="3865">
                  <c:v>#N/A</c:v>
                </c:pt>
                <c:pt idx="3866">
                  <c:v>#N/A</c:v>
                </c:pt>
                <c:pt idx="3867">
                  <c:v>#N/A</c:v>
                </c:pt>
                <c:pt idx="3868">
                  <c:v>#N/A</c:v>
                </c:pt>
                <c:pt idx="3869">
                  <c:v>#N/A</c:v>
                </c:pt>
                <c:pt idx="3870">
                  <c:v>#N/A</c:v>
                </c:pt>
                <c:pt idx="3871">
                  <c:v>#N/A</c:v>
                </c:pt>
                <c:pt idx="3872">
                  <c:v>#N/A</c:v>
                </c:pt>
                <c:pt idx="3873">
                  <c:v>#N/A</c:v>
                </c:pt>
                <c:pt idx="3874">
                  <c:v>#N/A</c:v>
                </c:pt>
                <c:pt idx="3875">
                  <c:v>#N/A</c:v>
                </c:pt>
                <c:pt idx="3876">
                  <c:v>#N/A</c:v>
                </c:pt>
                <c:pt idx="3877">
                  <c:v>#N/A</c:v>
                </c:pt>
                <c:pt idx="3878">
                  <c:v>#N/A</c:v>
                </c:pt>
                <c:pt idx="3879">
                  <c:v>#N/A</c:v>
                </c:pt>
                <c:pt idx="3880">
                  <c:v>#N/A</c:v>
                </c:pt>
                <c:pt idx="3881">
                  <c:v>#N/A</c:v>
                </c:pt>
                <c:pt idx="3882">
                  <c:v>#N/A</c:v>
                </c:pt>
                <c:pt idx="3883">
                  <c:v>#N/A</c:v>
                </c:pt>
                <c:pt idx="3884">
                  <c:v>#N/A</c:v>
                </c:pt>
                <c:pt idx="3885">
                  <c:v>#N/A</c:v>
                </c:pt>
                <c:pt idx="3886">
                  <c:v>#N/A</c:v>
                </c:pt>
                <c:pt idx="3887">
                  <c:v>#N/A</c:v>
                </c:pt>
                <c:pt idx="3888">
                  <c:v>#N/A</c:v>
                </c:pt>
                <c:pt idx="3889">
                  <c:v>#N/A</c:v>
                </c:pt>
                <c:pt idx="3890">
                  <c:v>#N/A</c:v>
                </c:pt>
                <c:pt idx="3891">
                  <c:v>#N/A</c:v>
                </c:pt>
                <c:pt idx="3892">
                  <c:v>#N/A</c:v>
                </c:pt>
                <c:pt idx="3893">
                  <c:v>#N/A</c:v>
                </c:pt>
                <c:pt idx="3894">
                  <c:v>#N/A</c:v>
                </c:pt>
                <c:pt idx="3895">
                  <c:v>#N/A</c:v>
                </c:pt>
                <c:pt idx="3896">
                  <c:v>#N/A</c:v>
                </c:pt>
                <c:pt idx="3897">
                  <c:v>#N/A</c:v>
                </c:pt>
                <c:pt idx="3898">
                  <c:v>#N/A</c:v>
                </c:pt>
                <c:pt idx="3899">
                  <c:v>#N/A</c:v>
                </c:pt>
                <c:pt idx="3900">
                  <c:v>#N/A</c:v>
                </c:pt>
                <c:pt idx="3901">
                  <c:v>#N/A</c:v>
                </c:pt>
                <c:pt idx="3902">
                  <c:v>#N/A</c:v>
                </c:pt>
                <c:pt idx="3903">
                  <c:v>#N/A</c:v>
                </c:pt>
                <c:pt idx="3904">
                  <c:v>#N/A</c:v>
                </c:pt>
                <c:pt idx="3905">
                  <c:v>#N/A</c:v>
                </c:pt>
                <c:pt idx="3906">
                  <c:v>#N/A</c:v>
                </c:pt>
                <c:pt idx="3907">
                  <c:v>#N/A</c:v>
                </c:pt>
                <c:pt idx="3908">
                  <c:v>#N/A</c:v>
                </c:pt>
                <c:pt idx="3909">
                  <c:v>#N/A</c:v>
                </c:pt>
                <c:pt idx="3910">
                  <c:v>#N/A</c:v>
                </c:pt>
                <c:pt idx="3911">
                  <c:v>#N/A</c:v>
                </c:pt>
                <c:pt idx="3912">
                  <c:v>#N/A</c:v>
                </c:pt>
                <c:pt idx="3913">
                  <c:v>#N/A</c:v>
                </c:pt>
                <c:pt idx="3914">
                  <c:v>#N/A</c:v>
                </c:pt>
                <c:pt idx="3915">
                  <c:v>#N/A</c:v>
                </c:pt>
                <c:pt idx="3916">
                  <c:v>#N/A</c:v>
                </c:pt>
                <c:pt idx="3917">
                  <c:v>#N/A</c:v>
                </c:pt>
                <c:pt idx="3918">
                  <c:v>#N/A</c:v>
                </c:pt>
                <c:pt idx="3919">
                  <c:v>#N/A</c:v>
                </c:pt>
                <c:pt idx="3920">
                  <c:v>#N/A</c:v>
                </c:pt>
                <c:pt idx="3921">
                  <c:v>#N/A</c:v>
                </c:pt>
                <c:pt idx="3922">
                  <c:v>#N/A</c:v>
                </c:pt>
                <c:pt idx="3923">
                  <c:v>#N/A</c:v>
                </c:pt>
                <c:pt idx="3924">
                  <c:v>#N/A</c:v>
                </c:pt>
                <c:pt idx="3925">
                  <c:v>#N/A</c:v>
                </c:pt>
                <c:pt idx="3926">
                  <c:v>#N/A</c:v>
                </c:pt>
                <c:pt idx="3927">
                  <c:v>#N/A</c:v>
                </c:pt>
                <c:pt idx="3928">
                  <c:v>#N/A</c:v>
                </c:pt>
                <c:pt idx="3929">
                  <c:v>#N/A</c:v>
                </c:pt>
                <c:pt idx="3930">
                  <c:v>#N/A</c:v>
                </c:pt>
                <c:pt idx="3931">
                  <c:v>#N/A</c:v>
                </c:pt>
                <c:pt idx="3932">
                  <c:v>#N/A</c:v>
                </c:pt>
                <c:pt idx="3933">
                  <c:v>#N/A</c:v>
                </c:pt>
                <c:pt idx="3934">
                  <c:v>#N/A</c:v>
                </c:pt>
                <c:pt idx="3935">
                  <c:v>#N/A</c:v>
                </c:pt>
                <c:pt idx="3936">
                  <c:v>#N/A</c:v>
                </c:pt>
                <c:pt idx="3937">
                  <c:v>#N/A</c:v>
                </c:pt>
                <c:pt idx="3938">
                  <c:v>#N/A</c:v>
                </c:pt>
                <c:pt idx="3939">
                  <c:v>#N/A</c:v>
                </c:pt>
                <c:pt idx="3940">
                  <c:v>#N/A</c:v>
                </c:pt>
                <c:pt idx="3941">
                  <c:v>#N/A</c:v>
                </c:pt>
                <c:pt idx="3942">
                  <c:v>#N/A</c:v>
                </c:pt>
                <c:pt idx="3943">
                  <c:v>#N/A</c:v>
                </c:pt>
                <c:pt idx="3944">
                  <c:v>#N/A</c:v>
                </c:pt>
                <c:pt idx="3945">
                  <c:v>#N/A</c:v>
                </c:pt>
                <c:pt idx="3946">
                  <c:v>#N/A</c:v>
                </c:pt>
                <c:pt idx="3947">
                  <c:v>#N/A</c:v>
                </c:pt>
                <c:pt idx="3948">
                  <c:v>#N/A</c:v>
                </c:pt>
                <c:pt idx="3949">
                  <c:v>#N/A</c:v>
                </c:pt>
                <c:pt idx="3950">
                  <c:v>#N/A</c:v>
                </c:pt>
                <c:pt idx="3951">
                  <c:v>#N/A</c:v>
                </c:pt>
                <c:pt idx="3952">
                  <c:v>#N/A</c:v>
                </c:pt>
                <c:pt idx="3953">
                  <c:v>#N/A</c:v>
                </c:pt>
                <c:pt idx="3954">
                  <c:v>#N/A</c:v>
                </c:pt>
                <c:pt idx="3955">
                  <c:v>#N/A</c:v>
                </c:pt>
                <c:pt idx="3956">
                  <c:v>#N/A</c:v>
                </c:pt>
                <c:pt idx="3957">
                  <c:v>#N/A</c:v>
                </c:pt>
                <c:pt idx="3958">
                  <c:v>#N/A</c:v>
                </c:pt>
                <c:pt idx="3959">
                  <c:v>#N/A</c:v>
                </c:pt>
                <c:pt idx="3960">
                  <c:v>#N/A</c:v>
                </c:pt>
                <c:pt idx="3961">
                  <c:v>#N/A</c:v>
                </c:pt>
                <c:pt idx="3962">
                  <c:v>#N/A</c:v>
                </c:pt>
                <c:pt idx="3963">
                  <c:v>#N/A</c:v>
                </c:pt>
                <c:pt idx="3964">
                  <c:v>#N/A</c:v>
                </c:pt>
                <c:pt idx="3965">
                  <c:v>#N/A</c:v>
                </c:pt>
                <c:pt idx="3966">
                  <c:v>#N/A</c:v>
                </c:pt>
                <c:pt idx="3967">
                  <c:v>#N/A</c:v>
                </c:pt>
                <c:pt idx="3968">
                  <c:v>#N/A</c:v>
                </c:pt>
                <c:pt idx="3969">
                  <c:v>#N/A</c:v>
                </c:pt>
                <c:pt idx="3970">
                  <c:v>#N/A</c:v>
                </c:pt>
                <c:pt idx="3971">
                  <c:v>#N/A</c:v>
                </c:pt>
                <c:pt idx="3972">
                  <c:v>#N/A</c:v>
                </c:pt>
                <c:pt idx="3973">
                  <c:v>#N/A</c:v>
                </c:pt>
                <c:pt idx="3974">
                  <c:v>#N/A</c:v>
                </c:pt>
                <c:pt idx="3975">
                  <c:v>#N/A</c:v>
                </c:pt>
                <c:pt idx="3976">
                  <c:v>#N/A</c:v>
                </c:pt>
                <c:pt idx="3977">
                  <c:v>#N/A</c:v>
                </c:pt>
                <c:pt idx="3978">
                  <c:v>#N/A</c:v>
                </c:pt>
                <c:pt idx="3979">
                  <c:v>#N/A</c:v>
                </c:pt>
                <c:pt idx="3980">
                  <c:v>#N/A</c:v>
                </c:pt>
                <c:pt idx="3981">
                  <c:v>#N/A</c:v>
                </c:pt>
                <c:pt idx="3982">
                  <c:v>#N/A</c:v>
                </c:pt>
                <c:pt idx="3983">
                  <c:v>#N/A</c:v>
                </c:pt>
                <c:pt idx="3984">
                  <c:v>#N/A</c:v>
                </c:pt>
                <c:pt idx="3985">
                  <c:v>#N/A</c:v>
                </c:pt>
                <c:pt idx="3986">
                  <c:v>#N/A</c:v>
                </c:pt>
                <c:pt idx="3987">
                  <c:v>#N/A</c:v>
                </c:pt>
                <c:pt idx="3988">
                  <c:v>#N/A</c:v>
                </c:pt>
                <c:pt idx="3989">
                  <c:v>#N/A</c:v>
                </c:pt>
                <c:pt idx="3990">
                  <c:v>#N/A</c:v>
                </c:pt>
                <c:pt idx="3991">
                  <c:v>#N/A</c:v>
                </c:pt>
                <c:pt idx="3992">
                  <c:v>#N/A</c:v>
                </c:pt>
                <c:pt idx="3993">
                  <c:v>#N/A</c:v>
                </c:pt>
                <c:pt idx="3994">
                  <c:v>#N/A</c:v>
                </c:pt>
                <c:pt idx="3995">
                  <c:v>#N/A</c:v>
                </c:pt>
                <c:pt idx="3996">
                  <c:v>#N/A</c:v>
                </c:pt>
                <c:pt idx="3997">
                  <c:v>#N/A</c:v>
                </c:pt>
                <c:pt idx="3998">
                  <c:v>#N/A</c:v>
                </c:pt>
                <c:pt idx="3999">
                  <c:v>#N/A</c:v>
                </c:pt>
                <c:pt idx="4000">
                  <c:v>#N/A</c:v>
                </c:pt>
                <c:pt idx="4001">
                  <c:v>#N/A</c:v>
                </c:pt>
                <c:pt idx="4002">
                  <c:v>#N/A</c:v>
                </c:pt>
                <c:pt idx="4003">
                  <c:v>#N/A</c:v>
                </c:pt>
                <c:pt idx="4004">
                  <c:v>#N/A</c:v>
                </c:pt>
                <c:pt idx="4005">
                  <c:v>#N/A</c:v>
                </c:pt>
                <c:pt idx="4006">
                  <c:v>#N/A</c:v>
                </c:pt>
                <c:pt idx="4007">
                  <c:v>#N/A</c:v>
                </c:pt>
                <c:pt idx="4008">
                  <c:v>#N/A</c:v>
                </c:pt>
                <c:pt idx="4009">
                  <c:v>#N/A</c:v>
                </c:pt>
                <c:pt idx="4010">
                  <c:v>#N/A</c:v>
                </c:pt>
                <c:pt idx="4011">
                  <c:v>#N/A</c:v>
                </c:pt>
                <c:pt idx="4012">
                  <c:v>#N/A</c:v>
                </c:pt>
                <c:pt idx="4013">
                  <c:v>#N/A</c:v>
                </c:pt>
                <c:pt idx="4014">
                  <c:v>#N/A</c:v>
                </c:pt>
                <c:pt idx="4015">
                  <c:v>#N/A</c:v>
                </c:pt>
                <c:pt idx="4016">
                  <c:v>#N/A</c:v>
                </c:pt>
                <c:pt idx="4017">
                  <c:v>#N/A</c:v>
                </c:pt>
                <c:pt idx="4018">
                  <c:v>#N/A</c:v>
                </c:pt>
                <c:pt idx="4019">
                  <c:v>#N/A</c:v>
                </c:pt>
                <c:pt idx="4020">
                  <c:v>#N/A</c:v>
                </c:pt>
                <c:pt idx="4021">
                  <c:v>#N/A</c:v>
                </c:pt>
                <c:pt idx="4022">
                  <c:v>#N/A</c:v>
                </c:pt>
                <c:pt idx="4023">
                  <c:v>#N/A</c:v>
                </c:pt>
                <c:pt idx="4024">
                  <c:v>#N/A</c:v>
                </c:pt>
                <c:pt idx="4025">
                  <c:v>#N/A</c:v>
                </c:pt>
                <c:pt idx="4026">
                  <c:v>#N/A</c:v>
                </c:pt>
                <c:pt idx="4027">
                  <c:v>#N/A</c:v>
                </c:pt>
                <c:pt idx="4028">
                  <c:v>#N/A</c:v>
                </c:pt>
                <c:pt idx="4029">
                  <c:v>#N/A</c:v>
                </c:pt>
                <c:pt idx="4030">
                  <c:v>#N/A</c:v>
                </c:pt>
                <c:pt idx="4031">
                  <c:v>#N/A</c:v>
                </c:pt>
                <c:pt idx="4032">
                  <c:v>#N/A</c:v>
                </c:pt>
                <c:pt idx="4033">
                  <c:v>#N/A</c:v>
                </c:pt>
                <c:pt idx="4034">
                  <c:v>#N/A</c:v>
                </c:pt>
                <c:pt idx="4035">
                  <c:v>#N/A</c:v>
                </c:pt>
                <c:pt idx="4036">
                  <c:v>#N/A</c:v>
                </c:pt>
                <c:pt idx="4037">
                  <c:v>#N/A</c:v>
                </c:pt>
                <c:pt idx="4038">
                  <c:v>#N/A</c:v>
                </c:pt>
                <c:pt idx="4039">
                  <c:v>#N/A</c:v>
                </c:pt>
                <c:pt idx="4040">
                  <c:v>#N/A</c:v>
                </c:pt>
                <c:pt idx="4041">
                  <c:v>#N/A</c:v>
                </c:pt>
                <c:pt idx="4042">
                  <c:v>#N/A</c:v>
                </c:pt>
                <c:pt idx="4043">
                  <c:v>#N/A</c:v>
                </c:pt>
                <c:pt idx="4044">
                  <c:v>#N/A</c:v>
                </c:pt>
                <c:pt idx="4045">
                  <c:v>#N/A</c:v>
                </c:pt>
                <c:pt idx="4046">
                  <c:v>#N/A</c:v>
                </c:pt>
                <c:pt idx="4047">
                  <c:v>#N/A</c:v>
                </c:pt>
                <c:pt idx="4048">
                  <c:v>#N/A</c:v>
                </c:pt>
                <c:pt idx="4049">
                  <c:v>#N/A</c:v>
                </c:pt>
                <c:pt idx="4050">
                  <c:v>#N/A</c:v>
                </c:pt>
                <c:pt idx="4051">
                  <c:v>#N/A</c:v>
                </c:pt>
                <c:pt idx="4052">
                  <c:v>#N/A</c:v>
                </c:pt>
                <c:pt idx="4053">
                  <c:v>#N/A</c:v>
                </c:pt>
                <c:pt idx="4054">
                  <c:v>#N/A</c:v>
                </c:pt>
                <c:pt idx="4055">
                  <c:v>#N/A</c:v>
                </c:pt>
                <c:pt idx="4056">
                  <c:v>#N/A</c:v>
                </c:pt>
                <c:pt idx="4057">
                  <c:v>#N/A</c:v>
                </c:pt>
                <c:pt idx="4058">
                  <c:v>#N/A</c:v>
                </c:pt>
                <c:pt idx="4059">
                  <c:v>#N/A</c:v>
                </c:pt>
                <c:pt idx="4060">
                  <c:v>#N/A</c:v>
                </c:pt>
                <c:pt idx="4061">
                  <c:v>#N/A</c:v>
                </c:pt>
                <c:pt idx="4062">
                  <c:v>#N/A</c:v>
                </c:pt>
                <c:pt idx="4063">
                  <c:v>#N/A</c:v>
                </c:pt>
                <c:pt idx="4064">
                  <c:v>#N/A</c:v>
                </c:pt>
                <c:pt idx="4065">
                  <c:v>#N/A</c:v>
                </c:pt>
                <c:pt idx="4066">
                  <c:v>#N/A</c:v>
                </c:pt>
                <c:pt idx="4067">
                  <c:v>#N/A</c:v>
                </c:pt>
                <c:pt idx="4068">
                  <c:v>#N/A</c:v>
                </c:pt>
                <c:pt idx="4069">
                  <c:v>#N/A</c:v>
                </c:pt>
                <c:pt idx="4070">
                  <c:v>#N/A</c:v>
                </c:pt>
                <c:pt idx="4071">
                  <c:v>#N/A</c:v>
                </c:pt>
                <c:pt idx="4072">
                  <c:v>#N/A</c:v>
                </c:pt>
                <c:pt idx="4073">
                  <c:v>#N/A</c:v>
                </c:pt>
                <c:pt idx="4074">
                  <c:v>#N/A</c:v>
                </c:pt>
                <c:pt idx="4075">
                  <c:v>#N/A</c:v>
                </c:pt>
                <c:pt idx="4076">
                  <c:v>#N/A</c:v>
                </c:pt>
                <c:pt idx="4077">
                  <c:v>#N/A</c:v>
                </c:pt>
                <c:pt idx="4078">
                  <c:v>#N/A</c:v>
                </c:pt>
                <c:pt idx="4079">
                  <c:v>#N/A</c:v>
                </c:pt>
                <c:pt idx="4080">
                  <c:v>#N/A</c:v>
                </c:pt>
                <c:pt idx="4081">
                  <c:v>#N/A</c:v>
                </c:pt>
                <c:pt idx="4082">
                  <c:v>#N/A</c:v>
                </c:pt>
                <c:pt idx="4083">
                  <c:v>#N/A</c:v>
                </c:pt>
                <c:pt idx="4084">
                  <c:v>#N/A</c:v>
                </c:pt>
                <c:pt idx="4085">
                  <c:v>#N/A</c:v>
                </c:pt>
                <c:pt idx="4086">
                  <c:v>#N/A</c:v>
                </c:pt>
                <c:pt idx="4087">
                  <c:v>#N/A</c:v>
                </c:pt>
                <c:pt idx="4088">
                  <c:v>#N/A</c:v>
                </c:pt>
                <c:pt idx="4089">
                  <c:v>#N/A</c:v>
                </c:pt>
                <c:pt idx="4090">
                  <c:v>#N/A</c:v>
                </c:pt>
                <c:pt idx="4091">
                  <c:v>#N/A</c:v>
                </c:pt>
                <c:pt idx="4092">
                  <c:v>#N/A</c:v>
                </c:pt>
                <c:pt idx="4093">
                  <c:v>#N/A</c:v>
                </c:pt>
                <c:pt idx="4094">
                  <c:v>#N/A</c:v>
                </c:pt>
                <c:pt idx="4095">
                  <c:v>#N/A</c:v>
                </c:pt>
                <c:pt idx="4096">
                  <c:v>#N/A</c:v>
                </c:pt>
                <c:pt idx="4097">
                  <c:v>#N/A</c:v>
                </c:pt>
                <c:pt idx="4098">
                  <c:v>#N/A</c:v>
                </c:pt>
                <c:pt idx="4099">
                  <c:v>#N/A</c:v>
                </c:pt>
                <c:pt idx="4100">
                  <c:v>#N/A</c:v>
                </c:pt>
                <c:pt idx="4101">
                  <c:v>#N/A</c:v>
                </c:pt>
                <c:pt idx="4102">
                  <c:v>#N/A</c:v>
                </c:pt>
                <c:pt idx="4103">
                  <c:v>#N/A</c:v>
                </c:pt>
                <c:pt idx="4104">
                  <c:v>#N/A</c:v>
                </c:pt>
                <c:pt idx="4105">
                  <c:v>#N/A</c:v>
                </c:pt>
                <c:pt idx="4106">
                  <c:v>#N/A</c:v>
                </c:pt>
                <c:pt idx="4107">
                  <c:v>#N/A</c:v>
                </c:pt>
                <c:pt idx="4108">
                  <c:v>#N/A</c:v>
                </c:pt>
                <c:pt idx="4109">
                  <c:v>#N/A</c:v>
                </c:pt>
                <c:pt idx="4110">
                  <c:v>#N/A</c:v>
                </c:pt>
                <c:pt idx="4111">
                  <c:v>#N/A</c:v>
                </c:pt>
                <c:pt idx="4112">
                  <c:v>#N/A</c:v>
                </c:pt>
                <c:pt idx="4113">
                  <c:v>#N/A</c:v>
                </c:pt>
                <c:pt idx="4114">
                  <c:v>#N/A</c:v>
                </c:pt>
                <c:pt idx="4115">
                  <c:v>#N/A</c:v>
                </c:pt>
                <c:pt idx="4116">
                  <c:v>#N/A</c:v>
                </c:pt>
                <c:pt idx="4117">
                  <c:v>#N/A</c:v>
                </c:pt>
                <c:pt idx="4118">
                  <c:v>#N/A</c:v>
                </c:pt>
                <c:pt idx="4119">
                  <c:v>#N/A</c:v>
                </c:pt>
                <c:pt idx="4120">
                  <c:v>#N/A</c:v>
                </c:pt>
                <c:pt idx="4121">
                  <c:v>#N/A</c:v>
                </c:pt>
                <c:pt idx="4122">
                  <c:v>#N/A</c:v>
                </c:pt>
                <c:pt idx="4123">
                  <c:v>#N/A</c:v>
                </c:pt>
                <c:pt idx="4124">
                  <c:v>#N/A</c:v>
                </c:pt>
                <c:pt idx="4125">
                  <c:v>#N/A</c:v>
                </c:pt>
                <c:pt idx="4126">
                  <c:v>#N/A</c:v>
                </c:pt>
                <c:pt idx="4127">
                  <c:v>#N/A</c:v>
                </c:pt>
                <c:pt idx="4128">
                  <c:v>#N/A</c:v>
                </c:pt>
                <c:pt idx="4129">
                  <c:v>#N/A</c:v>
                </c:pt>
                <c:pt idx="4130">
                  <c:v>#N/A</c:v>
                </c:pt>
                <c:pt idx="4131">
                  <c:v>#N/A</c:v>
                </c:pt>
                <c:pt idx="4132">
                  <c:v>#N/A</c:v>
                </c:pt>
                <c:pt idx="4133">
                  <c:v>#N/A</c:v>
                </c:pt>
                <c:pt idx="4134">
                  <c:v>#N/A</c:v>
                </c:pt>
                <c:pt idx="4135">
                  <c:v>#N/A</c:v>
                </c:pt>
                <c:pt idx="4136">
                  <c:v>#N/A</c:v>
                </c:pt>
                <c:pt idx="4137">
                  <c:v>#N/A</c:v>
                </c:pt>
                <c:pt idx="4138">
                  <c:v>#N/A</c:v>
                </c:pt>
                <c:pt idx="4139">
                  <c:v>#N/A</c:v>
                </c:pt>
                <c:pt idx="4140">
                  <c:v>#N/A</c:v>
                </c:pt>
                <c:pt idx="4141">
                  <c:v>#N/A</c:v>
                </c:pt>
                <c:pt idx="4142">
                  <c:v>#N/A</c:v>
                </c:pt>
                <c:pt idx="4143">
                  <c:v>#N/A</c:v>
                </c:pt>
                <c:pt idx="4144">
                  <c:v>#N/A</c:v>
                </c:pt>
                <c:pt idx="4145">
                  <c:v>#N/A</c:v>
                </c:pt>
                <c:pt idx="4146">
                  <c:v>#N/A</c:v>
                </c:pt>
                <c:pt idx="4147">
                  <c:v>#N/A</c:v>
                </c:pt>
                <c:pt idx="4148">
                  <c:v>#N/A</c:v>
                </c:pt>
                <c:pt idx="4149">
                  <c:v>#N/A</c:v>
                </c:pt>
                <c:pt idx="4150">
                  <c:v>#N/A</c:v>
                </c:pt>
                <c:pt idx="4151">
                  <c:v>#N/A</c:v>
                </c:pt>
                <c:pt idx="4152">
                  <c:v>#N/A</c:v>
                </c:pt>
                <c:pt idx="4153">
                  <c:v>#N/A</c:v>
                </c:pt>
                <c:pt idx="4154">
                  <c:v>#N/A</c:v>
                </c:pt>
                <c:pt idx="4155">
                  <c:v>#N/A</c:v>
                </c:pt>
                <c:pt idx="4156">
                  <c:v>#N/A</c:v>
                </c:pt>
                <c:pt idx="4157">
                  <c:v>#N/A</c:v>
                </c:pt>
                <c:pt idx="4158">
                  <c:v>#N/A</c:v>
                </c:pt>
                <c:pt idx="4159">
                  <c:v>#N/A</c:v>
                </c:pt>
                <c:pt idx="4160">
                  <c:v>#N/A</c:v>
                </c:pt>
                <c:pt idx="4161">
                  <c:v>#N/A</c:v>
                </c:pt>
                <c:pt idx="4162">
                  <c:v>#N/A</c:v>
                </c:pt>
                <c:pt idx="4163">
                  <c:v>#N/A</c:v>
                </c:pt>
                <c:pt idx="4164">
                  <c:v>#N/A</c:v>
                </c:pt>
                <c:pt idx="4165">
                  <c:v>#N/A</c:v>
                </c:pt>
                <c:pt idx="4166">
                  <c:v>#N/A</c:v>
                </c:pt>
                <c:pt idx="4167">
                  <c:v>#N/A</c:v>
                </c:pt>
                <c:pt idx="4168">
                  <c:v>#N/A</c:v>
                </c:pt>
                <c:pt idx="4169">
                  <c:v>#N/A</c:v>
                </c:pt>
                <c:pt idx="4170">
                  <c:v>#N/A</c:v>
                </c:pt>
                <c:pt idx="4171">
                  <c:v>#N/A</c:v>
                </c:pt>
                <c:pt idx="4172">
                  <c:v>#N/A</c:v>
                </c:pt>
                <c:pt idx="4173">
                  <c:v>#N/A</c:v>
                </c:pt>
                <c:pt idx="4174">
                  <c:v>#N/A</c:v>
                </c:pt>
                <c:pt idx="4175">
                  <c:v>#N/A</c:v>
                </c:pt>
                <c:pt idx="4176">
                  <c:v>#N/A</c:v>
                </c:pt>
                <c:pt idx="4177">
                  <c:v>#N/A</c:v>
                </c:pt>
                <c:pt idx="4178">
                  <c:v>#N/A</c:v>
                </c:pt>
                <c:pt idx="4179">
                  <c:v>#N/A</c:v>
                </c:pt>
                <c:pt idx="4180">
                  <c:v>#N/A</c:v>
                </c:pt>
                <c:pt idx="4181">
                  <c:v>#N/A</c:v>
                </c:pt>
                <c:pt idx="4182">
                  <c:v>#N/A</c:v>
                </c:pt>
                <c:pt idx="4183">
                  <c:v>#N/A</c:v>
                </c:pt>
                <c:pt idx="4184">
                  <c:v>#N/A</c:v>
                </c:pt>
                <c:pt idx="4185">
                  <c:v>#N/A</c:v>
                </c:pt>
                <c:pt idx="4186">
                  <c:v>#N/A</c:v>
                </c:pt>
                <c:pt idx="4187">
                  <c:v>#N/A</c:v>
                </c:pt>
                <c:pt idx="4188">
                  <c:v>#N/A</c:v>
                </c:pt>
                <c:pt idx="4189">
                  <c:v>#N/A</c:v>
                </c:pt>
                <c:pt idx="4190">
                  <c:v>#N/A</c:v>
                </c:pt>
                <c:pt idx="4191">
                  <c:v>#N/A</c:v>
                </c:pt>
                <c:pt idx="4192">
                  <c:v>#N/A</c:v>
                </c:pt>
                <c:pt idx="4193">
                  <c:v>#N/A</c:v>
                </c:pt>
                <c:pt idx="4194">
                  <c:v>#N/A</c:v>
                </c:pt>
                <c:pt idx="4195">
                  <c:v>#N/A</c:v>
                </c:pt>
                <c:pt idx="4196">
                  <c:v>#N/A</c:v>
                </c:pt>
                <c:pt idx="4197">
                  <c:v>#N/A</c:v>
                </c:pt>
                <c:pt idx="4198">
                  <c:v>#N/A</c:v>
                </c:pt>
                <c:pt idx="4199">
                  <c:v>#N/A</c:v>
                </c:pt>
                <c:pt idx="4200">
                  <c:v>#N/A</c:v>
                </c:pt>
                <c:pt idx="4201">
                  <c:v>#N/A</c:v>
                </c:pt>
                <c:pt idx="4202">
                  <c:v>#N/A</c:v>
                </c:pt>
                <c:pt idx="4203">
                  <c:v>#N/A</c:v>
                </c:pt>
                <c:pt idx="4204">
                  <c:v>#N/A</c:v>
                </c:pt>
                <c:pt idx="4205">
                  <c:v>#N/A</c:v>
                </c:pt>
                <c:pt idx="4206">
                  <c:v>#N/A</c:v>
                </c:pt>
                <c:pt idx="4207">
                  <c:v>#N/A</c:v>
                </c:pt>
                <c:pt idx="4208">
                  <c:v>#N/A</c:v>
                </c:pt>
                <c:pt idx="4209">
                  <c:v>#N/A</c:v>
                </c:pt>
                <c:pt idx="4210">
                  <c:v>#N/A</c:v>
                </c:pt>
                <c:pt idx="4211">
                  <c:v>#N/A</c:v>
                </c:pt>
                <c:pt idx="4212">
                  <c:v>#N/A</c:v>
                </c:pt>
                <c:pt idx="4213">
                  <c:v>#N/A</c:v>
                </c:pt>
                <c:pt idx="4214">
                  <c:v>#N/A</c:v>
                </c:pt>
                <c:pt idx="4215">
                  <c:v>#N/A</c:v>
                </c:pt>
                <c:pt idx="4216">
                  <c:v>#N/A</c:v>
                </c:pt>
                <c:pt idx="4217">
                  <c:v>#N/A</c:v>
                </c:pt>
                <c:pt idx="4218">
                  <c:v>#N/A</c:v>
                </c:pt>
                <c:pt idx="4219">
                  <c:v>#N/A</c:v>
                </c:pt>
                <c:pt idx="4220">
                  <c:v>#N/A</c:v>
                </c:pt>
                <c:pt idx="4221">
                  <c:v>#N/A</c:v>
                </c:pt>
                <c:pt idx="4222">
                  <c:v>#N/A</c:v>
                </c:pt>
                <c:pt idx="4223">
                  <c:v>#N/A</c:v>
                </c:pt>
                <c:pt idx="4224">
                  <c:v>#N/A</c:v>
                </c:pt>
                <c:pt idx="4225">
                  <c:v>#N/A</c:v>
                </c:pt>
                <c:pt idx="4226">
                  <c:v>#N/A</c:v>
                </c:pt>
                <c:pt idx="4227">
                  <c:v>#N/A</c:v>
                </c:pt>
                <c:pt idx="4228">
                  <c:v>#N/A</c:v>
                </c:pt>
                <c:pt idx="4229">
                  <c:v>#N/A</c:v>
                </c:pt>
                <c:pt idx="4230">
                  <c:v>#N/A</c:v>
                </c:pt>
                <c:pt idx="4231">
                  <c:v>#N/A</c:v>
                </c:pt>
                <c:pt idx="4232">
                  <c:v>#N/A</c:v>
                </c:pt>
                <c:pt idx="4233">
                  <c:v>#N/A</c:v>
                </c:pt>
                <c:pt idx="4234">
                  <c:v>#N/A</c:v>
                </c:pt>
                <c:pt idx="4235">
                  <c:v>#N/A</c:v>
                </c:pt>
                <c:pt idx="4236">
                  <c:v>#N/A</c:v>
                </c:pt>
                <c:pt idx="4237">
                  <c:v>#N/A</c:v>
                </c:pt>
                <c:pt idx="4238">
                  <c:v>#N/A</c:v>
                </c:pt>
                <c:pt idx="4239">
                  <c:v>#N/A</c:v>
                </c:pt>
                <c:pt idx="4240">
                  <c:v>#N/A</c:v>
                </c:pt>
                <c:pt idx="4241">
                  <c:v>#N/A</c:v>
                </c:pt>
                <c:pt idx="4242">
                  <c:v>#N/A</c:v>
                </c:pt>
                <c:pt idx="4243">
                  <c:v>#N/A</c:v>
                </c:pt>
                <c:pt idx="4244">
                  <c:v>#N/A</c:v>
                </c:pt>
                <c:pt idx="4245">
                  <c:v>#N/A</c:v>
                </c:pt>
                <c:pt idx="4246">
                  <c:v>#N/A</c:v>
                </c:pt>
                <c:pt idx="4247">
                  <c:v>#N/A</c:v>
                </c:pt>
                <c:pt idx="4248">
                  <c:v>#N/A</c:v>
                </c:pt>
                <c:pt idx="4249">
                  <c:v>#N/A</c:v>
                </c:pt>
                <c:pt idx="4250">
                  <c:v>#N/A</c:v>
                </c:pt>
                <c:pt idx="4251">
                  <c:v>#N/A</c:v>
                </c:pt>
                <c:pt idx="4252">
                  <c:v>#N/A</c:v>
                </c:pt>
                <c:pt idx="4253">
                  <c:v>#N/A</c:v>
                </c:pt>
                <c:pt idx="4254">
                  <c:v>#N/A</c:v>
                </c:pt>
                <c:pt idx="4255">
                  <c:v>#N/A</c:v>
                </c:pt>
                <c:pt idx="4256">
                  <c:v>#N/A</c:v>
                </c:pt>
                <c:pt idx="4257">
                  <c:v>#N/A</c:v>
                </c:pt>
                <c:pt idx="4258">
                  <c:v>#N/A</c:v>
                </c:pt>
                <c:pt idx="4259">
                  <c:v>#N/A</c:v>
                </c:pt>
                <c:pt idx="4260">
                  <c:v>#N/A</c:v>
                </c:pt>
                <c:pt idx="4261">
                  <c:v>#N/A</c:v>
                </c:pt>
                <c:pt idx="4262">
                  <c:v>#N/A</c:v>
                </c:pt>
                <c:pt idx="4263">
                  <c:v>#N/A</c:v>
                </c:pt>
                <c:pt idx="4264">
                  <c:v>#N/A</c:v>
                </c:pt>
                <c:pt idx="4265">
                  <c:v>#N/A</c:v>
                </c:pt>
                <c:pt idx="4266">
                  <c:v>#N/A</c:v>
                </c:pt>
                <c:pt idx="4267">
                  <c:v>#N/A</c:v>
                </c:pt>
                <c:pt idx="4268">
                  <c:v>#N/A</c:v>
                </c:pt>
                <c:pt idx="4269">
                  <c:v>#N/A</c:v>
                </c:pt>
                <c:pt idx="4270">
                  <c:v>#N/A</c:v>
                </c:pt>
                <c:pt idx="4271">
                  <c:v>#N/A</c:v>
                </c:pt>
                <c:pt idx="4272">
                  <c:v>#N/A</c:v>
                </c:pt>
                <c:pt idx="4273">
                  <c:v>#N/A</c:v>
                </c:pt>
                <c:pt idx="4274">
                  <c:v>#N/A</c:v>
                </c:pt>
                <c:pt idx="4275">
                  <c:v>#N/A</c:v>
                </c:pt>
                <c:pt idx="4276">
                  <c:v>#N/A</c:v>
                </c:pt>
                <c:pt idx="4277">
                  <c:v>#N/A</c:v>
                </c:pt>
                <c:pt idx="4278">
                  <c:v>#N/A</c:v>
                </c:pt>
                <c:pt idx="4279">
                  <c:v>#N/A</c:v>
                </c:pt>
                <c:pt idx="4280">
                  <c:v>#N/A</c:v>
                </c:pt>
                <c:pt idx="4281">
                  <c:v>#N/A</c:v>
                </c:pt>
                <c:pt idx="4282">
                  <c:v>#N/A</c:v>
                </c:pt>
                <c:pt idx="4283">
                  <c:v>#N/A</c:v>
                </c:pt>
                <c:pt idx="4284">
                  <c:v>#N/A</c:v>
                </c:pt>
                <c:pt idx="4285">
                  <c:v>#N/A</c:v>
                </c:pt>
                <c:pt idx="4286">
                  <c:v>#N/A</c:v>
                </c:pt>
                <c:pt idx="4287">
                  <c:v>#N/A</c:v>
                </c:pt>
                <c:pt idx="4288">
                  <c:v>#N/A</c:v>
                </c:pt>
                <c:pt idx="4289">
                  <c:v>#N/A</c:v>
                </c:pt>
                <c:pt idx="4290">
                  <c:v>#N/A</c:v>
                </c:pt>
                <c:pt idx="4291">
                  <c:v>#N/A</c:v>
                </c:pt>
                <c:pt idx="4292">
                  <c:v>#N/A</c:v>
                </c:pt>
                <c:pt idx="4293">
                  <c:v>#N/A</c:v>
                </c:pt>
                <c:pt idx="4294">
                  <c:v>#N/A</c:v>
                </c:pt>
                <c:pt idx="4295">
                  <c:v>#N/A</c:v>
                </c:pt>
                <c:pt idx="4296">
                  <c:v>#N/A</c:v>
                </c:pt>
                <c:pt idx="4297">
                  <c:v>#N/A</c:v>
                </c:pt>
                <c:pt idx="4298">
                  <c:v>#N/A</c:v>
                </c:pt>
                <c:pt idx="4299">
                  <c:v>#N/A</c:v>
                </c:pt>
                <c:pt idx="4300">
                  <c:v>#N/A</c:v>
                </c:pt>
                <c:pt idx="4301">
                  <c:v>#N/A</c:v>
                </c:pt>
                <c:pt idx="4302">
                  <c:v>#N/A</c:v>
                </c:pt>
                <c:pt idx="4303">
                  <c:v>#N/A</c:v>
                </c:pt>
                <c:pt idx="4304">
                  <c:v>#N/A</c:v>
                </c:pt>
                <c:pt idx="4305">
                  <c:v>#N/A</c:v>
                </c:pt>
                <c:pt idx="4306">
                  <c:v>#N/A</c:v>
                </c:pt>
                <c:pt idx="4307">
                  <c:v>#N/A</c:v>
                </c:pt>
                <c:pt idx="4308">
                  <c:v>#N/A</c:v>
                </c:pt>
                <c:pt idx="4309">
                  <c:v>#N/A</c:v>
                </c:pt>
                <c:pt idx="4310">
                  <c:v>#N/A</c:v>
                </c:pt>
                <c:pt idx="4311">
                  <c:v>#N/A</c:v>
                </c:pt>
                <c:pt idx="4312">
                  <c:v>#N/A</c:v>
                </c:pt>
                <c:pt idx="4313">
                  <c:v>#N/A</c:v>
                </c:pt>
                <c:pt idx="4314">
                  <c:v>#N/A</c:v>
                </c:pt>
                <c:pt idx="4315">
                  <c:v>#N/A</c:v>
                </c:pt>
                <c:pt idx="4316">
                  <c:v>#N/A</c:v>
                </c:pt>
                <c:pt idx="4317">
                  <c:v>#N/A</c:v>
                </c:pt>
                <c:pt idx="4318">
                  <c:v>#N/A</c:v>
                </c:pt>
                <c:pt idx="4319">
                  <c:v>#N/A</c:v>
                </c:pt>
                <c:pt idx="4320">
                  <c:v>#N/A</c:v>
                </c:pt>
                <c:pt idx="4321">
                  <c:v>#N/A</c:v>
                </c:pt>
                <c:pt idx="4322">
                  <c:v>#N/A</c:v>
                </c:pt>
                <c:pt idx="4323">
                  <c:v>#N/A</c:v>
                </c:pt>
                <c:pt idx="4324">
                  <c:v>#N/A</c:v>
                </c:pt>
                <c:pt idx="4325">
                  <c:v>#N/A</c:v>
                </c:pt>
                <c:pt idx="4326">
                  <c:v>#N/A</c:v>
                </c:pt>
                <c:pt idx="4327">
                  <c:v>#N/A</c:v>
                </c:pt>
                <c:pt idx="4328">
                  <c:v>#N/A</c:v>
                </c:pt>
                <c:pt idx="4329">
                  <c:v>#N/A</c:v>
                </c:pt>
                <c:pt idx="4330">
                  <c:v>#N/A</c:v>
                </c:pt>
                <c:pt idx="4331">
                  <c:v>#N/A</c:v>
                </c:pt>
                <c:pt idx="4332">
                  <c:v>#N/A</c:v>
                </c:pt>
                <c:pt idx="4333">
                  <c:v>#N/A</c:v>
                </c:pt>
                <c:pt idx="4334">
                  <c:v>#N/A</c:v>
                </c:pt>
                <c:pt idx="4335">
                  <c:v>#N/A</c:v>
                </c:pt>
                <c:pt idx="4336">
                  <c:v>#N/A</c:v>
                </c:pt>
                <c:pt idx="4337">
                  <c:v>#N/A</c:v>
                </c:pt>
                <c:pt idx="4338">
                  <c:v>#N/A</c:v>
                </c:pt>
                <c:pt idx="4339">
                  <c:v>#N/A</c:v>
                </c:pt>
                <c:pt idx="4340">
                  <c:v>#N/A</c:v>
                </c:pt>
                <c:pt idx="4341">
                  <c:v>#N/A</c:v>
                </c:pt>
                <c:pt idx="4342">
                  <c:v>#N/A</c:v>
                </c:pt>
                <c:pt idx="4343">
                  <c:v>#N/A</c:v>
                </c:pt>
                <c:pt idx="4344">
                  <c:v>#N/A</c:v>
                </c:pt>
                <c:pt idx="4345">
                  <c:v>#N/A</c:v>
                </c:pt>
                <c:pt idx="4346">
                  <c:v>#N/A</c:v>
                </c:pt>
                <c:pt idx="4347">
                  <c:v>#N/A</c:v>
                </c:pt>
                <c:pt idx="4348">
                  <c:v>#N/A</c:v>
                </c:pt>
                <c:pt idx="4349">
                  <c:v>#N/A</c:v>
                </c:pt>
                <c:pt idx="4350">
                  <c:v>#N/A</c:v>
                </c:pt>
                <c:pt idx="4351">
                  <c:v>#N/A</c:v>
                </c:pt>
                <c:pt idx="4352">
                  <c:v>#N/A</c:v>
                </c:pt>
                <c:pt idx="4353">
                  <c:v>#N/A</c:v>
                </c:pt>
                <c:pt idx="4354">
                  <c:v>#N/A</c:v>
                </c:pt>
                <c:pt idx="4355">
                  <c:v>#N/A</c:v>
                </c:pt>
                <c:pt idx="4356">
                  <c:v>#N/A</c:v>
                </c:pt>
                <c:pt idx="4357">
                  <c:v>#N/A</c:v>
                </c:pt>
                <c:pt idx="4358">
                  <c:v>#N/A</c:v>
                </c:pt>
                <c:pt idx="4359">
                  <c:v>#N/A</c:v>
                </c:pt>
                <c:pt idx="4360">
                  <c:v>#N/A</c:v>
                </c:pt>
                <c:pt idx="4361">
                  <c:v>#N/A</c:v>
                </c:pt>
                <c:pt idx="4362">
                  <c:v>#N/A</c:v>
                </c:pt>
                <c:pt idx="4363">
                  <c:v>#N/A</c:v>
                </c:pt>
                <c:pt idx="4364">
                  <c:v>#N/A</c:v>
                </c:pt>
                <c:pt idx="4365">
                  <c:v>#N/A</c:v>
                </c:pt>
                <c:pt idx="4366">
                  <c:v>#N/A</c:v>
                </c:pt>
                <c:pt idx="4367">
                  <c:v>#N/A</c:v>
                </c:pt>
                <c:pt idx="4368">
                  <c:v>#N/A</c:v>
                </c:pt>
                <c:pt idx="4369">
                  <c:v>#N/A</c:v>
                </c:pt>
                <c:pt idx="4370">
                  <c:v>#N/A</c:v>
                </c:pt>
                <c:pt idx="4371">
                  <c:v>#N/A</c:v>
                </c:pt>
                <c:pt idx="4372">
                  <c:v>#N/A</c:v>
                </c:pt>
                <c:pt idx="4373">
                  <c:v>#N/A</c:v>
                </c:pt>
                <c:pt idx="4374">
                  <c:v>#N/A</c:v>
                </c:pt>
                <c:pt idx="4375">
                  <c:v>#N/A</c:v>
                </c:pt>
                <c:pt idx="4376">
                  <c:v>#N/A</c:v>
                </c:pt>
                <c:pt idx="4377">
                  <c:v>#N/A</c:v>
                </c:pt>
                <c:pt idx="4378">
                  <c:v>#N/A</c:v>
                </c:pt>
                <c:pt idx="4379">
                  <c:v>#N/A</c:v>
                </c:pt>
                <c:pt idx="4380">
                  <c:v>#N/A</c:v>
                </c:pt>
                <c:pt idx="4381">
                  <c:v>#N/A</c:v>
                </c:pt>
                <c:pt idx="4382">
                  <c:v>#N/A</c:v>
                </c:pt>
                <c:pt idx="4383">
                  <c:v>#N/A</c:v>
                </c:pt>
                <c:pt idx="4384">
                  <c:v>#N/A</c:v>
                </c:pt>
                <c:pt idx="4385">
                  <c:v>#N/A</c:v>
                </c:pt>
                <c:pt idx="4386">
                  <c:v>#N/A</c:v>
                </c:pt>
                <c:pt idx="4387">
                  <c:v>#N/A</c:v>
                </c:pt>
                <c:pt idx="4388">
                  <c:v>#N/A</c:v>
                </c:pt>
                <c:pt idx="4389">
                  <c:v>#N/A</c:v>
                </c:pt>
                <c:pt idx="4390">
                  <c:v>#N/A</c:v>
                </c:pt>
                <c:pt idx="4391">
                  <c:v>#N/A</c:v>
                </c:pt>
                <c:pt idx="4392">
                  <c:v>#N/A</c:v>
                </c:pt>
                <c:pt idx="4393">
                  <c:v>#N/A</c:v>
                </c:pt>
                <c:pt idx="4394">
                  <c:v>#N/A</c:v>
                </c:pt>
                <c:pt idx="4395">
                  <c:v>#N/A</c:v>
                </c:pt>
                <c:pt idx="4396">
                  <c:v>#N/A</c:v>
                </c:pt>
                <c:pt idx="4397">
                  <c:v>#N/A</c:v>
                </c:pt>
                <c:pt idx="4398">
                  <c:v>#N/A</c:v>
                </c:pt>
                <c:pt idx="4399">
                  <c:v>#N/A</c:v>
                </c:pt>
                <c:pt idx="4400">
                  <c:v>#N/A</c:v>
                </c:pt>
                <c:pt idx="4401">
                  <c:v>#N/A</c:v>
                </c:pt>
                <c:pt idx="4402">
                  <c:v>#N/A</c:v>
                </c:pt>
                <c:pt idx="4403">
                  <c:v>#N/A</c:v>
                </c:pt>
                <c:pt idx="4404">
                  <c:v>#N/A</c:v>
                </c:pt>
                <c:pt idx="4405">
                  <c:v>#N/A</c:v>
                </c:pt>
                <c:pt idx="4406">
                  <c:v>#N/A</c:v>
                </c:pt>
                <c:pt idx="4407">
                  <c:v>#N/A</c:v>
                </c:pt>
                <c:pt idx="4408">
                  <c:v>#N/A</c:v>
                </c:pt>
                <c:pt idx="4409">
                  <c:v>#N/A</c:v>
                </c:pt>
                <c:pt idx="4410">
                  <c:v>#N/A</c:v>
                </c:pt>
                <c:pt idx="4411">
                  <c:v>#N/A</c:v>
                </c:pt>
                <c:pt idx="4412">
                  <c:v>#N/A</c:v>
                </c:pt>
                <c:pt idx="4413">
                  <c:v>#N/A</c:v>
                </c:pt>
                <c:pt idx="4414">
                  <c:v>#N/A</c:v>
                </c:pt>
                <c:pt idx="4415">
                  <c:v>#N/A</c:v>
                </c:pt>
                <c:pt idx="4416">
                  <c:v>#N/A</c:v>
                </c:pt>
                <c:pt idx="4417">
                  <c:v>#N/A</c:v>
                </c:pt>
                <c:pt idx="4418">
                  <c:v>#N/A</c:v>
                </c:pt>
                <c:pt idx="4419">
                  <c:v>#N/A</c:v>
                </c:pt>
                <c:pt idx="4420">
                  <c:v>#N/A</c:v>
                </c:pt>
                <c:pt idx="4421">
                  <c:v>#N/A</c:v>
                </c:pt>
                <c:pt idx="4422">
                  <c:v>#N/A</c:v>
                </c:pt>
                <c:pt idx="4423">
                  <c:v>#N/A</c:v>
                </c:pt>
                <c:pt idx="4424">
                  <c:v>#N/A</c:v>
                </c:pt>
                <c:pt idx="4425">
                  <c:v>#N/A</c:v>
                </c:pt>
                <c:pt idx="4426">
                  <c:v>#N/A</c:v>
                </c:pt>
                <c:pt idx="4427">
                  <c:v>#N/A</c:v>
                </c:pt>
                <c:pt idx="4428">
                  <c:v>#N/A</c:v>
                </c:pt>
                <c:pt idx="4429">
                  <c:v>#N/A</c:v>
                </c:pt>
                <c:pt idx="4430">
                  <c:v>#N/A</c:v>
                </c:pt>
                <c:pt idx="4431">
                  <c:v>#N/A</c:v>
                </c:pt>
                <c:pt idx="4432">
                  <c:v>#N/A</c:v>
                </c:pt>
                <c:pt idx="4433">
                  <c:v>#N/A</c:v>
                </c:pt>
                <c:pt idx="4434">
                  <c:v>#N/A</c:v>
                </c:pt>
                <c:pt idx="4435">
                  <c:v>#N/A</c:v>
                </c:pt>
                <c:pt idx="4436">
                  <c:v>#N/A</c:v>
                </c:pt>
                <c:pt idx="4437">
                  <c:v>#N/A</c:v>
                </c:pt>
                <c:pt idx="4438">
                  <c:v>#N/A</c:v>
                </c:pt>
                <c:pt idx="4439">
                  <c:v>#N/A</c:v>
                </c:pt>
                <c:pt idx="4440">
                  <c:v>#N/A</c:v>
                </c:pt>
                <c:pt idx="4441">
                  <c:v>#N/A</c:v>
                </c:pt>
                <c:pt idx="4442">
                  <c:v>#N/A</c:v>
                </c:pt>
                <c:pt idx="4443">
                  <c:v>#N/A</c:v>
                </c:pt>
                <c:pt idx="4444">
                  <c:v>#N/A</c:v>
                </c:pt>
                <c:pt idx="4445">
                  <c:v>#N/A</c:v>
                </c:pt>
                <c:pt idx="4446">
                  <c:v>#N/A</c:v>
                </c:pt>
                <c:pt idx="4447">
                  <c:v>#N/A</c:v>
                </c:pt>
                <c:pt idx="4448">
                  <c:v>#N/A</c:v>
                </c:pt>
                <c:pt idx="4449">
                  <c:v>#N/A</c:v>
                </c:pt>
                <c:pt idx="4450">
                  <c:v>#N/A</c:v>
                </c:pt>
                <c:pt idx="4451">
                  <c:v>#N/A</c:v>
                </c:pt>
                <c:pt idx="4452">
                  <c:v>#N/A</c:v>
                </c:pt>
                <c:pt idx="4453">
                  <c:v>#N/A</c:v>
                </c:pt>
                <c:pt idx="4454">
                  <c:v>#N/A</c:v>
                </c:pt>
                <c:pt idx="4455">
                  <c:v>#N/A</c:v>
                </c:pt>
                <c:pt idx="4456">
                  <c:v>#N/A</c:v>
                </c:pt>
                <c:pt idx="4457">
                  <c:v>#N/A</c:v>
                </c:pt>
                <c:pt idx="4458">
                  <c:v>#N/A</c:v>
                </c:pt>
                <c:pt idx="4459">
                  <c:v>#N/A</c:v>
                </c:pt>
                <c:pt idx="4460">
                  <c:v>#N/A</c:v>
                </c:pt>
                <c:pt idx="4461">
                  <c:v>#N/A</c:v>
                </c:pt>
                <c:pt idx="4462">
                  <c:v>#N/A</c:v>
                </c:pt>
                <c:pt idx="4463">
                  <c:v>#N/A</c:v>
                </c:pt>
                <c:pt idx="4464">
                  <c:v>#N/A</c:v>
                </c:pt>
                <c:pt idx="4465">
                  <c:v>#N/A</c:v>
                </c:pt>
                <c:pt idx="4466">
                  <c:v>#N/A</c:v>
                </c:pt>
                <c:pt idx="4467">
                  <c:v>#N/A</c:v>
                </c:pt>
                <c:pt idx="4468">
                  <c:v>#N/A</c:v>
                </c:pt>
                <c:pt idx="4469">
                  <c:v>#N/A</c:v>
                </c:pt>
                <c:pt idx="4470">
                  <c:v>#N/A</c:v>
                </c:pt>
                <c:pt idx="4471">
                  <c:v>#N/A</c:v>
                </c:pt>
                <c:pt idx="4472">
                  <c:v>#N/A</c:v>
                </c:pt>
                <c:pt idx="4473">
                  <c:v>#N/A</c:v>
                </c:pt>
                <c:pt idx="4474">
                  <c:v>#N/A</c:v>
                </c:pt>
                <c:pt idx="4475">
                  <c:v>#N/A</c:v>
                </c:pt>
                <c:pt idx="4476">
                  <c:v>#N/A</c:v>
                </c:pt>
                <c:pt idx="4477">
                  <c:v>#N/A</c:v>
                </c:pt>
                <c:pt idx="4478">
                  <c:v>#N/A</c:v>
                </c:pt>
                <c:pt idx="4479">
                  <c:v>#N/A</c:v>
                </c:pt>
                <c:pt idx="4480">
                  <c:v>#N/A</c:v>
                </c:pt>
                <c:pt idx="4481">
                  <c:v>#N/A</c:v>
                </c:pt>
                <c:pt idx="4482">
                  <c:v>#N/A</c:v>
                </c:pt>
                <c:pt idx="4483">
                  <c:v>#N/A</c:v>
                </c:pt>
                <c:pt idx="4484">
                  <c:v>#N/A</c:v>
                </c:pt>
                <c:pt idx="4485">
                  <c:v>#N/A</c:v>
                </c:pt>
                <c:pt idx="4486">
                  <c:v>#N/A</c:v>
                </c:pt>
                <c:pt idx="4487">
                  <c:v>#N/A</c:v>
                </c:pt>
                <c:pt idx="4488">
                  <c:v>#N/A</c:v>
                </c:pt>
                <c:pt idx="4489">
                  <c:v>#N/A</c:v>
                </c:pt>
                <c:pt idx="4490">
                  <c:v>#N/A</c:v>
                </c:pt>
                <c:pt idx="4491">
                  <c:v>#N/A</c:v>
                </c:pt>
                <c:pt idx="4492">
                  <c:v>#N/A</c:v>
                </c:pt>
                <c:pt idx="4493">
                  <c:v>#N/A</c:v>
                </c:pt>
                <c:pt idx="4494">
                  <c:v>#N/A</c:v>
                </c:pt>
                <c:pt idx="4495">
                  <c:v>#N/A</c:v>
                </c:pt>
                <c:pt idx="4496">
                  <c:v>#N/A</c:v>
                </c:pt>
                <c:pt idx="4497">
                  <c:v>#N/A</c:v>
                </c:pt>
                <c:pt idx="4498">
                  <c:v>#N/A</c:v>
                </c:pt>
                <c:pt idx="4499">
                  <c:v>#N/A</c:v>
                </c:pt>
                <c:pt idx="4500">
                  <c:v>#N/A</c:v>
                </c:pt>
                <c:pt idx="4501">
                  <c:v>#N/A</c:v>
                </c:pt>
                <c:pt idx="4502">
                  <c:v>#N/A</c:v>
                </c:pt>
                <c:pt idx="4503">
                  <c:v>#N/A</c:v>
                </c:pt>
                <c:pt idx="4504">
                  <c:v>#N/A</c:v>
                </c:pt>
                <c:pt idx="4505">
                  <c:v>#N/A</c:v>
                </c:pt>
                <c:pt idx="4506">
                  <c:v>#N/A</c:v>
                </c:pt>
                <c:pt idx="4507">
                  <c:v>#N/A</c:v>
                </c:pt>
                <c:pt idx="4508">
                  <c:v>#N/A</c:v>
                </c:pt>
                <c:pt idx="4509">
                  <c:v>#N/A</c:v>
                </c:pt>
                <c:pt idx="4510">
                  <c:v>#N/A</c:v>
                </c:pt>
                <c:pt idx="4511">
                  <c:v>#N/A</c:v>
                </c:pt>
                <c:pt idx="4512">
                  <c:v>#N/A</c:v>
                </c:pt>
                <c:pt idx="4513">
                  <c:v>#N/A</c:v>
                </c:pt>
                <c:pt idx="4514">
                  <c:v>#N/A</c:v>
                </c:pt>
                <c:pt idx="4515">
                  <c:v>#N/A</c:v>
                </c:pt>
                <c:pt idx="4516">
                  <c:v>#N/A</c:v>
                </c:pt>
                <c:pt idx="4517">
                  <c:v>#N/A</c:v>
                </c:pt>
                <c:pt idx="4518">
                  <c:v>#N/A</c:v>
                </c:pt>
                <c:pt idx="4519">
                  <c:v>#N/A</c:v>
                </c:pt>
                <c:pt idx="4520">
                  <c:v>#N/A</c:v>
                </c:pt>
                <c:pt idx="4521">
                  <c:v>#N/A</c:v>
                </c:pt>
                <c:pt idx="4522">
                  <c:v>#N/A</c:v>
                </c:pt>
                <c:pt idx="4523">
                  <c:v>#N/A</c:v>
                </c:pt>
                <c:pt idx="4524">
                  <c:v>#N/A</c:v>
                </c:pt>
                <c:pt idx="4525">
                  <c:v>#N/A</c:v>
                </c:pt>
                <c:pt idx="4526">
                  <c:v>#N/A</c:v>
                </c:pt>
                <c:pt idx="4527">
                  <c:v>#N/A</c:v>
                </c:pt>
                <c:pt idx="4528">
                  <c:v>#N/A</c:v>
                </c:pt>
                <c:pt idx="4529">
                  <c:v>#N/A</c:v>
                </c:pt>
                <c:pt idx="4530">
                  <c:v>#N/A</c:v>
                </c:pt>
                <c:pt idx="4531">
                  <c:v>#N/A</c:v>
                </c:pt>
                <c:pt idx="4532">
                  <c:v>#N/A</c:v>
                </c:pt>
                <c:pt idx="4533">
                  <c:v>#N/A</c:v>
                </c:pt>
                <c:pt idx="4534">
                  <c:v>#N/A</c:v>
                </c:pt>
                <c:pt idx="4535">
                  <c:v>#N/A</c:v>
                </c:pt>
                <c:pt idx="4536">
                  <c:v>#N/A</c:v>
                </c:pt>
                <c:pt idx="4537">
                  <c:v>#N/A</c:v>
                </c:pt>
                <c:pt idx="4538">
                  <c:v>#N/A</c:v>
                </c:pt>
                <c:pt idx="4539">
                  <c:v>#N/A</c:v>
                </c:pt>
                <c:pt idx="4540">
                  <c:v>#N/A</c:v>
                </c:pt>
                <c:pt idx="4541">
                  <c:v>#N/A</c:v>
                </c:pt>
                <c:pt idx="4542">
                  <c:v>#N/A</c:v>
                </c:pt>
                <c:pt idx="4543">
                  <c:v>#N/A</c:v>
                </c:pt>
                <c:pt idx="4544">
                  <c:v>#N/A</c:v>
                </c:pt>
                <c:pt idx="4545">
                  <c:v>#N/A</c:v>
                </c:pt>
                <c:pt idx="4546">
                  <c:v>#N/A</c:v>
                </c:pt>
                <c:pt idx="4547">
                  <c:v>#N/A</c:v>
                </c:pt>
                <c:pt idx="4548">
                  <c:v>#N/A</c:v>
                </c:pt>
                <c:pt idx="4549">
                  <c:v>#N/A</c:v>
                </c:pt>
                <c:pt idx="4550">
                  <c:v>#N/A</c:v>
                </c:pt>
                <c:pt idx="4551">
                  <c:v>#N/A</c:v>
                </c:pt>
                <c:pt idx="4552">
                  <c:v>#N/A</c:v>
                </c:pt>
                <c:pt idx="4553">
                  <c:v>#N/A</c:v>
                </c:pt>
                <c:pt idx="4554">
                  <c:v>#N/A</c:v>
                </c:pt>
                <c:pt idx="4555">
                  <c:v>#N/A</c:v>
                </c:pt>
                <c:pt idx="4556">
                  <c:v>#N/A</c:v>
                </c:pt>
                <c:pt idx="4557">
                  <c:v>#N/A</c:v>
                </c:pt>
                <c:pt idx="4558">
                  <c:v>#N/A</c:v>
                </c:pt>
                <c:pt idx="4559">
                  <c:v>#N/A</c:v>
                </c:pt>
                <c:pt idx="4560">
                  <c:v>#N/A</c:v>
                </c:pt>
                <c:pt idx="4561">
                  <c:v>#N/A</c:v>
                </c:pt>
                <c:pt idx="4562">
                  <c:v>#N/A</c:v>
                </c:pt>
                <c:pt idx="4563">
                  <c:v>#N/A</c:v>
                </c:pt>
                <c:pt idx="4564">
                  <c:v>#N/A</c:v>
                </c:pt>
                <c:pt idx="4565">
                  <c:v>#N/A</c:v>
                </c:pt>
                <c:pt idx="4566">
                  <c:v>#N/A</c:v>
                </c:pt>
                <c:pt idx="4567">
                  <c:v>#N/A</c:v>
                </c:pt>
                <c:pt idx="4568">
                  <c:v>#N/A</c:v>
                </c:pt>
                <c:pt idx="4569">
                  <c:v>#N/A</c:v>
                </c:pt>
                <c:pt idx="4570">
                  <c:v>#N/A</c:v>
                </c:pt>
                <c:pt idx="4571">
                  <c:v>#N/A</c:v>
                </c:pt>
                <c:pt idx="4572">
                  <c:v>#N/A</c:v>
                </c:pt>
                <c:pt idx="4573">
                  <c:v>#N/A</c:v>
                </c:pt>
                <c:pt idx="4574">
                  <c:v>#N/A</c:v>
                </c:pt>
                <c:pt idx="4575">
                  <c:v>#N/A</c:v>
                </c:pt>
                <c:pt idx="4576">
                  <c:v>#N/A</c:v>
                </c:pt>
                <c:pt idx="4577">
                  <c:v>#N/A</c:v>
                </c:pt>
                <c:pt idx="4578">
                  <c:v>#N/A</c:v>
                </c:pt>
                <c:pt idx="4579">
                  <c:v>#N/A</c:v>
                </c:pt>
                <c:pt idx="4580">
                  <c:v>#N/A</c:v>
                </c:pt>
                <c:pt idx="4581">
                  <c:v>#N/A</c:v>
                </c:pt>
                <c:pt idx="4582">
                  <c:v>#N/A</c:v>
                </c:pt>
                <c:pt idx="4583">
                  <c:v>#N/A</c:v>
                </c:pt>
                <c:pt idx="4584">
                  <c:v>#N/A</c:v>
                </c:pt>
                <c:pt idx="4585">
                  <c:v>#N/A</c:v>
                </c:pt>
                <c:pt idx="4586">
                  <c:v>#N/A</c:v>
                </c:pt>
                <c:pt idx="4587">
                  <c:v>#N/A</c:v>
                </c:pt>
                <c:pt idx="4588">
                  <c:v>#N/A</c:v>
                </c:pt>
                <c:pt idx="4589">
                  <c:v>#N/A</c:v>
                </c:pt>
                <c:pt idx="4590">
                  <c:v>#N/A</c:v>
                </c:pt>
                <c:pt idx="4591">
                  <c:v>#N/A</c:v>
                </c:pt>
                <c:pt idx="4592">
                  <c:v>#N/A</c:v>
                </c:pt>
                <c:pt idx="4593">
                  <c:v>#N/A</c:v>
                </c:pt>
                <c:pt idx="4594">
                  <c:v>#N/A</c:v>
                </c:pt>
                <c:pt idx="4595">
                  <c:v>#N/A</c:v>
                </c:pt>
                <c:pt idx="4596">
                  <c:v>#N/A</c:v>
                </c:pt>
                <c:pt idx="4597">
                  <c:v>#N/A</c:v>
                </c:pt>
                <c:pt idx="4598">
                  <c:v>#N/A</c:v>
                </c:pt>
                <c:pt idx="4599">
                  <c:v>#N/A</c:v>
                </c:pt>
                <c:pt idx="4600">
                  <c:v>#N/A</c:v>
                </c:pt>
                <c:pt idx="4601">
                  <c:v>#N/A</c:v>
                </c:pt>
                <c:pt idx="4602">
                  <c:v>#N/A</c:v>
                </c:pt>
                <c:pt idx="4603">
                  <c:v>#N/A</c:v>
                </c:pt>
                <c:pt idx="4604">
                  <c:v>#N/A</c:v>
                </c:pt>
                <c:pt idx="4605">
                  <c:v>#N/A</c:v>
                </c:pt>
                <c:pt idx="4606">
                  <c:v>#N/A</c:v>
                </c:pt>
                <c:pt idx="4607">
                  <c:v>#N/A</c:v>
                </c:pt>
                <c:pt idx="4608">
                  <c:v>#N/A</c:v>
                </c:pt>
                <c:pt idx="4609">
                  <c:v>#N/A</c:v>
                </c:pt>
                <c:pt idx="4610">
                  <c:v>#N/A</c:v>
                </c:pt>
                <c:pt idx="4611">
                  <c:v>#N/A</c:v>
                </c:pt>
                <c:pt idx="4612">
                  <c:v>#N/A</c:v>
                </c:pt>
                <c:pt idx="4613">
                  <c:v>#N/A</c:v>
                </c:pt>
                <c:pt idx="4614">
                  <c:v>#N/A</c:v>
                </c:pt>
                <c:pt idx="4615">
                  <c:v>#N/A</c:v>
                </c:pt>
                <c:pt idx="4616">
                  <c:v>#N/A</c:v>
                </c:pt>
                <c:pt idx="4617">
                  <c:v>#N/A</c:v>
                </c:pt>
                <c:pt idx="4618">
                  <c:v>#N/A</c:v>
                </c:pt>
                <c:pt idx="4619">
                  <c:v>#N/A</c:v>
                </c:pt>
                <c:pt idx="4620">
                  <c:v>#N/A</c:v>
                </c:pt>
                <c:pt idx="4621">
                  <c:v>#N/A</c:v>
                </c:pt>
                <c:pt idx="4622">
                  <c:v>#N/A</c:v>
                </c:pt>
                <c:pt idx="4623">
                  <c:v>#N/A</c:v>
                </c:pt>
                <c:pt idx="4624">
                  <c:v>#N/A</c:v>
                </c:pt>
                <c:pt idx="4625">
                  <c:v>#N/A</c:v>
                </c:pt>
                <c:pt idx="4626">
                  <c:v>#N/A</c:v>
                </c:pt>
                <c:pt idx="4627">
                  <c:v>#N/A</c:v>
                </c:pt>
                <c:pt idx="4628">
                  <c:v>#N/A</c:v>
                </c:pt>
                <c:pt idx="4629">
                  <c:v>#N/A</c:v>
                </c:pt>
                <c:pt idx="4630">
                  <c:v>#N/A</c:v>
                </c:pt>
                <c:pt idx="4631">
                  <c:v>#N/A</c:v>
                </c:pt>
                <c:pt idx="4632">
                  <c:v>#N/A</c:v>
                </c:pt>
                <c:pt idx="4633">
                  <c:v>#N/A</c:v>
                </c:pt>
                <c:pt idx="4634">
                  <c:v>#N/A</c:v>
                </c:pt>
                <c:pt idx="4635">
                  <c:v>#N/A</c:v>
                </c:pt>
                <c:pt idx="4636">
                  <c:v>#N/A</c:v>
                </c:pt>
                <c:pt idx="4637">
                  <c:v>#N/A</c:v>
                </c:pt>
                <c:pt idx="4638">
                  <c:v>#N/A</c:v>
                </c:pt>
                <c:pt idx="4639">
                  <c:v>#N/A</c:v>
                </c:pt>
                <c:pt idx="4640">
                  <c:v>#N/A</c:v>
                </c:pt>
                <c:pt idx="4641">
                  <c:v>#N/A</c:v>
                </c:pt>
                <c:pt idx="4642">
                  <c:v>#N/A</c:v>
                </c:pt>
                <c:pt idx="4643">
                  <c:v>#N/A</c:v>
                </c:pt>
                <c:pt idx="4644">
                  <c:v>#N/A</c:v>
                </c:pt>
                <c:pt idx="4645">
                  <c:v>#N/A</c:v>
                </c:pt>
                <c:pt idx="4646">
                  <c:v>#N/A</c:v>
                </c:pt>
                <c:pt idx="4647">
                  <c:v>#N/A</c:v>
                </c:pt>
                <c:pt idx="4648">
                  <c:v>#N/A</c:v>
                </c:pt>
                <c:pt idx="4649">
                  <c:v>#N/A</c:v>
                </c:pt>
                <c:pt idx="4650">
                  <c:v>#N/A</c:v>
                </c:pt>
                <c:pt idx="4651">
                  <c:v>#N/A</c:v>
                </c:pt>
                <c:pt idx="4652">
                  <c:v>#N/A</c:v>
                </c:pt>
                <c:pt idx="4653">
                  <c:v>#N/A</c:v>
                </c:pt>
                <c:pt idx="4654">
                  <c:v>#N/A</c:v>
                </c:pt>
                <c:pt idx="4655">
                  <c:v>#N/A</c:v>
                </c:pt>
                <c:pt idx="4656">
                  <c:v>#N/A</c:v>
                </c:pt>
                <c:pt idx="4657">
                  <c:v>#N/A</c:v>
                </c:pt>
                <c:pt idx="4658">
                  <c:v>#N/A</c:v>
                </c:pt>
                <c:pt idx="4659">
                  <c:v>#N/A</c:v>
                </c:pt>
                <c:pt idx="4660">
                  <c:v>#N/A</c:v>
                </c:pt>
                <c:pt idx="4661">
                  <c:v>#N/A</c:v>
                </c:pt>
                <c:pt idx="4662">
                  <c:v>#N/A</c:v>
                </c:pt>
                <c:pt idx="4663">
                  <c:v>#N/A</c:v>
                </c:pt>
                <c:pt idx="4664">
                  <c:v>#N/A</c:v>
                </c:pt>
                <c:pt idx="4665">
                  <c:v>#N/A</c:v>
                </c:pt>
                <c:pt idx="4666">
                  <c:v>#N/A</c:v>
                </c:pt>
                <c:pt idx="4667">
                  <c:v>#N/A</c:v>
                </c:pt>
                <c:pt idx="4668">
                  <c:v>#N/A</c:v>
                </c:pt>
                <c:pt idx="4669">
                  <c:v>#N/A</c:v>
                </c:pt>
                <c:pt idx="4670">
                  <c:v>#N/A</c:v>
                </c:pt>
                <c:pt idx="4671">
                  <c:v>#N/A</c:v>
                </c:pt>
                <c:pt idx="4672">
                  <c:v>#N/A</c:v>
                </c:pt>
                <c:pt idx="4673">
                  <c:v>#N/A</c:v>
                </c:pt>
                <c:pt idx="4674">
                  <c:v>#N/A</c:v>
                </c:pt>
                <c:pt idx="4675">
                  <c:v>#N/A</c:v>
                </c:pt>
                <c:pt idx="4676">
                  <c:v>#N/A</c:v>
                </c:pt>
                <c:pt idx="4677">
                  <c:v>#N/A</c:v>
                </c:pt>
                <c:pt idx="4678">
                  <c:v>#N/A</c:v>
                </c:pt>
                <c:pt idx="4679">
                  <c:v>#N/A</c:v>
                </c:pt>
                <c:pt idx="4680">
                  <c:v>#N/A</c:v>
                </c:pt>
                <c:pt idx="4681">
                  <c:v>#N/A</c:v>
                </c:pt>
                <c:pt idx="4682">
                  <c:v>#N/A</c:v>
                </c:pt>
                <c:pt idx="4683">
                  <c:v>#N/A</c:v>
                </c:pt>
                <c:pt idx="4684">
                  <c:v>#N/A</c:v>
                </c:pt>
                <c:pt idx="4685">
                  <c:v>#N/A</c:v>
                </c:pt>
                <c:pt idx="4686">
                  <c:v>#N/A</c:v>
                </c:pt>
                <c:pt idx="4687">
                  <c:v>#N/A</c:v>
                </c:pt>
                <c:pt idx="4688">
                  <c:v>#N/A</c:v>
                </c:pt>
                <c:pt idx="4689">
                  <c:v>#N/A</c:v>
                </c:pt>
                <c:pt idx="4690">
                  <c:v>#N/A</c:v>
                </c:pt>
                <c:pt idx="4691">
                  <c:v>#N/A</c:v>
                </c:pt>
                <c:pt idx="4692">
                  <c:v>#N/A</c:v>
                </c:pt>
                <c:pt idx="4693">
                  <c:v>#N/A</c:v>
                </c:pt>
                <c:pt idx="4694">
                  <c:v>#N/A</c:v>
                </c:pt>
                <c:pt idx="4695">
                  <c:v>#N/A</c:v>
                </c:pt>
                <c:pt idx="4696">
                  <c:v>#N/A</c:v>
                </c:pt>
                <c:pt idx="4697">
                  <c:v>#N/A</c:v>
                </c:pt>
                <c:pt idx="4698">
                  <c:v>#N/A</c:v>
                </c:pt>
                <c:pt idx="4699">
                  <c:v>#N/A</c:v>
                </c:pt>
                <c:pt idx="4700">
                  <c:v>#N/A</c:v>
                </c:pt>
                <c:pt idx="4701">
                  <c:v>#N/A</c:v>
                </c:pt>
                <c:pt idx="4702">
                  <c:v>#N/A</c:v>
                </c:pt>
                <c:pt idx="4703">
                  <c:v>#N/A</c:v>
                </c:pt>
                <c:pt idx="4704">
                  <c:v>#N/A</c:v>
                </c:pt>
                <c:pt idx="4705">
                  <c:v>#N/A</c:v>
                </c:pt>
                <c:pt idx="4706">
                  <c:v>#N/A</c:v>
                </c:pt>
                <c:pt idx="4707">
                  <c:v>#N/A</c:v>
                </c:pt>
                <c:pt idx="4708">
                  <c:v>#N/A</c:v>
                </c:pt>
                <c:pt idx="4709">
                  <c:v>#N/A</c:v>
                </c:pt>
                <c:pt idx="4710">
                  <c:v>#N/A</c:v>
                </c:pt>
                <c:pt idx="4711">
                  <c:v>#N/A</c:v>
                </c:pt>
                <c:pt idx="4712">
                  <c:v>#N/A</c:v>
                </c:pt>
                <c:pt idx="4713">
                  <c:v>#N/A</c:v>
                </c:pt>
                <c:pt idx="4714">
                  <c:v>#N/A</c:v>
                </c:pt>
                <c:pt idx="4715">
                  <c:v>#N/A</c:v>
                </c:pt>
                <c:pt idx="4716">
                  <c:v>#N/A</c:v>
                </c:pt>
                <c:pt idx="4717">
                  <c:v>#N/A</c:v>
                </c:pt>
                <c:pt idx="4718">
                  <c:v>#N/A</c:v>
                </c:pt>
                <c:pt idx="4719">
                  <c:v>#N/A</c:v>
                </c:pt>
                <c:pt idx="4720">
                  <c:v>#N/A</c:v>
                </c:pt>
                <c:pt idx="4721">
                  <c:v>#N/A</c:v>
                </c:pt>
                <c:pt idx="4722">
                  <c:v>#N/A</c:v>
                </c:pt>
                <c:pt idx="4723">
                  <c:v>#N/A</c:v>
                </c:pt>
                <c:pt idx="4724">
                  <c:v>#N/A</c:v>
                </c:pt>
                <c:pt idx="4725">
                  <c:v>#N/A</c:v>
                </c:pt>
                <c:pt idx="4726">
                  <c:v>#N/A</c:v>
                </c:pt>
                <c:pt idx="4727">
                  <c:v>#N/A</c:v>
                </c:pt>
                <c:pt idx="4728">
                  <c:v>#N/A</c:v>
                </c:pt>
                <c:pt idx="4729">
                  <c:v>#N/A</c:v>
                </c:pt>
                <c:pt idx="4730">
                  <c:v>#N/A</c:v>
                </c:pt>
                <c:pt idx="4731">
                  <c:v>#N/A</c:v>
                </c:pt>
                <c:pt idx="4732">
                  <c:v>#N/A</c:v>
                </c:pt>
                <c:pt idx="4733">
                  <c:v>#N/A</c:v>
                </c:pt>
                <c:pt idx="4734">
                  <c:v>#N/A</c:v>
                </c:pt>
                <c:pt idx="4735">
                  <c:v>#N/A</c:v>
                </c:pt>
                <c:pt idx="4736">
                  <c:v>#N/A</c:v>
                </c:pt>
                <c:pt idx="4737">
                  <c:v>#N/A</c:v>
                </c:pt>
                <c:pt idx="4738">
                  <c:v>#N/A</c:v>
                </c:pt>
                <c:pt idx="4739">
                  <c:v>#N/A</c:v>
                </c:pt>
                <c:pt idx="4740">
                  <c:v>#N/A</c:v>
                </c:pt>
                <c:pt idx="4741">
                  <c:v>#N/A</c:v>
                </c:pt>
                <c:pt idx="4742">
                  <c:v>#N/A</c:v>
                </c:pt>
                <c:pt idx="4743">
                  <c:v>#N/A</c:v>
                </c:pt>
                <c:pt idx="4744">
                  <c:v>#N/A</c:v>
                </c:pt>
                <c:pt idx="4745">
                  <c:v>#N/A</c:v>
                </c:pt>
                <c:pt idx="4746">
                  <c:v>#N/A</c:v>
                </c:pt>
                <c:pt idx="4747">
                  <c:v>#N/A</c:v>
                </c:pt>
                <c:pt idx="4748">
                  <c:v>#N/A</c:v>
                </c:pt>
                <c:pt idx="4749">
                  <c:v>#N/A</c:v>
                </c:pt>
                <c:pt idx="4750">
                  <c:v>#N/A</c:v>
                </c:pt>
                <c:pt idx="4751">
                  <c:v>#N/A</c:v>
                </c:pt>
                <c:pt idx="4752">
                  <c:v>#N/A</c:v>
                </c:pt>
                <c:pt idx="4753">
                  <c:v>#N/A</c:v>
                </c:pt>
                <c:pt idx="4754">
                  <c:v>#N/A</c:v>
                </c:pt>
                <c:pt idx="4755">
                  <c:v>#N/A</c:v>
                </c:pt>
                <c:pt idx="4756">
                  <c:v>#N/A</c:v>
                </c:pt>
                <c:pt idx="4757">
                  <c:v>#N/A</c:v>
                </c:pt>
                <c:pt idx="4758">
                  <c:v>#N/A</c:v>
                </c:pt>
                <c:pt idx="4759">
                  <c:v>#N/A</c:v>
                </c:pt>
                <c:pt idx="4760">
                  <c:v>#N/A</c:v>
                </c:pt>
                <c:pt idx="4761">
                  <c:v>#N/A</c:v>
                </c:pt>
                <c:pt idx="4762">
                  <c:v>#N/A</c:v>
                </c:pt>
                <c:pt idx="4763">
                  <c:v>#N/A</c:v>
                </c:pt>
                <c:pt idx="4764">
                  <c:v>#N/A</c:v>
                </c:pt>
                <c:pt idx="4765">
                  <c:v>#N/A</c:v>
                </c:pt>
                <c:pt idx="4766">
                  <c:v>#N/A</c:v>
                </c:pt>
                <c:pt idx="4767">
                  <c:v>#N/A</c:v>
                </c:pt>
                <c:pt idx="4768">
                  <c:v>#N/A</c:v>
                </c:pt>
                <c:pt idx="4769">
                  <c:v>#N/A</c:v>
                </c:pt>
                <c:pt idx="4770">
                  <c:v>#N/A</c:v>
                </c:pt>
                <c:pt idx="4771">
                  <c:v>#N/A</c:v>
                </c:pt>
                <c:pt idx="4772">
                  <c:v>#N/A</c:v>
                </c:pt>
                <c:pt idx="4773">
                  <c:v>#N/A</c:v>
                </c:pt>
                <c:pt idx="4774">
                  <c:v>#N/A</c:v>
                </c:pt>
                <c:pt idx="4775">
                  <c:v>#N/A</c:v>
                </c:pt>
                <c:pt idx="4776">
                  <c:v>#N/A</c:v>
                </c:pt>
                <c:pt idx="4777">
                  <c:v>#N/A</c:v>
                </c:pt>
                <c:pt idx="4778">
                  <c:v>#N/A</c:v>
                </c:pt>
                <c:pt idx="4779">
                  <c:v>#N/A</c:v>
                </c:pt>
                <c:pt idx="4780">
                  <c:v>#N/A</c:v>
                </c:pt>
                <c:pt idx="4781">
                  <c:v>#N/A</c:v>
                </c:pt>
                <c:pt idx="4782">
                  <c:v>#N/A</c:v>
                </c:pt>
                <c:pt idx="4783">
                  <c:v>#N/A</c:v>
                </c:pt>
                <c:pt idx="4784">
                  <c:v>#N/A</c:v>
                </c:pt>
                <c:pt idx="4785">
                  <c:v>#N/A</c:v>
                </c:pt>
                <c:pt idx="4786">
                  <c:v>#N/A</c:v>
                </c:pt>
                <c:pt idx="4787">
                  <c:v>#N/A</c:v>
                </c:pt>
                <c:pt idx="4788">
                  <c:v>#N/A</c:v>
                </c:pt>
                <c:pt idx="4789">
                  <c:v>#N/A</c:v>
                </c:pt>
                <c:pt idx="4790">
                  <c:v>#N/A</c:v>
                </c:pt>
                <c:pt idx="4791">
                  <c:v>#N/A</c:v>
                </c:pt>
                <c:pt idx="4792">
                  <c:v>#N/A</c:v>
                </c:pt>
                <c:pt idx="4793">
                  <c:v>#N/A</c:v>
                </c:pt>
                <c:pt idx="4794">
                  <c:v>#N/A</c:v>
                </c:pt>
                <c:pt idx="4795">
                  <c:v>#N/A</c:v>
                </c:pt>
                <c:pt idx="4796">
                  <c:v>#N/A</c:v>
                </c:pt>
                <c:pt idx="4797">
                  <c:v>#N/A</c:v>
                </c:pt>
                <c:pt idx="4798">
                  <c:v>#N/A</c:v>
                </c:pt>
                <c:pt idx="4799">
                  <c:v>#N/A</c:v>
                </c:pt>
                <c:pt idx="4800">
                  <c:v>#N/A</c:v>
                </c:pt>
                <c:pt idx="4801">
                  <c:v>#N/A</c:v>
                </c:pt>
                <c:pt idx="4802">
                  <c:v>#N/A</c:v>
                </c:pt>
                <c:pt idx="4803">
                  <c:v>#N/A</c:v>
                </c:pt>
                <c:pt idx="4804">
                  <c:v>#N/A</c:v>
                </c:pt>
                <c:pt idx="4805">
                  <c:v>#N/A</c:v>
                </c:pt>
                <c:pt idx="4806">
                  <c:v>#N/A</c:v>
                </c:pt>
                <c:pt idx="4807">
                  <c:v>#N/A</c:v>
                </c:pt>
                <c:pt idx="4808">
                  <c:v>#N/A</c:v>
                </c:pt>
                <c:pt idx="4809">
                  <c:v>#N/A</c:v>
                </c:pt>
                <c:pt idx="4810">
                  <c:v>#N/A</c:v>
                </c:pt>
                <c:pt idx="4811">
                  <c:v>#N/A</c:v>
                </c:pt>
                <c:pt idx="4812">
                  <c:v>#N/A</c:v>
                </c:pt>
                <c:pt idx="4813">
                  <c:v>#N/A</c:v>
                </c:pt>
                <c:pt idx="4814">
                  <c:v>#N/A</c:v>
                </c:pt>
                <c:pt idx="4815">
                  <c:v>#N/A</c:v>
                </c:pt>
                <c:pt idx="4816">
                  <c:v>#N/A</c:v>
                </c:pt>
                <c:pt idx="4817">
                  <c:v>#N/A</c:v>
                </c:pt>
                <c:pt idx="4818">
                  <c:v>#N/A</c:v>
                </c:pt>
                <c:pt idx="4819">
                  <c:v>#N/A</c:v>
                </c:pt>
                <c:pt idx="4820">
                  <c:v>#N/A</c:v>
                </c:pt>
                <c:pt idx="4821">
                  <c:v>#N/A</c:v>
                </c:pt>
                <c:pt idx="4822">
                  <c:v>#N/A</c:v>
                </c:pt>
                <c:pt idx="4823">
                  <c:v>#N/A</c:v>
                </c:pt>
                <c:pt idx="4824">
                  <c:v>#N/A</c:v>
                </c:pt>
                <c:pt idx="4825">
                  <c:v>#N/A</c:v>
                </c:pt>
                <c:pt idx="4826">
                  <c:v>#N/A</c:v>
                </c:pt>
                <c:pt idx="4827">
                  <c:v>#N/A</c:v>
                </c:pt>
                <c:pt idx="4828">
                  <c:v>#N/A</c:v>
                </c:pt>
                <c:pt idx="4829">
                  <c:v>#N/A</c:v>
                </c:pt>
                <c:pt idx="4830">
                  <c:v>#N/A</c:v>
                </c:pt>
                <c:pt idx="4831">
                  <c:v>#N/A</c:v>
                </c:pt>
                <c:pt idx="4832">
                  <c:v>#N/A</c:v>
                </c:pt>
                <c:pt idx="4833">
                  <c:v>#N/A</c:v>
                </c:pt>
                <c:pt idx="4834">
                  <c:v>#N/A</c:v>
                </c:pt>
                <c:pt idx="4835">
                  <c:v>#N/A</c:v>
                </c:pt>
                <c:pt idx="4836">
                  <c:v>#N/A</c:v>
                </c:pt>
                <c:pt idx="4837">
                  <c:v>#N/A</c:v>
                </c:pt>
                <c:pt idx="4838">
                  <c:v>#N/A</c:v>
                </c:pt>
                <c:pt idx="4839">
                  <c:v>#N/A</c:v>
                </c:pt>
                <c:pt idx="4840">
                  <c:v>#N/A</c:v>
                </c:pt>
                <c:pt idx="4841">
                  <c:v>#N/A</c:v>
                </c:pt>
                <c:pt idx="4842">
                  <c:v>#N/A</c:v>
                </c:pt>
                <c:pt idx="4843">
                  <c:v>#N/A</c:v>
                </c:pt>
                <c:pt idx="4844">
                  <c:v>#N/A</c:v>
                </c:pt>
                <c:pt idx="4845">
                  <c:v>#N/A</c:v>
                </c:pt>
                <c:pt idx="4846">
                  <c:v>#N/A</c:v>
                </c:pt>
                <c:pt idx="4847">
                  <c:v>#N/A</c:v>
                </c:pt>
                <c:pt idx="4848">
                  <c:v>#N/A</c:v>
                </c:pt>
                <c:pt idx="4849">
                  <c:v>#N/A</c:v>
                </c:pt>
                <c:pt idx="4850">
                  <c:v>#N/A</c:v>
                </c:pt>
                <c:pt idx="4851">
                  <c:v>#N/A</c:v>
                </c:pt>
                <c:pt idx="4852">
                  <c:v>#N/A</c:v>
                </c:pt>
                <c:pt idx="4853">
                  <c:v>#N/A</c:v>
                </c:pt>
                <c:pt idx="4854">
                  <c:v>#N/A</c:v>
                </c:pt>
                <c:pt idx="4855">
                  <c:v>#N/A</c:v>
                </c:pt>
                <c:pt idx="4856">
                  <c:v>#N/A</c:v>
                </c:pt>
                <c:pt idx="4857">
                  <c:v>#N/A</c:v>
                </c:pt>
                <c:pt idx="4858">
                  <c:v>#N/A</c:v>
                </c:pt>
                <c:pt idx="4859">
                  <c:v>#N/A</c:v>
                </c:pt>
                <c:pt idx="4860">
                  <c:v>#N/A</c:v>
                </c:pt>
                <c:pt idx="4861">
                  <c:v>#N/A</c:v>
                </c:pt>
                <c:pt idx="4862">
                  <c:v>#N/A</c:v>
                </c:pt>
                <c:pt idx="4863">
                  <c:v>#N/A</c:v>
                </c:pt>
                <c:pt idx="4864">
                  <c:v>#N/A</c:v>
                </c:pt>
                <c:pt idx="4865">
                  <c:v>#N/A</c:v>
                </c:pt>
                <c:pt idx="4866">
                  <c:v>#N/A</c:v>
                </c:pt>
                <c:pt idx="4867">
                  <c:v>#N/A</c:v>
                </c:pt>
                <c:pt idx="4868">
                  <c:v>#N/A</c:v>
                </c:pt>
                <c:pt idx="4869">
                  <c:v>#N/A</c:v>
                </c:pt>
                <c:pt idx="4870">
                  <c:v>#N/A</c:v>
                </c:pt>
                <c:pt idx="4871">
                  <c:v>#N/A</c:v>
                </c:pt>
                <c:pt idx="4872">
                  <c:v>#N/A</c:v>
                </c:pt>
                <c:pt idx="4873">
                  <c:v>#N/A</c:v>
                </c:pt>
                <c:pt idx="4874">
                  <c:v>#N/A</c:v>
                </c:pt>
                <c:pt idx="4875">
                  <c:v>#N/A</c:v>
                </c:pt>
                <c:pt idx="4876">
                  <c:v>#N/A</c:v>
                </c:pt>
                <c:pt idx="4877">
                  <c:v>#N/A</c:v>
                </c:pt>
                <c:pt idx="4878">
                  <c:v>#N/A</c:v>
                </c:pt>
                <c:pt idx="4879">
                  <c:v>#N/A</c:v>
                </c:pt>
                <c:pt idx="4880">
                  <c:v>#N/A</c:v>
                </c:pt>
                <c:pt idx="4881">
                  <c:v>#N/A</c:v>
                </c:pt>
                <c:pt idx="4882">
                  <c:v>#N/A</c:v>
                </c:pt>
                <c:pt idx="4883">
                  <c:v>#N/A</c:v>
                </c:pt>
                <c:pt idx="4884">
                  <c:v>#N/A</c:v>
                </c:pt>
                <c:pt idx="4885">
                  <c:v>#N/A</c:v>
                </c:pt>
                <c:pt idx="4886">
                  <c:v>#N/A</c:v>
                </c:pt>
                <c:pt idx="4887">
                  <c:v>#N/A</c:v>
                </c:pt>
                <c:pt idx="4888">
                  <c:v>#N/A</c:v>
                </c:pt>
                <c:pt idx="4889">
                  <c:v>#N/A</c:v>
                </c:pt>
                <c:pt idx="4890">
                  <c:v>#N/A</c:v>
                </c:pt>
                <c:pt idx="4891">
                  <c:v>#N/A</c:v>
                </c:pt>
                <c:pt idx="4892">
                  <c:v>#N/A</c:v>
                </c:pt>
                <c:pt idx="4893">
                  <c:v>#N/A</c:v>
                </c:pt>
                <c:pt idx="4894">
                  <c:v>#N/A</c:v>
                </c:pt>
                <c:pt idx="4895">
                  <c:v>#N/A</c:v>
                </c:pt>
                <c:pt idx="4896">
                  <c:v>#N/A</c:v>
                </c:pt>
                <c:pt idx="4897">
                  <c:v>#N/A</c:v>
                </c:pt>
                <c:pt idx="4898">
                  <c:v>#N/A</c:v>
                </c:pt>
                <c:pt idx="4899">
                  <c:v>#N/A</c:v>
                </c:pt>
                <c:pt idx="4900">
                  <c:v>#N/A</c:v>
                </c:pt>
                <c:pt idx="4901">
                  <c:v>#N/A</c:v>
                </c:pt>
                <c:pt idx="4902">
                  <c:v>#N/A</c:v>
                </c:pt>
                <c:pt idx="4903">
                  <c:v>#N/A</c:v>
                </c:pt>
                <c:pt idx="4904">
                  <c:v>#N/A</c:v>
                </c:pt>
                <c:pt idx="4905">
                  <c:v>#N/A</c:v>
                </c:pt>
                <c:pt idx="4906">
                  <c:v>#N/A</c:v>
                </c:pt>
                <c:pt idx="4907">
                  <c:v>#N/A</c:v>
                </c:pt>
                <c:pt idx="4908">
                  <c:v>#N/A</c:v>
                </c:pt>
                <c:pt idx="4909">
                  <c:v>#N/A</c:v>
                </c:pt>
                <c:pt idx="4910">
                  <c:v>#N/A</c:v>
                </c:pt>
                <c:pt idx="4911">
                  <c:v>#N/A</c:v>
                </c:pt>
                <c:pt idx="4912">
                  <c:v>#N/A</c:v>
                </c:pt>
                <c:pt idx="4913">
                  <c:v>#N/A</c:v>
                </c:pt>
                <c:pt idx="4914">
                  <c:v>#N/A</c:v>
                </c:pt>
                <c:pt idx="4915">
                  <c:v>#N/A</c:v>
                </c:pt>
                <c:pt idx="4916">
                  <c:v>#N/A</c:v>
                </c:pt>
                <c:pt idx="4917">
                  <c:v>#N/A</c:v>
                </c:pt>
                <c:pt idx="4918">
                  <c:v>#N/A</c:v>
                </c:pt>
                <c:pt idx="4919">
                  <c:v>#N/A</c:v>
                </c:pt>
                <c:pt idx="4920">
                  <c:v>#N/A</c:v>
                </c:pt>
                <c:pt idx="4921">
                  <c:v>#N/A</c:v>
                </c:pt>
                <c:pt idx="4922">
                  <c:v>#N/A</c:v>
                </c:pt>
                <c:pt idx="4923">
                  <c:v>#N/A</c:v>
                </c:pt>
                <c:pt idx="4924">
                  <c:v>#N/A</c:v>
                </c:pt>
                <c:pt idx="4925">
                  <c:v>#N/A</c:v>
                </c:pt>
                <c:pt idx="4926">
                  <c:v>#N/A</c:v>
                </c:pt>
                <c:pt idx="4927">
                  <c:v>#N/A</c:v>
                </c:pt>
                <c:pt idx="4928">
                  <c:v>#N/A</c:v>
                </c:pt>
                <c:pt idx="4929">
                  <c:v>#N/A</c:v>
                </c:pt>
                <c:pt idx="4930">
                  <c:v>#N/A</c:v>
                </c:pt>
                <c:pt idx="4931">
                  <c:v>#N/A</c:v>
                </c:pt>
                <c:pt idx="4932">
                  <c:v>#N/A</c:v>
                </c:pt>
                <c:pt idx="4933">
                  <c:v>#N/A</c:v>
                </c:pt>
                <c:pt idx="4934">
                  <c:v>#N/A</c:v>
                </c:pt>
                <c:pt idx="4935">
                  <c:v>#N/A</c:v>
                </c:pt>
                <c:pt idx="4936">
                  <c:v>#N/A</c:v>
                </c:pt>
                <c:pt idx="4937">
                  <c:v>#N/A</c:v>
                </c:pt>
                <c:pt idx="4938">
                  <c:v>#N/A</c:v>
                </c:pt>
                <c:pt idx="4939">
                  <c:v>#N/A</c:v>
                </c:pt>
                <c:pt idx="4940">
                  <c:v>#N/A</c:v>
                </c:pt>
                <c:pt idx="4941">
                  <c:v>#N/A</c:v>
                </c:pt>
                <c:pt idx="4942">
                  <c:v>#N/A</c:v>
                </c:pt>
                <c:pt idx="4943">
                  <c:v>#N/A</c:v>
                </c:pt>
                <c:pt idx="4944">
                  <c:v>#N/A</c:v>
                </c:pt>
                <c:pt idx="4945">
                  <c:v>#N/A</c:v>
                </c:pt>
                <c:pt idx="4946">
                  <c:v>#N/A</c:v>
                </c:pt>
                <c:pt idx="4947">
                  <c:v>#N/A</c:v>
                </c:pt>
                <c:pt idx="4948">
                  <c:v>#N/A</c:v>
                </c:pt>
                <c:pt idx="4949">
                  <c:v>#N/A</c:v>
                </c:pt>
                <c:pt idx="4950">
                  <c:v>#N/A</c:v>
                </c:pt>
                <c:pt idx="4951">
                  <c:v>#N/A</c:v>
                </c:pt>
                <c:pt idx="4952">
                  <c:v>#N/A</c:v>
                </c:pt>
                <c:pt idx="4953">
                  <c:v>#N/A</c:v>
                </c:pt>
                <c:pt idx="4954">
                  <c:v>#N/A</c:v>
                </c:pt>
                <c:pt idx="4955">
                  <c:v>#N/A</c:v>
                </c:pt>
                <c:pt idx="4956">
                  <c:v>#N/A</c:v>
                </c:pt>
                <c:pt idx="4957">
                  <c:v>#N/A</c:v>
                </c:pt>
                <c:pt idx="4958">
                  <c:v>#N/A</c:v>
                </c:pt>
                <c:pt idx="4959">
                  <c:v>#N/A</c:v>
                </c:pt>
                <c:pt idx="4960">
                  <c:v>#N/A</c:v>
                </c:pt>
                <c:pt idx="4961">
                  <c:v>#N/A</c:v>
                </c:pt>
                <c:pt idx="4962">
                  <c:v>#N/A</c:v>
                </c:pt>
                <c:pt idx="4963">
                  <c:v>#N/A</c:v>
                </c:pt>
                <c:pt idx="4964">
                  <c:v>#N/A</c:v>
                </c:pt>
                <c:pt idx="4965">
                  <c:v>#N/A</c:v>
                </c:pt>
                <c:pt idx="4966">
                  <c:v>#N/A</c:v>
                </c:pt>
                <c:pt idx="4967">
                  <c:v>#N/A</c:v>
                </c:pt>
                <c:pt idx="4968">
                  <c:v>#N/A</c:v>
                </c:pt>
                <c:pt idx="4969">
                  <c:v>#N/A</c:v>
                </c:pt>
                <c:pt idx="4970">
                  <c:v>#N/A</c:v>
                </c:pt>
                <c:pt idx="4971">
                  <c:v>#N/A</c:v>
                </c:pt>
                <c:pt idx="4972">
                  <c:v>#N/A</c:v>
                </c:pt>
                <c:pt idx="4973">
                  <c:v>#N/A</c:v>
                </c:pt>
                <c:pt idx="4974">
                  <c:v>#N/A</c:v>
                </c:pt>
                <c:pt idx="4975">
                  <c:v>#N/A</c:v>
                </c:pt>
                <c:pt idx="4976">
                  <c:v>#N/A</c:v>
                </c:pt>
                <c:pt idx="4977">
                  <c:v>#N/A</c:v>
                </c:pt>
                <c:pt idx="4978">
                  <c:v>#N/A</c:v>
                </c:pt>
                <c:pt idx="4979">
                  <c:v>#N/A</c:v>
                </c:pt>
                <c:pt idx="4980">
                  <c:v>#N/A</c:v>
                </c:pt>
                <c:pt idx="4981">
                  <c:v>#N/A</c:v>
                </c:pt>
                <c:pt idx="4982">
                  <c:v>#N/A</c:v>
                </c:pt>
                <c:pt idx="4983">
                  <c:v>#N/A</c:v>
                </c:pt>
                <c:pt idx="4984">
                  <c:v>#N/A</c:v>
                </c:pt>
                <c:pt idx="4985">
                  <c:v>#N/A</c:v>
                </c:pt>
                <c:pt idx="4986">
                  <c:v>#N/A</c:v>
                </c:pt>
                <c:pt idx="4987">
                  <c:v>#N/A</c:v>
                </c:pt>
                <c:pt idx="4988">
                  <c:v>#N/A</c:v>
                </c:pt>
                <c:pt idx="4989">
                  <c:v>#N/A</c:v>
                </c:pt>
                <c:pt idx="4990">
                  <c:v>#N/A</c:v>
                </c:pt>
                <c:pt idx="4991">
                  <c:v>#N/A</c:v>
                </c:pt>
                <c:pt idx="4992">
                  <c:v>#N/A</c:v>
                </c:pt>
                <c:pt idx="4993">
                  <c:v>#N/A</c:v>
                </c:pt>
                <c:pt idx="4994">
                  <c:v>#N/A</c:v>
                </c:pt>
                <c:pt idx="4995">
                  <c:v>#N/A</c:v>
                </c:pt>
                <c:pt idx="4996">
                  <c:v>#N/A</c:v>
                </c:pt>
                <c:pt idx="4997">
                  <c:v>#N/A</c:v>
                </c:pt>
                <c:pt idx="4998">
                  <c:v>#N/A</c:v>
                </c:pt>
                <c:pt idx="4999">
                  <c:v>#N/A</c:v>
                </c:pt>
                <c:pt idx="5000">
                  <c:v>#N/A</c:v>
                </c:pt>
                <c:pt idx="5001">
                  <c:v>#N/A</c:v>
                </c:pt>
                <c:pt idx="5002">
                  <c:v>#N/A</c:v>
                </c:pt>
                <c:pt idx="5003">
                  <c:v>#N/A</c:v>
                </c:pt>
                <c:pt idx="5004">
                  <c:v>#N/A</c:v>
                </c:pt>
                <c:pt idx="5005">
                  <c:v>#N/A</c:v>
                </c:pt>
                <c:pt idx="5006">
                  <c:v>#N/A</c:v>
                </c:pt>
                <c:pt idx="5007">
                  <c:v>#N/A</c:v>
                </c:pt>
                <c:pt idx="5008">
                  <c:v>#N/A</c:v>
                </c:pt>
                <c:pt idx="5009">
                  <c:v>#N/A</c:v>
                </c:pt>
                <c:pt idx="5010">
                  <c:v>#N/A</c:v>
                </c:pt>
                <c:pt idx="5011">
                  <c:v>#N/A</c:v>
                </c:pt>
                <c:pt idx="5012">
                  <c:v>#N/A</c:v>
                </c:pt>
                <c:pt idx="5013">
                  <c:v>#N/A</c:v>
                </c:pt>
                <c:pt idx="5014">
                  <c:v>#N/A</c:v>
                </c:pt>
                <c:pt idx="5015">
                  <c:v>#N/A</c:v>
                </c:pt>
                <c:pt idx="5016">
                  <c:v>#N/A</c:v>
                </c:pt>
                <c:pt idx="5017">
                  <c:v>#N/A</c:v>
                </c:pt>
                <c:pt idx="5018">
                  <c:v>#N/A</c:v>
                </c:pt>
                <c:pt idx="5019">
                  <c:v>#N/A</c:v>
                </c:pt>
                <c:pt idx="5020">
                  <c:v>#N/A</c:v>
                </c:pt>
                <c:pt idx="5021">
                  <c:v>#N/A</c:v>
                </c:pt>
                <c:pt idx="5022">
                  <c:v>#N/A</c:v>
                </c:pt>
                <c:pt idx="5023">
                  <c:v>#N/A</c:v>
                </c:pt>
                <c:pt idx="5024">
                  <c:v>#N/A</c:v>
                </c:pt>
                <c:pt idx="5025">
                  <c:v>#N/A</c:v>
                </c:pt>
                <c:pt idx="5026">
                  <c:v>#N/A</c:v>
                </c:pt>
                <c:pt idx="5027">
                  <c:v>#N/A</c:v>
                </c:pt>
                <c:pt idx="5028">
                  <c:v>#N/A</c:v>
                </c:pt>
                <c:pt idx="5029">
                  <c:v>#N/A</c:v>
                </c:pt>
                <c:pt idx="5030">
                  <c:v>#N/A</c:v>
                </c:pt>
                <c:pt idx="5031">
                  <c:v>#N/A</c:v>
                </c:pt>
                <c:pt idx="5032">
                  <c:v>#N/A</c:v>
                </c:pt>
                <c:pt idx="5033">
                  <c:v>#N/A</c:v>
                </c:pt>
                <c:pt idx="5034">
                  <c:v>#N/A</c:v>
                </c:pt>
                <c:pt idx="5035">
                  <c:v>#N/A</c:v>
                </c:pt>
                <c:pt idx="5036">
                  <c:v>#N/A</c:v>
                </c:pt>
                <c:pt idx="5037">
                  <c:v>#N/A</c:v>
                </c:pt>
                <c:pt idx="5038">
                  <c:v>#N/A</c:v>
                </c:pt>
                <c:pt idx="5039">
                  <c:v>#N/A</c:v>
                </c:pt>
                <c:pt idx="5040">
                  <c:v>#N/A</c:v>
                </c:pt>
                <c:pt idx="5041">
                  <c:v>#N/A</c:v>
                </c:pt>
                <c:pt idx="5042">
                  <c:v>#N/A</c:v>
                </c:pt>
                <c:pt idx="5043">
                  <c:v>#N/A</c:v>
                </c:pt>
                <c:pt idx="5044">
                  <c:v>#N/A</c:v>
                </c:pt>
                <c:pt idx="5045">
                  <c:v>#N/A</c:v>
                </c:pt>
                <c:pt idx="5046">
                  <c:v>#N/A</c:v>
                </c:pt>
                <c:pt idx="5047">
                  <c:v>#N/A</c:v>
                </c:pt>
                <c:pt idx="5048">
                  <c:v>#N/A</c:v>
                </c:pt>
                <c:pt idx="5049">
                  <c:v>#N/A</c:v>
                </c:pt>
                <c:pt idx="5050">
                  <c:v>#N/A</c:v>
                </c:pt>
                <c:pt idx="5051">
                  <c:v>#N/A</c:v>
                </c:pt>
                <c:pt idx="5052">
                  <c:v>#N/A</c:v>
                </c:pt>
                <c:pt idx="5053">
                  <c:v>#N/A</c:v>
                </c:pt>
                <c:pt idx="5054">
                  <c:v>#N/A</c:v>
                </c:pt>
                <c:pt idx="5055">
                  <c:v>#N/A</c:v>
                </c:pt>
                <c:pt idx="5056">
                  <c:v>#N/A</c:v>
                </c:pt>
                <c:pt idx="5057">
                  <c:v>#N/A</c:v>
                </c:pt>
                <c:pt idx="5058">
                  <c:v>#N/A</c:v>
                </c:pt>
                <c:pt idx="5059">
                  <c:v>#N/A</c:v>
                </c:pt>
                <c:pt idx="5060">
                  <c:v>#N/A</c:v>
                </c:pt>
                <c:pt idx="5061">
                  <c:v>#N/A</c:v>
                </c:pt>
                <c:pt idx="5062">
                  <c:v>#N/A</c:v>
                </c:pt>
                <c:pt idx="5063">
                  <c:v>#N/A</c:v>
                </c:pt>
                <c:pt idx="5064">
                  <c:v>#N/A</c:v>
                </c:pt>
                <c:pt idx="5065">
                  <c:v>#N/A</c:v>
                </c:pt>
                <c:pt idx="5066">
                  <c:v>#N/A</c:v>
                </c:pt>
                <c:pt idx="5067">
                  <c:v>#N/A</c:v>
                </c:pt>
                <c:pt idx="5068">
                  <c:v>#N/A</c:v>
                </c:pt>
                <c:pt idx="5069">
                  <c:v>#N/A</c:v>
                </c:pt>
                <c:pt idx="5070">
                  <c:v>#N/A</c:v>
                </c:pt>
                <c:pt idx="5071">
                  <c:v>#N/A</c:v>
                </c:pt>
                <c:pt idx="5072">
                  <c:v>#N/A</c:v>
                </c:pt>
                <c:pt idx="5073">
                  <c:v>#N/A</c:v>
                </c:pt>
                <c:pt idx="5074">
                  <c:v>#N/A</c:v>
                </c:pt>
                <c:pt idx="5075">
                  <c:v>#N/A</c:v>
                </c:pt>
                <c:pt idx="5076">
                  <c:v>#N/A</c:v>
                </c:pt>
                <c:pt idx="5077">
                  <c:v>#N/A</c:v>
                </c:pt>
                <c:pt idx="5078">
                  <c:v>#N/A</c:v>
                </c:pt>
                <c:pt idx="5079">
                  <c:v>#N/A</c:v>
                </c:pt>
                <c:pt idx="5080">
                  <c:v>#N/A</c:v>
                </c:pt>
                <c:pt idx="5081">
                  <c:v>#N/A</c:v>
                </c:pt>
                <c:pt idx="5082">
                  <c:v>#N/A</c:v>
                </c:pt>
                <c:pt idx="5083">
                  <c:v>#N/A</c:v>
                </c:pt>
                <c:pt idx="5084">
                  <c:v>#N/A</c:v>
                </c:pt>
                <c:pt idx="5085">
                  <c:v>#N/A</c:v>
                </c:pt>
                <c:pt idx="5086">
                  <c:v>#N/A</c:v>
                </c:pt>
                <c:pt idx="5087">
                  <c:v>#N/A</c:v>
                </c:pt>
                <c:pt idx="5088">
                  <c:v>#N/A</c:v>
                </c:pt>
                <c:pt idx="5089">
                  <c:v>#N/A</c:v>
                </c:pt>
                <c:pt idx="5090">
                  <c:v>#N/A</c:v>
                </c:pt>
                <c:pt idx="5091">
                  <c:v>#N/A</c:v>
                </c:pt>
                <c:pt idx="5092">
                  <c:v>#N/A</c:v>
                </c:pt>
                <c:pt idx="5093">
                  <c:v>#N/A</c:v>
                </c:pt>
                <c:pt idx="5094">
                  <c:v>#N/A</c:v>
                </c:pt>
                <c:pt idx="5095">
                  <c:v>#N/A</c:v>
                </c:pt>
                <c:pt idx="5096">
                  <c:v>#N/A</c:v>
                </c:pt>
                <c:pt idx="5097">
                  <c:v>#N/A</c:v>
                </c:pt>
                <c:pt idx="5098">
                  <c:v>#N/A</c:v>
                </c:pt>
                <c:pt idx="5099">
                  <c:v>#N/A</c:v>
                </c:pt>
                <c:pt idx="5100">
                  <c:v>#N/A</c:v>
                </c:pt>
                <c:pt idx="5101">
                  <c:v>#N/A</c:v>
                </c:pt>
                <c:pt idx="5102">
                  <c:v>#N/A</c:v>
                </c:pt>
                <c:pt idx="5103">
                  <c:v>#N/A</c:v>
                </c:pt>
                <c:pt idx="5104">
                  <c:v>#N/A</c:v>
                </c:pt>
                <c:pt idx="5105">
                  <c:v>#N/A</c:v>
                </c:pt>
                <c:pt idx="5106">
                  <c:v>#N/A</c:v>
                </c:pt>
                <c:pt idx="5107">
                  <c:v>#N/A</c:v>
                </c:pt>
                <c:pt idx="5108">
                  <c:v>#N/A</c:v>
                </c:pt>
                <c:pt idx="5109">
                  <c:v>#N/A</c:v>
                </c:pt>
                <c:pt idx="5110">
                  <c:v>#N/A</c:v>
                </c:pt>
                <c:pt idx="5111">
                  <c:v>#N/A</c:v>
                </c:pt>
                <c:pt idx="5112">
                  <c:v>#N/A</c:v>
                </c:pt>
                <c:pt idx="5113">
                  <c:v>#N/A</c:v>
                </c:pt>
                <c:pt idx="5114">
                  <c:v>#N/A</c:v>
                </c:pt>
                <c:pt idx="5115">
                  <c:v>#N/A</c:v>
                </c:pt>
                <c:pt idx="5116">
                  <c:v>#N/A</c:v>
                </c:pt>
                <c:pt idx="5117">
                  <c:v>#N/A</c:v>
                </c:pt>
                <c:pt idx="5118">
                  <c:v>#N/A</c:v>
                </c:pt>
                <c:pt idx="5119">
                  <c:v>#N/A</c:v>
                </c:pt>
                <c:pt idx="5120">
                  <c:v>#N/A</c:v>
                </c:pt>
                <c:pt idx="5121">
                  <c:v>#N/A</c:v>
                </c:pt>
                <c:pt idx="5122">
                  <c:v>#N/A</c:v>
                </c:pt>
                <c:pt idx="5123">
                  <c:v>#N/A</c:v>
                </c:pt>
                <c:pt idx="5124">
                  <c:v>#N/A</c:v>
                </c:pt>
                <c:pt idx="5125">
                  <c:v>#N/A</c:v>
                </c:pt>
                <c:pt idx="5126">
                  <c:v>#N/A</c:v>
                </c:pt>
                <c:pt idx="5127">
                  <c:v>#N/A</c:v>
                </c:pt>
                <c:pt idx="5128">
                  <c:v>#N/A</c:v>
                </c:pt>
                <c:pt idx="5129">
                  <c:v>#N/A</c:v>
                </c:pt>
                <c:pt idx="5130">
                  <c:v>#N/A</c:v>
                </c:pt>
                <c:pt idx="5131">
                  <c:v>#N/A</c:v>
                </c:pt>
                <c:pt idx="5132">
                  <c:v>#N/A</c:v>
                </c:pt>
                <c:pt idx="5133">
                  <c:v>#N/A</c:v>
                </c:pt>
                <c:pt idx="5134">
                  <c:v>#N/A</c:v>
                </c:pt>
                <c:pt idx="5135">
                  <c:v>#N/A</c:v>
                </c:pt>
                <c:pt idx="5136">
                  <c:v>#N/A</c:v>
                </c:pt>
                <c:pt idx="5137">
                  <c:v>#N/A</c:v>
                </c:pt>
                <c:pt idx="5138">
                  <c:v>#N/A</c:v>
                </c:pt>
                <c:pt idx="5139">
                  <c:v>#N/A</c:v>
                </c:pt>
                <c:pt idx="5140">
                  <c:v>#N/A</c:v>
                </c:pt>
                <c:pt idx="5141">
                  <c:v>#N/A</c:v>
                </c:pt>
                <c:pt idx="5142">
                  <c:v>#N/A</c:v>
                </c:pt>
                <c:pt idx="5143">
                  <c:v>#N/A</c:v>
                </c:pt>
                <c:pt idx="5144">
                  <c:v>#N/A</c:v>
                </c:pt>
                <c:pt idx="5145">
                  <c:v>#N/A</c:v>
                </c:pt>
                <c:pt idx="5146">
                  <c:v>#N/A</c:v>
                </c:pt>
                <c:pt idx="5147">
                  <c:v>#N/A</c:v>
                </c:pt>
                <c:pt idx="5148">
                  <c:v>#N/A</c:v>
                </c:pt>
                <c:pt idx="5149">
                  <c:v>#N/A</c:v>
                </c:pt>
                <c:pt idx="5150">
                  <c:v>#N/A</c:v>
                </c:pt>
                <c:pt idx="5151">
                  <c:v>#N/A</c:v>
                </c:pt>
                <c:pt idx="5152">
                  <c:v>#N/A</c:v>
                </c:pt>
                <c:pt idx="5153">
                  <c:v>#N/A</c:v>
                </c:pt>
                <c:pt idx="5154">
                  <c:v>#N/A</c:v>
                </c:pt>
                <c:pt idx="5155">
                  <c:v>#N/A</c:v>
                </c:pt>
                <c:pt idx="5156">
                  <c:v>#N/A</c:v>
                </c:pt>
                <c:pt idx="5157">
                  <c:v>#N/A</c:v>
                </c:pt>
                <c:pt idx="5158">
                  <c:v>#N/A</c:v>
                </c:pt>
                <c:pt idx="5159">
                  <c:v>#N/A</c:v>
                </c:pt>
                <c:pt idx="5160">
                  <c:v>#N/A</c:v>
                </c:pt>
                <c:pt idx="5161">
                  <c:v>#N/A</c:v>
                </c:pt>
                <c:pt idx="5162">
                  <c:v>#N/A</c:v>
                </c:pt>
                <c:pt idx="5163">
                  <c:v>#N/A</c:v>
                </c:pt>
                <c:pt idx="5164">
                  <c:v>#N/A</c:v>
                </c:pt>
                <c:pt idx="5165">
                  <c:v>#N/A</c:v>
                </c:pt>
                <c:pt idx="5166">
                  <c:v>#N/A</c:v>
                </c:pt>
                <c:pt idx="5167">
                  <c:v>#N/A</c:v>
                </c:pt>
                <c:pt idx="5168">
                  <c:v>#N/A</c:v>
                </c:pt>
                <c:pt idx="5169">
                  <c:v>#N/A</c:v>
                </c:pt>
                <c:pt idx="5170">
                  <c:v>#N/A</c:v>
                </c:pt>
                <c:pt idx="5171">
                  <c:v>#N/A</c:v>
                </c:pt>
                <c:pt idx="5172">
                  <c:v>#N/A</c:v>
                </c:pt>
                <c:pt idx="5173">
                  <c:v>#N/A</c:v>
                </c:pt>
                <c:pt idx="5174">
                  <c:v>#N/A</c:v>
                </c:pt>
                <c:pt idx="5175">
                  <c:v>#N/A</c:v>
                </c:pt>
                <c:pt idx="5176">
                  <c:v>#N/A</c:v>
                </c:pt>
                <c:pt idx="5177">
                  <c:v>#N/A</c:v>
                </c:pt>
                <c:pt idx="5178">
                  <c:v>#N/A</c:v>
                </c:pt>
                <c:pt idx="5179">
                  <c:v>#N/A</c:v>
                </c:pt>
                <c:pt idx="5180">
                  <c:v>#N/A</c:v>
                </c:pt>
                <c:pt idx="5181">
                  <c:v>#N/A</c:v>
                </c:pt>
                <c:pt idx="5182">
                  <c:v>#N/A</c:v>
                </c:pt>
                <c:pt idx="5183">
                  <c:v>#N/A</c:v>
                </c:pt>
                <c:pt idx="5184">
                  <c:v>#N/A</c:v>
                </c:pt>
                <c:pt idx="5185">
                  <c:v>#N/A</c:v>
                </c:pt>
                <c:pt idx="5186">
                  <c:v>#N/A</c:v>
                </c:pt>
                <c:pt idx="5187">
                  <c:v>#N/A</c:v>
                </c:pt>
                <c:pt idx="5188">
                  <c:v>#N/A</c:v>
                </c:pt>
                <c:pt idx="5189">
                  <c:v>#N/A</c:v>
                </c:pt>
                <c:pt idx="5190">
                  <c:v>#N/A</c:v>
                </c:pt>
                <c:pt idx="5191">
                  <c:v>#N/A</c:v>
                </c:pt>
                <c:pt idx="5192">
                  <c:v>#N/A</c:v>
                </c:pt>
                <c:pt idx="5193">
                  <c:v>#N/A</c:v>
                </c:pt>
                <c:pt idx="5194">
                  <c:v>#N/A</c:v>
                </c:pt>
                <c:pt idx="5195">
                  <c:v>#N/A</c:v>
                </c:pt>
                <c:pt idx="5196">
                  <c:v>#N/A</c:v>
                </c:pt>
                <c:pt idx="5197">
                  <c:v>#N/A</c:v>
                </c:pt>
                <c:pt idx="5198">
                  <c:v>#N/A</c:v>
                </c:pt>
                <c:pt idx="5199">
                  <c:v>#N/A</c:v>
                </c:pt>
                <c:pt idx="5200">
                  <c:v>#N/A</c:v>
                </c:pt>
                <c:pt idx="5201">
                  <c:v>#N/A</c:v>
                </c:pt>
                <c:pt idx="5202">
                  <c:v>#N/A</c:v>
                </c:pt>
                <c:pt idx="5203">
                  <c:v>#N/A</c:v>
                </c:pt>
                <c:pt idx="5204">
                  <c:v>#N/A</c:v>
                </c:pt>
                <c:pt idx="5205">
                  <c:v>#N/A</c:v>
                </c:pt>
                <c:pt idx="5206">
                  <c:v>#N/A</c:v>
                </c:pt>
                <c:pt idx="5207">
                  <c:v>#N/A</c:v>
                </c:pt>
                <c:pt idx="5208">
                  <c:v>#N/A</c:v>
                </c:pt>
                <c:pt idx="5209">
                  <c:v>#N/A</c:v>
                </c:pt>
                <c:pt idx="5210">
                  <c:v>#N/A</c:v>
                </c:pt>
                <c:pt idx="5211">
                  <c:v>#N/A</c:v>
                </c:pt>
                <c:pt idx="5212">
                  <c:v>#N/A</c:v>
                </c:pt>
                <c:pt idx="5213">
                  <c:v>#N/A</c:v>
                </c:pt>
                <c:pt idx="5214">
                  <c:v>#N/A</c:v>
                </c:pt>
                <c:pt idx="5215">
                  <c:v>#N/A</c:v>
                </c:pt>
                <c:pt idx="5216">
                  <c:v>#N/A</c:v>
                </c:pt>
                <c:pt idx="5217">
                  <c:v>#N/A</c:v>
                </c:pt>
                <c:pt idx="5218">
                  <c:v>#N/A</c:v>
                </c:pt>
                <c:pt idx="5219">
                  <c:v>#N/A</c:v>
                </c:pt>
                <c:pt idx="5220">
                  <c:v>#N/A</c:v>
                </c:pt>
                <c:pt idx="5221">
                  <c:v>#N/A</c:v>
                </c:pt>
                <c:pt idx="5222">
                  <c:v>#N/A</c:v>
                </c:pt>
                <c:pt idx="5223">
                  <c:v>#N/A</c:v>
                </c:pt>
                <c:pt idx="5224">
                  <c:v>#N/A</c:v>
                </c:pt>
                <c:pt idx="5225">
                  <c:v>#N/A</c:v>
                </c:pt>
                <c:pt idx="5226">
                  <c:v>#N/A</c:v>
                </c:pt>
                <c:pt idx="5227">
                  <c:v>#N/A</c:v>
                </c:pt>
                <c:pt idx="5228">
                  <c:v>#N/A</c:v>
                </c:pt>
                <c:pt idx="5229">
                  <c:v>#N/A</c:v>
                </c:pt>
                <c:pt idx="5230">
                  <c:v>#N/A</c:v>
                </c:pt>
                <c:pt idx="5231">
                  <c:v>#N/A</c:v>
                </c:pt>
                <c:pt idx="5232">
                  <c:v>#N/A</c:v>
                </c:pt>
                <c:pt idx="5233">
                  <c:v>#N/A</c:v>
                </c:pt>
                <c:pt idx="5234">
                  <c:v>#N/A</c:v>
                </c:pt>
                <c:pt idx="5235">
                  <c:v>#N/A</c:v>
                </c:pt>
                <c:pt idx="5236">
                  <c:v>#N/A</c:v>
                </c:pt>
                <c:pt idx="5237">
                  <c:v>#N/A</c:v>
                </c:pt>
                <c:pt idx="5238">
                  <c:v>#N/A</c:v>
                </c:pt>
                <c:pt idx="5239">
                  <c:v>#N/A</c:v>
                </c:pt>
                <c:pt idx="5240">
                  <c:v>#N/A</c:v>
                </c:pt>
                <c:pt idx="5241">
                  <c:v>#N/A</c:v>
                </c:pt>
                <c:pt idx="5242">
                  <c:v>#N/A</c:v>
                </c:pt>
                <c:pt idx="5243">
                  <c:v>#N/A</c:v>
                </c:pt>
                <c:pt idx="5244">
                  <c:v>#N/A</c:v>
                </c:pt>
                <c:pt idx="5245">
                  <c:v>#N/A</c:v>
                </c:pt>
                <c:pt idx="5246">
                  <c:v>#N/A</c:v>
                </c:pt>
                <c:pt idx="5247">
                  <c:v>#N/A</c:v>
                </c:pt>
                <c:pt idx="5248">
                  <c:v>#N/A</c:v>
                </c:pt>
                <c:pt idx="5249">
                  <c:v>#N/A</c:v>
                </c:pt>
                <c:pt idx="5250">
                  <c:v>#N/A</c:v>
                </c:pt>
                <c:pt idx="5251">
                  <c:v>#N/A</c:v>
                </c:pt>
                <c:pt idx="5252">
                  <c:v>#N/A</c:v>
                </c:pt>
                <c:pt idx="5253">
                  <c:v>#N/A</c:v>
                </c:pt>
                <c:pt idx="5254">
                  <c:v>#N/A</c:v>
                </c:pt>
                <c:pt idx="5255">
                  <c:v>#N/A</c:v>
                </c:pt>
                <c:pt idx="5256">
                  <c:v>#N/A</c:v>
                </c:pt>
                <c:pt idx="5257">
                  <c:v>#N/A</c:v>
                </c:pt>
                <c:pt idx="5258">
                  <c:v>#N/A</c:v>
                </c:pt>
                <c:pt idx="5259">
                  <c:v>#N/A</c:v>
                </c:pt>
                <c:pt idx="5260">
                  <c:v>#N/A</c:v>
                </c:pt>
                <c:pt idx="5261">
                  <c:v>#N/A</c:v>
                </c:pt>
                <c:pt idx="5262">
                  <c:v>#N/A</c:v>
                </c:pt>
                <c:pt idx="5263">
                  <c:v>#N/A</c:v>
                </c:pt>
                <c:pt idx="5264">
                  <c:v>#N/A</c:v>
                </c:pt>
                <c:pt idx="5265">
                  <c:v>#N/A</c:v>
                </c:pt>
                <c:pt idx="5266">
                  <c:v>#N/A</c:v>
                </c:pt>
                <c:pt idx="5267">
                  <c:v>#N/A</c:v>
                </c:pt>
                <c:pt idx="5268">
                  <c:v>#N/A</c:v>
                </c:pt>
                <c:pt idx="5269">
                  <c:v>#N/A</c:v>
                </c:pt>
                <c:pt idx="5270">
                  <c:v>#N/A</c:v>
                </c:pt>
                <c:pt idx="5271">
                  <c:v>#N/A</c:v>
                </c:pt>
                <c:pt idx="5272">
                  <c:v>#N/A</c:v>
                </c:pt>
                <c:pt idx="5273">
                  <c:v>#N/A</c:v>
                </c:pt>
                <c:pt idx="5274">
                  <c:v>#N/A</c:v>
                </c:pt>
                <c:pt idx="5275">
                  <c:v>#N/A</c:v>
                </c:pt>
                <c:pt idx="5276">
                  <c:v>#N/A</c:v>
                </c:pt>
                <c:pt idx="5277">
                  <c:v>#N/A</c:v>
                </c:pt>
                <c:pt idx="5278">
                  <c:v>#N/A</c:v>
                </c:pt>
                <c:pt idx="5279">
                  <c:v>#N/A</c:v>
                </c:pt>
                <c:pt idx="5280">
                  <c:v>#N/A</c:v>
                </c:pt>
                <c:pt idx="5281">
                  <c:v>#N/A</c:v>
                </c:pt>
                <c:pt idx="5282">
                  <c:v>#N/A</c:v>
                </c:pt>
                <c:pt idx="5283">
                  <c:v>#N/A</c:v>
                </c:pt>
                <c:pt idx="5284">
                  <c:v>#N/A</c:v>
                </c:pt>
                <c:pt idx="5285">
                  <c:v>#N/A</c:v>
                </c:pt>
                <c:pt idx="5286">
                  <c:v>#N/A</c:v>
                </c:pt>
                <c:pt idx="5287">
                  <c:v>#N/A</c:v>
                </c:pt>
                <c:pt idx="5288">
                  <c:v>#N/A</c:v>
                </c:pt>
                <c:pt idx="5289">
                  <c:v>#N/A</c:v>
                </c:pt>
                <c:pt idx="5290">
                  <c:v>#N/A</c:v>
                </c:pt>
                <c:pt idx="5291">
                  <c:v>#N/A</c:v>
                </c:pt>
                <c:pt idx="5292">
                  <c:v>#N/A</c:v>
                </c:pt>
                <c:pt idx="5293">
                  <c:v>#N/A</c:v>
                </c:pt>
                <c:pt idx="5294">
                  <c:v>#N/A</c:v>
                </c:pt>
                <c:pt idx="5295">
                  <c:v>#N/A</c:v>
                </c:pt>
                <c:pt idx="5296">
                  <c:v>#N/A</c:v>
                </c:pt>
                <c:pt idx="5297">
                  <c:v>#N/A</c:v>
                </c:pt>
                <c:pt idx="5298">
                  <c:v>#N/A</c:v>
                </c:pt>
                <c:pt idx="5299">
                  <c:v>#N/A</c:v>
                </c:pt>
                <c:pt idx="5300">
                  <c:v>#N/A</c:v>
                </c:pt>
                <c:pt idx="5301">
                  <c:v>#N/A</c:v>
                </c:pt>
                <c:pt idx="5302">
                  <c:v>#N/A</c:v>
                </c:pt>
                <c:pt idx="5303">
                  <c:v>#N/A</c:v>
                </c:pt>
                <c:pt idx="5304">
                  <c:v>#N/A</c:v>
                </c:pt>
                <c:pt idx="5305">
                  <c:v>#N/A</c:v>
                </c:pt>
                <c:pt idx="5306">
                  <c:v>#N/A</c:v>
                </c:pt>
                <c:pt idx="5307">
                  <c:v>#N/A</c:v>
                </c:pt>
                <c:pt idx="5308">
                  <c:v>#N/A</c:v>
                </c:pt>
                <c:pt idx="5309">
                  <c:v>#N/A</c:v>
                </c:pt>
                <c:pt idx="5310">
                  <c:v>#N/A</c:v>
                </c:pt>
                <c:pt idx="5311">
                  <c:v>#N/A</c:v>
                </c:pt>
                <c:pt idx="5312">
                  <c:v>#N/A</c:v>
                </c:pt>
                <c:pt idx="5313">
                  <c:v>#N/A</c:v>
                </c:pt>
                <c:pt idx="5314">
                  <c:v>#N/A</c:v>
                </c:pt>
                <c:pt idx="5315">
                  <c:v>#N/A</c:v>
                </c:pt>
                <c:pt idx="5316">
                  <c:v>#N/A</c:v>
                </c:pt>
                <c:pt idx="5317">
                  <c:v>#N/A</c:v>
                </c:pt>
                <c:pt idx="5318">
                  <c:v>#N/A</c:v>
                </c:pt>
                <c:pt idx="5319">
                  <c:v>#N/A</c:v>
                </c:pt>
                <c:pt idx="5320">
                  <c:v>#N/A</c:v>
                </c:pt>
                <c:pt idx="5321">
                  <c:v>#N/A</c:v>
                </c:pt>
                <c:pt idx="5322">
                  <c:v>#N/A</c:v>
                </c:pt>
                <c:pt idx="5323">
                  <c:v>#N/A</c:v>
                </c:pt>
                <c:pt idx="5324">
                  <c:v>#N/A</c:v>
                </c:pt>
                <c:pt idx="5325">
                  <c:v>#N/A</c:v>
                </c:pt>
                <c:pt idx="5326">
                  <c:v>#N/A</c:v>
                </c:pt>
                <c:pt idx="5327">
                  <c:v>#N/A</c:v>
                </c:pt>
                <c:pt idx="5328">
                  <c:v>#N/A</c:v>
                </c:pt>
                <c:pt idx="5329">
                  <c:v>#N/A</c:v>
                </c:pt>
                <c:pt idx="5330">
                  <c:v>#N/A</c:v>
                </c:pt>
                <c:pt idx="5331">
                  <c:v>#N/A</c:v>
                </c:pt>
                <c:pt idx="5332">
                  <c:v>#N/A</c:v>
                </c:pt>
                <c:pt idx="5333">
                  <c:v>#N/A</c:v>
                </c:pt>
                <c:pt idx="5334">
                  <c:v>#N/A</c:v>
                </c:pt>
                <c:pt idx="5335">
                  <c:v>#N/A</c:v>
                </c:pt>
                <c:pt idx="5336">
                  <c:v>#N/A</c:v>
                </c:pt>
                <c:pt idx="5337">
                  <c:v>#N/A</c:v>
                </c:pt>
                <c:pt idx="5338">
                  <c:v>#N/A</c:v>
                </c:pt>
                <c:pt idx="5339">
                  <c:v>#N/A</c:v>
                </c:pt>
                <c:pt idx="5340">
                  <c:v>#N/A</c:v>
                </c:pt>
                <c:pt idx="5341">
                  <c:v>#N/A</c:v>
                </c:pt>
                <c:pt idx="5342">
                  <c:v>#N/A</c:v>
                </c:pt>
                <c:pt idx="5343">
                  <c:v>#N/A</c:v>
                </c:pt>
                <c:pt idx="5344">
                  <c:v>#N/A</c:v>
                </c:pt>
                <c:pt idx="5345">
                  <c:v>#N/A</c:v>
                </c:pt>
                <c:pt idx="5346">
                  <c:v>#N/A</c:v>
                </c:pt>
                <c:pt idx="5347">
                  <c:v>#N/A</c:v>
                </c:pt>
                <c:pt idx="5348">
                  <c:v>#N/A</c:v>
                </c:pt>
                <c:pt idx="5349">
                  <c:v>#N/A</c:v>
                </c:pt>
                <c:pt idx="5350">
                  <c:v>#N/A</c:v>
                </c:pt>
                <c:pt idx="5351">
                  <c:v>#N/A</c:v>
                </c:pt>
                <c:pt idx="5352">
                  <c:v>#N/A</c:v>
                </c:pt>
                <c:pt idx="5353">
                  <c:v>#N/A</c:v>
                </c:pt>
                <c:pt idx="5354">
                  <c:v>#N/A</c:v>
                </c:pt>
                <c:pt idx="5355">
                  <c:v>#N/A</c:v>
                </c:pt>
                <c:pt idx="5356">
                  <c:v>#N/A</c:v>
                </c:pt>
                <c:pt idx="5357">
                  <c:v>#N/A</c:v>
                </c:pt>
                <c:pt idx="5358">
                  <c:v>#N/A</c:v>
                </c:pt>
                <c:pt idx="5359">
                  <c:v>#N/A</c:v>
                </c:pt>
                <c:pt idx="5360">
                  <c:v>#N/A</c:v>
                </c:pt>
                <c:pt idx="5361">
                  <c:v>#N/A</c:v>
                </c:pt>
                <c:pt idx="5362">
                  <c:v>#N/A</c:v>
                </c:pt>
                <c:pt idx="5363">
                  <c:v>#N/A</c:v>
                </c:pt>
                <c:pt idx="5364">
                  <c:v>#N/A</c:v>
                </c:pt>
                <c:pt idx="5365">
                  <c:v>#N/A</c:v>
                </c:pt>
                <c:pt idx="5366">
                  <c:v>#N/A</c:v>
                </c:pt>
                <c:pt idx="5367">
                  <c:v>#N/A</c:v>
                </c:pt>
                <c:pt idx="5368">
                  <c:v>#N/A</c:v>
                </c:pt>
                <c:pt idx="5369">
                  <c:v>#N/A</c:v>
                </c:pt>
                <c:pt idx="5370">
                  <c:v>#N/A</c:v>
                </c:pt>
                <c:pt idx="5371">
                  <c:v>#N/A</c:v>
                </c:pt>
                <c:pt idx="5372">
                  <c:v>#N/A</c:v>
                </c:pt>
                <c:pt idx="5373">
                  <c:v>#N/A</c:v>
                </c:pt>
                <c:pt idx="5374">
                  <c:v>#N/A</c:v>
                </c:pt>
                <c:pt idx="5375">
                  <c:v>#N/A</c:v>
                </c:pt>
                <c:pt idx="5376">
                  <c:v>#N/A</c:v>
                </c:pt>
                <c:pt idx="5377">
                  <c:v>#N/A</c:v>
                </c:pt>
                <c:pt idx="5378">
                  <c:v>#N/A</c:v>
                </c:pt>
                <c:pt idx="5379">
                  <c:v>#N/A</c:v>
                </c:pt>
                <c:pt idx="5380">
                  <c:v>#N/A</c:v>
                </c:pt>
                <c:pt idx="5381">
                  <c:v>#N/A</c:v>
                </c:pt>
                <c:pt idx="5382">
                  <c:v>#N/A</c:v>
                </c:pt>
                <c:pt idx="5383">
                  <c:v>#N/A</c:v>
                </c:pt>
                <c:pt idx="5384">
                  <c:v>#N/A</c:v>
                </c:pt>
                <c:pt idx="5385">
                  <c:v>#N/A</c:v>
                </c:pt>
                <c:pt idx="5386">
                  <c:v>#N/A</c:v>
                </c:pt>
                <c:pt idx="5387">
                  <c:v>#N/A</c:v>
                </c:pt>
                <c:pt idx="5388">
                  <c:v>#N/A</c:v>
                </c:pt>
                <c:pt idx="5389">
                  <c:v>#N/A</c:v>
                </c:pt>
                <c:pt idx="5390">
                  <c:v>#N/A</c:v>
                </c:pt>
                <c:pt idx="5391">
                  <c:v>#N/A</c:v>
                </c:pt>
                <c:pt idx="5392">
                  <c:v>#N/A</c:v>
                </c:pt>
                <c:pt idx="5393">
                  <c:v>#N/A</c:v>
                </c:pt>
                <c:pt idx="5394">
                  <c:v>#N/A</c:v>
                </c:pt>
                <c:pt idx="5395">
                  <c:v>#N/A</c:v>
                </c:pt>
                <c:pt idx="5396">
                  <c:v>#N/A</c:v>
                </c:pt>
                <c:pt idx="5397">
                  <c:v>#N/A</c:v>
                </c:pt>
                <c:pt idx="5398">
                  <c:v>#N/A</c:v>
                </c:pt>
                <c:pt idx="5399">
                  <c:v>#N/A</c:v>
                </c:pt>
                <c:pt idx="5400">
                  <c:v>#N/A</c:v>
                </c:pt>
                <c:pt idx="5401">
                  <c:v>#N/A</c:v>
                </c:pt>
                <c:pt idx="5402">
                  <c:v>#N/A</c:v>
                </c:pt>
                <c:pt idx="5403">
                  <c:v>#N/A</c:v>
                </c:pt>
                <c:pt idx="5404">
                  <c:v>#N/A</c:v>
                </c:pt>
                <c:pt idx="5405">
                  <c:v>#N/A</c:v>
                </c:pt>
                <c:pt idx="5406">
                  <c:v>#N/A</c:v>
                </c:pt>
                <c:pt idx="5407">
                  <c:v>#N/A</c:v>
                </c:pt>
                <c:pt idx="5408">
                  <c:v>#N/A</c:v>
                </c:pt>
                <c:pt idx="5409">
                  <c:v>#N/A</c:v>
                </c:pt>
                <c:pt idx="5410">
                  <c:v>#N/A</c:v>
                </c:pt>
                <c:pt idx="5411">
                  <c:v>#N/A</c:v>
                </c:pt>
                <c:pt idx="5412">
                  <c:v>#N/A</c:v>
                </c:pt>
                <c:pt idx="5413">
                  <c:v>#N/A</c:v>
                </c:pt>
                <c:pt idx="5414">
                  <c:v>#N/A</c:v>
                </c:pt>
                <c:pt idx="5415">
                  <c:v>#N/A</c:v>
                </c:pt>
                <c:pt idx="5416">
                  <c:v>#N/A</c:v>
                </c:pt>
                <c:pt idx="5417">
                  <c:v>#N/A</c:v>
                </c:pt>
                <c:pt idx="5418">
                  <c:v>#N/A</c:v>
                </c:pt>
                <c:pt idx="5419">
                  <c:v>#N/A</c:v>
                </c:pt>
                <c:pt idx="5420">
                  <c:v>#N/A</c:v>
                </c:pt>
                <c:pt idx="5421">
                  <c:v>#N/A</c:v>
                </c:pt>
                <c:pt idx="5422">
                  <c:v>#N/A</c:v>
                </c:pt>
                <c:pt idx="5423">
                  <c:v>#N/A</c:v>
                </c:pt>
                <c:pt idx="5424">
                  <c:v>#N/A</c:v>
                </c:pt>
                <c:pt idx="5425">
                  <c:v>#N/A</c:v>
                </c:pt>
                <c:pt idx="5426">
                  <c:v>#N/A</c:v>
                </c:pt>
                <c:pt idx="5427">
                  <c:v>#N/A</c:v>
                </c:pt>
                <c:pt idx="5428">
                  <c:v>#N/A</c:v>
                </c:pt>
                <c:pt idx="5429">
                  <c:v>#N/A</c:v>
                </c:pt>
                <c:pt idx="5430">
                  <c:v>#N/A</c:v>
                </c:pt>
                <c:pt idx="5431">
                  <c:v>#N/A</c:v>
                </c:pt>
                <c:pt idx="5432">
                  <c:v>#N/A</c:v>
                </c:pt>
                <c:pt idx="5433">
                  <c:v>#N/A</c:v>
                </c:pt>
                <c:pt idx="5434">
                  <c:v>#N/A</c:v>
                </c:pt>
                <c:pt idx="5435">
                  <c:v>#N/A</c:v>
                </c:pt>
                <c:pt idx="5436">
                  <c:v>#N/A</c:v>
                </c:pt>
                <c:pt idx="5437">
                  <c:v>#N/A</c:v>
                </c:pt>
                <c:pt idx="5438">
                  <c:v>#N/A</c:v>
                </c:pt>
                <c:pt idx="5439">
                  <c:v>#N/A</c:v>
                </c:pt>
                <c:pt idx="5440">
                  <c:v>#N/A</c:v>
                </c:pt>
                <c:pt idx="5441">
                  <c:v>#N/A</c:v>
                </c:pt>
                <c:pt idx="5442">
                  <c:v>#N/A</c:v>
                </c:pt>
                <c:pt idx="5443">
                  <c:v>#N/A</c:v>
                </c:pt>
                <c:pt idx="5444">
                  <c:v>#N/A</c:v>
                </c:pt>
                <c:pt idx="5445">
                  <c:v>#N/A</c:v>
                </c:pt>
                <c:pt idx="5446">
                  <c:v>#N/A</c:v>
                </c:pt>
                <c:pt idx="5447">
                  <c:v>#N/A</c:v>
                </c:pt>
                <c:pt idx="5448">
                  <c:v>#N/A</c:v>
                </c:pt>
                <c:pt idx="5449">
                  <c:v>#N/A</c:v>
                </c:pt>
                <c:pt idx="5450">
                  <c:v>#N/A</c:v>
                </c:pt>
                <c:pt idx="5451">
                  <c:v>#N/A</c:v>
                </c:pt>
                <c:pt idx="5452">
                  <c:v>#N/A</c:v>
                </c:pt>
                <c:pt idx="5453">
                  <c:v>#N/A</c:v>
                </c:pt>
                <c:pt idx="5454">
                  <c:v>#N/A</c:v>
                </c:pt>
                <c:pt idx="5455">
                  <c:v>#N/A</c:v>
                </c:pt>
                <c:pt idx="5456">
                  <c:v>#N/A</c:v>
                </c:pt>
                <c:pt idx="5457">
                  <c:v>#N/A</c:v>
                </c:pt>
                <c:pt idx="5458">
                  <c:v>#N/A</c:v>
                </c:pt>
                <c:pt idx="5459">
                  <c:v>#N/A</c:v>
                </c:pt>
                <c:pt idx="5460">
                  <c:v>#N/A</c:v>
                </c:pt>
                <c:pt idx="5461">
                  <c:v>#N/A</c:v>
                </c:pt>
                <c:pt idx="5462">
                  <c:v>#N/A</c:v>
                </c:pt>
                <c:pt idx="5463">
                  <c:v>#N/A</c:v>
                </c:pt>
                <c:pt idx="5464">
                  <c:v>#N/A</c:v>
                </c:pt>
                <c:pt idx="5465">
                  <c:v>#N/A</c:v>
                </c:pt>
                <c:pt idx="5466">
                  <c:v>#N/A</c:v>
                </c:pt>
                <c:pt idx="5467">
                  <c:v>#N/A</c:v>
                </c:pt>
                <c:pt idx="5468">
                  <c:v>#N/A</c:v>
                </c:pt>
                <c:pt idx="5469">
                  <c:v>#N/A</c:v>
                </c:pt>
                <c:pt idx="5470">
                  <c:v>#N/A</c:v>
                </c:pt>
                <c:pt idx="5471">
                  <c:v>#N/A</c:v>
                </c:pt>
                <c:pt idx="5472">
                  <c:v>#N/A</c:v>
                </c:pt>
                <c:pt idx="5473">
                  <c:v>#N/A</c:v>
                </c:pt>
                <c:pt idx="5474">
                  <c:v>#N/A</c:v>
                </c:pt>
                <c:pt idx="5475">
                  <c:v>#N/A</c:v>
                </c:pt>
                <c:pt idx="5476">
                  <c:v>#N/A</c:v>
                </c:pt>
                <c:pt idx="5477">
                  <c:v>#N/A</c:v>
                </c:pt>
                <c:pt idx="5478">
                  <c:v>#N/A</c:v>
                </c:pt>
                <c:pt idx="5479">
                  <c:v>#N/A</c:v>
                </c:pt>
                <c:pt idx="5480">
                  <c:v>#N/A</c:v>
                </c:pt>
                <c:pt idx="5481">
                  <c:v>#N/A</c:v>
                </c:pt>
                <c:pt idx="5482">
                  <c:v>#N/A</c:v>
                </c:pt>
                <c:pt idx="5483">
                  <c:v>#N/A</c:v>
                </c:pt>
                <c:pt idx="5484">
                  <c:v>#N/A</c:v>
                </c:pt>
                <c:pt idx="5485">
                  <c:v>#N/A</c:v>
                </c:pt>
                <c:pt idx="5486">
                  <c:v>#N/A</c:v>
                </c:pt>
                <c:pt idx="5487">
                  <c:v>#N/A</c:v>
                </c:pt>
                <c:pt idx="5488">
                  <c:v>#N/A</c:v>
                </c:pt>
                <c:pt idx="5489">
                  <c:v>#N/A</c:v>
                </c:pt>
                <c:pt idx="5490">
                  <c:v>#N/A</c:v>
                </c:pt>
                <c:pt idx="5491">
                  <c:v>#N/A</c:v>
                </c:pt>
                <c:pt idx="5492">
                  <c:v>#N/A</c:v>
                </c:pt>
                <c:pt idx="5493">
                  <c:v>#N/A</c:v>
                </c:pt>
                <c:pt idx="5494">
                  <c:v>#N/A</c:v>
                </c:pt>
                <c:pt idx="5495">
                  <c:v>#N/A</c:v>
                </c:pt>
                <c:pt idx="5496">
                  <c:v>#N/A</c:v>
                </c:pt>
                <c:pt idx="5497">
                  <c:v>#N/A</c:v>
                </c:pt>
                <c:pt idx="5498">
                  <c:v>#N/A</c:v>
                </c:pt>
                <c:pt idx="5499">
                  <c:v>#N/A</c:v>
                </c:pt>
                <c:pt idx="5500">
                  <c:v>#N/A</c:v>
                </c:pt>
                <c:pt idx="5501">
                  <c:v>#N/A</c:v>
                </c:pt>
                <c:pt idx="5502">
                  <c:v>#N/A</c:v>
                </c:pt>
                <c:pt idx="5503">
                  <c:v>#N/A</c:v>
                </c:pt>
                <c:pt idx="5504">
                  <c:v>#N/A</c:v>
                </c:pt>
                <c:pt idx="5505">
                  <c:v>#N/A</c:v>
                </c:pt>
                <c:pt idx="5506">
                  <c:v>#N/A</c:v>
                </c:pt>
                <c:pt idx="5507">
                  <c:v>#N/A</c:v>
                </c:pt>
                <c:pt idx="5508">
                  <c:v>#N/A</c:v>
                </c:pt>
                <c:pt idx="5509">
                  <c:v>#N/A</c:v>
                </c:pt>
                <c:pt idx="5510">
                  <c:v>#N/A</c:v>
                </c:pt>
                <c:pt idx="5511">
                  <c:v>#N/A</c:v>
                </c:pt>
                <c:pt idx="5512">
                  <c:v>#N/A</c:v>
                </c:pt>
                <c:pt idx="5513">
                  <c:v>#N/A</c:v>
                </c:pt>
                <c:pt idx="5514">
                  <c:v>#N/A</c:v>
                </c:pt>
                <c:pt idx="5515">
                  <c:v>#N/A</c:v>
                </c:pt>
                <c:pt idx="5516">
                  <c:v>#N/A</c:v>
                </c:pt>
                <c:pt idx="5517">
                  <c:v>#N/A</c:v>
                </c:pt>
                <c:pt idx="5518">
                  <c:v>#N/A</c:v>
                </c:pt>
                <c:pt idx="5519">
                  <c:v>#N/A</c:v>
                </c:pt>
                <c:pt idx="5520">
                  <c:v>#N/A</c:v>
                </c:pt>
                <c:pt idx="5521">
                  <c:v>#N/A</c:v>
                </c:pt>
                <c:pt idx="5522">
                  <c:v>#N/A</c:v>
                </c:pt>
                <c:pt idx="5523">
                  <c:v>#N/A</c:v>
                </c:pt>
                <c:pt idx="5524">
                  <c:v>#N/A</c:v>
                </c:pt>
                <c:pt idx="5525">
                  <c:v>#N/A</c:v>
                </c:pt>
                <c:pt idx="5526">
                  <c:v>#N/A</c:v>
                </c:pt>
                <c:pt idx="5527">
                  <c:v>#N/A</c:v>
                </c:pt>
                <c:pt idx="5528">
                  <c:v>#N/A</c:v>
                </c:pt>
                <c:pt idx="5529">
                  <c:v>#N/A</c:v>
                </c:pt>
                <c:pt idx="5530">
                  <c:v>#N/A</c:v>
                </c:pt>
                <c:pt idx="5531">
                  <c:v>#N/A</c:v>
                </c:pt>
                <c:pt idx="5532">
                  <c:v>#N/A</c:v>
                </c:pt>
                <c:pt idx="5533">
                  <c:v>#N/A</c:v>
                </c:pt>
                <c:pt idx="5534">
                  <c:v>#N/A</c:v>
                </c:pt>
                <c:pt idx="5535">
                  <c:v>#N/A</c:v>
                </c:pt>
                <c:pt idx="5536">
                  <c:v>#N/A</c:v>
                </c:pt>
                <c:pt idx="5537">
                  <c:v>#N/A</c:v>
                </c:pt>
                <c:pt idx="5538">
                  <c:v>#N/A</c:v>
                </c:pt>
                <c:pt idx="5539">
                  <c:v>#N/A</c:v>
                </c:pt>
                <c:pt idx="5540">
                  <c:v>#N/A</c:v>
                </c:pt>
                <c:pt idx="5541">
                  <c:v>#N/A</c:v>
                </c:pt>
                <c:pt idx="5542">
                  <c:v>#N/A</c:v>
                </c:pt>
                <c:pt idx="5543">
                  <c:v>#N/A</c:v>
                </c:pt>
                <c:pt idx="5544">
                  <c:v>#N/A</c:v>
                </c:pt>
                <c:pt idx="5545">
                  <c:v>#N/A</c:v>
                </c:pt>
                <c:pt idx="5546">
                  <c:v>#N/A</c:v>
                </c:pt>
                <c:pt idx="5547">
                  <c:v>#N/A</c:v>
                </c:pt>
                <c:pt idx="5548">
                  <c:v>#N/A</c:v>
                </c:pt>
                <c:pt idx="5549">
                  <c:v>#N/A</c:v>
                </c:pt>
                <c:pt idx="5550">
                  <c:v>#N/A</c:v>
                </c:pt>
                <c:pt idx="5551">
                  <c:v>#N/A</c:v>
                </c:pt>
                <c:pt idx="5552">
                  <c:v>#N/A</c:v>
                </c:pt>
                <c:pt idx="5553">
                  <c:v>#N/A</c:v>
                </c:pt>
                <c:pt idx="5554">
                  <c:v>#N/A</c:v>
                </c:pt>
                <c:pt idx="5555">
                  <c:v>#N/A</c:v>
                </c:pt>
                <c:pt idx="5556">
                  <c:v>#N/A</c:v>
                </c:pt>
                <c:pt idx="5557">
                  <c:v>#N/A</c:v>
                </c:pt>
                <c:pt idx="5558">
                  <c:v>#N/A</c:v>
                </c:pt>
                <c:pt idx="5559">
                  <c:v>#N/A</c:v>
                </c:pt>
                <c:pt idx="5560">
                  <c:v>#N/A</c:v>
                </c:pt>
                <c:pt idx="5561">
                  <c:v>#N/A</c:v>
                </c:pt>
                <c:pt idx="5562">
                  <c:v>#N/A</c:v>
                </c:pt>
                <c:pt idx="5563">
                  <c:v>#N/A</c:v>
                </c:pt>
                <c:pt idx="5564">
                  <c:v>#N/A</c:v>
                </c:pt>
                <c:pt idx="5565">
                  <c:v>#N/A</c:v>
                </c:pt>
                <c:pt idx="5566">
                  <c:v>#N/A</c:v>
                </c:pt>
                <c:pt idx="5567">
                  <c:v>#N/A</c:v>
                </c:pt>
                <c:pt idx="5568">
                  <c:v>#N/A</c:v>
                </c:pt>
                <c:pt idx="5569">
                  <c:v>#N/A</c:v>
                </c:pt>
                <c:pt idx="5570">
                  <c:v>#N/A</c:v>
                </c:pt>
                <c:pt idx="5571">
                  <c:v>#N/A</c:v>
                </c:pt>
                <c:pt idx="5572">
                  <c:v>#N/A</c:v>
                </c:pt>
                <c:pt idx="5573">
                  <c:v>#N/A</c:v>
                </c:pt>
                <c:pt idx="5574">
                  <c:v>#N/A</c:v>
                </c:pt>
                <c:pt idx="5575">
                  <c:v>#N/A</c:v>
                </c:pt>
                <c:pt idx="5576">
                  <c:v>#N/A</c:v>
                </c:pt>
                <c:pt idx="5577">
                  <c:v>#N/A</c:v>
                </c:pt>
                <c:pt idx="5578">
                  <c:v>#N/A</c:v>
                </c:pt>
                <c:pt idx="5579">
                  <c:v>#N/A</c:v>
                </c:pt>
                <c:pt idx="5580">
                  <c:v>#N/A</c:v>
                </c:pt>
                <c:pt idx="5581">
                  <c:v>#N/A</c:v>
                </c:pt>
                <c:pt idx="5582">
                  <c:v>#N/A</c:v>
                </c:pt>
                <c:pt idx="5583">
                  <c:v>#N/A</c:v>
                </c:pt>
                <c:pt idx="5584">
                  <c:v>#N/A</c:v>
                </c:pt>
                <c:pt idx="5585">
                  <c:v>#N/A</c:v>
                </c:pt>
                <c:pt idx="5586">
                  <c:v>#N/A</c:v>
                </c:pt>
                <c:pt idx="5587">
                  <c:v>#N/A</c:v>
                </c:pt>
                <c:pt idx="5588">
                  <c:v>#N/A</c:v>
                </c:pt>
                <c:pt idx="5589">
                  <c:v>#N/A</c:v>
                </c:pt>
                <c:pt idx="5590">
                  <c:v>#N/A</c:v>
                </c:pt>
                <c:pt idx="5591">
                  <c:v>#N/A</c:v>
                </c:pt>
                <c:pt idx="5592">
                  <c:v>#N/A</c:v>
                </c:pt>
                <c:pt idx="5593">
                  <c:v>#N/A</c:v>
                </c:pt>
                <c:pt idx="5594">
                  <c:v>#N/A</c:v>
                </c:pt>
                <c:pt idx="5595">
                  <c:v>#N/A</c:v>
                </c:pt>
                <c:pt idx="5596">
                  <c:v>#N/A</c:v>
                </c:pt>
                <c:pt idx="5597">
                  <c:v>#N/A</c:v>
                </c:pt>
                <c:pt idx="5598">
                  <c:v>#N/A</c:v>
                </c:pt>
                <c:pt idx="5599">
                  <c:v>#N/A</c:v>
                </c:pt>
                <c:pt idx="5600">
                  <c:v>#N/A</c:v>
                </c:pt>
                <c:pt idx="5601">
                  <c:v>#N/A</c:v>
                </c:pt>
                <c:pt idx="5602">
                  <c:v>#N/A</c:v>
                </c:pt>
                <c:pt idx="5603">
                  <c:v>#N/A</c:v>
                </c:pt>
                <c:pt idx="5604">
                  <c:v>#N/A</c:v>
                </c:pt>
                <c:pt idx="5605">
                  <c:v>#N/A</c:v>
                </c:pt>
                <c:pt idx="5606">
                  <c:v>#N/A</c:v>
                </c:pt>
                <c:pt idx="5607">
                  <c:v>#N/A</c:v>
                </c:pt>
                <c:pt idx="5608">
                  <c:v>#N/A</c:v>
                </c:pt>
                <c:pt idx="5609">
                  <c:v>#N/A</c:v>
                </c:pt>
                <c:pt idx="5610">
                  <c:v>#N/A</c:v>
                </c:pt>
                <c:pt idx="5611">
                  <c:v>#N/A</c:v>
                </c:pt>
                <c:pt idx="5612">
                  <c:v>#N/A</c:v>
                </c:pt>
                <c:pt idx="5613">
                  <c:v>#N/A</c:v>
                </c:pt>
                <c:pt idx="5614">
                  <c:v>#N/A</c:v>
                </c:pt>
                <c:pt idx="5615">
                  <c:v>#N/A</c:v>
                </c:pt>
                <c:pt idx="5616">
                  <c:v>#N/A</c:v>
                </c:pt>
                <c:pt idx="5617">
                  <c:v>#N/A</c:v>
                </c:pt>
                <c:pt idx="5618">
                  <c:v>#N/A</c:v>
                </c:pt>
                <c:pt idx="5619">
                  <c:v>#N/A</c:v>
                </c:pt>
                <c:pt idx="5620">
                  <c:v>#N/A</c:v>
                </c:pt>
                <c:pt idx="5621">
                  <c:v>#N/A</c:v>
                </c:pt>
                <c:pt idx="5622">
                  <c:v>#N/A</c:v>
                </c:pt>
                <c:pt idx="5623">
                  <c:v>#N/A</c:v>
                </c:pt>
                <c:pt idx="5624">
                  <c:v>#N/A</c:v>
                </c:pt>
                <c:pt idx="5625">
                  <c:v>#N/A</c:v>
                </c:pt>
                <c:pt idx="5626">
                  <c:v>#N/A</c:v>
                </c:pt>
                <c:pt idx="5627">
                  <c:v>#N/A</c:v>
                </c:pt>
                <c:pt idx="5628">
                  <c:v>#N/A</c:v>
                </c:pt>
                <c:pt idx="5629">
                  <c:v>#N/A</c:v>
                </c:pt>
                <c:pt idx="5630">
                  <c:v>#N/A</c:v>
                </c:pt>
                <c:pt idx="5631">
                  <c:v>#N/A</c:v>
                </c:pt>
                <c:pt idx="5632">
                  <c:v>#N/A</c:v>
                </c:pt>
                <c:pt idx="5633">
                  <c:v>#N/A</c:v>
                </c:pt>
                <c:pt idx="5634">
                  <c:v>#N/A</c:v>
                </c:pt>
                <c:pt idx="5635">
                  <c:v>#N/A</c:v>
                </c:pt>
                <c:pt idx="5636">
                  <c:v>#N/A</c:v>
                </c:pt>
                <c:pt idx="5637">
                  <c:v>#N/A</c:v>
                </c:pt>
                <c:pt idx="5638">
                  <c:v>#N/A</c:v>
                </c:pt>
                <c:pt idx="5639">
                  <c:v>#N/A</c:v>
                </c:pt>
                <c:pt idx="5640">
                  <c:v>#N/A</c:v>
                </c:pt>
                <c:pt idx="5641">
                  <c:v>#N/A</c:v>
                </c:pt>
                <c:pt idx="5642">
                  <c:v>#N/A</c:v>
                </c:pt>
                <c:pt idx="5643">
                  <c:v>#N/A</c:v>
                </c:pt>
                <c:pt idx="5644">
                  <c:v>#N/A</c:v>
                </c:pt>
                <c:pt idx="5645">
                  <c:v>#N/A</c:v>
                </c:pt>
                <c:pt idx="5646">
                  <c:v>#N/A</c:v>
                </c:pt>
                <c:pt idx="5647">
                  <c:v>#N/A</c:v>
                </c:pt>
                <c:pt idx="5648">
                  <c:v>#N/A</c:v>
                </c:pt>
                <c:pt idx="5649">
                  <c:v>#N/A</c:v>
                </c:pt>
                <c:pt idx="5650">
                  <c:v>#N/A</c:v>
                </c:pt>
                <c:pt idx="5651">
                  <c:v>#N/A</c:v>
                </c:pt>
                <c:pt idx="5652">
                  <c:v>#N/A</c:v>
                </c:pt>
                <c:pt idx="5653">
                  <c:v>#N/A</c:v>
                </c:pt>
                <c:pt idx="5654">
                  <c:v>#N/A</c:v>
                </c:pt>
                <c:pt idx="5655">
                  <c:v>#N/A</c:v>
                </c:pt>
                <c:pt idx="5656">
                  <c:v>#N/A</c:v>
                </c:pt>
                <c:pt idx="5657">
                  <c:v>#N/A</c:v>
                </c:pt>
                <c:pt idx="5658">
                  <c:v>#N/A</c:v>
                </c:pt>
                <c:pt idx="5659">
                  <c:v>#N/A</c:v>
                </c:pt>
                <c:pt idx="5660">
                  <c:v>#N/A</c:v>
                </c:pt>
                <c:pt idx="5661">
                  <c:v>#N/A</c:v>
                </c:pt>
                <c:pt idx="5662">
                  <c:v>#N/A</c:v>
                </c:pt>
                <c:pt idx="5663">
                  <c:v>#N/A</c:v>
                </c:pt>
                <c:pt idx="5664">
                  <c:v>#N/A</c:v>
                </c:pt>
                <c:pt idx="5665">
                  <c:v>#N/A</c:v>
                </c:pt>
                <c:pt idx="5666">
                  <c:v>#N/A</c:v>
                </c:pt>
                <c:pt idx="5667">
                  <c:v>#N/A</c:v>
                </c:pt>
                <c:pt idx="5668">
                  <c:v>#N/A</c:v>
                </c:pt>
                <c:pt idx="5669">
                  <c:v>#N/A</c:v>
                </c:pt>
                <c:pt idx="5670">
                  <c:v>#N/A</c:v>
                </c:pt>
                <c:pt idx="5671">
                  <c:v>#N/A</c:v>
                </c:pt>
                <c:pt idx="5672">
                  <c:v>#N/A</c:v>
                </c:pt>
                <c:pt idx="5673">
                  <c:v>#N/A</c:v>
                </c:pt>
                <c:pt idx="5674">
                  <c:v>#N/A</c:v>
                </c:pt>
                <c:pt idx="5675">
                  <c:v>#N/A</c:v>
                </c:pt>
                <c:pt idx="5676">
                  <c:v>#N/A</c:v>
                </c:pt>
                <c:pt idx="5677">
                  <c:v>#N/A</c:v>
                </c:pt>
                <c:pt idx="5678">
                  <c:v>#N/A</c:v>
                </c:pt>
                <c:pt idx="5679">
                  <c:v>#N/A</c:v>
                </c:pt>
                <c:pt idx="5680">
                  <c:v>#N/A</c:v>
                </c:pt>
                <c:pt idx="5681">
                  <c:v>#N/A</c:v>
                </c:pt>
                <c:pt idx="5682">
                  <c:v>#N/A</c:v>
                </c:pt>
                <c:pt idx="5683">
                  <c:v>#N/A</c:v>
                </c:pt>
                <c:pt idx="5684">
                  <c:v>#N/A</c:v>
                </c:pt>
                <c:pt idx="5685">
                  <c:v>#N/A</c:v>
                </c:pt>
                <c:pt idx="5686">
                  <c:v>#N/A</c:v>
                </c:pt>
                <c:pt idx="5687">
                  <c:v>#N/A</c:v>
                </c:pt>
                <c:pt idx="5688">
                  <c:v>#N/A</c:v>
                </c:pt>
                <c:pt idx="5689">
                  <c:v>#N/A</c:v>
                </c:pt>
                <c:pt idx="5690">
                  <c:v>#N/A</c:v>
                </c:pt>
                <c:pt idx="5691">
                  <c:v>#N/A</c:v>
                </c:pt>
                <c:pt idx="5692">
                  <c:v>#N/A</c:v>
                </c:pt>
                <c:pt idx="5693">
                  <c:v>#N/A</c:v>
                </c:pt>
                <c:pt idx="5694">
                  <c:v>#N/A</c:v>
                </c:pt>
                <c:pt idx="5695">
                  <c:v>#N/A</c:v>
                </c:pt>
                <c:pt idx="5696">
                  <c:v>#N/A</c:v>
                </c:pt>
                <c:pt idx="5697">
                  <c:v>#N/A</c:v>
                </c:pt>
                <c:pt idx="5698">
                  <c:v>#N/A</c:v>
                </c:pt>
                <c:pt idx="5699">
                  <c:v>#N/A</c:v>
                </c:pt>
                <c:pt idx="5700">
                  <c:v>#N/A</c:v>
                </c:pt>
                <c:pt idx="5701">
                  <c:v>#N/A</c:v>
                </c:pt>
                <c:pt idx="5702">
                  <c:v>#N/A</c:v>
                </c:pt>
                <c:pt idx="5703">
                  <c:v>#N/A</c:v>
                </c:pt>
                <c:pt idx="5704">
                  <c:v>#N/A</c:v>
                </c:pt>
                <c:pt idx="5705">
                  <c:v>#N/A</c:v>
                </c:pt>
                <c:pt idx="5706">
                  <c:v>#N/A</c:v>
                </c:pt>
                <c:pt idx="5707">
                  <c:v>#N/A</c:v>
                </c:pt>
                <c:pt idx="5708">
                  <c:v>#N/A</c:v>
                </c:pt>
                <c:pt idx="5709">
                  <c:v>#N/A</c:v>
                </c:pt>
                <c:pt idx="5710">
                  <c:v>#N/A</c:v>
                </c:pt>
                <c:pt idx="5711">
                  <c:v>#N/A</c:v>
                </c:pt>
                <c:pt idx="5712">
                  <c:v>#N/A</c:v>
                </c:pt>
                <c:pt idx="5713">
                  <c:v>#N/A</c:v>
                </c:pt>
                <c:pt idx="5714">
                  <c:v>#N/A</c:v>
                </c:pt>
                <c:pt idx="5715">
                  <c:v>#N/A</c:v>
                </c:pt>
                <c:pt idx="5716">
                  <c:v>#N/A</c:v>
                </c:pt>
                <c:pt idx="5717">
                  <c:v>#N/A</c:v>
                </c:pt>
                <c:pt idx="5718">
                  <c:v>#N/A</c:v>
                </c:pt>
                <c:pt idx="5719">
                  <c:v>#N/A</c:v>
                </c:pt>
                <c:pt idx="5720">
                  <c:v>#N/A</c:v>
                </c:pt>
                <c:pt idx="5721">
                  <c:v>#N/A</c:v>
                </c:pt>
                <c:pt idx="5722">
                  <c:v>#N/A</c:v>
                </c:pt>
                <c:pt idx="5723">
                  <c:v>#N/A</c:v>
                </c:pt>
                <c:pt idx="5724">
                  <c:v>#N/A</c:v>
                </c:pt>
                <c:pt idx="5725">
                  <c:v>#N/A</c:v>
                </c:pt>
                <c:pt idx="5726">
                  <c:v>#N/A</c:v>
                </c:pt>
                <c:pt idx="5727">
                  <c:v>#N/A</c:v>
                </c:pt>
                <c:pt idx="5728">
                  <c:v>#N/A</c:v>
                </c:pt>
                <c:pt idx="5729">
                  <c:v>#N/A</c:v>
                </c:pt>
                <c:pt idx="5730">
                  <c:v>#N/A</c:v>
                </c:pt>
                <c:pt idx="5731">
                  <c:v>#N/A</c:v>
                </c:pt>
                <c:pt idx="5732">
                  <c:v>#N/A</c:v>
                </c:pt>
                <c:pt idx="5733">
                  <c:v>#N/A</c:v>
                </c:pt>
                <c:pt idx="5734">
                  <c:v>#N/A</c:v>
                </c:pt>
                <c:pt idx="5735">
                  <c:v>#N/A</c:v>
                </c:pt>
                <c:pt idx="5736">
                  <c:v>#N/A</c:v>
                </c:pt>
                <c:pt idx="5737">
                  <c:v>#N/A</c:v>
                </c:pt>
                <c:pt idx="5738">
                  <c:v>#N/A</c:v>
                </c:pt>
                <c:pt idx="5739">
                  <c:v>#N/A</c:v>
                </c:pt>
                <c:pt idx="5740">
                  <c:v>#N/A</c:v>
                </c:pt>
                <c:pt idx="5741">
                  <c:v>#N/A</c:v>
                </c:pt>
                <c:pt idx="5742">
                  <c:v>#N/A</c:v>
                </c:pt>
                <c:pt idx="5743">
                  <c:v>#N/A</c:v>
                </c:pt>
                <c:pt idx="5744">
                  <c:v>#N/A</c:v>
                </c:pt>
                <c:pt idx="5745">
                  <c:v>#N/A</c:v>
                </c:pt>
                <c:pt idx="5746">
                  <c:v>#N/A</c:v>
                </c:pt>
                <c:pt idx="5747">
                  <c:v>#N/A</c:v>
                </c:pt>
                <c:pt idx="5748">
                  <c:v>#N/A</c:v>
                </c:pt>
                <c:pt idx="5749">
                  <c:v>#N/A</c:v>
                </c:pt>
                <c:pt idx="5750">
                  <c:v>#N/A</c:v>
                </c:pt>
                <c:pt idx="5751">
                  <c:v>#N/A</c:v>
                </c:pt>
                <c:pt idx="5752">
                  <c:v>#N/A</c:v>
                </c:pt>
                <c:pt idx="5753">
                  <c:v>#N/A</c:v>
                </c:pt>
                <c:pt idx="5754">
                  <c:v>#N/A</c:v>
                </c:pt>
                <c:pt idx="5755">
                  <c:v>#N/A</c:v>
                </c:pt>
                <c:pt idx="5756">
                  <c:v>#N/A</c:v>
                </c:pt>
                <c:pt idx="5757">
                  <c:v>#N/A</c:v>
                </c:pt>
                <c:pt idx="5758">
                  <c:v>#N/A</c:v>
                </c:pt>
                <c:pt idx="5759">
                  <c:v>#N/A</c:v>
                </c:pt>
                <c:pt idx="5760">
                  <c:v>#N/A</c:v>
                </c:pt>
                <c:pt idx="5761">
                  <c:v>#N/A</c:v>
                </c:pt>
                <c:pt idx="5762">
                  <c:v>#N/A</c:v>
                </c:pt>
                <c:pt idx="5763">
                  <c:v>#N/A</c:v>
                </c:pt>
                <c:pt idx="5764">
                  <c:v>#N/A</c:v>
                </c:pt>
                <c:pt idx="5765">
                  <c:v>#N/A</c:v>
                </c:pt>
                <c:pt idx="5766">
                  <c:v>#N/A</c:v>
                </c:pt>
                <c:pt idx="5767">
                  <c:v>#N/A</c:v>
                </c:pt>
                <c:pt idx="5768">
                  <c:v>#N/A</c:v>
                </c:pt>
                <c:pt idx="5769">
                  <c:v>#N/A</c:v>
                </c:pt>
                <c:pt idx="5770">
                  <c:v>#N/A</c:v>
                </c:pt>
                <c:pt idx="5771">
                  <c:v>#N/A</c:v>
                </c:pt>
                <c:pt idx="5772">
                  <c:v>#N/A</c:v>
                </c:pt>
                <c:pt idx="5773">
                  <c:v>#N/A</c:v>
                </c:pt>
                <c:pt idx="5774">
                  <c:v>#N/A</c:v>
                </c:pt>
                <c:pt idx="5775">
                  <c:v>#N/A</c:v>
                </c:pt>
                <c:pt idx="5776">
                  <c:v>#N/A</c:v>
                </c:pt>
                <c:pt idx="5777">
                  <c:v>#N/A</c:v>
                </c:pt>
                <c:pt idx="5778">
                  <c:v>#N/A</c:v>
                </c:pt>
                <c:pt idx="5779">
                  <c:v>#N/A</c:v>
                </c:pt>
                <c:pt idx="5780">
                  <c:v>#N/A</c:v>
                </c:pt>
                <c:pt idx="5781">
                  <c:v>#N/A</c:v>
                </c:pt>
                <c:pt idx="5782">
                  <c:v>#N/A</c:v>
                </c:pt>
                <c:pt idx="5783">
                  <c:v>#N/A</c:v>
                </c:pt>
                <c:pt idx="5784">
                  <c:v>#N/A</c:v>
                </c:pt>
                <c:pt idx="5785">
                  <c:v>#N/A</c:v>
                </c:pt>
                <c:pt idx="5786">
                  <c:v>#N/A</c:v>
                </c:pt>
                <c:pt idx="5787">
                  <c:v>#N/A</c:v>
                </c:pt>
                <c:pt idx="5788">
                  <c:v>#N/A</c:v>
                </c:pt>
                <c:pt idx="5789">
                  <c:v>#N/A</c:v>
                </c:pt>
                <c:pt idx="5790">
                  <c:v>#N/A</c:v>
                </c:pt>
                <c:pt idx="5791">
                  <c:v>#N/A</c:v>
                </c:pt>
                <c:pt idx="5792">
                  <c:v>#N/A</c:v>
                </c:pt>
                <c:pt idx="5793">
                  <c:v>#N/A</c:v>
                </c:pt>
                <c:pt idx="5794">
                  <c:v>#N/A</c:v>
                </c:pt>
                <c:pt idx="5795">
                  <c:v>#N/A</c:v>
                </c:pt>
                <c:pt idx="5796">
                  <c:v>#N/A</c:v>
                </c:pt>
                <c:pt idx="5797">
                  <c:v>#N/A</c:v>
                </c:pt>
                <c:pt idx="5798">
                  <c:v>#N/A</c:v>
                </c:pt>
                <c:pt idx="5799">
                  <c:v>#N/A</c:v>
                </c:pt>
                <c:pt idx="5800">
                  <c:v>#N/A</c:v>
                </c:pt>
                <c:pt idx="5801">
                  <c:v>#N/A</c:v>
                </c:pt>
                <c:pt idx="5802">
                  <c:v>#N/A</c:v>
                </c:pt>
                <c:pt idx="5803">
                  <c:v>#N/A</c:v>
                </c:pt>
                <c:pt idx="5804">
                  <c:v>#N/A</c:v>
                </c:pt>
                <c:pt idx="5805">
                  <c:v>#N/A</c:v>
                </c:pt>
                <c:pt idx="5806">
                  <c:v>#N/A</c:v>
                </c:pt>
                <c:pt idx="5807">
                  <c:v>#N/A</c:v>
                </c:pt>
                <c:pt idx="5808">
                  <c:v>#N/A</c:v>
                </c:pt>
                <c:pt idx="5809">
                  <c:v>#N/A</c:v>
                </c:pt>
                <c:pt idx="5810">
                  <c:v>#N/A</c:v>
                </c:pt>
                <c:pt idx="5811">
                  <c:v>#N/A</c:v>
                </c:pt>
                <c:pt idx="5812">
                  <c:v>#N/A</c:v>
                </c:pt>
                <c:pt idx="5813">
                  <c:v>#N/A</c:v>
                </c:pt>
                <c:pt idx="5814">
                  <c:v>#N/A</c:v>
                </c:pt>
                <c:pt idx="5815">
                  <c:v>#N/A</c:v>
                </c:pt>
                <c:pt idx="5816">
                  <c:v>#N/A</c:v>
                </c:pt>
                <c:pt idx="5817">
                  <c:v>#N/A</c:v>
                </c:pt>
                <c:pt idx="5818">
                  <c:v>#N/A</c:v>
                </c:pt>
                <c:pt idx="5819">
                  <c:v>#N/A</c:v>
                </c:pt>
                <c:pt idx="5820">
                  <c:v>#N/A</c:v>
                </c:pt>
                <c:pt idx="5821">
                  <c:v>#N/A</c:v>
                </c:pt>
                <c:pt idx="5822">
                  <c:v>#N/A</c:v>
                </c:pt>
                <c:pt idx="5823">
                  <c:v>#N/A</c:v>
                </c:pt>
                <c:pt idx="5824">
                  <c:v>#N/A</c:v>
                </c:pt>
                <c:pt idx="5825">
                  <c:v>#N/A</c:v>
                </c:pt>
                <c:pt idx="5826">
                  <c:v>#N/A</c:v>
                </c:pt>
                <c:pt idx="5827">
                  <c:v>#N/A</c:v>
                </c:pt>
                <c:pt idx="5828">
                  <c:v>#N/A</c:v>
                </c:pt>
                <c:pt idx="5829">
                  <c:v>#N/A</c:v>
                </c:pt>
                <c:pt idx="5830">
                  <c:v>#N/A</c:v>
                </c:pt>
                <c:pt idx="5831">
                  <c:v>#N/A</c:v>
                </c:pt>
                <c:pt idx="5832">
                  <c:v>#N/A</c:v>
                </c:pt>
                <c:pt idx="5833">
                  <c:v>#N/A</c:v>
                </c:pt>
                <c:pt idx="5834">
                  <c:v>#N/A</c:v>
                </c:pt>
                <c:pt idx="5835">
                  <c:v>#N/A</c:v>
                </c:pt>
                <c:pt idx="5836">
                  <c:v>#N/A</c:v>
                </c:pt>
                <c:pt idx="5837">
                  <c:v>#N/A</c:v>
                </c:pt>
                <c:pt idx="5838">
                  <c:v>#N/A</c:v>
                </c:pt>
                <c:pt idx="5839">
                  <c:v>#N/A</c:v>
                </c:pt>
                <c:pt idx="5840">
                  <c:v>#N/A</c:v>
                </c:pt>
                <c:pt idx="5841">
                  <c:v>#N/A</c:v>
                </c:pt>
                <c:pt idx="5842">
                  <c:v>#N/A</c:v>
                </c:pt>
                <c:pt idx="5843">
                  <c:v>#N/A</c:v>
                </c:pt>
                <c:pt idx="5844">
                  <c:v>#N/A</c:v>
                </c:pt>
                <c:pt idx="5845">
                  <c:v>#N/A</c:v>
                </c:pt>
                <c:pt idx="5846">
                  <c:v>#N/A</c:v>
                </c:pt>
                <c:pt idx="5847">
                  <c:v>#N/A</c:v>
                </c:pt>
                <c:pt idx="5848">
                  <c:v>#N/A</c:v>
                </c:pt>
                <c:pt idx="5849">
                  <c:v>#N/A</c:v>
                </c:pt>
                <c:pt idx="5850">
                  <c:v>#N/A</c:v>
                </c:pt>
                <c:pt idx="5851">
                  <c:v>#N/A</c:v>
                </c:pt>
                <c:pt idx="5852">
                  <c:v>#N/A</c:v>
                </c:pt>
                <c:pt idx="5853">
                  <c:v>#N/A</c:v>
                </c:pt>
                <c:pt idx="5854">
                  <c:v>#N/A</c:v>
                </c:pt>
                <c:pt idx="5855">
                  <c:v>#N/A</c:v>
                </c:pt>
                <c:pt idx="5856">
                  <c:v>#N/A</c:v>
                </c:pt>
                <c:pt idx="5857">
                  <c:v>#N/A</c:v>
                </c:pt>
                <c:pt idx="5858">
                  <c:v>#N/A</c:v>
                </c:pt>
                <c:pt idx="5859">
                  <c:v>#N/A</c:v>
                </c:pt>
                <c:pt idx="5860">
                  <c:v>#N/A</c:v>
                </c:pt>
                <c:pt idx="5861">
                  <c:v>#N/A</c:v>
                </c:pt>
                <c:pt idx="5862">
                  <c:v>#N/A</c:v>
                </c:pt>
                <c:pt idx="5863">
                  <c:v>#N/A</c:v>
                </c:pt>
                <c:pt idx="5864">
                  <c:v>#N/A</c:v>
                </c:pt>
                <c:pt idx="5865">
                  <c:v>#N/A</c:v>
                </c:pt>
                <c:pt idx="5866">
                  <c:v>#N/A</c:v>
                </c:pt>
                <c:pt idx="5867">
                  <c:v>#N/A</c:v>
                </c:pt>
                <c:pt idx="5868">
                  <c:v>#N/A</c:v>
                </c:pt>
                <c:pt idx="5869">
                  <c:v>#N/A</c:v>
                </c:pt>
                <c:pt idx="5870">
                  <c:v>#N/A</c:v>
                </c:pt>
                <c:pt idx="5871">
                  <c:v>#N/A</c:v>
                </c:pt>
                <c:pt idx="5872">
                  <c:v>#N/A</c:v>
                </c:pt>
                <c:pt idx="5873">
                  <c:v>#N/A</c:v>
                </c:pt>
                <c:pt idx="5874">
                  <c:v>#N/A</c:v>
                </c:pt>
                <c:pt idx="5875">
                  <c:v>#N/A</c:v>
                </c:pt>
                <c:pt idx="5876">
                  <c:v>#N/A</c:v>
                </c:pt>
                <c:pt idx="5877">
                  <c:v>#N/A</c:v>
                </c:pt>
                <c:pt idx="5878">
                  <c:v>#N/A</c:v>
                </c:pt>
                <c:pt idx="5879">
                  <c:v>#N/A</c:v>
                </c:pt>
                <c:pt idx="5880">
                  <c:v>#N/A</c:v>
                </c:pt>
                <c:pt idx="5881">
                  <c:v>#N/A</c:v>
                </c:pt>
                <c:pt idx="5882">
                  <c:v>#N/A</c:v>
                </c:pt>
                <c:pt idx="5883">
                  <c:v>#N/A</c:v>
                </c:pt>
                <c:pt idx="5884">
                  <c:v>#N/A</c:v>
                </c:pt>
                <c:pt idx="5885">
                  <c:v>#N/A</c:v>
                </c:pt>
                <c:pt idx="5886">
                  <c:v>#N/A</c:v>
                </c:pt>
                <c:pt idx="5887">
                  <c:v>#N/A</c:v>
                </c:pt>
                <c:pt idx="5888">
                  <c:v>#N/A</c:v>
                </c:pt>
                <c:pt idx="5889">
                  <c:v>#N/A</c:v>
                </c:pt>
                <c:pt idx="5890">
                  <c:v>#N/A</c:v>
                </c:pt>
                <c:pt idx="5891">
                  <c:v>#N/A</c:v>
                </c:pt>
                <c:pt idx="5892">
                  <c:v>#N/A</c:v>
                </c:pt>
                <c:pt idx="5893">
                  <c:v>#N/A</c:v>
                </c:pt>
                <c:pt idx="5894">
                  <c:v>#N/A</c:v>
                </c:pt>
                <c:pt idx="5895">
                  <c:v>#N/A</c:v>
                </c:pt>
                <c:pt idx="5896">
                  <c:v>#N/A</c:v>
                </c:pt>
                <c:pt idx="5897">
                  <c:v>#N/A</c:v>
                </c:pt>
                <c:pt idx="5898">
                  <c:v>#N/A</c:v>
                </c:pt>
                <c:pt idx="5899">
                  <c:v>#N/A</c:v>
                </c:pt>
                <c:pt idx="5900">
                  <c:v>#N/A</c:v>
                </c:pt>
                <c:pt idx="5901">
                  <c:v>#N/A</c:v>
                </c:pt>
                <c:pt idx="5902">
                  <c:v>#N/A</c:v>
                </c:pt>
                <c:pt idx="5903">
                  <c:v>#N/A</c:v>
                </c:pt>
                <c:pt idx="5904">
                  <c:v>#N/A</c:v>
                </c:pt>
                <c:pt idx="5905">
                  <c:v>#N/A</c:v>
                </c:pt>
                <c:pt idx="5906">
                  <c:v>#N/A</c:v>
                </c:pt>
                <c:pt idx="5907">
                  <c:v>#N/A</c:v>
                </c:pt>
                <c:pt idx="5908">
                  <c:v>#N/A</c:v>
                </c:pt>
                <c:pt idx="5909">
                  <c:v>#N/A</c:v>
                </c:pt>
                <c:pt idx="5910">
                  <c:v>#N/A</c:v>
                </c:pt>
                <c:pt idx="5911">
                  <c:v>#N/A</c:v>
                </c:pt>
                <c:pt idx="5912">
                  <c:v>#N/A</c:v>
                </c:pt>
                <c:pt idx="5913">
                  <c:v>#N/A</c:v>
                </c:pt>
                <c:pt idx="5914">
                  <c:v>#N/A</c:v>
                </c:pt>
                <c:pt idx="5915">
                  <c:v>#N/A</c:v>
                </c:pt>
                <c:pt idx="5916">
                  <c:v>#N/A</c:v>
                </c:pt>
                <c:pt idx="5917">
                  <c:v>#N/A</c:v>
                </c:pt>
                <c:pt idx="5918">
                  <c:v>#N/A</c:v>
                </c:pt>
                <c:pt idx="5919">
                  <c:v>#N/A</c:v>
                </c:pt>
                <c:pt idx="5920">
                  <c:v>#N/A</c:v>
                </c:pt>
                <c:pt idx="5921">
                  <c:v>#N/A</c:v>
                </c:pt>
                <c:pt idx="5922">
                  <c:v>#N/A</c:v>
                </c:pt>
                <c:pt idx="5923">
                  <c:v>#N/A</c:v>
                </c:pt>
                <c:pt idx="5924">
                  <c:v>#N/A</c:v>
                </c:pt>
                <c:pt idx="5925">
                  <c:v>#N/A</c:v>
                </c:pt>
                <c:pt idx="5926">
                  <c:v>#N/A</c:v>
                </c:pt>
                <c:pt idx="5927">
                  <c:v>#N/A</c:v>
                </c:pt>
                <c:pt idx="5928">
                  <c:v>#N/A</c:v>
                </c:pt>
                <c:pt idx="5929">
                  <c:v>#N/A</c:v>
                </c:pt>
                <c:pt idx="5930">
                  <c:v>#N/A</c:v>
                </c:pt>
                <c:pt idx="5931">
                  <c:v>#N/A</c:v>
                </c:pt>
                <c:pt idx="5932">
                  <c:v>#N/A</c:v>
                </c:pt>
                <c:pt idx="5933">
                  <c:v>#N/A</c:v>
                </c:pt>
                <c:pt idx="5934">
                  <c:v>#N/A</c:v>
                </c:pt>
                <c:pt idx="5935">
                  <c:v>#N/A</c:v>
                </c:pt>
                <c:pt idx="5936">
                  <c:v>#N/A</c:v>
                </c:pt>
                <c:pt idx="5937">
                  <c:v>#N/A</c:v>
                </c:pt>
                <c:pt idx="5938">
                  <c:v>#N/A</c:v>
                </c:pt>
                <c:pt idx="5939">
                  <c:v>#N/A</c:v>
                </c:pt>
                <c:pt idx="5940">
                  <c:v>#N/A</c:v>
                </c:pt>
                <c:pt idx="5941">
                  <c:v>#N/A</c:v>
                </c:pt>
                <c:pt idx="5942">
                  <c:v>#N/A</c:v>
                </c:pt>
                <c:pt idx="5943">
                  <c:v>#N/A</c:v>
                </c:pt>
                <c:pt idx="5944">
                  <c:v>#N/A</c:v>
                </c:pt>
                <c:pt idx="5945">
                  <c:v>#N/A</c:v>
                </c:pt>
                <c:pt idx="5946">
                  <c:v>#N/A</c:v>
                </c:pt>
                <c:pt idx="5947">
                  <c:v>#N/A</c:v>
                </c:pt>
                <c:pt idx="5948">
                  <c:v>#N/A</c:v>
                </c:pt>
                <c:pt idx="5949">
                  <c:v>#N/A</c:v>
                </c:pt>
                <c:pt idx="5950">
                  <c:v>#N/A</c:v>
                </c:pt>
                <c:pt idx="5951">
                  <c:v>#N/A</c:v>
                </c:pt>
                <c:pt idx="5952">
                  <c:v>#N/A</c:v>
                </c:pt>
                <c:pt idx="5953">
                  <c:v>#N/A</c:v>
                </c:pt>
                <c:pt idx="5954">
                  <c:v>#N/A</c:v>
                </c:pt>
                <c:pt idx="5955">
                  <c:v>#N/A</c:v>
                </c:pt>
                <c:pt idx="5956">
                  <c:v>#N/A</c:v>
                </c:pt>
                <c:pt idx="5957">
                  <c:v>#N/A</c:v>
                </c:pt>
                <c:pt idx="5958">
                  <c:v>#N/A</c:v>
                </c:pt>
                <c:pt idx="5959">
                  <c:v>#N/A</c:v>
                </c:pt>
                <c:pt idx="5960">
                  <c:v>#N/A</c:v>
                </c:pt>
                <c:pt idx="5961">
                  <c:v>#N/A</c:v>
                </c:pt>
                <c:pt idx="5962">
                  <c:v>#N/A</c:v>
                </c:pt>
                <c:pt idx="5963">
                  <c:v>#N/A</c:v>
                </c:pt>
                <c:pt idx="5964">
                  <c:v>#N/A</c:v>
                </c:pt>
                <c:pt idx="5965">
                  <c:v>#N/A</c:v>
                </c:pt>
                <c:pt idx="5966">
                  <c:v>#N/A</c:v>
                </c:pt>
                <c:pt idx="5967">
                  <c:v>#N/A</c:v>
                </c:pt>
                <c:pt idx="5968">
                  <c:v>#N/A</c:v>
                </c:pt>
                <c:pt idx="5969">
                  <c:v>#N/A</c:v>
                </c:pt>
                <c:pt idx="5970">
                  <c:v>#N/A</c:v>
                </c:pt>
                <c:pt idx="5971">
                  <c:v>#N/A</c:v>
                </c:pt>
                <c:pt idx="5972">
                  <c:v>#N/A</c:v>
                </c:pt>
                <c:pt idx="5973">
                  <c:v>#N/A</c:v>
                </c:pt>
                <c:pt idx="5974">
                  <c:v>#N/A</c:v>
                </c:pt>
                <c:pt idx="5975">
                  <c:v>#N/A</c:v>
                </c:pt>
                <c:pt idx="5976">
                  <c:v>#N/A</c:v>
                </c:pt>
                <c:pt idx="5977">
                  <c:v>#N/A</c:v>
                </c:pt>
                <c:pt idx="5978">
                  <c:v>#N/A</c:v>
                </c:pt>
                <c:pt idx="5979">
                  <c:v>#N/A</c:v>
                </c:pt>
                <c:pt idx="5980">
                  <c:v>#N/A</c:v>
                </c:pt>
                <c:pt idx="5981">
                  <c:v>#N/A</c:v>
                </c:pt>
                <c:pt idx="5982">
                  <c:v>#N/A</c:v>
                </c:pt>
                <c:pt idx="5983">
                  <c:v>#N/A</c:v>
                </c:pt>
                <c:pt idx="5984">
                  <c:v>#N/A</c:v>
                </c:pt>
                <c:pt idx="5985">
                  <c:v>#N/A</c:v>
                </c:pt>
                <c:pt idx="5986">
                  <c:v>#N/A</c:v>
                </c:pt>
                <c:pt idx="5987">
                  <c:v>#N/A</c:v>
                </c:pt>
                <c:pt idx="5988">
                  <c:v>#N/A</c:v>
                </c:pt>
                <c:pt idx="5989">
                  <c:v>#N/A</c:v>
                </c:pt>
                <c:pt idx="5990">
                  <c:v>#N/A</c:v>
                </c:pt>
                <c:pt idx="5991">
                  <c:v>#N/A</c:v>
                </c:pt>
                <c:pt idx="5992">
                  <c:v>#N/A</c:v>
                </c:pt>
                <c:pt idx="5993">
                  <c:v>#N/A</c:v>
                </c:pt>
                <c:pt idx="5994">
                  <c:v>#N/A</c:v>
                </c:pt>
                <c:pt idx="5995">
                  <c:v>#N/A</c:v>
                </c:pt>
                <c:pt idx="5996">
                  <c:v>#N/A</c:v>
                </c:pt>
                <c:pt idx="5997">
                  <c:v>#N/A</c:v>
                </c:pt>
                <c:pt idx="5998">
                  <c:v>#N/A</c:v>
                </c:pt>
                <c:pt idx="5999">
                  <c:v>#N/A</c:v>
                </c:pt>
                <c:pt idx="6000">
                  <c:v>#N/A</c:v>
                </c:pt>
                <c:pt idx="6001">
                  <c:v>#N/A</c:v>
                </c:pt>
                <c:pt idx="6002">
                  <c:v>#N/A</c:v>
                </c:pt>
                <c:pt idx="6003">
                  <c:v>#N/A</c:v>
                </c:pt>
                <c:pt idx="6004">
                  <c:v>#N/A</c:v>
                </c:pt>
                <c:pt idx="6005">
                  <c:v>#N/A</c:v>
                </c:pt>
                <c:pt idx="6006">
                  <c:v>#N/A</c:v>
                </c:pt>
                <c:pt idx="6007">
                  <c:v>#N/A</c:v>
                </c:pt>
                <c:pt idx="6008">
                  <c:v>#N/A</c:v>
                </c:pt>
                <c:pt idx="6009">
                  <c:v>#N/A</c:v>
                </c:pt>
                <c:pt idx="6010">
                  <c:v>#N/A</c:v>
                </c:pt>
                <c:pt idx="6011">
                  <c:v>#N/A</c:v>
                </c:pt>
                <c:pt idx="6012">
                  <c:v>#N/A</c:v>
                </c:pt>
                <c:pt idx="6013">
                  <c:v>#N/A</c:v>
                </c:pt>
                <c:pt idx="6014">
                  <c:v>#N/A</c:v>
                </c:pt>
                <c:pt idx="6015">
                  <c:v>#N/A</c:v>
                </c:pt>
                <c:pt idx="6016">
                  <c:v>#N/A</c:v>
                </c:pt>
                <c:pt idx="6017">
                  <c:v>#N/A</c:v>
                </c:pt>
                <c:pt idx="6018">
                  <c:v>#N/A</c:v>
                </c:pt>
                <c:pt idx="6019">
                  <c:v>#N/A</c:v>
                </c:pt>
                <c:pt idx="6020">
                  <c:v>#N/A</c:v>
                </c:pt>
                <c:pt idx="6021">
                  <c:v>#N/A</c:v>
                </c:pt>
                <c:pt idx="6022">
                  <c:v>#N/A</c:v>
                </c:pt>
                <c:pt idx="6023">
                  <c:v>#N/A</c:v>
                </c:pt>
                <c:pt idx="6024">
                  <c:v>#N/A</c:v>
                </c:pt>
                <c:pt idx="6025">
                  <c:v>#N/A</c:v>
                </c:pt>
                <c:pt idx="6026">
                  <c:v>#N/A</c:v>
                </c:pt>
                <c:pt idx="6027">
                  <c:v>#N/A</c:v>
                </c:pt>
                <c:pt idx="6028">
                  <c:v>#N/A</c:v>
                </c:pt>
                <c:pt idx="6029">
                  <c:v>#N/A</c:v>
                </c:pt>
                <c:pt idx="6030">
                  <c:v>#N/A</c:v>
                </c:pt>
                <c:pt idx="6031">
                  <c:v>#N/A</c:v>
                </c:pt>
                <c:pt idx="6032">
                  <c:v>#N/A</c:v>
                </c:pt>
                <c:pt idx="6033">
                  <c:v>#N/A</c:v>
                </c:pt>
                <c:pt idx="6034">
                  <c:v>#N/A</c:v>
                </c:pt>
                <c:pt idx="6035">
                  <c:v>#N/A</c:v>
                </c:pt>
                <c:pt idx="6036">
                  <c:v>#N/A</c:v>
                </c:pt>
                <c:pt idx="6037">
                  <c:v>#N/A</c:v>
                </c:pt>
                <c:pt idx="6038">
                  <c:v>#N/A</c:v>
                </c:pt>
                <c:pt idx="6039">
                  <c:v>#N/A</c:v>
                </c:pt>
                <c:pt idx="6040">
                  <c:v>#N/A</c:v>
                </c:pt>
                <c:pt idx="6041">
                  <c:v>#N/A</c:v>
                </c:pt>
                <c:pt idx="6042">
                  <c:v>#N/A</c:v>
                </c:pt>
                <c:pt idx="6043">
                  <c:v>#N/A</c:v>
                </c:pt>
                <c:pt idx="6044">
                  <c:v>#N/A</c:v>
                </c:pt>
                <c:pt idx="6045">
                  <c:v>#N/A</c:v>
                </c:pt>
                <c:pt idx="6046">
                  <c:v>#N/A</c:v>
                </c:pt>
                <c:pt idx="6047">
                  <c:v>#N/A</c:v>
                </c:pt>
                <c:pt idx="6048">
                  <c:v>#N/A</c:v>
                </c:pt>
                <c:pt idx="6049">
                  <c:v>#N/A</c:v>
                </c:pt>
                <c:pt idx="6050">
                  <c:v>#N/A</c:v>
                </c:pt>
                <c:pt idx="6051">
                  <c:v>#N/A</c:v>
                </c:pt>
                <c:pt idx="6052">
                  <c:v>#N/A</c:v>
                </c:pt>
                <c:pt idx="6053">
                  <c:v>#N/A</c:v>
                </c:pt>
                <c:pt idx="6054">
                  <c:v>#N/A</c:v>
                </c:pt>
                <c:pt idx="6055">
                  <c:v>#N/A</c:v>
                </c:pt>
                <c:pt idx="6056">
                  <c:v>#N/A</c:v>
                </c:pt>
                <c:pt idx="6057">
                  <c:v>#N/A</c:v>
                </c:pt>
                <c:pt idx="6058">
                  <c:v>#N/A</c:v>
                </c:pt>
                <c:pt idx="6059">
                  <c:v>#N/A</c:v>
                </c:pt>
                <c:pt idx="6060">
                  <c:v>#N/A</c:v>
                </c:pt>
                <c:pt idx="6061">
                  <c:v>#N/A</c:v>
                </c:pt>
                <c:pt idx="6062">
                  <c:v>#N/A</c:v>
                </c:pt>
                <c:pt idx="6063">
                  <c:v>#N/A</c:v>
                </c:pt>
                <c:pt idx="6064">
                  <c:v>#N/A</c:v>
                </c:pt>
                <c:pt idx="6065">
                  <c:v>#N/A</c:v>
                </c:pt>
                <c:pt idx="6066">
                  <c:v>#N/A</c:v>
                </c:pt>
                <c:pt idx="6067">
                  <c:v>#N/A</c:v>
                </c:pt>
                <c:pt idx="6068">
                  <c:v>#N/A</c:v>
                </c:pt>
                <c:pt idx="6069">
                  <c:v>#N/A</c:v>
                </c:pt>
                <c:pt idx="6070">
                  <c:v>#N/A</c:v>
                </c:pt>
                <c:pt idx="6071">
                  <c:v>#N/A</c:v>
                </c:pt>
                <c:pt idx="6072">
                  <c:v>#N/A</c:v>
                </c:pt>
                <c:pt idx="6073">
                  <c:v>#N/A</c:v>
                </c:pt>
                <c:pt idx="6074">
                  <c:v>#N/A</c:v>
                </c:pt>
                <c:pt idx="6075">
                  <c:v>#N/A</c:v>
                </c:pt>
                <c:pt idx="6076">
                  <c:v>#N/A</c:v>
                </c:pt>
                <c:pt idx="6077">
                  <c:v>#N/A</c:v>
                </c:pt>
                <c:pt idx="6078">
                  <c:v>#N/A</c:v>
                </c:pt>
                <c:pt idx="6079">
                  <c:v>#N/A</c:v>
                </c:pt>
                <c:pt idx="6080">
                  <c:v>#N/A</c:v>
                </c:pt>
                <c:pt idx="6081">
                  <c:v>#N/A</c:v>
                </c:pt>
                <c:pt idx="6082">
                  <c:v>#N/A</c:v>
                </c:pt>
                <c:pt idx="6083">
                  <c:v>#N/A</c:v>
                </c:pt>
                <c:pt idx="6084">
                  <c:v>#N/A</c:v>
                </c:pt>
                <c:pt idx="6085">
                  <c:v>#N/A</c:v>
                </c:pt>
                <c:pt idx="6086">
                  <c:v>#N/A</c:v>
                </c:pt>
                <c:pt idx="6087">
                  <c:v>#N/A</c:v>
                </c:pt>
                <c:pt idx="6088">
                  <c:v>#N/A</c:v>
                </c:pt>
                <c:pt idx="6089">
                  <c:v>#N/A</c:v>
                </c:pt>
                <c:pt idx="6090">
                  <c:v>#N/A</c:v>
                </c:pt>
                <c:pt idx="6091">
                  <c:v>#N/A</c:v>
                </c:pt>
                <c:pt idx="6092">
                  <c:v>#N/A</c:v>
                </c:pt>
                <c:pt idx="6093">
                  <c:v>#N/A</c:v>
                </c:pt>
                <c:pt idx="6094">
                  <c:v>#N/A</c:v>
                </c:pt>
                <c:pt idx="6095">
                  <c:v>#N/A</c:v>
                </c:pt>
                <c:pt idx="6096">
                  <c:v>#N/A</c:v>
                </c:pt>
                <c:pt idx="6097">
                  <c:v>#N/A</c:v>
                </c:pt>
                <c:pt idx="6098">
                  <c:v>#N/A</c:v>
                </c:pt>
                <c:pt idx="6099">
                  <c:v>#N/A</c:v>
                </c:pt>
                <c:pt idx="6100">
                  <c:v>#N/A</c:v>
                </c:pt>
                <c:pt idx="6101">
                  <c:v>#N/A</c:v>
                </c:pt>
                <c:pt idx="6102">
                  <c:v>#N/A</c:v>
                </c:pt>
                <c:pt idx="6103">
                  <c:v>#N/A</c:v>
                </c:pt>
                <c:pt idx="6104">
                  <c:v>#N/A</c:v>
                </c:pt>
                <c:pt idx="6105">
                  <c:v>#N/A</c:v>
                </c:pt>
                <c:pt idx="6106">
                  <c:v>#N/A</c:v>
                </c:pt>
                <c:pt idx="6107">
                  <c:v>#N/A</c:v>
                </c:pt>
                <c:pt idx="6108">
                  <c:v>#N/A</c:v>
                </c:pt>
                <c:pt idx="6109">
                  <c:v>#N/A</c:v>
                </c:pt>
                <c:pt idx="6110">
                  <c:v>#N/A</c:v>
                </c:pt>
                <c:pt idx="6111">
                  <c:v>#N/A</c:v>
                </c:pt>
                <c:pt idx="6112">
                  <c:v>#N/A</c:v>
                </c:pt>
                <c:pt idx="6113">
                  <c:v>#N/A</c:v>
                </c:pt>
                <c:pt idx="6114">
                  <c:v>#N/A</c:v>
                </c:pt>
                <c:pt idx="6115">
                  <c:v>#N/A</c:v>
                </c:pt>
                <c:pt idx="6116">
                  <c:v>#N/A</c:v>
                </c:pt>
                <c:pt idx="6117">
                  <c:v>#N/A</c:v>
                </c:pt>
                <c:pt idx="6118">
                  <c:v>#N/A</c:v>
                </c:pt>
                <c:pt idx="6119">
                  <c:v>#N/A</c:v>
                </c:pt>
                <c:pt idx="6120">
                  <c:v>#N/A</c:v>
                </c:pt>
                <c:pt idx="6121">
                  <c:v>#N/A</c:v>
                </c:pt>
                <c:pt idx="6122">
                  <c:v>#N/A</c:v>
                </c:pt>
                <c:pt idx="6123">
                  <c:v>#N/A</c:v>
                </c:pt>
                <c:pt idx="6124">
                  <c:v>#N/A</c:v>
                </c:pt>
                <c:pt idx="6125">
                  <c:v>#N/A</c:v>
                </c:pt>
                <c:pt idx="6126">
                  <c:v>#N/A</c:v>
                </c:pt>
                <c:pt idx="6127">
                  <c:v>#N/A</c:v>
                </c:pt>
                <c:pt idx="6128">
                  <c:v>#N/A</c:v>
                </c:pt>
                <c:pt idx="6129">
                  <c:v>#N/A</c:v>
                </c:pt>
                <c:pt idx="6130">
                  <c:v>#N/A</c:v>
                </c:pt>
                <c:pt idx="6131">
                  <c:v>#N/A</c:v>
                </c:pt>
                <c:pt idx="6132">
                  <c:v>#N/A</c:v>
                </c:pt>
                <c:pt idx="6133">
                  <c:v>#N/A</c:v>
                </c:pt>
                <c:pt idx="6134">
                  <c:v>#N/A</c:v>
                </c:pt>
                <c:pt idx="6135">
                  <c:v>#N/A</c:v>
                </c:pt>
                <c:pt idx="6136">
                  <c:v>#N/A</c:v>
                </c:pt>
                <c:pt idx="6137">
                  <c:v>#N/A</c:v>
                </c:pt>
                <c:pt idx="6138">
                  <c:v>#N/A</c:v>
                </c:pt>
                <c:pt idx="6139">
                  <c:v>#N/A</c:v>
                </c:pt>
                <c:pt idx="6140">
                  <c:v>#N/A</c:v>
                </c:pt>
                <c:pt idx="6141">
                  <c:v>#N/A</c:v>
                </c:pt>
                <c:pt idx="6142">
                  <c:v>#N/A</c:v>
                </c:pt>
                <c:pt idx="6143">
                  <c:v>#N/A</c:v>
                </c:pt>
                <c:pt idx="6144">
                  <c:v>#N/A</c:v>
                </c:pt>
                <c:pt idx="6145">
                  <c:v>#N/A</c:v>
                </c:pt>
                <c:pt idx="6146">
                  <c:v>#N/A</c:v>
                </c:pt>
                <c:pt idx="6147">
                  <c:v>#N/A</c:v>
                </c:pt>
                <c:pt idx="6148">
                  <c:v>#N/A</c:v>
                </c:pt>
                <c:pt idx="6149">
                  <c:v>#N/A</c:v>
                </c:pt>
                <c:pt idx="6150">
                  <c:v>#N/A</c:v>
                </c:pt>
                <c:pt idx="6151">
                  <c:v>#N/A</c:v>
                </c:pt>
                <c:pt idx="6152">
                  <c:v>#N/A</c:v>
                </c:pt>
                <c:pt idx="6153">
                  <c:v>#N/A</c:v>
                </c:pt>
                <c:pt idx="6154">
                  <c:v>#N/A</c:v>
                </c:pt>
                <c:pt idx="6155">
                  <c:v>#N/A</c:v>
                </c:pt>
                <c:pt idx="6156">
                  <c:v>#N/A</c:v>
                </c:pt>
                <c:pt idx="6157">
                  <c:v>#N/A</c:v>
                </c:pt>
                <c:pt idx="6158">
                  <c:v>#N/A</c:v>
                </c:pt>
                <c:pt idx="6159">
                  <c:v>#N/A</c:v>
                </c:pt>
                <c:pt idx="6160">
                  <c:v>#N/A</c:v>
                </c:pt>
                <c:pt idx="6161">
                  <c:v>#N/A</c:v>
                </c:pt>
                <c:pt idx="6162">
                  <c:v>#N/A</c:v>
                </c:pt>
                <c:pt idx="6163">
                  <c:v>#N/A</c:v>
                </c:pt>
                <c:pt idx="6164">
                  <c:v>#N/A</c:v>
                </c:pt>
                <c:pt idx="6165">
                  <c:v>#N/A</c:v>
                </c:pt>
                <c:pt idx="6166">
                  <c:v>#N/A</c:v>
                </c:pt>
                <c:pt idx="6167">
                  <c:v>#N/A</c:v>
                </c:pt>
                <c:pt idx="6168">
                  <c:v>#N/A</c:v>
                </c:pt>
                <c:pt idx="6169">
                  <c:v>#N/A</c:v>
                </c:pt>
                <c:pt idx="6170">
                  <c:v>#N/A</c:v>
                </c:pt>
                <c:pt idx="6171">
                  <c:v>#N/A</c:v>
                </c:pt>
                <c:pt idx="6172">
                  <c:v>#N/A</c:v>
                </c:pt>
                <c:pt idx="6173">
                  <c:v>#N/A</c:v>
                </c:pt>
                <c:pt idx="6174">
                  <c:v>#N/A</c:v>
                </c:pt>
                <c:pt idx="6175">
                  <c:v>#N/A</c:v>
                </c:pt>
                <c:pt idx="6176">
                  <c:v>#N/A</c:v>
                </c:pt>
                <c:pt idx="6177">
                  <c:v>#N/A</c:v>
                </c:pt>
                <c:pt idx="6178">
                  <c:v>#N/A</c:v>
                </c:pt>
                <c:pt idx="6179">
                  <c:v>#N/A</c:v>
                </c:pt>
                <c:pt idx="6180">
                  <c:v>#N/A</c:v>
                </c:pt>
                <c:pt idx="6181">
                  <c:v>#N/A</c:v>
                </c:pt>
                <c:pt idx="6182">
                  <c:v>#N/A</c:v>
                </c:pt>
                <c:pt idx="6183">
                  <c:v>#N/A</c:v>
                </c:pt>
                <c:pt idx="6184">
                  <c:v>#N/A</c:v>
                </c:pt>
                <c:pt idx="6185">
                  <c:v>#N/A</c:v>
                </c:pt>
                <c:pt idx="6186">
                  <c:v>#N/A</c:v>
                </c:pt>
                <c:pt idx="6187">
                  <c:v>#N/A</c:v>
                </c:pt>
                <c:pt idx="6188">
                  <c:v>#N/A</c:v>
                </c:pt>
                <c:pt idx="6189">
                  <c:v>#N/A</c:v>
                </c:pt>
                <c:pt idx="6190">
                  <c:v>#N/A</c:v>
                </c:pt>
                <c:pt idx="6191">
                  <c:v>#N/A</c:v>
                </c:pt>
                <c:pt idx="6192">
                  <c:v>#N/A</c:v>
                </c:pt>
                <c:pt idx="6193">
                  <c:v>#N/A</c:v>
                </c:pt>
                <c:pt idx="6194">
                  <c:v>#N/A</c:v>
                </c:pt>
                <c:pt idx="6195">
                  <c:v>#N/A</c:v>
                </c:pt>
                <c:pt idx="6196">
                  <c:v>#N/A</c:v>
                </c:pt>
                <c:pt idx="6197">
                  <c:v>#N/A</c:v>
                </c:pt>
                <c:pt idx="6198">
                  <c:v>#N/A</c:v>
                </c:pt>
                <c:pt idx="6199">
                  <c:v>#N/A</c:v>
                </c:pt>
                <c:pt idx="6200">
                  <c:v>#N/A</c:v>
                </c:pt>
                <c:pt idx="6201">
                  <c:v>#N/A</c:v>
                </c:pt>
                <c:pt idx="6202">
                  <c:v>#N/A</c:v>
                </c:pt>
                <c:pt idx="6203">
                  <c:v>#N/A</c:v>
                </c:pt>
                <c:pt idx="6204">
                  <c:v>#N/A</c:v>
                </c:pt>
                <c:pt idx="6205">
                  <c:v>#N/A</c:v>
                </c:pt>
                <c:pt idx="6206">
                  <c:v>#N/A</c:v>
                </c:pt>
                <c:pt idx="6207">
                  <c:v>#N/A</c:v>
                </c:pt>
                <c:pt idx="6208">
                  <c:v>#N/A</c:v>
                </c:pt>
                <c:pt idx="6209">
                  <c:v>#N/A</c:v>
                </c:pt>
                <c:pt idx="6210">
                  <c:v>#N/A</c:v>
                </c:pt>
                <c:pt idx="6211">
                  <c:v>#N/A</c:v>
                </c:pt>
                <c:pt idx="6212">
                  <c:v>#N/A</c:v>
                </c:pt>
                <c:pt idx="6213">
                  <c:v>#N/A</c:v>
                </c:pt>
                <c:pt idx="6214">
                  <c:v>#N/A</c:v>
                </c:pt>
                <c:pt idx="6215">
                  <c:v>#N/A</c:v>
                </c:pt>
                <c:pt idx="6216">
                  <c:v>#N/A</c:v>
                </c:pt>
                <c:pt idx="6217">
                  <c:v>#N/A</c:v>
                </c:pt>
                <c:pt idx="6218">
                  <c:v>#N/A</c:v>
                </c:pt>
                <c:pt idx="6219">
                  <c:v>#N/A</c:v>
                </c:pt>
                <c:pt idx="6220">
                  <c:v>#N/A</c:v>
                </c:pt>
                <c:pt idx="6221">
                  <c:v>#N/A</c:v>
                </c:pt>
                <c:pt idx="6222">
                  <c:v>#N/A</c:v>
                </c:pt>
                <c:pt idx="6223">
                  <c:v>#N/A</c:v>
                </c:pt>
                <c:pt idx="6224">
                  <c:v>#N/A</c:v>
                </c:pt>
                <c:pt idx="6225">
                  <c:v>#N/A</c:v>
                </c:pt>
                <c:pt idx="6226">
                  <c:v>#N/A</c:v>
                </c:pt>
                <c:pt idx="6227">
                  <c:v>#N/A</c:v>
                </c:pt>
                <c:pt idx="6228">
                  <c:v>#N/A</c:v>
                </c:pt>
                <c:pt idx="6229">
                  <c:v>#N/A</c:v>
                </c:pt>
                <c:pt idx="6230">
                  <c:v>#N/A</c:v>
                </c:pt>
                <c:pt idx="6231">
                  <c:v>#N/A</c:v>
                </c:pt>
                <c:pt idx="6232">
                  <c:v>#N/A</c:v>
                </c:pt>
                <c:pt idx="6233">
                  <c:v>#N/A</c:v>
                </c:pt>
                <c:pt idx="6234">
                  <c:v>#N/A</c:v>
                </c:pt>
                <c:pt idx="6235">
                  <c:v>#N/A</c:v>
                </c:pt>
                <c:pt idx="6236">
                  <c:v>#N/A</c:v>
                </c:pt>
                <c:pt idx="6237">
                  <c:v>#N/A</c:v>
                </c:pt>
                <c:pt idx="6238">
                  <c:v>#N/A</c:v>
                </c:pt>
                <c:pt idx="6239">
                  <c:v>#N/A</c:v>
                </c:pt>
                <c:pt idx="6240">
                  <c:v>#N/A</c:v>
                </c:pt>
                <c:pt idx="6241">
                  <c:v>#N/A</c:v>
                </c:pt>
                <c:pt idx="6242">
                  <c:v>#N/A</c:v>
                </c:pt>
                <c:pt idx="6243">
                  <c:v>#N/A</c:v>
                </c:pt>
                <c:pt idx="6244">
                  <c:v>#N/A</c:v>
                </c:pt>
                <c:pt idx="6245">
                  <c:v>#N/A</c:v>
                </c:pt>
                <c:pt idx="6246">
                  <c:v>#N/A</c:v>
                </c:pt>
                <c:pt idx="6247">
                  <c:v>#N/A</c:v>
                </c:pt>
                <c:pt idx="6248">
                  <c:v>#N/A</c:v>
                </c:pt>
                <c:pt idx="6249">
                  <c:v>#N/A</c:v>
                </c:pt>
                <c:pt idx="6250">
                  <c:v>#N/A</c:v>
                </c:pt>
                <c:pt idx="6251">
                  <c:v>#N/A</c:v>
                </c:pt>
                <c:pt idx="6252">
                  <c:v>#N/A</c:v>
                </c:pt>
                <c:pt idx="6253">
                  <c:v>#N/A</c:v>
                </c:pt>
                <c:pt idx="6254">
                  <c:v>#N/A</c:v>
                </c:pt>
                <c:pt idx="6255">
                  <c:v>#N/A</c:v>
                </c:pt>
                <c:pt idx="6256">
                  <c:v>#N/A</c:v>
                </c:pt>
                <c:pt idx="6257">
                  <c:v>#N/A</c:v>
                </c:pt>
                <c:pt idx="6258">
                  <c:v>#N/A</c:v>
                </c:pt>
                <c:pt idx="6259">
                  <c:v>#N/A</c:v>
                </c:pt>
                <c:pt idx="6260">
                  <c:v>#N/A</c:v>
                </c:pt>
                <c:pt idx="6261">
                  <c:v>#N/A</c:v>
                </c:pt>
                <c:pt idx="6262">
                  <c:v>#N/A</c:v>
                </c:pt>
                <c:pt idx="6263">
                  <c:v>#N/A</c:v>
                </c:pt>
                <c:pt idx="6264">
                  <c:v>#N/A</c:v>
                </c:pt>
                <c:pt idx="6265">
                  <c:v>#N/A</c:v>
                </c:pt>
                <c:pt idx="6266">
                  <c:v>#N/A</c:v>
                </c:pt>
                <c:pt idx="6267">
                  <c:v>#N/A</c:v>
                </c:pt>
                <c:pt idx="6268">
                  <c:v>#N/A</c:v>
                </c:pt>
                <c:pt idx="6269">
                  <c:v>#N/A</c:v>
                </c:pt>
                <c:pt idx="6270">
                  <c:v>#N/A</c:v>
                </c:pt>
                <c:pt idx="6271">
                  <c:v>#N/A</c:v>
                </c:pt>
                <c:pt idx="6272">
                  <c:v>#N/A</c:v>
                </c:pt>
                <c:pt idx="6273">
                  <c:v>#N/A</c:v>
                </c:pt>
                <c:pt idx="6274">
                  <c:v>#N/A</c:v>
                </c:pt>
                <c:pt idx="6275">
                  <c:v>#N/A</c:v>
                </c:pt>
                <c:pt idx="6276">
                  <c:v>#N/A</c:v>
                </c:pt>
                <c:pt idx="6277">
                  <c:v>#N/A</c:v>
                </c:pt>
                <c:pt idx="6278">
                  <c:v>#N/A</c:v>
                </c:pt>
                <c:pt idx="6279">
                  <c:v>#N/A</c:v>
                </c:pt>
                <c:pt idx="6280">
                  <c:v>#N/A</c:v>
                </c:pt>
                <c:pt idx="6281">
                  <c:v>#N/A</c:v>
                </c:pt>
                <c:pt idx="6282">
                  <c:v>#N/A</c:v>
                </c:pt>
                <c:pt idx="6283">
                  <c:v>#N/A</c:v>
                </c:pt>
                <c:pt idx="6284">
                  <c:v>#N/A</c:v>
                </c:pt>
                <c:pt idx="6285">
                  <c:v>#N/A</c:v>
                </c:pt>
                <c:pt idx="6286">
                  <c:v>#N/A</c:v>
                </c:pt>
                <c:pt idx="6287">
                  <c:v>#N/A</c:v>
                </c:pt>
                <c:pt idx="6288">
                  <c:v>#N/A</c:v>
                </c:pt>
                <c:pt idx="6289">
                  <c:v>#N/A</c:v>
                </c:pt>
                <c:pt idx="6290">
                  <c:v>#N/A</c:v>
                </c:pt>
                <c:pt idx="6291">
                  <c:v>#N/A</c:v>
                </c:pt>
                <c:pt idx="6292">
                  <c:v>#N/A</c:v>
                </c:pt>
                <c:pt idx="6293">
                  <c:v>#N/A</c:v>
                </c:pt>
                <c:pt idx="6294">
                  <c:v>#N/A</c:v>
                </c:pt>
                <c:pt idx="6295">
                  <c:v>#N/A</c:v>
                </c:pt>
                <c:pt idx="6296">
                  <c:v>#N/A</c:v>
                </c:pt>
                <c:pt idx="6297">
                  <c:v>#N/A</c:v>
                </c:pt>
                <c:pt idx="6298">
                  <c:v>#N/A</c:v>
                </c:pt>
                <c:pt idx="6299">
                  <c:v>#N/A</c:v>
                </c:pt>
                <c:pt idx="6300">
                  <c:v>#N/A</c:v>
                </c:pt>
                <c:pt idx="6301">
                  <c:v>#N/A</c:v>
                </c:pt>
                <c:pt idx="6302">
                  <c:v>#N/A</c:v>
                </c:pt>
                <c:pt idx="6303">
                  <c:v>#N/A</c:v>
                </c:pt>
                <c:pt idx="6304">
                  <c:v>#N/A</c:v>
                </c:pt>
                <c:pt idx="6305">
                  <c:v>#N/A</c:v>
                </c:pt>
                <c:pt idx="6306">
                  <c:v>#N/A</c:v>
                </c:pt>
                <c:pt idx="6307">
                  <c:v>#N/A</c:v>
                </c:pt>
                <c:pt idx="6308">
                  <c:v>#N/A</c:v>
                </c:pt>
                <c:pt idx="6309">
                  <c:v>#N/A</c:v>
                </c:pt>
                <c:pt idx="6310">
                  <c:v>#N/A</c:v>
                </c:pt>
                <c:pt idx="6311">
                  <c:v>#N/A</c:v>
                </c:pt>
                <c:pt idx="6312">
                  <c:v>#N/A</c:v>
                </c:pt>
                <c:pt idx="6313">
                  <c:v>#N/A</c:v>
                </c:pt>
                <c:pt idx="6314">
                  <c:v>#N/A</c:v>
                </c:pt>
                <c:pt idx="6315">
                  <c:v>#N/A</c:v>
                </c:pt>
                <c:pt idx="6316">
                  <c:v>#N/A</c:v>
                </c:pt>
                <c:pt idx="6317">
                  <c:v>#N/A</c:v>
                </c:pt>
                <c:pt idx="6318">
                  <c:v>#N/A</c:v>
                </c:pt>
                <c:pt idx="6319">
                  <c:v>#N/A</c:v>
                </c:pt>
                <c:pt idx="6320">
                  <c:v>#N/A</c:v>
                </c:pt>
                <c:pt idx="6321">
                  <c:v>#N/A</c:v>
                </c:pt>
                <c:pt idx="6322">
                  <c:v>#N/A</c:v>
                </c:pt>
                <c:pt idx="6323">
                  <c:v>#N/A</c:v>
                </c:pt>
                <c:pt idx="6324">
                  <c:v>#N/A</c:v>
                </c:pt>
                <c:pt idx="6325">
                  <c:v>#N/A</c:v>
                </c:pt>
                <c:pt idx="6326">
                  <c:v>#N/A</c:v>
                </c:pt>
                <c:pt idx="6327">
                  <c:v>#N/A</c:v>
                </c:pt>
                <c:pt idx="6328">
                  <c:v>#N/A</c:v>
                </c:pt>
                <c:pt idx="6329">
                  <c:v>#N/A</c:v>
                </c:pt>
                <c:pt idx="6330">
                  <c:v>#N/A</c:v>
                </c:pt>
                <c:pt idx="6331">
                  <c:v>#N/A</c:v>
                </c:pt>
                <c:pt idx="6332">
                  <c:v>#N/A</c:v>
                </c:pt>
                <c:pt idx="6333">
                  <c:v>#N/A</c:v>
                </c:pt>
                <c:pt idx="6334">
                  <c:v>#N/A</c:v>
                </c:pt>
                <c:pt idx="6335">
                  <c:v>#N/A</c:v>
                </c:pt>
                <c:pt idx="6336">
                  <c:v>#N/A</c:v>
                </c:pt>
                <c:pt idx="6337">
                  <c:v>#N/A</c:v>
                </c:pt>
                <c:pt idx="6338">
                  <c:v>#N/A</c:v>
                </c:pt>
                <c:pt idx="6339">
                  <c:v>#N/A</c:v>
                </c:pt>
                <c:pt idx="6340">
                  <c:v>#N/A</c:v>
                </c:pt>
                <c:pt idx="6341">
                  <c:v>#N/A</c:v>
                </c:pt>
                <c:pt idx="6342">
                  <c:v>#N/A</c:v>
                </c:pt>
                <c:pt idx="6343">
                  <c:v>#N/A</c:v>
                </c:pt>
                <c:pt idx="6344">
                  <c:v>#N/A</c:v>
                </c:pt>
                <c:pt idx="6345">
                  <c:v>#N/A</c:v>
                </c:pt>
                <c:pt idx="6346">
                  <c:v>#N/A</c:v>
                </c:pt>
                <c:pt idx="6347">
                  <c:v>#N/A</c:v>
                </c:pt>
                <c:pt idx="6348">
                  <c:v>#N/A</c:v>
                </c:pt>
                <c:pt idx="6349">
                  <c:v>#N/A</c:v>
                </c:pt>
                <c:pt idx="6350">
                  <c:v>#N/A</c:v>
                </c:pt>
                <c:pt idx="6351">
                  <c:v>#N/A</c:v>
                </c:pt>
                <c:pt idx="6352">
                  <c:v>#N/A</c:v>
                </c:pt>
                <c:pt idx="6353">
                  <c:v>#N/A</c:v>
                </c:pt>
                <c:pt idx="6354">
                  <c:v>#N/A</c:v>
                </c:pt>
                <c:pt idx="6355">
                  <c:v>#N/A</c:v>
                </c:pt>
                <c:pt idx="6356">
                  <c:v>#N/A</c:v>
                </c:pt>
                <c:pt idx="6357">
                  <c:v>#N/A</c:v>
                </c:pt>
                <c:pt idx="6358">
                  <c:v>#N/A</c:v>
                </c:pt>
                <c:pt idx="6359">
                  <c:v>#N/A</c:v>
                </c:pt>
                <c:pt idx="6360">
                  <c:v>#N/A</c:v>
                </c:pt>
                <c:pt idx="6361">
                  <c:v>#N/A</c:v>
                </c:pt>
                <c:pt idx="6362">
                  <c:v>#N/A</c:v>
                </c:pt>
                <c:pt idx="6363">
                  <c:v>#N/A</c:v>
                </c:pt>
                <c:pt idx="6364">
                  <c:v>#N/A</c:v>
                </c:pt>
                <c:pt idx="6365">
                  <c:v>#N/A</c:v>
                </c:pt>
                <c:pt idx="6366">
                  <c:v>#N/A</c:v>
                </c:pt>
                <c:pt idx="6367">
                  <c:v>#N/A</c:v>
                </c:pt>
                <c:pt idx="6368">
                  <c:v>#N/A</c:v>
                </c:pt>
                <c:pt idx="6369">
                  <c:v>#N/A</c:v>
                </c:pt>
                <c:pt idx="6370">
                  <c:v>#N/A</c:v>
                </c:pt>
                <c:pt idx="6371">
                  <c:v>#N/A</c:v>
                </c:pt>
                <c:pt idx="6372">
                  <c:v>#N/A</c:v>
                </c:pt>
                <c:pt idx="6373">
                  <c:v>#N/A</c:v>
                </c:pt>
                <c:pt idx="6374">
                  <c:v>#N/A</c:v>
                </c:pt>
                <c:pt idx="6375">
                  <c:v>#N/A</c:v>
                </c:pt>
                <c:pt idx="6376">
                  <c:v>#N/A</c:v>
                </c:pt>
                <c:pt idx="6377">
                  <c:v>#N/A</c:v>
                </c:pt>
                <c:pt idx="6378">
                  <c:v>#N/A</c:v>
                </c:pt>
                <c:pt idx="6379">
                  <c:v>#N/A</c:v>
                </c:pt>
                <c:pt idx="6380">
                  <c:v>#N/A</c:v>
                </c:pt>
                <c:pt idx="6381">
                  <c:v>#N/A</c:v>
                </c:pt>
                <c:pt idx="6382">
                  <c:v>#N/A</c:v>
                </c:pt>
                <c:pt idx="6383">
                  <c:v>#N/A</c:v>
                </c:pt>
                <c:pt idx="6384">
                  <c:v>#N/A</c:v>
                </c:pt>
                <c:pt idx="6385">
                  <c:v>#N/A</c:v>
                </c:pt>
                <c:pt idx="6386">
                  <c:v>#N/A</c:v>
                </c:pt>
                <c:pt idx="6387">
                  <c:v>#N/A</c:v>
                </c:pt>
                <c:pt idx="6388">
                  <c:v>#N/A</c:v>
                </c:pt>
                <c:pt idx="6389">
                  <c:v>#N/A</c:v>
                </c:pt>
                <c:pt idx="6390">
                  <c:v>#N/A</c:v>
                </c:pt>
                <c:pt idx="6391">
                  <c:v>#N/A</c:v>
                </c:pt>
                <c:pt idx="6392">
                  <c:v>#N/A</c:v>
                </c:pt>
                <c:pt idx="6393">
                  <c:v>#N/A</c:v>
                </c:pt>
                <c:pt idx="6394">
                  <c:v>#N/A</c:v>
                </c:pt>
                <c:pt idx="6395">
                  <c:v>#N/A</c:v>
                </c:pt>
                <c:pt idx="6396">
                  <c:v>#N/A</c:v>
                </c:pt>
                <c:pt idx="6397">
                  <c:v>#N/A</c:v>
                </c:pt>
                <c:pt idx="6398">
                  <c:v>#N/A</c:v>
                </c:pt>
                <c:pt idx="6399">
                  <c:v>#N/A</c:v>
                </c:pt>
                <c:pt idx="6400">
                  <c:v>#N/A</c:v>
                </c:pt>
                <c:pt idx="6401">
                  <c:v>#N/A</c:v>
                </c:pt>
                <c:pt idx="6402">
                  <c:v>#N/A</c:v>
                </c:pt>
                <c:pt idx="6403">
                  <c:v>#N/A</c:v>
                </c:pt>
                <c:pt idx="6404">
                  <c:v>#N/A</c:v>
                </c:pt>
                <c:pt idx="6405">
                  <c:v>#N/A</c:v>
                </c:pt>
                <c:pt idx="6406">
                  <c:v>#N/A</c:v>
                </c:pt>
                <c:pt idx="6407">
                  <c:v>#N/A</c:v>
                </c:pt>
                <c:pt idx="6408">
                  <c:v>#N/A</c:v>
                </c:pt>
                <c:pt idx="6409">
                  <c:v>#N/A</c:v>
                </c:pt>
                <c:pt idx="6410">
                  <c:v>#N/A</c:v>
                </c:pt>
                <c:pt idx="6411">
                  <c:v>#N/A</c:v>
                </c:pt>
                <c:pt idx="6412">
                  <c:v>#N/A</c:v>
                </c:pt>
                <c:pt idx="6413">
                  <c:v>#N/A</c:v>
                </c:pt>
                <c:pt idx="6414">
                  <c:v>#N/A</c:v>
                </c:pt>
                <c:pt idx="6415">
                  <c:v>#N/A</c:v>
                </c:pt>
                <c:pt idx="6416">
                  <c:v>#N/A</c:v>
                </c:pt>
                <c:pt idx="6417">
                  <c:v>#N/A</c:v>
                </c:pt>
                <c:pt idx="6418">
                  <c:v>#N/A</c:v>
                </c:pt>
                <c:pt idx="6419">
                  <c:v>#N/A</c:v>
                </c:pt>
                <c:pt idx="6420">
                  <c:v>#N/A</c:v>
                </c:pt>
                <c:pt idx="6421">
                  <c:v>#N/A</c:v>
                </c:pt>
                <c:pt idx="6422">
                  <c:v>#N/A</c:v>
                </c:pt>
                <c:pt idx="6423">
                  <c:v>#N/A</c:v>
                </c:pt>
                <c:pt idx="6424">
                  <c:v>#N/A</c:v>
                </c:pt>
                <c:pt idx="6425">
                  <c:v>#N/A</c:v>
                </c:pt>
                <c:pt idx="6426">
                  <c:v>#N/A</c:v>
                </c:pt>
                <c:pt idx="6427">
                  <c:v>#N/A</c:v>
                </c:pt>
                <c:pt idx="6428">
                  <c:v>#N/A</c:v>
                </c:pt>
                <c:pt idx="6429">
                  <c:v>#N/A</c:v>
                </c:pt>
                <c:pt idx="6430">
                  <c:v>#N/A</c:v>
                </c:pt>
                <c:pt idx="6431">
                  <c:v>#N/A</c:v>
                </c:pt>
                <c:pt idx="6432">
                  <c:v>#N/A</c:v>
                </c:pt>
                <c:pt idx="6433">
                  <c:v>#N/A</c:v>
                </c:pt>
                <c:pt idx="6434">
                  <c:v>#N/A</c:v>
                </c:pt>
                <c:pt idx="6435">
                  <c:v>#N/A</c:v>
                </c:pt>
                <c:pt idx="6436">
                  <c:v>#N/A</c:v>
                </c:pt>
                <c:pt idx="6437">
                  <c:v>#N/A</c:v>
                </c:pt>
                <c:pt idx="6438">
                  <c:v>#N/A</c:v>
                </c:pt>
                <c:pt idx="6439">
                  <c:v>#N/A</c:v>
                </c:pt>
                <c:pt idx="6440">
                  <c:v>#N/A</c:v>
                </c:pt>
                <c:pt idx="6441">
                  <c:v>#N/A</c:v>
                </c:pt>
                <c:pt idx="6442">
                  <c:v>#N/A</c:v>
                </c:pt>
                <c:pt idx="6443">
                  <c:v>#N/A</c:v>
                </c:pt>
                <c:pt idx="6444">
                  <c:v>#N/A</c:v>
                </c:pt>
                <c:pt idx="6445">
                  <c:v>#N/A</c:v>
                </c:pt>
                <c:pt idx="6446">
                  <c:v>#N/A</c:v>
                </c:pt>
                <c:pt idx="6447">
                  <c:v>#N/A</c:v>
                </c:pt>
                <c:pt idx="6448">
                  <c:v>#N/A</c:v>
                </c:pt>
                <c:pt idx="6449">
                  <c:v>#N/A</c:v>
                </c:pt>
                <c:pt idx="6450">
                  <c:v>#N/A</c:v>
                </c:pt>
                <c:pt idx="6451">
                  <c:v>#N/A</c:v>
                </c:pt>
                <c:pt idx="6452">
                  <c:v>#N/A</c:v>
                </c:pt>
                <c:pt idx="6453">
                  <c:v>#N/A</c:v>
                </c:pt>
                <c:pt idx="6454">
                  <c:v>#N/A</c:v>
                </c:pt>
                <c:pt idx="6455">
                  <c:v>#N/A</c:v>
                </c:pt>
                <c:pt idx="6456">
                  <c:v>#N/A</c:v>
                </c:pt>
                <c:pt idx="6457">
                  <c:v>#N/A</c:v>
                </c:pt>
                <c:pt idx="6458">
                  <c:v>#N/A</c:v>
                </c:pt>
                <c:pt idx="6459">
                  <c:v>#N/A</c:v>
                </c:pt>
                <c:pt idx="6460">
                  <c:v>#N/A</c:v>
                </c:pt>
                <c:pt idx="6461">
                  <c:v>#N/A</c:v>
                </c:pt>
                <c:pt idx="6462">
                  <c:v>#N/A</c:v>
                </c:pt>
                <c:pt idx="6463">
                  <c:v>#N/A</c:v>
                </c:pt>
                <c:pt idx="6464">
                  <c:v>#N/A</c:v>
                </c:pt>
                <c:pt idx="6465">
                  <c:v>#N/A</c:v>
                </c:pt>
                <c:pt idx="6466">
                  <c:v>#N/A</c:v>
                </c:pt>
                <c:pt idx="6467">
                  <c:v>#N/A</c:v>
                </c:pt>
                <c:pt idx="6468">
                  <c:v>#N/A</c:v>
                </c:pt>
                <c:pt idx="6469">
                  <c:v>#N/A</c:v>
                </c:pt>
                <c:pt idx="6470">
                  <c:v>#N/A</c:v>
                </c:pt>
                <c:pt idx="6471">
                  <c:v>#N/A</c:v>
                </c:pt>
                <c:pt idx="6472">
                  <c:v>#N/A</c:v>
                </c:pt>
                <c:pt idx="6473">
                  <c:v>#N/A</c:v>
                </c:pt>
                <c:pt idx="6474">
                  <c:v>#N/A</c:v>
                </c:pt>
                <c:pt idx="6475">
                  <c:v>#N/A</c:v>
                </c:pt>
                <c:pt idx="6476">
                  <c:v>#N/A</c:v>
                </c:pt>
                <c:pt idx="6477">
                  <c:v>#N/A</c:v>
                </c:pt>
                <c:pt idx="6478">
                  <c:v>#N/A</c:v>
                </c:pt>
                <c:pt idx="6479">
                  <c:v>#N/A</c:v>
                </c:pt>
                <c:pt idx="6480">
                  <c:v>#N/A</c:v>
                </c:pt>
                <c:pt idx="6481">
                  <c:v>#N/A</c:v>
                </c:pt>
                <c:pt idx="6482">
                  <c:v>#N/A</c:v>
                </c:pt>
                <c:pt idx="6483">
                  <c:v>#N/A</c:v>
                </c:pt>
                <c:pt idx="6484">
                  <c:v>#N/A</c:v>
                </c:pt>
                <c:pt idx="6485">
                  <c:v>#N/A</c:v>
                </c:pt>
                <c:pt idx="6486">
                  <c:v>#N/A</c:v>
                </c:pt>
                <c:pt idx="6487">
                  <c:v>#N/A</c:v>
                </c:pt>
                <c:pt idx="6488">
                  <c:v>#N/A</c:v>
                </c:pt>
                <c:pt idx="6489">
                  <c:v>#N/A</c:v>
                </c:pt>
                <c:pt idx="6490">
                  <c:v>#N/A</c:v>
                </c:pt>
                <c:pt idx="6491">
                  <c:v>#N/A</c:v>
                </c:pt>
                <c:pt idx="6492">
                  <c:v>#N/A</c:v>
                </c:pt>
                <c:pt idx="6493">
                  <c:v>#N/A</c:v>
                </c:pt>
                <c:pt idx="6494">
                  <c:v>#N/A</c:v>
                </c:pt>
                <c:pt idx="6495">
                  <c:v>#N/A</c:v>
                </c:pt>
                <c:pt idx="6496">
                  <c:v>#N/A</c:v>
                </c:pt>
                <c:pt idx="6497">
                  <c:v>#N/A</c:v>
                </c:pt>
                <c:pt idx="6498">
                  <c:v>#N/A</c:v>
                </c:pt>
                <c:pt idx="6499">
                  <c:v>#N/A</c:v>
                </c:pt>
                <c:pt idx="6500">
                  <c:v>#N/A</c:v>
                </c:pt>
                <c:pt idx="6501">
                  <c:v>#N/A</c:v>
                </c:pt>
                <c:pt idx="6502">
                  <c:v>#N/A</c:v>
                </c:pt>
                <c:pt idx="6503">
                  <c:v>#N/A</c:v>
                </c:pt>
                <c:pt idx="6504">
                  <c:v>#N/A</c:v>
                </c:pt>
                <c:pt idx="6505">
                  <c:v>#N/A</c:v>
                </c:pt>
                <c:pt idx="6506">
                  <c:v>#N/A</c:v>
                </c:pt>
                <c:pt idx="6507">
                  <c:v>#N/A</c:v>
                </c:pt>
                <c:pt idx="6508">
                  <c:v>#N/A</c:v>
                </c:pt>
                <c:pt idx="6509">
                  <c:v>#N/A</c:v>
                </c:pt>
                <c:pt idx="6510">
                  <c:v>#N/A</c:v>
                </c:pt>
                <c:pt idx="6511">
                  <c:v>#N/A</c:v>
                </c:pt>
                <c:pt idx="6512">
                  <c:v>#N/A</c:v>
                </c:pt>
                <c:pt idx="6513">
                  <c:v>#N/A</c:v>
                </c:pt>
                <c:pt idx="6514">
                  <c:v>#N/A</c:v>
                </c:pt>
                <c:pt idx="6515">
                  <c:v>#N/A</c:v>
                </c:pt>
                <c:pt idx="6516">
                  <c:v>#N/A</c:v>
                </c:pt>
                <c:pt idx="6517">
                  <c:v>#N/A</c:v>
                </c:pt>
                <c:pt idx="6518">
                  <c:v>#N/A</c:v>
                </c:pt>
                <c:pt idx="6519">
                  <c:v>#N/A</c:v>
                </c:pt>
                <c:pt idx="6520">
                  <c:v>#N/A</c:v>
                </c:pt>
                <c:pt idx="6521">
                  <c:v>#N/A</c:v>
                </c:pt>
                <c:pt idx="6522">
                  <c:v>#N/A</c:v>
                </c:pt>
                <c:pt idx="6523">
                  <c:v>#N/A</c:v>
                </c:pt>
                <c:pt idx="6524">
                  <c:v>#N/A</c:v>
                </c:pt>
                <c:pt idx="6525">
                  <c:v>#N/A</c:v>
                </c:pt>
                <c:pt idx="6526">
                  <c:v>#N/A</c:v>
                </c:pt>
                <c:pt idx="6527">
                  <c:v>#N/A</c:v>
                </c:pt>
                <c:pt idx="6528">
                  <c:v>#N/A</c:v>
                </c:pt>
                <c:pt idx="6529">
                  <c:v>#N/A</c:v>
                </c:pt>
                <c:pt idx="6530">
                  <c:v>#N/A</c:v>
                </c:pt>
                <c:pt idx="6531">
                  <c:v>#N/A</c:v>
                </c:pt>
                <c:pt idx="6532">
                  <c:v>#N/A</c:v>
                </c:pt>
                <c:pt idx="6533">
                  <c:v>#N/A</c:v>
                </c:pt>
                <c:pt idx="6534">
                  <c:v>#N/A</c:v>
                </c:pt>
                <c:pt idx="6535">
                  <c:v>#N/A</c:v>
                </c:pt>
                <c:pt idx="6536">
                  <c:v>#N/A</c:v>
                </c:pt>
                <c:pt idx="6537">
                  <c:v>#N/A</c:v>
                </c:pt>
                <c:pt idx="6538">
                  <c:v>#N/A</c:v>
                </c:pt>
                <c:pt idx="6539">
                  <c:v>#N/A</c:v>
                </c:pt>
                <c:pt idx="6540">
                  <c:v>#N/A</c:v>
                </c:pt>
                <c:pt idx="6541">
                  <c:v>#N/A</c:v>
                </c:pt>
                <c:pt idx="6542">
                  <c:v>#N/A</c:v>
                </c:pt>
                <c:pt idx="6543">
                  <c:v>#N/A</c:v>
                </c:pt>
                <c:pt idx="6544">
                  <c:v>#N/A</c:v>
                </c:pt>
                <c:pt idx="6545">
                  <c:v>#N/A</c:v>
                </c:pt>
                <c:pt idx="6546">
                  <c:v>#N/A</c:v>
                </c:pt>
                <c:pt idx="6547">
                  <c:v>#N/A</c:v>
                </c:pt>
                <c:pt idx="6548">
                  <c:v>#N/A</c:v>
                </c:pt>
                <c:pt idx="6549">
                  <c:v>#N/A</c:v>
                </c:pt>
                <c:pt idx="6550">
                  <c:v>#N/A</c:v>
                </c:pt>
                <c:pt idx="6551">
                  <c:v>#N/A</c:v>
                </c:pt>
                <c:pt idx="6552">
                  <c:v>#N/A</c:v>
                </c:pt>
                <c:pt idx="6553">
                  <c:v>#N/A</c:v>
                </c:pt>
                <c:pt idx="6554">
                  <c:v>#N/A</c:v>
                </c:pt>
                <c:pt idx="6555">
                  <c:v>#N/A</c:v>
                </c:pt>
                <c:pt idx="6556">
                  <c:v>#N/A</c:v>
                </c:pt>
                <c:pt idx="6557">
                  <c:v>#N/A</c:v>
                </c:pt>
                <c:pt idx="6558">
                  <c:v>#N/A</c:v>
                </c:pt>
                <c:pt idx="6559">
                  <c:v>#N/A</c:v>
                </c:pt>
                <c:pt idx="6560">
                  <c:v>#N/A</c:v>
                </c:pt>
                <c:pt idx="6561">
                  <c:v>#N/A</c:v>
                </c:pt>
                <c:pt idx="6562">
                  <c:v>#N/A</c:v>
                </c:pt>
                <c:pt idx="6563">
                  <c:v>#N/A</c:v>
                </c:pt>
                <c:pt idx="6564">
                  <c:v>#N/A</c:v>
                </c:pt>
                <c:pt idx="6565">
                  <c:v>#N/A</c:v>
                </c:pt>
                <c:pt idx="6566">
                  <c:v>#N/A</c:v>
                </c:pt>
                <c:pt idx="6567">
                  <c:v>#N/A</c:v>
                </c:pt>
                <c:pt idx="6568">
                  <c:v>#N/A</c:v>
                </c:pt>
                <c:pt idx="6569">
                  <c:v>#N/A</c:v>
                </c:pt>
                <c:pt idx="6570">
                  <c:v>#N/A</c:v>
                </c:pt>
                <c:pt idx="6571">
                  <c:v>#N/A</c:v>
                </c:pt>
                <c:pt idx="6572">
                  <c:v>#N/A</c:v>
                </c:pt>
                <c:pt idx="6573">
                  <c:v>#N/A</c:v>
                </c:pt>
                <c:pt idx="6574">
                  <c:v>#N/A</c:v>
                </c:pt>
                <c:pt idx="6575">
                  <c:v>#N/A</c:v>
                </c:pt>
                <c:pt idx="6576">
                  <c:v>#N/A</c:v>
                </c:pt>
                <c:pt idx="6577">
                  <c:v>#N/A</c:v>
                </c:pt>
                <c:pt idx="6578">
                  <c:v>#N/A</c:v>
                </c:pt>
                <c:pt idx="6579">
                  <c:v>#N/A</c:v>
                </c:pt>
                <c:pt idx="6580">
                  <c:v>#N/A</c:v>
                </c:pt>
                <c:pt idx="6581">
                  <c:v>#N/A</c:v>
                </c:pt>
                <c:pt idx="6582">
                  <c:v>#N/A</c:v>
                </c:pt>
                <c:pt idx="6583">
                  <c:v>#N/A</c:v>
                </c:pt>
                <c:pt idx="6584">
                  <c:v>#N/A</c:v>
                </c:pt>
                <c:pt idx="6585">
                  <c:v>#N/A</c:v>
                </c:pt>
                <c:pt idx="6586">
                  <c:v>#N/A</c:v>
                </c:pt>
                <c:pt idx="6587">
                  <c:v>#N/A</c:v>
                </c:pt>
                <c:pt idx="6588">
                  <c:v>#N/A</c:v>
                </c:pt>
                <c:pt idx="6589">
                  <c:v>#N/A</c:v>
                </c:pt>
                <c:pt idx="6590">
                  <c:v>#N/A</c:v>
                </c:pt>
                <c:pt idx="6591">
                  <c:v>#N/A</c:v>
                </c:pt>
                <c:pt idx="6592">
                  <c:v>#N/A</c:v>
                </c:pt>
                <c:pt idx="6593">
                  <c:v>#N/A</c:v>
                </c:pt>
                <c:pt idx="6594">
                  <c:v>#N/A</c:v>
                </c:pt>
                <c:pt idx="6595">
                  <c:v>#N/A</c:v>
                </c:pt>
                <c:pt idx="6596">
                  <c:v>#N/A</c:v>
                </c:pt>
                <c:pt idx="6597">
                  <c:v>#N/A</c:v>
                </c:pt>
                <c:pt idx="6598">
                  <c:v>#N/A</c:v>
                </c:pt>
                <c:pt idx="6599">
                  <c:v>#N/A</c:v>
                </c:pt>
                <c:pt idx="6600">
                  <c:v>#N/A</c:v>
                </c:pt>
                <c:pt idx="6601">
                  <c:v>#N/A</c:v>
                </c:pt>
                <c:pt idx="6602">
                  <c:v>#N/A</c:v>
                </c:pt>
                <c:pt idx="6603">
                  <c:v>#N/A</c:v>
                </c:pt>
                <c:pt idx="6604">
                  <c:v>#N/A</c:v>
                </c:pt>
                <c:pt idx="6605">
                  <c:v>#N/A</c:v>
                </c:pt>
                <c:pt idx="6606">
                  <c:v>#N/A</c:v>
                </c:pt>
                <c:pt idx="6607">
                  <c:v>#N/A</c:v>
                </c:pt>
                <c:pt idx="6608">
                  <c:v>#N/A</c:v>
                </c:pt>
                <c:pt idx="6609">
                  <c:v>#N/A</c:v>
                </c:pt>
                <c:pt idx="6610">
                  <c:v>#N/A</c:v>
                </c:pt>
                <c:pt idx="6611">
                  <c:v>#N/A</c:v>
                </c:pt>
                <c:pt idx="6612">
                  <c:v>#N/A</c:v>
                </c:pt>
                <c:pt idx="6613">
                  <c:v>#N/A</c:v>
                </c:pt>
                <c:pt idx="6614">
                  <c:v>#N/A</c:v>
                </c:pt>
                <c:pt idx="6615">
                  <c:v>#N/A</c:v>
                </c:pt>
                <c:pt idx="6616">
                  <c:v>#N/A</c:v>
                </c:pt>
                <c:pt idx="6617">
                  <c:v>#N/A</c:v>
                </c:pt>
                <c:pt idx="6618">
                  <c:v>#N/A</c:v>
                </c:pt>
                <c:pt idx="6619">
                  <c:v>#N/A</c:v>
                </c:pt>
                <c:pt idx="6620">
                  <c:v>#N/A</c:v>
                </c:pt>
                <c:pt idx="6621">
                  <c:v>#N/A</c:v>
                </c:pt>
                <c:pt idx="6622">
                  <c:v>#N/A</c:v>
                </c:pt>
                <c:pt idx="6623">
                  <c:v>#N/A</c:v>
                </c:pt>
                <c:pt idx="6624">
                  <c:v>#N/A</c:v>
                </c:pt>
                <c:pt idx="6625">
                  <c:v>#N/A</c:v>
                </c:pt>
                <c:pt idx="6626">
                  <c:v>#N/A</c:v>
                </c:pt>
                <c:pt idx="6627">
                  <c:v>#N/A</c:v>
                </c:pt>
                <c:pt idx="6628">
                  <c:v>#N/A</c:v>
                </c:pt>
                <c:pt idx="6629">
                  <c:v>#N/A</c:v>
                </c:pt>
                <c:pt idx="6630">
                  <c:v>#N/A</c:v>
                </c:pt>
                <c:pt idx="6631">
                  <c:v>#N/A</c:v>
                </c:pt>
                <c:pt idx="6632">
                  <c:v>#N/A</c:v>
                </c:pt>
                <c:pt idx="6633">
                  <c:v>#N/A</c:v>
                </c:pt>
                <c:pt idx="6634">
                  <c:v>#N/A</c:v>
                </c:pt>
                <c:pt idx="6635">
                  <c:v>#N/A</c:v>
                </c:pt>
                <c:pt idx="6636">
                  <c:v>#N/A</c:v>
                </c:pt>
                <c:pt idx="6637">
                  <c:v>#N/A</c:v>
                </c:pt>
                <c:pt idx="6638">
                  <c:v>#N/A</c:v>
                </c:pt>
                <c:pt idx="6639">
                  <c:v>#N/A</c:v>
                </c:pt>
                <c:pt idx="6640">
                  <c:v>#N/A</c:v>
                </c:pt>
                <c:pt idx="6641">
                  <c:v>#N/A</c:v>
                </c:pt>
                <c:pt idx="6642">
                  <c:v>#N/A</c:v>
                </c:pt>
                <c:pt idx="6643">
                  <c:v>#N/A</c:v>
                </c:pt>
                <c:pt idx="6644">
                  <c:v>#N/A</c:v>
                </c:pt>
                <c:pt idx="6645">
                  <c:v>#N/A</c:v>
                </c:pt>
                <c:pt idx="6646">
                  <c:v>#N/A</c:v>
                </c:pt>
                <c:pt idx="6647">
                  <c:v>#N/A</c:v>
                </c:pt>
                <c:pt idx="6648">
                  <c:v>#N/A</c:v>
                </c:pt>
                <c:pt idx="6649">
                  <c:v>#N/A</c:v>
                </c:pt>
                <c:pt idx="6650">
                  <c:v>#N/A</c:v>
                </c:pt>
                <c:pt idx="6651">
                  <c:v>#N/A</c:v>
                </c:pt>
                <c:pt idx="6652">
                  <c:v>#N/A</c:v>
                </c:pt>
                <c:pt idx="6653">
                  <c:v>#N/A</c:v>
                </c:pt>
                <c:pt idx="6654">
                  <c:v>#N/A</c:v>
                </c:pt>
                <c:pt idx="6655">
                  <c:v>#N/A</c:v>
                </c:pt>
                <c:pt idx="6656">
                  <c:v>#N/A</c:v>
                </c:pt>
                <c:pt idx="6657">
                  <c:v>#N/A</c:v>
                </c:pt>
                <c:pt idx="6658">
                  <c:v>#N/A</c:v>
                </c:pt>
                <c:pt idx="6659">
                  <c:v>#N/A</c:v>
                </c:pt>
                <c:pt idx="6660">
                  <c:v>#N/A</c:v>
                </c:pt>
                <c:pt idx="6661">
                  <c:v>#N/A</c:v>
                </c:pt>
                <c:pt idx="6662">
                  <c:v>2.4383561643835616</c:v>
                </c:pt>
                <c:pt idx="6663">
                  <c:v>#N/A</c:v>
                </c:pt>
                <c:pt idx="6664">
                  <c:v>#N/A</c:v>
                </c:pt>
                <c:pt idx="6665">
                  <c:v>#N/A</c:v>
                </c:pt>
                <c:pt idx="6666">
                  <c:v>#N/A</c:v>
                </c:pt>
                <c:pt idx="6667">
                  <c:v>#N/A</c:v>
                </c:pt>
                <c:pt idx="6668">
                  <c:v>#N/A</c:v>
                </c:pt>
                <c:pt idx="6669">
                  <c:v>#N/A</c:v>
                </c:pt>
                <c:pt idx="6670">
                  <c:v>#N/A</c:v>
                </c:pt>
                <c:pt idx="6671">
                  <c:v>#N/A</c:v>
                </c:pt>
                <c:pt idx="6672">
                  <c:v>#N/A</c:v>
                </c:pt>
                <c:pt idx="6673">
                  <c:v>#N/A</c:v>
                </c:pt>
                <c:pt idx="6674">
                  <c:v>#N/A</c:v>
                </c:pt>
                <c:pt idx="6675">
                  <c:v>#N/A</c:v>
                </c:pt>
                <c:pt idx="6676">
                  <c:v>#N/A</c:v>
                </c:pt>
                <c:pt idx="6677">
                  <c:v>#N/A</c:v>
                </c:pt>
                <c:pt idx="6678">
                  <c:v>#N/A</c:v>
                </c:pt>
                <c:pt idx="6679">
                  <c:v>#N/A</c:v>
                </c:pt>
                <c:pt idx="6680">
                  <c:v>#N/A</c:v>
                </c:pt>
                <c:pt idx="6681">
                  <c:v>#N/A</c:v>
                </c:pt>
                <c:pt idx="6682">
                  <c:v>#N/A</c:v>
                </c:pt>
                <c:pt idx="6683">
                  <c:v>#N/A</c:v>
                </c:pt>
                <c:pt idx="6684">
                  <c:v>#N/A</c:v>
                </c:pt>
                <c:pt idx="6685">
                  <c:v>#N/A</c:v>
                </c:pt>
                <c:pt idx="6686">
                  <c:v>#N/A</c:v>
                </c:pt>
                <c:pt idx="6687">
                  <c:v>#N/A</c:v>
                </c:pt>
                <c:pt idx="6688">
                  <c:v>#N/A</c:v>
                </c:pt>
                <c:pt idx="6689">
                  <c:v>#N/A</c:v>
                </c:pt>
                <c:pt idx="6690">
                  <c:v>#N/A</c:v>
                </c:pt>
                <c:pt idx="6691">
                  <c:v>#N/A</c:v>
                </c:pt>
                <c:pt idx="6692">
                  <c:v>#N/A</c:v>
                </c:pt>
                <c:pt idx="6693">
                  <c:v>#N/A</c:v>
                </c:pt>
                <c:pt idx="6694">
                  <c:v>#N/A</c:v>
                </c:pt>
                <c:pt idx="6695">
                  <c:v>#N/A</c:v>
                </c:pt>
                <c:pt idx="6696">
                  <c:v>#N/A</c:v>
                </c:pt>
                <c:pt idx="6697">
                  <c:v>#N/A</c:v>
                </c:pt>
                <c:pt idx="6698">
                  <c:v>#N/A</c:v>
                </c:pt>
                <c:pt idx="6699">
                  <c:v>#N/A</c:v>
                </c:pt>
                <c:pt idx="6700">
                  <c:v>#N/A</c:v>
                </c:pt>
                <c:pt idx="6701">
                  <c:v>#N/A</c:v>
                </c:pt>
                <c:pt idx="6702">
                  <c:v>#N/A</c:v>
                </c:pt>
                <c:pt idx="6703">
                  <c:v>#N/A</c:v>
                </c:pt>
                <c:pt idx="6704">
                  <c:v>#N/A</c:v>
                </c:pt>
                <c:pt idx="6705">
                  <c:v>#N/A</c:v>
                </c:pt>
                <c:pt idx="6706">
                  <c:v>#N/A</c:v>
                </c:pt>
                <c:pt idx="6707">
                  <c:v>#N/A</c:v>
                </c:pt>
                <c:pt idx="6708">
                  <c:v>#N/A</c:v>
                </c:pt>
                <c:pt idx="6709">
                  <c:v>#N/A</c:v>
                </c:pt>
                <c:pt idx="6710">
                  <c:v>#N/A</c:v>
                </c:pt>
                <c:pt idx="6711">
                  <c:v>#N/A</c:v>
                </c:pt>
                <c:pt idx="6712">
                  <c:v>#N/A</c:v>
                </c:pt>
                <c:pt idx="6713">
                  <c:v>#N/A</c:v>
                </c:pt>
                <c:pt idx="6714">
                  <c:v>#N/A</c:v>
                </c:pt>
                <c:pt idx="6715">
                  <c:v>#N/A</c:v>
                </c:pt>
                <c:pt idx="6716">
                  <c:v>#N/A</c:v>
                </c:pt>
                <c:pt idx="6717">
                  <c:v>#N/A</c:v>
                </c:pt>
                <c:pt idx="6718">
                  <c:v>#N/A</c:v>
                </c:pt>
                <c:pt idx="6719">
                  <c:v>#N/A</c:v>
                </c:pt>
                <c:pt idx="6720">
                  <c:v>#N/A</c:v>
                </c:pt>
                <c:pt idx="6721">
                  <c:v>#N/A</c:v>
                </c:pt>
                <c:pt idx="6722">
                  <c:v>#N/A</c:v>
                </c:pt>
                <c:pt idx="6723">
                  <c:v>#N/A</c:v>
                </c:pt>
                <c:pt idx="6724">
                  <c:v>#N/A</c:v>
                </c:pt>
                <c:pt idx="6725">
                  <c:v>#N/A</c:v>
                </c:pt>
                <c:pt idx="6726">
                  <c:v>#N/A</c:v>
                </c:pt>
                <c:pt idx="6727">
                  <c:v>#N/A</c:v>
                </c:pt>
                <c:pt idx="6728">
                  <c:v>#N/A</c:v>
                </c:pt>
                <c:pt idx="6729">
                  <c:v>#N/A</c:v>
                </c:pt>
                <c:pt idx="6730">
                  <c:v>#N/A</c:v>
                </c:pt>
                <c:pt idx="6731">
                  <c:v>#N/A</c:v>
                </c:pt>
                <c:pt idx="6732">
                  <c:v>#N/A</c:v>
                </c:pt>
                <c:pt idx="6733">
                  <c:v>#N/A</c:v>
                </c:pt>
                <c:pt idx="6734">
                  <c:v>#N/A</c:v>
                </c:pt>
                <c:pt idx="6735">
                  <c:v>#N/A</c:v>
                </c:pt>
                <c:pt idx="6736">
                  <c:v>#N/A</c:v>
                </c:pt>
                <c:pt idx="6737">
                  <c:v>#N/A</c:v>
                </c:pt>
                <c:pt idx="6738">
                  <c:v>#N/A</c:v>
                </c:pt>
                <c:pt idx="6739">
                  <c:v>#N/A</c:v>
                </c:pt>
                <c:pt idx="6740">
                  <c:v>#N/A</c:v>
                </c:pt>
                <c:pt idx="6741">
                  <c:v>#N/A</c:v>
                </c:pt>
                <c:pt idx="6742">
                  <c:v>#N/A</c:v>
                </c:pt>
                <c:pt idx="6743">
                  <c:v>#N/A</c:v>
                </c:pt>
                <c:pt idx="6744">
                  <c:v>#N/A</c:v>
                </c:pt>
                <c:pt idx="6745">
                  <c:v>#N/A</c:v>
                </c:pt>
                <c:pt idx="6746">
                  <c:v>#N/A</c:v>
                </c:pt>
                <c:pt idx="6747">
                  <c:v>#N/A</c:v>
                </c:pt>
                <c:pt idx="6748">
                  <c:v>#N/A</c:v>
                </c:pt>
                <c:pt idx="6749">
                  <c:v>#N/A</c:v>
                </c:pt>
                <c:pt idx="6750">
                  <c:v>#N/A</c:v>
                </c:pt>
                <c:pt idx="6751">
                  <c:v>#N/A</c:v>
                </c:pt>
                <c:pt idx="6752">
                  <c:v>#N/A</c:v>
                </c:pt>
                <c:pt idx="6753">
                  <c:v>#N/A</c:v>
                </c:pt>
                <c:pt idx="6754">
                  <c:v>#N/A</c:v>
                </c:pt>
                <c:pt idx="6755">
                  <c:v>#N/A</c:v>
                </c:pt>
                <c:pt idx="6756">
                  <c:v>#N/A</c:v>
                </c:pt>
                <c:pt idx="6757">
                  <c:v>#N/A</c:v>
                </c:pt>
                <c:pt idx="6758">
                  <c:v>#N/A</c:v>
                </c:pt>
                <c:pt idx="6759">
                  <c:v>#N/A</c:v>
                </c:pt>
                <c:pt idx="6760">
                  <c:v>#N/A</c:v>
                </c:pt>
                <c:pt idx="6761">
                  <c:v>#N/A</c:v>
                </c:pt>
                <c:pt idx="6762">
                  <c:v>#N/A</c:v>
                </c:pt>
                <c:pt idx="6763">
                  <c:v>#N/A</c:v>
                </c:pt>
                <c:pt idx="6764">
                  <c:v>#N/A</c:v>
                </c:pt>
                <c:pt idx="6765">
                  <c:v>#N/A</c:v>
                </c:pt>
                <c:pt idx="6766">
                  <c:v>#N/A</c:v>
                </c:pt>
                <c:pt idx="6767">
                  <c:v>#N/A</c:v>
                </c:pt>
                <c:pt idx="6768">
                  <c:v>#N/A</c:v>
                </c:pt>
                <c:pt idx="6769">
                  <c:v>#N/A</c:v>
                </c:pt>
                <c:pt idx="6770">
                  <c:v>#N/A</c:v>
                </c:pt>
                <c:pt idx="6771">
                  <c:v>#N/A</c:v>
                </c:pt>
                <c:pt idx="6772">
                  <c:v>#N/A</c:v>
                </c:pt>
                <c:pt idx="6773">
                  <c:v>#N/A</c:v>
                </c:pt>
                <c:pt idx="6774">
                  <c:v>#N/A</c:v>
                </c:pt>
                <c:pt idx="6775">
                  <c:v>#N/A</c:v>
                </c:pt>
                <c:pt idx="6776">
                  <c:v>#N/A</c:v>
                </c:pt>
                <c:pt idx="6777">
                  <c:v>#N/A</c:v>
                </c:pt>
                <c:pt idx="6778">
                  <c:v>#N/A</c:v>
                </c:pt>
                <c:pt idx="6779">
                  <c:v>#N/A</c:v>
                </c:pt>
                <c:pt idx="6780">
                  <c:v>#N/A</c:v>
                </c:pt>
                <c:pt idx="6781">
                  <c:v>#N/A</c:v>
                </c:pt>
                <c:pt idx="6782">
                  <c:v>#N/A</c:v>
                </c:pt>
                <c:pt idx="6783">
                  <c:v>#N/A</c:v>
                </c:pt>
                <c:pt idx="6784">
                  <c:v>#N/A</c:v>
                </c:pt>
                <c:pt idx="6785">
                  <c:v>#N/A</c:v>
                </c:pt>
                <c:pt idx="6786">
                  <c:v>#N/A</c:v>
                </c:pt>
                <c:pt idx="6787">
                  <c:v>#N/A</c:v>
                </c:pt>
                <c:pt idx="6788">
                  <c:v>#N/A</c:v>
                </c:pt>
                <c:pt idx="6789">
                  <c:v>#N/A</c:v>
                </c:pt>
                <c:pt idx="6790">
                  <c:v>#N/A</c:v>
                </c:pt>
                <c:pt idx="6791">
                  <c:v>#N/A</c:v>
                </c:pt>
                <c:pt idx="6792">
                  <c:v>#N/A</c:v>
                </c:pt>
                <c:pt idx="6793">
                  <c:v>#N/A</c:v>
                </c:pt>
                <c:pt idx="6794">
                  <c:v>#N/A</c:v>
                </c:pt>
                <c:pt idx="6795">
                  <c:v>#N/A</c:v>
                </c:pt>
                <c:pt idx="6796">
                  <c:v>#N/A</c:v>
                </c:pt>
                <c:pt idx="6797">
                  <c:v>#N/A</c:v>
                </c:pt>
                <c:pt idx="6798">
                  <c:v>#N/A</c:v>
                </c:pt>
                <c:pt idx="6799">
                  <c:v>#N/A</c:v>
                </c:pt>
                <c:pt idx="6800">
                  <c:v>#N/A</c:v>
                </c:pt>
                <c:pt idx="6801">
                  <c:v>#N/A</c:v>
                </c:pt>
                <c:pt idx="6802">
                  <c:v>#N/A</c:v>
                </c:pt>
                <c:pt idx="6803">
                  <c:v>#N/A</c:v>
                </c:pt>
                <c:pt idx="6804">
                  <c:v>#N/A</c:v>
                </c:pt>
                <c:pt idx="6805">
                  <c:v>#N/A</c:v>
                </c:pt>
                <c:pt idx="6806">
                  <c:v>#N/A</c:v>
                </c:pt>
                <c:pt idx="6807">
                  <c:v>#N/A</c:v>
                </c:pt>
                <c:pt idx="6808">
                  <c:v>#N/A</c:v>
                </c:pt>
                <c:pt idx="6809">
                  <c:v>#N/A</c:v>
                </c:pt>
                <c:pt idx="6810">
                  <c:v>#N/A</c:v>
                </c:pt>
                <c:pt idx="6811">
                  <c:v>#N/A</c:v>
                </c:pt>
                <c:pt idx="6812">
                  <c:v>#N/A</c:v>
                </c:pt>
                <c:pt idx="6813">
                  <c:v>#N/A</c:v>
                </c:pt>
                <c:pt idx="6814">
                  <c:v>#N/A</c:v>
                </c:pt>
                <c:pt idx="6815">
                  <c:v>#N/A</c:v>
                </c:pt>
                <c:pt idx="6816">
                  <c:v>#N/A</c:v>
                </c:pt>
                <c:pt idx="6817">
                  <c:v>#N/A</c:v>
                </c:pt>
                <c:pt idx="6818">
                  <c:v>#N/A</c:v>
                </c:pt>
                <c:pt idx="6819">
                  <c:v>#N/A</c:v>
                </c:pt>
                <c:pt idx="6820">
                  <c:v>#N/A</c:v>
                </c:pt>
                <c:pt idx="6821">
                  <c:v>#N/A</c:v>
                </c:pt>
                <c:pt idx="6822">
                  <c:v>#N/A</c:v>
                </c:pt>
                <c:pt idx="6823">
                  <c:v>#N/A</c:v>
                </c:pt>
                <c:pt idx="6824">
                  <c:v>#N/A</c:v>
                </c:pt>
                <c:pt idx="6825">
                  <c:v>#N/A</c:v>
                </c:pt>
                <c:pt idx="6826">
                  <c:v>#N/A</c:v>
                </c:pt>
                <c:pt idx="6827">
                  <c:v>#N/A</c:v>
                </c:pt>
                <c:pt idx="6828">
                  <c:v>#N/A</c:v>
                </c:pt>
                <c:pt idx="6829">
                  <c:v>#N/A</c:v>
                </c:pt>
                <c:pt idx="6830">
                  <c:v>#N/A</c:v>
                </c:pt>
                <c:pt idx="6831">
                  <c:v>#N/A</c:v>
                </c:pt>
                <c:pt idx="6832">
                  <c:v>#N/A</c:v>
                </c:pt>
                <c:pt idx="6833">
                  <c:v>#N/A</c:v>
                </c:pt>
                <c:pt idx="6834">
                  <c:v>#N/A</c:v>
                </c:pt>
                <c:pt idx="6835">
                  <c:v>#N/A</c:v>
                </c:pt>
                <c:pt idx="6836">
                  <c:v>#N/A</c:v>
                </c:pt>
                <c:pt idx="6837">
                  <c:v>#N/A</c:v>
                </c:pt>
                <c:pt idx="6838">
                  <c:v>#N/A</c:v>
                </c:pt>
                <c:pt idx="6839">
                  <c:v>#N/A</c:v>
                </c:pt>
                <c:pt idx="6840">
                  <c:v>#N/A</c:v>
                </c:pt>
                <c:pt idx="6841">
                  <c:v>#N/A</c:v>
                </c:pt>
                <c:pt idx="6842">
                  <c:v>#N/A</c:v>
                </c:pt>
                <c:pt idx="6843">
                  <c:v>#N/A</c:v>
                </c:pt>
                <c:pt idx="6844">
                  <c:v>#N/A</c:v>
                </c:pt>
                <c:pt idx="6845">
                  <c:v>#N/A</c:v>
                </c:pt>
                <c:pt idx="6846">
                  <c:v>#N/A</c:v>
                </c:pt>
                <c:pt idx="6847">
                  <c:v>#N/A</c:v>
                </c:pt>
                <c:pt idx="6848">
                  <c:v>#N/A</c:v>
                </c:pt>
                <c:pt idx="6849">
                  <c:v>#N/A</c:v>
                </c:pt>
                <c:pt idx="6850">
                  <c:v>#N/A</c:v>
                </c:pt>
                <c:pt idx="6851">
                  <c:v>#N/A</c:v>
                </c:pt>
                <c:pt idx="6852">
                  <c:v>#N/A</c:v>
                </c:pt>
                <c:pt idx="6853">
                  <c:v>#N/A</c:v>
                </c:pt>
                <c:pt idx="6854">
                  <c:v>#N/A</c:v>
                </c:pt>
                <c:pt idx="6855">
                  <c:v>#N/A</c:v>
                </c:pt>
                <c:pt idx="6856">
                  <c:v>#N/A</c:v>
                </c:pt>
                <c:pt idx="6857">
                  <c:v>#N/A</c:v>
                </c:pt>
                <c:pt idx="6858">
                  <c:v>#N/A</c:v>
                </c:pt>
                <c:pt idx="6859">
                  <c:v>#N/A</c:v>
                </c:pt>
                <c:pt idx="6860">
                  <c:v>#N/A</c:v>
                </c:pt>
                <c:pt idx="6861">
                  <c:v>#N/A</c:v>
                </c:pt>
                <c:pt idx="6862">
                  <c:v>#N/A</c:v>
                </c:pt>
                <c:pt idx="6863">
                  <c:v>#N/A</c:v>
                </c:pt>
                <c:pt idx="6864">
                  <c:v>#N/A</c:v>
                </c:pt>
                <c:pt idx="6865">
                  <c:v>#N/A</c:v>
                </c:pt>
                <c:pt idx="6866">
                  <c:v>#N/A</c:v>
                </c:pt>
                <c:pt idx="6867">
                  <c:v>#N/A</c:v>
                </c:pt>
                <c:pt idx="6868">
                  <c:v>#N/A</c:v>
                </c:pt>
                <c:pt idx="6869">
                  <c:v>#N/A</c:v>
                </c:pt>
                <c:pt idx="6870">
                  <c:v>#N/A</c:v>
                </c:pt>
                <c:pt idx="6871">
                  <c:v>#N/A</c:v>
                </c:pt>
                <c:pt idx="6872">
                  <c:v>#N/A</c:v>
                </c:pt>
                <c:pt idx="6873">
                  <c:v>#N/A</c:v>
                </c:pt>
                <c:pt idx="6874">
                  <c:v>#N/A</c:v>
                </c:pt>
                <c:pt idx="6875">
                  <c:v>#N/A</c:v>
                </c:pt>
                <c:pt idx="6876">
                  <c:v>#N/A</c:v>
                </c:pt>
                <c:pt idx="6877">
                  <c:v>#N/A</c:v>
                </c:pt>
                <c:pt idx="6878">
                  <c:v>#N/A</c:v>
                </c:pt>
                <c:pt idx="6879">
                  <c:v>#N/A</c:v>
                </c:pt>
                <c:pt idx="6880">
                  <c:v>#N/A</c:v>
                </c:pt>
                <c:pt idx="6881">
                  <c:v>#N/A</c:v>
                </c:pt>
                <c:pt idx="6882">
                  <c:v>#N/A</c:v>
                </c:pt>
                <c:pt idx="6883">
                  <c:v>#N/A</c:v>
                </c:pt>
                <c:pt idx="6884">
                  <c:v>#N/A</c:v>
                </c:pt>
                <c:pt idx="6885">
                  <c:v>#N/A</c:v>
                </c:pt>
                <c:pt idx="6886">
                  <c:v>#N/A</c:v>
                </c:pt>
                <c:pt idx="6887">
                  <c:v>#N/A</c:v>
                </c:pt>
                <c:pt idx="6888">
                  <c:v>#N/A</c:v>
                </c:pt>
                <c:pt idx="6889">
                  <c:v>#N/A</c:v>
                </c:pt>
                <c:pt idx="6890">
                  <c:v>#N/A</c:v>
                </c:pt>
                <c:pt idx="6891">
                  <c:v>#N/A</c:v>
                </c:pt>
                <c:pt idx="6892">
                  <c:v>#N/A</c:v>
                </c:pt>
                <c:pt idx="6893">
                  <c:v>#N/A</c:v>
                </c:pt>
                <c:pt idx="6894">
                  <c:v>#N/A</c:v>
                </c:pt>
                <c:pt idx="6895">
                  <c:v>#N/A</c:v>
                </c:pt>
                <c:pt idx="6896">
                  <c:v>#N/A</c:v>
                </c:pt>
                <c:pt idx="6897">
                  <c:v>#N/A</c:v>
                </c:pt>
                <c:pt idx="6898">
                  <c:v>#N/A</c:v>
                </c:pt>
                <c:pt idx="6899">
                  <c:v>#N/A</c:v>
                </c:pt>
                <c:pt idx="6900">
                  <c:v>#N/A</c:v>
                </c:pt>
                <c:pt idx="6901">
                  <c:v>#N/A</c:v>
                </c:pt>
                <c:pt idx="6902">
                  <c:v>#N/A</c:v>
                </c:pt>
                <c:pt idx="6903">
                  <c:v>#N/A</c:v>
                </c:pt>
                <c:pt idx="6904">
                  <c:v>#N/A</c:v>
                </c:pt>
                <c:pt idx="6905">
                  <c:v>#N/A</c:v>
                </c:pt>
                <c:pt idx="6906">
                  <c:v>#N/A</c:v>
                </c:pt>
                <c:pt idx="6907">
                  <c:v>#N/A</c:v>
                </c:pt>
                <c:pt idx="6908">
                  <c:v>#N/A</c:v>
                </c:pt>
                <c:pt idx="6909">
                  <c:v>#N/A</c:v>
                </c:pt>
                <c:pt idx="6910">
                  <c:v>#N/A</c:v>
                </c:pt>
                <c:pt idx="6911">
                  <c:v>#N/A</c:v>
                </c:pt>
                <c:pt idx="6912">
                  <c:v>#N/A</c:v>
                </c:pt>
                <c:pt idx="6913">
                  <c:v>#N/A</c:v>
                </c:pt>
                <c:pt idx="6914">
                  <c:v>#N/A</c:v>
                </c:pt>
                <c:pt idx="6915">
                  <c:v>#N/A</c:v>
                </c:pt>
                <c:pt idx="6916">
                  <c:v>#N/A</c:v>
                </c:pt>
                <c:pt idx="6917">
                  <c:v>#N/A</c:v>
                </c:pt>
                <c:pt idx="6918">
                  <c:v>#N/A</c:v>
                </c:pt>
                <c:pt idx="6919">
                  <c:v>#N/A</c:v>
                </c:pt>
                <c:pt idx="6920">
                  <c:v>#N/A</c:v>
                </c:pt>
                <c:pt idx="6921">
                  <c:v>#N/A</c:v>
                </c:pt>
                <c:pt idx="6922">
                  <c:v>#N/A</c:v>
                </c:pt>
                <c:pt idx="6923">
                  <c:v>#N/A</c:v>
                </c:pt>
                <c:pt idx="6924">
                  <c:v>#N/A</c:v>
                </c:pt>
                <c:pt idx="6925">
                  <c:v>#N/A</c:v>
                </c:pt>
                <c:pt idx="6926">
                  <c:v>#N/A</c:v>
                </c:pt>
                <c:pt idx="6927">
                  <c:v>#N/A</c:v>
                </c:pt>
                <c:pt idx="6928">
                  <c:v>#N/A</c:v>
                </c:pt>
                <c:pt idx="6929">
                  <c:v>#N/A</c:v>
                </c:pt>
                <c:pt idx="6930">
                  <c:v>#N/A</c:v>
                </c:pt>
                <c:pt idx="6931">
                  <c:v>#N/A</c:v>
                </c:pt>
                <c:pt idx="6932">
                  <c:v>#N/A</c:v>
                </c:pt>
                <c:pt idx="6933">
                  <c:v>#N/A</c:v>
                </c:pt>
                <c:pt idx="6934">
                  <c:v>#N/A</c:v>
                </c:pt>
                <c:pt idx="6935">
                  <c:v>#N/A</c:v>
                </c:pt>
                <c:pt idx="6936">
                  <c:v>#N/A</c:v>
                </c:pt>
                <c:pt idx="6937">
                  <c:v>#N/A</c:v>
                </c:pt>
                <c:pt idx="6938">
                  <c:v>#N/A</c:v>
                </c:pt>
                <c:pt idx="6939">
                  <c:v>#N/A</c:v>
                </c:pt>
                <c:pt idx="6940">
                  <c:v>#N/A</c:v>
                </c:pt>
                <c:pt idx="6941">
                  <c:v>#N/A</c:v>
                </c:pt>
                <c:pt idx="6942">
                  <c:v>#N/A</c:v>
                </c:pt>
                <c:pt idx="6943">
                  <c:v>#N/A</c:v>
                </c:pt>
                <c:pt idx="6944">
                  <c:v>#N/A</c:v>
                </c:pt>
                <c:pt idx="6945">
                  <c:v>#N/A</c:v>
                </c:pt>
                <c:pt idx="6946">
                  <c:v>#N/A</c:v>
                </c:pt>
                <c:pt idx="6947">
                  <c:v>#N/A</c:v>
                </c:pt>
                <c:pt idx="6948">
                  <c:v>#N/A</c:v>
                </c:pt>
                <c:pt idx="6949">
                  <c:v>#N/A</c:v>
                </c:pt>
                <c:pt idx="6950">
                  <c:v>#N/A</c:v>
                </c:pt>
                <c:pt idx="6951">
                  <c:v>#N/A</c:v>
                </c:pt>
                <c:pt idx="6952">
                  <c:v>#N/A</c:v>
                </c:pt>
                <c:pt idx="6953">
                  <c:v>#N/A</c:v>
                </c:pt>
                <c:pt idx="6954">
                  <c:v>#N/A</c:v>
                </c:pt>
                <c:pt idx="6955">
                  <c:v>#N/A</c:v>
                </c:pt>
                <c:pt idx="6956">
                  <c:v>#N/A</c:v>
                </c:pt>
                <c:pt idx="6957">
                  <c:v>#N/A</c:v>
                </c:pt>
                <c:pt idx="6958">
                  <c:v>#N/A</c:v>
                </c:pt>
                <c:pt idx="6959">
                  <c:v>#N/A</c:v>
                </c:pt>
                <c:pt idx="6960">
                  <c:v>#N/A</c:v>
                </c:pt>
                <c:pt idx="6961">
                  <c:v>#N/A</c:v>
                </c:pt>
                <c:pt idx="6962">
                  <c:v>#N/A</c:v>
                </c:pt>
                <c:pt idx="6963">
                  <c:v>#N/A</c:v>
                </c:pt>
                <c:pt idx="6964">
                  <c:v>#N/A</c:v>
                </c:pt>
                <c:pt idx="6965">
                  <c:v>#N/A</c:v>
                </c:pt>
                <c:pt idx="6966">
                  <c:v>#N/A</c:v>
                </c:pt>
                <c:pt idx="6967">
                  <c:v>#N/A</c:v>
                </c:pt>
                <c:pt idx="6968">
                  <c:v>#N/A</c:v>
                </c:pt>
                <c:pt idx="6969">
                  <c:v>#N/A</c:v>
                </c:pt>
                <c:pt idx="6970">
                  <c:v>#N/A</c:v>
                </c:pt>
                <c:pt idx="6971">
                  <c:v>#N/A</c:v>
                </c:pt>
                <c:pt idx="6972">
                  <c:v>#N/A</c:v>
                </c:pt>
                <c:pt idx="6973">
                  <c:v>#N/A</c:v>
                </c:pt>
                <c:pt idx="6974">
                  <c:v>#N/A</c:v>
                </c:pt>
                <c:pt idx="6975">
                  <c:v>#N/A</c:v>
                </c:pt>
                <c:pt idx="6976">
                  <c:v>#N/A</c:v>
                </c:pt>
                <c:pt idx="6977">
                  <c:v>#N/A</c:v>
                </c:pt>
                <c:pt idx="6978">
                  <c:v>#N/A</c:v>
                </c:pt>
                <c:pt idx="6979">
                  <c:v>#N/A</c:v>
                </c:pt>
                <c:pt idx="6980">
                  <c:v>#N/A</c:v>
                </c:pt>
                <c:pt idx="6981">
                  <c:v>#N/A</c:v>
                </c:pt>
                <c:pt idx="6982">
                  <c:v>#N/A</c:v>
                </c:pt>
                <c:pt idx="6983">
                  <c:v>#N/A</c:v>
                </c:pt>
                <c:pt idx="6984">
                  <c:v>#N/A</c:v>
                </c:pt>
                <c:pt idx="6985">
                  <c:v>#N/A</c:v>
                </c:pt>
                <c:pt idx="6986">
                  <c:v>#N/A</c:v>
                </c:pt>
                <c:pt idx="6987">
                  <c:v>#N/A</c:v>
                </c:pt>
                <c:pt idx="6988">
                  <c:v>#N/A</c:v>
                </c:pt>
                <c:pt idx="6989">
                  <c:v>#N/A</c:v>
                </c:pt>
                <c:pt idx="6990">
                  <c:v>#N/A</c:v>
                </c:pt>
                <c:pt idx="6991">
                  <c:v>#N/A</c:v>
                </c:pt>
                <c:pt idx="6992">
                  <c:v>#N/A</c:v>
                </c:pt>
                <c:pt idx="6993">
                  <c:v>#N/A</c:v>
                </c:pt>
                <c:pt idx="6994">
                  <c:v>#N/A</c:v>
                </c:pt>
                <c:pt idx="6995">
                  <c:v>#N/A</c:v>
                </c:pt>
                <c:pt idx="6996">
                  <c:v>#N/A</c:v>
                </c:pt>
                <c:pt idx="6997">
                  <c:v>#N/A</c:v>
                </c:pt>
                <c:pt idx="6998">
                  <c:v>#N/A</c:v>
                </c:pt>
                <c:pt idx="6999">
                  <c:v>#N/A</c:v>
                </c:pt>
                <c:pt idx="7000">
                  <c:v>#N/A</c:v>
                </c:pt>
                <c:pt idx="7001">
                  <c:v>#N/A</c:v>
                </c:pt>
                <c:pt idx="7002">
                  <c:v>#N/A</c:v>
                </c:pt>
                <c:pt idx="7003">
                  <c:v>#N/A</c:v>
                </c:pt>
                <c:pt idx="7004">
                  <c:v>#N/A</c:v>
                </c:pt>
                <c:pt idx="7005">
                  <c:v>#N/A</c:v>
                </c:pt>
                <c:pt idx="7006">
                  <c:v>#N/A</c:v>
                </c:pt>
                <c:pt idx="7007">
                  <c:v>#N/A</c:v>
                </c:pt>
                <c:pt idx="7008">
                  <c:v>#N/A</c:v>
                </c:pt>
                <c:pt idx="7009">
                  <c:v>#N/A</c:v>
                </c:pt>
                <c:pt idx="7010">
                  <c:v>#N/A</c:v>
                </c:pt>
                <c:pt idx="7011">
                  <c:v>#N/A</c:v>
                </c:pt>
                <c:pt idx="7012">
                  <c:v>#N/A</c:v>
                </c:pt>
                <c:pt idx="7013">
                  <c:v>#N/A</c:v>
                </c:pt>
                <c:pt idx="7014">
                  <c:v>#N/A</c:v>
                </c:pt>
                <c:pt idx="7015">
                  <c:v>#N/A</c:v>
                </c:pt>
                <c:pt idx="7016">
                  <c:v>#N/A</c:v>
                </c:pt>
                <c:pt idx="7017">
                  <c:v>#N/A</c:v>
                </c:pt>
                <c:pt idx="7018">
                  <c:v>#N/A</c:v>
                </c:pt>
                <c:pt idx="7019">
                  <c:v>#N/A</c:v>
                </c:pt>
                <c:pt idx="7020">
                  <c:v>#N/A</c:v>
                </c:pt>
                <c:pt idx="7021">
                  <c:v>#N/A</c:v>
                </c:pt>
                <c:pt idx="7022">
                  <c:v>#N/A</c:v>
                </c:pt>
                <c:pt idx="7023">
                  <c:v>#N/A</c:v>
                </c:pt>
                <c:pt idx="7024">
                  <c:v>#N/A</c:v>
                </c:pt>
                <c:pt idx="7025">
                  <c:v>#N/A</c:v>
                </c:pt>
                <c:pt idx="7026">
                  <c:v>#N/A</c:v>
                </c:pt>
                <c:pt idx="7027">
                  <c:v>#N/A</c:v>
                </c:pt>
                <c:pt idx="7028">
                  <c:v>#N/A</c:v>
                </c:pt>
                <c:pt idx="7029">
                  <c:v>#N/A</c:v>
                </c:pt>
                <c:pt idx="7030">
                  <c:v>#N/A</c:v>
                </c:pt>
                <c:pt idx="7031">
                  <c:v>#N/A</c:v>
                </c:pt>
                <c:pt idx="7032">
                  <c:v>#N/A</c:v>
                </c:pt>
                <c:pt idx="7033">
                  <c:v>#N/A</c:v>
                </c:pt>
                <c:pt idx="7034">
                  <c:v>#N/A</c:v>
                </c:pt>
                <c:pt idx="7035">
                  <c:v>#N/A</c:v>
                </c:pt>
                <c:pt idx="7036">
                  <c:v>#N/A</c:v>
                </c:pt>
                <c:pt idx="7037">
                  <c:v>#N/A</c:v>
                </c:pt>
                <c:pt idx="7038">
                  <c:v>#N/A</c:v>
                </c:pt>
                <c:pt idx="7039">
                  <c:v>#N/A</c:v>
                </c:pt>
                <c:pt idx="7040">
                  <c:v>#N/A</c:v>
                </c:pt>
                <c:pt idx="7041">
                  <c:v>#N/A</c:v>
                </c:pt>
                <c:pt idx="7042">
                  <c:v>#N/A</c:v>
                </c:pt>
                <c:pt idx="7043">
                  <c:v>#N/A</c:v>
                </c:pt>
                <c:pt idx="7044">
                  <c:v>#N/A</c:v>
                </c:pt>
                <c:pt idx="7045">
                  <c:v>#N/A</c:v>
                </c:pt>
                <c:pt idx="7046">
                  <c:v>#N/A</c:v>
                </c:pt>
                <c:pt idx="7047">
                  <c:v>#N/A</c:v>
                </c:pt>
                <c:pt idx="7048">
                  <c:v>#N/A</c:v>
                </c:pt>
                <c:pt idx="7049">
                  <c:v>#N/A</c:v>
                </c:pt>
                <c:pt idx="7050">
                  <c:v>#N/A</c:v>
                </c:pt>
                <c:pt idx="7051">
                  <c:v>#N/A</c:v>
                </c:pt>
                <c:pt idx="7052">
                  <c:v>#N/A</c:v>
                </c:pt>
                <c:pt idx="7053">
                  <c:v>#N/A</c:v>
                </c:pt>
                <c:pt idx="7054">
                  <c:v>#N/A</c:v>
                </c:pt>
                <c:pt idx="7055">
                  <c:v>#N/A</c:v>
                </c:pt>
                <c:pt idx="7056">
                  <c:v>#N/A</c:v>
                </c:pt>
                <c:pt idx="7057">
                  <c:v>#N/A</c:v>
                </c:pt>
                <c:pt idx="7058">
                  <c:v>#N/A</c:v>
                </c:pt>
                <c:pt idx="7059">
                  <c:v>#N/A</c:v>
                </c:pt>
                <c:pt idx="7060">
                  <c:v>#N/A</c:v>
                </c:pt>
                <c:pt idx="7061">
                  <c:v>#N/A</c:v>
                </c:pt>
                <c:pt idx="7062">
                  <c:v>#N/A</c:v>
                </c:pt>
                <c:pt idx="7063">
                  <c:v>#N/A</c:v>
                </c:pt>
                <c:pt idx="7064">
                  <c:v>#N/A</c:v>
                </c:pt>
                <c:pt idx="7065">
                  <c:v>#N/A</c:v>
                </c:pt>
                <c:pt idx="7066">
                  <c:v>#N/A</c:v>
                </c:pt>
                <c:pt idx="7067">
                  <c:v>#N/A</c:v>
                </c:pt>
                <c:pt idx="7068">
                  <c:v>#N/A</c:v>
                </c:pt>
                <c:pt idx="7069">
                  <c:v>#N/A</c:v>
                </c:pt>
                <c:pt idx="7070">
                  <c:v>#N/A</c:v>
                </c:pt>
                <c:pt idx="7071">
                  <c:v>#N/A</c:v>
                </c:pt>
                <c:pt idx="7072">
                  <c:v>#N/A</c:v>
                </c:pt>
                <c:pt idx="7073">
                  <c:v>#N/A</c:v>
                </c:pt>
                <c:pt idx="7074">
                  <c:v>#N/A</c:v>
                </c:pt>
                <c:pt idx="7075">
                  <c:v>#N/A</c:v>
                </c:pt>
                <c:pt idx="7076">
                  <c:v>#N/A</c:v>
                </c:pt>
                <c:pt idx="7077">
                  <c:v>#N/A</c:v>
                </c:pt>
                <c:pt idx="7078">
                  <c:v>#N/A</c:v>
                </c:pt>
                <c:pt idx="7079">
                  <c:v>#N/A</c:v>
                </c:pt>
                <c:pt idx="7080">
                  <c:v>#N/A</c:v>
                </c:pt>
                <c:pt idx="7081">
                  <c:v>#N/A</c:v>
                </c:pt>
                <c:pt idx="7082">
                  <c:v>#N/A</c:v>
                </c:pt>
                <c:pt idx="7083">
                  <c:v>#N/A</c:v>
                </c:pt>
                <c:pt idx="7084">
                  <c:v>#N/A</c:v>
                </c:pt>
                <c:pt idx="7085">
                  <c:v>#N/A</c:v>
                </c:pt>
                <c:pt idx="7086">
                  <c:v>#N/A</c:v>
                </c:pt>
                <c:pt idx="7087">
                  <c:v>#N/A</c:v>
                </c:pt>
                <c:pt idx="7088">
                  <c:v>#N/A</c:v>
                </c:pt>
                <c:pt idx="7089">
                  <c:v>#N/A</c:v>
                </c:pt>
                <c:pt idx="7090">
                  <c:v>#N/A</c:v>
                </c:pt>
                <c:pt idx="7091">
                  <c:v>#N/A</c:v>
                </c:pt>
                <c:pt idx="7092">
                  <c:v>#N/A</c:v>
                </c:pt>
                <c:pt idx="7093">
                  <c:v>#N/A</c:v>
                </c:pt>
                <c:pt idx="7094">
                  <c:v>#N/A</c:v>
                </c:pt>
                <c:pt idx="7095">
                  <c:v>#N/A</c:v>
                </c:pt>
                <c:pt idx="7096">
                  <c:v>#N/A</c:v>
                </c:pt>
                <c:pt idx="7097">
                  <c:v>#N/A</c:v>
                </c:pt>
                <c:pt idx="7098">
                  <c:v>#N/A</c:v>
                </c:pt>
                <c:pt idx="7099">
                  <c:v>#N/A</c:v>
                </c:pt>
                <c:pt idx="7100">
                  <c:v>#N/A</c:v>
                </c:pt>
                <c:pt idx="7101">
                  <c:v>#N/A</c:v>
                </c:pt>
                <c:pt idx="7102">
                  <c:v>#N/A</c:v>
                </c:pt>
                <c:pt idx="7103">
                  <c:v>#N/A</c:v>
                </c:pt>
                <c:pt idx="7104">
                  <c:v>#N/A</c:v>
                </c:pt>
                <c:pt idx="7105">
                  <c:v>#N/A</c:v>
                </c:pt>
                <c:pt idx="7106">
                  <c:v>#N/A</c:v>
                </c:pt>
                <c:pt idx="7107">
                  <c:v>#N/A</c:v>
                </c:pt>
                <c:pt idx="7108">
                  <c:v>#N/A</c:v>
                </c:pt>
                <c:pt idx="7109">
                  <c:v>#N/A</c:v>
                </c:pt>
                <c:pt idx="7110">
                  <c:v>#N/A</c:v>
                </c:pt>
                <c:pt idx="7111">
                  <c:v>#N/A</c:v>
                </c:pt>
                <c:pt idx="7112">
                  <c:v>#N/A</c:v>
                </c:pt>
                <c:pt idx="7113">
                  <c:v>#N/A</c:v>
                </c:pt>
                <c:pt idx="7114">
                  <c:v>#N/A</c:v>
                </c:pt>
                <c:pt idx="7115">
                  <c:v>#N/A</c:v>
                </c:pt>
                <c:pt idx="7116">
                  <c:v>#N/A</c:v>
                </c:pt>
                <c:pt idx="7117">
                  <c:v>#N/A</c:v>
                </c:pt>
                <c:pt idx="7118">
                  <c:v>#N/A</c:v>
                </c:pt>
                <c:pt idx="7119">
                  <c:v>#N/A</c:v>
                </c:pt>
                <c:pt idx="7120">
                  <c:v>#N/A</c:v>
                </c:pt>
                <c:pt idx="7121">
                  <c:v>#N/A</c:v>
                </c:pt>
                <c:pt idx="7122">
                  <c:v>#N/A</c:v>
                </c:pt>
                <c:pt idx="7123">
                  <c:v>#N/A</c:v>
                </c:pt>
                <c:pt idx="7124">
                  <c:v>#N/A</c:v>
                </c:pt>
                <c:pt idx="7125">
                  <c:v>#N/A</c:v>
                </c:pt>
                <c:pt idx="7126">
                  <c:v>#N/A</c:v>
                </c:pt>
                <c:pt idx="7127">
                  <c:v>#N/A</c:v>
                </c:pt>
                <c:pt idx="7128">
                  <c:v>#N/A</c:v>
                </c:pt>
                <c:pt idx="7129">
                  <c:v>#N/A</c:v>
                </c:pt>
                <c:pt idx="7130">
                  <c:v>#N/A</c:v>
                </c:pt>
                <c:pt idx="7131">
                  <c:v>#N/A</c:v>
                </c:pt>
                <c:pt idx="7132">
                  <c:v>#N/A</c:v>
                </c:pt>
                <c:pt idx="7133">
                  <c:v>#N/A</c:v>
                </c:pt>
                <c:pt idx="7134">
                  <c:v>#N/A</c:v>
                </c:pt>
                <c:pt idx="7135">
                  <c:v>#N/A</c:v>
                </c:pt>
                <c:pt idx="7136">
                  <c:v>#N/A</c:v>
                </c:pt>
                <c:pt idx="7137">
                  <c:v>#N/A</c:v>
                </c:pt>
                <c:pt idx="7138">
                  <c:v>#N/A</c:v>
                </c:pt>
                <c:pt idx="7139">
                  <c:v>#N/A</c:v>
                </c:pt>
                <c:pt idx="7140">
                  <c:v>#N/A</c:v>
                </c:pt>
                <c:pt idx="7141">
                  <c:v>#N/A</c:v>
                </c:pt>
                <c:pt idx="7142">
                  <c:v>#N/A</c:v>
                </c:pt>
                <c:pt idx="7143">
                  <c:v>#N/A</c:v>
                </c:pt>
                <c:pt idx="7144">
                  <c:v>#N/A</c:v>
                </c:pt>
                <c:pt idx="7145">
                  <c:v>#N/A</c:v>
                </c:pt>
                <c:pt idx="7146">
                  <c:v>#N/A</c:v>
                </c:pt>
                <c:pt idx="7147">
                  <c:v>#N/A</c:v>
                </c:pt>
                <c:pt idx="7148">
                  <c:v>#N/A</c:v>
                </c:pt>
                <c:pt idx="7149">
                  <c:v>#N/A</c:v>
                </c:pt>
                <c:pt idx="7150">
                  <c:v>#N/A</c:v>
                </c:pt>
                <c:pt idx="7151">
                  <c:v>#N/A</c:v>
                </c:pt>
                <c:pt idx="7152">
                  <c:v>#N/A</c:v>
                </c:pt>
                <c:pt idx="7153">
                  <c:v>#N/A</c:v>
                </c:pt>
                <c:pt idx="7154">
                  <c:v>#N/A</c:v>
                </c:pt>
                <c:pt idx="7155">
                  <c:v>#N/A</c:v>
                </c:pt>
                <c:pt idx="7156">
                  <c:v>#N/A</c:v>
                </c:pt>
                <c:pt idx="7157">
                  <c:v>#N/A</c:v>
                </c:pt>
                <c:pt idx="7158">
                  <c:v>#N/A</c:v>
                </c:pt>
                <c:pt idx="7159">
                  <c:v>#N/A</c:v>
                </c:pt>
                <c:pt idx="7160">
                  <c:v>#N/A</c:v>
                </c:pt>
                <c:pt idx="7161">
                  <c:v>#N/A</c:v>
                </c:pt>
                <c:pt idx="7162">
                  <c:v>#N/A</c:v>
                </c:pt>
                <c:pt idx="7163">
                  <c:v>#N/A</c:v>
                </c:pt>
                <c:pt idx="7164">
                  <c:v>#N/A</c:v>
                </c:pt>
                <c:pt idx="7165">
                  <c:v>#N/A</c:v>
                </c:pt>
                <c:pt idx="7166">
                  <c:v>#N/A</c:v>
                </c:pt>
                <c:pt idx="7167">
                  <c:v>#N/A</c:v>
                </c:pt>
                <c:pt idx="7168">
                  <c:v>#N/A</c:v>
                </c:pt>
                <c:pt idx="7169">
                  <c:v>#N/A</c:v>
                </c:pt>
                <c:pt idx="7170">
                  <c:v>#N/A</c:v>
                </c:pt>
                <c:pt idx="7171">
                  <c:v>#N/A</c:v>
                </c:pt>
                <c:pt idx="7172">
                  <c:v>#N/A</c:v>
                </c:pt>
                <c:pt idx="7173">
                  <c:v>#N/A</c:v>
                </c:pt>
                <c:pt idx="7174">
                  <c:v>#N/A</c:v>
                </c:pt>
                <c:pt idx="7175">
                  <c:v>#N/A</c:v>
                </c:pt>
                <c:pt idx="7176">
                  <c:v>#N/A</c:v>
                </c:pt>
                <c:pt idx="7177">
                  <c:v>#N/A</c:v>
                </c:pt>
                <c:pt idx="7178">
                  <c:v>#N/A</c:v>
                </c:pt>
                <c:pt idx="7179">
                  <c:v>#N/A</c:v>
                </c:pt>
                <c:pt idx="7180">
                  <c:v>#N/A</c:v>
                </c:pt>
                <c:pt idx="7181">
                  <c:v>#N/A</c:v>
                </c:pt>
                <c:pt idx="7182">
                  <c:v>#N/A</c:v>
                </c:pt>
                <c:pt idx="7183">
                  <c:v>#N/A</c:v>
                </c:pt>
                <c:pt idx="7184">
                  <c:v>#N/A</c:v>
                </c:pt>
                <c:pt idx="7185">
                  <c:v>#N/A</c:v>
                </c:pt>
                <c:pt idx="7186">
                  <c:v>#N/A</c:v>
                </c:pt>
                <c:pt idx="7187">
                  <c:v>#N/A</c:v>
                </c:pt>
                <c:pt idx="7188">
                  <c:v>#N/A</c:v>
                </c:pt>
                <c:pt idx="7189">
                  <c:v>#N/A</c:v>
                </c:pt>
                <c:pt idx="7190">
                  <c:v>#N/A</c:v>
                </c:pt>
                <c:pt idx="7191">
                  <c:v>#N/A</c:v>
                </c:pt>
                <c:pt idx="7192">
                  <c:v>#N/A</c:v>
                </c:pt>
                <c:pt idx="7193">
                  <c:v>#N/A</c:v>
                </c:pt>
                <c:pt idx="7194">
                  <c:v>#N/A</c:v>
                </c:pt>
                <c:pt idx="7195">
                  <c:v>#N/A</c:v>
                </c:pt>
                <c:pt idx="7196">
                  <c:v>#N/A</c:v>
                </c:pt>
                <c:pt idx="7197">
                  <c:v>#N/A</c:v>
                </c:pt>
                <c:pt idx="7198">
                  <c:v>#N/A</c:v>
                </c:pt>
                <c:pt idx="7199">
                  <c:v>#N/A</c:v>
                </c:pt>
                <c:pt idx="7200">
                  <c:v>#N/A</c:v>
                </c:pt>
                <c:pt idx="7201">
                  <c:v>#N/A</c:v>
                </c:pt>
                <c:pt idx="7202">
                  <c:v>#N/A</c:v>
                </c:pt>
                <c:pt idx="7203">
                  <c:v>#N/A</c:v>
                </c:pt>
                <c:pt idx="7204">
                  <c:v>#N/A</c:v>
                </c:pt>
                <c:pt idx="7205">
                  <c:v>#N/A</c:v>
                </c:pt>
                <c:pt idx="7206">
                  <c:v>#N/A</c:v>
                </c:pt>
                <c:pt idx="7207">
                  <c:v>#N/A</c:v>
                </c:pt>
                <c:pt idx="7208">
                  <c:v>#N/A</c:v>
                </c:pt>
                <c:pt idx="7209">
                  <c:v>#N/A</c:v>
                </c:pt>
                <c:pt idx="7210">
                  <c:v>#N/A</c:v>
                </c:pt>
                <c:pt idx="7211">
                  <c:v>#N/A</c:v>
                </c:pt>
                <c:pt idx="7212">
                  <c:v>#N/A</c:v>
                </c:pt>
                <c:pt idx="7213">
                  <c:v>#N/A</c:v>
                </c:pt>
                <c:pt idx="7214">
                  <c:v>#N/A</c:v>
                </c:pt>
                <c:pt idx="7215">
                  <c:v>#N/A</c:v>
                </c:pt>
                <c:pt idx="7216">
                  <c:v>#N/A</c:v>
                </c:pt>
                <c:pt idx="7217">
                  <c:v>#N/A</c:v>
                </c:pt>
                <c:pt idx="7218">
                  <c:v>#N/A</c:v>
                </c:pt>
                <c:pt idx="7219">
                  <c:v>#N/A</c:v>
                </c:pt>
                <c:pt idx="7220">
                  <c:v>#N/A</c:v>
                </c:pt>
                <c:pt idx="7221">
                  <c:v>#N/A</c:v>
                </c:pt>
                <c:pt idx="7222">
                  <c:v>#N/A</c:v>
                </c:pt>
                <c:pt idx="7223">
                  <c:v>#N/A</c:v>
                </c:pt>
                <c:pt idx="7224">
                  <c:v>#N/A</c:v>
                </c:pt>
                <c:pt idx="7225">
                  <c:v>#N/A</c:v>
                </c:pt>
                <c:pt idx="7226">
                  <c:v>#N/A</c:v>
                </c:pt>
                <c:pt idx="7227">
                  <c:v>#N/A</c:v>
                </c:pt>
                <c:pt idx="7228">
                  <c:v>#N/A</c:v>
                </c:pt>
                <c:pt idx="7229">
                  <c:v>#N/A</c:v>
                </c:pt>
                <c:pt idx="7230">
                  <c:v>#N/A</c:v>
                </c:pt>
                <c:pt idx="7231">
                  <c:v>#N/A</c:v>
                </c:pt>
                <c:pt idx="7232">
                  <c:v>#N/A</c:v>
                </c:pt>
                <c:pt idx="7233">
                  <c:v>#N/A</c:v>
                </c:pt>
                <c:pt idx="7234">
                  <c:v>#N/A</c:v>
                </c:pt>
                <c:pt idx="7235">
                  <c:v>#N/A</c:v>
                </c:pt>
                <c:pt idx="7236">
                  <c:v>#N/A</c:v>
                </c:pt>
                <c:pt idx="7237">
                  <c:v>#N/A</c:v>
                </c:pt>
                <c:pt idx="7238">
                  <c:v>#N/A</c:v>
                </c:pt>
                <c:pt idx="7239">
                  <c:v>#N/A</c:v>
                </c:pt>
                <c:pt idx="7240">
                  <c:v>#N/A</c:v>
                </c:pt>
                <c:pt idx="7241">
                  <c:v>#N/A</c:v>
                </c:pt>
                <c:pt idx="7242">
                  <c:v>#N/A</c:v>
                </c:pt>
                <c:pt idx="7243">
                  <c:v>#N/A</c:v>
                </c:pt>
                <c:pt idx="7244">
                  <c:v>#N/A</c:v>
                </c:pt>
                <c:pt idx="7245">
                  <c:v>#N/A</c:v>
                </c:pt>
                <c:pt idx="7246">
                  <c:v>#N/A</c:v>
                </c:pt>
                <c:pt idx="7247">
                  <c:v>#N/A</c:v>
                </c:pt>
                <c:pt idx="7248">
                  <c:v>#N/A</c:v>
                </c:pt>
                <c:pt idx="7249">
                  <c:v>#N/A</c:v>
                </c:pt>
                <c:pt idx="7250">
                  <c:v>#N/A</c:v>
                </c:pt>
                <c:pt idx="7251">
                  <c:v>#N/A</c:v>
                </c:pt>
                <c:pt idx="7252">
                  <c:v>#N/A</c:v>
                </c:pt>
                <c:pt idx="7253">
                  <c:v>#N/A</c:v>
                </c:pt>
                <c:pt idx="7254">
                  <c:v>#N/A</c:v>
                </c:pt>
                <c:pt idx="7255">
                  <c:v>#N/A</c:v>
                </c:pt>
                <c:pt idx="7256">
                  <c:v>#N/A</c:v>
                </c:pt>
                <c:pt idx="7257">
                  <c:v>#N/A</c:v>
                </c:pt>
                <c:pt idx="7258">
                  <c:v>#N/A</c:v>
                </c:pt>
                <c:pt idx="7259">
                  <c:v>#N/A</c:v>
                </c:pt>
                <c:pt idx="7260">
                  <c:v>#N/A</c:v>
                </c:pt>
                <c:pt idx="7261">
                  <c:v>#N/A</c:v>
                </c:pt>
                <c:pt idx="7262">
                  <c:v>#N/A</c:v>
                </c:pt>
                <c:pt idx="7263">
                  <c:v>#N/A</c:v>
                </c:pt>
                <c:pt idx="7264">
                  <c:v>#N/A</c:v>
                </c:pt>
                <c:pt idx="7265">
                  <c:v>#N/A</c:v>
                </c:pt>
                <c:pt idx="7266">
                  <c:v>#N/A</c:v>
                </c:pt>
                <c:pt idx="7267">
                  <c:v>#N/A</c:v>
                </c:pt>
                <c:pt idx="7268">
                  <c:v>#N/A</c:v>
                </c:pt>
                <c:pt idx="7269">
                  <c:v>#N/A</c:v>
                </c:pt>
                <c:pt idx="7270">
                  <c:v>#N/A</c:v>
                </c:pt>
                <c:pt idx="7271">
                  <c:v>#N/A</c:v>
                </c:pt>
                <c:pt idx="7272">
                  <c:v>#N/A</c:v>
                </c:pt>
                <c:pt idx="7273">
                  <c:v>#N/A</c:v>
                </c:pt>
                <c:pt idx="7274">
                  <c:v>#N/A</c:v>
                </c:pt>
                <c:pt idx="7275">
                  <c:v>#N/A</c:v>
                </c:pt>
                <c:pt idx="7276">
                  <c:v>#N/A</c:v>
                </c:pt>
                <c:pt idx="7277">
                  <c:v>#N/A</c:v>
                </c:pt>
                <c:pt idx="7278">
                  <c:v>#N/A</c:v>
                </c:pt>
                <c:pt idx="7279">
                  <c:v>#N/A</c:v>
                </c:pt>
                <c:pt idx="7280">
                  <c:v>#N/A</c:v>
                </c:pt>
                <c:pt idx="7281">
                  <c:v>#N/A</c:v>
                </c:pt>
                <c:pt idx="7282">
                  <c:v>#N/A</c:v>
                </c:pt>
                <c:pt idx="7283">
                  <c:v>#N/A</c:v>
                </c:pt>
                <c:pt idx="7284">
                  <c:v>#N/A</c:v>
                </c:pt>
                <c:pt idx="7285">
                  <c:v>#N/A</c:v>
                </c:pt>
                <c:pt idx="7286">
                  <c:v>#N/A</c:v>
                </c:pt>
                <c:pt idx="7287">
                  <c:v>#N/A</c:v>
                </c:pt>
                <c:pt idx="7288">
                  <c:v>#N/A</c:v>
                </c:pt>
                <c:pt idx="7289">
                  <c:v>#N/A</c:v>
                </c:pt>
                <c:pt idx="7290">
                  <c:v>#N/A</c:v>
                </c:pt>
                <c:pt idx="7291">
                  <c:v>#N/A</c:v>
                </c:pt>
                <c:pt idx="7292">
                  <c:v>#N/A</c:v>
                </c:pt>
                <c:pt idx="7293">
                  <c:v>#N/A</c:v>
                </c:pt>
                <c:pt idx="7294">
                  <c:v>#N/A</c:v>
                </c:pt>
                <c:pt idx="7295">
                  <c:v>#N/A</c:v>
                </c:pt>
                <c:pt idx="7296">
                  <c:v>#N/A</c:v>
                </c:pt>
                <c:pt idx="7297">
                  <c:v>#N/A</c:v>
                </c:pt>
                <c:pt idx="7298">
                  <c:v>#N/A</c:v>
                </c:pt>
                <c:pt idx="7299">
                  <c:v>#N/A</c:v>
                </c:pt>
                <c:pt idx="7300">
                  <c:v>#N/A</c:v>
                </c:pt>
                <c:pt idx="7301">
                  <c:v>#N/A</c:v>
                </c:pt>
                <c:pt idx="7302">
                  <c:v>#N/A</c:v>
                </c:pt>
                <c:pt idx="7303">
                  <c:v>#N/A</c:v>
                </c:pt>
                <c:pt idx="7304">
                  <c:v>#N/A</c:v>
                </c:pt>
                <c:pt idx="7305">
                  <c:v>#N/A</c:v>
                </c:pt>
                <c:pt idx="7306">
                  <c:v>#N/A</c:v>
                </c:pt>
                <c:pt idx="7307">
                  <c:v>#N/A</c:v>
                </c:pt>
                <c:pt idx="7308">
                  <c:v>#N/A</c:v>
                </c:pt>
                <c:pt idx="7309">
                  <c:v>#N/A</c:v>
                </c:pt>
                <c:pt idx="7310">
                  <c:v>#N/A</c:v>
                </c:pt>
                <c:pt idx="7311">
                  <c:v>#N/A</c:v>
                </c:pt>
                <c:pt idx="7312">
                  <c:v>#N/A</c:v>
                </c:pt>
                <c:pt idx="7313">
                  <c:v>#N/A</c:v>
                </c:pt>
                <c:pt idx="7314">
                  <c:v>#N/A</c:v>
                </c:pt>
                <c:pt idx="7315">
                  <c:v>#N/A</c:v>
                </c:pt>
                <c:pt idx="7316">
                  <c:v>#N/A</c:v>
                </c:pt>
                <c:pt idx="7317">
                  <c:v>#N/A</c:v>
                </c:pt>
                <c:pt idx="7318">
                  <c:v>#N/A</c:v>
                </c:pt>
                <c:pt idx="7319">
                  <c:v>#N/A</c:v>
                </c:pt>
                <c:pt idx="7320">
                  <c:v>#N/A</c:v>
                </c:pt>
                <c:pt idx="7321">
                  <c:v>#N/A</c:v>
                </c:pt>
                <c:pt idx="7322">
                  <c:v>#N/A</c:v>
                </c:pt>
                <c:pt idx="7323">
                  <c:v>#N/A</c:v>
                </c:pt>
                <c:pt idx="7324">
                  <c:v>#N/A</c:v>
                </c:pt>
                <c:pt idx="7325">
                  <c:v>#N/A</c:v>
                </c:pt>
                <c:pt idx="7326">
                  <c:v>#N/A</c:v>
                </c:pt>
                <c:pt idx="7327">
                  <c:v>#N/A</c:v>
                </c:pt>
                <c:pt idx="7328">
                  <c:v>#N/A</c:v>
                </c:pt>
                <c:pt idx="7329">
                  <c:v>#N/A</c:v>
                </c:pt>
                <c:pt idx="7330">
                  <c:v>#N/A</c:v>
                </c:pt>
                <c:pt idx="7331">
                  <c:v>#N/A</c:v>
                </c:pt>
                <c:pt idx="7332">
                  <c:v>#N/A</c:v>
                </c:pt>
                <c:pt idx="7333">
                  <c:v>#N/A</c:v>
                </c:pt>
                <c:pt idx="7334">
                  <c:v>#N/A</c:v>
                </c:pt>
                <c:pt idx="7335">
                  <c:v>#N/A</c:v>
                </c:pt>
                <c:pt idx="7336">
                  <c:v>#N/A</c:v>
                </c:pt>
                <c:pt idx="7337">
                  <c:v>#N/A</c:v>
                </c:pt>
                <c:pt idx="7338">
                  <c:v>#N/A</c:v>
                </c:pt>
                <c:pt idx="7339">
                  <c:v>#N/A</c:v>
                </c:pt>
                <c:pt idx="7340">
                  <c:v>#N/A</c:v>
                </c:pt>
                <c:pt idx="7341">
                  <c:v>#N/A</c:v>
                </c:pt>
                <c:pt idx="7342">
                  <c:v>#N/A</c:v>
                </c:pt>
                <c:pt idx="7343">
                  <c:v>#N/A</c:v>
                </c:pt>
                <c:pt idx="7344">
                  <c:v>#N/A</c:v>
                </c:pt>
                <c:pt idx="7345">
                  <c:v>#N/A</c:v>
                </c:pt>
                <c:pt idx="7346">
                  <c:v>#N/A</c:v>
                </c:pt>
                <c:pt idx="7347">
                  <c:v>#N/A</c:v>
                </c:pt>
                <c:pt idx="7348">
                  <c:v>#N/A</c:v>
                </c:pt>
                <c:pt idx="7349">
                  <c:v>#N/A</c:v>
                </c:pt>
                <c:pt idx="7350">
                  <c:v>#N/A</c:v>
                </c:pt>
                <c:pt idx="7351">
                  <c:v>#N/A</c:v>
                </c:pt>
                <c:pt idx="7352">
                  <c:v>#N/A</c:v>
                </c:pt>
                <c:pt idx="7353">
                  <c:v>#N/A</c:v>
                </c:pt>
                <c:pt idx="7354">
                  <c:v>#N/A</c:v>
                </c:pt>
                <c:pt idx="7355">
                  <c:v>#N/A</c:v>
                </c:pt>
                <c:pt idx="7356">
                  <c:v>#N/A</c:v>
                </c:pt>
                <c:pt idx="7357">
                  <c:v>#N/A</c:v>
                </c:pt>
                <c:pt idx="7358">
                  <c:v>#N/A</c:v>
                </c:pt>
                <c:pt idx="7359">
                  <c:v>#N/A</c:v>
                </c:pt>
                <c:pt idx="7360">
                  <c:v>#N/A</c:v>
                </c:pt>
                <c:pt idx="7361">
                  <c:v>#N/A</c:v>
                </c:pt>
                <c:pt idx="7362">
                  <c:v>#N/A</c:v>
                </c:pt>
                <c:pt idx="7363">
                  <c:v>#N/A</c:v>
                </c:pt>
                <c:pt idx="7364">
                  <c:v>#N/A</c:v>
                </c:pt>
                <c:pt idx="7365">
                  <c:v>#N/A</c:v>
                </c:pt>
                <c:pt idx="7366">
                  <c:v>#N/A</c:v>
                </c:pt>
                <c:pt idx="7367">
                  <c:v>#N/A</c:v>
                </c:pt>
                <c:pt idx="7368">
                  <c:v>#N/A</c:v>
                </c:pt>
                <c:pt idx="7369">
                  <c:v>#N/A</c:v>
                </c:pt>
                <c:pt idx="7370">
                  <c:v>#N/A</c:v>
                </c:pt>
                <c:pt idx="7371">
                  <c:v>#N/A</c:v>
                </c:pt>
                <c:pt idx="7372">
                  <c:v>#N/A</c:v>
                </c:pt>
                <c:pt idx="7373">
                  <c:v>#N/A</c:v>
                </c:pt>
                <c:pt idx="7374">
                  <c:v>#N/A</c:v>
                </c:pt>
                <c:pt idx="7375">
                  <c:v>#N/A</c:v>
                </c:pt>
                <c:pt idx="7376">
                  <c:v>#N/A</c:v>
                </c:pt>
                <c:pt idx="7377">
                  <c:v>#N/A</c:v>
                </c:pt>
                <c:pt idx="7378">
                  <c:v>#N/A</c:v>
                </c:pt>
                <c:pt idx="7379">
                  <c:v>#N/A</c:v>
                </c:pt>
                <c:pt idx="7380">
                  <c:v>#N/A</c:v>
                </c:pt>
                <c:pt idx="7381">
                  <c:v>#N/A</c:v>
                </c:pt>
                <c:pt idx="7382">
                  <c:v>#N/A</c:v>
                </c:pt>
                <c:pt idx="7383">
                  <c:v>#N/A</c:v>
                </c:pt>
                <c:pt idx="7384">
                  <c:v>#N/A</c:v>
                </c:pt>
                <c:pt idx="7385">
                  <c:v>#N/A</c:v>
                </c:pt>
                <c:pt idx="7386">
                  <c:v>#N/A</c:v>
                </c:pt>
                <c:pt idx="7387">
                  <c:v>#N/A</c:v>
                </c:pt>
                <c:pt idx="7388">
                  <c:v>#N/A</c:v>
                </c:pt>
                <c:pt idx="7389">
                  <c:v>#N/A</c:v>
                </c:pt>
                <c:pt idx="7390">
                  <c:v>#N/A</c:v>
                </c:pt>
                <c:pt idx="7391">
                  <c:v>#N/A</c:v>
                </c:pt>
                <c:pt idx="7392">
                  <c:v>#N/A</c:v>
                </c:pt>
                <c:pt idx="7393">
                  <c:v>#N/A</c:v>
                </c:pt>
                <c:pt idx="7394">
                  <c:v>#N/A</c:v>
                </c:pt>
                <c:pt idx="7395">
                  <c:v>#N/A</c:v>
                </c:pt>
                <c:pt idx="7396">
                  <c:v>#N/A</c:v>
                </c:pt>
                <c:pt idx="7397">
                  <c:v>#N/A</c:v>
                </c:pt>
                <c:pt idx="7398">
                  <c:v>#N/A</c:v>
                </c:pt>
                <c:pt idx="7399">
                  <c:v>#N/A</c:v>
                </c:pt>
                <c:pt idx="7400">
                  <c:v>#N/A</c:v>
                </c:pt>
                <c:pt idx="7401">
                  <c:v>#N/A</c:v>
                </c:pt>
                <c:pt idx="7402">
                  <c:v>#N/A</c:v>
                </c:pt>
                <c:pt idx="7403">
                  <c:v>#N/A</c:v>
                </c:pt>
                <c:pt idx="7404">
                  <c:v>#N/A</c:v>
                </c:pt>
                <c:pt idx="7405">
                  <c:v>#N/A</c:v>
                </c:pt>
                <c:pt idx="7406">
                  <c:v>#N/A</c:v>
                </c:pt>
                <c:pt idx="7407">
                  <c:v>#N/A</c:v>
                </c:pt>
                <c:pt idx="7408">
                  <c:v>#N/A</c:v>
                </c:pt>
                <c:pt idx="7409">
                  <c:v>#N/A</c:v>
                </c:pt>
                <c:pt idx="7410">
                  <c:v>#N/A</c:v>
                </c:pt>
                <c:pt idx="7411">
                  <c:v>#N/A</c:v>
                </c:pt>
                <c:pt idx="7412">
                  <c:v>#N/A</c:v>
                </c:pt>
                <c:pt idx="7413">
                  <c:v>#N/A</c:v>
                </c:pt>
                <c:pt idx="7414">
                  <c:v>#N/A</c:v>
                </c:pt>
                <c:pt idx="7415">
                  <c:v>#N/A</c:v>
                </c:pt>
                <c:pt idx="7416">
                  <c:v>#N/A</c:v>
                </c:pt>
                <c:pt idx="7417">
                  <c:v>#N/A</c:v>
                </c:pt>
                <c:pt idx="7418">
                  <c:v>#N/A</c:v>
                </c:pt>
                <c:pt idx="7419">
                  <c:v>#N/A</c:v>
                </c:pt>
                <c:pt idx="7420">
                  <c:v>#N/A</c:v>
                </c:pt>
                <c:pt idx="7421">
                  <c:v>#N/A</c:v>
                </c:pt>
                <c:pt idx="7422">
                  <c:v>#N/A</c:v>
                </c:pt>
                <c:pt idx="7423">
                  <c:v>#N/A</c:v>
                </c:pt>
                <c:pt idx="7424">
                  <c:v>#N/A</c:v>
                </c:pt>
                <c:pt idx="7425">
                  <c:v>#N/A</c:v>
                </c:pt>
                <c:pt idx="7426">
                  <c:v>#N/A</c:v>
                </c:pt>
                <c:pt idx="7427">
                  <c:v>#N/A</c:v>
                </c:pt>
                <c:pt idx="7428">
                  <c:v>#N/A</c:v>
                </c:pt>
                <c:pt idx="7429">
                  <c:v>#N/A</c:v>
                </c:pt>
                <c:pt idx="7430">
                  <c:v>#N/A</c:v>
                </c:pt>
                <c:pt idx="7431">
                  <c:v>#N/A</c:v>
                </c:pt>
                <c:pt idx="7432">
                  <c:v>#N/A</c:v>
                </c:pt>
                <c:pt idx="7433">
                  <c:v>#N/A</c:v>
                </c:pt>
                <c:pt idx="7434">
                  <c:v>#N/A</c:v>
                </c:pt>
                <c:pt idx="7435">
                  <c:v>#N/A</c:v>
                </c:pt>
                <c:pt idx="7436">
                  <c:v>#N/A</c:v>
                </c:pt>
                <c:pt idx="7437">
                  <c:v>#N/A</c:v>
                </c:pt>
                <c:pt idx="7438">
                  <c:v>#N/A</c:v>
                </c:pt>
                <c:pt idx="7439">
                  <c:v>#N/A</c:v>
                </c:pt>
                <c:pt idx="7440">
                  <c:v>#N/A</c:v>
                </c:pt>
                <c:pt idx="7441">
                  <c:v>#N/A</c:v>
                </c:pt>
                <c:pt idx="7442">
                  <c:v>#N/A</c:v>
                </c:pt>
                <c:pt idx="7443">
                  <c:v>#N/A</c:v>
                </c:pt>
                <c:pt idx="7444">
                  <c:v>#N/A</c:v>
                </c:pt>
                <c:pt idx="7445">
                  <c:v>#N/A</c:v>
                </c:pt>
                <c:pt idx="7446">
                  <c:v>#N/A</c:v>
                </c:pt>
                <c:pt idx="7447">
                  <c:v>#N/A</c:v>
                </c:pt>
                <c:pt idx="7448">
                  <c:v>#N/A</c:v>
                </c:pt>
                <c:pt idx="7449">
                  <c:v>#N/A</c:v>
                </c:pt>
                <c:pt idx="7450">
                  <c:v>#N/A</c:v>
                </c:pt>
                <c:pt idx="7451">
                  <c:v>#N/A</c:v>
                </c:pt>
                <c:pt idx="7452">
                  <c:v>#N/A</c:v>
                </c:pt>
                <c:pt idx="7453">
                  <c:v>#N/A</c:v>
                </c:pt>
                <c:pt idx="7454">
                  <c:v>#N/A</c:v>
                </c:pt>
                <c:pt idx="7455">
                  <c:v>#N/A</c:v>
                </c:pt>
                <c:pt idx="7456">
                  <c:v>#N/A</c:v>
                </c:pt>
                <c:pt idx="7457">
                  <c:v>#N/A</c:v>
                </c:pt>
                <c:pt idx="7458">
                  <c:v>#N/A</c:v>
                </c:pt>
                <c:pt idx="7459">
                  <c:v>#N/A</c:v>
                </c:pt>
                <c:pt idx="7460">
                  <c:v>#N/A</c:v>
                </c:pt>
                <c:pt idx="7461">
                  <c:v>#N/A</c:v>
                </c:pt>
                <c:pt idx="7462">
                  <c:v>#N/A</c:v>
                </c:pt>
                <c:pt idx="7463">
                  <c:v>#N/A</c:v>
                </c:pt>
                <c:pt idx="7464">
                  <c:v>#N/A</c:v>
                </c:pt>
                <c:pt idx="7465">
                  <c:v>#N/A</c:v>
                </c:pt>
                <c:pt idx="7466">
                  <c:v>#N/A</c:v>
                </c:pt>
                <c:pt idx="7467">
                  <c:v>#N/A</c:v>
                </c:pt>
                <c:pt idx="7468">
                  <c:v>#N/A</c:v>
                </c:pt>
                <c:pt idx="7469">
                  <c:v>#N/A</c:v>
                </c:pt>
                <c:pt idx="7470">
                  <c:v>#N/A</c:v>
                </c:pt>
                <c:pt idx="7471">
                  <c:v>#N/A</c:v>
                </c:pt>
                <c:pt idx="7472">
                  <c:v>#N/A</c:v>
                </c:pt>
                <c:pt idx="7473">
                  <c:v>#N/A</c:v>
                </c:pt>
                <c:pt idx="7474">
                  <c:v>#N/A</c:v>
                </c:pt>
                <c:pt idx="7475">
                  <c:v>#N/A</c:v>
                </c:pt>
                <c:pt idx="7476">
                  <c:v>#N/A</c:v>
                </c:pt>
                <c:pt idx="7477">
                  <c:v>#N/A</c:v>
                </c:pt>
                <c:pt idx="7478">
                  <c:v>#N/A</c:v>
                </c:pt>
                <c:pt idx="7479">
                  <c:v>#N/A</c:v>
                </c:pt>
                <c:pt idx="7480">
                  <c:v>#N/A</c:v>
                </c:pt>
                <c:pt idx="7481">
                  <c:v>#N/A</c:v>
                </c:pt>
                <c:pt idx="7482">
                  <c:v>#N/A</c:v>
                </c:pt>
                <c:pt idx="7483">
                  <c:v>#N/A</c:v>
                </c:pt>
                <c:pt idx="7484">
                  <c:v>#N/A</c:v>
                </c:pt>
                <c:pt idx="7485">
                  <c:v>#N/A</c:v>
                </c:pt>
                <c:pt idx="7486">
                  <c:v>#N/A</c:v>
                </c:pt>
                <c:pt idx="7487">
                  <c:v>#N/A</c:v>
                </c:pt>
                <c:pt idx="7488">
                  <c:v>#N/A</c:v>
                </c:pt>
                <c:pt idx="7489">
                  <c:v>#N/A</c:v>
                </c:pt>
                <c:pt idx="7490">
                  <c:v>#N/A</c:v>
                </c:pt>
                <c:pt idx="7491">
                  <c:v>#N/A</c:v>
                </c:pt>
                <c:pt idx="7492">
                  <c:v>#N/A</c:v>
                </c:pt>
                <c:pt idx="7493">
                  <c:v>#N/A</c:v>
                </c:pt>
                <c:pt idx="7494">
                  <c:v>#N/A</c:v>
                </c:pt>
                <c:pt idx="7495">
                  <c:v>#N/A</c:v>
                </c:pt>
                <c:pt idx="7496">
                  <c:v>#N/A</c:v>
                </c:pt>
                <c:pt idx="7497">
                  <c:v>#N/A</c:v>
                </c:pt>
                <c:pt idx="7498">
                  <c:v>#N/A</c:v>
                </c:pt>
                <c:pt idx="7499">
                  <c:v>#N/A</c:v>
                </c:pt>
                <c:pt idx="7500">
                  <c:v>#N/A</c:v>
                </c:pt>
                <c:pt idx="7501">
                  <c:v>#N/A</c:v>
                </c:pt>
                <c:pt idx="7502">
                  <c:v>#N/A</c:v>
                </c:pt>
                <c:pt idx="7503">
                  <c:v>#N/A</c:v>
                </c:pt>
                <c:pt idx="7504">
                  <c:v>#N/A</c:v>
                </c:pt>
                <c:pt idx="7505">
                  <c:v>#N/A</c:v>
                </c:pt>
                <c:pt idx="7506">
                  <c:v>#N/A</c:v>
                </c:pt>
                <c:pt idx="7507">
                  <c:v>#N/A</c:v>
                </c:pt>
                <c:pt idx="7508">
                  <c:v>#N/A</c:v>
                </c:pt>
                <c:pt idx="7509">
                  <c:v>#N/A</c:v>
                </c:pt>
                <c:pt idx="7510">
                  <c:v>#N/A</c:v>
                </c:pt>
                <c:pt idx="7511">
                  <c:v>#N/A</c:v>
                </c:pt>
                <c:pt idx="7512">
                  <c:v>#N/A</c:v>
                </c:pt>
                <c:pt idx="7513">
                  <c:v>#N/A</c:v>
                </c:pt>
                <c:pt idx="7514">
                  <c:v>#N/A</c:v>
                </c:pt>
                <c:pt idx="7515">
                  <c:v>#N/A</c:v>
                </c:pt>
                <c:pt idx="7516">
                  <c:v>#N/A</c:v>
                </c:pt>
                <c:pt idx="7517">
                  <c:v>#N/A</c:v>
                </c:pt>
                <c:pt idx="7518">
                  <c:v>#N/A</c:v>
                </c:pt>
                <c:pt idx="7519">
                  <c:v>#N/A</c:v>
                </c:pt>
                <c:pt idx="7520">
                  <c:v>#N/A</c:v>
                </c:pt>
                <c:pt idx="7521">
                  <c:v>#N/A</c:v>
                </c:pt>
                <c:pt idx="7522">
                  <c:v>#N/A</c:v>
                </c:pt>
                <c:pt idx="7523">
                  <c:v>#N/A</c:v>
                </c:pt>
                <c:pt idx="7524">
                  <c:v>#N/A</c:v>
                </c:pt>
                <c:pt idx="7525">
                  <c:v>#N/A</c:v>
                </c:pt>
                <c:pt idx="7526">
                  <c:v>#N/A</c:v>
                </c:pt>
                <c:pt idx="7527">
                  <c:v>#N/A</c:v>
                </c:pt>
                <c:pt idx="7528">
                  <c:v>#N/A</c:v>
                </c:pt>
                <c:pt idx="7529">
                  <c:v>#N/A</c:v>
                </c:pt>
                <c:pt idx="7530">
                  <c:v>#N/A</c:v>
                </c:pt>
                <c:pt idx="7531">
                  <c:v>#N/A</c:v>
                </c:pt>
                <c:pt idx="7532">
                  <c:v>#N/A</c:v>
                </c:pt>
                <c:pt idx="7533">
                  <c:v>#N/A</c:v>
                </c:pt>
                <c:pt idx="7534">
                  <c:v>#N/A</c:v>
                </c:pt>
                <c:pt idx="7535">
                  <c:v>#N/A</c:v>
                </c:pt>
                <c:pt idx="7536">
                  <c:v>#N/A</c:v>
                </c:pt>
                <c:pt idx="7537">
                  <c:v>#N/A</c:v>
                </c:pt>
                <c:pt idx="7538">
                  <c:v>#N/A</c:v>
                </c:pt>
                <c:pt idx="7539">
                  <c:v>#N/A</c:v>
                </c:pt>
                <c:pt idx="7540">
                  <c:v>#N/A</c:v>
                </c:pt>
                <c:pt idx="7541">
                  <c:v>#N/A</c:v>
                </c:pt>
                <c:pt idx="7542">
                  <c:v>#N/A</c:v>
                </c:pt>
                <c:pt idx="7543">
                  <c:v>#N/A</c:v>
                </c:pt>
                <c:pt idx="7544">
                  <c:v>#N/A</c:v>
                </c:pt>
                <c:pt idx="7545">
                  <c:v>#N/A</c:v>
                </c:pt>
                <c:pt idx="7546">
                  <c:v>#N/A</c:v>
                </c:pt>
                <c:pt idx="7547">
                  <c:v>#N/A</c:v>
                </c:pt>
                <c:pt idx="7548">
                  <c:v>#N/A</c:v>
                </c:pt>
                <c:pt idx="7549">
                  <c:v>#N/A</c:v>
                </c:pt>
                <c:pt idx="7550">
                  <c:v>#N/A</c:v>
                </c:pt>
                <c:pt idx="7551">
                  <c:v>#N/A</c:v>
                </c:pt>
                <c:pt idx="7552">
                  <c:v>#N/A</c:v>
                </c:pt>
                <c:pt idx="7553">
                  <c:v>#N/A</c:v>
                </c:pt>
                <c:pt idx="7554">
                  <c:v>#N/A</c:v>
                </c:pt>
                <c:pt idx="7555">
                  <c:v>#N/A</c:v>
                </c:pt>
                <c:pt idx="7556">
                  <c:v>#N/A</c:v>
                </c:pt>
                <c:pt idx="7557">
                  <c:v>#N/A</c:v>
                </c:pt>
                <c:pt idx="7558">
                  <c:v>#N/A</c:v>
                </c:pt>
                <c:pt idx="7559">
                  <c:v>#N/A</c:v>
                </c:pt>
                <c:pt idx="7560">
                  <c:v>#N/A</c:v>
                </c:pt>
                <c:pt idx="7561">
                  <c:v>#N/A</c:v>
                </c:pt>
                <c:pt idx="7562">
                  <c:v>#N/A</c:v>
                </c:pt>
                <c:pt idx="7563">
                  <c:v>#N/A</c:v>
                </c:pt>
                <c:pt idx="7564">
                  <c:v>#N/A</c:v>
                </c:pt>
                <c:pt idx="7565">
                  <c:v>#N/A</c:v>
                </c:pt>
                <c:pt idx="7566">
                  <c:v>#N/A</c:v>
                </c:pt>
                <c:pt idx="7567">
                  <c:v>#N/A</c:v>
                </c:pt>
                <c:pt idx="7568">
                  <c:v>#N/A</c:v>
                </c:pt>
                <c:pt idx="7569">
                  <c:v>#N/A</c:v>
                </c:pt>
                <c:pt idx="7570">
                  <c:v>#N/A</c:v>
                </c:pt>
                <c:pt idx="7571">
                  <c:v>#N/A</c:v>
                </c:pt>
                <c:pt idx="7572">
                  <c:v>#N/A</c:v>
                </c:pt>
                <c:pt idx="7573">
                  <c:v>#N/A</c:v>
                </c:pt>
                <c:pt idx="7574">
                  <c:v>#N/A</c:v>
                </c:pt>
                <c:pt idx="7575">
                  <c:v>#N/A</c:v>
                </c:pt>
                <c:pt idx="7576">
                  <c:v>#N/A</c:v>
                </c:pt>
                <c:pt idx="7577">
                  <c:v>#N/A</c:v>
                </c:pt>
                <c:pt idx="7578">
                  <c:v>#N/A</c:v>
                </c:pt>
                <c:pt idx="7579">
                  <c:v>#N/A</c:v>
                </c:pt>
                <c:pt idx="7580">
                  <c:v>#N/A</c:v>
                </c:pt>
                <c:pt idx="7581">
                  <c:v>#N/A</c:v>
                </c:pt>
                <c:pt idx="7582">
                  <c:v>#N/A</c:v>
                </c:pt>
                <c:pt idx="7583">
                  <c:v>#N/A</c:v>
                </c:pt>
                <c:pt idx="7584">
                  <c:v>#N/A</c:v>
                </c:pt>
                <c:pt idx="7585">
                  <c:v>#N/A</c:v>
                </c:pt>
                <c:pt idx="7586">
                  <c:v>#N/A</c:v>
                </c:pt>
                <c:pt idx="7587">
                  <c:v>#N/A</c:v>
                </c:pt>
                <c:pt idx="7588">
                  <c:v>#N/A</c:v>
                </c:pt>
                <c:pt idx="7589">
                  <c:v>#N/A</c:v>
                </c:pt>
                <c:pt idx="7590">
                  <c:v>#N/A</c:v>
                </c:pt>
                <c:pt idx="7591">
                  <c:v>#N/A</c:v>
                </c:pt>
                <c:pt idx="7592">
                  <c:v>#N/A</c:v>
                </c:pt>
                <c:pt idx="7593">
                  <c:v>#N/A</c:v>
                </c:pt>
                <c:pt idx="7594">
                  <c:v>#N/A</c:v>
                </c:pt>
                <c:pt idx="7595">
                  <c:v>#N/A</c:v>
                </c:pt>
                <c:pt idx="7596">
                  <c:v>#N/A</c:v>
                </c:pt>
                <c:pt idx="7597">
                  <c:v>#N/A</c:v>
                </c:pt>
                <c:pt idx="7598">
                  <c:v>#N/A</c:v>
                </c:pt>
                <c:pt idx="7599">
                  <c:v>#N/A</c:v>
                </c:pt>
                <c:pt idx="7600">
                  <c:v>#N/A</c:v>
                </c:pt>
                <c:pt idx="7601">
                  <c:v>#N/A</c:v>
                </c:pt>
                <c:pt idx="7602">
                  <c:v>#N/A</c:v>
                </c:pt>
                <c:pt idx="7603">
                  <c:v>#N/A</c:v>
                </c:pt>
                <c:pt idx="7604">
                  <c:v>#N/A</c:v>
                </c:pt>
                <c:pt idx="7605">
                  <c:v>#N/A</c:v>
                </c:pt>
                <c:pt idx="7606">
                  <c:v>#N/A</c:v>
                </c:pt>
                <c:pt idx="7607">
                  <c:v>#N/A</c:v>
                </c:pt>
                <c:pt idx="7608">
                  <c:v>#N/A</c:v>
                </c:pt>
                <c:pt idx="7609">
                  <c:v>#N/A</c:v>
                </c:pt>
                <c:pt idx="7610">
                  <c:v>#N/A</c:v>
                </c:pt>
                <c:pt idx="7611">
                  <c:v>#N/A</c:v>
                </c:pt>
                <c:pt idx="7612">
                  <c:v>#N/A</c:v>
                </c:pt>
                <c:pt idx="7613">
                  <c:v>#N/A</c:v>
                </c:pt>
                <c:pt idx="7614">
                  <c:v>#N/A</c:v>
                </c:pt>
                <c:pt idx="7615">
                  <c:v>#N/A</c:v>
                </c:pt>
                <c:pt idx="7616">
                  <c:v>#N/A</c:v>
                </c:pt>
                <c:pt idx="7617">
                  <c:v>#N/A</c:v>
                </c:pt>
                <c:pt idx="7618">
                  <c:v>#N/A</c:v>
                </c:pt>
                <c:pt idx="7619">
                  <c:v>#N/A</c:v>
                </c:pt>
                <c:pt idx="7620">
                  <c:v>#N/A</c:v>
                </c:pt>
                <c:pt idx="7621">
                  <c:v>#N/A</c:v>
                </c:pt>
                <c:pt idx="7622">
                  <c:v>#N/A</c:v>
                </c:pt>
                <c:pt idx="7623">
                  <c:v>#N/A</c:v>
                </c:pt>
                <c:pt idx="7624">
                  <c:v>#N/A</c:v>
                </c:pt>
                <c:pt idx="7625">
                  <c:v>#N/A</c:v>
                </c:pt>
                <c:pt idx="7626">
                  <c:v>#N/A</c:v>
                </c:pt>
                <c:pt idx="7627">
                  <c:v>#N/A</c:v>
                </c:pt>
                <c:pt idx="7628">
                  <c:v>#N/A</c:v>
                </c:pt>
                <c:pt idx="7629">
                  <c:v>#N/A</c:v>
                </c:pt>
                <c:pt idx="7630">
                  <c:v>#N/A</c:v>
                </c:pt>
                <c:pt idx="7631">
                  <c:v>#N/A</c:v>
                </c:pt>
                <c:pt idx="7632">
                  <c:v>#N/A</c:v>
                </c:pt>
                <c:pt idx="7633">
                  <c:v>#N/A</c:v>
                </c:pt>
                <c:pt idx="7634">
                  <c:v>#N/A</c:v>
                </c:pt>
                <c:pt idx="7635">
                  <c:v>#N/A</c:v>
                </c:pt>
                <c:pt idx="7636">
                  <c:v>#N/A</c:v>
                </c:pt>
                <c:pt idx="7637">
                  <c:v>#N/A</c:v>
                </c:pt>
                <c:pt idx="7638">
                  <c:v>#N/A</c:v>
                </c:pt>
                <c:pt idx="7639">
                  <c:v>#N/A</c:v>
                </c:pt>
                <c:pt idx="7640">
                  <c:v>#N/A</c:v>
                </c:pt>
                <c:pt idx="7641">
                  <c:v>#N/A</c:v>
                </c:pt>
                <c:pt idx="7642">
                  <c:v>#N/A</c:v>
                </c:pt>
                <c:pt idx="7643">
                  <c:v>#N/A</c:v>
                </c:pt>
                <c:pt idx="7644">
                  <c:v>#N/A</c:v>
                </c:pt>
                <c:pt idx="7645">
                  <c:v>#N/A</c:v>
                </c:pt>
                <c:pt idx="7646">
                  <c:v>#N/A</c:v>
                </c:pt>
                <c:pt idx="7647">
                  <c:v>#N/A</c:v>
                </c:pt>
                <c:pt idx="7648">
                  <c:v>#N/A</c:v>
                </c:pt>
                <c:pt idx="7649">
                  <c:v>#N/A</c:v>
                </c:pt>
                <c:pt idx="7650">
                  <c:v>#N/A</c:v>
                </c:pt>
                <c:pt idx="7651">
                  <c:v>#N/A</c:v>
                </c:pt>
                <c:pt idx="7652">
                  <c:v>#N/A</c:v>
                </c:pt>
                <c:pt idx="7653">
                  <c:v>#N/A</c:v>
                </c:pt>
                <c:pt idx="7654">
                  <c:v>#N/A</c:v>
                </c:pt>
                <c:pt idx="7655">
                  <c:v>#N/A</c:v>
                </c:pt>
                <c:pt idx="7656">
                  <c:v>#N/A</c:v>
                </c:pt>
                <c:pt idx="7657">
                  <c:v>#N/A</c:v>
                </c:pt>
                <c:pt idx="7658">
                  <c:v>#N/A</c:v>
                </c:pt>
                <c:pt idx="7659">
                  <c:v>#N/A</c:v>
                </c:pt>
                <c:pt idx="7660">
                  <c:v>#N/A</c:v>
                </c:pt>
                <c:pt idx="7661">
                  <c:v>#N/A</c:v>
                </c:pt>
                <c:pt idx="7662">
                  <c:v>#N/A</c:v>
                </c:pt>
                <c:pt idx="7663">
                  <c:v>#N/A</c:v>
                </c:pt>
                <c:pt idx="7664">
                  <c:v>#N/A</c:v>
                </c:pt>
                <c:pt idx="7665">
                  <c:v>#N/A</c:v>
                </c:pt>
                <c:pt idx="7666">
                  <c:v>#N/A</c:v>
                </c:pt>
                <c:pt idx="7667">
                  <c:v>#N/A</c:v>
                </c:pt>
                <c:pt idx="7668">
                  <c:v>#N/A</c:v>
                </c:pt>
                <c:pt idx="7669">
                  <c:v>#N/A</c:v>
                </c:pt>
                <c:pt idx="7670">
                  <c:v>#N/A</c:v>
                </c:pt>
                <c:pt idx="7671">
                  <c:v>#N/A</c:v>
                </c:pt>
                <c:pt idx="7672">
                  <c:v>#N/A</c:v>
                </c:pt>
                <c:pt idx="7673">
                  <c:v>#N/A</c:v>
                </c:pt>
                <c:pt idx="7674">
                  <c:v>#N/A</c:v>
                </c:pt>
                <c:pt idx="7675">
                  <c:v>#N/A</c:v>
                </c:pt>
                <c:pt idx="7676">
                  <c:v>#N/A</c:v>
                </c:pt>
                <c:pt idx="7677">
                  <c:v>#N/A</c:v>
                </c:pt>
                <c:pt idx="7678">
                  <c:v>#N/A</c:v>
                </c:pt>
                <c:pt idx="7679">
                  <c:v>#N/A</c:v>
                </c:pt>
                <c:pt idx="7680">
                  <c:v>#N/A</c:v>
                </c:pt>
                <c:pt idx="7681">
                  <c:v>#N/A</c:v>
                </c:pt>
                <c:pt idx="7682">
                  <c:v>#N/A</c:v>
                </c:pt>
                <c:pt idx="7683">
                  <c:v>#N/A</c:v>
                </c:pt>
                <c:pt idx="7684">
                  <c:v>#N/A</c:v>
                </c:pt>
                <c:pt idx="7685">
                  <c:v>#N/A</c:v>
                </c:pt>
                <c:pt idx="7686">
                  <c:v>#N/A</c:v>
                </c:pt>
                <c:pt idx="7687">
                  <c:v>#N/A</c:v>
                </c:pt>
                <c:pt idx="7688">
                  <c:v>#N/A</c:v>
                </c:pt>
                <c:pt idx="7689">
                  <c:v>#N/A</c:v>
                </c:pt>
                <c:pt idx="7690">
                  <c:v>#N/A</c:v>
                </c:pt>
                <c:pt idx="7691">
                  <c:v>#N/A</c:v>
                </c:pt>
                <c:pt idx="7692">
                  <c:v>#N/A</c:v>
                </c:pt>
                <c:pt idx="7693">
                  <c:v>#N/A</c:v>
                </c:pt>
                <c:pt idx="7694">
                  <c:v>#N/A</c:v>
                </c:pt>
                <c:pt idx="7695">
                  <c:v>#N/A</c:v>
                </c:pt>
                <c:pt idx="7696">
                  <c:v>#N/A</c:v>
                </c:pt>
                <c:pt idx="7697">
                  <c:v>#N/A</c:v>
                </c:pt>
                <c:pt idx="7698">
                  <c:v>#N/A</c:v>
                </c:pt>
                <c:pt idx="7699">
                  <c:v>#N/A</c:v>
                </c:pt>
                <c:pt idx="7700">
                  <c:v>#N/A</c:v>
                </c:pt>
                <c:pt idx="7701">
                  <c:v>#N/A</c:v>
                </c:pt>
                <c:pt idx="7702">
                  <c:v>#N/A</c:v>
                </c:pt>
                <c:pt idx="7703">
                  <c:v>#N/A</c:v>
                </c:pt>
                <c:pt idx="7704">
                  <c:v>#N/A</c:v>
                </c:pt>
                <c:pt idx="7705">
                  <c:v>#N/A</c:v>
                </c:pt>
                <c:pt idx="7706">
                  <c:v>#N/A</c:v>
                </c:pt>
                <c:pt idx="7707">
                  <c:v>#N/A</c:v>
                </c:pt>
                <c:pt idx="7708">
                  <c:v>#N/A</c:v>
                </c:pt>
                <c:pt idx="7709">
                  <c:v>#N/A</c:v>
                </c:pt>
                <c:pt idx="7710">
                  <c:v>#N/A</c:v>
                </c:pt>
                <c:pt idx="7711">
                  <c:v>#N/A</c:v>
                </c:pt>
                <c:pt idx="7712">
                  <c:v>#N/A</c:v>
                </c:pt>
                <c:pt idx="7713">
                  <c:v>#N/A</c:v>
                </c:pt>
                <c:pt idx="7714">
                  <c:v>#N/A</c:v>
                </c:pt>
                <c:pt idx="7715">
                  <c:v>#N/A</c:v>
                </c:pt>
                <c:pt idx="7716">
                  <c:v>#N/A</c:v>
                </c:pt>
                <c:pt idx="7717">
                  <c:v>#N/A</c:v>
                </c:pt>
                <c:pt idx="7718">
                  <c:v>#N/A</c:v>
                </c:pt>
                <c:pt idx="7719">
                  <c:v>#N/A</c:v>
                </c:pt>
                <c:pt idx="7720">
                  <c:v>#N/A</c:v>
                </c:pt>
                <c:pt idx="7721">
                  <c:v>#N/A</c:v>
                </c:pt>
                <c:pt idx="7722">
                  <c:v>#N/A</c:v>
                </c:pt>
                <c:pt idx="7723">
                  <c:v>#N/A</c:v>
                </c:pt>
                <c:pt idx="7724">
                  <c:v>#N/A</c:v>
                </c:pt>
                <c:pt idx="7725">
                  <c:v>#N/A</c:v>
                </c:pt>
                <c:pt idx="7726">
                  <c:v>#N/A</c:v>
                </c:pt>
                <c:pt idx="7727">
                  <c:v>#N/A</c:v>
                </c:pt>
                <c:pt idx="7728">
                  <c:v>#N/A</c:v>
                </c:pt>
                <c:pt idx="7729">
                  <c:v>#N/A</c:v>
                </c:pt>
                <c:pt idx="7730">
                  <c:v>#N/A</c:v>
                </c:pt>
                <c:pt idx="7731">
                  <c:v>#N/A</c:v>
                </c:pt>
                <c:pt idx="7732">
                  <c:v>#N/A</c:v>
                </c:pt>
                <c:pt idx="7733">
                  <c:v>#N/A</c:v>
                </c:pt>
                <c:pt idx="7734">
                  <c:v>#N/A</c:v>
                </c:pt>
                <c:pt idx="7735">
                  <c:v>#N/A</c:v>
                </c:pt>
                <c:pt idx="7736">
                  <c:v>#N/A</c:v>
                </c:pt>
                <c:pt idx="7737">
                  <c:v>#N/A</c:v>
                </c:pt>
                <c:pt idx="7738">
                  <c:v>#N/A</c:v>
                </c:pt>
                <c:pt idx="7739">
                  <c:v>#N/A</c:v>
                </c:pt>
                <c:pt idx="7740">
                  <c:v>#N/A</c:v>
                </c:pt>
                <c:pt idx="7741">
                  <c:v>#N/A</c:v>
                </c:pt>
                <c:pt idx="7742">
                  <c:v>#N/A</c:v>
                </c:pt>
                <c:pt idx="7743">
                  <c:v>#N/A</c:v>
                </c:pt>
                <c:pt idx="7744">
                  <c:v>#N/A</c:v>
                </c:pt>
                <c:pt idx="7745">
                  <c:v>#N/A</c:v>
                </c:pt>
                <c:pt idx="7746">
                  <c:v>#N/A</c:v>
                </c:pt>
                <c:pt idx="7747">
                  <c:v>#N/A</c:v>
                </c:pt>
                <c:pt idx="7748">
                  <c:v>#N/A</c:v>
                </c:pt>
                <c:pt idx="7749">
                  <c:v>#N/A</c:v>
                </c:pt>
                <c:pt idx="7750">
                  <c:v>#N/A</c:v>
                </c:pt>
                <c:pt idx="7751">
                  <c:v>#N/A</c:v>
                </c:pt>
                <c:pt idx="7752">
                  <c:v>#N/A</c:v>
                </c:pt>
                <c:pt idx="7753">
                  <c:v>#N/A</c:v>
                </c:pt>
                <c:pt idx="7754">
                  <c:v>#N/A</c:v>
                </c:pt>
                <c:pt idx="7755">
                  <c:v>#N/A</c:v>
                </c:pt>
                <c:pt idx="7756">
                  <c:v>#N/A</c:v>
                </c:pt>
                <c:pt idx="7757">
                  <c:v>#N/A</c:v>
                </c:pt>
                <c:pt idx="7758">
                  <c:v>#N/A</c:v>
                </c:pt>
                <c:pt idx="7759">
                  <c:v>#N/A</c:v>
                </c:pt>
                <c:pt idx="7760">
                  <c:v>#N/A</c:v>
                </c:pt>
                <c:pt idx="7761">
                  <c:v>#N/A</c:v>
                </c:pt>
                <c:pt idx="7762">
                  <c:v>#N/A</c:v>
                </c:pt>
                <c:pt idx="7763">
                  <c:v>#N/A</c:v>
                </c:pt>
                <c:pt idx="7764">
                  <c:v>#N/A</c:v>
                </c:pt>
                <c:pt idx="7765">
                  <c:v>#N/A</c:v>
                </c:pt>
                <c:pt idx="7766">
                  <c:v>#N/A</c:v>
                </c:pt>
                <c:pt idx="7767">
                  <c:v>#N/A</c:v>
                </c:pt>
                <c:pt idx="7768">
                  <c:v>#N/A</c:v>
                </c:pt>
                <c:pt idx="7769">
                  <c:v>#N/A</c:v>
                </c:pt>
                <c:pt idx="7770">
                  <c:v>#N/A</c:v>
                </c:pt>
                <c:pt idx="7771">
                  <c:v>#N/A</c:v>
                </c:pt>
                <c:pt idx="7772">
                  <c:v>#N/A</c:v>
                </c:pt>
                <c:pt idx="7773">
                  <c:v>#N/A</c:v>
                </c:pt>
                <c:pt idx="7774">
                  <c:v>#N/A</c:v>
                </c:pt>
                <c:pt idx="7775">
                  <c:v>#N/A</c:v>
                </c:pt>
                <c:pt idx="7776">
                  <c:v>#N/A</c:v>
                </c:pt>
                <c:pt idx="7777">
                  <c:v>#N/A</c:v>
                </c:pt>
                <c:pt idx="7778">
                  <c:v>#N/A</c:v>
                </c:pt>
                <c:pt idx="7779">
                  <c:v>#N/A</c:v>
                </c:pt>
                <c:pt idx="7780">
                  <c:v>#N/A</c:v>
                </c:pt>
                <c:pt idx="7781">
                  <c:v>#N/A</c:v>
                </c:pt>
                <c:pt idx="7782">
                  <c:v>#N/A</c:v>
                </c:pt>
                <c:pt idx="7783">
                  <c:v>#N/A</c:v>
                </c:pt>
                <c:pt idx="7784">
                  <c:v>#N/A</c:v>
                </c:pt>
                <c:pt idx="7785">
                  <c:v>#N/A</c:v>
                </c:pt>
                <c:pt idx="7786">
                  <c:v>#N/A</c:v>
                </c:pt>
                <c:pt idx="7787">
                  <c:v>#N/A</c:v>
                </c:pt>
                <c:pt idx="7788">
                  <c:v>#N/A</c:v>
                </c:pt>
                <c:pt idx="7789">
                  <c:v>#N/A</c:v>
                </c:pt>
                <c:pt idx="7790">
                  <c:v>#N/A</c:v>
                </c:pt>
                <c:pt idx="7791">
                  <c:v>#N/A</c:v>
                </c:pt>
                <c:pt idx="7792">
                  <c:v>#N/A</c:v>
                </c:pt>
                <c:pt idx="7793">
                  <c:v>#N/A</c:v>
                </c:pt>
                <c:pt idx="7794">
                  <c:v>#N/A</c:v>
                </c:pt>
                <c:pt idx="7795">
                  <c:v>#N/A</c:v>
                </c:pt>
                <c:pt idx="7796">
                  <c:v>#N/A</c:v>
                </c:pt>
                <c:pt idx="7797">
                  <c:v>#N/A</c:v>
                </c:pt>
                <c:pt idx="7798">
                  <c:v>#N/A</c:v>
                </c:pt>
                <c:pt idx="7799">
                  <c:v>#N/A</c:v>
                </c:pt>
                <c:pt idx="7800">
                  <c:v>#N/A</c:v>
                </c:pt>
                <c:pt idx="7801">
                  <c:v>#N/A</c:v>
                </c:pt>
                <c:pt idx="7802">
                  <c:v>#N/A</c:v>
                </c:pt>
                <c:pt idx="7803">
                  <c:v>#N/A</c:v>
                </c:pt>
                <c:pt idx="7804">
                  <c:v>#N/A</c:v>
                </c:pt>
                <c:pt idx="7805">
                  <c:v>#N/A</c:v>
                </c:pt>
                <c:pt idx="7806">
                  <c:v>#N/A</c:v>
                </c:pt>
                <c:pt idx="7807">
                  <c:v>#N/A</c:v>
                </c:pt>
                <c:pt idx="7808">
                  <c:v>#N/A</c:v>
                </c:pt>
                <c:pt idx="7809">
                  <c:v>#N/A</c:v>
                </c:pt>
                <c:pt idx="7810">
                  <c:v>#N/A</c:v>
                </c:pt>
                <c:pt idx="7811">
                  <c:v>#N/A</c:v>
                </c:pt>
                <c:pt idx="7812">
                  <c:v>#N/A</c:v>
                </c:pt>
                <c:pt idx="7813">
                  <c:v>#N/A</c:v>
                </c:pt>
                <c:pt idx="7814">
                  <c:v>#N/A</c:v>
                </c:pt>
                <c:pt idx="7815">
                  <c:v>#N/A</c:v>
                </c:pt>
                <c:pt idx="7816">
                  <c:v>#N/A</c:v>
                </c:pt>
                <c:pt idx="7817">
                  <c:v>#N/A</c:v>
                </c:pt>
                <c:pt idx="7818">
                  <c:v>#N/A</c:v>
                </c:pt>
                <c:pt idx="7819">
                  <c:v>#N/A</c:v>
                </c:pt>
                <c:pt idx="7820">
                  <c:v>#N/A</c:v>
                </c:pt>
                <c:pt idx="7821">
                  <c:v>#N/A</c:v>
                </c:pt>
                <c:pt idx="7822">
                  <c:v>#N/A</c:v>
                </c:pt>
                <c:pt idx="7823">
                  <c:v>#N/A</c:v>
                </c:pt>
                <c:pt idx="7824">
                  <c:v>#N/A</c:v>
                </c:pt>
                <c:pt idx="7825">
                  <c:v>#N/A</c:v>
                </c:pt>
                <c:pt idx="7826">
                  <c:v>#N/A</c:v>
                </c:pt>
                <c:pt idx="7827">
                  <c:v>#N/A</c:v>
                </c:pt>
                <c:pt idx="7828">
                  <c:v>#N/A</c:v>
                </c:pt>
                <c:pt idx="7829">
                  <c:v>#N/A</c:v>
                </c:pt>
                <c:pt idx="7830">
                  <c:v>#N/A</c:v>
                </c:pt>
                <c:pt idx="7831">
                  <c:v>#N/A</c:v>
                </c:pt>
                <c:pt idx="7832">
                  <c:v>#N/A</c:v>
                </c:pt>
                <c:pt idx="7833">
                  <c:v>#N/A</c:v>
                </c:pt>
                <c:pt idx="7834">
                  <c:v>#N/A</c:v>
                </c:pt>
                <c:pt idx="7835">
                  <c:v>#N/A</c:v>
                </c:pt>
                <c:pt idx="7836">
                  <c:v>#N/A</c:v>
                </c:pt>
                <c:pt idx="7837">
                  <c:v>#N/A</c:v>
                </c:pt>
                <c:pt idx="7838">
                  <c:v>#N/A</c:v>
                </c:pt>
                <c:pt idx="7839">
                  <c:v>#N/A</c:v>
                </c:pt>
                <c:pt idx="7840">
                  <c:v>#N/A</c:v>
                </c:pt>
                <c:pt idx="7841">
                  <c:v>#N/A</c:v>
                </c:pt>
                <c:pt idx="7842">
                  <c:v>#N/A</c:v>
                </c:pt>
                <c:pt idx="7843">
                  <c:v>#N/A</c:v>
                </c:pt>
                <c:pt idx="7844">
                  <c:v>#N/A</c:v>
                </c:pt>
                <c:pt idx="7845">
                  <c:v>#N/A</c:v>
                </c:pt>
                <c:pt idx="7846">
                  <c:v>#N/A</c:v>
                </c:pt>
                <c:pt idx="7847">
                  <c:v>#N/A</c:v>
                </c:pt>
                <c:pt idx="7848">
                  <c:v>#N/A</c:v>
                </c:pt>
                <c:pt idx="7849">
                  <c:v>#N/A</c:v>
                </c:pt>
                <c:pt idx="7850">
                  <c:v>#N/A</c:v>
                </c:pt>
                <c:pt idx="7851">
                  <c:v>#N/A</c:v>
                </c:pt>
                <c:pt idx="7852">
                  <c:v>#N/A</c:v>
                </c:pt>
                <c:pt idx="7853">
                  <c:v>#N/A</c:v>
                </c:pt>
                <c:pt idx="7854">
                  <c:v>#N/A</c:v>
                </c:pt>
                <c:pt idx="7855">
                  <c:v>#N/A</c:v>
                </c:pt>
                <c:pt idx="7856">
                  <c:v>#N/A</c:v>
                </c:pt>
                <c:pt idx="7857">
                  <c:v>#N/A</c:v>
                </c:pt>
                <c:pt idx="7858">
                  <c:v>#N/A</c:v>
                </c:pt>
                <c:pt idx="7859">
                  <c:v>#N/A</c:v>
                </c:pt>
                <c:pt idx="7860">
                  <c:v>#N/A</c:v>
                </c:pt>
                <c:pt idx="7861">
                  <c:v>#N/A</c:v>
                </c:pt>
                <c:pt idx="7862">
                  <c:v>#N/A</c:v>
                </c:pt>
                <c:pt idx="7863">
                  <c:v>#N/A</c:v>
                </c:pt>
                <c:pt idx="7864">
                  <c:v>#N/A</c:v>
                </c:pt>
                <c:pt idx="7865">
                  <c:v>#N/A</c:v>
                </c:pt>
                <c:pt idx="7866">
                  <c:v>#N/A</c:v>
                </c:pt>
                <c:pt idx="7867">
                  <c:v>#N/A</c:v>
                </c:pt>
                <c:pt idx="7868">
                  <c:v>#N/A</c:v>
                </c:pt>
                <c:pt idx="7869">
                  <c:v>#N/A</c:v>
                </c:pt>
                <c:pt idx="7870">
                  <c:v>#N/A</c:v>
                </c:pt>
                <c:pt idx="7871">
                  <c:v>#N/A</c:v>
                </c:pt>
                <c:pt idx="7872">
                  <c:v>#N/A</c:v>
                </c:pt>
                <c:pt idx="7873">
                  <c:v>#N/A</c:v>
                </c:pt>
                <c:pt idx="7874">
                  <c:v>#N/A</c:v>
                </c:pt>
                <c:pt idx="7875">
                  <c:v>#N/A</c:v>
                </c:pt>
                <c:pt idx="7876">
                  <c:v>#N/A</c:v>
                </c:pt>
                <c:pt idx="7877">
                  <c:v>#N/A</c:v>
                </c:pt>
                <c:pt idx="7878">
                  <c:v>#N/A</c:v>
                </c:pt>
                <c:pt idx="7879">
                  <c:v>#N/A</c:v>
                </c:pt>
                <c:pt idx="7880">
                  <c:v>#N/A</c:v>
                </c:pt>
                <c:pt idx="7881">
                  <c:v>#N/A</c:v>
                </c:pt>
                <c:pt idx="7882">
                  <c:v>#N/A</c:v>
                </c:pt>
                <c:pt idx="7883">
                  <c:v>#N/A</c:v>
                </c:pt>
                <c:pt idx="7884">
                  <c:v>#N/A</c:v>
                </c:pt>
                <c:pt idx="7885">
                  <c:v>#N/A</c:v>
                </c:pt>
                <c:pt idx="7886">
                  <c:v>#N/A</c:v>
                </c:pt>
                <c:pt idx="7887">
                  <c:v>#N/A</c:v>
                </c:pt>
                <c:pt idx="7888">
                  <c:v>#N/A</c:v>
                </c:pt>
                <c:pt idx="7889">
                  <c:v>#N/A</c:v>
                </c:pt>
                <c:pt idx="7890">
                  <c:v>#N/A</c:v>
                </c:pt>
                <c:pt idx="7891">
                  <c:v>#N/A</c:v>
                </c:pt>
                <c:pt idx="7892">
                  <c:v>#N/A</c:v>
                </c:pt>
                <c:pt idx="7893">
                  <c:v>#N/A</c:v>
                </c:pt>
                <c:pt idx="7894">
                  <c:v>#N/A</c:v>
                </c:pt>
                <c:pt idx="7895">
                  <c:v>#N/A</c:v>
                </c:pt>
                <c:pt idx="7896">
                  <c:v>#N/A</c:v>
                </c:pt>
                <c:pt idx="7897">
                  <c:v>#N/A</c:v>
                </c:pt>
                <c:pt idx="7898">
                  <c:v>#N/A</c:v>
                </c:pt>
                <c:pt idx="7899">
                  <c:v>#N/A</c:v>
                </c:pt>
                <c:pt idx="7900">
                  <c:v>#N/A</c:v>
                </c:pt>
                <c:pt idx="7901">
                  <c:v>#N/A</c:v>
                </c:pt>
                <c:pt idx="7902">
                  <c:v>#N/A</c:v>
                </c:pt>
                <c:pt idx="7903">
                  <c:v>#N/A</c:v>
                </c:pt>
                <c:pt idx="7904">
                  <c:v>#N/A</c:v>
                </c:pt>
                <c:pt idx="7905">
                  <c:v>#N/A</c:v>
                </c:pt>
                <c:pt idx="7906">
                  <c:v>#N/A</c:v>
                </c:pt>
                <c:pt idx="7907">
                  <c:v>#N/A</c:v>
                </c:pt>
                <c:pt idx="7908">
                  <c:v>#N/A</c:v>
                </c:pt>
                <c:pt idx="7909">
                  <c:v>#N/A</c:v>
                </c:pt>
                <c:pt idx="7910">
                  <c:v>#N/A</c:v>
                </c:pt>
                <c:pt idx="7911">
                  <c:v>#N/A</c:v>
                </c:pt>
                <c:pt idx="7912">
                  <c:v>#N/A</c:v>
                </c:pt>
                <c:pt idx="7913">
                  <c:v>#N/A</c:v>
                </c:pt>
                <c:pt idx="7914">
                  <c:v>#N/A</c:v>
                </c:pt>
                <c:pt idx="7915">
                  <c:v>#N/A</c:v>
                </c:pt>
                <c:pt idx="7916">
                  <c:v>#N/A</c:v>
                </c:pt>
                <c:pt idx="7917">
                  <c:v>#N/A</c:v>
                </c:pt>
                <c:pt idx="7918">
                  <c:v>#N/A</c:v>
                </c:pt>
                <c:pt idx="7919">
                  <c:v>#N/A</c:v>
                </c:pt>
                <c:pt idx="7920">
                  <c:v>#N/A</c:v>
                </c:pt>
                <c:pt idx="7921">
                  <c:v>#N/A</c:v>
                </c:pt>
                <c:pt idx="7922">
                  <c:v>#N/A</c:v>
                </c:pt>
                <c:pt idx="7923">
                  <c:v>#N/A</c:v>
                </c:pt>
                <c:pt idx="7924">
                  <c:v>#N/A</c:v>
                </c:pt>
                <c:pt idx="7925">
                  <c:v>#N/A</c:v>
                </c:pt>
                <c:pt idx="7926">
                  <c:v>#N/A</c:v>
                </c:pt>
                <c:pt idx="7927">
                  <c:v>#N/A</c:v>
                </c:pt>
                <c:pt idx="7928">
                  <c:v>#N/A</c:v>
                </c:pt>
                <c:pt idx="7929">
                  <c:v>#N/A</c:v>
                </c:pt>
                <c:pt idx="7930">
                  <c:v>#N/A</c:v>
                </c:pt>
                <c:pt idx="7931">
                  <c:v>#N/A</c:v>
                </c:pt>
                <c:pt idx="7932">
                  <c:v>#N/A</c:v>
                </c:pt>
                <c:pt idx="7933">
                  <c:v>#N/A</c:v>
                </c:pt>
                <c:pt idx="7934">
                  <c:v>#N/A</c:v>
                </c:pt>
                <c:pt idx="7935">
                  <c:v>#N/A</c:v>
                </c:pt>
                <c:pt idx="7936">
                  <c:v>#N/A</c:v>
                </c:pt>
                <c:pt idx="7937">
                  <c:v>#N/A</c:v>
                </c:pt>
                <c:pt idx="7938">
                  <c:v>#N/A</c:v>
                </c:pt>
                <c:pt idx="7939">
                  <c:v>#N/A</c:v>
                </c:pt>
                <c:pt idx="7940">
                  <c:v>#N/A</c:v>
                </c:pt>
                <c:pt idx="7941">
                  <c:v>#N/A</c:v>
                </c:pt>
                <c:pt idx="7942">
                  <c:v>#N/A</c:v>
                </c:pt>
                <c:pt idx="7943">
                  <c:v>#N/A</c:v>
                </c:pt>
                <c:pt idx="7944">
                  <c:v>#N/A</c:v>
                </c:pt>
                <c:pt idx="7945">
                  <c:v>#N/A</c:v>
                </c:pt>
                <c:pt idx="7946">
                  <c:v>#N/A</c:v>
                </c:pt>
                <c:pt idx="7947">
                  <c:v>#N/A</c:v>
                </c:pt>
                <c:pt idx="7948">
                  <c:v>#N/A</c:v>
                </c:pt>
                <c:pt idx="7949">
                  <c:v>#N/A</c:v>
                </c:pt>
                <c:pt idx="7950">
                  <c:v>#N/A</c:v>
                </c:pt>
                <c:pt idx="7951">
                  <c:v>#N/A</c:v>
                </c:pt>
                <c:pt idx="7952">
                  <c:v>#N/A</c:v>
                </c:pt>
                <c:pt idx="7953">
                  <c:v>#N/A</c:v>
                </c:pt>
                <c:pt idx="7954">
                  <c:v>#N/A</c:v>
                </c:pt>
                <c:pt idx="7955">
                  <c:v>#N/A</c:v>
                </c:pt>
                <c:pt idx="7956">
                  <c:v>#N/A</c:v>
                </c:pt>
                <c:pt idx="7957">
                  <c:v>#N/A</c:v>
                </c:pt>
                <c:pt idx="7958">
                  <c:v>#N/A</c:v>
                </c:pt>
                <c:pt idx="7959">
                  <c:v>#N/A</c:v>
                </c:pt>
                <c:pt idx="7960">
                  <c:v>#N/A</c:v>
                </c:pt>
                <c:pt idx="7961">
                  <c:v>#N/A</c:v>
                </c:pt>
                <c:pt idx="7962">
                  <c:v>#N/A</c:v>
                </c:pt>
                <c:pt idx="7963">
                  <c:v>#N/A</c:v>
                </c:pt>
                <c:pt idx="7964">
                  <c:v>#N/A</c:v>
                </c:pt>
                <c:pt idx="7965">
                  <c:v>#N/A</c:v>
                </c:pt>
                <c:pt idx="7966">
                  <c:v>#N/A</c:v>
                </c:pt>
                <c:pt idx="7967">
                  <c:v>#N/A</c:v>
                </c:pt>
                <c:pt idx="7968">
                  <c:v>#N/A</c:v>
                </c:pt>
                <c:pt idx="7969">
                  <c:v>#N/A</c:v>
                </c:pt>
                <c:pt idx="7970">
                  <c:v>#N/A</c:v>
                </c:pt>
                <c:pt idx="7971">
                  <c:v>#N/A</c:v>
                </c:pt>
                <c:pt idx="7972">
                  <c:v>#N/A</c:v>
                </c:pt>
                <c:pt idx="7973">
                  <c:v>#N/A</c:v>
                </c:pt>
                <c:pt idx="7974">
                  <c:v>#N/A</c:v>
                </c:pt>
                <c:pt idx="7975">
                  <c:v>#N/A</c:v>
                </c:pt>
                <c:pt idx="7976">
                  <c:v>#N/A</c:v>
                </c:pt>
                <c:pt idx="7977">
                  <c:v>#N/A</c:v>
                </c:pt>
                <c:pt idx="7978">
                  <c:v>#N/A</c:v>
                </c:pt>
                <c:pt idx="7979">
                  <c:v>#N/A</c:v>
                </c:pt>
                <c:pt idx="7980">
                  <c:v>#N/A</c:v>
                </c:pt>
                <c:pt idx="7981">
                  <c:v>#N/A</c:v>
                </c:pt>
                <c:pt idx="7982">
                  <c:v>#N/A</c:v>
                </c:pt>
                <c:pt idx="7983">
                  <c:v>#N/A</c:v>
                </c:pt>
                <c:pt idx="7984">
                  <c:v>#N/A</c:v>
                </c:pt>
                <c:pt idx="7985">
                  <c:v>#N/A</c:v>
                </c:pt>
                <c:pt idx="7986">
                  <c:v>#N/A</c:v>
                </c:pt>
                <c:pt idx="7987">
                  <c:v>#N/A</c:v>
                </c:pt>
                <c:pt idx="7988">
                  <c:v>#N/A</c:v>
                </c:pt>
                <c:pt idx="7989">
                  <c:v>#N/A</c:v>
                </c:pt>
                <c:pt idx="7990">
                  <c:v>#N/A</c:v>
                </c:pt>
                <c:pt idx="7991">
                  <c:v>#N/A</c:v>
                </c:pt>
                <c:pt idx="7992">
                  <c:v>#N/A</c:v>
                </c:pt>
                <c:pt idx="7993">
                  <c:v>#N/A</c:v>
                </c:pt>
                <c:pt idx="7994">
                  <c:v>#N/A</c:v>
                </c:pt>
                <c:pt idx="7995">
                  <c:v>#N/A</c:v>
                </c:pt>
                <c:pt idx="7996">
                  <c:v>#N/A</c:v>
                </c:pt>
                <c:pt idx="7997">
                  <c:v>#N/A</c:v>
                </c:pt>
                <c:pt idx="7998">
                  <c:v>#N/A</c:v>
                </c:pt>
                <c:pt idx="7999">
                  <c:v>#N/A</c:v>
                </c:pt>
                <c:pt idx="8000">
                  <c:v>#N/A</c:v>
                </c:pt>
                <c:pt idx="8001">
                  <c:v>#N/A</c:v>
                </c:pt>
                <c:pt idx="8002">
                  <c:v>#N/A</c:v>
                </c:pt>
                <c:pt idx="8003">
                  <c:v>#N/A</c:v>
                </c:pt>
                <c:pt idx="8004">
                  <c:v>#N/A</c:v>
                </c:pt>
                <c:pt idx="8005">
                  <c:v>#N/A</c:v>
                </c:pt>
                <c:pt idx="8006">
                  <c:v>#N/A</c:v>
                </c:pt>
                <c:pt idx="8007">
                  <c:v>#N/A</c:v>
                </c:pt>
                <c:pt idx="8008">
                  <c:v>#N/A</c:v>
                </c:pt>
                <c:pt idx="8009">
                  <c:v>#N/A</c:v>
                </c:pt>
                <c:pt idx="8010">
                  <c:v>#N/A</c:v>
                </c:pt>
                <c:pt idx="8011">
                  <c:v>#N/A</c:v>
                </c:pt>
                <c:pt idx="8012">
                  <c:v>#N/A</c:v>
                </c:pt>
                <c:pt idx="8013">
                  <c:v>#N/A</c:v>
                </c:pt>
                <c:pt idx="8014">
                  <c:v>#N/A</c:v>
                </c:pt>
                <c:pt idx="8015">
                  <c:v>#N/A</c:v>
                </c:pt>
                <c:pt idx="8016">
                  <c:v>#N/A</c:v>
                </c:pt>
                <c:pt idx="8017">
                  <c:v>#N/A</c:v>
                </c:pt>
                <c:pt idx="8018">
                  <c:v>#N/A</c:v>
                </c:pt>
                <c:pt idx="8019">
                  <c:v>#N/A</c:v>
                </c:pt>
                <c:pt idx="8020">
                  <c:v>#N/A</c:v>
                </c:pt>
                <c:pt idx="8021">
                  <c:v>#N/A</c:v>
                </c:pt>
                <c:pt idx="8022">
                  <c:v>#N/A</c:v>
                </c:pt>
                <c:pt idx="8023">
                  <c:v>#N/A</c:v>
                </c:pt>
                <c:pt idx="8024">
                  <c:v>#N/A</c:v>
                </c:pt>
                <c:pt idx="8025">
                  <c:v>#N/A</c:v>
                </c:pt>
                <c:pt idx="8026">
                  <c:v>#N/A</c:v>
                </c:pt>
                <c:pt idx="8027">
                  <c:v>#N/A</c:v>
                </c:pt>
                <c:pt idx="8028">
                  <c:v>#N/A</c:v>
                </c:pt>
                <c:pt idx="8029">
                  <c:v>#N/A</c:v>
                </c:pt>
                <c:pt idx="8030">
                  <c:v>#N/A</c:v>
                </c:pt>
                <c:pt idx="8031">
                  <c:v>#N/A</c:v>
                </c:pt>
                <c:pt idx="8032">
                  <c:v>#N/A</c:v>
                </c:pt>
                <c:pt idx="8033">
                  <c:v>#N/A</c:v>
                </c:pt>
                <c:pt idx="8034">
                  <c:v>#N/A</c:v>
                </c:pt>
                <c:pt idx="8035">
                  <c:v>#N/A</c:v>
                </c:pt>
                <c:pt idx="8036">
                  <c:v>#N/A</c:v>
                </c:pt>
                <c:pt idx="8037">
                  <c:v>#N/A</c:v>
                </c:pt>
                <c:pt idx="8038">
                  <c:v>#N/A</c:v>
                </c:pt>
                <c:pt idx="8039">
                  <c:v>#N/A</c:v>
                </c:pt>
                <c:pt idx="8040">
                  <c:v>#N/A</c:v>
                </c:pt>
                <c:pt idx="8041">
                  <c:v>#N/A</c:v>
                </c:pt>
                <c:pt idx="8042">
                  <c:v>#N/A</c:v>
                </c:pt>
                <c:pt idx="8043">
                  <c:v>#N/A</c:v>
                </c:pt>
                <c:pt idx="8044">
                  <c:v>#N/A</c:v>
                </c:pt>
                <c:pt idx="8045">
                  <c:v>#N/A</c:v>
                </c:pt>
                <c:pt idx="8046">
                  <c:v>#N/A</c:v>
                </c:pt>
                <c:pt idx="8047">
                  <c:v>#N/A</c:v>
                </c:pt>
                <c:pt idx="8048">
                  <c:v>#N/A</c:v>
                </c:pt>
                <c:pt idx="8049">
                  <c:v>#N/A</c:v>
                </c:pt>
                <c:pt idx="8050">
                  <c:v>#N/A</c:v>
                </c:pt>
                <c:pt idx="8051">
                  <c:v>#N/A</c:v>
                </c:pt>
                <c:pt idx="8052">
                  <c:v>#N/A</c:v>
                </c:pt>
                <c:pt idx="8053">
                  <c:v>#N/A</c:v>
                </c:pt>
                <c:pt idx="8054">
                  <c:v>#N/A</c:v>
                </c:pt>
                <c:pt idx="8055">
                  <c:v>#N/A</c:v>
                </c:pt>
                <c:pt idx="8056">
                  <c:v>#N/A</c:v>
                </c:pt>
                <c:pt idx="8057">
                  <c:v>#N/A</c:v>
                </c:pt>
                <c:pt idx="8058">
                  <c:v>#N/A</c:v>
                </c:pt>
                <c:pt idx="8059">
                  <c:v>#N/A</c:v>
                </c:pt>
                <c:pt idx="8060">
                  <c:v>#N/A</c:v>
                </c:pt>
                <c:pt idx="8061">
                  <c:v>#N/A</c:v>
                </c:pt>
                <c:pt idx="8062">
                  <c:v>#N/A</c:v>
                </c:pt>
                <c:pt idx="8063">
                  <c:v>#N/A</c:v>
                </c:pt>
                <c:pt idx="8064">
                  <c:v>#N/A</c:v>
                </c:pt>
                <c:pt idx="8065">
                  <c:v>#N/A</c:v>
                </c:pt>
                <c:pt idx="8066">
                  <c:v>#N/A</c:v>
                </c:pt>
                <c:pt idx="8067">
                  <c:v>#N/A</c:v>
                </c:pt>
                <c:pt idx="8068">
                  <c:v>#N/A</c:v>
                </c:pt>
                <c:pt idx="8069">
                  <c:v>#N/A</c:v>
                </c:pt>
                <c:pt idx="8070">
                  <c:v>#N/A</c:v>
                </c:pt>
                <c:pt idx="8071">
                  <c:v>#N/A</c:v>
                </c:pt>
                <c:pt idx="8072">
                  <c:v>#N/A</c:v>
                </c:pt>
                <c:pt idx="8073">
                  <c:v>#N/A</c:v>
                </c:pt>
                <c:pt idx="8074">
                  <c:v>#N/A</c:v>
                </c:pt>
                <c:pt idx="8075">
                  <c:v>#N/A</c:v>
                </c:pt>
                <c:pt idx="8076">
                  <c:v>#N/A</c:v>
                </c:pt>
                <c:pt idx="8077">
                  <c:v>#N/A</c:v>
                </c:pt>
                <c:pt idx="8078">
                  <c:v>#N/A</c:v>
                </c:pt>
                <c:pt idx="8079">
                  <c:v>#N/A</c:v>
                </c:pt>
                <c:pt idx="8080">
                  <c:v>#N/A</c:v>
                </c:pt>
                <c:pt idx="8081">
                  <c:v>#N/A</c:v>
                </c:pt>
                <c:pt idx="8082">
                  <c:v>#N/A</c:v>
                </c:pt>
                <c:pt idx="8083">
                  <c:v>#N/A</c:v>
                </c:pt>
                <c:pt idx="8084">
                  <c:v>#N/A</c:v>
                </c:pt>
                <c:pt idx="8085">
                  <c:v>#N/A</c:v>
                </c:pt>
                <c:pt idx="8086">
                  <c:v>#N/A</c:v>
                </c:pt>
                <c:pt idx="8087">
                  <c:v>#N/A</c:v>
                </c:pt>
                <c:pt idx="8088">
                  <c:v>#N/A</c:v>
                </c:pt>
                <c:pt idx="8089">
                  <c:v>#N/A</c:v>
                </c:pt>
                <c:pt idx="8090">
                  <c:v>#N/A</c:v>
                </c:pt>
                <c:pt idx="8091">
                  <c:v>#N/A</c:v>
                </c:pt>
                <c:pt idx="8092">
                  <c:v>#N/A</c:v>
                </c:pt>
                <c:pt idx="8093">
                  <c:v>#N/A</c:v>
                </c:pt>
                <c:pt idx="8094">
                  <c:v>#N/A</c:v>
                </c:pt>
                <c:pt idx="8095">
                  <c:v>#N/A</c:v>
                </c:pt>
                <c:pt idx="8096">
                  <c:v>#N/A</c:v>
                </c:pt>
                <c:pt idx="8097">
                  <c:v>#N/A</c:v>
                </c:pt>
                <c:pt idx="8098">
                  <c:v>#N/A</c:v>
                </c:pt>
                <c:pt idx="8099">
                  <c:v>#N/A</c:v>
                </c:pt>
                <c:pt idx="8100">
                  <c:v>#N/A</c:v>
                </c:pt>
                <c:pt idx="8101">
                  <c:v>#N/A</c:v>
                </c:pt>
                <c:pt idx="8102">
                  <c:v>#N/A</c:v>
                </c:pt>
                <c:pt idx="8103">
                  <c:v>#N/A</c:v>
                </c:pt>
                <c:pt idx="8104">
                  <c:v>#N/A</c:v>
                </c:pt>
                <c:pt idx="8105">
                  <c:v>#N/A</c:v>
                </c:pt>
                <c:pt idx="8106">
                  <c:v>#N/A</c:v>
                </c:pt>
                <c:pt idx="8107">
                  <c:v>#N/A</c:v>
                </c:pt>
                <c:pt idx="8108">
                  <c:v>#N/A</c:v>
                </c:pt>
                <c:pt idx="8109">
                  <c:v>#N/A</c:v>
                </c:pt>
                <c:pt idx="8110">
                  <c:v>#N/A</c:v>
                </c:pt>
                <c:pt idx="8111">
                  <c:v>#N/A</c:v>
                </c:pt>
                <c:pt idx="8112">
                  <c:v>#N/A</c:v>
                </c:pt>
                <c:pt idx="8113">
                  <c:v>#N/A</c:v>
                </c:pt>
                <c:pt idx="8114">
                  <c:v>#N/A</c:v>
                </c:pt>
                <c:pt idx="8115">
                  <c:v>#N/A</c:v>
                </c:pt>
                <c:pt idx="8116">
                  <c:v>#N/A</c:v>
                </c:pt>
                <c:pt idx="8117">
                  <c:v>#N/A</c:v>
                </c:pt>
                <c:pt idx="8118">
                  <c:v>#N/A</c:v>
                </c:pt>
                <c:pt idx="8119">
                  <c:v>#N/A</c:v>
                </c:pt>
                <c:pt idx="8120">
                  <c:v>#N/A</c:v>
                </c:pt>
                <c:pt idx="8121">
                  <c:v>#N/A</c:v>
                </c:pt>
                <c:pt idx="8122">
                  <c:v>#N/A</c:v>
                </c:pt>
                <c:pt idx="8123">
                  <c:v>#N/A</c:v>
                </c:pt>
                <c:pt idx="8124">
                  <c:v>#N/A</c:v>
                </c:pt>
                <c:pt idx="8125">
                  <c:v>#N/A</c:v>
                </c:pt>
                <c:pt idx="8126">
                  <c:v>#N/A</c:v>
                </c:pt>
                <c:pt idx="8127">
                  <c:v>#N/A</c:v>
                </c:pt>
                <c:pt idx="8128">
                  <c:v>#N/A</c:v>
                </c:pt>
                <c:pt idx="8129">
                  <c:v>#N/A</c:v>
                </c:pt>
                <c:pt idx="8130">
                  <c:v>#N/A</c:v>
                </c:pt>
                <c:pt idx="8131">
                  <c:v>#N/A</c:v>
                </c:pt>
                <c:pt idx="8132">
                  <c:v>#N/A</c:v>
                </c:pt>
                <c:pt idx="8133">
                  <c:v>#N/A</c:v>
                </c:pt>
                <c:pt idx="8134">
                  <c:v>#N/A</c:v>
                </c:pt>
                <c:pt idx="8135">
                  <c:v>#N/A</c:v>
                </c:pt>
                <c:pt idx="8136">
                  <c:v>#N/A</c:v>
                </c:pt>
                <c:pt idx="8137">
                  <c:v>#N/A</c:v>
                </c:pt>
                <c:pt idx="8138">
                  <c:v>#N/A</c:v>
                </c:pt>
                <c:pt idx="8139">
                  <c:v>#N/A</c:v>
                </c:pt>
                <c:pt idx="8140">
                  <c:v>#N/A</c:v>
                </c:pt>
                <c:pt idx="8141">
                  <c:v>#N/A</c:v>
                </c:pt>
                <c:pt idx="8142">
                  <c:v>#N/A</c:v>
                </c:pt>
                <c:pt idx="8143">
                  <c:v>#N/A</c:v>
                </c:pt>
                <c:pt idx="8144">
                  <c:v>#N/A</c:v>
                </c:pt>
                <c:pt idx="8145">
                  <c:v>#N/A</c:v>
                </c:pt>
                <c:pt idx="8146">
                  <c:v>#N/A</c:v>
                </c:pt>
                <c:pt idx="8147">
                  <c:v>#N/A</c:v>
                </c:pt>
                <c:pt idx="8148">
                  <c:v>#N/A</c:v>
                </c:pt>
                <c:pt idx="8149">
                  <c:v>#N/A</c:v>
                </c:pt>
                <c:pt idx="8150">
                  <c:v>#N/A</c:v>
                </c:pt>
                <c:pt idx="8151">
                  <c:v>#N/A</c:v>
                </c:pt>
                <c:pt idx="8152">
                  <c:v>#N/A</c:v>
                </c:pt>
                <c:pt idx="8153">
                  <c:v>#N/A</c:v>
                </c:pt>
                <c:pt idx="8154">
                  <c:v>#N/A</c:v>
                </c:pt>
                <c:pt idx="8155">
                  <c:v>#N/A</c:v>
                </c:pt>
                <c:pt idx="8156">
                  <c:v>#N/A</c:v>
                </c:pt>
                <c:pt idx="8157">
                  <c:v>#N/A</c:v>
                </c:pt>
                <c:pt idx="8158">
                  <c:v>#N/A</c:v>
                </c:pt>
                <c:pt idx="8159">
                  <c:v>#N/A</c:v>
                </c:pt>
                <c:pt idx="8160">
                  <c:v>#N/A</c:v>
                </c:pt>
                <c:pt idx="8161">
                  <c:v>#N/A</c:v>
                </c:pt>
                <c:pt idx="8162">
                  <c:v>#N/A</c:v>
                </c:pt>
                <c:pt idx="8163">
                  <c:v>#N/A</c:v>
                </c:pt>
                <c:pt idx="8164">
                  <c:v>#N/A</c:v>
                </c:pt>
                <c:pt idx="8165">
                  <c:v>#N/A</c:v>
                </c:pt>
                <c:pt idx="8166">
                  <c:v>#N/A</c:v>
                </c:pt>
                <c:pt idx="8167">
                  <c:v>#N/A</c:v>
                </c:pt>
                <c:pt idx="8168">
                  <c:v>#N/A</c:v>
                </c:pt>
                <c:pt idx="8169">
                  <c:v>#N/A</c:v>
                </c:pt>
                <c:pt idx="8170">
                  <c:v>#N/A</c:v>
                </c:pt>
                <c:pt idx="8171">
                  <c:v>#N/A</c:v>
                </c:pt>
                <c:pt idx="8172">
                  <c:v>#N/A</c:v>
                </c:pt>
                <c:pt idx="8173">
                  <c:v>#N/A</c:v>
                </c:pt>
                <c:pt idx="8174">
                  <c:v>#N/A</c:v>
                </c:pt>
                <c:pt idx="8175">
                  <c:v>#N/A</c:v>
                </c:pt>
                <c:pt idx="8176">
                  <c:v>#N/A</c:v>
                </c:pt>
                <c:pt idx="8177">
                  <c:v>#N/A</c:v>
                </c:pt>
                <c:pt idx="8178">
                  <c:v>#N/A</c:v>
                </c:pt>
                <c:pt idx="8179">
                  <c:v>#N/A</c:v>
                </c:pt>
                <c:pt idx="8180">
                  <c:v>#N/A</c:v>
                </c:pt>
                <c:pt idx="8181">
                  <c:v>#N/A</c:v>
                </c:pt>
                <c:pt idx="8182">
                  <c:v>#N/A</c:v>
                </c:pt>
                <c:pt idx="8183">
                  <c:v>#N/A</c:v>
                </c:pt>
                <c:pt idx="8184">
                  <c:v>#N/A</c:v>
                </c:pt>
                <c:pt idx="8185">
                  <c:v>#N/A</c:v>
                </c:pt>
                <c:pt idx="8186">
                  <c:v>#N/A</c:v>
                </c:pt>
                <c:pt idx="8187">
                  <c:v>#N/A</c:v>
                </c:pt>
                <c:pt idx="8188">
                  <c:v>#N/A</c:v>
                </c:pt>
                <c:pt idx="8189">
                  <c:v>#N/A</c:v>
                </c:pt>
                <c:pt idx="8190">
                  <c:v>#N/A</c:v>
                </c:pt>
                <c:pt idx="8191">
                  <c:v>#N/A</c:v>
                </c:pt>
                <c:pt idx="8192">
                  <c:v>#N/A</c:v>
                </c:pt>
                <c:pt idx="8193">
                  <c:v>#N/A</c:v>
                </c:pt>
                <c:pt idx="8194">
                  <c:v>#N/A</c:v>
                </c:pt>
                <c:pt idx="8195">
                  <c:v>#N/A</c:v>
                </c:pt>
                <c:pt idx="8196">
                  <c:v>#N/A</c:v>
                </c:pt>
                <c:pt idx="8197">
                  <c:v>#N/A</c:v>
                </c:pt>
                <c:pt idx="8198">
                  <c:v>#N/A</c:v>
                </c:pt>
                <c:pt idx="8199">
                  <c:v>#N/A</c:v>
                </c:pt>
                <c:pt idx="8200">
                  <c:v>#N/A</c:v>
                </c:pt>
                <c:pt idx="8201">
                  <c:v>#N/A</c:v>
                </c:pt>
                <c:pt idx="8202">
                  <c:v>#N/A</c:v>
                </c:pt>
                <c:pt idx="8203">
                  <c:v>#N/A</c:v>
                </c:pt>
                <c:pt idx="8204">
                  <c:v>#N/A</c:v>
                </c:pt>
                <c:pt idx="8205">
                  <c:v>#N/A</c:v>
                </c:pt>
                <c:pt idx="8206">
                  <c:v>#N/A</c:v>
                </c:pt>
                <c:pt idx="8207">
                  <c:v>#N/A</c:v>
                </c:pt>
                <c:pt idx="8208">
                  <c:v>#N/A</c:v>
                </c:pt>
                <c:pt idx="8209">
                  <c:v>#N/A</c:v>
                </c:pt>
                <c:pt idx="8210">
                  <c:v>#N/A</c:v>
                </c:pt>
                <c:pt idx="8211">
                  <c:v>#N/A</c:v>
                </c:pt>
                <c:pt idx="8212">
                  <c:v>#N/A</c:v>
                </c:pt>
                <c:pt idx="8213">
                  <c:v>#N/A</c:v>
                </c:pt>
                <c:pt idx="8214">
                  <c:v>#N/A</c:v>
                </c:pt>
                <c:pt idx="8215">
                  <c:v>#N/A</c:v>
                </c:pt>
                <c:pt idx="8216">
                  <c:v>#N/A</c:v>
                </c:pt>
                <c:pt idx="8217">
                  <c:v>#N/A</c:v>
                </c:pt>
                <c:pt idx="8218">
                  <c:v>#N/A</c:v>
                </c:pt>
                <c:pt idx="8219">
                  <c:v>#N/A</c:v>
                </c:pt>
                <c:pt idx="8220">
                  <c:v>#N/A</c:v>
                </c:pt>
                <c:pt idx="8221">
                  <c:v>#N/A</c:v>
                </c:pt>
                <c:pt idx="8222">
                  <c:v>#N/A</c:v>
                </c:pt>
                <c:pt idx="8223">
                  <c:v>#N/A</c:v>
                </c:pt>
                <c:pt idx="8224">
                  <c:v>#N/A</c:v>
                </c:pt>
                <c:pt idx="8225">
                  <c:v>#N/A</c:v>
                </c:pt>
                <c:pt idx="8226">
                  <c:v>#N/A</c:v>
                </c:pt>
                <c:pt idx="8227">
                  <c:v>#N/A</c:v>
                </c:pt>
                <c:pt idx="8228">
                  <c:v>#N/A</c:v>
                </c:pt>
                <c:pt idx="8229">
                  <c:v>#N/A</c:v>
                </c:pt>
                <c:pt idx="8230">
                  <c:v>#N/A</c:v>
                </c:pt>
                <c:pt idx="8231">
                  <c:v>#N/A</c:v>
                </c:pt>
                <c:pt idx="8232">
                  <c:v>#N/A</c:v>
                </c:pt>
                <c:pt idx="8233">
                  <c:v>#N/A</c:v>
                </c:pt>
                <c:pt idx="8234">
                  <c:v>#N/A</c:v>
                </c:pt>
                <c:pt idx="8235">
                  <c:v>#N/A</c:v>
                </c:pt>
                <c:pt idx="8236">
                  <c:v>#N/A</c:v>
                </c:pt>
                <c:pt idx="8237">
                  <c:v>#N/A</c:v>
                </c:pt>
                <c:pt idx="8238">
                  <c:v>#N/A</c:v>
                </c:pt>
                <c:pt idx="8239">
                  <c:v>#N/A</c:v>
                </c:pt>
                <c:pt idx="8240">
                  <c:v>#N/A</c:v>
                </c:pt>
                <c:pt idx="8241">
                  <c:v>#N/A</c:v>
                </c:pt>
                <c:pt idx="8242">
                  <c:v>#N/A</c:v>
                </c:pt>
                <c:pt idx="8243">
                  <c:v>#N/A</c:v>
                </c:pt>
                <c:pt idx="8244">
                  <c:v>#N/A</c:v>
                </c:pt>
                <c:pt idx="8245">
                  <c:v>#N/A</c:v>
                </c:pt>
                <c:pt idx="8246">
                  <c:v>#N/A</c:v>
                </c:pt>
                <c:pt idx="8247">
                  <c:v>#N/A</c:v>
                </c:pt>
                <c:pt idx="8248">
                  <c:v>#N/A</c:v>
                </c:pt>
                <c:pt idx="8249">
                  <c:v>#N/A</c:v>
                </c:pt>
                <c:pt idx="8250">
                  <c:v>#N/A</c:v>
                </c:pt>
                <c:pt idx="8251">
                  <c:v>#N/A</c:v>
                </c:pt>
                <c:pt idx="8252">
                  <c:v>#N/A</c:v>
                </c:pt>
                <c:pt idx="8253">
                  <c:v>#N/A</c:v>
                </c:pt>
                <c:pt idx="8254">
                  <c:v>#N/A</c:v>
                </c:pt>
                <c:pt idx="8255">
                  <c:v>#N/A</c:v>
                </c:pt>
                <c:pt idx="8256">
                  <c:v>#N/A</c:v>
                </c:pt>
                <c:pt idx="8257">
                  <c:v>#N/A</c:v>
                </c:pt>
                <c:pt idx="8258">
                  <c:v>#N/A</c:v>
                </c:pt>
                <c:pt idx="8259">
                  <c:v>#N/A</c:v>
                </c:pt>
                <c:pt idx="8260">
                  <c:v>#N/A</c:v>
                </c:pt>
                <c:pt idx="8261">
                  <c:v>#N/A</c:v>
                </c:pt>
                <c:pt idx="8262">
                  <c:v>#N/A</c:v>
                </c:pt>
                <c:pt idx="8263">
                  <c:v>#N/A</c:v>
                </c:pt>
                <c:pt idx="8264">
                  <c:v>#N/A</c:v>
                </c:pt>
                <c:pt idx="8265">
                  <c:v>#N/A</c:v>
                </c:pt>
                <c:pt idx="8266">
                  <c:v>#N/A</c:v>
                </c:pt>
                <c:pt idx="8267">
                  <c:v>#N/A</c:v>
                </c:pt>
                <c:pt idx="8268">
                  <c:v>#N/A</c:v>
                </c:pt>
                <c:pt idx="8269">
                  <c:v>#N/A</c:v>
                </c:pt>
                <c:pt idx="8270">
                  <c:v>#N/A</c:v>
                </c:pt>
                <c:pt idx="8271">
                  <c:v>#N/A</c:v>
                </c:pt>
                <c:pt idx="8272">
                  <c:v>#N/A</c:v>
                </c:pt>
                <c:pt idx="8273">
                  <c:v>#N/A</c:v>
                </c:pt>
                <c:pt idx="8274">
                  <c:v>#N/A</c:v>
                </c:pt>
                <c:pt idx="8275">
                  <c:v>#N/A</c:v>
                </c:pt>
                <c:pt idx="8276">
                  <c:v>#N/A</c:v>
                </c:pt>
                <c:pt idx="8277">
                  <c:v>#N/A</c:v>
                </c:pt>
                <c:pt idx="8278">
                  <c:v>#N/A</c:v>
                </c:pt>
                <c:pt idx="8279">
                  <c:v>#N/A</c:v>
                </c:pt>
                <c:pt idx="8280">
                  <c:v>#N/A</c:v>
                </c:pt>
                <c:pt idx="8281">
                  <c:v>#N/A</c:v>
                </c:pt>
                <c:pt idx="8282">
                  <c:v>#N/A</c:v>
                </c:pt>
                <c:pt idx="8283">
                  <c:v>#N/A</c:v>
                </c:pt>
                <c:pt idx="8284">
                  <c:v>#N/A</c:v>
                </c:pt>
                <c:pt idx="8285">
                  <c:v>#N/A</c:v>
                </c:pt>
                <c:pt idx="8286">
                  <c:v>#N/A</c:v>
                </c:pt>
                <c:pt idx="8287">
                  <c:v>#N/A</c:v>
                </c:pt>
                <c:pt idx="8288">
                  <c:v>#N/A</c:v>
                </c:pt>
                <c:pt idx="8289">
                  <c:v>#N/A</c:v>
                </c:pt>
                <c:pt idx="8290">
                  <c:v>#N/A</c:v>
                </c:pt>
                <c:pt idx="8291">
                  <c:v>#N/A</c:v>
                </c:pt>
                <c:pt idx="8292">
                  <c:v>#N/A</c:v>
                </c:pt>
                <c:pt idx="8293">
                  <c:v>#N/A</c:v>
                </c:pt>
                <c:pt idx="8294">
                  <c:v>#N/A</c:v>
                </c:pt>
                <c:pt idx="8295">
                  <c:v>#N/A</c:v>
                </c:pt>
                <c:pt idx="8296">
                  <c:v>#N/A</c:v>
                </c:pt>
                <c:pt idx="8297">
                  <c:v>#N/A</c:v>
                </c:pt>
                <c:pt idx="8298">
                  <c:v>#N/A</c:v>
                </c:pt>
                <c:pt idx="8299">
                  <c:v>#N/A</c:v>
                </c:pt>
                <c:pt idx="8300">
                  <c:v>#N/A</c:v>
                </c:pt>
                <c:pt idx="8301">
                  <c:v>#N/A</c:v>
                </c:pt>
                <c:pt idx="8302">
                  <c:v>#N/A</c:v>
                </c:pt>
                <c:pt idx="8303">
                  <c:v>#N/A</c:v>
                </c:pt>
                <c:pt idx="8304">
                  <c:v>#N/A</c:v>
                </c:pt>
                <c:pt idx="8305">
                  <c:v>#N/A</c:v>
                </c:pt>
                <c:pt idx="8306">
                  <c:v>#N/A</c:v>
                </c:pt>
                <c:pt idx="8307">
                  <c:v>#N/A</c:v>
                </c:pt>
                <c:pt idx="8308">
                  <c:v>#N/A</c:v>
                </c:pt>
                <c:pt idx="8309">
                  <c:v>#N/A</c:v>
                </c:pt>
                <c:pt idx="8310">
                  <c:v>#N/A</c:v>
                </c:pt>
                <c:pt idx="8311">
                  <c:v>#N/A</c:v>
                </c:pt>
                <c:pt idx="8312">
                  <c:v>#N/A</c:v>
                </c:pt>
                <c:pt idx="8313">
                  <c:v>#N/A</c:v>
                </c:pt>
                <c:pt idx="8314">
                  <c:v>#N/A</c:v>
                </c:pt>
                <c:pt idx="8315">
                  <c:v>#N/A</c:v>
                </c:pt>
                <c:pt idx="8316">
                  <c:v>#N/A</c:v>
                </c:pt>
                <c:pt idx="8317">
                  <c:v>#N/A</c:v>
                </c:pt>
                <c:pt idx="8318">
                  <c:v>#N/A</c:v>
                </c:pt>
                <c:pt idx="8319">
                  <c:v>#N/A</c:v>
                </c:pt>
                <c:pt idx="8320">
                  <c:v>#N/A</c:v>
                </c:pt>
                <c:pt idx="8321">
                  <c:v>#N/A</c:v>
                </c:pt>
                <c:pt idx="8322">
                  <c:v>#N/A</c:v>
                </c:pt>
                <c:pt idx="8323">
                  <c:v>#N/A</c:v>
                </c:pt>
                <c:pt idx="8324">
                  <c:v>#N/A</c:v>
                </c:pt>
                <c:pt idx="8325">
                  <c:v>#N/A</c:v>
                </c:pt>
                <c:pt idx="8326">
                  <c:v>#N/A</c:v>
                </c:pt>
                <c:pt idx="8327">
                  <c:v>#N/A</c:v>
                </c:pt>
                <c:pt idx="8328">
                  <c:v>#N/A</c:v>
                </c:pt>
                <c:pt idx="8329">
                  <c:v>#N/A</c:v>
                </c:pt>
                <c:pt idx="8330">
                  <c:v>#N/A</c:v>
                </c:pt>
                <c:pt idx="8331">
                  <c:v>#N/A</c:v>
                </c:pt>
                <c:pt idx="8332">
                  <c:v>#N/A</c:v>
                </c:pt>
                <c:pt idx="8333">
                  <c:v>#N/A</c:v>
                </c:pt>
                <c:pt idx="8334">
                  <c:v>#N/A</c:v>
                </c:pt>
                <c:pt idx="8335">
                  <c:v>#N/A</c:v>
                </c:pt>
                <c:pt idx="8336">
                  <c:v>#N/A</c:v>
                </c:pt>
                <c:pt idx="8337">
                  <c:v>#N/A</c:v>
                </c:pt>
                <c:pt idx="8338">
                  <c:v>#N/A</c:v>
                </c:pt>
                <c:pt idx="8339">
                  <c:v>#N/A</c:v>
                </c:pt>
                <c:pt idx="8340">
                  <c:v>#N/A</c:v>
                </c:pt>
                <c:pt idx="8341">
                  <c:v>#N/A</c:v>
                </c:pt>
                <c:pt idx="8342">
                  <c:v>#N/A</c:v>
                </c:pt>
                <c:pt idx="8343">
                  <c:v>#N/A</c:v>
                </c:pt>
                <c:pt idx="8344">
                  <c:v>#N/A</c:v>
                </c:pt>
                <c:pt idx="8345">
                  <c:v>#N/A</c:v>
                </c:pt>
                <c:pt idx="8346">
                  <c:v>#N/A</c:v>
                </c:pt>
                <c:pt idx="8347">
                  <c:v>#N/A</c:v>
                </c:pt>
                <c:pt idx="8348">
                  <c:v>#N/A</c:v>
                </c:pt>
                <c:pt idx="8349">
                  <c:v>#N/A</c:v>
                </c:pt>
                <c:pt idx="8350">
                  <c:v>#N/A</c:v>
                </c:pt>
                <c:pt idx="8351">
                  <c:v>#N/A</c:v>
                </c:pt>
                <c:pt idx="8352">
                  <c:v>#N/A</c:v>
                </c:pt>
                <c:pt idx="8353">
                  <c:v>#N/A</c:v>
                </c:pt>
                <c:pt idx="8354">
                  <c:v>#N/A</c:v>
                </c:pt>
                <c:pt idx="8355">
                  <c:v>#N/A</c:v>
                </c:pt>
                <c:pt idx="8356">
                  <c:v>#N/A</c:v>
                </c:pt>
                <c:pt idx="8357">
                  <c:v>#N/A</c:v>
                </c:pt>
                <c:pt idx="8358">
                  <c:v>#N/A</c:v>
                </c:pt>
                <c:pt idx="8359">
                  <c:v>#N/A</c:v>
                </c:pt>
                <c:pt idx="8360">
                  <c:v>#N/A</c:v>
                </c:pt>
                <c:pt idx="8361">
                  <c:v>#N/A</c:v>
                </c:pt>
                <c:pt idx="8362">
                  <c:v>#N/A</c:v>
                </c:pt>
                <c:pt idx="8363">
                  <c:v>#N/A</c:v>
                </c:pt>
                <c:pt idx="8364">
                  <c:v>#N/A</c:v>
                </c:pt>
                <c:pt idx="8365">
                  <c:v>#N/A</c:v>
                </c:pt>
                <c:pt idx="8366">
                  <c:v>#N/A</c:v>
                </c:pt>
                <c:pt idx="8367">
                  <c:v>#N/A</c:v>
                </c:pt>
                <c:pt idx="8368">
                  <c:v>#N/A</c:v>
                </c:pt>
                <c:pt idx="8369">
                  <c:v>#N/A</c:v>
                </c:pt>
                <c:pt idx="8370">
                  <c:v>#N/A</c:v>
                </c:pt>
                <c:pt idx="8371">
                  <c:v>#N/A</c:v>
                </c:pt>
                <c:pt idx="8372">
                  <c:v>#N/A</c:v>
                </c:pt>
                <c:pt idx="8373">
                  <c:v>#N/A</c:v>
                </c:pt>
                <c:pt idx="8374">
                  <c:v>#N/A</c:v>
                </c:pt>
                <c:pt idx="8375">
                  <c:v>#N/A</c:v>
                </c:pt>
                <c:pt idx="8376">
                  <c:v>#N/A</c:v>
                </c:pt>
                <c:pt idx="8377">
                  <c:v>#N/A</c:v>
                </c:pt>
                <c:pt idx="8378">
                  <c:v>#N/A</c:v>
                </c:pt>
                <c:pt idx="8379">
                  <c:v>#N/A</c:v>
                </c:pt>
                <c:pt idx="8380">
                  <c:v>#N/A</c:v>
                </c:pt>
                <c:pt idx="8381">
                  <c:v>#N/A</c:v>
                </c:pt>
                <c:pt idx="8382">
                  <c:v>#N/A</c:v>
                </c:pt>
                <c:pt idx="8383">
                  <c:v>#N/A</c:v>
                </c:pt>
                <c:pt idx="8384">
                  <c:v>#N/A</c:v>
                </c:pt>
                <c:pt idx="8385">
                  <c:v>#N/A</c:v>
                </c:pt>
                <c:pt idx="8386">
                  <c:v>#N/A</c:v>
                </c:pt>
                <c:pt idx="8387">
                  <c:v>#N/A</c:v>
                </c:pt>
                <c:pt idx="8388">
                  <c:v>#N/A</c:v>
                </c:pt>
                <c:pt idx="8389">
                  <c:v>#N/A</c:v>
                </c:pt>
                <c:pt idx="8390">
                  <c:v>#N/A</c:v>
                </c:pt>
                <c:pt idx="8391">
                  <c:v>#N/A</c:v>
                </c:pt>
                <c:pt idx="8392">
                  <c:v>#N/A</c:v>
                </c:pt>
                <c:pt idx="8393">
                  <c:v>#N/A</c:v>
                </c:pt>
                <c:pt idx="8394">
                  <c:v>#N/A</c:v>
                </c:pt>
                <c:pt idx="8395">
                  <c:v>#N/A</c:v>
                </c:pt>
                <c:pt idx="8396">
                  <c:v>#N/A</c:v>
                </c:pt>
                <c:pt idx="8397">
                  <c:v>#N/A</c:v>
                </c:pt>
                <c:pt idx="8398">
                  <c:v>#N/A</c:v>
                </c:pt>
                <c:pt idx="8399">
                  <c:v>#N/A</c:v>
                </c:pt>
                <c:pt idx="8400">
                  <c:v>#N/A</c:v>
                </c:pt>
                <c:pt idx="8401">
                  <c:v>#N/A</c:v>
                </c:pt>
                <c:pt idx="8402">
                  <c:v>#N/A</c:v>
                </c:pt>
                <c:pt idx="8403">
                  <c:v>#N/A</c:v>
                </c:pt>
                <c:pt idx="8404">
                  <c:v>#N/A</c:v>
                </c:pt>
                <c:pt idx="8405">
                  <c:v>#N/A</c:v>
                </c:pt>
                <c:pt idx="8406">
                  <c:v>#N/A</c:v>
                </c:pt>
                <c:pt idx="8407">
                  <c:v>#N/A</c:v>
                </c:pt>
                <c:pt idx="8408">
                  <c:v>#N/A</c:v>
                </c:pt>
                <c:pt idx="8409">
                  <c:v>#N/A</c:v>
                </c:pt>
                <c:pt idx="8410">
                  <c:v>#N/A</c:v>
                </c:pt>
                <c:pt idx="8411">
                  <c:v>#N/A</c:v>
                </c:pt>
                <c:pt idx="8412">
                  <c:v>#N/A</c:v>
                </c:pt>
                <c:pt idx="8413">
                  <c:v>#N/A</c:v>
                </c:pt>
                <c:pt idx="8414">
                  <c:v>#N/A</c:v>
                </c:pt>
                <c:pt idx="8415">
                  <c:v>#N/A</c:v>
                </c:pt>
                <c:pt idx="8416">
                  <c:v>#N/A</c:v>
                </c:pt>
                <c:pt idx="8417">
                  <c:v>#N/A</c:v>
                </c:pt>
                <c:pt idx="8418">
                  <c:v>#N/A</c:v>
                </c:pt>
                <c:pt idx="8419">
                  <c:v>#N/A</c:v>
                </c:pt>
                <c:pt idx="8420">
                  <c:v>#N/A</c:v>
                </c:pt>
                <c:pt idx="8421">
                  <c:v>#N/A</c:v>
                </c:pt>
                <c:pt idx="8422">
                  <c:v>#N/A</c:v>
                </c:pt>
                <c:pt idx="8423">
                  <c:v>#N/A</c:v>
                </c:pt>
                <c:pt idx="8424">
                  <c:v>#N/A</c:v>
                </c:pt>
                <c:pt idx="8425">
                  <c:v>#N/A</c:v>
                </c:pt>
                <c:pt idx="8426">
                  <c:v>#N/A</c:v>
                </c:pt>
                <c:pt idx="8427">
                  <c:v>#N/A</c:v>
                </c:pt>
                <c:pt idx="8428">
                  <c:v>#N/A</c:v>
                </c:pt>
                <c:pt idx="8429">
                  <c:v>#N/A</c:v>
                </c:pt>
                <c:pt idx="8430">
                  <c:v>#N/A</c:v>
                </c:pt>
                <c:pt idx="8431">
                  <c:v>#N/A</c:v>
                </c:pt>
                <c:pt idx="8432">
                  <c:v>#N/A</c:v>
                </c:pt>
                <c:pt idx="8433">
                  <c:v>#N/A</c:v>
                </c:pt>
                <c:pt idx="8434">
                  <c:v>#N/A</c:v>
                </c:pt>
                <c:pt idx="8435">
                  <c:v>#N/A</c:v>
                </c:pt>
                <c:pt idx="8436">
                  <c:v>#N/A</c:v>
                </c:pt>
                <c:pt idx="8437">
                  <c:v>#N/A</c:v>
                </c:pt>
                <c:pt idx="8438">
                  <c:v>#N/A</c:v>
                </c:pt>
                <c:pt idx="8439">
                  <c:v>#N/A</c:v>
                </c:pt>
                <c:pt idx="8440">
                  <c:v>#N/A</c:v>
                </c:pt>
                <c:pt idx="8441">
                  <c:v>#N/A</c:v>
                </c:pt>
                <c:pt idx="8442">
                  <c:v>#N/A</c:v>
                </c:pt>
                <c:pt idx="8443">
                  <c:v>#N/A</c:v>
                </c:pt>
                <c:pt idx="8444">
                  <c:v>#N/A</c:v>
                </c:pt>
                <c:pt idx="8445">
                  <c:v>#N/A</c:v>
                </c:pt>
                <c:pt idx="8446">
                  <c:v>#N/A</c:v>
                </c:pt>
                <c:pt idx="8447">
                  <c:v>#N/A</c:v>
                </c:pt>
                <c:pt idx="8448">
                  <c:v>#N/A</c:v>
                </c:pt>
                <c:pt idx="8449">
                  <c:v>#N/A</c:v>
                </c:pt>
                <c:pt idx="8450">
                  <c:v>#N/A</c:v>
                </c:pt>
                <c:pt idx="8451">
                  <c:v>#N/A</c:v>
                </c:pt>
                <c:pt idx="8452">
                  <c:v>#N/A</c:v>
                </c:pt>
                <c:pt idx="8453">
                  <c:v>#N/A</c:v>
                </c:pt>
                <c:pt idx="8454">
                  <c:v>#N/A</c:v>
                </c:pt>
                <c:pt idx="8455">
                  <c:v>#N/A</c:v>
                </c:pt>
                <c:pt idx="8456">
                  <c:v>#N/A</c:v>
                </c:pt>
                <c:pt idx="8457">
                  <c:v>#N/A</c:v>
                </c:pt>
                <c:pt idx="8458">
                  <c:v>#N/A</c:v>
                </c:pt>
                <c:pt idx="8459">
                  <c:v>#N/A</c:v>
                </c:pt>
                <c:pt idx="8460">
                  <c:v>#N/A</c:v>
                </c:pt>
                <c:pt idx="8461">
                  <c:v>#N/A</c:v>
                </c:pt>
                <c:pt idx="8462">
                  <c:v>#N/A</c:v>
                </c:pt>
                <c:pt idx="8463">
                  <c:v>#N/A</c:v>
                </c:pt>
                <c:pt idx="8464">
                  <c:v>#N/A</c:v>
                </c:pt>
                <c:pt idx="8465">
                  <c:v>#N/A</c:v>
                </c:pt>
                <c:pt idx="8466">
                  <c:v>#N/A</c:v>
                </c:pt>
                <c:pt idx="8467">
                  <c:v>#N/A</c:v>
                </c:pt>
                <c:pt idx="8468">
                  <c:v>#N/A</c:v>
                </c:pt>
                <c:pt idx="8469">
                  <c:v>#N/A</c:v>
                </c:pt>
                <c:pt idx="8470">
                  <c:v>#N/A</c:v>
                </c:pt>
                <c:pt idx="8471">
                  <c:v>#N/A</c:v>
                </c:pt>
                <c:pt idx="8472">
                  <c:v>#N/A</c:v>
                </c:pt>
                <c:pt idx="8473">
                  <c:v>#N/A</c:v>
                </c:pt>
                <c:pt idx="8474">
                  <c:v>#N/A</c:v>
                </c:pt>
                <c:pt idx="8475">
                  <c:v>#N/A</c:v>
                </c:pt>
                <c:pt idx="8476">
                  <c:v>#N/A</c:v>
                </c:pt>
                <c:pt idx="8477">
                  <c:v>#N/A</c:v>
                </c:pt>
                <c:pt idx="8478">
                  <c:v>#N/A</c:v>
                </c:pt>
                <c:pt idx="8479">
                  <c:v>#N/A</c:v>
                </c:pt>
                <c:pt idx="8480">
                  <c:v>#N/A</c:v>
                </c:pt>
                <c:pt idx="8481">
                  <c:v>#N/A</c:v>
                </c:pt>
                <c:pt idx="8482">
                  <c:v>#N/A</c:v>
                </c:pt>
                <c:pt idx="8483">
                  <c:v>#N/A</c:v>
                </c:pt>
                <c:pt idx="8484">
                  <c:v>#N/A</c:v>
                </c:pt>
                <c:pt idx="8485">
                  <c:v>#N/A</c:v>
                </c:pt>
                <c:pt idx="8486">
                  <c:v>#N/A</c:v>
                </c:pt>
                <c:pt idx="8487">
                  <c:v>#N/A</c:v>
                </c:pt>
                <c:pt idx="8488">
                  <c:v>#N/A</c:v>
                </c:pt>
                <c:pt idx="8489">
                  <c:v>#N/A</c:v>
                </c:pt>
                <c:pt idx="8490">
                  <c:v>#N/A</c:v>
                </c:pt>
                <c:pt idx="8491">
                  <c:v>#N/A</c:v>
                </c:pt>
                <c:pt idx="8492">
                  <c:v>#N/A</c:v>
                </c:pt>
                <c:pt idx="8493">
                  <c:v>#N/A</c:v>
                </c:pt>
                <c:pt idx="8494">
                  <c:v>#N/A</c:v>
                </c:pt>
                <c:pt idx="8495">
                  <c:v>#N/A</c:v>
                </c:pt>
                <c:pt idx="8496">
                  <c:v>#N/A</c:v>
                </c:pt>
                <c:pt idx="8497">
                  <c:v>#N/A</c:v>
                </c:pt>
                <c:pt idx="8498">
                  <c:v>#N/A</c:v>
                </c:pt>
                <c:pt idx="8499">
                  <c:v>#N/A</c:v>
                </c:pt>
                <c:pt idx="8500">
                  <c:v>#N/A</c:v>
                </c:pt>
                <c:pt idx="8501">
                  <c:v>#N/A</c:v>
                </c:pt>
                <c:pt idx="8502">
                  <c:v>#N/A</c:v>
                </c:pt>
                <c:pt idx="8503">
                  <c:v>#N/A</c:v>
                </c:pt>
                <c:pt idx="8504">
                  <c:v>#N/A</c:v>
                </c:pt>
                <c:pt idx="8505">
                  <c:v>#N/A</c:v>
                </c:pt>
                <c:pt idx="8506">
                  <c:v>#N/A</c:v>
                </c:pt>
                <c:pt idx="8507">
                  <c:v>#N/A</c:v>
                </c:pt>
                <c:pt idx="8508">
                  <c:v>#N/A</c:v>
                </c:pt>
                <c:pt idx="8509">
                  <c:v>#N/A</c:v>
                </c:pt>
                <c:pt idx="8510">
                  <c:v>#N/A</c:v>
                </c:pt>
                <c:pt idx="8511">
                  <c:v>#N/A</c:v>
                </c:pt>
                <c:pt idx="8512">
                  <c:v>#N/A</c:v>
                </c:pt>
                <c:pt idx="8513">
                  <c:v>#N/A</c:v>
                </c:pt>
                <c:pt idx="8514">
                  <c:v>#N/A</c:v>
                </c:pt>
                <c:pt idx="8515">
                  <c:v>#N/A</c:v>
                </c:pt>
                <c:pt idx="8516">
                  <c:v>#N/A</c:v>
                </c:pt>
                <c:pt idx="8517">
                  <c:v>#N/A</c:v>
                </c:pt>
                <c:pt idx="8518">
                  <c:v>#N/A</c:v>
                </c:pt>
                <c:pt idx="8519">
                  <c:v>#N/A</c:v>
                </c:pt>
                <c:pt idx="8520">
                  <c:v>#N/A</c:v>
                </c:pt>
                <c:pt idx="8521">
                  <c:v>#N/A</c:v>
                </c:pt>
                <c:pt idx="8522">
                  <c:v>#N/A</c:v>
                </c:pt>
                <c:pt idx="8523">
                  <c:v>#N/A</c:v>
                </c:pt>
                <c:pt idx="8524">
                  <c:v>#N/A</c:v>
                </c:pt>
                <c:pt idx="8525">
                  <c:v>#N/A</c:v>
                </c:pt>
                <c:pt idx="8526">
                  <c:v>#N/A</c:v>
                </c:pt>
                <c:pt idx="8527">
                  <c:v>#N/A</c:v>
                </c:pt>
                <c:pt idx="8528">
                  <c:v>#N/A</c:v>
                </c:pt>
                <c:pt idx="8529">
                  <c:v>#N/A</c:v>
                </c:pt>
                <c:pt idx="8530">
                  <c:v>#N/A</c:v>
                </c:pt>
                <c:pt idx="8531">
                  <c:v>#N/A</c:v>
                </c:pt>
                <c:pt idx="8532">
                  <c:v>#N/A</c:v>
                </c:pt>
                <c:pt idx="8533">
                  <c:v>#N/A</c:v>
                </c:pt>
                <c:pt idx="8534">
                  <c:v>#N/A</c:v>
                </c:pt>
                <c:pt idx="8535">
                  <c:v>#N/A</c:v>
                </c:pt>
                <c:pt idx="8536">
                  <c:v>#N/A</c:v>
                </c:pt>
                <c:pt idx="8537">
                  <c:v>#N/A</c:v>
                </c:pt>
                <c:pt idx="8538">
                  <c:v>#N/A</c:v>
                </c:pt>
                <c:pt idx="8539">
                  <c:v>#N/A</c:v>
                </c:pt>
                <c:pt idx="8540">
                  <c:v>#N/A</c:v>
                </c:pt>
                <c:pt idx="8541">
                  <c:v>#N/A</c:v>
                </c:pt>
                <c:pt idx="8542">
                  <c:v>#N/A</c:v>
                </c:pt>
                <c:pt idx="8543">
                  <c:v>#N/A</c:v>
                </c:pt>
                <c:pt idx="8544">
                  <c:v>#N/A</c:v>
                </c:pt>
                <c:pt idx="8545">
                  <c:v>#N/A</c:v>
                </c:pt>
                <c:pt idx="8546">
                  <c:v>#N/A</c:v>
                </c:pt>
                <c:pt idx="8547">
                  <c:v>#N/A</c:v>
                </c:pt>
                <c:pt idx="8548">
                  <c:v>#N/A</c:v>
                </c:pt>
                <c:pt idx="8549">
                  <c:v>#N/A</c:v>
                </c:pt>
                <c:pt idx="8550">
                  <c:v>#N/A</c:v>
                </c:pt>
                <c:pt idx="8551">
                  <c:v>#N/A</c:v>
                </c:pt>
                <c:pt idx="8552">
                  <c:v>#N/A</c:v>
                </c:pt>
                <c:pt idx="8553">
                  <c:v>#N/A</c:v>
                </c:pt>
                <c:pt idx="8554">
                  <c:v>#N/A</c:v>
                </c:pt>
                <c:pt idx="8555">
                  <c:v>#N/A</c:v>
                </c:pt>
                <c:pt idx="8556">
                  <c:v>#N/A</c:v>
                </c:pt>
                <c:pt idx="8557">
                  <c:v>#N/A</c:v>
                </c:pt>
                <c:pt idx="8558">
                  <c:v>#N/A</c:v>
                </c:pt>
                <c:pt idx="8559">
                  <c:v>#N/A</c:v>
                </c:pt>
                <c:pt idx="8560">
                  <c:v>#N/A</c:v>
                </c:pt>
                <c:pt idx="8561">
                  <c:v>#N/A</c:v>
                </c:pt>
                <c:pt idx="8562">
                  <c:v>#N/A</c:v>
                </c:pt>
                <c:pt idx="8563">
                  <c:v>#N/A</c:v>
                </c:pt>
                <c:pt idx="8564">
                  <c:v>#N/A</c:v>
                </c:pt>
                <c:pt idx="8565">
                  <c:v>#N/A</c:v>
                </c:pt>
                <c:pt idx="8566">
                  <c:v>#N/A</c:v>
                </c:pt>
                <c:pt idx="8567">
                  <c:v>#N/A</c:v>
                </c:pt>
                <c:pt idx="8568">
                  <c:v>#N/A</c:v>
                </c:pt>
                <c:pt idx="8569">
                  <c:v>#N/A</c:v>
                </c:pt>
                <c:pt idx="8570">
                  <c:v>#N/A</c:v>
                </c:pt>
                <c:pt idx="8571">
                  <c:v>#N/A</c:v>
                </c:pt>
                <c:pt idx="8572">
                  <c:v>#N/A</c:v>
                </c:pt>
                <c:pt idx="8573">
                  <c:v>#N/A</c:v>
                </c:pt>
                <c:pt idx="8574">
                  <c:v>#N/A</c:v>
                </c:pt>
                <c:pt idx="8575">
                  <c:v>#N/A</c:v>
                </c:pt>
                <c:pt idx="8576">
                  <c:v>#N/A</c:v>
                </c:pt>
                <c:pt idx="8577">
                  <c:v>#N/A</c:v>
                </c:pt>
                <c:pt idx="8578">
                  <c:v>#N/A</c:v>
                </c:pt>
                <c:pt idx="8579">
                  <c:v>#N/A</c:v>
                </c:pt>
                <c:pt idx="8580">
                  <c:v>#N/A</c:v>
                </c:pt>
                <c:pt idx="8581">
                  <c:v>#N/A</c:v>
                </c:pt>
                <c:pt idx="8582">
                  <c:v>#N/A</c:v>
                </c:pt>
                <c:pt idx="8583">
                  <c:v>#N/A</c:v>
                </c:pt>
                <c:pt idx="8584">
                  <c:v>#N/A</c:v>
                </c:pt>
                <c:pt idx="8585">
                  <c:v>#N/A</c:v>
                </c:pt>
                <c:pt idx="8586">
                  <c:v>#N/A</c:v>
                </c:pt>
                <c:pt idx="8587">
                  <c:v>#N/A</c:v>
                </c:pt>
                <c:pt idx="8588">
                  <c:v>#N/A</c:v>
                </c:pt>
                <c:pt idx="8589">
                  <c:v>#N/A</c:v>
                </c:pt>
                <c:pt idx="8590">
                  <c:v>#N/A</c:v>
                </c:pt>
                <c:pt idx="8591">
                  <c:v>#N/A</c:v>
                </c:pt>
                <c:pt idx="8592">
                  <c:v>#N/A</c:v>
                </c:pt>
                <c:pt idx="8593">
                  <c:v>#N/A</c:v>
                </c:pt>
                <c:pt idx="8594">
                  <c:v>#N/A</c:v>
                </c:pt>
                <c:pt idx="8595">
                  <c:v>#N/A</c:v>
                </c:pt>
                <c:pt idx="8596">
                  <c:v>#N/A</c:v>
                </c:pt>
                <c:pt idx="8597">
                  <c:v>#N/A</c:v>
                </c:pt>
                <c:pt idx="8598">
                  <c:v>#N/A</c:v>
                </c:pt>
                <c:pt idx="8599">
                  <c:v>#N/A</c:v>
                </c:pt>
                <c:pt idx="8600">
                  <c:v>#N/A</c:v>
                </c:pt>
                <c:pt idx="8601">
                  <c:v>#N/A</c:v>
                </c:pt>
                <c:pt idx="8602">
                  <c:v>#N/A</c:v>
                </c:pt>
                <c:pt idx="8603">
                  <c:v>#N/A</c:v>
                </c:pt>
                <c:pt idx="8604">
                  <c:v>#N/A</c:v>
                </c:pt>
                <c:pt idx="8605">
                  <c:v>#N/A</c:v>
                </c:pt>
                <c:pt idx="8606">
                  <c:v>#N/A</c:v>
                </c:pt>
                <c:pt idx="8607">
                  <c:v>#N/A</c:v>
                </c:pt>
                <c:pt idx="8608">
                  <c:v>#N/A</c:v>
                </c:pt>
                <c:pt idx="8609">
                  <c:v>#N/A</c:v>
                </c:pt>
                <c:pt idx="8610">
                  <c:v>#N/A</c:v>
                </c:pt>
                <c:pt idx="8611">
                  <c:v>#N/A</c:v>
                </c:pt>
                <c:pt idx="8612">
                  <c:v>#N/A</c:v>
                </c:pt>
                <c:pt idx="8613">
                  <c:v>#N/A</c:v>
                </c:pt>
                <c:pt idx="8614">
                  <c:v>#N/A</c:v>
                </c:pt>
                <c:pt idx="8615">
                  <c:v>#N/A</c:v>
                </c:pt>
                <c:pt idx="8616">
                  <c:v>#N/A</c:v>
                </c:pt>
                <c:pt idx="8617">
                  <c:v>#N/A</c:v>
                </c:pt>
                <c:pt idx="8618">
                  <c:v>#N/A</c:v>
                </c:pt>
                <c:pt idx="8619">
                  <c:v>#N/A</c:v>
                </c:pt>
                <c:pt idx="8620">
                  <c:v>#N/A</c:v>
                </c:pt>
                <c:pt idx="8621">
                  <c:v>#N/A</c:v>
                </c:pt>
                <c:pt idx="8622">
                  <c:v>#N/A</c:v>
                </c:pt>
                <c:pt idx="8623">
                  <c:v>#N/A</c:v>
                </c:pt>
                <c:pt idx="8624">
                  <c:v>#N/A</c:v>
                </c:pt>
                <c:pt idx="8625">
                  <c:v>#N/A</c:v>
                </c:pt>
                <c:pt idx="8626">
                  <c:v>#N/A</c:v>
                </c:pt>
                <c:pt idx="8627">
                  <c:v>#N/A</c:v>
                </c:pt>
                <c:pt idx="8628">
                  <c:v>#N/A</c:v>
                </c:pt>
                <c:pt idx="8629">
                  <c:v>#N/A</c:v>
                </c:pt>
                <c:pt idx="8630">
                  <c:v>#N/A</c:v>
                </c:pt>
                <c:pt idx="8631">
                  <c:v>#N/A</c:v>
                </c:pt>
                <c:pt idx="8632">
                  <c:v>#N/A</c:v>
                </c:pt>
                <c:pt idx="8633">
                  <c:v>#N/A</c:v>
                </c:pt>
                <c:pt idx="8634">
                  <c:v>#N/A</c:v>
                </c:pt>
                <c:pt idx="8635">
                  <c:v>#N/A</c:v>
                </c:pt>
                <c:pt idx="8636">
                  <c:v>#N/A</c:v>
                </c:pt>
                <c:pt idx="8637">
                  <c:v>#N/A</c:v>
                </c:pt>
                <c:pt idx="8638">
                  <c:v>#N/A</c:v>
                </c:pt>
                <c:pt idx="8639">
                  <c:v>#N/A</c:v>
                </c:pt>
                <c:pt idx="8640">
                  <c:v>#N/A</c:v>
                </c:pt>
                <c:pt idx="8641">
                  <c:v>#N/A</c:v>
                </c:pt>
                <c:pt idx="8642">
                  <c:v>#N/A</c:v>
                </c:pt>
                <c:pt idx="8643">
                  <c:v>#N/A</c:v>
                </c:pt>
                <c:pt idx="8644">
                  <c:v>#N/A</c:v>
                </c:pt>
                <c:pt idx="8645">
                  <c:v>#N/A</c:v>
                </c:pt>
                <c:pt idx="8646">
                  <c:v>#N/A</c:v>
                </c:pt>
                <c:pt idx="8647">
                  <c:v>#N/A</c:v>
                </c:pt>
                <c:pt idx="8648">
                  <c:v>#N/A</c:v>
                </c:pt>
                <c:pt idx="8649">
                  <c:v>#N/A</c:v>
                </c:pt>
                <c:pt idx="8650">
                  <c:v>#N/A</c:v>
                </c:pt>
                <c:pt idx="8651">
                  <c:v>#N/A</c:v>
                </c:pt>
                <c:pt idx="8652">
                  <c:v>#N/A</c:v>
                </c:pt>
                <c:pt idx="8653">
                  <c:v>#N/A</c:v>
                </c:pt>
                <c:pt idx="8654">
                  <c:v>#N/A</c:v>
                </c:pt>
                <c:pt idx="8655">
                  <c:v>#N/A</c:v>
                </c:pt>
                <c:pt idx="8656">
                  <c:v>#N/A</c:v>
                </c:pt>
                <c:pt idx="8657">
                  <c:v>#N/A</c:v>
                </c:pt>
                <c:pt idx="8658">
                  <c:v>#N/A</c:v>
                </c:pt>
                <c:pt idx="8659">
                  <c:v>#N/A</c:v>
                </c:pt>
                <c:pt idx="8660">
                  <c:v>#N/A</c:v>
                </c:pt>
                <c:pt idx="8661">
                  <c:v>#N/A</c:v>
                </c:pt>
                <c:pt idx="8662">
                  <c:v>#N/A</c:v>
                </c:pt>
                <c:pt idx="8663">
                  <c:v>#N/A</c:v>
                </c:pt>
                <c:pt idx="8664">
                  <c:v>#N/A</c:v>
                </c:pt>
                <c:pt idx="8665">
                  <c:v>#N/A</c:v>
                </c:pt>
                <c:pt idx="8666">
                  <c:v>#N/A</c:v>
                </c:pt>
                <c:pt idx="8667">
                  <c:v>#N/A</c:v>
                </c:pt>
                <c:pt idx="8668">
                  <c:v>#N/A</c:v>
                </c:pt>
                <c:pt idx="8669">
                  <c:v>#N/A</c:v>
                </c:pt>
                <c:pt idx="8670">
                  <c:v>#N/A</c:v>
                </c:pt>
                <c:pt idx="8671">
                  <c:v>#N/A</c:v>
                </c:pt>
                <c:pt idx="8672">
                  <c:v>#N/A</c:v>
                </c:pt>
                <c:pt idx="8673">
                  <c:v>#N/A</c:v>
                </c:pt>
                <c:pt idx="8674">
                  <c:v>#N/A</c:v>
                </c:pt>
                <c:pt idx="8675">
                  <c:v>#N/A</c:v>
                </c:pt>
                <c:pt idx="8676">
                  <c:v>#N/A</c:v>
                </c:pt>
                <c:pt idx="8677">
                  <c:v>#N/A</c:v>
                </c:pt>
                <c:pt idx="8678">
                  <c:v>#N/A</c:v>
                </c:pt>
                <c:pt idx="8679">
                  <c:v>#N/A</c:v>
                </c:pt>
                <c:pt idx="8680">
                  <c:v>#N/A</c:v>
                </c:pt>
                <c:pt idx="8681">
                  <c:v>#N/A</c:v>
                </c:pt>
                <c:pt idx="8682">
                  <c:v>#N/A</c:v>
                </c:pt>
                <c:pt idx="8683">
                  <c:v>#N/A</c:v>
                </c:pt>
                <c:pt idx="8684">
                  <c:v>#N/A</c:v>
                </c:pt>
                <c:pt idx="8685">
                  <c:v>#N/A</c:v>
                </c:pt>
                <c:pt idx="8686">
                  <c:v>#N/A</c:v>
                </c:pt>
                <c:pt idx="8687">
                  <c:v>#N/A</c:v>
                </c:pt>
                <c:pt idx="8688">
                  <c:v>#N/A</c:v>
                </c:pt>
                <c:pt idx="8689">
                  <c:v>#N/A</c:v>
                </c:pt>
                <c:pt idx="8690">
                  <c:v>#N/A</c:v>
                </c:pt>
                <c:pt idx="8691">
                  <c:v>#N/A</c:v>
                </c:pt>
                <c:pt idx="8692">
                  <c:v>#N/A</c:v>
                </c:pt>
                <c:pt idx="8693">
                  <c:v>#N/A</c:v>
                </c:pt>
                <c:pt idx="8694">
                  <c:v>#N/A</c:v>
                </c:pt>
                <c:pt idx="8695">
                  <c:v>#N/A</c:v>
                </c:pt>
                <c:pt idx="8696">
                  <c:v>#N/A</c:v>
                </c:pt>
                <c:pt idx="8697">
                  <c:v>#N/A</c:v>
                </c:pt>
                <c:pt idx="8698">
                  <c:v>#N/A</c:v>
                </c:pt>
                <c:pt idx="8699">
                  <c:v>#N/A</c:v>
                </c:pt>
                <c:pt idx="8700">
                  <c:v>#N/A</c:v>
                </c:pt>
                <c:pt idx="8701">
                  <c:v>#N/A</c:v>
                </c:pt>
                <c:pt idx="8702">
                  <c:v>#N/A</c:v>
                </c:pt>
                <c:pt idx="8703">
                  <c:v>#N/A</c:v>
                </c:pt>
                <c:pt idx="8704">
                  <c:v>#N/A</c:v>
                </c:pt>
                <c:pt idx="8705">
                  <c:v>#N/A</c:v>
                </c:pt>
                <c:pt idx="8706">
                  <c:v>#N/A</c:v>
                </c:pt>
                <c:pt idx="8707">
                  <c:v>#N/A</c:v>
                </c:pt>
                <c:pt idx="8708">
                  <c:v>#N/A</c:v>
                </c:pt>
                <c:pt idx="8709">
                  <c:v>#N/A</c:v>
                </c:pt>
                <c:pt idx="8710">
                  <c:v>#N/A</c:v>
                </c:pt>
                <c:pt idx="8711">
                  <c:v>#N/A</c:v>
                </c:pt>
                <c:pt idx="8712">
                  <c:v>#N/A</c:v>
                </c:pt>
                <c:pt idx="8713">
                  <c:v>#N/A</c:v>
                </c:pt>
                <c:pt idx="8714">
                  <c:v>#N/A</c:v>
                </c:pt>
                <c:pt idx="8715">
                  <c:v>#N/A</c:v>
                </c:pt>
                <c:pt idx="8716">
                  <c:v>#N/A</c:v>
                </c:pt>
                <c:pt idx="8717">
                  <c:v>#N/A</c:v>
                </c:pt>
                <c:pt idx="8718">
                  <c:v>#N/A</c:v>
                </c:pt>
                <c:pt idx="8719">
                  <c:v>#N/A</c:v>
                </c:pt>
                <c:pt idx="8720">
                  <c:v>#N/A</c:v>
                </c:pt>
                <c:pt idx="8721">
                  <c:v>#N/A</c:v>
                </c:pt>
                <c:pt idx="8722">
                  <c:v>#N/A</c:v>
                </c:pt>
                <c:pt idx="8723">
                  <c:v>#N/A</c:v>
                </c:pt>
                <c:pt idx="8724">
                  <c:v>#N/A</c:v>
                </c:pt>
                <c:pt idx="8725">
                  <c:v>#N/A</c:v>
                </c:pt>
                <c:pt idx="8726">
                  <c:v>#N/A</c:v>
                </c:pt>
                <c:pt idx="8727">
                  <c:v>#N/A</c:v>
                </c:pt>
                <c:pt idx="8728">
                  <c:v>#N/A</c:v>
                </c:pt>
                <c:pt idx="8729">
                  <c:v>#N/A</c:v>
                </c:pt>
                <c:pt idx="8730">
                  <c:v>#N/A</c:v>
                </c:pt>
                <c:pt idx="8731">
                  <c:v>#N/A</c:v>
                </c:pt>
                <c:pt idx="8732">
                  <c:v>#N/A</c:v>
                </c:pt>
                <c:pt idx="8733">
                  <c:v>#N/A</c:v>
                </c:pt>
                <c:pt idx="8734">
                  <c:v>#N/A</c:v>
                </c:pt>
                <c:pt idx="8735">
                  <c:v>#N/A</c:v>
                </c:pt>
                <c:pt idx="8736">
                  <c:v>#N/A</c:v>
                </c:pt>
                <c:pt idx="8737">
                  <c:v>#N/A</c:v>
                </c:pt>
                <c:pt idx="8738">
                  <c:v>#N/A</c:v>
                </c:pt>
                <c:pt idx="8739">
                  <c:v>#N/A</c:v>
                </c:pt>
                <c:pt idx="8740">
                  <c:v>#N/A</c:v>
                </c:pt>
                <c:pt idx="8741">
                  <c:v>#N/A</c:v>
                </c:pt>
                <c:pt idx="8742">
                  <c:v>#N/A</c:v>
                </c:pt>
                <c:pt idx="8743">
                  <c:v>#N/A</c:v>
                </c:pt>
                <c:pt idx="8744">
                  <c:v>#N/A</c:v>
                </c:pt>
                <c:pt idx="8745">
                  <c:v>#N/A</c:v>
                </c:pt>
                <c:pt idx="8746">
                  <c:v>#N/A</c:v>
                </c:pt>
                <c:pt idx="8747">
                  <c:v>#N/A</c:v>
                </c:pt>
                <c:pt idx="8748">
                  <c:v>#N/A</c:v>
                </c:pt>
                <c:pt idx="8749">
                  <c:v>#N/A</c:v>
                </c:pt>
                <c:pt idx="8750">
                  <c:v>#N/A</c:v>
                </c:pt>
                <c:pt idx="8751">
                  <c:v>#N/A</c:v>
                </c:pt>
                <c:pt idx="8752">
                  <c:v>#N/A</c:v>
                </c:pt>
                <c:pt idx="8753">
                  <c:v>#N/A</c:v>
                </c:pt>
                <c:pt idx="8754">
                  <c:v>#N/A</c:v>
                </c:pt>
                <c:pt idx="8755">
                  <c:v>#N/A</c:v>
                </c:pt>
                <c:pt idx="8756">
                  <c:v>#N/A</c:v>
                </c:pt>
                <c:pt idx="8757">
                  <c:v>#N/A</c:v>
                </c:pt>
                <c:pt idx="8758">
                  <c:v>#N/A</c:v>
                </c:pt>
                <c:pt idx="8759">
                  <c:v>#N/A</c:v>
                </c:pt>
                <c:pt idx="8760">
                  <c:v>#N/A</c:v>
                </c:pt>
                <c:pt idx="8761">
                  <c:v>#N/A</c:v>
                </c:pt>
                <c:pt idx="8762">
                  <c:v>#N/A</c:v>
                </c:pt>
                <c:pt idx="8763">
                  <c:v>#N/A</c:v>
                </c:pt>
                <c:pt idx="8764">
                  <c:v>#N/A</c:v>
                </c:pt>
                <c:pt idx="8765">
                  <c:v>#N/A</c:v>
                </c:pt>
                <c:pt idx="8766">
                  <c:v>#N/A</c:v>
                </c:pt>
                <c:pt idx="8767">
                  <c:v>#N/A</c:v>
                </c:pt>
                <c:pt idx="8768">
                  <c:v>#N/A</c:v>
                </c:pt>
                <c:pt idx="8769">
                  <c:v>#N/A</c:v>
                </c:pt>
                <c:pt idx="8770">
                  <c:v>#N/A</c:v>
                </c:pt>
                <c:pt idx="8771">
                  <c:v>#N/A</c:v>
                </c:pt>
                <c:pt idx="8772">
                  <c:v>#N/A</c:v>
                </c:pt>
                <c:pt idx="8773">
                  <c:v>#N/A</c:v>
                </c:pt>
                <c:pt idx="8774">
                  <c:v>#N/A</c:v>
                </c:pt>
                <c:pt idx="8775">
                  <c:v>#N/A</c:v>
                </c:pt>
                <c:pt idx="8776">
                  <c:v>#N/A</c:v>
                </c:pt>
                <c:pt idx="8777">
                  <c:v>#N/A</c:v>
                </c:pt>
                <c:pt idx="8778">
                  <c:v>#N/A</c:v>
                </c:pt>
                <c:pt idx="8779">
                  <c:v>#N/A</c:v>
                </c:pt>
                <c:pt idx="8780">
                  <c:v>#N/A</c:v>
                </c:pt>
                <c:pt idx="8781">
                  <c:v>#N/A</c:v>
                </c:pt>
                <c:pt idx="8782">
                  <c:v>#N/A</c:v>
                </c:pt>
                <c:pt idx="8783">
                  <c:v>#N/A</c:v>
                </c:pt>
                <c:pt idx="8784">
                  <c:v>#N/A</c:v>
                </c:pt>
                <c:pt idx="8785">
                  <c:v>#N/A</c:v>
                </c:pt>
                <c:pt idx="8786">
                  <c:v>#N/A</c:v>
                </c:pt>
                <c:pt idx="8787">
                  <c:v>#N/A</c:v>
                </c:pt>
                <c:pt idx="8788">
                  <c:v>#N/A</c:v>
                </c:pt>
                <c:pt idx="8789">
                  <c:v>#N/A</c:v>
                </c:pt>
                <c:pt idx="8790">
                  <c:v>#N/A</c:v>
                </c:pt>
                <c:pt idx="8791">
                  <c:v>#N/A</c:v>
                </c:pt>
                <c:pt idx="8792">
                  <c:v>#N/A</c:v>
                </c:pt>
                <c:pt idx="8793">
                  <c:v>#N/A</c:v>
                </c:pt>
                <c:pt idx="8794">
                  <c:v>#N/A</c:v>
                </c:pt>
                <c:pt idx="8795">
                  <c:v>#N/A</c:v>
                </c:pt>
                <c:pt idx="8796">
                  <c:v>#N/A</c:v>
                </c:pt>
                <c:pt idx="8797">
                  <c:v>#N/A</c:v>
                </c:pt>
                <c:pt idx="8798">
                  <c:v>#N/A</c:v>
                </c:pt>
                <c:pt idx="8799">
                  <c:v>#N/A</c:v>
                </c:pt>
                <c:pt idx="8800">
                  <c:v>#N/A</c:v>
                </c:pt>
                <c:pt idx="8801">
                  <c:v>#N/A</c:v>
                </c:pt>
                <c:pt idx="8802">
                  <c:v>#N/A</c:v>
                </c:pt>
                <c:pt idx="8803">
                  <c:v>#N/A</c:v>
                </c:pt>
                <c:pt idx="8804">
                  <c:v>#N/A</c:v>
                </c:pt>
                <c:pt idx="8805">
                  <c:v>#N/A</c:v>
                </c:pt>
                <c:pt idx="8806">
                  <c:v>#N/A</c:v>
                </c:pt>
                <c:pt idx="8807">
                  <c:v>#N/A</c:v>
                </c:pt>
                <c:pt idx="8808">
                  <c:v>#N/A</c:v>
                </c:pt>
                <c:pt idx="8809">
                  <c:v>#N/A</c:v>
                </c:pt>
                <c:pt idx="8810">
                  <c:v>#N/A</c:v>
                </c:pt>
                <c:pt idx="8811">
                  <c:v>#N/A</c:v>
                </c:pt>
                <c:pt idx="8812">
                  <c:v>#N/A</c:v>
                </c:pt>
                <c:pt idx="8813">
                  <c:v>#N/A</c:v>
                </c:pt>
                <c:pt idx="8814">
                  <c:v>#N/A</c:v>
                </c:pt>
                <c:pt idx="8815">
                  <c:v>#N/A</c:v>
                </c:pt>
                <c:pt idx="8816">
                  <c:v>#N/A</c:v>
                </c:pt>
                <c:pt idx="8817">
                  <c:v>#N/A</c:v>
                </c:pt>
                <c:pt idx="8818">
                  <c:v>#N/A</c:v>
                </c:pt>
                <c:pt idx="8819">
                  <c:v>#N/A</c:v>
                </c:pt>
                <c:pt idx="8820">
                  <c:v>#N/A</c:v>
                </c:pt>
                <c:pt idx="8821">
                  <c:v>#N/A</c:v>
                </c:pt>
                <c:pt idx="8822">
                  <c:v>#N/A</c:v>
                </c:pt>
                <c:pt idx="8823">
                  <c:v>#N/A</c:v>
                </c:pt>
                <c:pt idx="8824">
                  <c:v>#N/A</c:v>
                </c:pt>
                <c:pt idx="8825">
                  <c:v>#N/A</c:v>
                </c:pt>
                <c:pt idx="8826">
                  <c:v>#N/A</c:v>
                </c:pt>
                <c:pt idx="8827">
                  <c:v>#N/A</c:v>
                </c:pt>
                <c:pt idx="8828">
                  <c:v>#N/A</c:v>
                </c:pt>
                <c:pt idx="8829">
                  <c:v>#N/A</c:v>
                </c:pt>
                <c:pt idx="8830">
                  <c:v>#N/A</c:v>
                </c:pt>
                <c:pt idx="8831">
                  <c:v>#N/A</c:v>
                </c:pt>
                <c:pt idx="8832">
                  <c:v>#N/A</c:v>
                </c:pt>
                <c:pt idx="8833">
                  <c:v>#N/A</c:v>
                </c:pt>
                <c:pt idx="8834">
                  <c:v>#N/A</c:v>
                </c:pt>
                <c:pt idx="8835">
                  <c:v>#N/A</c:v>
                </c:pt>
                <c:pt idx="8836">
                  <c:v>#N/A</c:v>
                </c:pt>
                <c:pt idx="8837">
                  <c:v>#N/A</c:v>
                </c:pt>
                <c:pt idx="8838">
                  <c:v>#N/A</c:v>
                </c:pt>
                <c:pt idx="8839">
                  <c:v>#N/A</c:v>
                </c:pt>
                <c:pt idx="8840">
                  <c:v>#N/A</c:v>
                </c:pt>
                <c:pt idx="8841">
                  <c:v>#N/A</c:v>
                </c:pt>
                <c:pt idx="8842">
                  <c:v>#N/A</c:v>
                </c:pt>
                <c:pt idx="8843">
                  <c:v>#N/A</c:v>
                </c:pt>
                <c:pt idx="8844">
                  <c:v>#N/A</c:v>
                </c:pt>
                <c:pt idx="8845">
                  <c:v>#N/A</c:v>
                </c:pt>
                <c:pt idx="8846">
                  <c:v>#N/A</c:v>
                </c:pt>
                <c:pt idx="8847">
                  <c:v>#N/A</c:v>
                </c:pt>
                <c:pt idx="8848">
                  <c:v>#N/A</c:v>
                </c:pt>
                <c:pt idx="8849">
                  <c:v>#N/A</c:v>
                </c:pt>
                <c:pt idx="8850">
                  <c:v>#N/A</c:v>
                </c:pt>
                <c:pt idx="8851">
                  <c:v>#N/A</c:v>
                </c:pt>
                <c:pt idx="8852">
                  <c:v>#N/A</c:v>
                </c:pt>
                <c:pt idx="8853">
                  <c:v>#N/A</c:v>
                </c:pt>
                <c:pt idx="8854">
                  <c:v>#N/A</c:v>
                </c:pt>
                <c:pt idx="8855">
                  <c:v>#N/A</c:v>
                </c:pt>
                <c:pt idx="8856">
                  <c:v>#N/A</c:v>
                </c:pt>
                <c:pt idx="8857">
                  <c:v>#N/A</c:v>
                </c:pt>
                <c:pt idx="8858">
                  <c:v>#N/A</c:v>
                </c:pt>
                <c:pt idx="8859">
                  <c:v>#N/A</c:v>
                </c:pt>
                <c:pt idx="8860">
                  <c:v>#N/A</c:v>
                </c:pt>
                <c:pt idx="8861">
                  <c:v>#N/A</c:v>
                </c:pt>
                <c:pt idx="8862">
                  <c:v>#N/A</c:v>
                </c:pt>
                <c:pt idx="8863">
                  <c:v>#N/A</c:v>
                </c:pt>
                <c:pt idx="8864">
                  <c:v>#N/A</c:v>
                </c:pt>
                <c:pt idx="8865">
                  <c:v>#N/A</c:v>
                </c:pt>
                <c:pt idx="8866">
                  <c:v>#N/A</c:v>
                </c:pt>
                <c:pt idx="8867">
                  <c:v>#N/A</c:v>
                </c:pt>
                <c:pt idx="8868">
                  <c:v>#N/A</c:v>
                </c:pt>
                <c:pt idx="8869">
                  <c:v>#N/A</c:v>
                </c:pt>
                <c:pt idx="8870">
                  <c:v>#N/A</c:v>
                </c:pt>
                <c:pt idx="8871">
                  <c:v>#N/A</c:v>
                </c:pt>
                <c:pt idx="8872">
                  <c:v>#N/A</c:v>
                </c:pt>
                <c:pt idx="8873">
                  <c:v>#N/A</c:v>
                </c:pt>
                <c:pt idx="8874">
                  <c:v>#N/A</c:v>
                </c:pt>
                <c:pt idx="8875">
                  <c:v>#N/A</c:v>
                </c:pt>
                <c:pt idx="8876">
                  <c:v>#N/A</c:v>
                </c:pt>
                <c:pt idx="8877">
                  <c:v>#N/A</c:v>
                </c:pt>
                <c:pt idx="8878">
                  <c:v>#N/A</c:v>
                </c:pt>
                <c:pt idx="8879">
                  <c:v>#N/A</c:v>
                </c:pt>
                <c:pt idx="8880">
                  <c:v>#N/A</c:v>
                </c:pt>
                <c:pt idx="8881">
                  <c:v>#N/A</c:v>
                </c:pt>
                <c:pt idx="8882">
                  <c:v>#N/A</c:v>
                </c:pt>
                <c:pt idx="8883">
                  <c:v>#N/A</c:v>
                </c:pt>
                <c:pt idx="8884">
                  <c:v>#N/A</c:v>
                </c:pt>
                <c:pt idx="8885">
                  <c:v>#N/A</c:v>
                </c:pt>
                <c:pt idx="8886">
                  <c:v>#N/A</c:v>
                </c:pt>
                <c:pt idx="8887">
                  <c:v>#N/A</c:v>
                </c:pt>
                <c:pt idx="8888">
                  <c:v>#N/A</c:v>
                </c:pt>
                <c:pt idx="8889">
                  <c:v>#N/A</c:v>
                </c:pt>
                <c:pt idx="8890">
                  <c:v>#N/A</c:v>
                </c:pt>
                <c:pt idx="8891">
                  <c:v>#N/A</c:v>
                </c:pt>
                <c:pt idx="8892">
                  <c:v>#N/A</c:v>
                </c:pt>
                <c:pt idx="8893">
                  <c:v>#N/A</c:v>
                </c:pt>
                <c:pt idx="8894">
                  <c:v>#N/A</c:v>
                </c:pt>
                <c:pt idx="8895">
                  <c:v>#N/A</c:v>
                </c:pt>
                <c:pt idx="8896">
                  <c:v>#N/A</c:v>
                </c:pt>
                <c:pt idx="8897">
                  <c:v>#N/A</c:v>
                </c:pt>
                <c:pt idx="8898">
                  <c:v>#N/A</c:v>
                </c:pt>
                <c:pt idx="8899">
                  <c:v>#N/A</c:v>
                </c:pt>
                <c:pt idx="8900">
                  <c:v>#N/A</c:v>
                </c:pt>
                <c:pt idx="8901">
                  <c:v>#N/A</c:v>
                </c:pt>
                <c:pt idx="8902">
                  <c:v>#N/A</c:v>
                </c:pt>
                <c:pt idx="8903">
                  <c:v>#N/A</c:v>
                </c:pt>
                <c:pt idx="8904">
                  <c:v>#N/A</c:v>
                </c:pt>
                <c:pt idx="8905">
                  <c:v>#N/A</c:v>
                </c:pt>
                <c:pt idx="8906">
                  <c:v>#N/A</c:v>
                </c:pt>
                <c:pt idx="8907">
                  <c:v>#N/A</c:v>
                </c:pt>
                <c:pt idx="8908">
                  <c:v>#N/A</c:v>
                </c:pt>
                <c:pt idx="8909">
                  <c:v>#N/A</c:v>
                </c:pt>
                <c:pt idx="8910">
                  <c:v>#N/A</c:v>
                </c:pt>
                <c:pt idx="8911">
                  <c:v>#N/A</c:v>
                </c:pt>
                <c:pt idx="8912">
                  <c:v>#N/A</c:v>
                </c:pt>
                <c:pt idx="8913">
                  <c:v>#N/A</c:v>
                </c:pt>
                <c:pt idx="8914">
                  <c:v>#N/A</c:v>
                </c:pt>
                <c:pt idx="8915">
                  <c:v>#N/A</c:v>
                </c:pt>
                <c:pt idx="8916">
                  <c:v>#N/A</c:v>
                </c:pt>
                <c:pt idx="8917">
                  <c:v>#N/A</c:v>
                </c:pt>
                <c:pt idx="8918">
                  <c:v>#N/A</c:v>
                </c:pt>
                <c:pt idx="8919">
                  <c:v>#N/A</c:v>
                </c:pt>
                <c:pt idx="8920">
                  <c:v>#N/A</c:v>
                </c:pt>
                <c:pt idx="8921">
                  <c:v>#N/A</c:v>
                </c:pt>
                <c:pt idx="8922">
                  <c:v>#N/A</c:v>
                </c:pt>
                <c:pt idx="8923">
                  <c:v>#N/A</c:v>
                </c:pt>
                <c:pt idx="8924">
                  <c:v>#N/A</c:v>
                </c:pt>
                <c:pt idx="8925">
                  <c:v>#N/A</c:v>
                </c:pt>
                <c:pt idx="8926">
                  <c:v>#N/A</c:v>
                </c:pt>
                <c:pt idx="8927">
                  <c:v>#N/A</c:v>
                </c:pt>
                <c:pt idx="8928">
                  <c:v>#N/A</c:v>
                </c:pt>
                <c:pt idx="8929">
                  <c:v>#N/A</c:v>
                </c:pt>
                <c:pt idx="8930">
                  <c:v>#N/A</c:v>
                </c:pt>
                <c:pt idx="8931">
                  <c:v>#N/A</c:v>
                </c:pt>
                <c:pt idx="8932">
                  <c:v>#N/A</c:v>
                </c:pt>
                <c:pt idx="8933">
                  <c:v>#N/A</c:v>
                </c:pt>
                <c:pt idx="8934">
                  <c:v>#N/A</c:v>
                </c:pt>
                <c:pt idx="8935">
                  <c:v>#N/A</c:v>
                </c:pt>
                <c:pt idx="8936">
                  <c:v>#N/A</c:v>
                </c:pt>
                <c:pt idx="8937">
                  <c:v>#N/A</c:v>
                </c:pt>
                <c:pt idx="8938">
                  <c:v>#N/A</c:v>
                </c:pt>
                <c:pt idx="8939">
                  <c:v>#N/A</c:v>
                </c:pt>
                <c:pt idx="8940">
                  <c:v>#N/A</c:v>
                </c:pt>
                <c:pt idx="8941">
                  <c:v>#N/A</c:v>
                </c:pt>
                <c:pt idx="8942">
                  <c:v>#N/A</c:v>
                </c:pt>
                <c:pt idx="8943">
                  <c:v>#N/A</c:v>
                </c:pt>
                <c:pt idx="8944">
                  <c:v>#N/A</c:v>
                </c:pt>
                <c:pt idx="8945">
                  <c:v>#N/A</c:v>
                </c:pt>
                <c:pt idx="8946">
                  <c:v>#N/A</c:v>
                </c:pt>
                <c:pt idx="8947">
                  <c:v>#N/A</c:v>
                </c:pt>
                <c:pt idx="8948">
                  <c:v>#N/A</c:v>
                </c:pt>
                <c:pt idx="8949">
                  <c:v>#N/A</c:v>
                </c:pt>
                <c:pt idx="8950">
                  <c:v>#N/A</c:v>
                </c:pt>
                <c:pt idx="8951">
                  <c:v>#N/A</c:v>
                </c:pt>
                <c:pt idx="8952">
                  <c:v>#N/A</c:v>
                </c:pt>
                <c:pt idx="8953">
                  <c:v>#N/A</c:v>
                </c:pt>
                <c:pt idx="8954">
                  <c:v>#N/A</c:v>
                </c:pt>
                <c:pt idx="8955">
                  <c:v>#N/A</c:v>
                </c:pt>
                <c:pt idx="8956">
                  <c:v>#N/A</c:v>
                </c:pt>
                <c:pt idx="8957">
                  <c:v>#N/A</c:v>
                </c:pt>
                <c:pt idx="8958">
                  <c:v>#N/A</c:v>
                </c:pt>
                <c:pt idx="8959">
                  <c:v>#N/A</c:v>
                </c:pt>
                <c:pt idx="8960">
                  <c:v>#N/A</c:v>
                </c:pt>
                <c:pt idx="8961">
                  <c:v>#N/A</c:v>
                </c:pt>
                <c:pt idx="8962">
                  <c:v>#N/A</c:v>
                </c:pt>
                <c:pt idx="8963">
                  <c:v>#N/A</c:v>
                </c:pt>
                <c:pt idx="8964">
                  <c:v>#N/A</c:v>
                </c:pt>
                <c:pt idx="8965">
                  <c:v>#N/A</c:v>
                </c:pt>
                <c:pt idx="8966">
                  <c:v>#N/A</c:v>
                </c:pt>
                <c:pt idx="8967">
                  <c:v>#N/A</c:v>
                </c:pt>
                <c:pt idx="8968">
                  <c:v>#N/A</c:v>
                </c:pt>
                <c:pt idx="8969">
                  <c:v>#N/A</c:v>
                </c:pt>
                <c:pt idx="8970">
                  <c:v>#N/A</c:v>
                </c:pt>
                <c:pt idx="8971">
                  <c:v>#N/A</c:v>
                </c:pt>
                <c:pt idx="8972">
                  <c:v>#N/A</c:v>
                </c:pt>
                <c:pt idx="8973">
                  <c:v>#N/A</c:v>
                </c:pt>
                <c:pt idx="8974">
                  <c:v>#N/A</c:v>
                </c:pt>
                <c:pt idx="8975">
                  <c:v>#N/A</c:v>
                </c:pt>
                <c:pt idx="8976">
                  <c:v>#N/A</c:v>
                </c:pt>
                <c:pt idx="8977">
                  <c:v>#N/A</c:v>
                </c:pt>
                <c:pt idx="8978">
                  <c:v>#N/A</c:v>
                </c:pt>
                <c:pt idx="8979">
                  <c:v>#N/A</c:v>
                </c:pt>
                <c:pt idx="8980">
                  <c:v>#N/A</c:v>
                </c:pt>
                <c:pt idx="8981">
                  <c:v>#N/A</c:v>
                </c:pt>
                <c:pt idx="8982">
                  <c:v>#N/A</c:v>
                </c:pt>
                <c:pt idx="8983">
                  <c:v>#N/A</c:v>
                </c:pt>
                <c:pt idx="8984">
                  <c:v>#N/A</c:v>
                </c:pt>
                <c:pt idx="8985">
                  <c:v>#N/A</c:v>
                </c:pt>
                <c:pt idx="8986">
                  <c:v>#N/A</c:v>
                </c:pt>
                <c:pt idx="8987">
                  <c:v>#N/A</c:v>
                </c:pt>
                <c:pt idx="8988">
                  <c:v>#N/A</c:v>
                </c:pt>
                <c:pt idx="8989">
                  <c:v>#N/A</c:v>
                </c:pt>
                <c:pt idx="8990">
                  <c:v>#N/A</c:v>
                </c:pt>
                <c:pt idx="8991">
                  <c:v>#N/A</c:v>
                </c:pt>
                <c:pt idx="8992">
                  <c:v>#N/A</c:v>
                </c:pt>
                <c:pt idx="8993">
                  <c:v>#N/A</c:v>
                </c:pt>
                <c:pt idx="8994">
                  <c:v>#N/A</c:v>
                </c:pt>
                <c:pt idx="8995">
                  <c:v>#N/A</c:v>
                </c:pt>
                <c:pt idx="8996">
                  <c:v>#N/A</c:v>
                </c:pt>
                <c:pt idx="8997">
                  <c:v>#N/A</c:v>
                </c:pt>
                <c:pt idx="8998">
                  <c:v>#N/A</c:v>
                </c:pt>
                <c:pt idx="8999">
                  <c:v>#N/A</c:v>
                </c:pt>
                <c:pt idx="9000">
                  <c:v>#N/A</c:v>
                </c:pt>
                <c:pt idx="9001">
                  <c:v>#N/A</c:v>
                </c:pt>
                <c:pt idx="9002">
                  <c:v>#N/A</c:v>
                </c:pt>
                <c:pt idx="9003">
                  <c:v>#N/A</c:v>
                </c:pt>
                <c:pt idx="9004">
                  <c:v>#N/A</c:v>
                </c:pt>
                <c:pt idx="9005">
                  <c:v>#N/A</c:v>
                </c:pt>
                <c:pt idx="9006">
                  <c:v>#N/A</c:v>
                </c:pt>
                <c:pt idx="9007">
                  <c:v>#N/A</c:v>
                </c:pt>
                <c:pt idx="9008">
                  <c:v>#N/A</c:v>
                </c:pt>
                <c:pt idx="9009">
                  <c:v>#N/A</c:v>
                </c:pt>
                <c:pt idx="9010">
                  <c:v>#N/A</c:v>
                </c:pt>
                <c:pt idx="9011">
                  <c:v>#N/A</c:v>
                </c:pt>
                <c:pt idx="9012">
                  <c:v>#N/A</c:v>
                </c:pt>
                <c:pt idx="9013">
                  <c:v>#N/A</c:v>
                </c:pt>
                <c:pt idx="9014">
                  <c:v>#N/A</c:v>
                </c:pt>
                <c:pt idx="9015">
                  <c:v>#N/A</c:v>
                </c:pt>
                <c:pt idx="9016">
                  <c:v>#N/A</c:v>
                </c:pt>
                <c:pt idx="9017">
                  <c:v>#N/A</c:v>
                </c:pt>
                <c:pt idx="9018">
                  <c:v>#N/A</c:v>
                </c:pt>
                <c:pt idx="9019">
                  <c:v>#N/A</c:v>
                </c:pt>
                <c:pt idx="9020">
                  <c:v>#N/A</c:v>
                </c:pt>
                <c:pt idx="9021">
                  <c:v>#N/A</c:v>
                </c:pt>
                <c:pt idx="9022">
                  <c:v>#N/A</c:v>
                </c:pt>
                <c:pt idx="9023">
                  <c:v>#N/A</c:v>
                </c:pt>
                <c:pt idx="9024">
                  <c:v>#N/A</c:v>
                </c:pt>
                <c:pt idx="9025">
                  <c:v>#N/A</c:v>
                </c:pt>
                <c:pt idx="9026">
                  <c:v>#N/A</c:v>
                </c:pt>
                <c:pt idx="9027">
                  <c:v>#N/A</c:v>
                </c:pt>
                <c:pt idx="9028">
                  <c:v>#N/A</c:v>
                </c:pt>
                <c:pt idx="9029">
                  <c:v>#N/A</c:v>
                </c:pt>
                <c:pt idx="9030">
                  <c:v>#N/A</c:v>
                </c:pt>
                <c:pt idx="9031">
                  <c:v>#N/A</c:v>
                </c:pt>
                <c:pt idx="9032">
                  <c:v>#N/A</c:v>
                </c:pt>
                <c:pt idx="9033">
                  <c:v>#N/A</c:v>
                </c:pt>
                <c:pt idx="9034">
                  <c:v>#N/A</c:v>
                </c:pt>
                <c:pt idx="9035">
                  <c:v>#N/A</c:v>
                </c:pt>
                <c:pt idx="9036">
                  <c:v>#N/A</c:v>
                </c:pt>
                <c:pt idx="9037">
                  <c:v>#N/A</c:v>
                </c:pt>
                <c:pt idx="9038">
                  <c:v>#N/A</c:v>
                </c:pt>
                <c:pt idx="9039">
                  <c:v>#N/A</c:v>
                </c:pt>
                <c:pt idx="9040">
                  <c:v>#N/A</c:v>
                </c:pt>
                <c:pt idx="9041">
                  <c:v>#N/A</c:v>
                </c:pt>
                <c:pt idx="9042">
                  <c:v>#N/A</c:v>
                </c:pt>
                <c:pt idx="9043">
                  <c:v>#N/A</c:v>
                </c:pt>
                <c:pt idx="9044">
                  <c:v>#N/A</c:v>
                </c:pt>
                <c:pt idx="9045">
                  <c:v>#N/A</c:v>
                </c:pt>
                <c:pt idx="9046">
                  <c:v>#N/A</c:v>
                </c:pt>
                <c:pt idx="9047">
                  <c:v>#N/A</c:v>
                </c:pt>
                <c:pt idx="9048">
                  <c:v>#N/A</c:v>
                </c:pt>
                <c:pt idx="9049">
                  <c:v>#N/A</c:v>
                </c:pt>
                <c:pt idx="9050">
                  <c:v>#N/A</c:v>
                </c:pt>
                <c:pt idx="9051">
                  <c:v>#N/A</c:v>
                </c:pt>
                <c:pt idx="9052">
                  <c:v>#N/A</c:v>
                </c:pt>
                <c:pt idx="9053">
                  <c:v>#N/A</c:v>
                </c:pt>
                <c:pt idx="9054">
                  <c:v>#N/A</c:v>
                </c:pt>
                <c:pt idx="9055">
                  <c:v>#N/A</c:v>
                </c:pt>
                <c:pt idx="9056">
                  <c:v>#N/A</c:v>
                </c:pt>
                <c:pt idx="9057">
                  <c:v>#N/A</c:v>
                </c:pt>
                <c:pt idx="9058">
                  <c:v>#N/A</c:v>
                </c:pt>
                <c:pt idx="9059">
                  <c:v>#N/A</c:v>
                </c:pt>
                <c:pt idx="9060">
                  <c:v>#N/A</c:v>
                </c:pt>
                <c:pt idx="9061">
                  <c:v>#N/A</c:v>
                </c:pt>
                <c:pt idx="9062">
                  <c:v>#N/A</c:v>
                </c:pt>
                <c:pt idx="9063">
                  <c:v>#N/A</c:v>
                </c:pt>
                <c:pt idx="9064">
                  <c:v>#N/A</c:v>
                </c:pt>
                <c:pt idx="9065">
                  <c:v>#N/A</c:v>
                </c:pt>
                <c:pt idx="9066">
                  <c:v>#N/A</c:v>
                </c:pt>
                <c:pt idx="9067">
                  <c:v>#N/A</c:v>
                </c:pt>
                <c:pt idx="9068">
                  <c:v>#N/A</c:v>
                </c:pt>
                <c:pt idx="9069">
                  <c:v>#N/A</c:v>
                </c:pt>
                <c:pt idx="9070">
                  <c:v>#N/A</c:v>
                </c:pt>
                <c:pt idx="9071">
                  <c:v>#N/A</c:v>
                </c:pt>
                <c:pt idx="9072">
                  <c:v>#N/A</c:v>
                </c:pt>
                <c:pt idx="9073">
                  <c:v>#N/A</c:v>
                </c:pt>
                <c:pt idx="9074">
                  <c:v>#N/A</c:v>
                </c:pt>
                <c:pt idx="9075">
                  <c:v>#N/A</c:v>
                </c:pt>
                <c:pt idx="9076">
                  <c:v>#N/A</c:v>
                </c:pt>
                <c:pt idx="9077">
                  <c:v>#N/A</c:v>
                </c:pt>
                <c:pt idx="9078">
                  <c:v>#N/A</c:v>
                </c:pt>
                <c:pt idx="9079">
                  <c:v>#N/A</c:v>
                </c:pt>
                <c:pt idx="9080">
                  <c:v>#N/A</c:v>
                </c:pt>
                <c:pt idx="9081">
                  <c:v>#N/A</c:v>
                </c:pt>
                <c:pt idx="9082">
                  <c:v>#N/A</c:v>
                </c:pt>
                <c:pt idx="9083">
                  <c:v>#N/A</c:v>
                </c:pt>
                <c:pt idx="9084">
                  <c:v>#N/A</c:v>
                </c:pt>
                <c:pt idx="9085">
                  <c:v>#N/A</c:v>
                </c:pt>
                <c:pt idx="9086">
                  <c:v>#N/A</c:v>
                </c:pt>
                <c:pt idx="9087">
                  <c:v>#N/A</c:v>
                </c:pt>
                <c:pt idx="9088">
                  <c:v>#N/A</c:v>
                </c:pt>
                <c:pt idx="9089">
                  <c:v>#N/A</c:v>
                </c:pt>
                <c:pt idx="9090">
                  <c:v>#N/A</c:v>
                </c:pt>
                <c:pt idx="9091">
                  <c:v>#N/A</c:v>
                </c:pt>
                <c:pt idx="9092">
                  <c:v>#N/A</c:v>
                </c:pt>
                <c:pt idx="9093">
                  <c:v>#N/A</c:v>
                </c:pt>
                <c:pt idx="9094">
                  <c:v>#N/A</c:v>
                </c:pt>
                <c:pt idx="9095">
                  <c:v>#N/A</c:v>
                </c:pt>
                <c:pt idx="9096">
                  <c:v>#N/A</c:v>
                </c:pt>
                <c:pt idx="9097">
                  <c:v>#N/A</c:v>
                </c:pt>
                <c:pt idx="9098">
                  <c:v>#N/A</c:v>
                </c:pt>
                <c:pt idx="9099">
                  <c:v>#N/A</c:v>
                </c:pt>
                <c:pt idx="9100">
                  <c:v>#N/A</c:v>
                </c:pt>
                <c:pt idx="9101">
                  <c:v>#N/A</c:v>
                </c:pt>
                <c:pt idx="9102">
                  <c:v>#N/A</c:v>
                </c:pt>
                <c:pt idx="9103">
                  <c:v>#N/A</c:v>
                </c:pt>
                <c:pt idx="9104">
                  <c:v>#N/A</c:v>
                </c:pt>
                <c:pt idx="9105">
                  <c:v>#N/A</c:v>
                </c:pt>
                <c:pt idx="9106">
                  <c:v>#N/A</c:v>
                </c:pt>
                <c:pt idx="9107">
                  <c:v>#N/A</c:v>
                </c:pt>
                <c:pt idx="9108">
                  <c:v>#N/A</c:v>
                </c:pt>
                <c:pt idx="9109">
                  <c:v>#N/A</c:v>
                </c:pt>
                <c:pt idx="9110">
                  <c:v>#N/A</c:v>
                </c:pt>
                <c:pt idx="9111">
                  <c:v>#N/A</c:v>
                </c:pt>
                <c:pt idx="9112">
                  <c:v>#N/A</c:v>
                </c:pt>
                <c:pt idx="9113">
                  <c:v>#N/A</c:v>
                </c:pt>
                <c:pt idx="9114">
                  <c:v>#N/A</c:v>
                </c:pt>
                <c:pt idx="9115">
                  <c:v>#N/A</c:v>
                </c:pt>
                <c:pt idx="9116">
                  <c:v>#N/A</c:v>
                </c:pt>
                <c:pt idx="9117">
                  <c:v>#N/A</c:v>
                </c:pt>
                <c:pt idx="9118">
                  <c:v>#N/A</c:v>
                </c:pt>
                <c:pt idx="9119">
                  <c:v>#N/A</c:v>
                </c:pt>
                <c:pt idx="9120">
                  <c:v>#N/A</c:v>
                </c:pt>
                <c:pt idx="9121">
                  <c:v>#N/A</c:v>
                </c:pt>
                <c:pt idx="9122">
                  <c:v>#N/A</c:v>
                </c:pt>
                <c:pt idx="9123">
                  <c:v>#N/A</c:v>
                </c:pt>
                <c:pt idx="9124">
                  <c:v>#N/A</c:v>
                </c:pt>
                <c:pt idx="9125">
                  <c:v>#N/A</c:v>
                </c:pt>
                <c:pt idx="9126">
                  <c:v>#N/A</c:v>
                </c:pt>
                <c:pt idx="9127">
                  <c:v>#N/A</c:v>
                </c:pt>
                <c:pt idx="9128">
                  <c:v>#N/A</c:v>
                </c:pt>
                <c:pt idx="9129">
                  <c:v>#N/A</c:v>
                </c:pt>
                <c:pt idx="9130">
                  <c:v>#N/A</c:v>
                </c:pt>
                <c:pt idx="9131">
                  <c:v>#N/A</c:v>
                </c:pt>
                <c:pt idx="9132">
                  <c:v>#N/A</c:v>
                </c:pt>
                <c:pt idx="9133">
                  <c:v>#N/A</c:v>
                </c:pt>
                <c:pt idx="9134">
                  <c:v>#N/A</c:v>
                </c:pt>
                <c:pt idx="9135">
                  <c:v>#N/A</c:v>
                </c:pt>
                <c:pt idx="9136">
                  <c:v>#N/A</c:v>
                </c:pt>
                <c:pt idx="9137">
                  <c:v>#N/A</c:v>
                </c:pt>
                <c:pt idx="9138">
                  <c:v>#N/A</c:v>
                </c:pt>
                <c:pt idx="9139">
                  <c:v>#N/A</c:v>
                </c:pt>
                <c:pt idx="9140">
                  <c:v>#N/A</c:v>
                </c:pt>
                <c:pt idx="9141">
                  <c:v>#N/A</c:v>
                </c:pt>
                <c:pt idx="9142">
                  <c:v>#N/A</c:v>
                </c:pt>
                <c:pt idx="9143">
                  <c:v>#N/A</c:v>
                </c:pt>
                <c:pt idx="9144">
                  <c:v>#N/A</c:v>
                </c:pt>
                <c:pt idx="9145">
                  <c:v>#N/A</c:v>
                </c:pt>
                <c:pt idx="9146">
                  <c:v>#N/A</c:v>
                </c:pt>
                <c:pt idx="9147">
                  <c:v>#N/A</c:v>
                </c:pt>
                <c:pt idx="9148">
                  <c:v>#N/A</c:v>
                </c:pt>
                <c:pt idx="9149">
                  <c:v>#N/A</c:v>
                </c:pt>
                <c:pt idx="9150">
                  <c:v>#N/A</c:v>
                </c:pt>
                <c:pt idx="9151">
                  <c:v>#N/A</c:v>
                </c:pt>
                <c:pt idx="9152">
                  <c:v>#N/A</c:v>
                </c:pt>
                <c:pt idx="9153">
                  <c:v>#N/A</c:v>
                </c:pt>
                <c:pt idx="9154">
                  <c:v>#N/A</c:v>
                </c:pt>
                <c:pt idx="9155">
                  <c:v>#N/A</c:v>
                </c:pt>
                <c:pt idx="9156">
                  <c:v>#N/A</c:v>
                </c:pt>
                <c:pt idx="9157">
                  <c:v>#N/A</c:v>
                </c:pt>
                <c:pt idx="9158">
                  <c:v>#N/A</c:v>
                </c:pt>
                <c:pt idx="9159">
                  <c:v>#N/A</c:v>
                </c:pt>
                <c:pt idx="9160">
                  <c:v>#N/A</c:v>
                </c:pt>
                <c:pt idx="9161">
                  <c:v>#N/A</c:v>
                </c:pt>
                <c:pt idx="9162">
                  <c:v>#N/A</c:v>
                </c:pt>
                <c:pt idx="9163">
                  <c:v>#N/A</c:v>
                </c:pt>
                <c:pt idx="9164">
                  <c:v>#N/A</c:v>
                </c:pt>
                <c:pt idx="9165">
                  <c:v>#N/A</c:v>
                </c:pt>
                <c:pt idx="9166">
                  <c:v>#N/A</c:v>
                </c:pt>
                <c:pt idx="9167">
                  <c:v>#N/A</c:v>
                </c:pt>
                <c:pt idx="9168">
                  <c:v>#N/A</c:v>
                </c:pt>
                <c:pt idx="9169">
                  <c:v>#N/A</c:v>
                </c:pt>
                <c:pt idx="9170">
                  <c:v>#N/A</c:v>
                </c:pt>
                <c:pt idx="9171">
                  <c:v>#N/A</c:v>
                </c:pt>
                <c:pt idx="9172">
                  <c:v>#N/A</c:v>
                </c:pt>
                <c:pt idx="9173">
                  <c:v>#N/A</c:v>
                </c:pt>
                <c:pt idx="9174">
                  <c:v>#N/A</c:v>
                </c:pt>
                <c:pt idx="9175">
                  <c:v>#N/A</c:v>
                </c:pt>
                <c:pt idx="9176">
                  <c:v>#N/A</c:v>
                </c:pt>
                <c:pt idx="9177">
                  <c:v>#N/A</c:v>
                </c:pt>
                <c:pt idx="9178">
                  <c:v>#N/A</c:v>
                </c:pt>
                <c:pt idx="9179">
                  <c:v>#N/A</c:v>
                </c:pt>
                <c:pt idx="9180">
                  <c:v>#N/A</c:v>
                </c:pt>
                <c:pt idx="9181">
                  <c:v>#N/A</c:v>
                </c:pt>
                <c:pt idx="9182">
                  <c:v>#N/A</c:v>
                </c:pt>
                <c:pt idx="9183">
                  <c:v>#N/A</c:v>
                </c:pt>
                <c:pt idx="9184">
                  <c:v>#N/A</c:v>
                </c:pt>
                <c:pt idx="9185">
                  <c:v>#N/A</c:v>
                </c:pt>
                <c:pt idx="9186">
                  <c:v>#N/A</c:v>
                </c:pt>
                <c:pt idx="9187">
                  <c:v>#N/A</c:v>
                </c:pt>
                <c:pt idx="9188">
                  <c:v>#N/A</c:v>
                </c:pt>
                <c:pt idx="9189">
                  <c:v>#N/A</c:v>
                </c:pt>
                <c:pt idx="9190">
                  <c:v>#N/A</c:v>
                </c:pt>
                <c:pt idx="9191">
                  <c:v>#N/A</c:v>
                </c:pt>
                <c:pt idx="9192">
                  <c:v>#N/A</c:v>
                </c:pt>
                <c:pt idx="9193">
                  <c:v>#N/A</c:v>
                </c:pt>
                <c:pt idx="9194">
                  <c:v>#N/A</c:v>
                </c:pt>
                <c:pt idx="9195">
                  <c:v>#N/A</c:v>
                </c:pt>
                <c:pt idx="9196">
                  <c:v>#N/A</c:v>
                </c:pt>
                <c:pt idx="9197">
                  <c:v>#N/A</c:v>
                </c:pt>
                <c:pt idx="9198">
                  <c:v>#N/A</c:v>
                </c:pt>
                <c:pt idx="9199">
                  <c:v>#N/A</c:v>
                </c:pt>
                <c:pt idx="9200">
                  <c:v>#N/A</c:v>
                </c:pt>
                <c:pt idx="9201">
                  <c:v>#N/A</c:v>
                </c:pt>
                <c:pt idx="9202">
                  <c:v>#N/A</c:v>
                </c:pt>
                <c:pt idx="9203">
                  <c:v>#N/A</c:v>
                </c:pt>
                <c:pt idx="9204">
                  <c:v>#N/A</c:v>
                </c:pt>
                <c:pt idx="9205">
                  <c:v>#N/A</c:v>
                </c:pt>
                <c:pt idx="9206">
                  <c:v>#N/A</c:v>
                </c:pt>
                <c:pt idx="9207">
                  <c:v>#N/A</c:v>
                </c:pt>
                <c:pt idx="9208">
                  <c:v>#N/A</c:v>
                </c:pt>
                <c:pt idx="9209">
                  <c:v>#N/A</c:v>
                </c:pt>
                <c:pt idx="9210">
                  <c:v>#N/A</c:v>
                </c:pt>
                <c:pt idx="9211">
                  <c:v>#N/A</c:v>
                </c:pt>
                <c:pt idx="9212">
                  <c:v>#N/A</c:v>
                </c:pt>
                <c:pt idx="9213">
                  <c:v>#N/A</c:v>
                </c:pt>
                <c:pt idx="9214">
                  <c:v>#N/A</c:v>
                </c:pt>
                <c:pt idx="9215">
                  <c:v>#N/A</c:v>
                </c:pt>
                <c:pt idx="9216">
                  <c:v>#N/A</c:v>
                </c:pt>
                <c:pt idx="9217">
                  <c:v>#N/A</c:v>
                </c:pt>
                <c:pt idx="9218">
                  <c:v>#N/A</c:v>
                </c:pt>
                <c:pt idx="9219">
                  <c:v>#N/A</c:v>
                </c:pt>
                <c:pt idx="9220">
                  <c:v>#N/A</c:v>
                </c:pt>
                <c:pt idx="9221">
                  <c:v>#N/A</c:v>
                </c:pt>
                <c:pt idx="9222">
                  <c:v>#N/A</c:v>
                </c:pt>
                <c:pt idx="9223">
                  <c:v>#N/A</c:v>
                </c:pt>
                <c:pt idx="9224">
                  <c:v>#N/A</c:v>
                </c:pt>
                <c:pt idx="9225">
                  <c:v>#N/A</c:v>
                </c:pt>
                <c:pt idx="9226">
                  <c:v>#N/A</c:v>
                </c:pt>
                <c:pt idx="9227">
                  <c:v>#N/A</c:v>
                </c:pt>
                <c:pt idx="9228">
                  <c:v>#N/A</c:v>
                </c:pt>
                <c:pt idx="9229">
                  <c:v>#N/A</c:v>
                </c:pt>
                <c:pt idx="9230">
                  <c:v>#N/A</c:v>
                </c:pt>
                <c:pt idx="9231">
                  <c:v>#N/A</c:v>
                </c:pt>
                <c:pt idx="9232">
                  <c:v>#N/A</c:v>
                </c:pt>
                <c:pt idx="9233">
                  <c:v>#N/A</c:v>
                </c:pt>
                <c:pt idx="9234">
                  <c:v>#N/A</c:v>
                </c:pt>
                <c:pt idx="9235">
                  <c:v>#N/A</c:v>
                </c:pt>
                <c:pt idx="9236">
                  <c:v>#N/A</c:v>
                </c:pt>
                <c:pt idx="9237">
                  <c:v>#N/A</c:v>
                </c:pt>
                <c:pt idx="9238">
                  <c:v>#N/A</c:v>
                </c:pt>
                <c:pt idx="9239">
                  <c:v>#N/A</c:v>
                </c:pt>
                <c:pt idx="9240">
                  <c:v>#N/A</c:v>
                </c:pt>
                <c:pt idx="9241">
                  <c:v>#N/A</c:v>
                </c:pt>
                <c:pt idx="9242">
                  <c:v>#N/A</c:v>
                </c:pt>
                <c:pt idx="9243">
                  <c:v>#N/A</c:v>
                </c:pt>
                <c:pt idx="9244">
                  <c:v>#N/A</c:v>
                </c:pt>
                <c:pt idx="9245">
                  <c:v>#N/A</c:v>
                </c:pt>
                <c:pt idx="9246">
                  <c:v>#N/A</c:v>
                </c:pt>
                <c:pt idx="9247">
                  <c:v>#N/A</c:v>
                </c:pt>
                <c:pt idx="9248">
                  <c:v>#N/A</c:v>
                </c:pt>
                <c:pt idx="9249">
                  <c:v>#N/A</c:v>
                </c:pt>
                <c:pt idx="9250">
                  <c:v>#N/A</c:v>
                </c:pt>
                <c:pt idx="9251">
                  <c:v>#N/A</c:v>
                </c:pt>
                <c:pt idx="9252">
                  <c:v>#N/A</c:v>
                </c:pt>
                <c:pt idx="9253">
                  <c:v>#N/A</c:v>
                </c:pt>
                <c:pt idx="9254">
                  <c:v>#N/A</c:v>
                </c:pt>
                <c:pt idx="9255">
                  <c:v>#N/A</c:v>
                </c:pt>
                <c:pt idx="9256">
                  <c:v>#N/A</c:v>
                </c:pt>
                <c:pt idx="9257">
                  <c:v>#N/A</c:v>
                </c:pt>
                <c:pt idx="9258">
                  <c:v>#N/A</c:v>
                </c:pt>
                <c:pt idx="9259">
                  <c:v>#N/A</c:v>
                </c:pt>
                <c:pt idx="9260">
                  <c:v>#N/A</c:v>
                </c:pt>
                <c:pt idx="9261">
                  <c:v>#N/A</c:v>
                </c:pt>
                <c:pt idx="9262">
                  <c:v>#N/A</c:v>
                </c:pt>
                <c:pt idx="9263">
                  <c:v>#N/A</c:v>
                </c:pt>
                <c:pt idx="9264">
                  <c:v>#N/A</c:v>
                </c:pt>
                <c:pt idx="9265">
                  <c:v>#N/A</c:v>
                </c:pt>
                <c:pt idx="9266">
                  <c:v>#N/A</c:v>
                </c:pt>
                <c:pt idx="9267">
                  <c:v>#N/A</c:v>
                </c:pt>
                <c:pt idx="9268">
                  <c:v>#N/A</c:v>
                </c:pt>
                <c:pt idx="9269">
                  <c:v>#N/A</c:v>
                </c:pt>
                <c:pt idx="9270">
                  <c:v>#N/A</c:v>
                </c:pt>
                <c:pt idx="9271">
                  <c:v>#N/A</c:v>
                </c:pt>
                <c:pt idx="9272">
                  <c:v>#N/A</c:v>
                </c:pt>
                <c:pt idx="9273">
                  <c:v>#N/A</c:v>
                </c:pt>
                <c:pt idx="9274">
                  <c:v>#N/A</c:v>
                </c:pt>
                <c:pt idx="9275">
                  <c:v>#N/A</c:v>
                </c:pt>
                <c:pt idx="9276">
                  <c:v>#N/A</c:v>
                </c:pt>
                <c:pt idx="9277">
                  <c:v>#N/A</c:v>
                </c:pt>
                <c:pt idx="9278">
                  <c:v>#N/A</c:v>
                </c:pt>
                <c:pt idx="9279">
                  <c:v>#N/A</c:v>
                </c:pt>
                <c:pt idx="9280">
                  <c:v>#N/A</c:v>
                </c:pt>
                <c:pt idx="9281">
                  <c:v>#N/A</c:v>
                </c:pt>
                <c:pt idx="9282">
                  <c:v>#N/A</c:v>
                </c:pt>
                <c:pt idx="9283">
                  <c:v>#N/A</c:v>
                </c:pt>
                <c:pt idx="9284">
                  <c:v>#N/A</c:v>
                </c:pt>
                <c:pt idx="9285">
                  <c:v>#N/A</c:v>
                </c:pt>
                <c:pt idx="9286">
                  <c:v>#N/A</c:v>
                </c:pt>
                <c:pt idx="9287">
                  <c:v>#N/A</c:v>
                </c:pt>
                <c:pt idx="9288">
                  <c:v>#N/A</c:v>
                </c:pt>
                <c:pt idx="9289">
                  <c:v>#N/A</c:v>
                </c:pt>
                <c:pt idx="9290">
                  <c:v>#N/A</c:v>
                </c:pt>
                <c:pt idx="9291">
                  <c:v>#N/A</c:v>
                </c:pt>
                <c:pt idx="9292">
                  <c:v>#N/A</c:v>
                </c:pt>
                <c:pt idx="9293">
                  <c:v>#N/A</c:v>
                </c:pt>
                <c:pt idx="9294">
                  <c:v>#N/A</c:v>
                </c:pt>
                <c:pt idx="9295">
                  <c:v>#N/A</c:v>
                </c:pt>
                <c:pt idx="9296">
                  <c:v>#N/A</c:v>
                </c:pt>
                <c:pt idx="9297">
                  <c:v>#N/A</c:v>
                </c:pt>
                <c:pt idx="9298">
                  <c:v>#N/A</c:v>
                </c:pt>
                <c:pt idx="9299">
                  <c:v>#N/A</c:v>
                </c:pt>
                <c:pt idx="9300">
                  <c:v>#N/A</c:v>
                </c:pt>
                <c:pt idx="9301">
                  <c:v>#N/A</c:v>
                </c:pt>
                <c:pt idx="9302">
                  <c:v>#N/A</c:v>
                </c:pt>
                <c:pt idx="9303">
                  <c:v>#N/A</c:v>
                </c:pt>
                <c:pt idx="9304">
                  <c:v>#N/A</c:v>
                </c:pt>
                <c:pt idx="9305">
                  <c:v>#N/A</c:v>
                </c:pt>
                <c:pt idx="9306">
                  <c:v>#N/A</c:v>
                </c:pt>
                <c:pt idx="9307">
                  <c:v>#N/A</c:v>
                </c:pt>
                <c:pt idx="9308">
                  <c:v>#N/A</c:v>
                </c:pt>
                <c:pt idx="9309">
                  <c:v>#N/A</c:v>
                </c:pt>
                <c:pt idx="9310">
                  <c:v>#N/A</c:v>
                </c:pt>
                <c:pt idx="9311">
                  <c:v>#N/A</c:v>
                </c:pt>
                <c:pt idx="9312">
                  <c:v>#N/A</c:v>
                </c:pt>
                <c:pt idx="9313">
                  <c:v>#N/A</c:v>
                </c:pt>
                <c:pt idx="9314">
                  <c:v>#N/A</c:v>
                </c:pt>
                <c:pt idx="9315">
                  <c:v>#N/A</c:v>
                </c:pt>
                <c:pt idx="9316">
                  <c:v>#N/A</c:v>
                </c:pt>
                <c:pt idx="9317">
                  <c:v>#N/A</c:v>
                </c:pt>
                <c:pt idx="9318">
                  <c:v>#N/A</c:v>
                </c:pt>
                <c:pt idx="9319">
                  <c:v>#N/A</c:v>
                </c:pt>
                <c:pt idx="9320">
                  <c:v>#N/A</c:v>
                </c:pt>
                <c:pt idx="9321">
                  <c:v>#N/A</c:v>
                </c:pt>
                <c:pt idx="9322">
                  <c:v>#N/A</c:v>
                </c:pt>
                <c:pt idx="9323">
                  <c:v>#N/A</c:v>
                </c:pt>
                <c:pt idx="9324">
                  <c:v>#N/A</c:v>
                </c:pt>
                <c:pt idx="9325">
                  <c:v>#N/A</c:v>
                </c:pt>
                <c:pt idx="9326">
                  <c:v>#N/A</c:v>
                </c:pt>
                <c:pt idx="9327">
                  <c:v>#N/A</c:v>
                </c:pt>
                <c:pt idx="9328">
                  <c:v>#N/A</c:v>
                </c:pt>
                <c:pt idx="9329">
                  <c:v>#N/A</c:v>
                </c:pt>
                <c:pt idx="9330">
                  <c:v>#N/A</c:v>
                </c:pt>
                <c:pt idx="9331">
                  <c:v>#N/A</c:v>
                </c:pt>
                <c:pt idx="9332">
                  <c:v>#N/A</c:v>
                </c:pt>
                <c:pt idx="9333">
                  <c:v>#N/A</c:v>
                </c:pt>
                <c:pt idx="9334">
                  <c:v>#N/A</c:v>
                </c:pt>
                <c:pt idx="9335">
                  <c:v>#N/A</c:v>
                </c:pt>
                <c:pt idx="9336">
                  <c:v>#N/A</c:v>
                </c:pt>
                <c:pt idx="9337">
                  <c:v>#N/A</c:v>
                </c:pt>
                <c:pt idx="9338">
                  <c:v>#N/A</c:v>
                </c:pt>
                <c:pt idx="9339">
                  <c:v>#N/A</c:v>
                </c:pt>
                <c:pt idx="9340">
                  <c:v>#N/A</c:v>
                </c:pt>
                <c:pt idx="9341">
                  <c:v>#N/A</c:v>
                </c:pt>
                <c:pt idx="9342">
                  <c:v>#N/A</c:v>
                </c:pt>
                <c:pt idx="9343">
                  <c:v>#N/A</c:v>
                </c:pt>
                <c:pt idx="9344">
                  <c:v>#N/A</c:v>
                </c:pt>
                <c:pt idx="9345">
                  <c:v>#N/A</c:v>
                </c:pt>
                <c:pt idx="9346">
                  <c:v>#N/A</c:v>
                </c:pt>
                <c:pt idx="9347">
                  <c:v>#N/A</c:v>
                </c:pt>
                <c:pt idx="9348">
                  <c:v>#N/A</c:v>
                </c:pt>
                <c:pt idx="9349">
                  <c:v>#N/A</c:v>
                </c:pt>
                <c:pt idx="9350">
                  <c:v>#N/A</c:v>
                </c:pt>
                <c:pt idx="9351">
                  <c:v>#N/A</c:v>
                </c:pt>
                <c:pt idx="9352">
                  <c:v>#N/A</c:v>
                </c:pt>
                <c:pt idx="9353">
                  <c:v>#N/A</c:v>
                </c:pt>
                <c:pt idx="9354">
                  <c:v>#N/A</c:v>
                </c:pt>
                <c:pt idx="9355">
                  <c:v>#N/A</c:v>
                </c:pt>
                <c:pt idx="9356">
                  <c:v>#N/A</c:v>
                </c:pt>
                <c:pt idx="9357">
                  <c:v>#N/A</c:v>
                </c:pt>
                <c:pt idx="9358">
                  <c:v>#N/A</c:v>
                </c:pt>
                <c:pt idx="9359">
                  <c:v>#N/A</c:v>
                </c:pt>
                <c:pt idx="9360">
                  <c:v>#N/A</c:v>
                </c:pt>
                <c:pt idx="9361">
                  <c:v>#N/A</c:v>
                </c:pt>
                <c:pt idx="9362">
                  <c:v>#N/A</c:v>
                </c:pt>
                <c:pt idx="9363">
                  <c:v>#N/A</c:v>
                </c:pt>
                <c:pt idx="9364">
                  <c:v>#N/A</c:v>
                </c:pt>
                <c:pt idx="9365">
                  <c:v>#N/A</c:v>
                </c:pt>
                <c:pt idx="9366">
                  <c:v>#N/A</c:v>
                </c:pt>
                <c:pt idx="9367">
                  <c:v>#N/A</c:v>
                </c:pt>
                <c:pt idx="9368">
                  <c:v>#N/A</c:v>
                </c:pt>
                <c:pt idx="9369">
                  <c:v>#N/A</c:v>
                </c:pt>
                <c:pt idx="9370">
                  <c:v>#N/A</c:v>
                </c:pt>
                <c:pt idx="9371">
                  <c:v>#N/A</c:v>
                </c:pt>
                <c:pt idx="9372">
                  <c:v>#N/A</c:v>
                </c:pt>
                <c:pt idx="9373">
                  <c:v>#N/A</c:v>
                </c:pt>
                <c:pt idx="9374">
                  <c:v>#N/A</c:v>
                </c:pt>
                <c:pt idx="9375">
                  <c:v>#N/A</c:v>
                </c:pt>
                <c:pt idx="9376">
                  <c:v>#N/A</c:v>
                </c:pt>
                <c:pt idx="9377">
                  <c:v>#N/A</c:v>
                </c:pt>
                <c:pt idx="9378">
                  <c:v>#N/A</c:v>
                </c:pt>
                <c:pt idx="9379">
                  <c:v>#N/A</c:v>
                </c:pt>
                <c:pt idx="9380">
                  <c:v>#N/A</c:v>
                </c:pt>
                <c:pt idx="9381">
                  <c:v>#N/A</c:v>
                </c:pt>
                <c:pt idx="9382">
                  <c:v>#N/A</c:v>
                </c:pt>
                <c:pt idx="9383">
                  <c:v>#N/A</c:v>
                </c:pt>
                <c:pt idx="9384">
                  <c:v>#N/A</c:v>
                </c:pt>
                <c:pt idx="9385">
                  <c:v>#N/A</c:v>
                </c:pt>
                <c:pt idx="9386">
                  <c:v>#N/A</c:v>
                </c:pt>
                <c:pt idx="9387">
                  <c:v>#N/A</c:v>
                </c:pt>
                <c:pt idx="9388">
                  <c:v>#N/A</c:v>
                </c:pt>
                <c:pt idx="9389">
                  <c:v>#N/A</c:v>
                </c:pt>
                <c:pt idx="9390">
                  <c:v>#N/A</c:v>
                </c:pt>
                <c:pt idx="9391">
                  <c:v>#N/A</c:v>
                </c:pt>
                <c:pt idx="9392">
                  <c:v>#N/A</c:v>
                </c:pt>
                <c:pt idx="9393">
                  <c:v>#N/A</c:v>
                </c:pt>
                <c:pt idx="9394">
                  <c:v>#N/A</c:v>
                </c:pt>
                <c:pt idx="9395">
                  <c:v>#N/A</c:v>
                </c:pt>
                <c:pt idx="9396">
                  <c:v>#N/A</c:v>
                </c:pt>
                <c:pt idx="9397">
                  <c:v>#N/A</c:v>
                </c:pt>
                <c:pt idx="9398">
                  <c:v>#N/A</c:v>
                </c:pt>
                <c:pt idx="9399">
                  <c:v>#N/A</c:v>
                </c:pt>
                <c:pt idx="9400">
                  <c:v>#N/A</c:v>
                </c:pt>
                <c:pt idx="9401">
                  <c:v>#N/A</c:v>
                </c:pt>
                <c:pt idx="9402">
                  <c:v>#N/A</c:v>
                </c:pt>
                <c:pt idx="9403">
                  <c:v>#N/A</c:v>
                </c:pt>
                <c:pt idx="9404">
                  <c:v>#N/A</c:v>
                </c:pt>
                <c:pt idx="9405">
                  <c:v>#N/A</c:v>
                </c:pt>
                <c:pt idx="9406">
                  <c:v>#N/A</c:v>
                </c:pt>
                <c:pt idx="9407">
                  <c:v>#N/A</c:v>
                </c:pt>
                <c:pt idx="9408">
                  <c:v>#N/A</c:v>
                </c:pt>
                <c:pt idx="9409">
                  <c:v>#N/A</c:v>
                </c:pt>
                <c:pt idx="9410">
                  <c:v>#N/A</c:v>
                </c:pt>
                <c:pt idx="9411">
                  <c:v>#N/A</c:v>
                </c:pt>
                <c:pt idx="9412">
                  <c:v>#N/A</c:v>
                </c:pt>
                <c:pt idx="9413">
                  <c:v>#N/A</c:v>
                </c:pt>
                <c:pt idx="9414">
                  <c:v>#N/A</c:v>
                </c:pt>
                <c:pt idx="9415">
                  <c:v>#N/A</c:v>
                </c:pt>
                <c:pt idx="9416">
                  <c:v>#N/A</c:v>
                </c:pt>
                <c:pt idx="9417">
                  <c:v>#N/A</c:v>
                </c:pt>
                <c:pt idx="9418">
                  <c:v>#N/A</c:v>
                </c:pt>
                <c:pt idx="9419">
                  <c:v>#N/A</c:v>
                </c:pt>
                <c:pt idx="9420">
                  <c:v>#N/A</c:v>
                </c:pt>
                <c:pt idx="9421">
                  <c:v>#N/A</c:v>
                </c:pt>
                <c:pt idx="9422">
                  <c:v>#N/A</c:v>
                </c:pt>
                <c:pt idx="9423">
                  <c:v>#N/A</c:v>
                </c:pt>
                <c:pt idx="9424">
                  <c:v>#N/A</c:v>
                </c:pt>
                <c:pt idx="9425">
                  <c:v>#N/A</c:v>
                </c:pt>
                <c:pt idx="9426">
                  <c:v>#N/A</c:v>
                </c:pt>
                <c:pt idx="9427">
                  <c:v>#N/A</c:v>
                </c:pt>
                <c:pt idx="9428">
                  <c:v>#N/A</c:v>
                </c:pt>
                <c:pt idx="9429">
                  <c:v>#N/A</c:v>
                </c:pt>
                <c:pt idx="9430">
                  <c:v>#N/A</c:v>
                </c:pt>
                <c:pt idx="9431">
                  <c:v>#N/A</c:v>
                </c:pt>
                <c:pt idx="9432">
                  <c:v>#N/A</c:v>
                </c:pt>
                <c:pt idx="9433">
                  <c:v>#N/A</c:v>
                </c:pt>
                <c:pt idx="9434">
                  <c:v>#N/A</c:v>
                </c:pt>
                <c:pt idx="9435">
                  <c:v>#N/A</c:v>
                </c:pt>
                <c:pt idx="9436">
                  <c:v>#N/A</c:v>
                </c:pt>
                <c:pt idx="9437">
                  <c:v>#N/A</c:v>
                </c:pt>
                <c:pt idx="9438">
                  <c:v>#N/A</c:v>
                </c:pt>
                <c:pt idx="9439">
                  <c:v>#N/A</c:v>
                </c:pt>
                <c:pt idx="9440">
                  <c:v>#N/A</c:v>
                </c:pt>
                <c:pt idx="9441">
                  <c:v>#N/A</c:v>
                </c:pt>
                <c:pt idx="9442">
                  <c:v>#N/A</c:v>
                </c:pt>
                <c:pt idx="9443">
                  <c:v>#N/A</c:v>
                </c:pt>
                <c:pt idx="9444">
                  <c:v>#N/A</c:v>
                </c:pt>
                <c:pt idx="9445">
                  <c:v>#N/A</c:v>
                </c:pt>
                <c:pt idx="9446">
                  <c:v>#N/A</c:v>
                </c:pt>
                <c:pt idx="9447">
                  <c:v>#N/A</c:v>
                </c:pt>
                <c:pt idx="9448">
                  <c:v>#N/A</c:v>
                </c:pt>
                <c:pt idx="9449">
                  <c:v>#N/A</c:v>
                </c:pt>
                <c:pt idx="9450">
                  <c:v>#N/A</c:v>
                </c:pt>
                <c:pt idx="9451">
                  <c:v>#N/A</c:v>
                </c:pt>
                <c:pt idx="9452">
                  <c:v>#N/A</c:v>
                </c:pt>
                <c:pt idx="9453">
                  <c:v>#N/A</c:v>
                </c:pt>
                <c:pt idx="9454">
                  <c:v>#N/A</c:v>
                </c:pt>
                <c:pt idx="9455">
                  <c:v>#N/A</c:v>
                </c:pt>
                <c:pt idx="9456">
                  <c:v>#N/A</c:v>
                </c:pt>
                <c:pt idx="9457">
                  <c:v>#N/A</c:v>
                </c:pt>
                <c:pt idx="9458">
                  <c:v>#N/A</c:v>
                </c:pt>
                <c:pt idx="9459">
                  <c:v>#N/A</c:v>
                </c:pt>
                <c:pt idx="9460">
                  <c:v>#N/A</c:v>
                </c:pt>
                <c:pt idx="9461">
                  <c:v>#N/A</c:v>
                </c:pt>
                <c:pt idx="9462">
                  <c:v>#N/A</c:v>
                </c:pt>
                <c:pt idx="9463">
                  <c:v>#N/A</c:v>
                </c:pt>
                <c:pt idx="9464">
                  <c:v>#N/A</c:v>
                </c:pt>
                <c:pt idx="9465">
                  <c:v>#N/A</c:v>
                </c:pt>
                <c:pt idx="9466">
                  <c:v>#N/A</c:v>
                </c:pt>
                <c:pt idx="9467">
                  <c:v>#N/A</c:v>
                </c:pt>
                <c:pt idx="9468">
                  <c:v>#N/A</c:v>
                </c:pt>
                <c:pt idx="9469">
                  <c:v>#N/A</c:v>
                </c:pt>
                <c:pt idx="9470">
                  <c:v>#N/A</c:v>
                </c:pt>
                <c:pt idx="9471">
                  <c:v>#N/A</c:v>
                </c:pt>
                <c:pt idx="9472">
                  <c:v>#N/A</c:v>
                </c:pt>
                <c:pt idx="9473">
                  <c:v>#N/A</c:v>
                </c:pt>
                <c:pt idx="9474">
                  <c:v>#N/A</c:v>
                </c:pt>
                <c:pt idx="9475">
                  <c:v>#N/A</c:v>
                </c:pt>
                <c:pt idx="9476">
                  <c:v>#N/A</c:v>
                </c:pt>
                <c:pt idx="9477">
                  <c:v>#N/A</c:v>
                </c:pt>
                <c:pt idx="9478">
                  <c:v>#N/A</c:v>
                </c:pt>
                <c:pt idx="9479">
                  <c:v>#N/A</c:v>
                </c:pt>
                <c:pt idx="9480">
                  <c:v>#N/A</c:v>
                </c:pt>
                <c:pt idx="9481">
                  <c:v>#N/A</c:v>
                </c:pt>
                <c:pt idx="9482">
                  <c:v>#N/A</c:v>
                </c:pt>
                <c:pt idx="9483">
                  <c:v>#N/A</c:v>
                </c:pt>
                <c:pt idx="9484">
                  <c:v>#N/A</c:v>
                </c:pt>
                <c:pt idx="9485">
                  <c:v>#N/A</c:v>
                </c:pt>
                <c:pt idx="9486">
                  <c:v>#N/A</c:v>
                </c:pt>
                <c:pt idx="9487">
                  <c:v>#N/A</c:v>
                </c:pt>
                <c:pt idx="9488">
                  <c:v>#N/A</c:v>
                </c:pt>
                <c:pt idx="9489">
                  <c:v>#N/A</c:v>
                </c:pt>
                <c:pt idx="9490">
                  <c:v>#N/A</c:v>
                </c:pt>
                <c:pt idx="9491">
                  <c:v>#N/A</c:v>
                </c:pt>
                <c:pt idx="9492">
                  <c:v>#N/A</c:v>
                </c:pt>
                <c:pt idx="9493">
                  <c:v>#N/A</c:v>
                </c:pt>
                <c:pt idx="9494">
                  <c:v>#N/A</c:v>
                </c:pt>
                <c:pt idx="9495">
                  <c:v>#N/A</c:v>
                </c:pt>
                <c:pt idx="9496">
                  <c:v>#N/A</c:v>
                </c:pt>
                <c:pt idx="9497">
                  <c:v>#N/A</c:v>
                </c:pt>
                <c:pt idx="9498">
                  <c:v>#N/A</c:v>
                </c:pt>
                <c:pt idx="9499">
                  <c:v>#N/A</c:v>
                </c:pt>
                <c:pt idx="9500">
                  <c:v>#N/A</c:v>
                </c:pt>
                <c:pt idx="9501">
                  <c:v>#N/A</c:v>
                </c:pt>
                <c:pt idx="9502">
                  <c:v>#N/A</c:v>
                </c:pt>
                <c:pt idx="9503">
                  <c:v>#N/A</c:v>
                </c:pt>
                <c:pt idx="9504">
                  <c:v>#N/A</c:v>
                </c:pt>
                <c:pt idx="9505">
                  <c:v>#N/A</c:v>
                </c:pt>
                <c:pt idx="9506">
                  <c:v>#N/A</c:v>
                </c:pt>
                <c:pt idx="9507">
                  <c:v>#N/A</c:v>
                </c:pt>
                <c:pt idx="9508">
                  <c:v>#N/A</c:v>
                </c:pt>
                <c:pt idx="9509">
                  <c:v>#N/A</c:v>
                </c:pt>
                <c:pt idx="9510">
                  <c:v>#N/A</c:v>
                </c:pt>
                <c:pt idx="9511">
                  <c:v>#N/A</c:v>
                </c:pt>
                <c:pt idx="9512">
                  <c:v>#N/A</c:v>
                </c:pt>
                <c:pt idx="9513">
                  <c:v>#N/A</c:v>
                </c:pt>
                <c:pt idx="9514">
                  <c:v>#N/A</c:v>
                </c:pt>
                <c:pt idx="9515">
                  <c:v>#N/A</c:v>
                </c:pt>
                <c:pt idx="9516">
                  <c:v>#N/A</c:v>
                </c:pt>
                <c:pt idx="9517">
                  <c:v>#N/A</c:v>
                </c:pt>
                <c:pt idx="9518">
                  <c:v>#N/A</c:v>
                </c:pt>
                <c:pt idx="9519">
                  <c:v>#N/A</c:v>
                </c:pt>
                <c:pt idx="9520">
                  <c:v>#N/A</c:v>
                </c:pt>
                <c:pt idx="9521">
                  <c:v>#N/A</c:v>
                </c:pt>
                <c:pt idx="9522">
                  <c:v>#N/A</c:v>
                </c:pt>
                <c:pt idx="9523">
                  <c:v>#N/A</c:v>
                </c:pt>
                <c:pt idx="9524">
                  <c:v>#N/A</c:v>
                </c:pt>
                <c:pt idx="9525">
                  <c:v>#N/A</c:v>
                </c:pt>
                <c:pt idx="9526">
                  <c:v>#N/A</c:v>
                </c:pt>
                <c:pt idx="9527">
                  <c:v>#N/A</c:v>
                </c:pt>
                <c:pt idx="9528">
                  <c:v>#N/A</c:v>
                </c:pt>
                <c:pt idx="9529">
                  <c:v>#N/A</c:v>
                </c:pt>
                <c:pt idx="9530">
                  <c:v>#N/A</c:v>
                </c:pt>
                <c:pt idx="9531">
                  <c:v>#N/A</c:v>
                </c:pt>
                <c:pt idx="9532">
                  <c:v>#N/A</c:v>
                </c:pt>
                <c:pt idx="9533">
                  <c:v>#N/A</c:v>
                </c:pt>
                <c:pt idx="9534">
                  <c:v>#N/A</c:v>
                </c:pt>
                <c:pt idx="9535">
                  <c:v>#N/A</c:v>
                </c:pt>
                <c:pt idx="9536">
                  <c:v>#N/A</c:v>
                </c:pt>
                <c:pt idx="9537">
                  <c:v>#N/A</c:v>
                </c:pt>
                <c:pt idx="9538">
                  <c:v>#N/A</c:v>
                </c:pt>
                <c:pt idx="9539">
                  <c:v>#N/A</c:v>
                </c:pt>
                <c:pt idx="9540">
                  <c:v>#N/A</c:v>
                </c:pt>
                <c:pt idx="9541">
                  <c:v>#N/A</c:v>
                </c:pt>
                <c:pt idx="9542">
                  <c:v>#N/A</c:v>
                </c:pt>
                <c:pt idx="9543">
                  <c:v>#N/A</c:v>
                </c:pt>
                <c:pt idx="9544">
                  <c:v>#N/A</c:v>
                </c:pt>
                <c:pt idx="9545">
                  <c:v>#N/A</c:v>
                </c:pt>
                <c:pt idx="9546">
                  <c:v>#N/A</c:v>
                </c:pt>
                <c:pt idx="9547">
                  <c:v>#N/A</c:v>
                </c:pt>
                <c:pt idx="9548">
                  <c:v>#N/A</c:v>
                </c:pt>
                <c:pt idx="9549">
                  <c:v>#N/A</c:v>
                </c:pt>
                <c:pt idx="9550">
                  <c:v>#N/A</c:v>
                </c:pt>
                <c:pt idx="9551">
                  <c:v>#N/A</c:v>
                </c:pt>
                <c:pt idx="9552">
                  <c:v>#N/A</c:v>
                </c:pt>
                <c:pt idx="9553">
                  <c:v>#N/A</c:v>
                </c:pt>
                <c:pt idx="9554">
                  <c:v>#N/A</c:v>
                </c:pt>
                <c:pt idx="9555">
                  <c:v>#N/A</c:v>
                </c:pt>
                <c:pt idx="9556">
                  <c:v>#N/A</c:v>
                </c:pt>
                <c:pt idx="9557">
                  <c:v>#N/A</c:v>
                </c:pt>
                <c:pt idx="9558">
                  <c:v>#N/A</c:v>
                </c:pt>
                <c:pt idx="9559">
                  <c:v>#N/A</c:v>
                </c:pt>
                <c:pt idx="9560">
                  <c:v>#N/A</c:v>
                </c:pt>
                <c:pt idx="9561">
                  <c:v>#N/A</c:v>
                </c:pt>
                <c:pt idx="9562">
                  <c:v>#N/A</c:v>
                </c:pt>
                <c:pt idx="9563">
                  <c:v>#N/A</c:v>
                </c:pt>
                <c:pt idx="9564">
                  <c:v>#N/A</c:v>
                </c:pt>
                <c:pt idx="9565">
                  <c:v>#N/A</c:v>
                </c:pt>
                <c:pt idx="9566">
                  <c:v>#N/A</c:v>
                </c:pt>
                <c:pt idx="9567">
                  <c:v>#N/A</c:v>
                </c:pt>
                <c:pt idx="9568">
                  <c:v>#N/A</c:v>
                </c:pt>
                <c:pt idx="9569">
                  <c:v>#N/A</c:v>
                </c:pt>
                <c:pt idx="9570">
                  <c:v>#N/A</c:v>
                </c:pt>
                <c:pt idx="9571">
                  <c:v>#N/A</c:v>
                </c:pt>
                <c:pt idx="9572">
                  <c:v>#N/A</c:v>
                </c:pt>
                <c:pt idx="9573">
                  <c:v>#N/A</c:v>
                </c:pt>
                <c:pt idx="9574">
                  <c:v>#N/A</c:v>
                </c:pt>
                <c:pt idx="9575">
                  <c:v>#N/A</c:v>
                </c:pt>
                <c:pt idx="9576">
                  <c:v>#N/A</c:v>
                </c:pt>
                <c:pt idx="9577">
                  <c:v>#N/A</c:v>
                </c:pt>
                <c:pt idx="9578">
                  <c:v>#N/A</c:v>
                </c:pt>
                <c:pt idx="9579">
                  <c:v>#N/A</c:v>
                </c:pt>
                <c:pt idx="9580">
                  <c:v>#N/A</c:v>
                </c:pt>
                <c:pt idx="9581">
                  <c:v>#N/A</c:v>
                </c:pt>
                <c:pt idx="9582">
                  <c:v>#N/A</c:v>
                </c:pt>
                <c:pt idx="9583">
                  <c:v>#N/A</c:v>
                </c:pt>
                <c:pt idx="9584">
                  <c:v>#N/A</c:v>
                </c:pt>
                <c:pt idx="9585">
                  <c:v>#N/A</c:v>
                </c:pt>
                <c:pt idx="9586">
                  <c:v>#N/A</c:v>
                </c:pt>
                <c:pt idx="9587">
                  <c:v>#N/A</c:v>
                </c:pt>
                <c:pt idx="9588">
                  <c:v>#N/A</c:v>
                </c:pt>
                <c:pt idx="9589">
                  <c:v>#N/A</c:v>
                </c:pt>
                <c:pt idx="9590">
                  <c:v>#N/A</c:v>
                </c:pt>
                <c:pt idx="9591">
                  <c:v>#N/A</c:v>
                </c:pt>
                <c:pt idx="9592">
                  <c:v>#N/A</c:v>
                </c:pt>
                <c:pt idx="9593">
                  <c:v>#N/A</c:v>
                </c:pt>
                <c:pt idx="9594">
                  <c:v>#N/A</c:v>
                </c:pt>
                <c:pt idx="9595">
                  <c:v>#N/A</c:v>
                </c:pt>
                <c:pt idx="9596">
                  <c:v>#N/A</c:v>
                </c:pt>
                <c:pt idx="9597">
                  <c:v>#N/A</c:v>
                </c:pt>
                <c:pt idx="9598">
                  <c:v>#N/A</c:v>
                </c:pt>
                <c:pt idx="9599">
                  <c:v>#N/A</c:v>
                </c:pt>
                <c:pt idx="9600">
                  <c:v>#N/A</c:v>
                </c:pt>
                <c:pt idx="9601">
                  <c:v>#N/A</c:v>
                </c:pt>
                <c:pt idx="9602">
                  <c:v>#N/A</c:v>
                </c:pt>
                <c:pt idx="9603">
                  <c:v>#N/A</c:v>
                </c:pt>
                <c:pt idx="9604">
                  <c:v>#N/A</c:v>
                </c:pt>
                <c:pt idx="9605">
                  <c:v>#N/A</c:v>
                </c:pt>
                <c:pt idx="9606">
                  <c:v>#N/A</c:v>
                </c:pt>
                <c:pt idx="9607">
                  <c:v>#N/A</c:v>
                </c:pt>
                <c:pt idx="9608">
                  <c:v>#N/A</c:v>
                </c:pt>
                <c:pt idx="9609">
                  <c:v>#N/A</c:v>
                </c:pt>
                <c:pt idx="9610">
                  <c:v>#N/A</c:v>
                </c:pt>
                <c:pt idx="9611">
                  <c:v>#N/A</c:v>
                </c:pt>
                <c:pt idx="9612">
                  <c:v>#N/A</c:v>
                </c:pt>
                <c:pt idx="9613">
                  <c:v>#N/A</c:v>
                </c:pt>
                <c:pt idx="9614">
                  <c:v>#N/A</c:v>
                </c:pt>
                <c:pt idx="9615">
                  <c:v>#N/A</c:v>
                </c:pt>
                <c:pt idx="9616">
                  <c:v>#N/A</c:v>
                </c:pt>
                <c:pt idx="9617">
                  <c:v>#N/A</c:v>
                </c:pt>
                <c:pt idx="9618">
                  <c:v>#N/A</c:v>
                </c:pt>
                <c:pt idx="9619">
                  <c:v>#N/A</c:v>
                </c:pt>
                <c:pt idx="9620">
                  <c:v>#N/A</c:v>
                </c:pt>
                <c:pt idx="9621">
                  <c:v>#N/A</c:v>
                </c:pt>
                <c:pt idx="9622">
                  <c:v>#N/A</c:v>
                </c:pt>
                <c:pt idx="9623">
                  <c:v>#N/A</c:v>
                </c:pt>
                <c:pt idx="9624">
                  <c:v>#N/A</c:v>
                </c:pt>
                <c:pt idx="9625">
                  <c:v>#N/A</c:v>
                </c:pt>
                <c:pt idx="9626">
                  <c:v>#N/A</c:v>
                </c:pt>
                <c:pt idx="9627">
                  <c:v>#N/A</c:v>
                </c:pt>
                <c:pt idx="9628">
                  <c:v>#N/A</c:v>
                </c:pt>
                <c:pt idx="9629">
                  <c:v>#N/A</c:v>
                </c:pt>
                <c:pt idx="9630">
                  <c:v>#N/A</c:v>
                </c:pt>
                <c:pt idx="9631">
                  <c:v>#N/A</c:v>
                </c:pt>
                <c:pt idx="9632">
                  <c:v>#N/A</c:v>
                </c:pt>
                <c:pt idx="9633">
                  <c:v>#N/A</c:v>
                </c:pt>
                <c:pt idx="9634">
                  <c:v>#N/A</c:v>
                </c:pt>
                <c:pt idx="9635">
                  <c:v>#N/A</c:v>
                </c:pt>
                <c:pt idx="9636">
                  <c:v>#N/A</c:v>
                </c:pt>
                <c:pt idx="9637">
                  <c:v>#N/A</c:v>
                </c:pt>
                <c:pt idx="9638">
                  <c:v>#N/A</c:v>
                </c:pt>
                <c:pt idx="9639">
                  <c:v>#N/A</c:v>
                </c:pt>
                <c:pt idx="9640">
                  <c:v>#N/A</c:v>
                </c:pt>
                <c:pt idx="9641">
                  <c:v>#N/A</c:v>
                </c:pt>
                <c:pt idx="9642">
                  <c:v>#N/A</c:v>
                </c:pt>
                <c:pt idx="9643">
                  <c:v>#N/A</c:v>
                </c:pt>
                <c:pt idx="9644">
                  <c:v>#N/A</c:v>
                </c:pt>
                <c:pt idx="9645">
                  <c:v>#N/A</c:v>
                </c:pt>
                <c:pt idx="9646">
                  <c:v>#N/A</c:v>
                </c:pt>
                <c:pt idx="9647">
                  <c:v>#N/A</c:v>
                </c:pt>
                <c:pt idx="9648">
                  <c:v>#N/A</c:v>
                </c:pt>
                <c:pt idx="9649">
                  <c:v>#N/A</c:v>
                </c:pt>
                <c:pt idx="9650">
                  <c:v>#N/A</c:v>
                </c:pt>
                <c:pt idx="9651">
                  <c:v>#N/A</c:v>
                </c:pt>
                <c:pt idx="9652">
                  <c:v>#N/A</c:v>
                </c:pt>
                <c:pt idx="9653">
                  <c:v>#N/A</c:v>
                </c:pt>
                <c:pt idx="9654">
                  <c:v>#N/A</c:v>
                </c:pt>
                <c:pt idx="9655">
                  <c:v>#N/A</c:v>
                </c:pt>
                <c:pt idx="9656">
                  <c:v>#N/A</c:v>
                </c:pt>
                <c:pt idx="9657">
                  <c:v>#N/A</c:v>
                </c:pt>
                <c:pt idx="9658">
                  <c:v>#N/A</c:v>
                </c:pt>
                <c:pt idx="9659">
                  <c:v>#N/A</c:v>
                </c:pt>
                <c:pt idx="9660">
                  <c:v>#N/A</c:v>
                </c:pt>
                <c:pt idx="9661">
                  <c:v>#N/A</c:v>
                </c:pt>
                <c:pt idx="9662">
                  <c:v>#N/A</c:v>
                </c:pt>
                <c:pt idx="9663">
                  <c:v>#N/A</c:v>
                </c:pt>
                <c:pt idx="9664">
                  <c:v>#N/A</c:v>
                </c:pt>
                <c:pt idx="9665">
                  <c:v>#N/A</c:v>
                </c:pt>
                <c:pt idx="9666">
                  <c:v>#N/A</c:v>
                </c:pt>
                <c:pt idx="9667">
                  <c:v>#N/A</c:v>
                </c:pt>
                <c:pt idx="9668">
                  <c:v>#N/A</c:v>
                </c:pt>
                <c:pt idx="9669">
                  <c:v>#N/A</c:v>
                </c:pt>
                <c:pt idx="9670">
                  <c:v>#N/A</c:v>
                </c:pt>
                <c:pt idx="9671">
                  <c:v>#N/A</c:v>
                </c:pt>
                <c:pt idx="9672">
                  <c:v>#N/A</c:v>
                </c:pt>
                <c:pt idx="9673">
                  <c:v>#N/A</c:v>
                </c:pt>
                <c:pt idx="9674">
                  <c:v>#N/A</c:v>
                </c:pt>
                <c:pt idx="9675">
                  <c:v>#N/A</c:v>
                </c:pt>
                <c:pt idx="9676">
                  <c:v>#N/A</c:v>
                </c:pt>
                <c:pt idx="9677">
                  <c:v>#N/A</c:v>
                </c:pt>
                <c:pt idx="9678">
                  <c:v>#N/A</c:v>
                </c:pt>
                <c:pt idx="9679">
                  <c:v>#N/A</c:v>
                </c:pt>
                <c:pt idx="9680">
                  <c:v>#N/A</c:v>
                </c:pt>
                <c:pt idx="9681">
                  <c:v>#N/A</c:v>
                </c:pt>
                <c:pt idx="9682">
                  <c:v>#N/A</c:v>
                </c:pt>
                <c:pt idx="9683">
                  <c:v>#N/A</c:v>
                </c:pt>
                <c:pt idx="9684">
                  <c:v>#N/A</c:v>
                </c:pt>
                <c:pt idx="9685">
                  <c:v>#N/A</c:v>
                </c:pt>
                <c:pt idx="9686">
                  <c:v>#N/A</c:v>
                </c:pt>
                <c:pt idx="9687">
                  <c:v>#N/A</c:v>
                </c:pt>
                <c:pt idx="9688">
                  <c:v>#N/A</c:v>
                </c:pt>
                <c:pt idx="9689">
                  <c:v>#N/A</c:v>
                </c:pt>
                <c:pt idx="9690">
                  <c:v>#N/A</c:v>
                </c:pt>
                <c:pt idx="9691">
                  <c:v>#N/A</c:v>
                </c:pt>
                <c:pt idx="9692">
                  <c:v>#N/A</c:v>
                </c:pt>
                <c:pt idx="9693">
                  <c:v>#N/A</c:v>
                </c:pt>
                <c:pt idx="9694">
                  <c:v>#N/A</c:v>
                </c:pt>
                <c:pt idx="9695">
                  <c:v>#N/A</c:v>
                </c:pt>
                <c:pt idx="9696">
                  <c:v>#N/A</c:v>
                </c:pt>
                <c:pt idx="9697">
                  <c:v>#N/A</c:v>
                </c:pt>
                <c:pt idx="9698">
                  <c:v>#N/A</c:v>
                </c:pt>
                <c:pt idx="9699">
                  <c:v>#N/A</c:v>
                </c:pt>
                <c:pt idx="9700">
                  <c:v>#N/A</c:v>
                </c:pt>
                <c:pt idx="9701">
                  <c:v>#N/A</c:v>
                </c:pt>
                <c:pt idx="9702">
                  <c:v>#N/A</c:v>
                </c:pt>
                <c:pt idx="9703">
                  <c:v>#N/A</c:v>
                </c:pt>
                <c:pt idx="9704">
                  <c:v>#N/A</c:v>
                </c:pt>
                <c:pt idx="9705">
                  <c:v>#N/A</c:v>
                </c:pt>
                <c:pt idx="9706">
                  <c:v>#N/A</c:v>
                </c:pt>
                <c:pt idx="9707">
                  <c:v>#N/A</c:v>
                </c:pt>
                <c:pt idx="9708">
                  <c:v>#N/A</c:v>
                </c:pt>
                <c:pt idx="9709">
                  <c:v>#N/A</c:v>
                </c:pt>
                <c:pt idx="9710">
                  <c:v>#N/A</c:v>
                </c:pt>
                <c:pt idx="9711">
                  <c:v>#N/A</c:v>
                </c:pt>
                <c:pt idx="9712">
                  <c:v>#N/A</c:v>
                </c:pt>
                <c:pt idx="9713">
                  <c:v>#N/A</c:v>
                </c:pt>
                <c:pt idx="9714">
                  <c:v>#N/A</c:v>
                </c:pt>
                <c:pt idx="9715">
                  <c:v>#N/A</c:v>
                </c:pt>
                <c:pt idx="9716">
                  <c:v>#N/A</c:v>
                </c:pt>
                <c:pt idx="9717">
                  <c:v>#N/A</c:v>
                </c:pt>
                <c:pt idx="9718">
                  <c:v>#N/A</c:v>
                </c:pt>
                <c:pt idx="9719">
                  <c:v>#N/A</c:v>
                </c:pt>
                <c:pt idx="9720">
                  <c:v>#N/A</c:v>
                </c:pt>
                <c:pt idx="9721">
                  <c:v>#N/A</c:v>
                </c:pt>
                <c:pt idx="9722">
                  <c:v>#N/A</c:v>
                </c:pt>
                <c:pt idx="9723">
                  <c:v>#N/A</c:v>
                </c:pt>
                <c:pt idx="9724">
                  <c:v>#N/A</c:v>
                </c:pt>
                <c:pt idx="9725">
                  <c:v>#N/A</c:v>
                </c:pt>
                <c:pt idx="9726">
                  <c:v>#N/A</c:v>
                </c:pt>
                <c:pt idx="9727">
                  <c:v>#N/A</c:v>
                </c:pt>
                <c:pt idx="9728">
                  <c:v>#N/A</c:v>
                </c:pt>
                <c:pt idx="9729">
                  <c:v>#N/A</c:v>
                </c:pt>
                <c:pt idx="9730">
                  <c:v>#N/A</c:v>
                </c:pt>
                <c:pt idx="9731">
                  <c:v>#N/A</c:v>
                </c:pt>
                <c:pt idx="9732">
                  <c:v>#N/A</c:v>
                </c:pt>
                <c:pt idx="9733">
                  <c:v>#N/A</c:v>
                </c:pt>
                <c:pt idx="9734">
                  <c:v>#N/A</c:v>
                </c:pt>
                <c:pt idx="9735">
                  <c:v>#N/A</c:v>
                </c:pt>
                <c:pt idx="9736">
                  <c:v>#N/A</c:v>
                </c:pt>
                <c:pt idx="9737">
                  <c:v>#N/A</c:v>
                </c:pt>
                <c:pt idx="9738">
                  <c:v>#N/A</c:v>
                </c:pt>
                <c:pt idx="9739">
                  <c:v>#N/A</c:v>
                </c:pt>
                <c:pt idx="9740">
                  <c:v>#N/A</c:v>
                </c:pt>
                <c:pt idx="9741">
                  <c:v>#N/A</c:v>
                </c:pt>
                <c:pt idx="9742">
                  <c:v>#N/A</c:v>
                </c:pt>
                <c:pt idx="9743">
                  <c:v>#N/A</c:v>
                </c:pt>
                <c:pt idx="9744">
                  <c:v>#N/A</c:v>
                </c:pt>
                <c:pt idx="9745">
                  <c:v>#N/A</c:v>
                </c:pt>
                <c:pt idx="9746">
                  <c:v>#N/A</c:v>
                </c:pt>
                <c:pt idx="9747">
                  <c:v>#N/A</c:v>
                </c:pt>
                <c:pt idx="9748">
                  <c:v>#N/A</c:v>
                </c:pt>
                <c:pt idx="9749">
                  <c:v>#N/A</c:v>
                </c:pt>
                <c:pt idx="9750">
                  <c:v>#N/A</c:v>
                </c:pt>
                <c:pt idx="9751">
                  <c:v>#N/A</c:v>
                </c:pt>
                <c:pt idx="9752">
                  <c:v>#N/A</c:v>
                </c:pt>
                <c:pt idx="9753">
                  <c:v>#N/A</c:v>
                </c:pt>
                <c:pt idx="9754">
                  <c:v>#N/A</c:v>
                </c:pt>
                <c:pt idx="9755">
                  <c:v>#N/A</c:v>
                </c:pt>
                <c:pt idx="9756">
                  <c:v>#N/A</c:v>
                </c:pt>
                <c:pt idx="9757">
                  <c:v>#N/A</c:v>
                </c:pt>
                <c:pt idx="9758">
                  <c:v>#N/A</c:v>
                </c:pt>
                <c:pt idx="9759">
                  <c:v>#N/A</c:v>
                </c:pt>
                <c:pt idx="9760">
                  <c:v>#N/A</c:v>
                </c:pt>
                <c:pt idx="9761">
                  <c:v>#N/A</c:v>
                </c:pt>
                <c:pt idx="9762">
                  <c:v>#N/A</c:v>
                </c:pt>
                <c:pt idx="9763">
                  <c:v>#N/A</c:v>
                </c:pt>
                <c:pt idx="9764">
                  <c:v>#N/A</c:v>
                </c:pt>
                <c:pt idx="9765">
                  <c:v>#N/A</c:v>
                </c:pt>
                <c:pt idx="9766">
                  <c:v>#N/A</c:v>
                </c:pt>
                <c:pt idx="9767">
                  <c:v>#N/A</c:v>
                </c:pt>
                <c:pt idx="9768">
                  <c:v>#N/A</c:v>
                </c:pt>
                <c:pt idx="9769">
                  <c:v>#N/A</c:v>
                </c:pt>
                <c:pt idx="9770">
                  <c:v>#N/A</c:v>
                </c:pt>
                <c:pt idx="9771">
                  <c:v>#N/A</c:v>
                </c:pt>
                <c:pt idx="9772">
                  <c:v>#N/A</c:v>
                </c:pt>
                <c:pt idx="9773">
                  <c:v>#N/A</c:v>
                </c:pt>
                <c:pt idx="9774">
                  <c:v>#N/A</c:v>
                </c:pt>
                <c:pt idx="9775">
                  <c:v>#N/A</c:v>
                </c:pt>
                <c:pt idx="9776">
                  <c:v>#N/A</c:v>
                </c:pt>
                <c:pt idx="9777">
                  <c:v>#N/A</c:v>
                </c:pt>
                <c:pt idx="9778">
                  <c:v>#N/A</c:v>
                </c:pt>
                <c:pt idx="9779">
                  <c:v>#N/A</c:v>
                </c:pt>
                <c:pt idx="9780">
                  <c:v>#N/A</c:v>
                </c:pt>
                <c:pt idx="9781">
                  <c:v>#N/A</c:v>
                </c:pt>
                <c:pt idx="9782">
                  <c:v>#N/A</c:v>
                </c:pt>
                <c:pt idx="9783">
                  <c:v>#N/A</c:v>
                </c:pt>
                <c:pt idx="9784">
                  <c:v>#N/A</c:v>
                </c:pt>
                <c:pt idx="9785">
                  <c:v>#N/A</c:v>
                </c:pt>
                <c:pt idx="9786">
                  <c:v>#N/A</c:v>
                </c:pt>
                <c:pt idx="9787">
                  <c:v>#N/A</c:v>
                </c:pt>
                <c:pt idx="9788">
                  <c:v>#N/A</c:v>
                </c:pt>
                <c:pt idx="9789">
                  <c:v>#N/A</c:v>
                </c:pt>
                <c:pt idx="9790">
                  <c:v>#N/A</c:v>
                </c:pt>
                <c:pt idx="9791">
                  <c:v>#N/A</c:v>
                </c:pt>
                <c:pt idx="9792">
                  <c:v>#N/A</c:v>
                </c:pt>
                <c:pt idx="9793">
                  <c:v>#N/A</c:v>
                </c:pt>
                <c:pt idx="9794">
                  <c:v>#N/A</c:v>
                </c:pt>
                <c:pt idx="9795">
                  <c:v>#N/A</c:v>
                </c:pt>
                <c:pt idx="9796">
                  <c:v>#N/A</c:v>
                </c:pt>
                <c:pt idx="9797">
                  <c:v>#N/A</c:v>
                </c:pt>
                <c:pt idx="9798">
                  <c:v>#N/A</c:v>
                </c:pt>
                <c:pt idx="9799">
                  <c:v>#N/A</c:v>
                </c:pt>
                <c:pt idx="9800">
                  <c:v>#N/A</c:v>
                </c:pt>
                <c:pt idx="9801">
                  <c:v>#N/A</c:v>
                </c:pt>
                <c:pt idx="9802">
                  <c:v>#N/A</c:v>
                </c:pt>
                <c:pt idx="9803">
                  <c:v>#N/A</c:v>
                </c:pt>
                <c:pt idx="9804">
                  <c:v>#N/A</c:v>
                </c:pt>
                <c:pt idx="9805">
                  <c:v>#N/A</c:v>
                </c:pt>
                <c:pt idx="9806">
                  <c:v>#N/A</c:v>
                </c:pt>
                <c:pt idx="9807">
                  <c:v>#N/A</c:v>
                </c:pt>
                <c:pt idx="9808">
                  <c:v>#N/A</c:v>
                </c:pt>
                <c:pt idx="9809">
                  <c:v>#N/A</c:v>
                </c:pt>
                <c:pt idx="9810">
                  <c:v>#N/A</c:v>
                </c:pt>
                <c:pt idx="9811">
                  <c:v>#N/A</c:v>
                </c:pt>
                <c:pt idx="9812">
                  <c:v>#N/A</c:v>
                </c:pt>
                <c:pt idx="9813">
                  <c:v>#N/A</c:v>
                </c:pt>
                <c:pt idx="9814">
                  <c:v>#N/A</c:v>
                </c:pt>
                <c:pt idx="9815">
                  <c:v>#N/A</c:v>
                </c:pt>
                <c:pt idx="9816">
                  <c:v>#N/A</c:v>
                </c:pt>
                <c:pt idx="9817">
                  <c:v>#N/A</c:v>
                </c:pt>
                <c:pt idx="9818">
                  <c:v>#N/A</c:v>
                </c:pt>
                <c:pt idx="9819">
                  <c:v>#N/A</c:v>
                </c:pt>
                <c:pt idx="9820">
                  <c:v>#N/A</c:v>
                </c:pt>
                <c:pt idx="9821">
                  <c:v>#N/A</c:v>
                </c:pt>
                <c:pt idx="9822">
                  <c:v>#N/A</c:v>
                </c:pt>
                <c:pt idx="9823">
                  <c:v>#N/A</c:v>
                </c:pt>
                <c:pt idx="9824">
                  <c:v>#N/A</c:v>
                </c:pt>
                <c:pt idx="9825">
                  <c:v>#N/A</c:v>
                </c:pt>
                <c:pt idx="9826">
                  <c:v>#N/A</c:v>
                </c:pt>
                <c:pt idx="9827">
                  <c:v>#N/A</c:v>
                </c:pt>
                <c:pt idx="9828">
                  <c:v>#N/A</c:v>
                </c:pt>
                <c:pt idx="9829">
                  <c:v>#N/A</c:v>
                </c:pt>
                <c:pt idx="9830">
                  <c:v>#N/A</c:v>
                </c:pt>
                <c:pt idx="9831">
                  <c:v>#N/A</c:v>
                </c:pt>
                <c:pt idx="9832">
                  <c:v>#N/A</c:v>
                </c:pt>
                <c:pt idx="9833">
                  <c:v>#N/A</c:v>
                </c:pt>
                <c:pt idx="9834">
                  <c:v>#N/A</c:v>
                </c:pt>
                <c:pt idx="9835">
                  <c:v>#N/A</c:v>
                </c:pt>
                <c:pt idx="9836">
                  <c:v>#N/A</c:v>
                </c:pt>
                <c:pt idx="9837">
                  <c:v>#N/A</c:v>
                </c:pt>
                <c:pt idx="9838">
                  <c:v>#N/A</c:v>
                </c:pt>
                <c:pt idx="9839">
                  <c:v>#N/A</c:v>
                </c:pt>
                <c:pt idx="9840">
                  <c:v>#N/A</c:v>
                </c:pt>
                <c:pt idx="9841">
                  <c:v>#N/A</c:v>
                </c:pt>
                <c:pt idx="9842">
                  <c:v>#N/A</c:v>
                </c:pt>
                <c:pt idx="9843">
                  <c:v>#N/A</c:v>
                </c:pt>
                <c:pt idx="9844">
                  <c:v>#N/A</c:v>
                </c:pt>
                <c:pt idx="9845">
                  <c:v>#N/A</c:v>
                </c:pt>
                <c:pt idx="9846">
                  <c:v>#N/A</c:v>
                </c:pt>
                <c:pt idx="9847">
                  <c:v>#N/A</c:v>
                </c:pt>
                <c:pt idx="9848">
                  <c:v>#N/A</c:v>
                </c:pt>
                <c:pt idx="9849">
                  <c:v>#N/A</c:v>
                </c:pt>
                <c:pt idx="9850">
                  <c:v>#N/A</c:v>
                </c:pt>
                <c:pt idx="9851">
                  <c:v>#N/A</c:v>
                </c:pt>
                <c:pt idx="9852">
                  <c:v>#N/A</c:v>
                </c:pt>
                <c:pt idx="9853">
                  <c:v>#N/A</c:v>
                </c:pt>
                <c:pt idx="9854">
                  <c:v>#N/A</c:v>
                </c:pt>
                <c:pt idx="9855">
                  <c:v>#N/A</c:v>
                </c:pt>
                <c:pt idx="9856">
                  <c:v>#N/A</c:v>
                </c:pt>
                <c:pt idx="9857">
                  <c:v>#N/A</c:v>
                </c:pt>
                <c:pt idx="9858">
                  <c:v>#N/A</c:v>
                </c:pt>
                <c:pt idx="9859">
                  <c:v>#N/A</c:v>
                </c:pt>
                <c:pt idx="9860">
                  <c:v>#N/A</c:v>
                </c:pt>
                <c:pt idx="9861">
                  <c:v>#N/A</c:v>
                </c:pt>
                <c:pt idx="9862">
                  <c:v>#N/A</c:v>
                </c:pt>
                <c:pt idx="9863">
                  <c:v>#N/A</c:v>
                </c:pt>
                <c:pt idx="9864">
                  <c:v>#N/A</c:v>
                </c:pt>
                <c:pt idx="9865">
                  <c:v>#N/A</c:v>
                </c:pt>
                <c:pt idx="9866">
                  <c:v>#N/A</c:v>
                </c:pt>
                <c:pt idx="9867">
                  <c:v>#N/A</c:v>
                </c:pt>
                <c:pt idx="9868">
                  <c:v>#N/A</c:v>
                </c:pt>
                <c:pt idx="9869">
                  <c:v>#N/A</c:v>
                </c:pt>
                <c:pt idx="9870">
                  <c:v>#N/A</c:v>
                </c:pt>
                <c:pt idx="9871">
                  <c:v>#N/A</c:v>
                </c:pt>
                <c:pt idx="9872">
                  <c:v>#N/A</c:v>
                </c:pt>
                <c:pt idx="9873">
                  <c:v>#N/A</c:v>
                </c:pt>
                <c:pt idx="9874">
                  <c:v>#N/A</c:v>
                </c:pt>
                <c:pt idx="9875">
                  <c:v>#N/A</c:v>
                </c:pt>
                <c:pt idx="9876">
                  <c:v>#N/A</c:v>
                </c:pt>
                <c:pt idx="9877">
                  <c:v>#N/A</c:v>
                </c:pt>
                <c:pt idx="9878">
                  <c:v>#N/A</c:v>
                </c:pt>
                <c:pt idx="9879">
                  <c:v>#N/A</c:v>
                </c:pt>
                <c:pt idx="9880">
                  <c:v>#N/A</c:v>
                </c:pt>
                <c:pt idx="9881">
                  <c:v>#N/A</c:v>
                </c:pt>
                <c:pt idx="9882">
                  <c:v>#N/A</c:v>
                </c:pt>
                <c:pt idx="9883">
                  <c:v>#N/A</c:v>
                </c:pt>
                <c:pt idx="9884">
                  <c:v>#N/A</c:v>
                </c:pt>
                <c:pt idx="9885">
                  <c:v>#N/A</c:v>
                </c:pt>
                <c:pt idx="9886">
                  <c:v>#N/A</c:v>
                </c:pt>
                <c:pt idx="9887">
                  <c:v>#N/A</c:v>
                </c:pt>
                <c:pt idx="9888">
                  <c:v>#N/A</c:v>
                </c:pt>
                <c:pt idx="9889">
                  <c:v>#N/A</c:v>
                </c:pt>
                <c:pt idx="9890">
                  <c:v>#N/A</c:v>
                </c:pt>
                <c:pt idx="9891">
                  <c:v>#N/A</c:v>
                </c:pt>
                <c:pt idx="9892">
                  <c:v>#N/A</c:v>
                </c:pt>
                <c:pt idx="9893">
                  <c:v>#N/A</c:v>
                </c:pt>
                <c:pt idx="9894">
                  <c:v>#N/A</c:v>
                </c:pt>
                <c:pt idx="9895">
                  <c:v>#N/A</c:v>
                </c:pt>
                <c:pt idx="9896">
                  <c:v>#N/A</c:v>
                </c:pt>
                <c:pt idx="9897">
                  <c:v>#N/A</c:v>
                </c:pt>
                <c:pt idx="9898">
                  <c:v>#N/A</c:v>
                </c:pt>
                <c:pt idx="9899">
                  <c:v>#N/A</c:v>
                </c:pt>
                <c:pt idx="9900">
                  <c:v>#N/A</c:v>
                </c:pt>
                <c:pt idx="9901">
                  <c:v>#N/A</c:v>
                </c:pt>
                <c:pt idx="9902">
                  <c:v>#N/A</c:v>
                </c:pt>
                <c:pt idx="9903">
                  <c:v>#N/A</c:v>
                </c:pt>
                <c:pt idx="9904">
                  <c:v>#N/A</c:v>
                </c:pt>
                <c:pt idx="9905">
                  <c:v>#N/A</c:v>
                </c:pt>
                <c:pt idx="9906">
                  <c:v>#N/A</c:v>
                </c:pt>
                <c:pt idx="9907">
                  <c:v>#N/A</c:v>
                </c:pt>
                <c:pt idx="9908">
                  <c:v>#N/A</c:v>
                </c:pt>
                <c:pt idx="9909">
                  <c:v>#N/A</c:v>
                </c:pt>
                <c:pt idx="9910">
                  <c:v>#N/A</c:v>
                </c:pt>
                <c:pt idx="9911">
                  <c:v>#N/A</c:v>
                </c:pt>
                <c:pt idx="9912">
                  <c:v>#N/A</c:v>
                </c:pt>
                <c:pt idx="9913">
                  <c:v>#N/A</c:v>
                </c:pt>
                <c:pt idx="9914">
                  <c:v>#N/A</c:v>
                </c:pt>
                <c:pt idx="9915">
                  <c:v>#N/A</c:v>
                </c:pt>
                <c:pt idx="9916">
                  <c:v>#N/A</c:v>
                </c:pt>
                <c:pt idx="9917">
                  <c:v>#N/A</c:v>
                </c:pt>
                <c:pt idx="9918">
                  <c:v>#N/A</c:v>
                </c:pt>
                <c:pt idx="9919">
                  <c:v>#N/A</c:v>
                </c:pt>
                <c:pt idx="9920">
                  <c:v>#N/A</c:v>
                </c:pt>
                <c:pt idx="9921">
                  <c:v>#N/A</c:v>
                </c:pt>
                <c:pt idx="9922">
                  <c:v>#N/A</c:v>
                </c:pt>
                <c:pt idx="9923">
                  <c:v>#N/A</c:v>
                </c:pt>
                <c:pt idx="9924">
                  <c:v>#N/A</c:v>
                </c:pt>
                <c:pt idx="9925">
                  <c:v>#N/A</c:v>
                </c:pt>
                <c:pt idx="9926">
                  <c:v>#N/A</c:v>
                </c:pt>
                <c:pt idx="9927">
                  <c:v>#N/A</c:v>
                </c:pt>
                <c:pt idx="9928">
                  <c:v>#N/A</c:v>
                </c:pt>
                <c:pt idx="9929">
                  <c:v>#N/A</c:v>
                </c:pt>
                <c:pt idx="9930">
                  <c:v>#N/A</c:v>
                </c:pt>
                <c:pt idx="9931">
                  <c:v>#N/A</c:v>
                </c:pt>
                <c:pt idx="9932">
                  <c:v>#N/A</c:v>
                </c:pt>
                <c:pt idx="9933">
                  <c:v>#N/A</c:v>
                </c:pt>
                <c:pt idx="9934">
                  <c:v>#N/A</c:v>
                </c:pt>
                <c:pt idx="9935">
                  <c:v>#N/A</c:v>
                </c:pt>
                <c:pt idx="9936">
                  <c:v>#N/A</c:v>
                </c:pt>
                <c:pt idx="9937">
                  <c:v>#N/A</c:v>
                </c:pt>
                <c:pt idx="9938">
                  <c:v>#N/A</c:v>
                </c:pt>
                <c:pt idx="9939">
                  <c:v>#N/A</c:v>
                </c:pt>
                <c:pt idx="9940">
                  <c:v>#N/A</c:v>
                </c:pt>
                <c:pt idx="9941">
                  <c:v>#N/A</c:v>
                </c:pt>
                <c:pt idx="9942">
                  <c:v>#N/A</c:v>
                </c:pt>
                <c:pt idx="9943">
                  <c:v>#N/A</c:v>
                </c:pt>
                <c:pt idx="9944">
                  <c:v>#N/A</c:v>
                </c:pt>
                <c:pt idx="9945">
                  <c:v>#N/A</c:v>
                </c:pt>
                <c:pt idx="9946">
                  <c:v>#N/A</c:v>
                </c:pt>
                <c:pt idx="9947">
                  <c:v>#N/A</c:v>
                </c:pt>
                <c:pt idx="9948">
                  <c:v>#N/A</c:v>
                </c:pt>
                <c:pt idx="9949">
                  <c:v>#N/A</c:v>
                </c:pt>
                <c:pt idx="9950">
                  <c:v>#N/A</c:v>
                </c:pt>
                <c:pt idx="9951">
                  <c:v>#N/A</c:v>
                </c:pt>
                <c:pt idx="9952">
                  <c:v>#N/A</c:v>
                </c:pt>
                <c:pt idx="9953">
                  <c:v>#N/A</c:v>
                </c:pt>
                <c:pt idx="9954">
                  <c:v>#N/A</c:v>
                </c:pt>
                <c:pt idx="9955">
                  <c:v>#N/A</c:v>
                </c:pt>
                <c:pt idx="9956">
                  <c:v>#N/A</c:v>
                </c:pt>
                <c:pt idx="9957">
                  <c:v>#N/A</c:v>
                </c:pt>
                <c:pt idx="9958">
                  <c:v>#N/A</c:v>
                </c:pt>
                <c:pt idx="9959">
                  <c:v>#N/A</c:v>
                </c:pt>
                <c:pt idx="9960">
                  <c:v>#N/A</c:v>
                </c:pt>
                <c:pt idx="9961">
                  <c:v>#N/A</c:v>
                </c:pt>
                <c:pt idx="9962">
                  <c:v>#N/A</c:v>
                </c:pt>
                <c:pt idx="9963">
                  <c:v>#N/A</c:v>
                </c:pt>
                <c:pt idx="9964">
                  <c:v>#N/A</c:v>
                </c:pt>
                <c:pt idx="9965">
                  <c:v>#N/A</c:v>
                </c:pt>
                <c:pt idx="9966">
                  <c:v>#N/A</c:v>
                </c:pt>
                <c:pt idx="9967">
                  <c:v>#N/A</c:v>
                </c:pt>
                <c:pt idx="9968">
                  <c:v>#N/A</c:v>
                </c:pt>
                <c:pt idx="9969">
                  <c:v>#N/A</c:v>
                </c:pt>
                <c:pt idx="9970">
                  <c:v>#N/A</c:v>
                </c:pt>
                <c:pt idx="9971">
                  <c:v>#N/A</c:v>
                </c:pt>
                <c:pt idx="9972">
                  <c:v>#N/A</c:v>
                </c:pt>
                <c:pt idx="9973">
                  <c:v>#N/A</c:v>
                </c:pt>
                <c:pt idx="9974">
                  <c:v>#N/A</c:v>
                </c:pt>
                <c:pt idx="9975">
                  <c:v>#N/A</c:v>
                </c:pt>
                <c:pt idx="9976">
                  <c:v>#N/A</c:v>
                </c:pt>
                <c:pt idx="9977">
                  <c:v>#N/A</c:v>
                </c:pt>
                <c:pt idx="9978">
                  <c:v>#N/A</c:v>
                </c:pt>
                <c:pt idx="9979">
                  <c:v>#N/A</c:v>
                </c:pt>
                <c:pt idx="9980">
                  <c:v>#N/A</c:v>
                </c:pt>
                <c:pt idx="9981">
                  <c:v>#N/A</c:v>
                </c:pt>
                <c:pt idx="9982">
                  <c:v>#N/A</c:v>
                </c:pt>
                <c:pt idx="9983">
                  <c:v>#N/A</c:v>
                </c:pt>
                <c:pt idx="9984">
                  <c:v>#N/A</c:v>
                </c:pt>
                <c:pt idx="9985">
                  <c:v>#N/A</c:v>
                </c:pt>
                <c:pt idx="9986">
                  <c:v>#N/A</c:v>
                </c:pt>
                <c:pt idx="9987">
                  <c:v>#N/A</c:v>
                </c:pt>
                <c:pt idx="9988">
                  <c:v>#N/A</c:v>
                </c:pt>
                <c:pt idx="9989">
                  <c:v>#N/A</c:v>
                </c:pt>
                <c:pt idx="9990">
                  <c:v>#N/A</c:v>
                </c:pt>
                <c:pt idx="9991">
                  <c:v>#N/A</c:v>
                </c:pt>
                <c:pt idx="9992">
                  <c:v>#N/A</c:v>
                </c:pt>
                <c:pt idx="9993">
                  <c:v>#N/A</c:v>
                </c:pt>
                <c:pt idx="9994">
                  <c:v>#N/A</c:v>
                </c:pt>
                <c:pt idx="9995">
                  <c:v>#N/A</c:v>
                </c:pt>
                <c:pt idx="9996">
                  <c:v>#N/A</c:v>
                </c:pt>
                <c:pt idx="9997">
                  <c:v>#N/A</c:v>
                </c:pt>
                <c:pt idx="9998">
                  <c:v>#N/A</c:v>
                </c:pt>
                <c:pt idx="9999">
                  <c:v>#N/A</c:v>
                </c:pt>
                <c:pt idx="10000">
                  <c:v>#N/A</c:v>
                </c:pt>
                <c:pt idx="10001">
                  <c:v>#N/A</c:v>
                </c:pt>
                <c:pt idx="10002">
                  <c:v>#N/A</c:v>
                </c:pt>
                <c:pt idx="10003">
                  <c:v>#N/A</c:v>
                </c:pt>
                <c:pt idx="10004">
                  <c:v>#N/A</c:v>
                </c:pt>
                <c:pt idx="10005">
                  <c:v>#N/A</c:v>
                </c:pt>
                <c:pt idx="10006">
                  <c:v>#N/A</c:v>
                </c:pt>
                <c:pt idx="10007">
                  <c:v>#N/A</c:v>
                </c:pt>
                <c:pt idx="10008">
                  <c:v>#N/A</c:v>
                </c:pt>
                <c:pt idx="10009">
                  <c:v>#N/A</c:v>
                </c:pt>
                <c:pt idx="10010">
                  <c:v>#N/A</c:v>
                </c:pt>
                <c:pt idx="10011">
                  <c:v>#N/A</c:v>
                </c:pt>
                <c:pt idx="10012">
                  <c:v>#N/A</c:v>
                </c:pt>
                <c:pt idx="10013">
                  <c:v>#N/A</c:v>
                </c:pt>
                <c:pt idx="10014">
                  <c:v>#N/A</c:v>
                </c:pt>
                <c:pt idx="10015">
                  <c:v>#N/A</c:v>
                </c:pt>
                <c:pt idx="10016">
                  <c:v>#N/A</c:v>
                </c:pt>
                <c:pt idx="10017">
                  <c:v>#N/A</c:v>
                </c:pt>
                <c:pt idx="10018">
                  <c:v>#N/A</c:v>
                </c:pt>
                <c:pt idx="10019">
                  <c:v>#N/A</c:v>
                </c:pt>
                <c:pt idx="10020">
                  <c:v>#N/A</c:v>
                </c:pt>
                <c:pt idx="10021">
                  <c:v>#N/A</c:v>
                </c:pt>
                <c:pt idx="10022">
                  <c:v>#N/A</c:v>
                </c:pt>
                <c:pt idx="10023">
                  <c:v>#N/A</c:v>
                </c:pt>
                <c:pt idx="10024">
                  <c:v>#N/A</c:v>
                </c:pt>
                <c:pt idx="10025">
                  <c:v>#N/A</c:v>
                </c:pt>
                <c:pt idx="10026">
                  <c:v>#N/A</c:v>
                </c:pt>
                <c:pt idx="10027">
                  <c:v>#N/A</c:v>
                </c:pt>
                <c:pt idx="10028">
                  <c:v>#N/A</c:v>
                </c:pt>
                <c:pt idx="10029">
                  <c:v>#N/A</c:v>
                </c:pt>
                <c:pt idx="10030">
                  <c:v>#N/A</c:v>
                </c:pt>
                <c:pt idx="10031">
                  <c:v>#N/A</c:v>
                </c:pt>
                <c:pt idx="10032">
                  <c:v>#N/A</c:v>
                </c:pt>
                <c:pt idx="10033">
                  <c:v>#N/A</c:v>
                </c:pt>
                <c:pt idx="10034">
                  <c:v>#N/A</c:v>
                </c:pt>
                <c:pt idx="10035">
                  <c:v>#N/A</c:v>
                </c:pt>
                <c:pt idx="10036">
                  <c:v>#N/A</c:v>
                </c:pt>
                <c:pt idx="10037">
                  <c:v>#N/A</c:v>
                </c:pt>
                <c:pt idx="10038">
                  <c:v>#N/A</c:v>
                </c:pt>
                <c:pt idx="10039">
                  <c:v>#N/A</c:v>
                </c:pt>
                <c:pt idx="10040">
                  <c:v>#N/A</c:v>
                </c:pt>
                <c:pt idx="10041">
                  <c:v>#N/A</c:v>
                </c:pt>
                <c:pt idx="10042">
                  <c:v>#N/A</c:v>
                </c:pt>
                <c:pt idx="10043">
                  <c:v>#N/A</c:v>
                </c:pt>
                <c:pt idx="10044">
                  <c:v>#N/A</c:v>
                </c:pt>
                <c:pt idx="10045">
                  <c:v>#N/A</c:v>
                </c:pt>
                <c:pt idx="10046">
                  <c:v>#N/A</c:v>
                </c:pt>
                <c:pt idx="10047">
                  <c:v>#N/A</c:v>
                </c:pt>
                <c:pt idx="10048">
                  <c:v>#N/A</c:v>
                </c:pt>
                <c:pt idx="10049">
                  <c:v>#N/A</c:v>
                </c:pt>
                <c:pt idx="10050">
                  <c:v>#N/A</c:v>
                </c:pt>
                <c:pt idx="10051">
                  <c:v>#N/A</c:v>
                </c:pt>
                <c:pt idx="10052">
                  <c:v>#N/A</c:v>
                </c:pt>
                <c:pt idx="10053">
                  <c:v>#N/A</c:v>
                </c:pt>
                <c:pt idx="10054">
                  <c:v>#N/A</c:v>
                </c:pt>
                <c:pt idx="10055">
                  <c:v>#N/A</c:v>
                </c:pt>
                <c:pt idx="10056">
                  <c:v>#N/A</c:v>
                </c:pt>
                <c:pt idx="10057">
                  <c:v>#N/A</c:v>
                </c:pt>
                <c:pt idx="10058">
                  <c:v>#N/A</c:v>
                </c:pt>
                <c:pt idx="10059">
                  <c:v>#N/A</c:v>
                </c:pt>
                <c:pt idx="10060">
                  <c:v>#N/A</c:v>
                </c:pt>
                <c:pt idx="10061">
                  <c:v>#N/A</c:v>
                </c:pt>
                <c:pt idx="10062">
                  <c:v>#N/A</c:v>
                </c:pt>
                <c:pt idx="10063">
                  <c:v>#N/A</c:v>
                </c:pt>
                <c:pt idx="10064">
                  <c:v>#N/A</c:v>
                </c:pt>
                <c:pt idx="10065">
                  <c:v>#N/A</c:v>
                </c:pt>
                <c:pt idx="10066">
                  <c:v>#N/A</c:v>
                </c:pt>
                <c:pt idx="10067">
                  <c:v>#N/A</c:v>
                </c:pt>
                <c:pt idx="10068">
                  <c:v>#N/A</c:v>
                </c:pt>
                <c:pt idx="10069">
                  <c:v>#N/A</c:v>
                </c:pt>
                <c:pt idx="10070">
                  <c:v>#N/A</c:v>
                </c:pt>
                <c:pt idx="10071">
                  <c:v>#N/A</c:v>
                </c:pt>
                <c:pt idx="10072">
                  <c:v>#N/A</c:v>
                </c:pt>
                <c:pt idx="10073">
                  <c:v>#N/A</c:v>
                </c:pt>
                <c:pt idx="10074">
                  <c:v>#N/A</c:v>
                </c:pt>
                <c:pt idx="10075">
                  <c:v>#N/A</c:v>
                </c:pt>
                <c:pt idx="10076">
                  <c:v>#N/A</c:v>
                </c:pt>
                <c:pt idx="10077">
                  <c:v>#N/A</c:v>
                </c:pt>
                <c:pt idx="10078">
                  <c:v>#N/A</c:v>
                </c:pt>
                <c:pt idx="10079">
                  <c:v>#N/A</c:v>
                </c:pt>
                <c:pt idx="10080">
                  <c:v>#N/A</c:v>
                </c:pt>
                <c:pt idx="10081">
                  <c:v>#N/A</c:v>
                </c:pt>
                <c:pt idx="10082">
                  <c:v>#N/A</c:v>
                </c:pt>
                <c:pt idx="10083">
                  <c:v>#N/A</c:v>
                </c:pt>
                <c:pt idx="10084">
                  <c:v>#N/A</c:v>
                </c:pt>
                <c:pt idx="10085">
                  <c:v>#N/A</c:v>
                </c:pt>
                <c:pt idx="10086">
                  <c:v>#N/A</c:v>
                </c:pt>
                <c:pt idx="10087">
                  <c:v>#N/A</c:v>
                </c:pt>
                <c:pt idx="10088">
                  <c:v>#N/A</c:v>
                </c:pt>
                <c:pt idx="10089">
                  <c:v>#N/A</c:v>
                </c:pt>
                <c:pt idx="10090">
                  <c:v>#N/A</c:v>
                </c:pt>
                <c:pt idx="10091">
                  <c:v>#N/A</c:v>
                </c:pt>
                <c:pt idx="10092">
                  <c:v>#N/A</c:v>
                </c:pt>
                <c:pt idx="10093">
                  <c:v>#N/A</c:v>
                </c:pt>
                <c:pt idx="10094">
                  <c:v>#N/A</c:v>
                </c:pt>
                <c:pt idx="10095">
                  <c:v>#N/A</c:v>
                </c:pt>
                <c:pt idx="10096">
                  <c:v>#N/A</c:v>
                </c:pt>
                <c:pt idx="10097">
                  <c:v>#N/A</c:v>
                </c:pt>
                <c:pt idx="10098">
                  <c:v>#N/A</c:v>
                </c:pt>
                <c:pt idx="10099">
                  <c:v>#N/A</c:v>
                </c:pt>
                <c:pt idx="10100">
                  <c:v>#N/A</c:v>
                </c:pt>
                <c:pt idx="10101">
                  <c:v>#N/A</c:v>
                </c:pt>
                <c:pt idx="10102">
                  <c:v>#N/A</c:v>
                </c:pt>
                <c:pt idx="10103">
                  <c:v>#N/A</c:v>
                </c:pt>
                <c:pt idx="10104">
                  <c:v>#N/A</c:v>
                </c:pt>
                <c:pt idx="10105">
                  <c:v>#N/A</c:v>
                </c:pt>
                <c:pt idx="10106">
                  <c:v>#N/A</c:v>
                </c:pt>
                <c:pt idx="10107">
                  <c:v>#N/A</c:v>
                </c:pt>
                <c:pt idx="10108">
                  <c:v>#N/A</c:v>
                </c:pt>
                <c:pt idx="10109">
                  <c:v>#N/A</c:v>
                </c:pt>
                <c:pt idx="10110">
                  <c:v>#N/A</c:v>
                </c:pt>
                <c:pt idx="10111">
                  <c:v>#N/A</c:v>
                </c:pt>
                <c:pt idx="10112">
                  <c:v>#N/A</c:v>
                </c:pt>
                <c:pt idx="10113">
                  <c:v>#N/A</c:v>
                </c:pt>
                <c:pt idx="10114">
                  <c:v>#N/A</c:v>
                </c:pt>
                <c:pt idx="10115">
                  <c:v>#N/A</c:v>
                </c:pt>
                <c:pt idx="10116">
                  <c:v>#N/A</c:v>
                </c:pt>
                <c:pt idx="10117">
                  <c:v>#N/A</c:v>
                </c:pt>
                <c:pt idx="10118">
                  <c:v>#N/A</c:v>
                </c:pt>
                <c:pt idx="10119">
                  <c:v>#N/A</c:v>
                </c:pt>
                <c:pt idx="10120">
                  <c:v>#N/A</c:v>
                </c:pt>
                <c:pt idx="10121">
                  <c:v>#N/A</c:v>
                </c:pt>
                <c:pt idx="10122">
                  <c:v>#N/A</c:v>
                </c:pt>
                <c:pt idx="10123">
                  <c:v>#N/A</c:v>
                </c:pt>
                <c:pt idx="10124">
                  <c:v>#N/A</c:v>
                </c:pt>
                <c:pt idx="10125">
                  <c:v>#N/A</c:v>
                </c:pt>
                <c:pt idx="10126">
                  <c:v>#N/A</c:v>
                </c:pt>
                <c:pt idx="10127">
                  <c:v>#N/A</c:v>
                </c:pt>
                <c:pt idx="10128">
                  <c:v>#N/A</c:v>
                </c:pt>
                <c:pt idx="10129">
                  <c:v>#N/A</c:v>
                </c:pt>
                <c:pt idx="10130">
                  <c:v>#N/A</c:v>
                </c:pt>
                <c:pt idx="10131">
                  <c:v>#N/A</c:v>
                </c:pt>
                <c:pt idx="10132">
                  <c:v>#N/A</c:v>
                </c:pt>
                <c:pt idx="10133">
                  <c:v>#N/A</c:v>
                </c:pt>
                <c:pt idx="10134">
                  <c:v>#N/A</c:v>
                </c:pt>
                <c:pt idx="10135">
                  <c:v>#N/A</c:v>
                </c:pt>
                <c:pt idx="10136">
                  <c:v>#N/A</c:v>
                </c:pt>
                <c:pt idx="10137">
                  <c:v>#N/A</c:v>
                </c:pt>
                <c:pt idx="10138">
                  <c:v>#N/A</c:v>
                </c:pt>
                <c:pt idx="10139">
                  <c:v>#N/A</c:v>
                </c:pt>
                <c:pt idx="10140">
                  <c:v>#N/A</c:v>
                </c:pt>
                <c:pt idx="10141">
                  <c:v>#N/A</c:v>
                </c:pt>
                <c:pt idx="10142">
                  <c:v>#N/A</c:v>
                </c:pt>
                <c:pt idx="10143">
                  <c:v>#N/A</c:v>
                </c:pt>
                <c:pt idx="10144">
                  <c:v>#N/A</c:v>
                </c:pt>
                <c:pt idx="10145">
                  <c:v>#N/A</c:v>
                </c:pt>
                <c:pt idx="10146">
                  <c:v>#N/A</c:v>
                </c:pt>
                <c:pt idx="10147">
                  <c:v>#N/A</c:v>
                </c:pt>
                <c:pt idx="10148">
                  <c:v>#N/A</c:v>
                </c:pt>
                <c:pt idx="10149">
                  <c:v>#N/A</c:v>
                </c:pt>
                <c:pt idx="10150">
                  <c:v>#N/A</c:v>
                </c:pt>
                <c:pt idx="10151">
                  <c:v>#N/A</c:v>
                </c:pt>
                <c:pt idx="10152">
                  <c:v>#N/A</c:v>
                </c:pt>
                <c:pt idx="10153">
                  <c:v>#N/A</c:v>
                </c:pt>
                <c:pt idx="10154">
                  <c:v>#N/A</c:v>
                </c:pt>
                <c:pt idx="10155">
                  <c:v>#N/A</c:v>
                </c:pt>
                <c:pt idx="10156">
                  <c:v>#N/A</c:v>
                </c:pt>
                <c:pt idx="10157">
                  <c:v>#N/A</c:v>
                </c:pt>
                <c:pt idx="10158">
                  <c:v>#N/A</c:v>
                </c:pt>
                <c:pt idx="10159">
                  <c:v>#N/A</c:v>
                </c:pt>
                <c:pt idx="10160">
                  <c:v>#N/A</c:v>
                </c:pt>
                <c:pt idx="10161">
                  <c:v>#N/A</c:v>
                </c:pt>
                <c:pt idx="10162">
                  <c:v>#N/A</c:v>
                </c:pt>
                <c:pt idx="10163">
                  <c:v>#N/A</c:v>
                </c:pt>
                <c:pt idx="10164">
                  <c:v>#N/A</c:v>
                </c:pt>
                <c:pt idx="10165">
                  <c:v>#N/A</c:v>
                </c:pt>
                <c:pt idx="10166">
                  <c:v>#N/A</c:v>
                </c:pt>
                <c:pt idx="10167">
                  <c:v>#N/A</c:v>
                </c:pt>
                <c:pt idx="10168">
                  <c:v>#N/A</c:v>
                </c:pt>
                <c:pt idx="10169">
                  <c:v>#N/A</c:v>
                </c:pt>
                <c:pt idx="10170">
                  <c:v>#N/A</c:v>
                </c:pt>
                <c:pt idx="10171">
                  <c:v>#N/A</c:v>
                </c:pt>
                <c:pt idx="10172">
                  <c:v>#N/A</c:v>
                </c:pt>
                <c:pt idx="10173">
                  <c:v>#N/A</c:v>
                </c:pt>
                <c:pt idx="10174">
                  <c:v>#N/A</c:v>
                </c:pt>
                <c:pt idx="10175">
                  <c:v>#N/A</c:v>
                </c:pt>
                <c:pt idx="10176">
                  <c:v>#N/A</c:v>
                </c:pt>
                <c:pt idx="10177">
                  <c:v>#N/A</c:v>
                </c:pt>
                <c:pt idx="10178">
                  <c:v>#N/A</c:v>
                </c:pt>
                <c:pt idx="10179">
                  <c:v>#N/A</c:v>
                </c:pt>
                <c:pt idx="10180">
                  <c:v>#N/A</c:v>
                </c:pt>
                <c:pt idx="10181">
                  <c:v>#N/A</c:v>
                </c:pt>
                <c:pt idx="10182">
                  <c:v>#N/A</c:v>
                </c:pt>
                <c:pt idx="10183">
                  <c:v>#N/A</c:v>
                </c:pt>
                <c:pt idx="10184">
                  <c:v>#N/A</c:v>
                </c:pt>
                <c:pt idx="10185">
                  <c:v>#N/A</c:v>
                </c:pt>
                <c:pt idx="10186">
                  <c:v>#N/A</c:v>
                </c:pt>
                <c:pt idx="10187">
                  <c:v>#N/A</c:v>
                </c:pt>
                <c:pt idx="10188">
                  <c:v>#N/A</c:v>
                </c:pt>
                <c:pt idx="10189">
                  <c:v>#N/A</c:v>
                </c:pt>
                <c:pt idx="10190">
                  <c:v>#N/A</c:v>
                </c:pt>
                <c:pt idx="10191">
                  <c:v>#N/A</c:v>
                </c:pt>
                <c:pt idx="10192">
                  <c:v>#N/A</c:v>
                </c:pt>
                <c:pt idx="10193">
                  <c:v>#N/A</c:v>
                </c:pt>
                <c:pt idx="10194">
                  <c:v>#N/A</c:v>
                </c:pt>
                <c:pt idx="10195">
                  <c:v>#N/A</c:v>
                </c:pt>
                <c:pt idx="10196">
                  <c:v>#N/A</c:v>
                </c:pt>
                <c:pt idx="10197">
                  <c:v>#N/A</c:v>
                </c:pt>
                <c:pt idx="10198">
                  <c:v>#N/A</c:v>
                </c:pt>
                <c:pt idx="10199">
                  <c:v>#N/A</c:v>
                </c:pt>
                <c:pt idx="10200">
                  <c:v>#N/A</c:v>
                </c:pt>
                <c:pt idx="10201">
                  <c:v>#N/A</c:v>
                </c:pt>
                <c:pt idx="10202">
                  <c:v>#N/A</c:v>
                </c:pt>
                <c:pt idx="10203">
                  <c:v>#N/A</c:v>
                </c:pt>
                <c:pt idx="10204">
                  <c:v>#N/A</c:v>
                </c:pt>
                <c:pt idx="10205">
                  <c:v>#N/A</c:v>
                </c:pt>
                <c:pt idx="10206">
                  <c:v>#N/A</c:v>
                </c:pt>
                <c:pt idx="10207">
                  <c:v>#N/A</c:v>
                </c:pt>
                <c:pt idx="10208">
                  <c:v>#N/A</c:v>
                </c:pt>
                <c:pt idx="10209">
                  <c:v>#N/A</c:v>
                </c:pt>
                <c:pt idx="10210">
                  <c:v>#N/A</c:v>
                </c:pt>
                <c:pt idx="10211">
                  <c:v>#N/A</c:v>
                </c:pt>
                <c:pt idx="10212">
                  <c:v>#N/A</c:v>
                </c:pt>
                <c:pt idx="10213">
                  <c:v>#N/A</c:v>
                </c:pt>
                <c:pt idx="10214">
                  <c:v>#N/A</c:v>
                </c:pt>
                <c:pt idx="10215">
                  <c:v>#N/A</c:v>
                </c:pt>
                <c:pt idx="10216">
                  <c:v>#N/A</c:v>
                </c:pt>
                <c:pt idx="10217">
                  <c:v>#N/A</c:v>
                </c:pt>
                <c:pt idx="10218">
                  <c:v>#N/A</c:v>
                </c:pt>
                <c:pt idx="10219">
                  <c:v>#N/A</c:v>
                </c:pt>
                <c:pt idx="10220">
                  <c:v>#N/A</c:v>
                </c:pt>
                <c:pt idx="10221">
                  <c:v>#N/A</c:v>
                </c:pt>
                <c:pt idx="10222">
                  <c:v>#N/A</c:v>
                </c:pt>
                <c:pt idx="10223">
                  <c:v>#N/A</c:v>
                </c:pt>
                <c:pt idx="10224">
                  <c:v>#N/A</c:v>
                </c:pt>
                <c:pt idx="10225">
                  <c:v>#N/A</c:v>
                </c:pt>
                <c:pt idx="10226">
                  <c:v>#N/A</c:v>
                </c:pt>
                <c:pt idx="10227">
                  <c:v>#N/A</c:v>
                </c:pt>
                <c:pt idx="10228">
                  <c:v>#N/A</c:v>
                </c:pt>
                <c:pt idx="10229">
                  <c:v>#N/A</c:v>
                </c:pt>
                <c:pt idx="10230">
                  <c:v>#N/A</c:v>
                </c:pt>
                <c:pt idx="10231">
                  <c:v>#N/A</c:v>
                </c:pt>
                <c:pt idx="10232">
                  <c:v>#N/A</c:v>
                </c:pt>
                <c:pt idx="10233">
                  <c:v>#N/A</c:v>
                </c:pt>
                <c:pt idx="10234">
                  <c:v>#N/A</c:v>
                </c:pt>
                <c:pt idx="10235">
                  <c:v>#N/A</c:v>
                </c:pt>
                <c:pt idx="10236">
                  <c:v>#N/A</c:v>
                </c:pt>
                <c:pt idx="10237">
                  <c:v>#N/A</c:v>
                </c:pt>
                <c:pt idx="10238">
                  <c:v>#N/A</c:v>
                </c:pt>
                <c:pt idx="10239">
                  <c:v>#N/A</c:v>
                </c:pt>
                <c:pt idx="10240">
                  <c:v>#N/A</c:v>
                </c:pt>
                <c:pt idx="10241">
                  <c:v>#N/A</c:v>
                </c:pt>
                <c:pt idx="10242">
                  <c:v>#N/A</c:v>
                </c:pt>
                <c:pt idx="10243">
                  <c:v>#N/A</c:v>
                </c:pt>
                <c:pt idx="10244">
                  <c:v>#N/A</c:v>
                </c:pt>
                <c:pt idx="10245">
                  <c:v>#N/A</c:v>
                </c:pt>
                <c:pt idx="10246">
                  <c:v>#N/A</c:v>
                </c:pt>
                <c:pt idx="10247">
                  <c:v>#N/A</c:v>
                </c:pt>
                <c:pt idx="10248">
                  <c:v>#N/A</c:v>
                </c:pt>
                <c:pt idx="10249">
                  <c:v>#N/A</c:v>
                </c:pt>
                <c:pt idx="10250">
                  <c:v>#N/A</c:v>
                </c:pt>
                <c:pt idx="10251">
                  <c:v>#N/A</c:v>
                </c:pt>
                <c:pt idx="10252">
                  <c:v>#N/A</c:v>
                </c:pt>
                <c:pt idx="10253">
                  <c:v>#N/A</c:v>
                </c:pt>
                <c:pt idx="10254">
                  <c:v>#N/A</c:v>
                </c:pt>
                <c:pt idx="10255">
                  <c:v>#N/A</c:v>
                </c:pt>
                <c:pt idx="10256">
                  <c:v>#N/A</c:v>
                </c:pt>
                <c:pt idx="10257">
                  <c:v>#N/A</c:v>
                </c:pt>
                <c:pt idx="10258">
                  <c:v>#N/A</c:v>
                </c:pt>
                <c:pt idx="10259">
                  <c:v>#N/A</c:v>
                </c:pt>
                <c:pt idx="10260">
                  <c:v>#N/A</c:v>
                </c:pt>
                <c:pt idx="10261">
                  <c:v>#N/A</c:v>
                </c:pt>
                <c:pt idx="10262">
                  <c:v>#N/A</c:v>
                </c:pt>
                <c:pt idx="10263">
                  <c:v>#N/A</c:v>
                </c:pt>
                <c:pt idx="10264">
                  <c:v>#N/A</c:v>
                </c:pt>
                <c:pt idx="10265">
                  <c:v>#N/A</c:v>
                </c:pt>
                <c:pt idx="10266">
                  <c:v>#N/A</c:v>
                </c:pt>
                <c:pt idx="10267">
                  <c:v>#N/A</c:v>
                </c:pt>
                <c:pt idx="10268">
                  <c:v>#N/A</c:v>
                </c:pt>
                <c:pt idx="10269">
                  <c:v>#N/A</c:v>
                </c:pt>
                <c:pt idx="10270">
                  <c:v>#N/A</c:v>
                </c:pt>
                <c:pt idx="10271">
                  <c:v>#N/A</c:v>
                </c:pt>
                <c:pt idx="10272">
                  <c:v>#N/A</c:v>
                </c:pt>
                <c:pt idx="10273">
                  <c:v>#N/A</c:v>
                </c:pt>
                <c:pt idx="10274">
                  <c:v>#N/A</c:v>
                </c:pt>
                <c:pt idx="10275">
                  <c:v>#N/A</c:v>
                </c:pt>
                <c:pt idx="10276">
                  <c:v>#N/A</c:v>
                </c:pt>
                <c:pt idx="10277">
                  <c:v>#N/A</c:v>
                </c:pt>
                <c:pt idx="10278">
                  <c:v>#N/A</c:v>
                </c:pt>
                <c:pt idx="10279">
                  <c:v>#N/A</c:v>
                </c:pt>
                <c:pt idx="10280">
                  <c:v>#N/A</c:v>
                </c:pt>
                <c:pt idx="10281">
                  <c:v>#N/A</c:v>
                </c:pt>
                <c:pt idx="10282">
                  <c:v>#N/A</c:v>
                </c:pt>
                <c:pt idx="10283">
                  <c:v>#N/A</c:v>
                </c:pt>
                <c:pt idx="10284">
                  <c:v>#N/A</c:v>
                </c:pt>
                <c:pt idx="10285">
                  <c:v>#N/A</c:v>
                </c:pt>
                <c:pt idx="10286">
                  <c:v>#N/A</c:v>
                </c:pt>
                <c:pt idx="10287">
                  <c:v>#N/A</c:v>
                </c:pt>
                <c:pt idx="10288">
                  <c:v>#N/A</c:v>
                </c:pt>
                <c:pt idx="10289">
                  <c:v>#N/A</c:v>
                </c:pt>
                <c:pt idx="10290">
                  <c:v>#N/A</c:v>
                </c:pt>
                <c:pt idx="10291">
                  <c:v>#N/A</c:v>
                </c:pt>
                <c:pt idx="10292">
                  <c:v>#N/A</c:v>
                </c:pt>
                <c:pt idx="10293">
                  <c:v>#N/A</c:v>
                </c:pt>
                <c:pt idx="10294">
                  <c:v>#N/A</c:v>
                </c:pt>
                <c:pt idx="10295">
                  <c:v>#N/A</c:v>
                </c:pt>
                <c:pt idx="10296">
                  <c:v>#N/A</c:v>
                </c:pt>
                <c:pt idx="10297">
                  <c:v>#N/A</c:v>
                </c:pt>
                <c:pt idx="10298">
                  <c:v>#N/A</c:v>
                </c:pt>
                <c:pt idx="10299">
                  <c:v>#N/A</c:v>
                </c:pt>
                <c:pt idx="10300">
                  <c:v>#N/A</c:v>
                </c:pt>
                <c:pt idx="10301">
                  <c:v>#N/A</c:v>
                </c:pt>
                <c:pt idx="10302">
                  <c:v>#N/A</c:v>
                </c:pt>
                <c:pt idx="10303">
                  <c:v>#N/A</c:v>
                </c:pt>
                <c:pt idx="10304">
                  <c:v>#N/A</c:v>
                </c:pt>
                <c:pt idx="10305">
                  <c:v>#N/A</c:v>
                </c:pt>
                <c:pt idx="10306">
                  <c:v>#N/A</c:v>
                </c:pt>
                <c:pt idx="10307">
                  <c:v>#N/A</c:v>
                </c:pt>
                <c:pt idx="10308">
                  <c:v>#N/A</c:v>
                </c:pt>
                <c:pt idx="10309">
                  <c:v>#N/A</c:v>
                </c:pt>
                <c:pt idx="10310">
                  <c:v>#N/A</c:v>
                </c:pt>
                <c:pt idx="10311">
                  <c:v>#N/A</c:v>
                </c:pt>
                <c:pt idx="10312">
                  <c:v>#N/A</c:v>
                </c:pt>
                <c:pt idx="10313">
                  <c:v>#N/A</c:v>
                </c:pt>
                <c:pt idx="10314">
                  <c:v>#N/A</c:v>
                </c:pt>
                <c:pt idx="10315">
                  <c:v>#N/A</c:v>
                </c:pt>
                <c:pt idx="10316">
                  <c:v>#N/A</c:v>
                </c:pt>
                <c:pt idx="10317">
                  <c:v>#N/A</c:v>
                </c:pt>
                <c:pt idx="10318">
                  <c:v>#N/A</c:v>
                </c:pt>
                <c:pt idx="10319">
                  <c:v>#N/A</c:v>
                </c:pt>
                <c:pt idx="10320">
                  <c:v>#N/A</c:v>
                </c:pt>
                <c:pt idx="10321">
                  <c:v>#N/A</c:v>
                </c:pt>
                <c:pt idx="10322">
                  <c:v>#N/A</c:v>
                </c:pt>
                <c:pt idx="10323">
                  <c:v>#N/A</c:v>
                </c:pt>
                <c:pt idx="10324">
                  <c:v>#N/A</c:v>
                </c:pt>
                <c:pt idx="10325">
                  <c:v>#N/A</c:v>
                </c:pt>
                <c:pt idx="10326">
                  <c:v>#N/A</c:v>
                </c:pt>
                <c:pt idx="10327">
                  <c:v>#N/A</c:v>
                </c:pt>
                <c:pt idx="10328">
                  <c:v>#N/A</c:v>
                </c:pt>
                <c:pt idx="10329">
                  <c:v>#N/A</c:v>
                </c:pt>
                <c:pt idx="10330">
                  <c:v>#N/A</c:v>
                </c:pt>
                <c:pt idx="10331">
                  <c:v>#N/A</c:v>
                </c:pt>
                <c:pt idx="10332">
                  <c:v>#N/A</c:v>
                </c:pt>
                <c:pt idx="10333">
                  <c:v>#N/A</c:v>
                </c:pt>
                <c:pt idx="10334">
                  <c:v>#N/A</c:v>
                </c:pt>
                <c:pt idx="10335">
                  <c:v>#N/A</c:v>
                </c:pt>
                <c:pt idx="10336">
                  <c:v>#N/A</c:v>
                </c:pt>
                <c:pt idx="10337">
                  <c:v>#N/A</c:v>
                </c:pt>
                <c:pt idx="10338">
                  <c:v>#N/A</c:v>
                </c:pt>
                <c:pt idx="10339">
                  <c:v>#N/A</c:v>
                </c:pt>
                <c:pt idx="10340">
                  <c:v>#N/A</c:v>
                </c:pt>
                <c:pt idx="10341">
                  <c:v>#N/A</c:v>
                </c:pt>
                <c:pt idx="10342">
                  <c:v>#N/A</c:v>
                </c:pt>
                <c:pt idx="10343">
                  <c:v>#N/A</c:v>
                </c:pt>
                <c:pt idx="10344">
                  <c:v>#N/A</c:v>
                </c:pt>
                <c:pt idx="10345">
                  <c:v>#N/A</c:v>
                </c:pt>
                <c:pt idx="10346">
                  <c:v>#N/A</c:v>
                </c:pt>
                <c:pt idx="10347">
                  <c:v>#N/A</c:v>
                </c:pt>
                <c:pt idx="10348">
                  <c:v>#N/A</c:v>
                </c:pt>
                <c:pt idx="10349">
                  <c:v>#N/A</c:v>
                </c:pt>
                <c:pt idx="10350">
                  <c:v>#N/A</c:v>
                </c:pt>
                <c:pt idx="10351">
                  <c:v>#N/A</c:v>
                </c:pt>
                <c:pt idx="10352">
                  <c:v>#N/A</c:v>
                </c:pt>
                <c:pt idx="10353">
                  <c:v>#N/A</c:v>
                </c:pt>
                <c:pt idx="10354">
                  <c:v>#N/A</c:v>
                </c:pt>
                <c:pt idx="10355">
                  <c:v>#N/A</c:v>
                </c:pt>
                <c:pt idx="10356">
                  <c:v>#N/A</c:v>
                </c:pt>
                <c:pt idx="10357">
                  <c:v>#N/A</c:v>
                </c:pt>
                <c:pt idx="10358">
                  <c:v>#N/A</c:v>
                </c:pt>
                <c:pt idx="10359">
                  <c:v>#N/A</c:v>
                </c:pt>
                <c:pt idx="10360">
                  <c:v>#N/A</c:v>
                </c:pt>
                <c:pt idx="10361">
                  <c:v>#N/A</c:v>
                </c:pt>
                <c:pt idx="10362">
                  <c:v>#N/A</c:v>
                </c:pt>
                <c:pt idx="10363">
                  <c:v>#N/A</c:v>
                </c:pt>
                <c:pt idx="10364">
                  <c:v>#N/A</c:v>
                </c:pt>
                <c:pt idx="10365">
                  <c:v>#N/A</c:v>
                </c:pt>
                <c:pt idx="10366">
                  <c:v>#N/A</c:v>
                </c:pt>
                <c:pt idx="10367">
                  <c:v>#N/A</c:v>
                </c:pt>
                <c:pt idx="10368">
                  <c:v>#N/A</c:v>
                </c:pt>
                <c:pt idx="10369">
                  <c:v>#N/A</c:v>
                </c:pt>
                <c:pt idx="10370">
                  <c:v>#N/A</c:v>
                </c:pt>
                <c:pt idx="10371">
                  <c:v>#N/A</c:v>
                </c:pt>
                <c:pt idx="10372">
                  <c:v>#N/A</c:v>
                </c:pt>
                <c:pt idx="10373">
                  <c:v>#N/A</c:v>
                </c:pt>
                <c:pt idx="10374">
                  <c:v>#N/A</c:v>
                </c:pt>
                <c:pt idx="10375">
                  <c:v>#N/A</c:v>
                </c:pt>
                <c:pt idx="10376">
                  <c:v>#N/A</c:v>
                </c:pt>
                <c:pt idx="10377">
                  <c:v>#N/A</c:v>
                </c:pt>
                <c:pt idx="10378">
                  <c:v>#N/A</c:v>
                </c:pt>
                <c:pt idx="10379">
                  <c:v>#N/A</c:v>
                </c:pt>
                <c:pt idx="10380">
                  <c:v>#N/A</c:v>
                </c:pt>
                <c:pt idx="10381">
                  <c:v>#N/A</c:v>
                </c:pt>
                <c:pt idx="10382">
                  <c:v>#N/A</c:v>
                </c:pt>
                <c:pt idx="10383">
                  <c:v>#N/A</c:v>
                </c:pt>
                <c:pt idx="10384">
                  <c:v>#N/A</c:v>
                </c:pt>
                <c:pt idx="10385">
                  <c:v>#N/A</c:v>
                </c:pt>
                <c:pt idx="10386">
                  <c:v>#N/A</c:v>
                </c:pt>
                <c:pt idx="10387">
                  <c:v>#N/A</c:v>
                </c:pt>
                <c:pt idx="10388">
                  <c:v>#N/A</c:v>
                </c:pt>
                <c:pt idx="10389">
                  <c:v>#N/A</c:v>
                </c:pt>
                <c:pt idx="10390">
                  <c:v>#N/A</c:v>
                </c:pt>
                <c:pt idx="10391">
                  <c:v>#N/A</c:v>
                </c:pt>
                <c:pt idx="10392">
                  <c:v>#N/A</c:v>
                </c:pt>
                <c:pt idx="10393">
                  <c:v>#N/A</c:v>
                </c:pt>
                <c:pt idx="10394">
                  <c:v>#N/A</c:v>
                </c:pt>
                <c:pt idx="10395">
                  <c:v>#N/A</c:v>
                </c:pt>
                <c:pt idx="10396">
                  <c:v>#N/A</c:v>
                </c:pt>
                <c:pt idx="10397">
                  <c:v>#N/A</c:v>
                </c:pt>
                <c:pt idx="10398">
                  <c:v>#N/A</c:v>
                </c:pt>
                <c:pt idx="10399">
                  <c:v>#N/A</c:v>
                </c:pt>
                <c:pt idx="10400">
                  <c:v>#N/A</c:v>
                </c:pt>
                <c:pt idx="10401">
                  <c:v>#N/A</c:v>
                </c:pt>
                <c:pt idx="10402">
                  <c:v>#N/A</c:v>
                </c:pt>
                <c:pt idx="10403">
                  <c:v>#N/A</c:v>
                </c:pt>
                <c:pt idx="10404">
                  <c:v>#N/A</c:v>
                </c:pt>
                <c:pt idx="10405">
                  <c:v>#N/A</c:v>
                </c:pt>
                <c:pt idx="10406">
                  <c:v>#N/A</c:v>
                </c:pt>
                <c:pt idx="10407">
                  <c:v>#N/A</c:v>
                </c:pt>
                <c:pt idx="10408">
                  <c:v>#N/A</c:v>
                </c:pt>
                <c:pt idx="10409">
                  <c:v>#N/A</c:v>
                </c:pt>
                <c:pt idx="10410">
                  <c:v>#N/A</c:v>
                </c:pt>
                <c:pt idx="10411">
                  <c:v>#N/A</c:v>
                </c:pt>
                <c:pt idx="10412">
                  <c:v>#N/A</c:v>
                </c:pt>
                <c:pt idx="10413">
                  <c:v>#N/A</c:v>
                </c:pt>
                <c:pt idx="10414">
                  <c:v>#N/A</c:v>
                </c:pt>
                <c:pt idx="10415">
                  <c:v>#N/A</c:v>
                </c:pt>
                <c:pt idx="10416">
                  <c:v>#N/A</c:v>
                </c:pt>
                <c:pt idx="10417">
                  <c:v>#N/A</c:v>
                </c:pt>
                <c:pt idx="10418">
                  <c:v>#N/A</c:v>
                </c:pt>
                <c:pt idx="10419">
                  <c:v>#N/A</c:v>
                </c:pt>
                <c:pt idx="10420">
                  <c:v>#N/A</c:v>
                </c:pt>
                <c:pt idx="10421">
                  <c:v>#N/A</c:v>
                </c:pt>
                <c:pt idx="10422">
                  <c:v>#N/A</c:v>
                </c:pt>
                <c:pt idx="10423">
                  <c:v>#N/A</c:v>
                </c:pt>
                <c:pt idx="10424">
                  <c:v>#N/A</c:v>
                </c:pt>
                <c:pt idx="10425">
                  <c:v>#N/A</c:v>
                </c:pt>
                <c:pt idx="10426">
                  <c:v>#N/A</c:v>
                </c:pt>
                <c:pt idx="10427">
                  <c:v>#N/A</c:v>
                </c:pt>
                <c:pt idx="10428">
                  <c:v>#N/A</c:v>
                </c:pt>
                <c:pt idx="10429">
                  <c:v>#N/A</c:v>
                </c:pt>
                <c:pt idx="10430">
                  <c:v>#N/A</c:v>
                </c:pt>
                <c:pt idx="10431">
                  <c:v>#N/A</c:v>
                </c:pt>
                <c:pt idx="10432">
                  <c:v>#N/A</c:v>
                </c:pt>
                <c:pt idx="10433">
                  <c:v>#N/A</c:v>
                </c:pt>
                <c:pt idx="10434">
                  <c:v>#N/A</c:v>
                </c:pt>
                <c:pt idx="10435">
                  <c:v>#N/A</c:v>
                </c:pt>
                <c:pt idx="10436">
                  <c:v>#N/A</c:v>
                </c:pt>
                <c:pt idx="10437">
                  <c:v>#N/A</c:v>
                </c:pt>
                <c:pt idx="10438">
                  <c:v>#N/A</c:v>
                </c:pt>
                <c:pt idx="10439">
                  <c:v>#N/A</c:v>
                </c:pt>
                <c:pt idx="10440">
                  <c:v>#N/A</c:v>
                </c:pt>
                <c:pt idx="10441">
                  <c:v>#N/A</c:v>
                </c:pt>
                <c:pt idx="10442">
                  <c:v>#N/A</c:v>
                </c:pt>
                <c:pt idx="10443">
                  <c:v>#N/A</c:v>
                </c:pt>
                <c:pt idx="10444">
                  <c:v>#N/A</c:v>
                </c:pt>
                <c:pt idx="10445">
                  <c:v>#N/A</c:v>
                </c:pt>
                <c:pt idx="10446">
                  <c:v>#N/A</c:v>
                </c:pt>
                <c:pt idx="10447">
                  <c:v>#N/A</c:v>
                </c:pt>
                <c:pt idx="10448">
                  <c:v>#N/A</c:v>
                </c:pt>
                <c:pt idx="10449">
                  <c:v>#N/A</c:v>
                </c:pt>
                <c:pt idx="10450">
                  <c:v>#N/A</c:v>
                </c:pt>
                <c:pt idx="10451">
                  <c:v>#N/A</c:v>
                </c:pt>
                <c:pt idx="10452">
                  <c:v>#N/A</c:v>
                </c:pt>
                <c:pt idx="10453">
                  <c:v>#N/A</c:v>
                </c:pt>
                <c:pt idx="10454">
                  <c:v>#N/A</c:v>
                </c:pt>
                <c:pt idx="10455">
                  <c:v>#N/A</c:v>
                </c:pt>
                <c:pt idx="10456">
                  <c:v>#N/A</c:v>
                </c:pt>
                <c:pt idx="10457">
                  <c:v>#N/A</c:v>
                </c:pt>
                <c:pt idx="10458">
                  <c:v>#N/A</c:v>
                </c:pt>
                <c:pt idx="10459">
                  <c:v>#N/A</c:v>
                </c:pt>
                <c:pt idx="10460">
                  <c:v>#N/A</c:v>
                </c:pt>
                <c:pt idx="10461">
                  <c:v>#N/A</c:v>
                </c:pt>
                <c:pt idx="10462">
                  <c:v>#N/A</c:v>
                </c:pt>
                <c:pt idx="10463">
                  <c:v>#N/A</c:v>
                </c:pt>
                <c:pt idx="10464">
                  <c:v>#N/A</c:v>
                </c:pt>
                <c:pt idx="10465">
                  <c:v>#N/A</c:v>
                </c:pt>
                <c:pt idx="10466">
                  <c:v>#N/A</c:v>
                </c:pt>
                <c:pt idx="10467">
                  <c:v>#N/A</c:v>
                </c:pt>
                <c:pt idx="10468">
                  <c:v>#N/A</c:v>
                </c:pt>
                <c:pt idx="10469">
                  <c:v>#N/A</c:v>
                </c:pt>
                <c:pt idx="10470">
                  <c:v>#N/A</c:v>
                </c:pt>
                <c:pt idx="10471">
                  <c:v>#N/A</c:v>
                </c:pt>
                <c:pt idx="10472">
                  <c:v>#N/A</c:v>
                </c:pt>
                <c:pt idx="10473">
                  <c:v>#N/A</c:v>
                </c:pt>
                <c:pt idx="10474">
                  <c:v>#N/A</c:v>
                </c:pt>
                <c:pt idx="10475">
                  <c:v>#N/A</c:v>
                </c:pt>
                <c:pt idx="10476">
                  <c:v>#N/A</c:v>
                </c:pt>
                <c:pt idx="10477">
                  <c:v>#N/A</c:v>
                </c:pt>
                <c:pt idx="10478">
                  <c:v>#N/A</c:v>
                </c:pt>
                <c:pt idx="10479">
                  <c:v>#N/A</c:v>
                </c:pt>
                <c:pt idx="10480">
                  <c:v>#N/A</c:v>
                </c:pt>
                <c:pt idx="10481">
                  <c:v>#N/A</c:v>
                </c:pt>
                <c:pt idx="10482">
                  <c:v>#N/A</c:v>
                </c:pt>
                <c:pt idx="10483">
                  <c:v>#N/A</c:v>
                </c:pt>
                <c:pt idx="10484">
                  <c:v>#N/A</c:v>
                </c:pt>
                <c:pt idx="10485">
                  <c:v>#N/A</c:v>
                </c:pt>
                <c:pt idx="10486">
                  <c:v>#N/A</c:v>
                </c:pt>
                <c:pt idx="10487">
                  <c:v>#N/A</c:v>
                </c:pt>
                <c:pt idx="10488">
                  <c:v>#N/A</c:v>
                </c:pt>
                <c:pt idx="10489">
                  <c:v>#N/A</c:v>
                </c:pt>
                <c:pt idx="10490">
                  <c:v>#N/A</c:v>
                </c:pt>
                <c:pt idx="10491">
                  <c:v>#N/A</c:v>
                </c:pt>
                <c:pt idx="10492">
                  <c:v>#N/A</c:v>
                </c:pt>
                <c:pt idx="10493">
                  <c:v>#N/A</c:v>
                </c:pt>
                <c:pt idx="10494">
                  <c:v>#N/A</c:v>
                </c:pt>
                <c:pt idx="10495">
                  <c:v>#N/A</c:v>
                </c:pt>
                <c:pt idx="10496">
                  <c:v>#N/A</c:v>
                </c:pt>
                <c:pt idx="10497">
                  <c:v>#N/A</c:v>
                </c:pt>
                <c:pt idx="10498">
                  <c:v>#N/A</c:v>
                </c:pt>
                <c:pt idx="10499">
                  <c:v>#N/A</c:v>
                </c:pt>
                <c:pt idx="10500">
                  <c:v>#N/A</c:v>
                </c:pt>
                <c:pt idx="10501">
                  <c:v>#N/A</c:v>
                </c:pt>
                <c:pt idx="10502">
                  <c:v>#N/A</c:v>
                </c:pt>
                <c:pt idx="10503">
                  <c:v>#N/A</c:v>
                </c:pt>
                <c:pt idx="10504">
                  <c:v>#N/A</c:v>
                </c:pt>
                <c:pt idx="10505">
                  <c:v>#N/A</c:v>
                </c:pt>
                <c:pt idx="10506">
                  <c:v>#N/A</c:v>
                </c:pt>
                <c:pt idx="10507">
                  <c:v>#N/A</c:v>
                </c:pt>
                <c:pt idx="10508">
                  <c:v>#N/A</c:v>
                </c:pt>
                <c:pt idx="10509">
                  <c:v>#N/A</c:v>
                </c:pt>
                <c:pt idx="10510">
                  <c:v>#N/A</c:v>
                </c:pt>
                <c:pt idx="10511">
                  <c:v>#N/A</c:v>
                </c:pt>
                <c:pt idx="10512">
                  <c:v>#N/A</c:v>
                </c:pt>
                <c:pt idx="10513">
                  <c:v>#N/A</c:v>
                </c:pt>
                <c:pt idx="10514">
                  <c:v>#N/A</c:v>
                </c:pt>
                <c:pt idx="10515">
                  <c:v>#N/A</c:v>
                </c:pt>
                <c:pt idx="10516">
                  <c:v>#N/A</c:v>
                </c:pt>
                <c:pt idx="10517">
                  <c:v>#N/A</c:v>
                </c:pt>
                <c:pt idx="10518">
                  <c:v>#N/A</c:v>
                </c:pt>
                <c:pt idx="10519">
                  <c:v>#N/A</c:v>
                </c:pt>
                <c:pt idx="10520">
                  <c:v>#N/A</c:v>
                </c:pt>
                <c:pt idx="10521">
                  <c:v>#N/A</c:v>
                </c:pt>
                <c:pt idx="10522">
                  <c:v>#N/A</c:v>
                </c:pt>
                <c:pt idx="10523">
                  <c:v>#N/A</c:v>
                </c:pt>
                <c:pt idx="10524">
                  <c:v>#N/A</c:v>
                </c:pt>
                <c:pt idx="10525">
                  <c:v>#N/A</c:v>
                </c:pt>
                <c:pt idx="10526">
                  <c:v>#N/A</c:v>
                </c:pt>
                <c:pt idx="10527">
                  <c:v>#N/A</c:v>
                </c:pt>
                <c:pt idx="10528">
                  <c:v>#N/A</c:v>
                </c:pt>
                <c:pt idx="10529">
                  <c:v>#N/A</c:v>
                </c:pt>
                <c:pt idx="10530">
                  <c:v>#N/A</c:v>
                </c:pt>
                <c:pt idx="10531">
                  <c:v>#N/A</c:v>
                </c:pt>
                <c:pt idx="10532">
                  <c:v>#N/A</c:v>
                </c:pt>
                <c:pt idx="10533">
                  <c:v>#N/A</c:v>
                </c:pt>
                <c:pt idx="10534">
                  <c:v>#N/A</c:v>
                </c:pt>
                <c:pt idx="10535">
                  <c:v>#N/A</c:v>
                </c:pt>
                <c:pt idx="10536">
                  <c:v>#N/A</c:v>
                </c:pt>
                <c:pt idx="10537">
                  <c:v>#N/A</c:v>
                </c:pt>
                <c:pt idx="10538">
                  <c:v>#N/A</c:v>
                </c:pt>
                <c:pt idx="10539">
                  <c:v>#N/A</c:v>
                </c:pt>
                <c:pt idx="10540">
                  <c:v>#N/A</c:v>
                </c:pt>
                <c:pt idx="10541">
                  <c:v>#N/A</c:v>
                </c:pt>
                <c:pt idx="10542">
                  <c:v>#N/A</c:v>
                </c:pt>
                <c:pt idx="10543">
                  <c:v>#N/A</c:v>
                </c:pt>
                <c:pt idx="10544">
                  <c:v>#N/A</c:v>
                </c:pt>
                <c:pt idx="10545">
                  <c:v>#N/A</c:v>
                </c:pt>
                <c:pt idx="10546">
                  <c:v>#N/A</c:v>
                </c:pt>
                <c:pt idx="10547">
                  <c:v>#N/A</c:v>
                </c:pt>
                <c:pt idx="10548">
                  <c:v>#N/A</c:v>
                </c:pt>
                <c:pt idx="10549">
                  <c:v>#N/A</c:v>
                </c:pt>
                <c:pt idx="10550">
                  <c:v>#N/A</c:v>
                </c:pt>
                <c:pt idx="10551">
                  <c:v>#N/A</c:v>
                </c:pt>
                <c:pt idx="10552">
                  <c:v>#N/A</c:v>
                </c:pt>
                <c:pt idx="10553">
                  <c:v>#N/A</c:v>
                </c:pt>
                <c:pt idx="10554">
                  <c:v>#N/A</c:v>
                </c:pt>
                <c:pt idx="10555">
                  <c:v>#N/A</c:v>
                </c:pt>
                <c:pt idx="10556">
                  <c:v>#N/A</c:v>
                </c:pt>
                <c:pt idx="10557">
                  <c:v>#N/A</c:v>
                </c:pt>
                <c:pt idx="10558">
                  <c:v>#N/A</c:v>
                </c:pt>
                <c:pt idx="10559">
                  <c:v>#N/A</c:v>
                </c:pt>
                <c:pt idx="10560">
                  <c:v>#N/A</c:v>
                </c:pt>
                <c:pt idx="10561">
                  <c:v>#N/A</c:v>
                </c:pt>
                <c:pt idx="10562">
                  <c:v>#N/A</c:v>
                </c:pt>
                <c:pt idx="10563">
                  <c:v>#N/A</c:v>
                </c:pt>
                <c:pt idx="10564">
                  <c:v>#N/A</c:v>
                </c:pt>
                <c:pt idx="10565">
                  <c:v>#N/A</c:v>
                </c:pt>
                <c:pt idx="10566">
                  <c:v>#N/A</c:v>
                </c:pt>
                <c:pt idx="10567">
                  <c:v>#N/A</c:v>
                </c:pt>
                <c:pt idx="10568">
                  <c:v>#N/A</c:v>
                </c:pt>
                <c:pt idx="10569">
                  <c:v>#N/A</c:v>
                </c:pt>
                <c:pt idx="10570">
                  <c:v>#N/A</c:v>
                </c:pt>
                <c:pt idx="10571">
                  <c:v>#N/A</c:v>
                </c:pt>
                <c:pt idx="10572">
                  <c:v>#N/A</c:v>
                </c:pt>
                <c:pt idx="10573">
                  <c:v>#N/A</c:v>
                </c:pt>
                <c:pt idx="10574">
                  <c:v>#N/A</c:v>
                </c:pt>
                <c:pt idx="10575">
                  <c:v>#N/A</c:v>
                </c:pt>
                <c:pt idx="10576">
                  <c:v>#N/A</c:v>
                </c:pt>
                <c:pt idx="10577">
                  <c:v>#N/A</c:v>
                </c:pt>
                <c:pt idx="10578">
                  <c:v>#N/A</c:v>
                </c:pt>
                <c:pt idx="10579">
                  <c:v>#N/A</c:v>
                </c:pt>
                <c:pt idx="10580">
                  <c:v>#N/A</c:v>
                </c:pt>
                <c:pt idx="10581">
                  <c:v>#N/A</c:v>
                </c:pt>
                <c:pt idx="10582">
                  <c:v>#N/A</c:v>
                </c:pt>
                <c:pt idx="10583">
                  <c:v>#N/A</c:v>
                </c:pt>
                <c:pt idx="10584">
                  <c:v>#N/A</c:v>
                </c:pt>
                <c:pt idx="10585">
                  <c:v>#N/A</c:v>
                </c:pt>
                <c:pt idx="10586">
                  <c:v>#N/A</c:v>
                </c:pt>
                <c:pt idx="10587">
                  <c:v>#N/A</c:v>
                </c:pt>
                <c:pt idx="10588">
                  <c:v>#N/A</c:v>
                </c:pt>
                <c:pt idx="10589">
                  <c:v>#N/A</c:v>
                </c:pt>
                <c:pt idx="10590">
                  <c:v>#N/A</c:v>
                </c:pt>
                <c:pt idx="10591">
                  <c:v>#N/A</c:v>
                </c:pt>
                <c:pt idx="10592">
                  <c:v>#N/A</c:v>
                </c:pt>
                <c:pt idx="10593">
                  <c:v>#N/A</c:v>
                </c:pt>
                <c:pt idx="10594">
                  <c:v>#N/A</c:v>
                </c:pt>
                <c:pt idx="10595">
                  <c:v>#N/A</c:v>
                </c:pt>
                <c:pt idx="10596">
                  <c:v>#N/A</c:v>
                </c:pt>
                <c:pt idx="10597">
                  <c:v>#N/A</c:v>
                </c:pt>
                <c:pt idx="10598">
                  <c:v>#N/A</c:v>
                </c:pt>
                <c:pt idx="10599">
                  <c:v>#N/A</c:v>
                </c:pt>
                <c:pt idx="10600">
                  <c:v>#N/A</c:v>
                </c:pt>
                <c:pt idx="10601">
                  <c:v>#N/A</c:v>
                </c:pt>
                <c:pt idx="10602">
                  <c:v>#N/A</c:v>
                </c:pt>
                <c:pt idx="10603">
                  <c:v>#N/A</c:v>
                </c:pt>
                <c:pt idx="10604">
                  <c:v>#N/A</c:v>
                </c:pt>
                <c:pt idx="10605">
                  <c:v>#N/A</c:v>
                </c:pt>
                <c:pt idx="10606">
                  <c:v>#N/A</c:v>
                </c:pt>
                <c:pt idx="10607">
                  <c:v>#N/A</c:v>
                </c:pt>
                <c:pt idx="10608">
                  <c:v>#N/A</c:v>
                </c:pt>
                <c:pt idx="10609">
                  <c:v>#N/A</c:v>
                </c:pt>
                <c:pt idx="10610">
                  <c:v>#N/A</c:v>
                </c:pt>
                <c:pt idx="10611">
                  <c:v>#N/A</c:v>
                </c:pt>
                <c:pt idx="10612">
                  <c:v>#N/A</c:v>
                </c:pt>
                <c:pt idx="10613">
                  <c:v>#N/A</c:v>
                </c:pt>
                <c:pt idx="10614">
                  <c:v>#N/A</c:v>
                </c:pt>
                <c:pt idx="10615">
                  <c:v>#N/A</c:v>
                </c:pt>
                <c:pt idx="10616">
                  <c:v>#N/A</c:v>
                </c:pt>
                <c:pt idx="10617">
                  <c:v>#N/A</c:v>
                </c:pt>
                <c:pt idx="10618">
                  <c:v>#N/A</c:v>
                </c:pt>
                <c:pt idx="10619">
                  <c:v>#N/A</c:v>
                </c:pt>
                <c:pt idx="10620">
                  <c:v>#N/A</c:v>
                </c:pt>
                <c:pt idx="10621">
                  <c:v>#N/A</c:v>
                </c:pt>
                <c:pt idx="10622">
                  <c:v>#N/A</c:v>
                </c:pt>
                <c:pt idx="10623">
                  <c:v>#N/A</c:v>
                </c:pt>
                <c:pt idx="10624">
                  <c:v>#N/A</c:v>
                </c:pt>
                <c:pt idx="10625">
                  <c:v>#N/A</c:v>
                </c:pt>
                <c:pt idx="10626">
                  <c:v>#N/A</c:v>
                </c:pt>
                <c:pt idx="10627">
                  <c:v>#N/A</c:v>
                </c:pt>
                <c:pt idx="10628">
                  <c:v>#N/A</c:v>
                </c:pt>
                <c:pt idx="10629">
                  <c:v>#N/A</c:v>
                </c:pt>
                <c:pt idx="10630">
                  <c:v>#N/A</c:v>
                </c:pt>
                <c:pt idx="10631">
                  <c:v>#N/A</c:v>
                </c:pt>
                <c:pt idx="10632">
                  <c:v>#N/A</c:v>
                </c:pt>
                <c:pt idx="10633">
                  <c:v>#N/A</c:v>
                </c:pt>
                <c:pt idx="10634">
                  <c:v>#N/A</c:v>
                </c:pt>
                <c:pt idx="10635">
                  <c:v>#N/A</c:v>
                </c:pt>
                <c:pt idx="10636">
                  <c:v>#N/A</c:v>
                </c:pt>
                <c:pt idx="10637">
                  <c:v>#N/A</c:v>
                </c:pt>
                <c:pt idx="10638">
                  <c:v>#N/A</c:v>
                </c:pt>
                <c:pt idx="10639">
                  <c:v>#N/A</c:v>
                </c:pt>
                <c:pt idx="10640">
                  <c:v>#N/A</c:v>
                </c:pt>
                <c:pt idx="10641">
                  <c:v>#N/A</c:v>
                </c:pt>
                <c:pt idx="10642">
                  <c:v>#N/A</c:v>
                </c:pt>
                <c:pt idx="10643">
                  <c:v>#N/A</c:v>
                </c:pt>
                <c:pt idx="10644">
                  <c:v>#N/A</c:v>
                </c:pt>
                <c:pt idx="10645">
                  <c:v>#N/A</c:v>
                </c:pt>
                <c:pt idx="10646">
                  <c:v>#N/A</c:v>
                </c:pt>
                <c:pt idx="10647">
                  <c:v>#N/A</c:v>
                </c:pt>
                <c:pt idx="10648">
                  <c:v>#N/A</c:v>
                </c:pt>
                <c:pt idx="10649">
                  <c:v>#N/A</c:v>
                </c:pt>
                <c:pt idx="10650">
                  <c:v>#N/A</c:v>
                </c:pt>
                <c:pt idx="10651">
                  <c:v>#N/A</c:v>
                </c:pt>
                <c:pt idx="10652">
                  <c:v>#N/A</c:v>
                </c:pt>
                <c:pt idx="10653">
                  <c:v>#N/A</c:v>
                </c:pt>
                <c:pt idx="10654">
                  <c:v>#N/A</c:v>
                </c:pt>
                <c:pt idx="10655">
                  <c:v>#N/A</c:v>
                </c:pt>
                <c:pt idx="10656">
                  <c:v>#N/A</c:v>
                </c:pt>
                <c:pt idx="10657">
                  <c:v>#N/A</c:v>
                </c:pt>
                <c:pt idx="10658">
                  <c:v>#N/A</c:v>
                </c:pt>
                <c:pt idx="10659">
                  <c:v>#N/A</c:v>
                </c:pt>
                <c:pt idx="10660">
                  <c:v>#N/A</c:v>
                </c:pt>
                <c:pt idx="10661">
                  <c:v>#N/A</c:v>
                </c:pt>
                <c:pt idx="10662">
                  <c:v>#N/A</c:v>
                </c:pt>
                <c:pt idx="10663">
                  <c:v>#N/A</c:v>
                </c:pt>
                <c:pt idx="10664">
                  <c:v>#N/A</c:v>
                </c:pt>
                <c:pt idx="10665">
                  <c:v>#N/A</c:v>
                </c:pt>
                <c:pt idx="10666">
                  <c:v>#N/A</c:v>
                </c:pt>
                <c:pt idx="10667">
                  <c:v>#N/A</c:v>
                </c:pt>
                <c:pt idx="10668">
                  <c:v>#N/A</c:v>
                </c:pt>
                <c:pt idx="10669">
                  <c:v>#N/A</c:v>
                </c:pt>
                <c:pt idx="10670">
                  <c:v>#N/A</c:v>
                </c:pt>
                <c:pt idx="10671">
                  <c:v>#N/A</c:v>
                </c:pt>
                <c:pt idx="10672">
                  <c:v>#N/A</c:v>
                </c:pt>
                <c:pt idx="10673">
                  <c:v>#N/A</c:v>
                </c:pt>
                <c:pt idx="10674">
                  <c:v>#N/A</c:v>
                </c:pt>
                <c:pt idx="10675">
                  <c:v>#N/A</c:v>
                </c:pt>
                <c:pt idx="10676">
                  <c:v>#N/A</c:v>
                </c:pt>
                <c:pt idx="10677">
                  <c:v>#N/A</c:v>
                </c:pt>
                <c:pt idx="10678">
                  <c:v>#N/A</c:v>
                </c:pt>
                <c:pt idx="10679">
                  <c:v>#N/A</c:v>
                </c:pt>
                <c:pt idx="10680">
                  <c:v>#N/A</c:v>
                </c:pt>
                <c:pt idx="10681">
                  <c:v>#N/A</c:v>
                </c:pt>
                <c:pt idx="10682">
                  <c:v>#N/A</c:v>
                </c:pt>
                <c:pt idx="10683">
                  <c:v>#N/A</c:v>
                </c:pt>
                <c:pt idx="10684">
                  <c:v>#N/A</c:v>
                </c:pt>
                <c:pt idx="10685">
                  <c:v>#N/A</c:v>
                </c:pt>
                <c:pt idx="10686">
                  <c:v>#N/A</c:v>
                </c:pt>
                <c:pt idx="10687">
                  <c:v>#N/A</c:v>
                </c:pt>
                <c:pt idx="10688">
                  <c:v>#N/A</c:v>
                </c:pt>
                <c:pt idx="10689">
                  <c:v>#N/A</c:v>
                </c:pt>
                <c:pt idx="10690">
                  <c:v>#N/A</c:v>
                </c:pt>
                <c:pt idx="10691">
                  <c:v>#N/A</c:v>
                </c:pt>
                <c:pt idx="10692">
                  <c:v>#N/A</c:v>
                </c:pt>
                <c:pt idx="10693">
                  <c:v>#N/A</c:v>
                </c:pt>
                <c:pt idx="10694">
                  <c:v>#N/A</c:v>
                </c:pt>
                <c:pt idx="10695">
                  <c:v>#N/A</c:v>
                </c:pt>
                <c:pt idx="10696">
                  <c:v>#N/A</c:v>
                </c:pt>
                <c:pt idx="10697">
                  <c:v>#N/A</c:v>
                </c:pt>
                <c:pt idx="10698">
                  <c:v>#N/A</c:v>
                </c:pt>
                <c:pt idx="10699">
                  <c:v>#N/A</c:v>
                </c:pt>
                <c:pt idx="10700">
                  <c:v>#N/A</c:v>
                </c:pt>
                <c:pt idx="10701">
                  <c:v>#N/A</c:v>
                </c:pt>
                <c:pt idx="10702">
                  <c:v>#N/A</c:v>
                </c:pt>
                <c:pt idx="10703">
                  <c:v>#N/A</c:v>
                </c:pt>
                <c:pt idx="10704">
                  <c:v>#N/A</c:v>
                </c:pt>
                <c:pt idx="10705">
                  <c:v>#N/A</c:v>
                </c:pt>
                <c:pt idx="10706">
                  <c:v>#N/A</c:v>
                </c:pt>
                <c:pt idx="10707">
                  <c:v>#N/A</c:v>
                </c:pt>
                <c:pt idx="10708">
                  <c:v>#N/A</c:v>
                </c:pt>
                <c:pt idx="10709">
                  <c:v>#N/A</c:v>
                </c:pt>
                <c:pt idx="10710">
                  <c:v>#N/A</c:v>
                </c:pt>
                <c:pt idx="10711">
                  <c:v>#N/A</c:v>
                </c:pt>
                <c:pt idx="10712">
                  <c:v>#N/A</c:v>
                </c:pt>
                <c:pt idx="10713">
                  <c:v>#N/A</c:v>
                </c:pt>
                <c:pt idx="10714">
                  <c:v>#N/A</c:v>
                </c:pt>
                <c:pt idx="10715">
                  <c:v>#N/A</c:v>
                </c:pt>
                <c:pt idx="10716">
                  <c:v>#N/A</c:v>
                </c:pt>
                <c:pt idx="10717">
                  <c:v>#N/A</c:v>
                </c:pt>
                <c:pt idx="10718">
                  <c:v>#N/A</c:v>
                </c:pt>
                <c:pt idx="10719">
                  <c:v>#N/A</c:v>
                </c:pt>
                <c:pt idx="10720">
                  <c:v>#N/A</c:v>
                </c:pt>
                <c:pt idx="10721">
                  <c:v>#N/A</c:v>
                </c:pt>
                <c:pt idx="10722">
                  <c:v>#N/A</c:v>
                </c:pt>
                <c:pt idx="10723">
                  <c:v>#N/A</c:v>
                </c:pt>
                <c:pt idx="10724">
                  <c:v>#N/A</c:v>
                </c:pt>
                <c:pt idx="10725">
                  <c:v>#N/A</c:v>
                </c:pt>
                <c:pt idx="10726">
                  <c:v>#N/A</c:v>
                </c:pt>
                <c:pt idx="10727">
                  <c:v>#N/A</c:v>
                </c:pt>
                <c:pt idx="10728">
                  <c:v>#N/A</c:v>
                </c:pt>
                <c:pt idx="10729">
                  <c:v>#N/A</c:v>
                </c:pt>
                <c:pt idx="10730">
                  <c:v>#N/A</c:v>
                </c:pt>
                <c:pt idx="10731">
                  <c:v>#N/A</c:v>
                </c:pt>
                <c:pt idx="10732">
                  <c:v>#N/A</c:v>
                </c:pt>
                <c:pt idx="10733">
                  <c:v>#N/A</c:v>
                </c:pt>
                <c:pt idx="10734">
                  <c:v>#N/A</c:v>
                </c:pt>
                <c:pt idx="10735">
                  <c:v>#N/A</c:v>
                </c:pt>
                <c:pt idx="10736">
                  <c:v>#N/A</c:v>
                </c:pt>
                <c:pt idx="10737">
                  <c:v>#N/A</c:v>
                </c:pt>
                <c:pt idx="10738">
                  <c:v>#N/A</c:v>
                </c:pt>
                <c:pt idx="10739">
                  <c:v>#N/A</c:v>
                </c:pt>
                <c:pt idx="10740">
                  <c:v>#N/A</c:v>
                </c:pt>
                <c:pt idx="10741">
                  <c:v>#N/A</c:v>
                </c:pt>
                <c:pt idx="10742">
                  <c:v>#N/A</c:v>
                </c:pt>
                <c:pt idx="10743">
                  <c:v>#N/A</c:v>
                </c:pt>
                <c:pt idx="10744">
                  <c:v>#N/A</c:v>
                </c:pt>
                <c:pt idx="10745">
                  <c:v>#N/A</c:v>
                </c:pt>
                <c:pt idx="10746">
                  <c:v>#N/A</c:v>
                </c:pt>
                <c:pt idx="10747">
                  <c:v>#N/A</c:v>
                </c:pt>
                <c:pt idx="10748">
                  <c:v>#N/A</c:v>
                </c:pt>
                <c:pt idx="10749">
                  <c:v>#N/A</c:v>
                </c:pt>
                <c:pt idx="10750">
                  <c:v>#N/A</c:v>
                </c:pt>
                <c:pt idx="10751">
                  <c:v>#N/A</c:v>
                </c:pt>
                <c:pt idx="10752">
                  <c:v>#N/A</c:v>
                </c:pt>
                <c:pt idx="10753">
                  <c:v>#N/A</c:v>
                </c:pt>
                <c:pt idx="10754">
                  <c:v>#N/A</c:v>
                </c:pt>
                <c:pt idx="10755">
                  <c:v>#N/A</c:v>
                </c:pt>
                <c:pt idx="10756">
                  <c:v>#N/A</c:v>
                </c:pt>
                <c:pt idx="10757">
                  <c:v>#N/A</c:v>
                </c:pt>
                <c:pt idx="10758">
                  <c:v>#N/A</c:v>
                </c:pt>
                <c:pt idx="10759">
                  <c:v>#N/A</c:v>
                </c:pt>
                <c:pt idx="10760">
                  <c:v>#N/A</c:v>
                </c:pt>
                <c:pt idx="10761">
                  <c:v>#N/A</c:v>
                </c:pt>
                <c:pt idx="10762">
                  <c:v>#N/A</c:v>
                </c:pt>
                <c:pt idx="10763">
                  <c:v>#N/A</c:v>
                </c:pt>
                <c:pt idx="10764">
                  <c:v>#N/A</c:v>
                </c:pt>
                <c:pt idx="10765">
                  <c:v>#N/A</c:v>
                </c:pt>
                <c:pt idx="10766">
                  <c:v>#N/A</c:v>
                </c:pt>
                <c:pt idx="10767">
                  <c:v>#N/A</c:v>
                </c:pt>
                <c:pt idx="10768">
                  <c:v>#N/A</c:v>
                </c:pt>
                <c:pt idx="10769">
                  <c:v>#N/A</c:v>
                </c:pt>
                <c:pt idx="10770">
                  <c:v>#N/A</c:v>
                </c:pt>
                <c:pt idx="10771">
                  <c:v>#N/A</c:v>
                </c:pt>
                <c:pt idx="10772">
                  <c:v>#N/A</c:v>
                </c:pt>
                <c:pt idx="10773">
                  <c:v>#N/A</c:v>
                </c:pt>
                <c:pt idx="10774">
                  <c:v>#N/A</c:v>
                </c:pt>
                <c:pt idx="10775">
                  <c:v>#N/A</c:v>
                </c:pt>
                <c:pt idx="10776">
                  <c:v>#N/A</c:v>
                </c:pt>
                <c:pt idx="10777">
                  <c:v>#N/A</c:v>
                </c:pt>
                <c:pt idx="10778">
                  <c:v>#N/A</c:v>
                </c:pt>
                <c:pt idx="10779">
                  <c:v>#N/A</c:v>
                </c:pt>
                <c:pt idx="10780">
                  <c:v>#N/A</c:v>
                </c:pt>
                <c:pt idx="10781">
                  <c:v>#N/A</c:v>
                </c:pt>
                <c:pt idx="10782">
                  <c:v>#N/A</c:v>
                </c:pt>
                <c:pt idx="10783">
                  <c:v>#N/A</c:v>
                </c:pt>
                <c:pt idx="10784">
                  <c:v>#N/A</c:v>
                </c:pt>
                <c:pt idx="10785">
                  <c:v>#N/A</c:v>
                </c:pt>
                <c:pt idx="10786">
                  <c:v>#N/A</c:v>
                </c:pt>
                <c:pt idx="10787">
                  <c:v>#N/A</c:v>
                </c:pt>
                <c:pt idx="10788">
                  <c:v>#N/A</c:v>
                </c:pt>
                <c:pt idx="10789">
                  <c:v>#N/A</c:v>
                </c:pt>
                <c:pt idx="10790">
                  <c:v>#N/A</c:v>
                </c:pt>
                <c:pt idx="10791">
                  <c:v>#N/A</c:v>
                </c:pt>
                <c:pt idx="10792">
                  <c:v>#N/A</c:v>
                </c:pt>
                <c:pt idx="10793">
                  <c:v>#N/A</c:v>
                </c:pt>
                <c:pt idx="10794">
                  <c:v>#N/A</c:v>
                </c:pt>
                <c:pt idx="10795">
                  <c:v>#N/A</c:v>
                </c:pt>
                <c:pt idx="10796">
                  <c:v>#N/A</c:v>
                </c:pt>
                <c:pt idx="10797">
                  <c:v>#N/A</c:v>
                </c:pt>
                <c:pt idx="10798">
                  <c:v>#N/A</c:v>
                </c:pt>
                <c:pt idx="10799">
                  <c:v>#N/A</c:v>
                </c:pt>
                <c:pt idx="10800">
                  <c:v>#N/A</c:v>
                </c:pt>
                <c:pt idx="10801">
                  <c:v>#N/A</c:v>
                </c:pt>
                <c:pt idx="10802">
                  <c:v>#N/A</c:v>
                </c:pt>
                <c:pt idx="10803">
                  <c:v>#N/A</c:v>
                </c:pt>
                <c:pt idx="10804">
                  <c:v>#N/A</c:v>
                </c:pt>
                <c:pt idx="10805">
                  <c:v>#N/A</c:v>
                </c:pt>
                <c:pt idx="10806">
                  <c:v>#N/A</c:v>
                </c:pt>
                <c:pt idx="10807">
                  <c:v>#N/A</c:v>
                </c:pt>
                <c:pt idx="10808">
                  <c:v>#N/A</c:v>
                </c:pt>
                <c:pt idx="10809">
                  <c:v>#N/A</c:v>
                </c:pt>
                <c:pt idx="10810">
                  <c:v>#N/A</c:v>
                </c:pt>
                <c:pt idx="10811">
                  <c:v>#N/A</c:v>
                </c:pt>
                <c:pt idx="10812">
                  <c:v>#N/A</c:v>
                </c:pt>
                <c:pt idx="10813">
                  <c:v>#N/A</c:v>
                </c:pt>
                <c:pt idx="10814">
                  <c:v>#N/A</c:v>
                </c:pt>
                <c:pt idx="10815">
                  <c:v>#N/A</c:v>
                </c:pt>
                <c:pt idx="10816">
                  <c:v>#N/A</c:v>
                </c:pt>
                <c:pt idx="10817">
                  <c:v>#N/A</c:v>
                </c:pt>
                <c:pt idx="10818">
                  <c:v>#N/A</c:v>
                </c:pt>
                <c:pt idx="10819">
                  <c:v>#N/A</c:v>
                </c:pt>
                <c:pt idx="10820">
                  <c:v>#N/A</c:v>
                </c:pt>
                <c:pt idx="10821">
                  <c:v>#N/A</c:v>
                </c:pt>
                <c:pt idx="10822">
                  <c:v>#N/A</c:v>
                </c:pt>
                <c:pt idx="10823">
                  <c:v>#N/A</c:v>
                </c:pt>
                <c:pt idx="10824">
                  <c:v>#N/A</c:v>
                </c:pt>
                <c:pt idx="10825">
                  <c:v>#N/A</c:v>
                </c:pt>
                <c:pt idx="10826">
                  <c:v>#N/A</c:v>
                </c:pt>
                <c:pt idx="10827">
                  <c:v>#N/A</c:v>
                </c:pt>
                <c:pt idx="10828">
                  <c:v>#N/A</c:v>
                </c:pt>
                <c:pt idx="10829">
                  <c:v>#N/A</c:v>
                </c:pt>
                <c:pt idx="10830">
                  <c:v>#N/A</c:v>
                </c:pt>
                <c:pt idx="10831">
                  <c:v>#N/A</c:v>
                </c:pt>
                <c:pt idx="10832">
                  <c:v>#N/A</c:v>
                </c:pt>
                <c:pt idx="10833">
                  <c:v>#N/A</c:v>
                </c:pt>
                <c:pt idx="10834">
                  <c:v>#N/A</c:v>
                </c:pt>
                <c:pt idx="10835">
                  <c:v>#N/A</c:v>
                </c:pt>
                <c:pt idx="10836">
                  <c:v>#N/A</c:v>
                </c:pt>
                <c:pt idx="10837">
                  <c:v>#N/A</c:v>
                </c:pt>
                <c:pt idx="10838">
                  <c:v>#N/A</c:v>
                </c:pt>
                <c:pt idx="10839">
                  <c:v>#N/A</c:v>
                </c:pt>
                <c:pt idx="10840">
                  <c:v>#N/A</c:v>
                </c:pt>
                <c:pt idx="10841">
                  <c:v>#N/A</c:v>
                </c:pt>
                <c:pt idx="10842">
                  <c:v>#N/A</c:v>
                </c:pt>
                <c:pt idx="10843">
                  <c:v>#N/A</c:v>
                </c:pt>
                <c:pt idx="10844">
                  <c:v>#N/A</c:v>
                </c:pt>
                <c:pt idx="10845">
                  <c:v>#N/A</c:v>
                </c:pt>
                <c:pt idx="10846">
                  <c:v>#N/A</c:v>
                </c:pt>
                <c:pt idx="10847">
                  <c:v>#N/A</c:v>
                </c:pt>
                <c:pt idx="10848">
                  <c:v>#N/A</c:v>
                </c:pt>
                <c:pt idx="10849">
                  <c:v>#N/A</c:v>
                </c:pt>
                <c:pt idx="10850">
                  <c:v>#N/A</c:v>
                </c:pt>
                <c:pt idx="10851">
                  <c:v>#N/A</c:v>
                </c:pt>
                <c:pt idx="10852">
                  <c:v>#N/A</c:v>
                </c:pt>
                <c:pt idx="10853">
                  <c:v>#N/A</c:v>
                </c:pt>
                <c:pt idx="10854">
                  <c:v>#N/A</c:v>
                </c:pt>
                <c:pt idx="10855">
                  <c:v>#N/A</c:v>
                </c:pt>
                <c:pt idx="10856">
                  <c:v>#N/A</c:v>
                </c:pt>
                <c:pt idx="10857">
                  <c:v>#N/A</c:v>
                </c:pt>
                <c:pt idx="10858">
                  <c:v>#N/A</c:v>
                </c:pt>
                <c:pt idx="10859">
                  <c:v>#N/A</c:v>
                </c:pt>
                <c:pt idx="10860">
                  <c:v>#N/A</c:v>
                </c:pt>
                <c:pt idx="10861">
                  <c:v>#N/A</c:v>
                </c:pt>
                <c:pt idx="10862">
                  <c:v>#N/A</c:v>
                </c:pt>
                <c:pt idx="10863">
                  <c:v>#N/A</c:v>
                </c:pt>
                <c:pt idx="10864">
                  <c:v>#N/A</c:v>
                </c:pt>
                <c:pt idx="10865">
                  <c:v>#N/A</c:v>
                </c:pt>
                <c:pt idx="10866">
                  <c:v>#N/A</c:v>
                </c:pt>
                <c:pt idx="10867">
                  <c:v>#N/A</c:v>
                </c:pt>
                <c:pt idx="10868">
                  <c:v>#N/A</c:v>
                </c:pt>
                <c:pt idx="10869">
                  <c:v>#N/A</c:v>
                </c:pt>
                <c:pt idx="10870">
                  <c:v>#N/A</c:v>
                </c:pt>
                <c:pt idx="10871">
                  <c:v>#N/A</c:v>
                </c:pt>
                <c:pt idx="10872">
                  <c:v>#N/A</c:v>
                </c:pt>
                <c:pt idx="10873">
                  <c:v>#N/A</c:v>
                </c:pt>
                <c:pt idx="10874">
                  <c:v>#N/A</c:v>
                </c:pt>
                <c:pt idx="10875">
                  <c:v>#N/A</c:v>
                </c:pt>
                <c:pt idx="10876">
                  <c:v>#N/A</c:v>
                </c:pt>
                <c:pt idx="10877">
                  <c:v>#N/A</c:v>
                </c:pt>
                <c:pt idx="10878">
                  <c:v>#N/A</c:v>
                </c:pt>
                <c:pt idx="10879">
                  <c:v>#N/A</c:v>
                </c:pt>
                <c:pt idx="10880">
                  <c:v>#N/A</c:v>
                </c:pt>
                <c:pt idx="10881">
                  <c:v>#N/A</c:v>
                </c:pt>
                <c:pt idx="10882">
                  <c:v>#N/A</c:v>
                </c:pt>
                <c:pt idx="10883">
                  <c:v>#N/A</c:v>
                </c:pt>
                <c:pt idx="10884">
                  <c:v>#N/A</c:v>
                </c:pt>
                <c:pt idx="10885">
                  <c:v>#N/A</c:v>
                </c:pt>
                <c:pt idx="10886">
                  <c:v>#N/A</c:v>
                </c:pt>
                <c:pt idx="10887">
                  <c:v>#N/A</c:v>
                </c:pt>
                <c:pt idx="10888">
                  <c:v>#N/A</c:v>
                </c:pt>
                <c:pt idx="10889">
                  <c:v>#N/A</c:v>
                </c:pt>
                <c:pt idx="10890">
                  <c:v>#N/A</c:v>
                </c:pt>
                <c:pt idx="10891">
                  <c:v>#N/A</c:v>
                </c:pt>
                <c:pt idx="10892">
                  <c:v>#N/A</c:v>
                </c:pt>
                <c:pt idx="10893">
                  <c:v>#N/A</c:v>
                </c:pt>
                <c:pt idx="10894">
                  <c:v>#N/A</c:v>
                </c:pt>
                <c:pt idx="10895">
                  <c:v>#N/A</c:v>
                </c:pt>
                <c:pt idx="10896">
                  <c:v>#N/A</c:v>
                </c:pt>
                <c:pt idx="10897">
                  <c:v>#N/A</c:v>
                </c:pt>
                <c:pt idx="10898">
                  <c:v>#N/A</c:v>
                </c:pt>
                <c:pt idx="10899">
                  <c:v>#N/A</c:v>
                </c:pt>
                <c:pt idx="10900">
                  <c:v>#N/A</c:v>
                </c:pt>
                <c:pt idx="10901">
                  <c:v>#N/A</c:v>
                </c:pt>
                <c:pt idx="10902">
                  <c:v>#N/A</c:v>
                </c:pt>
                <c:pt idx="10903">
                  <c:v>#N/A</c:v>
                </c:pt>
                <c:pt idx="10904">
                  <c:v>#N/A</c:v>
                </c:pt>
                <c:pt idx="10905">
                  <c:v>#N/A</c:v>
                </c:pt>
                <c:pt idx="10906">
                  <c:v>#N/A</c:v>
                </c:pt>
                <c:pt idx="10907">
                  <c:v>#N/A</c:v>
                </c:pt>
                <c:pt idx="10908">
                  <c:v>#N/A</c:v>
                </c:pt>
                <c:pt idx="10909">
                  <c:v>#N/A</c:v>
                </c:pt>
                <c:pt idx="10910">
                  <c:v>#N/A</c:v>
                </c:pt>
                <c:pt idx="10911">
                  <c:v>#N/A</c:v>
                </c:pt>
                <c:pt idx="10912">
                  <c:v>#N/A</c:v>
                </c:pt>
                <c:pt idx="10913">
                  <c:v>#N/A</c:v>
                </c:pt>
                <c:pt idx="10914">
                  <c:v>#N/A</c:v>
                </c:pt>
                <c:pt idx="10915">
                  <c:v>#N/A</c:v>
                </c:pt>
                <c:pt idx="10916">
                  <c:v>#N/A</c:v>
                </c:pt>
                <c:pt idx="10917">
                  <c:v>#N/A</c:v>
                </c:pt>
                <c:pt idx="10918">
                  <c:v>#N/A</c:v>
                </c:pt>
                <c:pt idx="10919">
                  <c:v>#N/A</c:v>
                </c:pt>
                <c:pt idx="10920">
                  <c:v>#N/A</c:v>
                </c:pt>
                <c:pt idx="10921">
                  <c:v>#N/A</c:v>
                </c:pt>
                <c:pt idx="10922">
                  <c:v>#N/A</c:v>
                </c:pt>
                <c:pt idx="10923">
                  <c:v>#N/A</c:v>
                </c:pt>
                <c:pt idx="10924">
                  <c:v>#N/A</c:v>
                </c:pt>
                <c:pt idx="10925">
                  <c:v>#N/A</c:v>
                </c:pt>
                <c:pt idx="10926">
                  <c:v>#N/A</c:v>
                </c:pt>
                <c:pt idx="10927">
                  <c:v>#N/A</c:v>
                </c:pt>
                <c:pt idx="10928">
                  <c:v>#N/A</c:v>
                </c:pt>
                <c:pt idx="10929">
                  <c:v>#N/A</c:v>
                </c:pt>
                <c:pt idx="10930">
                  <c:v>#N/A</c:v>
                </c:pt>
                <c:pt idx="10931">
                  <c:v>#N/A</c:v>
                </c:pt>
                <c:pt idx="10932">
                  <c:v>#N/A</c:v>
                </c:pt>
                <c:pt idx="10933">
                  <c:v>#N/A</c:v>
                </c:pt>
                <c:pt idx="10934">
                  <c:v>#N/A</c:v>
                </c:pt>
                <c:pt idx="10935">
                  <c:v>#N/A</c:v>
                </c:pt>
                <c:pt idx="10936">
                  <c:v>#N/A</c:v>
                </c:pt>
                <c:pt idx="10937">
                  <c:v>#N/A</c:v>
                </c:pt>
                <c:pt idx="10938">
                  <c:v>#N/A</c:v>
                </c:pt>
                <c:pt idx="10939">
                  <c:v>#N/A</c:v>
                </c:pt>
                <c:pt idx="10940">
                  <c:v>#N/A</c:v>
                </c:pt>
                <c:pt idx="10941">
                  <c:v>#N/A</c:v>
                </c:pt>
                <c:pt idx="10942">
                  <c:v>#N/A</c:v>
                </c:pt>
                <c:pt idx="10943">
                  <c:v>#N/A</c:v>
                </c:pt>
                <c:pt idx="10944">
                  <c:v>#N/A</c:v>
                </c:pt>
                <c:pt idx="10945">
                  <c:v>#N/A</c:v>
                </c:pt>
                <c:pt idx="10946">
                  <c:v>#N/A</c:v>
                </c:pt>
                <c:pt idx="10947">
                  <c:v>#N/A</c:v>
                </c:pt>
                <c:pt idx="10948">
                  <c:v>#N/A</c:v>
                </c:pt>
                <c:pt idx="10949">
                  <c:v>#N/A</c:v>
                </c:pt>
                <c:pt idx="10950">
                  <c:v>#N/A</c:v>
                </c:pt>
                <c:pt idx="10951">
                  <c:v>#N/A</c:v>
                </c:pt>
                <c:pt idx="10952">
                  <c:v>#N/A</c:v>
                </c:pt>
                <c:pt idx="10953">
                  <c:v>#N/A</c:v>
                </c:pt>
                <c:pt idx="10954">
                  <c:v>#N/A</c:v>
                </c:pt>
                <c:pt idx="10955">
                  <c:v>#N/A</c:v>
                </c:pt>
                <c:pt idx="10956">
                  <c:v>#N/A</c:v>
                </c:pt>
                <c:pt idx="10957">
                  <c:v>#N/A</c:v>
                </c:pt>
                <c:pt idx="10958">
                  <c:v>#N/A</c:v>
                </c:pt>
                <c:pt idx="10959">
                  <c:v>#N/A</c:v>
                </c:pt>
                <c:pt idx="10960">
                  <c:v>#N/A</c:v>
                </c:pt>
                <c:pt idx="10961">
                  <c:v>#N/A</c:v>
                </c:pt>
                <c:pt idx="10962">
                  <c:v>#N/A</c:v>
                </c:pt>
                <c:pt idx="10963">
                  <c:v>#N/A</c:v>
                </c:pt>
                <c:pt idx="10964">
                  <c:v>#N/A</c:v>
                </c:pt>
                <c:pt idx="10965">
                  <c:v>#N/A</c:v>
                </c:pt>
                <c:pt idx="10966">
                  <c:v>#N/A</c:v>
                </c:pt>
                <c:pt idx="10967">
                  <c:v>#N/A</c:v>
                </c:pt>
                <c:pt idx="10968">
                  <c:v>#N/A</c:v>
                </c:pt>
                <c:pt idx="10969">
                  <c:v>#N/A</c:v>
                </c:pt>
                <c:pt idx="10970">
                  <c:v>#N/A</c:v>
                </c:pt>
                <c:pt idx="10971">
                  <c:v>#N/A</c:v>
                </c:pt>
                <c:pt idx="10972">
                  <c:v>#N/A</c:v>
                </c:pt>
                <c:pt idx="10973">
                  <c:v>#N/A</c:v>
                </c:pt>
                <c:pt idx="10974">
                  <c:v>#N/A</c:v>
                </c:pt>
                <c:pt idx="10975">
                  <c:v>#N/A</c:v>
                </c:pt>
                <c:pt idx="10976">
                  <c:v>#N/A</c:v>
                </c:pt>
                <c:pt idx="10977">
                  <c:v>#N/A</c:v>
                </c:pt>
                <c:pt idx="10978">
                  <c:v>#N/A</c:v>
                </c:pt>
                <c:pt idx="10979">
                  <c:v>#N/A</c:v>
                </c:pt>
                <c:pt idx="10980">
                  <c:v>#N/A</c:v>
                </c:pt>
                <c:pt idx="10981">
                  <c:v>#N/A</c:v>
                </c:pt>
                <c:pt idx="10982">
                  <c:v>#N/A</c:v>
                </c:pt>
                <c:pt idx="10983">
                  <c:v>#N/A</c:v>
                </c:pt>
                <c:pt idx="10984">
                  <c:v>#N/A</c:v>
                </c:pt>
                <c:pt idx="10985">
                  <c:v>#N/A</c:v>
                </c:pt>
                <c:pt idx="10986">
                  <c:v>#N/A</c:v>
                </c:pt>
                <c:pt idx="10987">
                  <c:v>#N/A</c:v>
                </c:pt>
                <c:pt idx="10988">
                  <c:v>#N/A</c:v>
                </c:pt>
                <c:pt idx="10989">
                  <c:v>#N/A</c:v>
                </c:pt>
                <c:pt idx="10990">
                  <c:v>#N/A</c:v>
                </c:pt>
                <c:pt idx="10991">
                  <c:v>#N/A</c:v>
                </c:pt>
                <c:pt idx="10992">
                  <c:v>#N/A</c:v>
                </c:pt>
                <c:pt idx="10993">
                  <c:v>#N/A</c:v>
                </c:pt>
                <c:pt idx="10994">
                  <c:v>#N/A</c:v>
                </c:pt>
                <c:pt idx="10995">
                  <c:v>#N/A</c:v>
                </c:pt>
                <c:pt idx="10996">
                  <c:v>#N/A</c:v>
                </c:pt>
                <c:pt idx="10997">
                  <c:v>#N/A</c:v>
                </c:pt>
                <c:pt idx="10998">
                  <c:v>#N/A</c:v>
                </c:pt>
                <c:pt idx="10999">
                  <c:v>#N/A</c:v>
                </c:pt>
                <c:pt idx="11000">
                  <c:v>#N/A</c:v>
                </c:pt>
                <c:pt idx="11001">
                  <c:v>#N/A</c:v>
                </c:pt>
                <c:pt idx="11002">
                  <c:v>#N/A</c:v>
                </c:pt>
                <c:pt idx="11003">
                  <c:v>#N/A</c:v>
                </c:pt>
                <c:pt idx="11004">
                  <c:v>#N/A</c:v>
                </c:pt>
                <c:pt idx="11005">
                  <c:v>#N/A</c:v>
                </c:pt>
                <c:pt idx="11006">
                  <c:v>#N/A</c:v>
                </c:pt>
                <c:pt idx="11007">
                  <c:v>#N/A</c:v>
                </c:pt>
                <c:pt idx="11008">
                  <c:v>#N/A</c:v>
                </c:pt>
                <c:pt idx="11009">
                  <c:v>#N/A</c:v>
                </c:pt>
                <c:pt idx="11010">
                  <c:v>#N/A</c:v>
                </c:pt>
                <c:pt idx="11011">
                  <c:v>#N/A</c:v>
                </c:pt>
                <c:pt idx="11012">
                  <c:v>#N/A</c:v>
                </c:pt>
                <c:pt idx="11013">
                  <c:v>#N/A</c:v>
                </c:pt>
                <c:pt idx="11014">
                  <c:v>#N/A</c:v>
                </c:pt>
                <c:pt idx="11015">
                  <c:v>#N/A</c:v>
                </c:pt>
                <c:pt idx="11016">
                  <c:v>#N/A</c:v>
                </c:pt>
                <c:pt idx="11017">
                  <c:v>#N/A</c:v>
                </c:pt>
                <c:pt idx="11018">
                  <c:v>#N/A</c:v>
                </c:pt>
                <c:pt idx="11019">
                  <c:v>#N/A</c:v>
                </c:pt>
                <c:pt idx="11020">
                  <c:v>#N/A</c:v>
                </c:pt>
                <c:pt idx="11021">
                  <c:v>#N/A</c:v>
                </c:pt>
                <c:pt idx="11022">
                  <c:v>#N/A</c:v>
                </c:pt>
                <c:pt idx="11023">
                  <c:v>#N/A</c:v>
                </c:pt>
                <c:pt idx="11024">
                  <c:v>#N/A</c:v>
                </c:pt>
                <c:pt idx="11025">
                  <c:v>#N/A</c:v>
                </c:pt>
                <c:pt idx="11026">
                  <c:v>#N/A</c:v>
                </c:pt>
                <c:pt idx="11027">
                  <c:v>#N/A</c:v>
                </c:pt>
                <c:pt idx="11028">
                  <c:v>#N/A</c:v>
                </c:pt>
                <c:pt idx="11029">
                  <c:v>#N/A</c:v>
                </c:pt>
                <c:pt idx="11030">
                  <c:v>#N/A</c:v>
                </c:pt>
                <c:pt idx="11031">
                  <c:v>#N/A</c:v>
                </c:pt>
                <c:pt idx="11032">
                  <c:v>#N/A</c:v>
                </c:pt>
                <c:pt idx="11033">
                  <c:v>#N/A</c:v>
                </c:pt>
                <c:pt idx="11034">
                  <c:v>#N/A</c:v>
                </c:pt>
                <c:pt idx="11035">
                  <c:v>#N/A</c:v>
                </c:pt>
                <c:pt idx="11036">
                  <c:v>#N/A</c:v>
                </c:pt>
                <c:pt idx="11037">
                  <c:v>#N/A</c:v>
                </c:pt>
                <c:pt idx="11038">
                  <c:v>#N/A</c:v>
                </c:pt>
                <c:pt idx="11039">
                  <c:v>#N/A</c:v>
                </c:pt>
                <c:pt idx="11040">
                  <c:v>#N/A</c:v>
                </c:pt>
                <c:pt idx="11041">
                  <c:v>#N/A</c:v>
                </c:pt>
                <c:pt idx="11042">
                  <c:v>#N/A</c:v>
                </c:pt>
                <c:pt idx="11043">
                  <c:v>#N/A</c:v>
                </c:pt>
                <c:pt idx="11044">
                  <c:v>#N/A</c:v>
                </c:pt>
                <c:pt idx="11045">
                  <c:v>#N/A</c:v>
                </c:pt>
                <c:pt idx="11046">
                  <c:v>#N/A</c:v>
                </c:pt>
                <c:pt idx="11047">
                  <c:v>#N/A</c:v>
                </c:pt>
                <c:pt idx="11048">
                  <c:v>#N/A</c:v>
                </c:pt>
                <c:pt idx="11049">
                  <c:v>#N/A</c:v>
                </c:pt>
                <c:pt idx="11050">
                  <c:v>#N/A</c:v>
                </c:pt>
                <c:pt idx="11051">
                  <c:v>#N/A</c:v>
                </c:pt>
                <c:pt idx="11052">
                  <c:v>#N/A</c:v>
                </c:pt>
                <c:pt idx="11053">
                  <c:v>#N/A</c:v>
                </c:pt>
                <c:pt idx="11054">
                  <c:v>#N/A</c:v>
                </c:pt>
                <c:pt idx="11055">
                  <c:v>#N/A</c:v>
                </c:pt>
                <c:pt idx="11056">
                  <c:v>#N/A</c:v>
                </c:pt>
                <c:pt idx="11057">
                  <c:v>#N/A</c:v>
                </c:pt>
                <c:pt idx="11058">
                  <c:v>#N/A</c:v>
                </c:pt>
                <c:pt idx="11059">
                  <c:v>#N/A</c:v>
                </c:pt>
                <c:pt idx="11060">
                  <c:v>#N/A</c:v>
                </c:pt>
                <c:pt idx="11061">
                  <c:v>#N/A</c:v>
                </c:pt>
                <c:pt idx="11062">
                  <c:v>#N/A</c:v>
                </c:pt>
                <c:pt idx="11063">
                  <c:v>#N/A</c:v>
                </c:pt>
                <c:pt idx="11064">
                  <c:v>#N/A</c:v>
                </c:pt>
                <c:pt idx="11065">
                  <c:v>#N/A</c:v>
                </c:pt>
                <c:pt idx="11066">
                  <c:v>#N/A</c:v>
                </c:pt>
                <c:pt idx="11067">
                  <c:v>#N/A</c:v>
                </c:pt>
                <c:pt idx="11068">
                  <c:v>#N/A</c:v>
                </c:pt>
                <c:pt idx="11069">
                  <c:v>#N/A</c:v>
                </c:pt>
                <c:pt idx="11070">
                  <c:v>#N/A</c:v>
                </c:pt>
                <c:pt idx="11071">
                  <c:v>#N/A</c:v>
                </c:pt>
                <c:pt idx="11072">
                  <c:v>#N/A</c:v>
                </c:pt>
                <c:pt idx="11073">
                  <c:v>#N/A</c:v>
                </c:pt>
                <c:pt idx="11074">
                  <c:v>#N/A</c:v>
                </c:pt>
                <c:pt idx="11075">
                  <c:v>#N/A</c:v>
                </c:pt>
                <c:pt idx="11076">
                  <c:v>#N/A</c:v>
                </c:pt>
                <c:pt idx="11077">
                  <c:v>#N/A</c:v>
                </c:pt>
                <c:pt idx="11078">
                  <c:v>#N/A</c:v>
                </c:pt>
                <c:pt idx="11079">
                  <c:v>#N/A</c:v>
                </c:pt>
                <c:pt idx="11080">
                  <c:v>#N/A</c:v>
                </c:pt>
                <c:pt idx="11081">
                  <c:v>#N/A</c:v>
                </c:pt>
                <c:pt idx="11082">
                  <c:v>#N/A</c:v>
                </c:pt>
                <c:pt idx="11083">
                  <c:v>#N/A</c:v>
                </c:pt>
                <c:pt idx="11084">
                  <c:v>#N/A</c:v>
                </c:pt>
                <c:pt idx="11085">
                  <c:v>#N/A</c:v>
                </c:pt>
                <c:pt idx="11086">
                  <c:v>#N/A</c:v>
                </c:pt>
                <c:pt idx="11087">
                  <c:v>#N/A</c:v>
                </c:pt>
                <c:pt idx="11088">
                  <c:v>#N/A</c:v>
                </c:pt>
                <c:pt idx="11089">
                  <c:v>#N/A</c:v>
                </c:pt>
                <c:pt idx="11090">
                  <c:v>#N/A</c:v>
                </c:pt>
                <c:pt idx="11091">
                  <c:v>#N/A</c:v>
                </c:pt>
                <c:pt idx="11092">
                  <c:v>#N/A</c:v>
                </c:pt>
                <c:pt idx="11093">
                  <c:v>#N/A</c:v>
                </c:pt>
                <c:pt idx="11094">
                  <c:v>#N/A</c:v>
                </c:pt>
                <c:pt idx="11095">
                  <c:v>#N/A</c:v>
                </c:pt>
                <c:pt idx="11096">
                  <c:v>#N/A</c:v>
                </c:pt>
                <c:pt idx="11097">
                  <c:v>#N/A</c:v>
                </c:pt>
                <c:pt idx="11098">
                  <c:v>#N/A</c:v>
                </c:pt>
                <c:pt idx="11099">
                  <c:v>#N/A</c:v>
                </c:pt>
                <c:pt idx="11100">
                  <c:v>#N/A</c:v>
                </c:pt>
                <c:pt idx="11101">
                  <c:v>#N/A</c:v>
                </c:pt>
                <c:pt idx="11102">
                  <c:v>#N/A</c:v>
                </c:pt>
                <c:pt idx="11103">
                  <c:v>#N/A</c:v>
                </c:pt>
                <c:pt idx="11104">
                  <c:v>#N/A</c:v>
                </c:pt>
                <c:pt idx="11105">
                  <c:v>#N/A</c:v>
                </c:pt>
                <c:pt idx="11106">
                  <c:v>#N/A</c:v>
                </c:pt>
                <c:pt idx="11107">
                  <c:v>#N/A</c:v>
                </c:pt>
                <c:pt idx="11108">
                  <c:v>#N/A</c:v>
                </c:pt>
                <c:pt idx="11109">
                  <c:v>#N/A</c:v>
                </c:pt>
                <c:pt idx="11110">
                  <c:v>#N/A</c:v>
                </c:pt>
                <c:pt idx="11111">
                  <c:v>#N/A</c:v>
                </c:pt>
                <c:pt idx="11112">
                  <c:v>#N/A</c:v>
                </c:pt>
                <c:pt idx="11113">
                  <c:v>#N/A</c:v>
                </c:pt>
                <c:pt idx="11114">
                  <c:v>#N/A</c:v>
                </c:pt>
                <c:pt idx="11115">
                  <c:v>#N/A</c:v>
                </c:pt>
                <c:pt idx="11116">
                  <c:v>#N/A</c:v>
                </c:pt>
                <c:pt idx="11117">
                  <c:v>#N/A</c:v>
                </c:pt>
                <c:pt idx="11118">
                  <c:v>#N/A</c:v>
                </c:pt>
                <c:pt idx="11119">
                  <c:v>#N/A</c:v>
                </c:pt>
                <c:pt idx="11120">
                  <c:v>#N/A</c:v>
                </c:pt>
                <c:pt idx="11121">
                  <c:v>#N/A</c:v>
                </c:pt>
                <c:pt idx="11122">
                  <c:v>#N/A</c:v>
                </c:pt>
                <c:pt idx="11123">
                  <c:v>#N/A</c:v>
                </c:pt>
                <c:pt idx="11124">
                  <c:v>#N/A</c:v>
                </c:pt>
                <c:pt idx="11125">
                  <c:v>#N/A</c:v>
                </c:pt>
                <c:pt idx="11126">
                  <c:v>#N/A</c:v>
                </c:pt>
                <c:pt idx="11127">
                  <c:v>#N/A</c:v>
                </c:pt>
                <c:pt idx="11128">
                  <c:v>#N/A</c:v>
                </c:pt>
                <c:pt idx="11129">
                  <c:v>#N/A</c:v>
                </c:pt>
                <c:pt idx="11130">
                  <c:v>#N/A</c:v>
                </c:pt>
                <c:pt idx="11131">
                  <c:v>#N/A</c:v>
                </c:pt>
                <c:pt idx="11132">
                  <c:v>#N/A</c:v>
                </c:pt>
                <c:pt idx="11133">
                  <c:v>#N/A</c:v>
                </c:pt>
                <c:pt idx="11134">
                  <c:v>#N/A</c:v>
                </c:pt>
                <c:pt idx="11135">
                  <c:v>#N/A</c:v>
                </c:pt>
                <c:pt idx="11136">
                  <c:v>#N/A</c:v>
                </c:pt>
                <c:pt idx="11137">
                  <c:v>#N/A</c:v>
                </c:pt>
                <c:pt idx="11138">
                  <c:v>#N/A</c:v>
                </c:pt>
                <c:pt idx="11139">
                  <c:v>#N/A</c:v>
                </c:pt>
                <c:pt idx="11140">
                  <c:v>#N/A</c:v>
                </c:pt>
                <c:pt idx="11141">
                  <c:v>#N/A</c:v>
                </c:pt>
                <c:pt idx="11142">
                  <c:v>#N/A</c:v>
                </c:pt>
                <c:pt idx="11143">
                  <c:v>#N/A</c:v>
                </c:pt>
                <c:pt idx="11144">
                  <c:v>#N/A</c:v>
                </c:pt>
                <c:pt idx="11145">
                  <c:v>#N/A</c:v>
                </c:pt>
                <c:pt idx="11146">
                  <c:v>#N/A</c:v>
                </c:pt>
                <c:pt idx="11147">
                  <c:v>#N/A</c:v>
                </c:pt>
                <c:pt idx="11148">
                  <c:v>#N/A</c:v>
                </c:pt>
                <c:pt idx="11149">
                  <c:v>#N/A</c:v>
                </c:pt>
                <c:pt idx="11150">
                  <c:v>#N/A</c:v>
                </c:pt>
                <c:pt idx="11151">
                  <c:v>#N/A</c:v>
                </c:pt>
                <c:pt idx="11152">
                  <c:v>#N/A</c:v>
                </c:pt>
                <c:pt idx="11153">
                  <c:v>#N/A</c:v>
                </c:pt>
                <c:pt idx="11154">
                  <c:v>#N/A</c:v>
                </c:pt>
                <c:pt idx="11155">
                  <c:v>#N/A</c:v>
                </c:pt>
                <c:pt idx="11156">
                  <c:v>#N/A</c:v>
                </c:pt>
                <c:pt idx="11157">
                  <c:v>#N/A</c:v>
                </c:pt>
                <c:pt idx="11158">
                  <c:v>#N/A</c:v>
                </c:pt>
                <c:pt idx="11159">
                  <c:v>#N/A</c:v>
                </c:pt>
                <c:pt idx="11160">
                  <c:v>#N/A</c:v>
                </c:pt>
                <c:pt idx="11161">
                  <c:v>#N/A</c:v>
                </c:pt>
                <c:pt idx="11162">
                  <c:v>#N/A</c:v>
                </c:pt>
                <c:pt idx="11163">
                  <c:v>#N/A</c:v>
                </c:pt>
                <c:pt idx="11164">
                  <c:v>#N/A</c:v>
                </c:pt>
                <c:pt idx="11165">
                  <c:v>#N/A</c:v>
                </c:pt>
                <c:pt idx="11166">
                  <c:v>#N/A</c:v>
                </c:pt>
                <c:pt idx="11167">
                  <c:v>#N/A</c:v>
                </c:pt>
                <c:pt idx="11168">
                  <c:v>#N/A</c:v>
                </c:pt>
                <c:pt idx="11169">
                  <c:v>#N/A</c:v>
                </c:pt>
                <c:pt idx="11170">
                  <c:v>#N/A</c:v>
                </c:pt>
                <c:pt idx="11171">
                  <c:v>#N/A</c:v>
                </c:pt>
                <c:pt idx="11172">
                  <c:v>#N/A</c:v>
                </c:pt>
                <c:pt idx="11173">
                  <c:v>#N/A</c:v>
                </c:pt>
                <c:pt idx="11174">
                  <c:v>#N/A</c:v>
                </c:pt>
                <c:pt idx="11175">
                  <c:v>#N/A</c:v>
                </c:pt>
                <c:pt idx="11176">
                  <c:v>#N/A</c:v>
                </c:pt>
                <c:pt idx="11177">
                  <c:v>#N/A</c:v>
                </c:pt>
                <c:pt idx="11178">
                  <c:v>#N/A</c:v>
                </c:pt>
                <c:pt idx="11179">
                  <c:v>#N/A</c:v>
                </c:pt>
                <c:pt idx="11180">
                  <c:v>#N/A</c:v>
                </c:pt>
                <c:pt idx="11181">
                  <c:v>#N/A</c:v>
                </c:pt>
                <c:pt idx="11182">
                  <c:v>#N/A</c:v>
                </c:pt>
                <c:pt idx="11183">
                  <c:v>#N/A</c:v>
                </c:pt>
                <c:pt idx="11184">
                  <c:v>#N/A</c:v>
                </c:pt>
                <c:pt idx="11185">
                  <c:v>#N/A</c:v>
                </c:pt>
                <c:pt idx="11186">
                  <c:v>#N/A</c:v>
                </c:pt>
                <c:pt idx="11187">
                  <c:v>#N/A</c:v>
                </c:pt>
                <c:pt idx="11188">
                  <c:v>#N/A</c:v>
                </c:pt>
                <c:pt idx="11189">
                  <c:v>#N/A</c:v>
                </c:pt>
                <c:pt idx="11190">
                  <c:v>#N/A</c:v>
                </c:pt>
                <c:pt idx="11191">
                  <c:v>#N/A</c:v>
                </c:pt>
                <c:pt idx="11192">
                  <c:v>#N/A</c:v>
                </c:pt>
                <c:pt idx="11193">
                  <c:v>#N/A</c:v>
                </c:pt>
                <c:pt idx="11194">
                  <c:v>#N/A</c:v>
                </c:pt>
                <c:pt idx="11195">
                  <c:v>#N/A</c:v>
                </c:pt>
                <c:pt idx="11196">
                  <c:v>#N/A</c:v>
                </c:pt>
                <c:pt idx="11197">
                  <c:v>#N/A</c:v>
                </c:pt>
                <c:pt idx="11198">
                  <c:v>#N/A</c:v>
                </c:pt>
                <c:pt idx="11199">
                  <c:v>#N/A</c:v>
                </c:pt>
                <c:pt idx="11200">
                  <c:v>#N/A</c:v>
                </c:pt>
                <c:pt idx="11201">
                  <c:v>#N/A</c:v>
                </c:pt>
                <c:pt idx="11202">
                  <c:v>#N/A</c:v>
                </c:pt>
                <c:pt idx="11203">
                  <c:v>#N/A</c:v>
                </c:pt>
                <c:pt idx="11204">
                  <c:v>#N/A</c:v>
                </c:pt>
                <c:pt idx="11205">
                  <c:v>#N/A</c:v>
                </c:pt>
                <c:pt idx="11206">
                  <c:v>#N/A</c:v>
                </c:pt>
                <c:pt idx="11207">
                  <c:v>#N/A</c:v>
                </c:pt>
                <c:pt idx="11208">
                  <c:v>#N/A</c:v>
                </c:pt>
                <c:pt idx="11209">
                  <c:v>#N/A</c:v>
                </c:pt>
                <c:pt idx="11210">
                  <c:v>#N/A</c:v>
                </c:pt>
                <c:pt idx="11211">
                  <c:v>#N/A</c:v>
                </c:pt>
                <c:pt idx="11212">
                  <c:v>#N/A</c:v>
                </c:pt>
                <c:pt idx="11213">
                  <c:v>#N/A</c:v>
                </c:pt>
                <c:pt idx="11214">
                  <c:v>#N/A</c:v>
                </c:pt>
                <c:pt idx="11215">
                  <c:v>#N/A</c:v>
                </c:pt>
                <c:pt idx="11216">
                  <c:v>#N/A</c:v>
                </c:pt>
                <c:pt idx="11217">
                  <c:v>#N/A</c:v>
                </c:pt>
                <c:pt idx="11218">
                  <c:v>#N/A</c:v>
                </c:pt>
                <c:pt idx="11219">
                  <c:v>#N/A</c:v>
                </c:pt>
                <c:pt idx="11220">
                  <c:v>#N/A</c:v>
                </c:pt>
                <c:pt idx="11221">
                  <c:v>#N/A</c:v>
                </c:pt>
                <c:pt idx="11222">
                  <c:v>#N/A</c:v>
                </c:pt>
                <c:pt idx="11223">
                  <c:v>#N/A</c:v>
                </c:pt>
                <c:pt idx="11224">
                  <c:v>#N/A</c:v>
                </c:pt>
                <c:pt idx="11225">
                  <c:v>#N/A</c:v>
                </c:pt>
                <c:pt idx="11226">
                  <c:v>#N/A</c:v>
                </c:pt>
                <c:pt idx="11227">
                  <c:v>#N/A</c:v>
                </c:pt>
                <c:pt idx="11228">
                  <c:v>#N/A</c:v>
                </c:pt>
                <c:pt idx="11229">
                  <c:v>#N/A</c:v>
                </c:pt>
                <c:pt idx="11230">
                  <c:v>#N/A</c:v>
                </c:pt>
                <c:pt idx="11231">
                  <c:v>#N/A</c:v>
                </c:pt>
                <c:pt idx="11232">
                  <c:v>#N/A</c:v>
                </c:pt>
                <c:pt idx="11233">
                  <c:v>#N/A</c:v>
                </c:pt>
                <c:pt idx="11234">
                  <c:v>#N/A</c:v>
                </c:pt>
                <c:pt idx="11235">
                  <c:v>#N/A</c:v>
                </c:pt>
                <c:pt idx="11236">
                  <c:v>#N/A</c:v>
                </c:pt>
                <c:pt idx="11237">
                  <c:v>#N/A</c:v>
                </c:pt>
                <c:pt idx="11238">
                  <c:v>#N/A</c:v>
                </c:pt>
                <c:pt idx="11239">
                  <c:v>#N/A</c:v>
                </c:pt>
                <c:pt idx="11240">
                  <c:v>#N/A</c:v>
                </c:pt>
                <c:pt idx="11241">
                  <c:v>#N/A</c:v>
                </c:pt>
                <c:pt idx="11242">
                  <c:v>#N/A</c:v>
                </c:pt>
                <c:pt idx="11243">
                  <c:v>#N/A</c:v>
                </c:pt>
                <c:pt idx="11244">
                  <c:v>#N/A</c:v>
                </c:pt>
                <c:pt idx="11245">
                  <c:v>#N/A</c:v>
                </c:pt>
                <c:pt idx="11246">
                  <c:v>#N/A</c:v>
                </c:pt>
                <c:pt idx="11247">
                  <c:v>#N/A</c:v>
                </c:pt>
                <c:pt idx="11248">
                  <c:v>#N/A</c:v>
                </c:pt>
                <c:pt idx="11249">
                  <c:v>#N/A</c:v>
                </c:pt>
                <c:pt idx="11250">
                  <c:v>#N/A</c:v>
                </c:pt>
                <c:pt idx="11251">
                  <c:v>#N/A</c:v>
                </c:pt>
                <c:pt idx="11252">
                  <c:v>#N/A</c:v>
                </c:pt>
                <c:pt idx="11253">
                  <c:v>#N/A</c:v>
                </c:pt>
                <c:pt idx="11254">
                  <c:v>#N/A</c:v>
                </c:pt>
                <c:pt idx="11255">
                  <c:v>#N/A</c:v>
                </c:pt>
                <c:pt idx="11256">
                  <c:v>#N/A</c:v>
                </c:pt>
                <c:pt idx="11257">
                  <c:v>#N/A</c:v>
                </c:pt>
                <c:pt idx="11258">
                  <c:v>#N/A</c:v>
                </c:pt>
                <c:pt idx="11259">
                  <c:v>#N/A</c:v>
                </c:pt>
                <c:pt idx="11260">
                  <c:v>#N/A</c:v>
                </c:pt>
                <c:pt idx="11261">
                  <c:v>#N/A</c:v>
                </c:pt>
                <c:pt idx="11262">
                  <c:v>#N/A</c:v>
                </c:pt>
                <c:pt idx="11263">
                  <c:v>#N/A</c:v>
                </c:pt>
                <c:pt idx="11264">
                  <c:v>#N/A</c:v>
                </c:pt>
                <c:pt idx="11265">
                  <c:v>#N/A</c:v>
                </c:pt>
                <c:pt idx="11266">
                  <c:v>#N/A</c:v>
                </c:pt>
                <c:pt idx="11267">
                  <c:v>#N/A</c:v>
                </c:pt>
                <c:pt idx="11268">
                  <c:v>#N/A</c:v>
                </c:pt>
                <c:pt idx="11269">
                  <c:v>#N/A</c:v>
                </c:pt>
                <c:pt idx="11270">
                  <c:v>#N/A</c:v>
                </c:pt>
                <c:pt idx="11271">
                  <c:v>#N/A</c:v>
                </c:pt>
                <c:pt idx="11272">
                  <c:v>#N/A</c:v>
                </c:pt>
                <c:pt idx="11273">
                  <c:v>#N/A</c:v>
                </c:pt>
                <c:pt idx="11274">
                  <c:v>#N/A</c:v>
                </c:pt>
                <c:pt idx="11275">
                  <c:v>#N/A</c:v>
                </c:pt>
                <c:pt idx="11276">
                  <c:v>#N/A</c:v>
                </c:pt>
                <c:pt idx="11277">
                  <c:v>#N/A</c:v>
                </c:pt>
                <c:pt idx="11278">
                  <c:v>#N/A</c:v>
                </c:pt>
                <c:pt idx="11279">
                  <c:v>#N/A</c:v>
                </c:pt>
                <c:pt idx="11280">
                  <c:v>#N/A</c:v>
                </c:pt>
                <c:pt idx="11281">
                  <c:v>#N/A</c:v>
                </c:pt>
                <c:pt idx="11282">
                  <c:v>#N/A</c:v>
                </c:pt>
                <c:pt idx="11283">
                  <c:v>#N/A</c:v>
                </c:pt>
                <c:pt idx="11284">
                  <c:v>#N/A</c:v>
                </c:pt>
                <c:pt idx="11285">
                  <c:v>#N/A</c:v>
                </c:pt>
                <c:pt idx="11286">
                  <c:v>#N/A</c:v>
                </c:pt>
                <c:pt idx="11287">
                  <c:v>#N/A</c:v>
                </c:pt>
                <c:pt idx="11288">
                  <c:v>#N/A</c:v>
                </c:pt>
                <c:pt idx="11289">
                  <c:v>#N/A</c:v>
                </c:pt>
                <c:pt idx="11290">
                  <c:v>#N/A</c:v>
                </c:pt>
                <c:pt idx="11291">
                  <c:v>#N/A</c:v>
                </c:pt>
                <c:pt idx="11292">
                  <c:v>#N/A</c:v>
                </c:pt>
                <c:pt idx="11293">
                  <c:v>#N/A</c:v>
                </c:pt>
                <c:pt idx="11294">
                  <c:v>#N/A</c:v>
                </c:pt>
                <c:pt idx="11295">
                  <c:v>#N/A</c:v>
                </c:pt>
                <c:pt idx="11296">
                  <c:v>#N/A</c:v>
                </c:pt>
                <c:pt idx="11297">
                  <c:v>#N/A</c:v>
                </c:pt>
                <c:pt idx="11298">
                  <c:v>#N/A</c:v>
                </c:pt>
                <c:pt idx="11299">
                  <c:v>#N/A</c:v>
                </c:pt>
                <c:pt idx="11300">
                  <c:v>#N/A</c:v>
                </c:pt>
                <c:pt idx="11301">
                  <c:v>#N/A</c:v>
                </c:pt>
                <c:pt idx="11302">
                  <c:v>#N/A</c:v>
                </c:pt>
                <c:pt idx="11303">
                  <c:v>#N/A</c:v>
                </c:pt>
                <c:pt idx="11304">
                  <c:v>#N/A</c:v>
                </c:pt>
                <c:pt idx="11305">
                  <c:v>#N/A</c:v>
                </c:pt>
                <c:pt idx="11306">
                  <c:v>#N/A</c:v>
                </c:pt>
                <c:pt idx="11307">
                  <c:v>#N/A</c:v>
                </c:pt>
                <c:pt idx="11308">
                  <c:v>#N/A</c:v>
                </c:pt>
                <c:pt idx="11309">
                  <c:v>#N/A</c:v>
                </c:pt>
                <c:pt idx="11310">
                  <c:v>#N/A</c:v>
                </c:pt>
                <c:pt idx="11311">
                  <c:v>#N/A</c:v>
                </c:pt>
                <c:pt idx="11312">
                  <c:v>#N/A</c:v>
                </c:pt>
                <c:pt idx="11313">
                  <c:v>#N/A</c:v>
                </c:pt>
                <c:pt idx="11314">
                  <c:v>#N/A</c:v>
                </c:pt>
                <c:pt idx="11315">
                  <c:v>#N/A</c:v>
                </c:pt>
                <c:pt idx="11316">
                  <c:v>#N/A</c:v>
                </c:pt>
                <c:pt idx="11317">
                  <c:v>#N/A</c:v>
                </c:pt>
                <c:pt idx="11318">
                  <c:v>#N/A</c:v>
                </c:pt>
                <c:pt idx="11319">
                  <c:v>#N/A</c:v>
                </c:pt>
                <c:pt idx="11320">
                  <c:v>#N/A</c:v>
                </c:pt>
                <c:pt idx="11321">
                  <c:v>#N/A</c:v>
                </c:pt>
                <c:pt idx="11322">
                  <c:v>#N/A</c:v>
                </c:pt>
                <c:pt idx="11323">
                  <c:v>#N/A</c:v>
                </c:pt>
                <c:pt idx="11324">
                  <c:v>#N/A</c:v>
                </c:pt>
                <c:pt idx="11325">
                  <c:v>#N/A</c:v>
                </c:pt>
                <c:pt idx="11326">
                  <c:v>#N/A</c:v>
                </c:pt>
                <c:pt idx="11327">
                  <c:v>#N/A</c:v>
                </c:pt>
                <c:pt idx="11328">
                  <c:v>#N/A</c:v>
                </c:pt>
                <c:pt idx="11329">
                  <c:v>#N/A</c:v>
                </c:pt>
                <c:pt idx="11330">
                  <c:v>#N/A</c:v>
                </c:pt>
                <c:pt idx="11331">
                  <c:v>#N/A</c:v>
                </c:pt>
                <c:pt idx="11332">
                  <c:v>#N/A</c:v>
                </c:pt>
                <c:pt idx="11333">
                  <c:v>#N/A</c:v>
                </c:pt>
                <c:pt idx="11334">
                  <c:v>#N/A</c:v>
                </c:pt>
                <c:pt idx="11335">
                  <c:v>#N/A</c:v>
                </c:pt>
                <c:pt idx="11336">
                  <c:v>#N/A</c:v>
                </c:pt>
                <c:pt idx="11337">
                  <c:v>#N/A</c:v>
                </c:pt>
                <c:pt idx="11338">
                  <c:v>#N/A</c:v>
                </c:pt>
                <c:pt idx="11339">
                  <c:v>#N/A</c:v>
                </c:pt>
                <c:pt idx="11340">
                  <c:v>#N/A</c:v>
                </c:pt>
                <c:pt idx="11341">
                  <c:v>#N/A</c:v>
                </c:pt>
                <c:pt idx="11342">
                  <c:v>#N/A</c:v>
                </c:pt>
                <c:pt idx="11343">
                  <c:v>#N/A</c:v>
                </c:pt>
                <c:pt idx="11344">
                  <c:v>#N/A</c:v>
                </c:pt>
                <c:pt idx="11345">
                  <c:v>#N/A</c:v>
                </c:pt>
                <c:pt idx="11346">
                  <c:v>#N/A</c:v>
                </c:pt>
                <c:pt idx="11347">
                  <c:v>#N/A</c:v>
                </c:pt>
                <c:pt idx="11348">
                  <c:v>#N/A</c:v>
                </c:pt>
                <c:pt idx="11349">
                  <c:v>#N/A</c:v>
                </c:pt>
                <c:pt idx="11350">
                  <c:v>#N/A</c:v>
                </c:pt>
                <c:pt idx="11351">
                  <c:v>#N/A</c:v>
                </c:pt>
                <c:pt idx="11352">
                  <c:v>#N/A</c:v>
                </c:pt>
                <c:pt idx="11353">
                  <c:v>#N/A</c:v>
                </c:pt>
                <c:pt idx="11354">
                  <c:v>#N/A</c:v>
                </c:pt>
                <c:pt idx="11355">
                  <c:v>#N/A</c:v>
                </c:pt>
                <c:pt idx="11356">
                  <c:v>#N/A</c:v>
                </c:pt>
                <c:pt idx="11357">
                  <c:v>#N/A</c:v>
                </c:pt>
                <c:pt idx="11358">
                  <c:v>#N/A</c:v>
                </c:pt>
                <c:pt idx="11359">
                  <c:v>#N/A</c:v>
                </c:pt>
                <c:pt idx="11360">
                  <c:v>#N/A</c:v>
                </c:pt>
                <c:pt idx="11361">
                  <c:v>#N/A</c:v>
                </c:pt>
                <c:pt idx="11362">
                  <c:v>#N/A</c:v>
                </c:pt>
                <c:pt idx="11363">
                  <c:v>#N/A</c:v>
                </c:pt>
                <c:pt idx="11364">
                  <c:v>#N/A</c:v>
                </c:pt>
                <c:pt idx="11365">
                  <c:v>#N/A</c:v>
                </c:pt>
                <c:pt idx="11366">
                  <c:v>#N/A</c:v>
                </c:pt>
                <c:pt idx="11367">
                  <c:v>#N/A</c:v>
                </c:pt>
                <c:pt idx="11368">
                  <c:v>#N/A</c:v>
                </c:pt>
                <c:pt idx="11369">
                  <c:v>#N/A</c:v>
                </c:pt>
                <c:pt idx="11370">
                  <c:v>#N/A</c:v>
                </c:pt>
                <c:pt idx="11371">
                  <c:v>#N/A</c:v>
                </c:pt>
                <c:pt idx="11372">
                  <c:v>#N/A</c:v>
                </c:pt>
                <c:pt idx="11373">
                  <c:v>#N/A</c:v>
                </c:pt>
                <c:pt idx="11374">
                  <c:v>#N/A</c:v>
                </c:pt>
                <c:pt idx="11375">
                  <c:v>#N/A</c:v>
                </c:pt>
                <c:pt idx="11376">
                  <c:v>#N/A</c:v>
                </c:pt>
                <c:pt idx="11377">
                  <c:v>#N/A</c:v>
                </c:pt>
                <c:pt idx="11378">
                  <c:v>#N/A</c:v>
                </c:pt>
                <c:pt idx="11379">
                  <c:v>#N/A</c:v>
                </c:pt>
                <c:pt idx="11380">
                  <c:v>#N/A</c:v>
                </c:pt>
                <c:pt idx="11381">
                  <c:v>#N/A</c:v>
                </c:pt>
                <c:pt idx="11382">
                  <c:v>#N/A</c:v>
                </c:pt>
                <c:pt idx="11383">
                  <c:v>#N/A</c:v>
                </c:pt>
                <c:pt idx="11384">
                  <c:v>#N/A</c:v>
                </c:pt>
                <c:pt idx="11385">
                  <c:v>#N/A</c:v>
                </c:pt>
                <c:pt idx="11386">
                  <c:v>#N/A</c:v>
                </c:pt>
                <c:pt idx="11387">
                  <c:v>#N/A</c:v>
                </c:pt>
                <c:pt idx="11388">
                  <c:v>#N/A</c:v>
                </c:pt>
                <c:pt idx="11389">
                  <c:v>#N/A</c:v>
                </c:pt>
                <c:pt idx="11390">
                  <c:v>#N/A</c:v>
                </c:pt>
                <c:pt idx="11391">
                  <c:v>#N/A</c:v>
                </c:pt>
                <c:pt idx="11392">
                  <c:v>#N/A</c:v>
                </c:pt>
                <c:pt idx="11393">
                  <c:v>#N/A</c:v>
                </c:pt>
                <c:pt idx="11394">
                  <c:v>#N/A</c:v>
                </c:pt>
                <c:pt idx="11395">
                  <c:v>#N/A</c:v>
                </c:pt>
                <c:pt idx="11396">
                  <c:v>#N/A</c:v>
                </c:pt>
                <c:pt idx="11397">
                  <c:v>#N/A</c:v>
                </c:pt>
                <c:pt idx="11398">
                  <c:v>#N/A</c:v>
                </c:pt>
                <c:pt idx="11399">
                  <c:v>#N/A</c:v>
                </c:pt>
                <c:pt idx="11400">
                  <c:v>#N/A</c:v>
                </c:pt>
                <c:pt idx="11401">
                  <c:v>#N/A</c:v>
                </c:pt>
                <c:pt idx="11402">
                  <c:v>#N/A</c:v>
                </c:pt>
                <c:pt idx="11403">
                  <c:v>#N/A</c:v>
                </c:pt>
                <c:pt idx="11404">
                  <c:v>#N/A</c:v>
                </c:pt>
                <c:pt idx="11405">
                  <c:v>#N/A</c:v>
                </c:pt>
                <c:pt idx="11406">
                  <c:v>#N/A</c:v>
                </c:pt>
                <c:pt idx="11407">
                  <c:v>#N/A</c:v>
                </c:pt>
                <c:pt idx="11408">
                  <c:v>#N/A</c:v>
                </c:pt>
                <c:pt idx="11409">
                  <c:v>#N/A</c:v>
                </c:pt>
                <c:pt idx="11410">
                  <c:v>#N/A</c:v>
                </c:pt>
                <c:pt idx="11411">
                  <c:v>#N/A</c:v>
                </c:pt>
                <c:pt idx="11412">
                  <c:v>#N/A</c:v>
                </c:pt>
                <c:pt idx="11413">
                  <c:v>#N/A</c:v>
                </c:pt>
                <c:pt idx="11414">
                  <c:v>#N/A</c:v>
                </c:pt>
                <c:pt idx="11415">
                  <c:v>#N/A</c:v>
                </c:pt>
                <c:pt idx="11416">
                  <c:v>#N/A</c:v>
                </c:pt>
                <c:pt idx="11417">
                  <c:v>#N/A</c:v>
                </c:pt>
                <c:pt idx="11418">
                  <c:v>#N/A</c:v>
                </c:pt>
                <c:pt idx="11419">
                  <c:v>#N/A</c:v>
                </c:pt>
                <c:pt idx="11420">
                  <c:v>#N/A</c:v>
                </c:pt>
                <c:pt idx="11421">
                  <c:v>#N/A</c:v>
                </c:pt>
                <c:pt idx="11422">
                  <c:v>#N/A</c:v>
                </c:pt>
                <c:pt idx="11423">
                  <c:v>#N/A</c:v>
                </c:pt>
                <c:pt idx="11424">
                  <c:v>#N/A</c:v>
                </c:pt>
                <c:pt idx="11425">
                  <c:v>#N/A</c:v>
                </c:pt>
                <c:pt idx="11426">
                  <c:v>#N/A</c:v>
                </c:pt>
                <c:pt idx="11427">
                  <c:v>#N/A</c:v>
                </c:pt>
                <c:pt idx="11428">
                  <c:v>#N/A</c:v>
                </c:pt>
                <c:pt idx="11429">
                  <c:v>#N/A</c:v>
                </c:pt>
                <c:pt idx="11430">
                  <c:v>#N/A</c:v>
                </c:pt>
                <c:pt idx="11431">
                  <c:v>#N/A</c:v>
                </c:pt>
                <c:pt idx="11432">
                  <c:v>#N/A</c:v>
                </c:pt>
                <c:pt idx="11433">
                  <c:v>#N/A</c:v>
                </c:pt>
                <c:pt idx="11434">
                  <c:v>#N/A</c:v>
                </c:pt>
                <c:pt idx="11435">
                  <c:v>#N/A</c:v>
                </c:pt>
                <c:pt idx="11436">
                  <c:v>#N/A</c:v>
                </c:pt>
                <c:pt idx="11437">
                  <c:v>#N/A</c:v>
                </c:pt>
                <c:pt idx="11438">
                  <c:v>#N/A</c:v>
                </c:pt>
                <c:pt idx="11439">
                  <c:v>#N/A</c:v>
                </c:pt>
                <c:pt idx="11440">
                  <c:v>#N/A</c:v>
                </c:pt>
                <c:pt idx="11441">
                  <c:v>#N/A</c:v>
                </c:pt>
                <c:pt idx="11442">
                  <c:v>#N/A</c:v>
                </c:pt>
                <c:pt idx="11443">
                  <c:v>#N/A</c:v>
                </c:pt>
                <c:pt idx="11444">
                  <c:v>#N/A</c:v>
                </c:pt>
                <c:pt idx="11445">
                  <c:v>#N/A</c:v>
                </c:pt>
                <c:pt idx="11446">
                  <c:v>#N/A</c:v>
                </c:pt>
                <c:pt idx="11447">
                  <c:v>#N/A</c:v>
                </c:pt>
                <c:pt idx="11448">
                  <c:v>#N/A</c:v>
                </c:pt>
                <c:pt idx="11449">
                  <c:v>#N/A</c:v>
                </c:pt>
                <c:pt idx="11450">
                  <c:v>#N/A</c:v>
                </c:pt>
                <c:pt idx="11451">
                  <c:v>#N/A</c:v>
                </c:pt>
                <c:pt idx="11452">
                  <c:v>#N/A</c:v>
                </c:pt>
                <c:pt idx="11453">
                  <c:v>#N/A</c:v>
                </c:pt>
                <c:pt idx="11454">
                  <c:v>#N/A</c:v>
                </c:pt>
                <c:pt idx="11455">
                  <c:v>#N/A</c:v>
                </c:pt>
                <c:pt idx="11456">
                  <c:v>#N/A</c:v>
                </c:pt>
                <c:pt idx="11457">
                  <c:v>#N/A</c:v>
                </c:pt>
                <c:pt idx="11458">
                  <c:v>#N/A</c:v>
                </c:pt>
                <c:pt idx="11459">
                  <c:v>#N/A</c:v>
                </c:pt>
                <c:pt idx="11460">
                  <c:v>#N/A</c:v>
                </c:pt>
                <c:pt idx="11461">
                  <c:v>#N/A</c:v>
                </c:pt>
                <c:pt idx="11462">
                  <c:v>#N/A</c:v>
                </c:pt>
                <c:pt idx="11463">
                  <c:v>#N/A</c:v>
                </c:pt>
                <c:pt idx="11464">
                  <c:v>#N/A</c:v>
                </c:pt>
                <c:pt idx="11465">
                  <c:v>#N/A</c:v>
                </c:pt>
                <c:pt idx="11466">
                  <c:v>#N/A</c:v>
                </c:pt>
                <c:pt idx="11467">
                  <c:v>#N/A</c:v>
                </c:pt>
                <c:pt idx="11468">
                  <c:v>#N/A</c:v>
                </c:pt>
                <c:pt idx="11469">
                  <c:v>#N/A</c:v>
                </c:pt>
                <c:pt idx="11470">
                  <c:v>#N/A</c:v>
                </c:pt>
                <c:pt idx="11471">
                  <c:v>#N/A</c:v>
                </c:pt>
                <c:pt idx="11472">
                  <c:v>#N/A</c:v>
                </c:pt>
                <c:pt idx="11473">
                  <c:v>#N/A</c:v>
                </c:pt>
                <c:pt idx="11474">
                  <c:v>#N/A</c:v>
                </c:pt>
                <c:pt idx="11475">
                  <c:v>#N/A</c:v>
                </c:pt>
                <c:pt idx="11476">
                  <c:v>#N/A</c:v>
                </c:pt>
                <c:pt idx="11477">
                  <c:v>#N/A</c:v>
                </c:pt>
                <c:pt idx="11478">
                  <c:v>#N/A</c:v>
                </c:pt>
                <c:pt idx="11479">
                  <c:v>#N/A</c:v>
                </c:pt>
                <c:pt idx="11480">
                  <c:v>#N/A</c:v>
                </c:pt>
                <c:pt idx="11481">
                  <c:v>#N/A</c:v>
                </c:pt>
                <c:pt idx="11482">
                  <c:v>#N/A</c:v>
                </c:pt>
                <c:pt idx="11483">
                  <c:v>#N/A</c:v>
                </c:pt>
                <c:pt idx="11484">
                  <c:v>#N/A</c:v>
                </c:pt>
                <c:pt idx="11485">
                  <c:v>#N/A</c:v>
                </c:pt>
                <c:pt idx="11486">
                  <c:v>#N/A</c:v>
                </c:pt>
                <c:pt idx="11487">
                  <c:v>#N/A</c:v>
                </c:pt>
                <c:pt idx="11488">
                  <c:v>#N/A</c:v>
                </c:pt>
                <c:pt idx="11489">
                  <c:v>#N/A</c:v>
                </c:pt>
                <c:pt idx="11490">
                  <c:v>#N/A</c:v>
                </c:pt>
                <c:pt idx="11491">
                  <c:v>#N/A</c:v>
                </c:pt>
                <c:pt idx="11492">
                  <c:v>#N/A</c:v>
                </c:pt>
                <c:pt idx="11493">
                  <c:v>#N/A</c:v>
                </c:pt>
                <c:pt idx="11494">
                  <c:v>#N/A</c:v>
                </c:pt>
                <c:pt idx="11495">
                  <c:v>#N/A</c:v>
                </c:pt>
                <c:pt idx="11496">
                  <c:v>#N/A</c:v>
                </c:pt>
                <c:pt idx="11497">
                  <c:v>#N/A</c:v>
                </c:pt>
                <c:pt idx="11498">
                  <c:v>#N/A</c:v>
                </c:pt>
                <c:pt idx="11499">
                  <c:v>#N/A</c:v>
                </c:pt>
                <c:pt idx="11500">
                  <c:v>#N/A</c:v>
                </c:pt>
                <c:pt idx="11501">
                  <c:v>#N/A</c:v>
                </c:pt>
                <c:pt idx="11502">
                  <c:v>#N/A</c:v>
                </c:pt>
                <c:pt idx="11503">
                  <c:v>#N/A</c:v>
                </c:pt>
                <c:pt idx="11504">
                  <c:v>#N/A</c:v>
                </c:pt>
                <c:pt idx="11505">
                  <c:v>#N/A</c:v>
                </c:pt>
                <c:pt idx="11506">
                  <c:v>#N/A</c:v>
                </c:pt>
                <c:pt idx="11507">
                  <c:v>#N/A</c:v>
                </c:pt>
                <c:pt idx="11508">
                  <c:v>#N/A</c:v>
                </c:pt>
                <c:pt idx="11509">
                  <c:v>#N/A</c:v>
                </c:pt>
                <c:pt idx="11510">
                  <c:v>#N/A</c:v>
                </c:pt>
                <c:pt idx="11511">
                  <c:v>#N/A</c:v>
                </c:pt>
                <c:pt idx="11512">
                  <c:v>#N/A</c:v>
                </c:pt>
                <c:pt idx="11513">
                  <c:v>#N/A</c:v>
                </c:pt>
                <c:pt idx="11514">
                  <c:v>#N/A</c:v>
                </c:pt>
                <c:pt idx="11515">
                  <c:v>#N/A</c:v>
                </c:pt>
                <c:pt idx="11516">
                  <c:v>#N/A</c:v>
                </c:pt>
                <c:pt idx="11517">
                  <c:v>#N/A</c:v>
                </c:pt>
                <c:pt idx="11518">
                  <c:v>#N/A</c:v>
                </c:pt>
                <c:pt idx="11519">
                  <c:v>#N/A</c:v>
                </c:pt>
                <c:pt idx="11520">
                  <c:v>#N/A</c:v>
                </c:pt>
                <c:pt idx="11521">
                  <c:v>#N/A</c:v>
                </c:pt>
                <c:pt idx="11522">
                  <c:v>#N/A</c:v>
                </c:pt>
                <c:pt idx="11523">
                  <c:v>#N/A</c:v>
                </c:pt>
                <c:pt idx="11524">
                  <c:v>#N/A</c:v>
                </c:pt>
                <c:pt idx="11525">
                  <c:v>#N/A</c:v>
                </c:pt>
                <c:pt idx="11526">
                  <c:v>#N/A</c:v>
                </c:pt>
                <c:pt idx="11527">
                  <c:v>#N/A</c:v>
                </c:pt>
                <c:pt idx="11528">
                  <c:v>#N/A</c:v>
                </c:pt>
                <c:pt idx="11529">
                  <c:v>#N/A</c:v>
                </c:pt>
                <c:pt idx="11530">
                  <c:v>#N/A</c:v>
                </c:pt>
                <c:pt idx="11531">
                  <c:v>#N/A</c:v>
                </c:pt>
                <c:pt idx="11532">
                  <c:v>#N/A</c:v>
                </c:pt>
                <c:pt idx="11533">
                  <c:v>#N/A</c:v>
                </c:pt>
                <c:pt idx="11534">
                  <c:v>#N/A</c:v>
                </c:pt>
                <c:pt idx="11535">
                  <c:v>#N/A</c:v>
                </c:pt>
                <c:pt idx="11536">
                  <c:v>#N/A</c:v>
                </c:pt>
                <c:pt idx="11537">
                  <c:v>#N/A</c:v>
                </c:pt>
                <c:pt idx="11538">
                  <c:v>#N/A</c:v>
                </c:pt>
                <c:pt idx="11539">
                  <c:v>#N/A</c:v>
                </c:pt>
                <c:pt idx="11540">
                  <c:v>#N/A</c:v>
                </c:pt>
                <c:pt idx="11541">
                  <c:v>#N/A</c:v>
                </c:pt>
                <c:pt idx="11542">
                  <c:v>#N/A</c:v>
                </c:pt>
                <c:pt idx="11543">
                  <c:v>#N/A</c:v>
                </c:pt>
                <c:pt idx="11544">
                  <c:v>#N/A</c:v>
                </c:pt>
                <c:pt idx="11545">
                  <c:v>#N/A</c:v>
                </c:pt>
                <c:pt idx="11546">
                  <c:v>#N/A</c:v>
                </c:pt>
                <c:pt idx="11547">
                  <c:v>#N/A</c:v>
                </c:pt>
                <c:pt idx="11548">
                  <c:v>#N/A</c:v>
                </c:pt>
                <c:pt idx="11549">
                  <c:v>#N/A</c:v>
                </c:pt>
                <c:pt idx="11550">
                  <c:v>#N/A</c:v>
                </c:pt>
                <c:pt idx="11551">
                  <c:v>#N/A</c:v>
                </c:pt>
                <c:pt idx="11552">
                  <c:v>#N/A</c:v>
                </c:pt>
                <c:pt idx="11553">
                  <c:v>#N/A</c:v>
                </c:pt>
                <c:pt idx="11554">
                  <c:v>#N/A</c:v>
                </c:pt>
                <c:pt idx="11555">
                  <c:v>#N/A</c:v>
                </c:pt>
                <c:pt idx="11556">
                  <c:v>#N/A</c:v>
                </c:pt>
                <c:pt idx="11557">
                  <c:v>#N/A</c:v>
                </c:pt>
                <c:pt idx="11558">
                  <c:v>#N/A</c:v>
                </c:pt>
                <c:pt idx="11559">
                  <c:v>#N/A</c:v>
                </c:pt>
                <c:pt idx="11560">
                  <c:v>#N/A</c:v>
                </c:pt>
                <c:pt idx="11561">
                  <c:v>#N/A</c:v>
                </c:pt>
                <c:pt idx="11562">
                  <c:v>#N/A</c:v>
                </c:pt>
                <c:pt idx="11563">
                  <c:v>#N/A</c:v>
                </c:pt>
                <c:pt idx="11564">
                  <c:v>#N/A</c:v>
                </c:pt>
                <c:pt idx="11565">
                  <c:v>#N/A</c:v>
                </c:pt>
                <c:pt idx="11566">
                  <c:v>#N/A</c:v>
                </c:pt>
                <c:pt idx="11567">
                  <c:v>#N/A</c:v>
                </c:pt>
                <c:pt idx="11568">
                  <c:v>#N/A</c:v>
                </c:pt>
                <c:pt idx="11569">
                  <c:v>#N/A</c:v>
                </c:pt>
                <c:pt idx="11570">
                  <c:v>#N/A</c:v>
                </c:pt>
                <c:pt idx="11571">
                  <c:v>#N/A</c:v>
                </c:pt>
                <c:pt idx="11572">
                  <c:v>#N/A</c:v>
                </c:pt>
                <c:pt idx="11573">
                  <c:v>#N/A</c:v>
                </c:pt>
                <c:pt idx="11574">
                  <c:v>#N/A</c:v>
                </c:pt>
                <c:pt idx="11575">
                  <c:v>#N/A</c:v>
                </c:pt>
                <c:pt idx="11576">
                  <c:v>#N/A</c:v>
                </c:pt>
                <c:pt idx="11577">
                  <c:v>#N/A</c:v>
                </c:pt>
                <c:pt idx="11578">
                  <c:v>#N/A</c:v>
                </c:pt>
                <c:pt idx="11579">
                  <c:v>#N/A</c:v>
                </c:pt>
                <c:pt idx="11580">
                  <c:v>#N/A</c:v>
                </c:pt>
                <c:pt idx="11581">
                  <c:v>#N/A</c:v>
                </c:pt>
                <c:pt idx="11582">
                  <c:v>#N/A</c:v>
                </c:pt>
                <c:pt idx="11583">
                  <c:v>#N/A</c:v>
                </c:pt>
                <c:pt idx="11584">
                  <c:v>#N/A</c:v>
                </c:pt>
                <c:pt idx="11585">
                  <c:v>#N/A</c:v>
                </c:pt>
                <c:pt idx="11586">
                  <c:v>#N/A</c:v>
                </c:pt>
                <c:pt idx="11587">
                  <c:v>#N/A</c:v>
                </c:pt>
                <c:pt idx="11588">
                  <c:v>#N/A</c:v>
                </c:pt>
                <c:pt idx="11589">
                  <c:v>#N/A</c:v>
                </c:pt>
                <c:pt idx="11590">
                  <c:v>#N/A</c:v>
                </c:pt>
                <c:pt idx="11591">
                  <c:v>#N/A</c:v>
                </c:pt>
                <c:pt idx="11592">
                  <c:v>#N/A</c:v>
                </c:pt>
                <c:pt idx="11593">
                  <c:v>#N/A</c:v>
                </c:pt>
                <c:pt idx="11594">
                  <c:v>#N/A</c:v>
                </c:pt>
                <c:pt idx="11595">
                  <c:v>#N/A</c:v>
                </c:pt>
                <c:pt idx="11596">
                  <c:v>#N/A</c:v>
                </c:pt>
                <c:pt idx="11597">
                  <c:v>#N/A</c:v>
                </c:pt>
                <c:pt idx="11598">
                  <c:v>#N/A</c:v>
                </c:pt>
                <c:pt idx="11599">
                  <c:v>#N/A</c:v>
                </c:pt>
                <c:pt idx="11600">
                  <c:v>#N/A</c:v>
                </c:pt>
                <c:pt idx="11601">
                  <c:v>#N/A</c:v>
                </c:pt>
                <c:pt idx="11602">
                  <c:v>#N/A</c:v>
                </c:pt>
                <c:pt idx="11603">
                  <c:v>#N/A</c:v>
                </c:pt>
                <c:pt idx="11604">
                  <c:v>#N/A</c:v>
                </c:pt>
                <c:pt idx="11605">
                  <c:v>#N/A</c:v>
                </c:pt>
                <c:pt idx="11606">
                  <c:v>#N/A</c:v>
                </c:pt>
                <c:pt idx="11607">
                  <c:v>#N/A</c:v>
                </c:pt>
                <c:pt idx="11608">
                  <c:v>#N/A</c:v>
                </c:pt>
                <c:pt idx="11609">
                  <c:v>#N/A</c:v>
                </c:pt>
                <c:pt idx="11610">
                  <c:v>#N/A</c:v>
                </c:pt>
                <c:pt idx="11611">
                  <c:v>#N/A</c:v>
                </c:pt>
                <c:pt idx="11612">
                  <c:v>#N/A</c:v>
                </c:pt>
                <c:pt idx="11613">
                  <c:v>#N/A</c:v>
                </c:pt>
                <c:pt idx="11614">
                  <c:v>#N/A</c:v>
                </c:pt>
                <c:pt idx="11615">
                  <c:v>#N/A</c:v>
                </c:pt>
                <c:pt idx="11616">
                  <c:v>#N/A</c:v>
                </c:pt>
                <c:pt idx="11617">
                  <c:v>#N/A</c:v>
                </c:pt>
                <c:pt idx="11618">
                  <c:v>#N/A</c:v>
                </c:pt>
                <c:pt idx="11619">
                  <c:v>#N/A</c:v>
                </c:pt>
                <c:pt idx="11620">
                  <c:v>#N/A</c:v>
                </c:pt>
                <c:pt idx="11621">
                  <c:v>#N/A</c:v>
                </c:pt>
                <c:pt idx="11622">
                  <c:v>#N/A</c:v>
                </c:pt>
                <c:pt idx="11623">
                  <c:v>#N/A</c:v>
                </c:pt>
                <c:pt idx="11624">
                  <c:v>#N/A</c:v>
                </c:pt>
                <c:pt idx="11625">
                  <c:v>#N/A</c:v>
                </c:pt>
                <c:pt idx="11626">
                  <c:v>#N/A</c:v>
                </c:pt>
                <c:pt idx="11627">
                  <c:v>#N/A</c:v>
                </c:pt>
                <c:pt idx="11628">
                  <c:v>#N/A</c:v>
                </c:pt>
                <c:pt idx="11629">
                  <c:v>#N/A</c:v>
                </c:pt>
                <c:pt idx="11630">
                  <c:v>#N/A</c:v>
                </c:pt>
                <c:pt idx="11631">
                  <c:v>#N/A</c:v>
                </c:pt>
                <c:pt idx="11632">
                  <c:v>#N/A</c:v>
                </c:pt>
                <c:pt idx="11633">
                  <c:v>#N/A</c:v>
                </c:pt>
                <c:pt idx="11634">
                  <c:v>#N/A</c:v>
                </c:pt>
                <c:pt idx="11635">
                  <c:v>#N/A</c:v>
                </c:pt>
                <c:pt idx="11636">
                  <c:v>#N/A</c:v>
                </c:pt>
                <c:pt idx="11637">
                  <c:v>#N/A</c:v>
                </c:pt>
                <c:pt idx="11638">
                  <c:v>#N/A</c:v>
                </c:pt>
                <c:pt idx="11639">
                  <c:v>#N/A</c:v>
                </c:pt>
                <c:pt idx="11640">
                  <c:v>#N/A</c:v>
                </c:pt>
                <c:pt idx="11641">
                  <c:v>#N/A</c:v>
                </c:pt>
                <c:pt idx="11642">
                  <c:v>#N/A</c:v>
                </c:pt>
                <c:pt idx="11643">
                  <c:v>#N/A</c:v>
                </c:pt>
                <c:pt idx="11644">
                  <c:v>#N/A</c:v>
                </c:pt>
                <c:pt idx="11645">
                  <c:v>#N/A</c:v>
                </c:pt>
                <c:pt idx="11646">
                  <c:v>#N/A</c:v>
                </c:pt>
                <c:pt idx="11647">
                  <c:v>#N/A</c:v>
                </c:pt>
                <c:pt idx="11648">
                  <c:v>#N/A</c:v>
                </c:pt>
                <c:pt idx="11649">
                  <c:v>#N/A</c:v>
                </c:pt>
                <c:pt idx="11650">
                  <c:v>#N/A</c:v>
                </c:pt>
                <c:pt idx="11651">
                  <c:v>#N/A</c:v>
                </c:pt>
                <c:pt idx="11652">
                  <c:v>#N/A</c:v>
                </c:pt>
                <c:pt idx="11653">
                  <c:v>#N/A</c:v>
                </c:pt>
                <c:pt idx="11654">
                  <c:v>#N/A</c:v>
                </c:pt>
                <c:pt idx="11655">
                  <c:v>#N/A</c:v>
                </c:pt>
                <c:pt idx="11656">
                  <c:v>#N/A</c:v>
                </c:pt>
                <c:pt idx="11657">
                  <c:v>#N/A</c:v>
                </c:pt>
                <c:pt idx="11658">
                  <c:v>#N/A</c:v>
                </c:pt>
                <c:pt idx="11659">
                  <c:v>#N/A</c:v>
                </c:pt>
                <c:pt idx="11660">
                  <c:v>#N/A</c:v>
                </c:pt>
                <c:pt idx="11661">
                  <c:v>#N/A</c:v>
                </c:pt>
                <c:pt idx="11662">
                  <c:v>#N/A</c:v>
                </c:pt>
                <c:pt idx="11663">
                  <c:v>#N/A</c:v>
                </c:pt>
                <c:pt idx="11664">
                  <c:v>#N/A</c:v>
                </c:pt>
                <c:pt idx="11665">
                  <c:v>#N/A</c:v>
                </c:pt>
                <c:pt idx="11666">
                  <c:v>#N/A</c:v>
                </c:pt>
                <c:pt idx="11667">
                  <c:v>#N/A</c:v>
                </c:pt>
                <c:pt idx="11668">
                  <c:v>#N/A</c:v>
                </c:pt>
                <c:pt idx="11669">
                  <c:v>#N/A</c:v>
                </c:pt>
                <c:pt idx="11670">
                  <c:v>#N/A</c:v>
                </c:pt>
                <c:pt idx="11671">
                  <c:v>#N/A</c:v>
                </c:pt>
                <c:pt idx="11672">
                  <c:v>#N/A</c:v>
                </c:pt>
                <c:pt idx="11673">
                  <c:v>#N/A</c:v>
                </c:pt>
                <c:pt idx="11674">
                  <c:v>#N/A</c:v>
                </c:pt>
                <c:pt idx="11675">
                  <c:v>#N/A</c:v>
                </c:pt>
                <c:pt idx="11676">
                  <c:v>#N/A</c:v>
                </c:pt>
                <c:pt idx="11677">
                  <c:v>#N/A</c:v>
                </c:pt>
                <c:pt idx="11678">
                  <c:v>#N/A</c:v>
                </c:pt>
                <c:pt idx="11679">
                  <c:v>#N/A</c:v>
                </c:pt>
                <c:pt idx="11680">
                  <c:v>#N/A</c:v>
                </c:pt>
                <c:pt idx="11681">
                  <c:v>#N/A</c:v>
                </c:pt>
                <c:pt idx="11682">
                  <c:v>#N/A</c:v>
                </c:pt>
                <c:pt idx="11683">
                  <c:v>#N/A</c:v>
                </c:pt>
                <c:pt idx="11684">
                  <c:v>#N/A</c:v>
                </c:pt>
                <c:pt idx="11685">
                  <c:v>#N/A</c:v>
                </c:pt>
                <c:pt idx="11686">
                  <c:v>#N/A</c:v>
                </c:pt>
                <c:pt idx="11687">
                  <c:v>#N/A</c:v>
                </c:pt>
                <c:pt idx="11688">
                  <c:v>#N/A</c:v>
                </c:pt>
                <c:pt idx="11689">
                  <c:v>#N/A</c:v>
                </c:pt>
                <c:pt idx="11690">
                  <c:v>#N/A</c:v>
                </c:pt>
                <c:pt idx="11691">
                  <c:v>#N/A</c:v>
                </c:pt>
                <c:pt idx="11692">
                  <c:v>#N/A</c:v>
                </c:pt>
                <c:pt idx="11693">
                  <c:v>#N/A</c:v>
                </c:pt>
                <c:pt idx="11694">
                  <c:v>#N/A</c:v>
                </c:pt>
                <c:pt idx="11695">
                  <c:v>#N/A</c:v>
                </c:pt>
                <c:pt idx="11696">
                  <c:v>#N/A</c:v>
                </c:pt>
                <c:pt idx="11697">
                  <c:v>#N/A</c:v>
                </c:pt>
                <c:pt idx="11698">
                  <c:v>#N/A</c:v>
                </c:pt>
                <c:pt idx="11699">
                  <c:v>#N/A</c:v>
                </c:pt>
                <c:pt idx="11700">
                  <c:v>#N/A</c:v>
                </c:pt>
                <c:pt idx="11701">
                  <c:v>#N/A</c:v>
                </c:pt>
                <c:pt idx="11702">
                  <c:v>#N/A</c:v>
                </c:pt>
                <c:pt idx="11703">
                  <c:v>#N/A</c:v>
                </c:pt>
                <c:pt idx="11704">
                  <c:v>#N/A</c:v>
                </c:pt>
                <c:pt idx="11705">
                  <c:v>#N/A</c:v>
                </c:pt>
                <c:pt idx="11706">
                  <c:v>#N/A</c:v>
                </c:pt>
                <c:pt idx="11707">
                  <c:v>#N/A</c:v>
                </c:pt>
                <c:pt idx="11708">
                  <c:v>#N/A</c:v>
                </c:pt>
                <c:pt idx="11709">
                  <c:v>#N/A</c:v>
                </c:pt>
                <c:pt idx="11710">
                  <c:v>#N/A</c:v>
                </c:pt>
                <c:pt idx="11711">
                  <c:v>#N/A</c:v>
                </c:pt>
                <c:pt idx="11712">
                  <c:v>#N/A</c:v>
                </c:pt>
                <c:pt idx="11713">
                  <c:v>#N/A</c:v>
                </c:pt>
                <c:pt idx="11714">
                  <c:v>#N/A</c:v>
                </c:pt>
                <c:pt idx="11715">
                  <c:v>#N/A</c:v>
                </c:pt>
                <c:pt idx="11716">
                  <c:v>#N/A</c:v>
                </c:pt>
                <c:pt idx="11717">
                  <c:v>#N/A</c:v>
                </c:pt>
                <c:pt idx="11718">
                  <c:v>#N/A</c:v>
                </c:pt>
                <c:pt idx="11719">
                  <c:v>#N/A</c:v>
                </c:pt>
                <c:pt idx="11720">
                  <c:v>#N/A</c:v>
                </c:pt>
                <c:pt idx="11721">
                  <c:v>#N/A</c:v>
                </c:pt>
                <c:pt idx="11722">
                  <c:v>#N/A</c:v>
                </c:pt>
                <c:pt idx="11723">
                  <c:v>#N/A</c:v>
                </c:pt>
                <c:pt idx="11724">
                  <c:v>#N/A</c:v>
                </c:pt>
                <c:pt idx="11725">
                  <c:v>#N/A</c:v>
                </c:pt>
                <c:pt idx="11726">
                  <c:v>#N/A</c:v>
                </c:pt>
                <c:pt idx="11727">
                  <c:v>#N/A</c:v>
                </c:pt>
                <c:pt idx="11728">
                  <c:v>#N/A</c:v>
                </c:pt>
                <c:pt idx="11729">
                  <c:v>#N/A</c:v>
                </c:pt>
                <c:pt idx="11730">
                  <c:v>#N/A</c:v>
                </c:pt>
                <c:pt idx="11731">
                  <c:v>#N/A</c:v>
                </c:pt>
                <c:pt idx="11732">
                  <c:v>#N/A</c:v>
                </c:pt>
                <c:pt idx="11733">
                  <c:v>#N/A</c:v>
                </c:pt>
                <c:pt idx="11734">
                  <c:v>#N/A</c:v>
                </c:pt>
                <c:pt idx="11735">
                  <c:v>#N/A</c:v>
                </c:pt>
                <c:pt idx="11736">
                  <c:v>#N/A</c:v>
                </c:pt>
                <c:pt idx="11737">
                  <c:v>#N/A</c:v>
                </c:pt>
                <c:pt idx="11738">
                  <c:v>#N/A</c:v>
                </c:pt>
                <c:pt idx="11739">
                  <c:v>#N/A</c:v>
                </c:pt>
                <c:pt idx="11740">
                  <c:v>#N/A</c:v>
                </c:pt>
                <c:pt idx="11741">
                  <c:v>#N/A</c:v>
                </c:pt>
                <c:pt idx="11742">
                  <c:v>#N/A</c:v>
                </c:pt>
                <c:pt idx="11743">
                  <c:v>#N/A</c:v>
                </c:pt>
                <c:pt idx="11744">
                  <c:v>#N/A</c:v>
                </c:pt>
                <c:pt idx="11745">
                  <c:v>#N/A</c:v>
                </c:pt>
                <c:pt idx="11746">
                  <c:v>#N/A</c:v>
                </c:pt>
                <c:pt idx="11747">
                  <c:v>#N/A</c:v>
                </c:pt>
                <c:pt idx="11748">
                  <c:v>#N/A</c:v>
                </c:pt>
                <c:pt idx="11749">
                  <c:v>#N/A</c:v>
                </c:pt>
                <c:pt idx="11750">
                  <c:v>#N/A</c:v>
                </c:pt>
                <c:pt idx="11751">
                  <c:v>#N/A</c:v>
                </c:pt>
                <c:pt idx="11752">
                  <c:v>#N/A</c:v>
                </c:pt>
                <c:pt idx="11753">
                  <c:v>#N/A</c:v>
                </c:pt>
                <c:pt idx="11754">
                  <c:v>#N/A</c:v>
                </c:pt>
                <c:pt idx="11755">
                  <c:v>#N/A</c:v>
                </c:pt>
                <c:pt idx="11756">
                  <c:v>#N/A</c:v>
                </c:pt>
                <c:pt idx="11757">
                  <c:v>#N/A</c:v>
                </c:pt>
                <c:pt idx="11758">
                  <c:v>#N/A</c:v>
                </c:pt>
                <c:pt idx="11759">
                  <c:v>#N/A</c:v>
                </c:pt>
                <c:pt idx="11760">
                  <c:v>#N/A</c:v>
                </c:pt>
                <c:pt idx="11761">
                  <c:v>#N/A</c:v>
                </c:pt>
                <c:pt idx="11762">
                  <c:v>#N/A</c:v>
                </c:pt>
                <c:pt idx="11763">
                  <c:v>#N/A</c:v>
                </c:pt>
                <c:pt idx="11764">
                  <c:v>#N/A</c:v>
                </c:pt>
                <c:pt idx="11765">
                  <c:v>#N/A</c:v>
                </c:pt>
                <c:pt idx="11766">
                  <c:v>#N/A</c:v>
                </c:pt>
                <c:pt idx="11767">
                  <c:v>#N/A</c:v>
                </c:pt>
                <c:pt idx="11768">
                  <c:v>#N/A</c:v>
                </c:pt>
                <c:pt idx="11769">
                  <c:v>#N/A</c:v>
                </c:pt>
                <c:pt idx="11770">
                  <c:v>#N/A</c:v>
                </c:pt>
                <c:pt idx="11771">
                  <c:v>#N/A</c:v>
                </c:pt>
                <c:pt idx="11772">
                  <c:v>#N/A</c:v>
                </c:pt>
                <c:pt idx="11773">
                  <c:v>#N/A</c:v>
                </c:pt>
                <c:pt idx="11774">
                  <c:v>#N/A</c:v>
                </c:pt>
                <c:pt idx="11775">
                  <c:v>#N/A</c:v>
                </c:pt>
                <c:pt idx="11776">
                  <c:v>#N/A</c:v>
                </c:pt>
                <c:pt idx="11777">
                  <c:v>#N/A</c:v>
                </c:pt>
                <c:pt idx="11778">
                  <c:v>#N/A</c:v>
                </c:pt>
                <c:pt idx="11779">
                  <c:v>#N/A</c:v>
                </c:pt>
                <c:pt idx="11780">
                  <c:v>#N/A</c:v>
                </c:pt>
                <c:pt idx="11781">
                  <c:v>#N/A</c:v>
                </c:pt>
                <c:pt idx="11782">
                  <c:v>#N/A</c:v>
                </c:pt>
                <c:pt idx="11783">
                  <c:v>#N/A</c:v>
                </c:pt>
                <c:pt idx="11784">
                  <c:v>#N/A</c:v>
                </c:pt>
                <c:pt idx="11785">
                  <c:v>#N/A</c:v>
                </c:pt>
                <c:pt idx="11786">
                  <c:v>#N/A</c:v>
                </c:pt>
                <c:pt idx="11787">
                  <c:v>#N/A</c:v>
                </c:pt>
                <c:pt idx="11788">
                  <c:v>#N/A</c:v>
                </c:pt>
                <c:pt idx="11789">
                  <c:v>#N/A</c:v>
                </c:pt>
                <c:pt idx="11790">
                  <c:v>#N/A</c:v>
                </c:pt>
                <c:pt idx="11791">
                  <c:v>#N/A</c:v>
                </c:pt>
                <c:pt idx="11792">
                  <c:v>#N/A</c:v>
                </c:pt>
                <c:pt idx="11793">
                  <c:v>#N/A</c:v>
                </c:pt>
                <c:pt idx="11794">
                  <c:v>#N/A</c:v>
                </c:pt>
                <c:pt idx="11795">
                  <c:v>#N/A</c:v>
                </c:pt>
                <c:pt idx="11796">
                  <c:v>#N/A</c:v>
                </c:pt>
                <c:pt idx="11797">
                  <c:v>#N/A</c:v>
                </c:pt>
                <c:pt idx="11798">
                  <c:v>#N/A</c:v>
                </c:pt>
                <c:pt idx="11799">
                  <c:v>#N/A</c:v>
                </c:pt>
                <c:pt idx="11800">
                  <c:v>#N/A</c:v>
                </c:pt>
                <c:pt idx="11801">
                  <c:v>#N/A</c:v>
                </c:pt>
                <c:pt idx="11802">
                  <c:v>#N/A</c:v>
                </c:pt>
                <c:pt idx="11803">
                  <c:v>#N/A</c:v>
                </c:pt>
                <c:pt idx="11804">
                  <c:v>#N/A</c:v>
                </c:pt>
                <c:pt idx="11805">
                  <c:v>#N/A</c:v>
                </c:pt>
                <c:pt idx="11806">
                  <c:v>#N/A</c:v>
                </c:pt>
                <c:pt idx="11807">
                  <c:v>#N/A</c:v>
                </c:pt>
                <c:pt idx="11808">
                  <c:v>#N/A</c:v>
                </c:pt>
                <c:pt idx="11809">
                  <c:v>#N/A</c:v>
                </c:pt>
                <c:pt idx="11810">
                  <c:v>#N/A</c:v>
                </c:pt>
                <c:pt idx="11811">
                  <c:v>#N/A</c:v>
                </c:pt>
                <c:pt idx="11812">
                  <c:v>#N/A</c:v>
                </c:pt>
                <c:pt idx="11813">
                  <c:v>#N/A</c:v>
                </c:pt>
                <c:pt idx="11814">
                  <c:v>#N/A</c:v>
                </c:pt>
                <c:pt idx="11815">
                  <c:v>#N/A</c:v>
                </c:pt>
                <c:pt idx="11816">
                  <c:v>#N/A</c:v>
                </c:pt>
                <c:pt idx="11817">
                  <c:v>#N/A</c:v>
                </c:pt>
                <c:pt idx="11818">
                  <c:v>#N/A</c:v>
                </c:pt>
                <c:pt idx="11819">
                  <c:v>#N/A</c:v>
                </c:pt>
                <c:pt idx="11820">
                  <c:v>#N/A</c:v>
                </c:pt>
                <c:pt idx="11821">
                  <c:v>#N/A</c:v>
                </c:pt>
                <c:pt idx="11822">
                  <c:v>#N/A</c:v>
                </c:pt>
                <c:pt idx="11823">
                  <c:v>#N/A</c:v>
                </c:pt>
                <c:pt idx="11824">
                  <c:v>#N/A</c:v>
                </c:pt>
                <c:pt idx="11825">
                  <c:v>#N/A</c:v>
                </c:pt>
                <c:pt idx="11826">
                  <c:v>#N/A</c:v>
                </c:pt>
                <c:pt idx="11827">
                  <c:v>#N/A</c:v>
                </c:pt>
                <c:pt idx="11828">
                  <c:v>#N/A</c:v>
                </c:pt>
                <c:pt idx="11829">
                  <c:v>#N/A</c:v>
                </c:pt>
                <c:pt idx="11830">
                  <c:v>#N/A</c:v>
                </c:pt>
                <c:pt idx="11831">
                  <c:v>#N/A</c:v>
                </c:pt>
                <c:pt idx="11832">
                  <c:v>#N/A</c:v>
                </c:pt>
                <c:pt idx="11833">
                  <c:v>#N/A</c:v>
                </c:pt>
                <c:pt idx="11834">
                  <c:v>#N/A</c:v>
                </c:pt>
                <c:pt idx="11835">
                  <c:v>#N/A</c:v>
                </c:pt>
                <c:pt idx="11836">
                  <c:v>#N/A</c:v>
                </c:pt>
                <c:pt idx="11837">
                  <c:v>#N/A</c:v>
                </c:pt>
                <c:pt idx="11838">
                  <c:v>#N/A</c:v>
                </c:pt>
                <c:pt idx="11839">
                  <c:v>#N/A</c:v>
                </c:pt>
                <c:pt idx="11840">
                  <c:v>#N/A</c:v>
                </c:pt>
                <c:pt idx="11841">
                  <c:v>#N/A</c:v>
                </c:pt>
                <c:pt idx="11842">
                  <c:v>#N/A</c:v>
                </c:pt>
                <c:pt idx="11843">
                  <c:v>#N/A</c:v>
                </c:pt>
                <c:pt idx="11844">
                  <c:v>#N/A</c:v>
                </c:pt>
                <c:pt idx="11845">
                  <c:v>#N/A</c:v>
                </c:pt>
                <c:pt idx="11846">
                  <c:v>#N/A</c:v>
                </c:pt>
                <c:pt idx="11847">
                  <c:v>#N/A</c:v>
                </c:pt>
                <c:pt idx="11848">
                  <c:v>#N/A</c:v>
                </c:pt>
                <c:pt idx="11849">
                  <c:v>#N/A</c:v>
                </c:pt>
                <c:pt idx="11850">
                  <c:v>#N/A</c:v>
                </c:pt>
                <c:pt idx="11851">
                  <c:v>#N/A</c:v>
                </c:pt>
                <c:pt idx="11852">
                  <c:v>#N/A</c:v>
                </c:pt>
                <c:pt idx="11853">
                  <c:v>#N/A</c:v>
                </c:pt>
                <c:pt idx="11854">
                  <c:v>#N/A</c:v>
                </c:pt>
                <c:pt idx="11855">
                  <c:v>#N/A</c:v>
                </c:pt>
                <c:pt idx="11856">
                  <c:v>#N/A</c:v>
                </c:pt>
                <c:pt idx="11857">
                  <c:v>#N/A</c:v>
                </c:pt>
                <c:pt idx="11858">
                  <c:v>#N/A</c:v>
                </c:pt>
                <c:pt idx="11859">
                  <c:v>#N/A</c:v>
                </c:pt>
                <c:pt idx="11860">
                  <c:v>#N/A</c:v>
                </c:pt>
                <c:pt idx="11861">
                  <c:v>#N/A</c:v>
                </c:pt>
                <c:pt idx="11862">
                  <c:v>#N/A</c:v>
                </c:pt>
                <c:pt idx="11863">
                  <c:v>#N/A</c:v>
                </c:pt>
                <c:pt idx="11864">
                  <c:v>#N/A</c:v>
                </c:pt>
                <c:pt idx="11865">
                  <c:v>#N/A</c:v>
                </c:pt>
                <c:pt idx="11866">
                  <c:v>#N/A</c:v>
                </c:pt>
                <c:pt idx="11867">
                  <c:v>#N/A</c:v>
                </c:pt>
                <c:pt idx="11868">
                  <c:v>#N/A</c:v>
                </c:pt>
                <c:pt idx="11869">
                  <c:v>#N/A</c:v>
                </c:pt>
                <c:pt idx="11870">
                  <c:v>#N/A</c:v>
                </c:pt>
                <c:pt idx="11871">
                  <c:v>#N/A</c:v>
                </c:pt>
                <c:pt idx="11872">
                  <c:v>#N/A</c:v>
                </c:pt>
                <c:pt idx="11873">
                  <c:v>#N/A</c:v>
                </c:pt>
                <c:pt idx="11874">
                  <c:v>#N/A</c:v>
                </c:pt>
                <c:pt idx="11875">
                  <c:v>#N/A</c:v>
                </c:pt>
                <c:pt idx="11876">
                  <c:v>#N/A</c:v>
                </c:pt>
                <c:pt idx="11877">
                  <c:v>#N/A</c:v>
                </c:pt>
                <c:pt idx="11878">
                  <c:v>#N/A</c:v>
                </c:pt>
                <c:pt idx="11879">
                  <c:v>#N/A</c:v>
                </c:pt>
                <c:pt idx="11880">
                  <c:v>#N/A</c:v>
                </c:pt>
                <c:pt idx="11881">
                  <c:v>#N/A</c:v>
                </c:pt>
                <c:pt idx="11882">
                  <c:v>#N/A</c:v>
                </c:pt>
                <c:pt idx="11883">
                  <c:v>#N/A</c:v>
                </c:pt>
                <c:pt idx="11884">
                  <c:v>#N/A</c:v>
                </c:pt>
                <c:pt idx="11885">
                  <c:v>#N/A</c:v>
                </c:pt>
                <c:pt idx="11886">
                  <c:v>#N/A</c:v>
                </c:pt>
                <c:pt idx="11887">
                  <c:v>#N/A</c:v>
                </c:pt>
                <c:pt idx="11888">
                  <c:v>#N/A</c:v>
                </c:pt>
                <c:pt idx="11889">
                  <c:v>#N/A</c:v>
                </c:pt>
                <c:pt idx="11890">
                  <c:v>#N/A</c:v>
                </c:pt>
                <c:pt idx="11891">
                  <c:v>#N/A</c:v>
                </c:pt>
                <c:pt idx="11892">
                  <c:v>#N/A</c:v>
                </c:pt>
                <c:pt idx="11893">
                  <c:v>#N/A</c:v>
                </c:pt>
                <c:pt idx="11894">
                  <c:v>#N/A</c:v>
                </c:pt>
                <c:pt idx="11895">
                  <c:v>#N/A</c:v>
                </c:pt>
                <c:pt idx="11896">
                  <c:v>#N/A</c:v>
                </c:pt>
                <c:pt idx="11897">
                  <c:v>#N/A</c:v>
                </c:pt>
                <c:pt idx="11898">
                  <c:v>#N/A</c:v>
                </c:pt>
                <c:pt idx="11899">
                  <c:v>#N/A</c:v>
                </c:pt>
                <c:pt idx="11900">
                  <c:v>#N/A</c:v>
                </c:pt>
                <c:pt idx="11901">
                  <c:v>#N/A</c:v>
                </c:pt>
                <c:pt idx="11902">
                  <c:v>#N/A</c:v>
                </c:pt>
                <c:pt idx="11903">
                  <c:v>#N/A</c:v>
                </c:pt>
                <c:pt idx="11904">
                  <c:v>#N/A</c:v>
                </c:pt>
                <c:pt idx="11905">
                  <c:v>#N/A</c:v>
                </c:pt>
                <c:pt idx="11906">
                  <c:v>#N/A</c:v>
                </c:pt>
                <c:pt idx="11907">
                  <c:v>#N/A</c:v>
                </c:pt>
                <c:pt idx="11908">
                  <c:v>#N/A</c:v>
                </c:pt>
                <c:pt idx="11909">
                  <c:v>#N/A</c:v>
                </c:pt>
                <c:pt idx="11910">
                  <c:v>#N/A</c:v>
                </c:pt>
                <c:pt idx="11911">
                  <c:v>#N/A</c:v>
                </c:pt>
                <c:pt idx="11912">
                  <c:v>#N/A</c:v>
                </c:pt>
                <c:pt idx="11913">
                  <c:v>#N/A</c:v>
                </c:pt>
                <c:pt idx="11914">
                  <c:v>#N/A</c:v>
                </c:pt>
                <c:pt idx="11915">
                  <c:v>#N/A</c:v>
                </c:pt>
                <c:pt idx="11916">
                  <c:v>#N/A</c:v>
                </c:pt>
                <c:pt idx="11917">
                  <c:v>#N/A</c:v>
                </c:pt>
                <c:pt idx="11918">
                  <c:v>#N/A</c:v>
                </c:pt>
                <c:pt idx="11919">
                  <c:v>#N/A</c:v>
                </c:pt>
                <c:pt idx="11920">
                  <c:v>#N/A</c:v>
                </c:pt>
                <c:pt idx="11921">
                  <c:v>#N/A</c:v>
                </c:pt>
                <c:pt idx="11922">
                  <c:v>#N/A</c:v>
                </c:pt>
                <c:pt idx="11923">
                  <c:v>#N/A</c:v>
                </c:pt>
                <c:pt idx="11924">
                  <c:v>#N/A</c:v>
                </c:pt>
                <c:pt idx="11925">
                  <c:v>#N/A</c:v>
                </c:pt>
                <c:pt idx="11926">
                  <c:v>#N/A</c:v>
                </c:pt>
                <c:pt idx="11927">
                  <c:v>#N/A</c:v>
                </c:pt>
                <c:pt idx="11928">
                  <c:v>#N/A</c:v>
                </c:pt>
                <c:pt idx="11929">
                  <c:v>#N/A</c:v>
                </c:pt>
                <c:pt idx="11930">
                  <c:v>#N/A</c:v>
                </c:pt>
                <c:pt idx="11931">
                  <c:v>#N/A</c:v>
                </c:pt>
                <c:pt idx="11932">
                  <c:v>#N/A</c:v>
                </c:pt>
                <c:pt idx="11933">
                  <c:v>#N/A</c:v>
                </c:pt>
                <c:pt idx="11934">
                  <c:v>#N/A</c:v>
                </c:pt>
                <c:pt idx="11935">
                  <c:v>#N/A</c:v>
                </c:pt>
                <c:pt idx="11936">
                  <c:v>#N/A</c:v>
                </c:pt>
                <c:pt idx="11937">
                  <c:v>#N/A</c:v>
                </c:pt>
                <c:pt idx="11938">
                  <c:v>#N/A</c:v>
                </c:pt>
                <c:pt idx="11939">
                  <c:v>#N/A</c:v>
                </c:pt>
                <c:pt idx="11940">
                  <c:v>#N/A</c:v>
                </c:pt>
                <c:pt idx="11941">
                  <c:v>#N/A</c:v>
                </c:pt>
                <c:pt idx="11942">
                  <c:v>#N/A</c:v>
                </c:pt>
                <c:pt idx="11943">
                  <c:v>#N/A</c:v>
                </c:pt>
                <c:pt idx="11944">
                  <c:v>#N/A</c:v>
                </c:pt>
                <c:pt idx="11945">
                  <c:v>#N/A</c:v>
                </c:pt>
                <c:pt idx="11946">
                  <c:v>#N/A</c:v>
                </c:pt>
                <c:pt idx="11947">
                  <c:v>#N/A</c:v>
                </c:pt>
                <c:pt idx="11948">
                  <c:v>#N/A</c:v>
                </c:pt>
                <c:pt idx="11949">
                  <c:v>#N/A</c:v>
                </c:pt>
                <c:pt idx="11950">
                  <c:v>#N/A</c:v>
                </c:pt>
                <c:pt idx="11951">
                  <c:v>#N/A</c:v>
                </c:pt>
                <c:pt idx="11952">
                  <c:v>#N/A</c:v>
                </c:pt>
                <c:pt idx="11953">
                  <c:v>#N/A</c:v>
                </c:pt>
                <c:pt idx="11954">
                  <c:v>#N/A</c:v>
                </c:pt>
                <c:pt idx="11955">
                  <c:v>#N/A</c:v>
                </c:pt>
                <c:pt idx="11956">
                  <c:v>#N/A</c:v>
                </c:pt>
                <c:pt idx="11957">
                  <c:v>#N/A</c:v>
                </c:pt>
                <c:pt idx="11958">
                  <c:v>#N/A</c:v>
                </c:pt>
                <c:pt idx="11959">
                  <c:v>#N/A</c:v>
                </c:pt>
                <c:pt idx="11960">
                  <c:v>#N/A</c:v>
                </c:pt>
                <c:pt idx="11961">
                  <c:v>#N/A</c:v>
                </c:pt>
                <c:pt idx="11962">
                  <c:v>#N/A</c:v>
                </c:pt>
                <c:pt idx="11963">
                  <c:v>#N/A</c:v>
                </c:pt>
                <c:pt idx="11964">
                  <c:v>#N/A</c:v>
                </c:pt>
                <c:pt idx="11965">
                  <c:v>#N/A</c:v>
                </c:pt>
                <c:pt idx="11966">
                  <c:v>#N/A</c:v>
                </c:pt>
                <c:pt idx="11967">
                  <c:v>#N/A</c:v>
                </c:pt>
                <c:pt idx="11968">
                  <c:v>#N/A</c:v>
                </c:pt>
                <c:pt idx="11969">
                  <c:v>#N/A</c:v>
                </c:pt>
                <c:pt idx="11970">
                  <c:v>#N/A</c:v>
                </c:pt>
                <c:pt idx="11971">
                  <c:v>#N/A</c:v>
                </c:pt>
                <c:pt idx="11972">
                  <c:v>#N/A</c:v>
                </c:pt>
                <c:pt idx="11973">
                  <c:v>#N/A</c:v>
                </c:pt>
                <c:pt idx="11974">
                  <c:v>#N/A</c:v>
                </c:pt>
                <c:pt idx="11975">
                  <c:v>#N/A</c:v>
                </c:pt>
                <c:pt idx="11976">
                  <c:v>#N/A</c:v>
                </c:pt>
                <c:pt idx="11977">
                  <c:v>#N/A</c:v>
                </c:pt>
                <c:pt idx="11978">
                  <c:v>#N/A</c:v>
                </c:pt>
                <c:pt idx="11979">
                  <c:v>#N/A</c:v>
                </c:pt>
                <c:pt idx="11980">
                  <c:v>#N/A</c:v>
                </c:pt>
                <c:pt idx="11981">
                  <c:v>#N/A</c:v>
                </c:pt>
                <c:pt idx="11982">
                  <c:v>#N/A</c:v>
                </c:pt>
                <c:pt idx="11983">
                  <c:v>#N/A</c:v>
                </c:pt>
                <c:pt idx="11984">
                  <c:v>#N/A</c:v>
                </c:pt>
                <c:pt idx="11985">
                  <c:v>#N/A</c:v>
                </c:pt>
                <c:pt idx="11986">
                  <c:v>#N/A</c:v>
                </c:pt>
                <c:pt idx="11987">
                  <c:v>#N/A</c:v>
                </c:pt>
                <c:pt idx="11988">
                  <c:v>#N/A</c:v>
                </c:pt>
                <c:pt idx="11989">
                  <c:v>#N/A</c:v>
                </c:pt>
                <c:pt idx="11990">
                  <c:v>#N/A</c:v>
                </c:pt>
                <c:pt idx="11991">
                  <c:v>#N/A</c:v>
                </c:pt>
                <c:pt idx="11992">
                  <c:v>#N/A</c:v>
                </c:pt>
                <c:pt idx="11993">
                  <c:v>#N/A</c:v>
                </c:pt>
                <c:pt idx="11994">
                  <c:v>#N/A</c:v>
                </c:pt>
                <c:pt idx="11995">
                  <c:v>#N/A</c:v>
                </c:pt>
                <c:pt idx="11996">
                  <c:v>#N/A</c:v>
                </c:pt>
                <c:pt idx="11997">
                  <c:v>#N/A</c:v>
                </c:pt>
                <c:pt idx="11998">
                  <c:v>#N/A</c:v>
                </c:pt>
                <c:pt idx="11999">
                  <c:v>#N/A</c:v>
                </c:pt>
                <c:pt idx="12000">
                  <c:v>#N/A</c:v>
                </c:pt>
                <c:pt idx="12001">
                  <c:v>#N/A</c:v>
                </c:pt>
                <c:pt idx="12002">
                  <c:v>#N/A</c:v>
                </c:pt>
                <c:pt idx="12003">
                  <c:v>#N/A</c:v>
                </c:pt>
                <c:pt idx="12004">
                  <c:v>#N/A</c:v>
                </c:pt>
                <c:pt idx="12005">
                  <c:v>#N/A</c:v>
                </c:pt>
                <c:pt idx="12006">
                  <c:v>#N/A</c:v>
                </c:pt>
                <c:pt idx="12007">
                  <c:v>#N/A</c:v>
                </c:pt>
                <c:pt idx="12008">
                  <c:v>#N/A</c:v>
                </c:pt>
                <c:pt idx="12009">
                  <c:v>#N/A</c:v>
                </c:pt>
                <c:pt idx="12010">
                  <c:v>#N/A</c:v>
                </c:pt>
                <c:pt idx="12011">
                  <c:v>#N/A</c:v>
                </c:pt>
                <c:pt idx="12012">
                  <c:v>#N/A</c:v>
                </c:pt>
                <c:pt idx="12013">
                  <c:v>#N/A</c:v>
                </c:pt>
                <c:pt idx="12014">
                  <c:v>#N/A</c:v>
                </c:pt>
                <c:pt idx="12015">
                  <c:v>#N/A</c:v>
                </c:pt>
                <c:pt idx="12016">
                  <c:v>#N/A</c:v>
                </c:pt>
                <c:pt idx="12017">
                  <c:v>#N/A</c:v>
                </c:pt>
                <c:pt idx="12018">
                  <c:v>#N/A</c:v>
                </c:pt>
                <c:pt idx="12019">
                  <c:v>#N/A</c:v>
                </c:pt>
                <c:pt idx="12020">
                  <c:v>#N/A</c:v>
                </c:pt>
                <c:pt idx="12021">
                  <c:v>#N/A</c:v>
                </c:pt>
                <c:pt idx="12022">
                  <c:v>#N/A</c:v>
                </c:pt>
                <c:pt idx="12023">
                  <c:v>#N/A</c:v>
                </c:pt>
                <c:pt idx="12024">
                  <c:v>#N/A</c:v>
                </c:pt>
                <c:pt idx="12025">
                  <c:v>#N/A</c:v>
                </c:pt>
                <c:pt idx="12026">
                  <c:v>#N/A</c:v>
                </c:pt>
                <c:pt idx="12027">
                  <c:v>#N/A</c:v>
                </c:pt>
                <c:pt idx="12028">
                  <c:v>#N/A</c:v>
                </c:pt>
                <c:pt idx="12029">
                  <c:v>#N/A</c:v>
                </c:pt>
                <c:pt idx="12030">
                  <c:v>#N/A</c:v>
                </c:pt>
                <c:pt idx="12031">
                  <c:v>#N/A</c:v>
                </c:pt>
                <c:pt idx="12032">
                  <c:v>#N/A</c:v>
                </c:pt>
                <c:pt idx="12033">
                  <c:v>#N/A</c:v>
                </c:pt>
                <c:pt idx="12034">
                  <c:v>#N/A</c:v>
                </c:pt>
                <c:pt idx="12035">
                  <c:v>#N/A</c:v>
                </c:pt>
                <c:pt idx="12036">
                  <c:v>#N/A</c:v>
                </c:pt>
                <c:pt idx="12037">
                  <c:v>#N/A</c:v>
                </c:pt>
                <c:pt idx="12038">
                  <c:v>#N/A</c:v>
                </c:pt>
                <c:pt idx="12039">
                  <c:v>#N/A</c:v>
                </c:pt>
                <c:pt idx="12040">
                  <c:v>#N/A</c:v>
                </c:pt>
                <c:pt idx="12041">
                  <c:v>#N/A</c:v>
                </c:pt>
                <c:pt idx="12042">
                  <c:v>#N/A</c:v>
                </c:pt>
                <c:pt idx="12043">
                  <c:v>#N/A</c:v>
                </c:pt>
                <c:pt idx="12044">
                  <c:v>#N/A</c:v>
                </c:pt>
                <c:pt idx="12045">
                  <c:v>#N/A</c:v>
                </c:pt>
                <c:pt idx="12046">
                  <c:v>#N/A</c:v>
                </c:pt>
                <c:pt idx="12047">
                  <c:v>#N/A</c:v>
                </c:pt>
                <c:pt idx="12048">
                  <c:v>#N/A</c:v>
                </c:pt>
                <c:pt idx="12049">
                  <c:v>#N/A</c:v>
                </c:pt>
                <c:pt idx="12050">
                  <c:v>#N/A</c:v>
                </c:pt>
                <c:pt idx="12051">
                  <c:v>#N/A</c:v>
                </c:pt>
                <c:pt idx="12052">
                  <c:v>#N/A</c:v>
                </c:pt>
                <c:pt idx="12053">
                  <c:v>#N/A</c:v>
                </c:pt>
                <c:pt idx="12054">
                  <c:v>#N/A</c:v>
                </c:pt>
                <c:pt idx="12055">
                  <c:v>#N/A</c:v>
                </c:pt>
                <c:pt idx="12056">
                  <c:v>#N/A</c:v>
                </c:pt>
                <c:pt idx="12057">
                  <c:v>#N/A</c:v>
                </c:pt>
                <c:pt idx="12058">
                  <c:v>#N/A</c:v>
                </c:pt>
                <c:pt idx="12059">
                  <c:v>#N/A</c:v>
                </c:pt>
                <c:pt idx="12060">
                  <c:v>#N/A</c:v>
                </c:pt>
                <c:pt idx="12061">
                  <c:v>#N/A</c:v>
                </c:pt>
                <c:pt idx="12062">
                  <c:v>#N/A</c:v>
                </c:pt>
                <c:pt idx="12063">
                  <c:v>#N/A</c:v>
                </c:pt>
                <c:pt idx="12064">
                  <c:v>#N/A</c:v>
                </c:pt>
                <c:pt idx="12065">
                  <c:v>#N/A</c:v>
                </c:pt>
                <c:pt idx="12066">
                  <c:v>#N/A</c:v>
                </c:pt>
                <c:pt idx="12067">
                  <c:v>#N/A</c:v>
                </c:pt>
                <c:pt idx="12068">
                  <c:v>#N/A</c:v>
                </c:pt>
                <c:pt idx="12069">
                  <c:v>#N/A</c:v>
                </c:pt>
                <c:pt idx="12070">
                  <c:v>#N/A</c:v>
                </c:pt>
                <c:pt idx="12071">
                  <c:v>#N/A</c:v>
                </c:pt>
                <c:pt idx="12072">
                  <c:v>#N/A</c:v>
                </c:pt>
                <c:pt idx="12073">
                  <c:v>#N/A</c:v>
                </c:pt>
                <c:pt idx="12074">
                  <c:v>#N/A</c:v>
                </c:pt>
                <c:pt idx="12075">
                  <c:v>#N/A</c:v>
                </c:pt>
                <c:pt idx="12076">
                  <c:v>#N/A</c:v>
                </c:pt>
                <c:pt idx="12077">
                  <c:v>#N/A</c:v>
                </c:pt>
                <c:pt idx="12078">
                  <c:v>#N/A</c:v>
                </c:pt>
                <c:pt idx="12079">
                  <c:v>#N/A</c:v>
                </c:pt>
                <c:pt idx="12080">
                  <c:v>#N/A</c:v>
                </c:pt>
                <c:pt idx="12081">
                  <c:v>#N/A</c:v>
                </c:pt>
                <c:pt idx="12082">
                  <c:v>#N/A</c:v>
                </c:pt>
                <c:pt idx="12083">
                  <c:v>#N/A</c:v>
                </c:pt>
                <c:pt idx="12084">
                  <c:v>#N/A</c:v>
                </c:pt>
                <c:pt idx="12085">
                  <c:v>#N/A</c:v>
                </c:pt>
                <c:pt idx="12086">
                  <c:v>#N/A</c:v>
                </c:pt>
                <c:pt idx="12087">
                  <c:v>#N/A</c:v>
                </c:pt>
                <c:pt idx="12088">
                  <c:v>#N/A</c:v>
                </c:pt>
                <c:pt idx="12089">
                  <c:v>#N/A</c:v>
                </c:pt>
                <c:pt idx="12090">
                  <c:v>#N/A</c:v>
                </c:pt>
                <c:pt idx="12091">
                  <c:v>#N/A</c:v>
                </c:pt>
                <c:pt idx="12092">
                  <c:v>#N/A</c:v>
                </c:pt>
                <c:pt idx="12093">
                  <c:v>#N/A</c:v>
                </c:pt>
                <c:pt idx="12094">
                  <c:v>#N/A</c:v>
                </c:pt>
                <c:pt idx="12095">
                  <c:v>#N/A</c:v>
                </c:pt>
                <c:pt idx="12096">
                  <c:v>#N/A</c:v>
                </c:pt>
                <c:pt idx="12097">
                  <c:v>#N/A</c:v>
                </c:pt>
                <c:pt idx="12098">
                  <c:v>#N/A</c:v>
                </c:pt>
                <c:pt idx="12099">
                  <c:v>#N/A</c:v>
                </c:pt>
                <c:pt idx="12100">
                  <c:v>#N/A</c:v>
                </c:pt>
                <c:pt idx="12101">
                  <c:v>#N/A</c:v>
                </c:pt>
                <c:pt idx="12102">
                  <c:v>#N/A</c:v>
                </c:pt>
                <c:pt idx="12103">
                  <c:v>#N/A</c:v>
                </c:pt>
                <c:pt idx="12104">
                  <c:v>#N/A</c:v>
                </c:pt>
                <c:pt idx="12105">
                  <c:v>#N/A</c:v>
                </c:pt>
                <c:pt idx="12106">
                  <c:v>#N/A</c:v>
                </c:pt>
                <c:pt idx="12107">
                  <c:v>#N/A</c:v>
                </c:pt>
                <c:pt idx="12108">
                  <c:v>#N/A</c:v>
                </c:pt>
                <c:pt idx="12109">
                  <c:v>#N/A</c:v>
                </c:pt>
                <c:pt idx="12110">
                  <c:v>#N/A</c:v>
                </c:pt>
                <c:pt idx="12111">
                  <c:v>#N/A</c:v>
                </c:pt>
                <c:pt idx="12112">
                  <c:v>#N/A</c:v>
                </c:pt>
                <c:pt idx="12113">
                  <c:v>#N/A</c:v>
                </c:pt>
                <c:pt idx="12114">
                  <c:v>#N/A</c:v>
                </c:pt>
                <c:pt idx="12115">
                  <c:v>#N/A</c:v>
                </c:pt>
                <c:pt idx="12116">
                  <c:v>#N/A</c:v>
                </c:pt>
                <c:pt idx="12117">
                  <c:v>#N/A</c:v>
                </c:pt>
                <c:pt idx="12118">
                  <c:v>#N/A</c:v>
                </c:pt>
                <c:pt idx="12119">
                  <c:v>#N/A</c:v>
                </c:pt>
                <c:pt idx="12120">
                  <c:v>#N/A</c:v>
                </c:pt>
                <c:pt idx="12121">
                  <c:v>#N/A</c:v>
                </c:pt>
                <c:pt idx="12122">
                  <c:v>#N/A</c:v>
                </c:pt>
                <c:pt idx="12123">
                  <c:v>#N/A</c:v>
                </c:pt>
                <c:pt idx="12124">
                  <c:v>#N/A</c:v>
                </c:pt>
                <c:pt idx="12125">
                  <c:v>#N/A</c:v>
                </c:pt>
                <c:pt idx="12126">
                  <c:v>#N/A</c:v>
                </c:pt>
                <c:pt idx="12127">
                  <c:v>#N/A</c:v>
                </c:pt>
                <c:pt idx="12128">
                  <c:v>#N/A</c:v>
                </c:pt>
                <c:pt idx="12129">
                  <c:v>#N/A</c:v>
                </c:pt>
                <c:pt idx="12130">
                  <c:v>#N/A</c:v>
                </c:pt>
                <c:pt idx="12131">
                  <c:v>#N/A</c:v>
                </c:pt>
                <c:pt idx="12132">
                  <c:v>#N/A</c:v>
                </c:pt>
                <c:pt idx="12133">
                  <c:v>#N/A</c:v>
                </c:pt>
                <c:pt idx="12134">
                  <c:v>#N/A</c:v>
                </c:pt>
                <c:pt idx="12135">
                  <c:v>#N/A</c:v>
                </c:pt>
                <c:pt idx="12136">
                  <c:v>#N/A</c:v>
                </c:pt>
                <c:pt idx="12137">
                  <c:v>#N/A</c:v>
                </c:pt>
                <c:pt idx="12138">
                  <c:v>#N/A</c:v>
                </c:pt>
                <c:pt idx="12139">
                  <c:v>#N/A</c:v>
                </c:pt>
                <c:pt idx="12140">
                  <c:v>#N/A</c:v>
                </c:pt>
                <c:pt idx="12141">
                  <c:v>#N/A</c:v>
                </c:pt>
                <c:pt idx="12142">
                  <c:v>#N/A</c:v>
                </c:pt>
                <c:pt idx="12143">
                  <c:v>#N/A</c:v>
                </c:pt>
                <c:pt idx="12144">
                  <c:v>#N/A</c:v>
                </c:pt>
                <c:pt idx="12145">
                  <c:v>#N/A</c:v>
                </c:pt>
                <c:pt idx="12146">
                  <c:v>#N/A</c:v>
                </c:pt>
                <c:pt idx="12147">
                  <c:v>#N/A</c:v>
                </c:pt>
                <c:pt idx="12148">
                  <c:v>#N/A</c:v>
                </c:pt>
                <c:pt idx="12149">
                  <c:v>#N/A</c:v>
                </c:pt>
                <c:pt idx="12150">
                  <c:v>#N/A</c:v>
                </c:pt>
                <c:pt idx="12151">
                  <c:v>#N/A</c:v>
                </c:pt>
                <c:pt idx="12152">
                  <c:v>#N/A</c:v>
                </c:pt>
                <c:pt idx="12153">
                  <c:v>#N/A</c:v>
                </c:pt>
                <c:pt idx="12154">
                  <c:v>#N/A</c:v>
                </c:pt>
                <c:pt idx="12155">
                  <c:v>#N/A</c:v>
                </c:pt>
                <c:pt idx="12156">
                  <c:v>#N/A</c:v>
                </c:pt>
                <c:pt idx="12157">
                  <c:v>#N/A</c:v>
                </c:pt>
                <c:pt idx="12158">
                  <c:v>#N/A</c:v>
                </c:pt>
                <c:pt idx="12159">
                  <c:v>#N/A</c:v>
                </c:pt>
                <c:pt idx="12160">
                  <c:v>#N/A</c:v>
                </c:pt>
                <c:pt idx="12161">
                  <c:v>#N/A</c:v>
                </c:pt>
                <c:pt idx="12162">
                  <c:v>#N/A</c:v>
                </c:pt>
                <c:pt idx="12163">
                  <c:v>#N/A</c:v>
                </c:pt>
                <c:pt idx="12164">
                  <c:v>#N/A</c:v>
                </c:pt>
                <c:pt idx="12165">
                  <c:v>#N/A</c:v>
                </c:pt>
                <c:pt idx="12166">
                  <c:v>#N/A</c:v>
                </c:pt>
                <c:pt idx="12167">
                  <c:v>#N/A</c:v>
                </c:pt>
                <c:pt idx="12168">
                  <c:v>#N/A</c:v>
                </c:pt>
                <c:pt idx="12169">
                  <c:v>#N/A</c:v>
                </c:pt>
                <c:pt idx="12170">
                  <c:v>#N/A</c:v>
                </c:pt>
                <c:pt idx="12171">
                  <c:v>#N/A</c:v>
                </c:pt>
                <c:pt idx="12172">
                  <c:v>#N/A</c:v>
                </c:pt>
                <c:pt idx="12173">
                  <c:v>#N/A</c:v>
                </c:pt>
                <c:pt idx="12174">
                  <c:v>#N/A</c:v>
                </c:pt>
                <c:pt idx="12175">
                  <c:v>#N/A</c:v>
                </c:pt>
                <c:pt idx="12176">
                  <c:v>#N/A</c:v>
                </c:pt>
                <c:pt idx="12177">
                  <c:v>#N/A</c:v>
                </c:pt>
                <c:pt idx="12178">
                  <c:v>#N/A</c:v>
                </c:pt>
                <c:pt idx="12179">
                  <c:v>#N/A</c:v>
                </c:pt>
                <c:pt idx="12180">
                  <c:v>#N/A</c:v>
                </c:pt>
                <c:pt idx="12181">
                  <c:v>#N/A</c:v>
                </c:pt>
                <c:pt idx="12182">
                  <c:v>#N/A</c:v>
                </c:pt>
                <c:pt idx="12183">
                  <c:v>#N/A</c:v>
                </c:pt>
                <c:pt idx="12184">
                  <c:v>#N/A</c:v>
                </c:pt>
                <c:pt idx="12185">
                  <c:v>#N/A</c:v>
                </c:pt>
                <c:pt idx="12186">
                  <c:v>#N/A</c:v>
                </c:pt>
                <c:pt idx="12187">
                  <c:v>#N/A</c:v>
                </c:pt>
                <c:pt idx="12188">
                  <c:v>#N/A</c:v>
                </c:pt>
                <c:pt idx="12189">
                  <c:v>#N/A</c:v>
                </c:pt>
                <c:pt idx="12190">
                  <c:v>#N/A</c:v>
                </c:pt>
                <c:pt idx="12191">
                  <c:v>#N/A</c:v>
                </c:pt>
                <c:pt idx="12192">
                  <c:v>#N/A</c:v>
                </c:pt>
                <c:pt idx="12193">
                  <c:v>#N/A</c:v>
                </c:pt>
                <c:pt idx="12194">
                  <c:v>#N/A</c:v>
                </c:pt>
                <c:pt idx="12195">
                  <c:v>#N/A</c:v>
                </c:pt>
                <c:pt idx="12196">
                  <c:v>#N/A</c:v>
                </c:pt>
                <c:pt idx="12197">
                  <c:v>#N/A</c:v>
                </c:pt>
                <c:pt idx="12198">
                  <c:v>#N/A</c:v>
                </c:pt>
                <c:pt idx="12199">
                  <c:v>#N/A</c:v>
                </c:pt>
                <c:pt idx="12200">
                  <c:v>#N/A</c:v>
                </c:pt>
                <c:pt idx="12201">
                  <c:v>#N/A</c:v>
                </c:pt>
                <c:pt idx="12202">
                  <c:v>#N/A</c:v>
                </c:pt>
                <c:pt idx="12203">
                  <c:v>#N/A</c:v>
                </c:pt>
                <c:pt idx="12204">
                  <c:v>#N/A</c:v>
                </c:pt>
                <c:pt idx="12205">
                  <c:v>#N/A</c:v>
                </c:pt>
                <c:pt idx="12206">
                  <c:v>#N/A</c:v>
                </c:pt>
                <c:pt idx="12207">
                  <c:v>#N/A</c:v>
                </c:pt>
                <c:pt idx="12208">
                  <c:v>#N/A</c:v>
                </c:pt>
                <c:pt idx="12209">
                  <c:v>#N/A</c:v>
                </c:pt>
                <c:pt idx="12210">
                  <c:v>#N/A</c:v>
                </c:pt>
                <c:pt idx="12211">
                  <c:v>#N/A</c:v>
                </c:pt>
                <c:pt idx="12212">
                  <c:v>#N/A</c:v>
                </c:pt>
                <c:pt idx="12213">
                  <c:v>#N/A</c:v>
                </c:pt>
                <c:pt idx="12214">
                  <c:v>#N/A</c:v>
                </c:pt>
                <c:pt idx="12215">
                  <c:v>#N/A</c:v>
                </c:pt>
                <c:pt idx="12216">
                  <c:v>#N/A</c:v>
                </c:pt>
                <c:pt idx="12217">
                  <c:v>#N/A</c:v>
                </c:pt>
                <c:pt idx="12218">
                  <c:v>#N/A</c:v>
                </c:pt>
                <c:pt idx="12219">
                  <c:v>#N/A</c:v>
                </c:pt>
                <c:pt idx="12220">
                  <c:v>#N/A</c:v>
                </c:pt>
                <c:pt idx="12221">
                  <c:v>#N/A</c:v>
                </c:pt>
                <c:pt idx="12222">
                  <c:v>#N/A</c:v>
                </c:pt>
                <c:pt idx="12223">
                  <c:v>#N/A</c:v>
                </c:pt>
                <c:pt idx="12224">
                  <c:v>#N/A</c:v>
                </c:pt>
                <c:pt idx="12225">
                  <c:v>#N/A</c:v>
                </c:pt>
                <c:pt idx="12226">
                  <c:v>#N/A</c:v>
                </c:pt>
                <c:pt idx="12227">
                  <c:v>#N/A</c:v>
                </c:pt>
                <c:pt idx="12228">
                  <c:v>#N/A</c:v>
                </c:pt>
                <c:pt idx="12229">
                  <c:v>#N/A</c:v>
                </c:pt>
                <c:pt idx="12230">
                  <c:v>#N/A</c:v>
                </c:pt>
                <c:pt idx="12231">
                  <c:v>#N/A</c:v>
                </c:pt>
                <c:pt idx="12232">
                  <c:v>#N/A</c:v>
                </c:pt>
                <c:pt idx="12233">
                  <c:v>#N/A</c:v>
                </c:pt>
                <c:pt idx="12234">
                  <c:v>#N/A</c:v>
                </c:pt>
                <c:pt idx="12235">
                  <c:v>#N/A</c:v>
                </c:pt>
                <c:pt idx="12236">
                  <c:v>#N/A</c:v>
                </c:pt>
                <c:pt idx="12237">
                  <c:v>#N/A</c:v>
                </c:pt>
                <c:pt idx="12238">
                  <c:v>#N/A</c:v>
                </c:pt>
                <c:pt idx="12239">
                  <c:v>#N/A</c:v>
                </c:pt>
                <c:pt idx="12240">
                  <c:v>#N/A</c:v>
                </c:pt>
                <c:pt idx="12241">
                  <c:v>#N/A</c:v>
                </c:pt>
                <c:pt idx="12242">
                  <c:v>#N/A</c:v>
                </c:pt>
                <c:pt idx="12243">
                  <c:v>#N/A</c:v>
                </c:pt>
                <c:pt idx="12244">
                  <c:v>6.1945205479452055</c:v>
                </c:pt>
                <c:pt idx="12245">
                  <c:v>#N/A</c:v>
                </c:pt>
                <c:pt idx="12246">
                  <c:v>#N/A</c:v>
                </c:pt>
                <c:pt idx="12247">
                  <c:v>#N/A</c:v>
                </c:pt>
                <c:pt idx="12248">
                  <c:v>#N/A</c:v>
                </c:pt>
                <c:pt idx="12249">
                  <c:v>#N/A</c:v>
                </c:pt>
                <c:pt idx="12250">
                  <c:v>#N/A</c:v>
                </c:pt>
                <c:pt idx="12251">
                  <c:v>#N/A</c:v>
                </c:pt>
                <c:pt idx="12252">
                  <c:v>#N/A</c:v>
                </c:pt>
                <c:pt idx="12253">
                  <c:v>#N/A</c:v>
                </c:pt>
                <c:pt idx="12254">
                  <c:v>#N/A</c:v>
                </c:pt>
                <c:pt idx="12255">
                  <c:v>#N/A</c:v>
                </c:pt>
                <c:pt idx="12256">
                  <c:v>#N/A</c:v>
                </c:pt>
                <c:pt idx="12257">
                  <c:v>#N/A</c:v>
                </c:pt>
                <c:pt idx="12258">
                  <c:v>#N/A</c:v>
                </c:pt>
                <c:pt idx="12259">
                  <c:v>#N/A</c:v>
                </c:pt>
                <c:pt idx="12260">
                  <c:v>#N/A</c:v>
                </c:pt>
                <c:pt idx="12261">
                  <c:v>#N/A</c:v>
                </c:pt>
                <c:pt idx="12262">
                  <c:v>#N/A</c:v>
                </c:pt>
                <c:pt idx="12263">
                  <c:v>#N/A</c:v>
                </c:pt>
                <c:pt idx="12264">
                  <c:v>#N/A</c:v>
                </c:pt>
                <c:pt idx="12265">
                  <c:v>#N/A</c:v>
                </c:pt>
                <c:pt idx="12266">
                  <c:v>#N/A</c:v>
                </c:pt>
                <c:pt idx="12267">
                  <c:v>#N/A</c:v>
                </c:pt>
                <c:pt idx="12268">
                  <c:v>#N/A</c:v>
                </c:pt>
                <c:pt idx="12269">
                  <c:v>#N/A</c:v>
                </c:pt>
                <c:pt idx="12270">
                  <c:v>#N/A</c:v>
                </c:pt>
                <c:pt idx="12271">
                  <c:v>#N/A</c:v>
                </c:pt>
                <c:pt idx="12272">
                  <c:v>#N/A</c:v>
                </c:pt>
                <c:pt idx="12273">
                  <c:v>#N/A</c:v>
                </c:pt>
                <c:pt idx="12274">
                  <c:v>#N/A</c:v>
                </c:pt>
                <c:pt idx="12275">
                  <c:v>#N/A</c:v>
                </c:pt>
                <c:pt idx="12276">
                  <c:v>#N/A</c:v>
                </c:pt>
                <c:pt idx="12277">
                  <c:v>#N/A</c:v>
                </c:pt>
                <c:pt idx="12278">
                  <c:v>#N/A</c:v>
                </c:pt>
                <c:pt idx="12279">
                  <c:v>#N/A</c:v>
                </c:pt>
                <c:pt idx="12280">
                  <c:v>#N/A</c:v>
                </c:pt>
                <c:pt idx="12281">
                  <c:v>#N/A</c:v>
                </c:pt>
                <c:pt idx="12282">
                  <c:v>#N/A</c:v>
                </c:pt>
                <c:pt idx="12283">
                  <c:v>#N/A</c:v>
                </c:pt>
                <c:pt idx="12284">
                  <c:v>#N/A</c:v>
                </c:pt>
                <c:pt idx="12285">
                  <c:v>#N/A</c:v>
                </c:pt>
                <c:pt idx="12286">
                  <c:v>#N/A</c:v>
                </c:pt>
                <c:pt idx="12287">
                  <c:v>#N/A</c:v>
                </c:pt>
                <c:pt idx="12288">
                  <c:v>#N/A</c:v>
                </c:pt>
                <c:pt idx="12289">
                  <c:v>#N/A</c:v>
                </c:pt>
                <c:pt idx="12290">
                  <c:v>#N/A</c:v>
                </c:pt>
                <c:pt idx="12291">
                  <c:v>#N/A</c:v>
                </c:pt>
                <c:pt idx="12292">
                  <c:v>#N/A</c:v>
                </c:pt>
                <c:pt idx="12293">
                  <c:v>#N/A</c:v>
                </c:pt>
                <c:pt idx="12294">
                  <c:v>#N/A</c:v>
                </c:pt>
                <c:pt idx="12295">
                  <c:v>#N/A</c:v>
                </c:pt>
                <c:pt idx="12296">
                  <c:v>#N/A</c:v>
                </c:pt>
                <c:pt idx="12297">
                  <c:v>#N/A</c:v>
                </c:pt>
                <c:pt idx="12298">
                  <c:v>#N/A</c:v>
                </c:pt>
                <c:pt idx="12299">
                  <c:v>#N/A</c:v>
                </c:pt>
                <c:pt idx="12300">
                  <c:v>#N/A</c:v>
                </c:pt>
                <c:pt idx="12301">
                  <c:v>#N/A</c:v>
                </c:pt>
                <c:pt idx="12302">
                  <c:v>#N/A</c:v>
                </c:pt>
                <c:pt idx="12303">
                  <c:v>#N/A</c:v>
                </c:pt>
                <c:pt idx="12304">
                  <c:v>#N/A</c:v>
                </c:pt>
                <c:pt idx="12305">
                  <c:v>#N/A</c:v>
                </c:pt>
                <c:pt idx="12306">
                  <c:v>#N/A</c:v>
                </c:pt>
                <c:pt idx="12307">
                  <c:v>#N/A</c:v>
                </c:pt>
                <c:pt idx="12308">
                  <c:v>#N/A</c:v>
                </c:pt>
                <c:pt idx="12309">
                  <c:v>#N/A</c:v>
                </c:pt>
                <c:pt idx="12310">
                  <c:v>#N/A</c:v>
                </c:pt>
                <c:pt idx="12311">
                  <c:v>#N/A</c:v>
                </c:pt>
                <c:pt idx="12312">
                  <c:v>#N/A</c:v>
                </c:pt>
                <c:pt idx="12313">
                  <c:v>#N/A</c:v>
                </c:pt>
                <c:pt idx="12314">
                  <c:v>#N/A</c:v>
                </c:pt>
                <c:pt idx="12315">
                  <c:v>#N/A</c:v>
                </c:pt>
                <c:pt idx="12316">
                  <c:v>#N/A</c:v>
                </c:pt>
                <c:pt idx="12317">
                  <c:v>#N/A</c:v>
                </c:pt>
                <c:pt idx="12318">
                  <c:v>#N/A</c:v>
                </c:pt>
                <c:pt idx="12319">
                  <c:v>#N/A</c:v>
                </c:pt>
                <c:pt idx="12320">
                  <c:v>#N/A</c:v>
                </c:pt>
                <c:pt idx="12321">
                  <c:v>#N/A</c:v>
                </c:pt>
                <c:pt idx="12322">
                  <c:v>#N/A</c:v>
                </c:pt>
                <c:pt idx="12323">
                  <c:v>#N/A</c:v>
                </c:pt>
                <c:pt idx="12324">
                  <c:v>#N/A</c:v>
                </c:pt>
                <c:pt idx="12325">
                  <c:v>#N/A</c:v>
                </c:pt>
                <c:pt idx="12326">
                  <c:v>#N/A</c:v>
                </c:pt>
                <c:pt idx="12327">
                  <c:v>#N/A</c:v>
                </c:pt>
                <c:pt idx="12328">
                  <c:v>#N/A</c:v>
                </c:pt>
                <c:pt idx="12329">
                  <c:v>#N/A</c:v>
                </c:pt>
                <c:pt idx="12330">
                  <c:v>#N/A</c:v>
                </c:pt>
                <c:pt idx="12331">
                  <c:v>#N/A</c:v>
                </c:pt>
                <c:pt idx="12332">
                  <c:v>#N/A</c:v>
                </c:pt>
                <c:pt idx="12333">
                  <c:v>#N/A</c:v>
                </c:pt>
                <c:pt idx="12334">
                  <c:v>#N/A</c:v>
                </c:pt>
                <c:pt idx="12335">
                  <c:v>#N/A</c:v>
                </c:pt>
                <c:pt idx="12336">
                  <c:v>#N/A</c:v>
                </c:pt>
                <c:pt idx="12337">
                  <c:v>#N/A</c:v>
                </c:pt>
                <c:pt idx="12338">
                  <c:v>#N/A</c:v>
                </c:pt>
                <c:pt idx="12339">
                  <c:v>#N/A</c:v>
                </c:pt>
                <c:pt idx="12340">
                  <c:v>#N/A</c:v>
                </c:pt>
                <c:pt idx="12341">
                  <c:v>#N/A</c:v>
                </c:pt>
                <c:pt idx="12342">
                  <c:v>#N/A</c:v>
                </c:pt>
                <c:pt idx="12343">
                  <c:v>#N/A</c:v>
                </c:pt>
                <c:pt idx="12344">
                  <c:v>#N/A</c:v>
                </c:pt>
                <c:pt idx="12345">
                  <c:v>#N/A</c:v>
                </c:pt>
                <c:pt idx="12346">
                  <c:v>#N/A</c:v>
                </c:pt>
                <c:pt idx="12347">
                  <c:v>#N/A</c:v>
                </c:pt>
                <c:pt idx="12348">
                  <c:v>#N/A</c:v>
                </c:pt>
                <c:pt idx="12349">
                  <c:v>#N/A</c:v>
                </c:pt>
                <c:pt idx="12350">
                  <c:v>#N/A</c:v>
                </c:pt>
                <c:pt idx="12351">
                  <c:v>#N/A</c:v>
                </c:pt>
                <c:pt idx="12352">
                  <c:v>#N/A</c:v>
                </c:pt>
                <c:pt idx="12353">
                  <c:v>#N/A</c:v>
                </c:pt>
                <c:pt idx="12354">
                  <c:v>#N/A</c:v>
                </c:pt>
                <c:pt idx="12355">
                  <c:v>#N/A</c:v>
                </c:pt>
                <c:pt idx="12356">
                  <c:v>#N/A</c:v>
                </c:pt>
                <c:pt idx="12357">
                  <c:v>#N/A</c:v>
                </c:pt>
                <c:pt idx="12358">
                  <c:v>#N/A</c:v>
                </c:pt>
                <c:pt idx="12359">
                  <c:v>#N/A</c:v>
                </c:pt>
                <c:pt idx="12360">
                  <c:v>#N/A</c:v>
                </c:pt>
                <c:pt idx="12361">
                  <c:v>#N/A</c:v>
                </c:pt>
                <c:pt idx="12362">
                  <c:v>#N/A</c:v>
                </c:pt>
                <c:pt idx="12363">
                  <c:v>#N/A</c:v>
                </c:pt>
                <c:pt idx="12364">
                  <c:v>#N/A</c:v>
                </c:pt>
                <c:pt idx="12365">
                  <c:v>#N/A</c:v>
                </c:pt>
                <c:pt idx="12366">
                  <c:v>#N/A</c:v>
                </c:pt>
                <c:pt idx="12367">
                  <c:v>#N/A</c:v>
                </c:pt>
                <c:pt idx="12368">
                  <c:v>#N/A</c:v>
                </c:pt>
                <c:pt idx="12369">
                  <c:v>#N/A</c:v>
                </c:pt>
                <c:pt idx="12370">
                  <c:v>#N/A</c:v>
                </c:pt>
                <c:pt idx="12371">
                  <c:v>#N/A</c:v>
                </c:pt>
                <c:pt idx="12372">
                  <c:v>#N/A</c:v>
                </c:pt>
                <c:pt idx="12373">
                  <c:v>#N/A</c:v>
                </c:pt>
                <c:pt idx="12374">
                  <c:v>#N/A</c:v>
                </c:pt>
                <c:pt idx="12375">
                  <c:v>#N/A</c:v>
                </c:pt>
                <c:pt idx="12376">
                  <c:v>#N/A</c:v>
                </c:pt>
                <c:pt idx="12377">
                  <c:v>#N/A</c:v>
                </c:pt>
                <c:pt idx="12378">
                  <c:v>#N/A</c:v>
                </c:pt>
                <c:pt idx="12379">
                  <c:v>#N/A</c:v>
                </c:pt>
                <c:pt idx="12380">
                  <c:v>#N/A</c:v>
                </c:pt>
                <c:pt idx="12381">
                  <c:v>#N/A</c:v>
                </c:pt>
                <c:pt idx="12382">
                  <c:v>#N/A</c:v>
                </c:pt>
                <c:pt idx="12383">
                  <c:v>#N/A</c:v>
                </c:pt>
                <c:pt idx="12384">
                  <c:v>#N/A</c:v>
                </c:pt>
                <c:pt idx="12385">
                  <c:v>#N/A</c:v>
                </c:pt>
                <c:pt idx="12386">
                  <c:v>#N/A</c:v>
                </c:pt>
                <c:pt idx="12387">
                  <c:v>#N/A</c:v>
                </c:pt>
                <c:pt idx="12388">
                  <c:v>#N/A</c:v>
                </c:pt>
                <c:pt idx="12389">
                  <c:v>#N/A</c:v>
                </c:pt>
                <c:pt idx="12390">
                  <c:v>#N/A</c:v>
                </c:pt>
                <c:pt idx="12391">
                  <c:v>#N/A</c:v>
                </c:pt>
                <c:pt idx="12392">
                  <c:v>#N/A</c:v>
                </c:pt>
                <c:pt idx="12393">
                  <c:v>#N/A</c:v>
                </c:pt>
                <c:pt idx="12394">
                  <c:v>#N/A</c:v>
                </c:pt>
                <c:pt idx="12395">
                  <c:v>#N/A</c:v>
                </c:pt>
                <c:pt idx="12396">
                  <c:v>#N/A</c:v>
                </c:pt>
                <c:pt idx="12397">
                  <c:v>#N/A</c:v>
                </c:pt>
                <c:pt idx="12398">
                  <c:v>#N/A</c:v>
                </c:pt>
                <c:pt idx="12399">
                  <c:v>#N/A</c:v>
                </c:pt>
                <c:pt idx="12400">
                  <c:v>#N/A</c:v>
                </c:pt>
                <c:pt idx="12401">
                  <c:v>#N/A</c:v>
                </c:pt>
                <c:pt idx="12402">
                  <c:v>#N/A</c:v>
                </c:pt>
                <c:pt idx="12403">
                  <c:v>#N/A</c:v>
                </c:pt>
                <c:pt idx="12404">
                  <c:v>#N/A</c:v>
                </c:pt>
                <c:pt idx="12405">
                  <c:v>#N/A</c:v>
                </c:pt>
                <c:pt idx="12406">
                  <c:v>#N/A</c:v>
                </c:pt>
                <c:pt idx="12407">
                  <c:v>#N/A</c:v>
                </c:pt>
                <c:pt idx="12408">
                  <c:v>#N/A</c:v>
                </c:pt>
                <c:pt idx="12409">
                  <c:v>#N/A</c:v>
                </c:pt>
                <c:pt idx="12410">
                  <c:v>#N/A</c:v>
                </c:pt>
                <c:pt idx="12411">
                  <c:v>#N/A</c:v>
                </c:pt>
                <c:pt idx="12412">
                  <c:v>#N/A</c:v>
                </c:pt>
                <c:pt idx="12413">
                  <c:v>#N/A</c:v>
                </c:pt>
                <c:pt idx="12414">
                  <c:v>#N/A</c:v>
                </c:pt>
                <c:pt idx="12415">
                  <c:v>#N/A</c:v>
                </c:pt>
                <c:pt idx="12416">
                  <c:v>#N/A</c:v>
                </c:pt>
                <c:pt idx="12417">
                  <c:v>#N/A</c:v>
                </c:pt>
                <c:pt idx="12418">
                  <c:v>#N/A</c:v>
                </c:pt>
                <c:pt idx="12419">
                  <c:v>#N/A</c:v>
                </c:pt>
                <c:pt idx="12420">
                  <c:v>#N/A</c:v>
                </c:pt>
                <c:pt idx="12421">
                  <c:v>#N/A</c:v>
                </c:pt>
                <c:pt idx="12422">
                  <c:v>#N/A</c:v>
                </c:pt>
                <c:pt idx="12423">
                  <c:v>#N/A</c:v>
                </c:pt>
                <c:pt idx="12424">
                  <c:v>#N/A</c:v>
                </c:pt>
                <c:pt idx="12425">
                  <c:v>#N/A</c:v>
                </c:pt>
                <c:pt idx="12426">
                  <c:v>#N/A</c:v>
                </c:pt>
                <c:pt idx="12427">
                  <c:v>#N/A</c:v>
                </c:pt>
                <c:pt idx="12428">
                  <c:v>#N/A</c:v>
                </c:pt>
                <c:pt idx="12429">
                  <c:v>#N/A</c:v>
                </c:pt>
                <c:pt idx="12430">
                  <c:v>#N/A</c:v>
                </c:pt>
                <c:pt idx="12431">
                  <c:v>#N/A</c:v>
                </c:pt>
                <c:pt idx="12432">
                  <c:v>#N/A</c:v>
                </c:pt>
                <c:pt idx="12433">
                  <c:v>#N/A</c:v>
                </c:pt>
                <c:pt idx="12434">
                  <c:v>#N/A</c:v>
                </c:pt>
                <c:pt idx="12435">
                  <c:v>#N/A</c:v>
                </c:pt>
                <c:pt idx="12436">
                  <c:v>#N/A</c:v>
                </c:pt>
                <c:pt idx="12437">
                  <c:v>#N/A</c:v>
                </c:pt>
                <c:pt idx="12438">
                  <c:v>#N/A</c:v>
                </c:pt>
                <c:pt idx="12439">
                  <c:v>#N/A</c:v>
                </c:pt>
                <c:pt idx="12440">
                  <c:v>#N/A</c:v>
                </c:pt>
                <c:pt idx="12441">
                  <c:v>#N/A</c:v>
                </c:pt>
                <c:pt idx="12442">
                  <c:v>#N/A</c:v>
                </c:pt>
                <c:pt idx="12443">
                  <c:v>#N/A</c:v>
                </c:pt>
                <c:pt idx="12444">
                  <c:v>#N/A</c:v>
                </c:pt>
                <c:pt idx="12445">
                  <c:v>#N/A</c:v>
                </c:pt>
                <c:pt idx="12446">
                  <c:v>#N/A</c:v>
                </c:pt>
                <c:pt idx="12447">
                  <c:v>#N/A</c:v>
                </c:pt>
                <c:pt idx="12448">
                  <c:v>#N/A</c:v>
                </c:pt>
                <c:pt idx="12449">
                  <c:v>#N/A</c:v>
                </c:pt>
                <c:pt idx="12450">
                  <c:v>#N/A</c:v>
                </c:pt>
                <c:pt idx="12451">
                  <c:v>#N/A</c:v>
                </c:pt>
                <c:pt idx="12452">
                  <c:v>#N/A</c:v>
                </c:pt>
                <c:pt idx="12453">
                  <c:v>#N/A</c:v>
                </c:pt>
                <c:pt idx="12454">
                  <c:v>#N/A</c:v>
                </c:pt>
                <c:pt idx="12455">
                  <c:v>#N/A</c:v>
                </c:pt>
                <c:pt idx="12456">
                  <c:v>#N/A</c:v>
                </c:pt>
                <c:pt idx="12457">
                  <c:v>#N/A</c:v>
                </c:pt>
                <c:pt idx="12458">
                  <c:v>#N/A</c:v>
                </c:pt>
                <c:pt idx="12459">
                  <c:v>#N/A</c:v>
                </c:pt>
                <c:pt idx="12460">
                  <c:v>#N/A</c:v>
                </c:pt>
                <c:pt idx="12461">
                  <c:v>#N/A</c:v>
                </c:pt>
                <c:pt idx="12462">
                  <c:v>#N/A</c:v>
                </c:pt>
                <c:pt idx="12463">
                  <c:v>#N/A</c:v>
                </c:pt>
                <c:pt idx="12464">
                  <c:v>#N/A</c:v>
                </c:pt>
                <c:pt idx="12465">
                  <c:v>#N/A</c:v>
                </c:pt>
                <c:pt idx="12466">
                  <c:v>#N/A</c:v>
                </c:pt>
                <c:pt idx="12467">
                  <c:v>#N/A</c:v>
                </c:pt>
                <c:pt idx="12468">
                  <c:v>#N/A</c:v>
                </c:pt>
                <c:pt idx="12469">
                  <c:v>#N/A</c:v>
                </c:pt>
                <c:pt idx="12470">
                  <c:v>#N/A</c:v>
                </c:pt>
                <c:pt idx="12471">
                  <c:v>#N/A</c:v>
                </c:pt>
                <c:pt idx="12472">
                  <c:v>#N/A</c:v>
                </c:pt>
                <c:pt idx="12473">
                  <c:v>#N/A</c:v>
                </c:pt>
                <c:pt idx="12474">
                  <c:v>#N/A</c:v>
                </c:pt>
                <c:pt idx="12475">
                  <c:v>#N/A</c:v>
                </c:pt>
                <c:pt idx="12476">
                  <c:v>#N/A</c:v>
                </c:pt>
                <c:pt idx="12477">
                  <c:v>#N/A</c:v>
                </c:pt>
                <c:pt idx="12478">
                  <c:v>#N/A</c:v>
                </c:pt>
                <c:pt idx="12479">
                  <c:v>#N/A</c:v>
                </c:pt>
                <c:pt idx="12480">
                  <c:v>#N/A</c:v>
                </c:pt>
                <c:pt idx="12481">
                  <c:v>#N/A</c:v>
                </c:pt>
                <c:pt idx="12482">
                  <c:v>#N/A</c:v>
                </c:pt>
                <c:pt idx="12483">
                  <c:v>#N/A</c:v>
                </c:pt>
                <c:pt idx="12484">
                  <c:v>#N/A</c:v>
                </c:pt>
                <c:pt idx="12485">
                  <c:v>#N/A</c:v>
                </c:pt>
                <c:pt idx="12486">
                  <c:v>#N/A</c:v>
                </c:pt>
                <c:pt idx="12487">
                  <c:v>#N/A</c:v>
                </c:pt>
                <c:pt idx="12488">
                  <c:v>#N/A</c:v>
                </c:pt>
                <c:pt idx="12489">
                  <c:v>#N/A</c:v>
                </c:pt>
                <c:pt idx="12490">
                  <c:v>#N/A</c:v>
                </c:pt>
                <c:pt idx="12491">
                  <c:v>#N/A</c:v>
                </c:pt>
                <c:pt idx="12492">
                  <c:v>#N/A</c:v>
                </c:pt>
                <c:pt idx="12493">
                  <c:v>#N/A</c:v>
                </c:pt>
                <c:pt idx="12494">
                  <c:v>#N/A</c:v>
                </c:pt>
                <c:pt idx="12495">
                  <c:v>#N/A</c:v>
                </c:pt>
                <c:pt idx="12496">
                  <c:v>#N/A</c:v>
                </c:pt>
                <c:pt idx="12497">
                  <c:v>#N/A</c:v>
                </c:pt>
                <c:pt idx="12498">
                  <c:v>#N/A</c:v>
                </c:pt>
                <c:pt idx="12499">
                  <c:v>#N/A</c:v>
                </c:pt>
                <c:pt idx="12500">
                  <c:v>#N/A</c:v>
                </c:pt>
                <c:pt idx="12501">
                  <c:v>#N/A</c:v>
                </c:pt>
                <c:pt idx="12502">
                  <c:v>#N/A</c:v>
                </c:pt>
                <c:pt idx="12503">
                  <c:v>#N/A</c:v>
                </c:pt>
                <c:pt idx="12504">
                  <c:v>#N/A</c:v>
                </c:pt>
                <c:pt idx="12505">
                  <c:v>#N/A</c:v>
                </c:pt>
                <c:pt idx="12506">
                  <c:v>#N/A</c:v>
                </c:pt>
                <c:pt idx="12507">
                  <c:v>#N/A</c:v>
                </c:pt>
                <c:pt idx="12508">
                  <c:v>#N/A</c:v>
                </c:pt>
                <c:pt idx="12509">
                  <c:v>#N/A</c:v>
                </c:pt>
                <c:pt idx="12510">
                  <c:v>#N/A</c:v>
                </c:pt>
                <c:pt idx="12511">
                  <c:v>#N/A</c:v>
                </c:pt>
                <c:pt idx="12512">
                  <c:v>#N/A</c:v>
                </c:pt>
                <c:pt idx="12513">
                  <c:v>#N/A</c:v>
                </c:pt>
                <c:pt idx="12514">
                  <c:v>#N/A</c:v>
                </c:pt>
                <c:pt idx="12515">
                  <c:v>#N/A</c:v>
                </c:pt>
                <c:pt idx="12516">
                  <c:v>#N/A</c:v>
                </c:pt>
                <c:pt idx="12517">
                  <c:v>#N/A</c:v>
                </c:pt>
                <c:pt idx="12518">
                  <c:v>#N/A</c:v>
                </c:pt>
                <c:pt idx="12519">
                  <c:v>#N/A</c:v>
                </c:pt>
                <c:pt idx="12520">
                  <c:v>#N/A</c:v>
                </c:pt>
                <c:pt idx="12521">
                  <c:v>#N/A</c:v>
                </c:pt>
                <c:pt idx="12522">
                  <c:v>#N/A</c:v>
                </c:pt>
                <c:pt idx="12523">
                  <c:v>#N/A</c:v>
                </c:pt>
                <c:pt idx="12524">
                  <c:v>#N/A</c:v>
                </c:pt>
                <c:pt idx="12525">
                  <c:v>#N/A</c:v>
                </c:pt>
                <c:pt idx="12526">
                  <c:v>#N/A</c:v>
                </c:pt>
                <c:pt idx="12527">
                  <c:v>#N/A</c:v>
                </c:pt>
                <c:pt idx="12528">
                  <c:v>#N/A</c:v>
                </c:pt>
                <c:pt idx="12529">
                  <c:v>#N/A</c:v>
                </c:pt>
                <c:pt idx="12530">
                  <c:v>#N/A</c:v>
                </c:pt>
                <c:pt idx="12531">
                  <c:v>#N/A</c:v>
                </c:pt>
                <c:pt idx="12532">
                  <c:v>#N/A</c:v>
                </c:pt>
                <c:pt idx="12533">
                  <c:v>#N/A</c:v>
                </c:pt>
                <c:pt idx="12534">
                  <c:v>#N/A</c:v>
                </c:pt>
                <c:pt idx="12535">
                  <c:v>#N/A</c:v>
                </c:pt>
                <c:pt idx="12536">
                  <c:v>#N/A</c:v>
                </c:pt>
                <c:pt idx="12537">
                  <c:v>#N/A</c:v>
                </c:pt>
                <c:pt idx="12538">
                  <c:v>#N/A</c:v>
                </c:pt>
                <c:pt idx="12539">
                  <c:v>#N/A</c:v>
                </c:pt>
                <c:pt idx="12540">
                  <c:v>#N/A</c:v>
                </c:pt>
                <c:pt idx="12541">
                  <c:v>#N/A</c:v>
                </c:pt>
                <c:pt idx="12542">
                  <c:v>#N/A</c:v>
                </c:pt>
                <c:pt idx="12543">
                  <c:v>#N/A</c:v>
                </c:pt>
                <c:pt idx="12544">
                  <c:v>#N/A</c:v>
                </c:pt>
                <c:pt idx="12545">
                  <c:v>#N/A</c:v>
                </c:pt>
                <c:pt idx="12546">
                  <c:v>#N/A</c:v>
                </c:pt>
                <c:pt idx="12547">
                  <c:v>#N/A</c:v>
                </c:pt>
                <c:pt idx="12548">
                  <c:v>#N/A</c:v>
                </c:pt>
                <c:pt idx="12549">
                  <c:v>#N/A</c:v>
                </c:pt>
                <c:pt idx="12550">
                  <c:v>#N/A</c:v>
                </c:pt>
                <c:pt idx="12551">
                  <c:v>#N/A</c:v>
                </c:pt>
                <c:pt idx="12552">
                  <c:v>#N/A</c:v>
                </c:pt>
                <c:pt idx="12553">
                  <c:v>#N/A</c:v>
                </c:pt>
                <c:pt idx="12554">
                  <c:v>#N/A</c:v>
                </c:pt>
                <c:pt idx="12555">
                  <c:v>#N/A</c:v>
                </c:pt>
                <c:pt idx="12556">
                  <c:v>#N/A</c:v>
                </c:pt>
                <c:pt idx="12557">
                  <c:v>#N/A</c:v>
                </c:pt>
                <c:pt idx="12558">
                  <c:v>#N/A</c:v>
                </c:pt>
                <c:pt idx="12559">
                  <c:v>#N/A</c:v>
                </c:pt>
                <c:pt idx="12560">
                  <c:v>#N/A</c:v>
                </c:pt>
                <c:pt idx="12561">
                  <c:v>#N/A</c:v>
                </c:pt>
                <c:pt idx="12562">
                  <c:v>#N/A</c:v>
                </c:pt>
                <c:pt idx="12563">
                  <c:v>#N/A</c:v>
                </c:pt>
                <c:pt idx="12564">
                  <c:v>#N/A</c:v>
                </c:pt>
                <c:pt idx="12565">
                  <c:v>#N/A</c:v>
                </c:pt>
                <c:pt idx="12566">
                  <c:v>#N/A</c:v>
                </c:pt>
                <c:pt idx="12567">
                  <c:v>#N/A</c:v>
                </c:pt>
                <c:pt idx="12568">
                  <c:v>#N/A</c:v>
                </c:pt>
                <c:pt idx="12569">
                  <c:v>#N/A</c:v>
                </c:pt>
                <c:pt idx="12570">
                  <c:v>#N/A</c:v>
                </c:pt>
                <c:pt idx="12571">
                  <c:v>#N/A</c:v>
                </c:pt>
                <c:pt idx="12572">
                  <c:v>#N/A</c:v>
                </c:pt>
                <c:pt idx="12573">
                  <c:v>#N/A</c:v>
                </c:pt>
                <c:pt idx="12574">
                  <c:v>#N/A</c:v>
                </c:pt>
                <c:pt idx="12575">
                  <c:v>#N/A</c:v>
                </c:pt>
                <c:pt idx="12576">
                  <c:v>#N/A</c:v>
                </c:pt>
                <c:pt idx="12577">
                  <c:v>#N/A</c:v>
                </c:pt>
                <c:pt idx="12578">
                  <c:v>#N/A</c:v>
                </c:pt>
                <c:pt idx="12579">
                  <c:v>#N/A</c:v>
                </c:pt>
                <c:pt idx="12580">
                  <c:v>#N/A</c:v>
                </c:pt>
                <c:pt idx="12581">
                  <c:v>#N/A</c:v>
                </c:pt>
                <c:pt idx="12582">
                  <c:v>#N/A</c:v>
                </c:pt>
                <c:pt idx="12583">
                  <c:v>#N/A</c:v>
                </c:pt>
                <c:pt idx="12584">
                  <c:v>#N/A</c:v>
                </c:pt>
                <c:pt idx="12585">
                  <c:v>#N/A</c:v>
                </c:pt>
                <c:pt idx="12586">
                  <c:v>#N/A</c:v>
                </c:pt>
                <c:pt idx="12587">
                  <c:v>#N/A</c:v>
                </c:pt>
                <c:pt idx="12588">
                  <c:v>#N/A</c:v>
                </c:pt>
                <c:pt idx="12589">
                  <c:v>#N/A</c:v>
                </c:pt>
                <c:pt idx="12590">
                  <c:v>#N/A</c:v>
                </c:pt>
                <c:pt idx="12591">
                  <c:v>#N/A</c:v>
                </c:pt>
                <c:pt idx="12592">
                  <c:v>#N/A</c:v>
                </c:pt>
                <c:pt idx="12593">
                  <c:v>#N/A</c:v>
                </c:pt>
                <c:pt idx="12594">
                  <c:v>#N/A</c:v>
                </c:pt>
                <c:pt idx="12595">
                  <c:v>#N/A</c:v>
                </c:pt>
                <c:pt idx="12596">
                  <c:v>#N/A</c:v>
                </c:pt>
                <c:pt idx="12597">
                  <c:v>#N/A</c:v>
                </c:pt>
                <c:pt idx="12598">
                  <c:v>#N/A</c:v>
                </c:pt>
                <c:pt idx="12599">
                  <c:v>#N/A</c:v>
                </c:pt>
                <c:pt idx="12600">
                  <c:v>#N/A</c:v>
                </c:pt>
                <c:pt idx="12601">
                  <c:v>#N/A</c:v>
                </c:pt>
                <c:pt idx="12602">
                  <c:v>#N/A</c:v>
                </c:pt>
                <c:pt idx="12603">
                  <c:v>#N/A</c:v>
                </c:pt>
                <c:pt idx="12604">
                  <c:v>#N/A</c:v>
                </c:pt>
                <c:pt idx="12605">
                  <c:v>#N/A</c:v>
                </c:pt>
                <c:pt idx="12606">
                  <c:v>#N/A</c:v>
                </c:pt>
                <c:pt idx="12607">
                  <c:v>#N/A</c:v>
                </c:pt>
                <c:pt idx="12608">
                  <c:v>#N/A</c:v>
                </c:pt>
                <c:pt idx="12609">
                  <c:v>#N/A</c:v>
                </c:pt>
                <c:pt idx="12610">
                  <c:v>#N/A</c:v>
                </c:pt>
                <c:pt idx="12611">
                  <c:v>#N/A</c:v>
                </c:pt>
                <c:pt idx="12612">
                  <c:v>#N/A</c:v>
                </c:pt>
                <c:pt idx="12613">
                  <c:v>#N/A</c:v>
                </c:pt>
                <c:pt idx="12614">
                  <c:v>#N/A</c:v>
                </c:pt>
                <c:pt idx="12615">
                  <c:v>#N/A</c:v>
                </c:pt>
                <c:pt idx="12616">
                  <c:v>#N/A</c:v>
                </c:pt>
                <c:pt idx="12617">
                  <c:v>#N/A</c:v>
                </c:pt>
                <c:pt idx="12618">
                  <c:v>#N/A</c:v>
                </c:pt>
                <c:pt idx="12619">
                  <c:v>#N/A</c:v>
                </c:pt>
                <c:pt idx="12620">
                  <c:v>#N/A</c:v>
                </c:pt>
                <c:pt idx="12621">
                  <c:v>#N/A</c:v>
                </c:pt>
                <c:pt idx="12622">
                  <c:v>#N/A</c:v>
                </c:pt>
                <c:pt idx="12623">
                  <c:v>#N/A</c:v>
                </c:pt>
                <c:pt idx="12624">
                  <c:v>#N/A</c:v>
                </c:pt>
                <c:pt idx="12625">
                  <c:v>#N/A</c:v>
                </c:pt>
                <c:pt idx="12626">
                  <c:v>#N/A</c:v>
                </c:pt>
                <c:pt idx="12627">
                  <c:v>#N/A</c:v>
                </c:pt>
                <c:pt idx="12628">
                  <c:v>#N/A</c:v>
                </c:pt>
                <c:pt idx="12629">
                  <c:v>#N/A</c:v>
                </c:pt>
                <c:pt idx="12630">
                  <c:v>#N/A</c:v>
                </c:pt>
                <c:pt idx="12631">
                  <c:v>#N/A</c:v>
                </c:pt>
                <c:pt idx="12632">
                  <c:v>#N/A</c:v>
                </c:pt>
                <c:pt idx="12633">
                  <c:v>#N/A</c:v>
                </c:pt>
                <c:pt idx="12634">
                  <c:v>#N/A</c:v>
                </c:pt>
                <c:pt idx="12635">
                  <c:v>#N/A</c:v>
                </c:pt>
                <c:pt idx="12636">
                  <c:v>#N/A</c:v>
                </c:pt>
                <c:pt idx="12637">
                  <c:v>#N/A</c:v>
                </c:pt>
                <c:pt idx="12638">
                  <c:v>#N/A</c:v>
                </c:pt>
                <c:pt idx="12639">
                  <c:v>#N/A</c:v>
                </c:pt>
                <c:pt idx="12640">
                  <c:v>#N/A</c:v>
                </c:pt>
                <c:pt idx="12641">
                  <c:v>#N/A</c:v>
                </c:pt>
                <c:pt idx="12642">
                  <c:v>#N/A</c:v>
                </c:pt>
                <c:pt idx="12643">
                  <c:v>#N/A</c:v>
                </c:pt>
                <c:pt idx="12644">
                  <c:v>#N/A</c:v>
                </c:pt>
                <c:pt idx="12645">
                  <c:v>#N/A</c:v>
                </c:pt>
                <c:pt idx="12646">
                  <c:v>#N/A</c:v>
                </c:pt>
                <c:pt idx="12647">
                  <c:v>#N/A</c:v>
                </c:pt>
                <c:pt idx="12648">
                  <c:v>#N/A</c:v>
                </c:pt>
                <c:pt idx="12649">
                  <c:v>#N/A</c:v>
                </c:pt>
                <c:pt idx="12650">
                  <c:v>#N/A</c:v>
                </c:pt>
                <c:pt idx="12651">
                  <c:v>#N/A</c:v>
                </c:pt>
                <c:pt idx="12652">
                  <c:v>#N/A</c:v>
                </c:pt>
                <c:pt idx="12653">
                  <c:v>#N/A</c:v>
                </c:pt>
                <c:pt idx="12654">
                  <c:v>#N/A</c:v>
                </c:pt>
                <c:pt idx="12655">
                  <c:v>#N/A</c:v>
                </c:pt>
                <c:pt idx="12656">
                  <c:v>#N/A</c:v>
                </c:pt>
                <c:pt idx="12657">
                  <c:v>#N/A</c:v>
                </c:pt>
                <c:pt idx="12658">
                  <c:v>#N/A</c:v>
                </c:pt>
                <c:pt idx="12659">
                  <c:v>#N/A</c:v>
                </c:pt>
                <c:pt idx="12660">
                  <c:v>#N/A</c:v>
                </c:pt>
                <c:pt idx="12661">
                  <c:v>#N/A</c:v>
                </c:pt>
                <c:pt idx="12662">
                  <c:v>#N/A</c:v>
                </c:pt>
                <c:pt idx="12663">
                  <c:v>#N/A</c:v>
                </c:pt>
                <c:pt idx="12664">
                  <c:v>#N/A</c:v>
                </c:pt>
                <c:pt idx="12665">
                  <c:v>#N/A</c:v>
                </c:pt>
                <c:pt idx="12666">
                  <c:v>#N/A</c:v>
                </c:pt>
                <c:pt idx="12667">
                  <c:v>#N/A</c:v>
                </c:pt>
                <c:pt idx="12668">
                  <c:v>#N/A</c:v>
                </c:pt>
                <c:pt idx="12669">
                  <c:v>#N/A</c:v>
                </c:pt>
                <c:pt idx="12670">
                  <c:v>#N/A</c:v>
                </c:pt>
                <c:pt idx="12671">
                  <c:v>#N/A</c:v>
                </c:pt>
                <c:pt idx="12672">
                  <c:v>#N/A</c:v>
                </c:pt>
                <c:pt idx="12673">
                  <c:v>#N/A</c:v>
                </c:pt>
                <c:pt idx="12674">
                  <c:v>#N/A</c:v>
                </c:pt>
                <c:pt idx="12675">
                  <c:v>#N/A</c:v>
                </c:pt>
                <c:pt idx="12676">
                  <c:v>#N/A</c:v>
                </c:pt>
                <c:pt idx="12677">
                  <c:v>#N/A</c:v>
                </c:pt>
                <c:pt idx="12678">
                  <c:v>#N/A</c:v>
                </c:pt>
                <c:pt idx="12679">
                  <c:v>#N/A</c:v>
                </c:pt>
                <c:pt idx="12680">
                  <c:v>#N/A</c:v>
                </c:pt>
                <c:pt idx="12681">
                  <c:v>#N/A</c:v>
                </c:pt>
                <c:pt idx="12682">
                  <c:v>#N/A</c:v>
                </c:pt>
                <c:pt idx="12683">
                  <c:v>#N/A</c:v>
                </c:pt>
                <c:pt idx="12684">
                  <c:v>#N/A</c:v>
                </c:pt>
                <c:pt idx="12685">
                  <c:v>#N/A</c:v>
                </c:pt>
                <c:pt idx="12686">
                  <c:v>#N/A</c:v>
                </c:pt>
                <c:pt idx="12687">
                  <c:v>#N/A</c:v>
                </c:pt>
                <c:pt idx="12688">
                  <c:v>#N/A</c:v>
                </c:pt>
                <c:pt idx="12689">
                  <c:v>#N/A</c:v>
                </c:pt>
                <c:pt idx="12690">
                  <c:v>#N/A</c:v>
                </c:pt>
                <c:pt idx="12691">
                  <c:v>#N/A</c:v>
                </c:pt>
                <c:pt idx="12692">
                  <c:v>#N/A</c:v>
                </c:pt>
                <c:pt idx="12693">
                  <c:v>#N/A</c:v>
                </c:pt>
                <c:pt idx="12694">
                  <c:v>#N/A</c:v>
                </c:pt>
                <c:pt idx="12695">
                  <c:v>#N/A</c:v>
                </c:pt>
                <c:pt idx="12696">
                  <c:v>#N/A</c:v>
                </c:pt>
                <c:pt idx="12697">
                  <c:v>#N/A</c:v>
                </c:pt>
                <c:pt idx="12698">
                  <c:v>#N/A</c:v>
                </c:pt>
                <c:pt idx="12699">
                  <c:v>#N/A</c:v>
                </c:pt>
                <c:pt idx="12700">
                  <c:v>#N/A</c:v>
                </c:pt>
                <c:pt idx="12701">
                  <c:v>#N/A</c:v>
                </c:pt>
                <c:pt idx="12702">
                  <c:v>#N/A</c:v>
                </c:pt>
                <c:pt idx="12703">
                  <c:v>#N/A</c:v>
                </c:pt>
                <c:pt idx="12704">
                  <c:v>#N/A</c:v>
                </c:pt>
                <c:pt idx="12705">
                  <c:v>#N/A</c:v>
                </c:pt>
                <c:pt idx="12706">
                  <c:v>#N/A</c:v>
                </c:pt>
                <c:pt idx="12707">
                  <c:v>#N/A</c:v>
                </c:pt>
                <c:pt idx="12708">
                  <c:v>#N/A</c:v>
                </c:pt>
                <c:pt idx="12709">
                  <c:v>#N/A</c:v>
                </c:pt>
                <c:pt idx="12710">
                  <c:v>#N/A</c:v>
                </c:pt>
                <c:pt idx="12711">
                  <c:v>#N/A</c:v>
                </c:pt>
                <c:pt idx="12712">
                  <c:v>#N/A</c:v>
                </c:pt>
                <c:pt idx="12713">
                  <c:v>#N/A</c:v>
                </c:pt>
                <c:pt idx="12714">
                  <c:v>#N/A</c:v>
                </c:pt>
                <c:pt idx="12715">
                  <c:v>#N/A</c:v>
                </c:pt>
                <c:pt idx="12716">
                  <c:v>#N/A</c:v>
                </c:pt>
                <c:pt idx="12717">
                  <c:v>#N/A</c:v>
                </c:pt>
                <c:pt idx="12718">
                  <c:v>#N/A</c:v>
                </c:pt>
                <c:pt idx="12719">
                  <c:v>#N/A</c:v>
                </c:pt>
                <c:pt idx="12720">
                  <c:v>#N/A</c:v>
                </c:pt>
                <c:pt idx="12721">
                  <c:v>#N/A</c:v>
                </c:pt>
                <c:pt idx="12722">
                  <c:v>#N/A</c:v>
                </c:pt>
                <c:pt idx="12723">
                  <c:v>#N/A</c:v>
                </c:pt>
                <c:pt idx="12724">
                  <c:v>#N/A</c:v>
                </c:pt>
                <c:pt idx="12725">
                  <c:v>#N/A</c:v>
                </c:pt>
                <c:pt idx="12726">
                  <c:v>#N/A</c:v>
                </c:pt>
                <c:pt idx="12727">
                  <c:v>#N/A</c:v>
                </c:pt>
                <c:pt idx="12728">
                  <c:v>#N/A</c:v>
                </c:pt>
                <c:pt idx="12729">
                  <c:v>#N/A</c:v>
                </c:pt>
                <c:pt idx="12730">
                  <c:v>#N/A</c:v>
                </c:pt>
                <c:pt idx="12731">
                  <c:v>#N/A</c:v>
                </c:pt>
                <c:pt idx="12732">
                  <c:v>#N/A</c:v>
                </c:pt>
                <c:pt idx="12733">
                  <c:v>#N/A</c:v>
                </c:pt>
                <c:pt idx="12734">
                  <c:v>#N/A</c:v>
                </c:pt>
                <c:pt idx="12735">
                  <c:v>#N/A</c:v>
                </c:pt>
                <c:pt idx="12736">
                  <c:v>#N/A</c:v>
                </c:pt>
                <c:pt idx="12737">
                  <c:v>#N/A</c:v>
                </c:pt>
                <c:pt idx="12738">
                  <c:v>#N/A</c:v>
                </c:pt>
                <c:pt idx="12739">
                  <c:v>#N/A</c:v>
                </c:pt>
                <c:pt idx="12740">
                  <c:v>#N/A</c:v>
                </c:pt>
                <c:pt idx="12741">
                  <c:v>#N/A</c:v>
                </c:pt>
                <c:pt idx="12742">
                  <c:v>#N/A</c:v>
                </c:pt>
                <c:pt idx="12743">
                  <c:v>#N/A</c:v>
                </c:pt>
                <c:pt idx="12744">
                  <c:v>#N/A</c:v>
                </c:pt>
                <c:pt idx="12745">
                  <c:v>#N/A</c:v>
                </c:pt>
                <c:pt idx="12746">
                  <c:v>#N/A</c:v>
                </c:pt>
                <c:pt idx="12747">
                  <c:v>#N/A</c:v>
                </c:pt>
                <c:pt idx="12748">
                  <c:v>#N/A</c:v>
                </c:pt>
                <c:pt idx="12749">
                  <c:v>#N/A</c:v>
                </c:pt>
                <c:pt idx="12750">
                  <c:v>#N/A</c:v>
                </c:pt>
                <c:pt idx="12751">
                  <c:v>#N/A</c:v>
                </c:pt>
                <c:pt idx="12752">
                  <c:v>#N/A</c:v>
                </c:pt>
                <c:pt idx="12753">
                  <c:v>#N/A</c:v>
                </c:pt>
                <c:pt idx="12754">
                  <c:v>#N/A</c:v>
                </c:pt>
                <c:pt idx="12755">
                  <c:v>#N/A</c:v>
                </c:pt>
                <c:pt idx="12756">
                  <c:v>#N/A</c:v>
                </c:pt>
                <c:pt idx="12757">
                  <c:v>#N/A</c:v>
                </c:pt>
                <c:pt idx="12758">
                  <c:v>#N/A</c:v>
                </c:pt>
                <c:pt idx="12759">
                  <c:v>#N/A</c:v>
                </c:pt>
                <c:pt idx="12760">
                  <c:v>#N/A</c:v>
                </c:pt>
                <c:pt idx="12761">
                  <c:v>#N/A</c:v>
                </c:pt>
                <c:pt idx="12762">
                  <c:v>#N/A</c:v>
                </c:pt>
                <c:pt idx="12763">
                  <c:v>#N/A</c:v>
                </c:pt>
                <c:pt idx="12764">
                  <c:v>#N/A</c:v>
                </c:pt>
                <c:pt idx="12765">
                  <c:v>#N/A</c:v>
                </c:pt>
                <c:pt idx="12766">
                  <c:v>#N/A</c:v>
                </c:pt>
                <c:pt idx="12767">
                  <c:v>#N/A</c:v>
                </c:pt>
                <c:pt idx="12768">
                  <c:v>#N/A</c:v>
                </c:pt>
                <c:pt idx="12769">
                  <c:v>#N/A</c:v>
                </c:pt>
                <c:pt idx="12770">
                  <c:v>#N/A</c:v>
                </c:pt>
                <c:pt idx="12771">
                  <c:v>#N/A</c:v>
                </c:pt>
                <c:pt idx="12772">
                  <c:v>#N/A</c:v>
                </c:pt>
                <c:pt idx="12773">
                  <c:v>#N/A</c:v>
                </c:pt>
                <c:pt idx="12774">
                  <c:v>#N/A</c:v>
                </c:pt>
                <c:pt idx="12775">
                  <c:v>#N/A</c:v>
                </c:pt>
                <c:pt idx="12776">
                  <c:v>#N/A</c:v>
                </c:pt>
                <c:pt idx="12777">
                  <c:v>#N/A</c:v>
                </c:pt>
                <c:pt idx="12778">
                  <c:v>#N/A</c:v>
                </c:pt>
                <c:pt idx="12779">
                  <c:v>#N/A</c:v>
                </c:pt>
                <c:pt idx="12780">
                  <c:v>#N/A</c:v>
                </c:pt>
                <c:pt idx="12781">
                  <c:v>#N/A</c:v>
                </c:pt>
                <c:pt idx="12782">
                  <c:v>#N/A</c:v>
                </c:pt>
                <c:pt idx="12783">
                  <c:v>#N/A</c:v>
                </c:pt>
                <c:pt idx="12784">
                  <c:v>#N/A</c:v>
                </c:pt>
                <c:pt idx="12785">
                  <c:v>#N/A</c:v>
                </c:pt>
                <c:pt idx="12786">
                  <c:v>#N/A</c:v>
                </c:pt>
                <c:pt idx="12787">
                  <c:v>#N/A</c:v>
                </c:pt>
                <c:pt idx="12788">
                  <c:v>#N/A</c:v>
                </c:pt>
                <c:pt idx="12789">
                  <c:v>#N/A</c:v>
                </c:pt>
                <c:pt idx="12790">
                  <c:v>#N/A</c:v>
                </c:pt>
                <c:pt idx="12791">
                  <c:v>#N/A</c:v>
                </c:pt>
                <c:pt idx="12792">
                  <c:v>#N/A</c:v>
                </c:pt>
                <c:pt idx="12793">
                  <c:v>#N/A</c:v>
                </c:pt>
                <c:pt idx="12794">
                  <c:v>#N/A</c:v>
                </c:pt>
                <c:pt idx="12795">
                  <c:v>#N/A</c:v>
                </c:pt>
                <c:pt idx="12796">
                  <c:v>#N/A</c:v>
                </c:pt>
                <c:pt idx="12797">
                  <c:v>#N/A</c:v>
                </c:pt>
                <c:pt idx="12798">
                  <c:v>#N/A</c:v>
                </c:pt>
                <c:pt idx="12799">
                  <c:v>#N/A</c:v>
                </c:pt>
                <c:pt idx="12800">
                  <c:v>#N/A</c:v>
                </c:pt>
                <c:pt idx="12801">
                  <c:v>#N/A</c:v>
                </c:pt>
                <c:pt idx="12802">
                  <c:v>#N/A</c:v>
                </c:pt>
                <c:pt idx="12803">
                  <c:v>#N/A</c:v>
                </c:pt>
                <c:pt idx="12804">
                  <c:v>#N/A</c:v>
                </c:pt>
                <c:pt idx="12805">
                  <c:v>#N/A</c:v>
                </c:pt>
                <c:pt idx="12806">
                  <c:v>#N/A</c:v>
                </c:pt>
                <c:pt idx="12807">
                  <c:v>#N/A</c:v>
                </c:pt>
                <c:pt idx="12808">
                  <c:v>#N/A</c:v>
                </c:pt>
                <c:pt idx="12809">
                  <c:v>#N/A</c:v>
                </c:pt>
                <c:pt idx="12810">
                  <c:v>#N/A</c:v>
                </c:pt>
                <c:pt idx="12811">
                  <c:v>#N/A</c:v>
                </c:pt>
                <c:pt idx="12812">
                  <c:v>#N/A</c:v>
                </c:pt>
                <c:pt idx="12813">
                  <c:v>#N/A</c:v>
                </c:pt>
                <c:pt idx="12814">
                  <c:v>#N/A</c:v>
                </c:pt>
                <c:pt idx="12815">
                  <c:v>#N/A</c:v>
                </c:pt>
                <c:pt idx="12816">
                  <c:v>#N/A</c:v>
                </c:pt>
                <c:pt idx="12817">
                  <c:v>#N/A</c:v>
                </c:pt>
                <c:pt idx="12818">
                  <c:v>#N/A</c:v>
                </c:pt>
                <c:pt idx="12819">
                  <c:v>#N/A</c:v>
                </c:pt>
                <c:pt idx="12820">
                  <c:v>#N/A</c:v>
                </c:pt>
                <c:pt idx="12821">
                  <c:v>#N/A</c:v>
                </c:pt>
                <c:pt idx="12822">
                  <c:v>#N/A</c:v>
                </c:pt>
                <c:pt idx="12823">
                  <c:v>#N/A</c:v>
                </c:pt>
                <c:pt idx="12824">
                  <c:v>#N/A</c:v>
                </c:pt>
                <c:pt idx="12825">
                  <c:v>#N/A</c:v>
                </c:pt>
                <c:pt idx="12826">
                  <c:v>#N/A</c:v>
                </c:pt>
                <c:pt idx="12827">
                  <c:v>#N/A</c:v>
                </c:pt>
                <c:pt idx="12828">
                  <c:v>#N/A</c:v>
                </c:pt>
                <c:pt idx="12829">
                  <c:v>#N/A</c:v>
                </c:pt>
                <c:pt idx="12830">
                  <c:v>#N/A</c:v>
                </c:pt>
                <c:pt idx="12831">
                  <c:v>#N/A</c:v>
                </c:pt>
                <c:pt idx="12832">
                  <c:v>#N/A</c:v>
                </c:pt>
                <c:pt idx="12833">
                  <c:v>#N/A</c:v>
                </c:pt>
                <c:pt idx="12834">
                  <c:v>#N/A</c:v>
                </c:pt>
                <c:pt idx="12835">
                  <c:v>#N/A</c:v>
                </c:pt>
                <c:pt idx="12836">
                  <c:v>#N/A</c:v>
                </c:pt>
                <c:pt idx="12837">
                  <c:v>#N/A</c:v>
                </c:pt>
                <c:pt idx="12838">
                  <c:v>#N/A</c:v>
                </c:pt>
                <c:pt idx="12839">
                  <c:v>#N/A</c:v>
                </c:pt>
                <c:pt idx="12840">
                  <c:v>#N/A</c:v>
                </c:pt>
                <c:pt idx="12841">
                  <c:v>#N/A</c:v>
                </c:pt>
                <c:pt idx="12842">
                  <c:v>#N/A</c:v>
                </c:pt>
                <c:pt idx="12843">
                  <c:v>#N/A</c:v>
                </c:pt>
                <c:pt idx="12844">
                  <c:v>#N/A</c:v>
                </c:pt>
                <c:pt idx="12845">
                  <c:v>#N/A</c:v>
                </c:pt>
                <c:pt idx="12846">
                  <c:v>#N/A</c:v>
                </c:pt>
                <c:pt idx="12847">
                  <c:v>#N/A</c:v>
                </c:pt>
                <c:pt idx="12848">
                  <c:v>#N/A</c:v>
                </c:pt>
                <c:pt idx="12849">
                  <c:v>#N/A</c:v>
                </c:pt>
                <c:pt idx="12850">
                  <c:v>#N/A</c:v>
                </c:pt>
                <c:pt idx="12851">
                  <c:v>#N/A</c:v>
                </c:pt>
                <c:pt idx="12852">
                  <c:v>#N/A</c:v>
                </c:pt>
                <c:pt idx="12853">
                  <c:v>#N/A</c:v>
                </c:pt>
                <c:pt idx="12854">
                  <c:v>#N/A</c:v>
                </c:pt>
                <c:pt idx="12855">
                  <c:v>#N/A</c:v>
                </c:pt>
                <c:pt idx="12856">
                  <c:v>#N/A</c:v>
                </c:pt>
                <c:pt idx="12857">
                  <c:v>#N/A</c:v>
                </c:pt>
                <c:pt idx="12858">
                  <c:v>#N/A</c:v>
                </c:pt>
                <c:pt idx="12859">
                  <c:v>#N/A</c:v>
                </c:pt>
                <c:pt idx="12860">
                  <c:v>#N/A</c:v>
                </c:pt>
                <c:pt idx="12861">
                  <c:v>#N/A</c:v>
                </c:pt>
                <c:pt idx="12862">
                  <c:v>#N/A</c:v>
                </c:pt>
                <c:pt idx="12863">
                  <c:v>#N/A</c:v>
                </c:pt>
                <c:pt idx="12864">
                  <c:v>#N/A</c:v>
                </c:pt>
                <c:pt idx="12865">
                  <c:v>#N/A</c:v>
                </c:pt>
                <c:pt idx="12866">
                  <c:v>#N/A</c:v>
                </c:pt>
                <c:pt idx="12867">
                  <c:v>#N/A</c:v>
                </c:pt>
                <c:pt idx="12868">
                  <c:v>#N/A</c:v>
                </c:pt>
                <c:pt idx="12869">
                  <c:v>#N/A</c:v>
                </c:pt>
                <c:pt idx="12870">
                  <c:v>#N/A</c:v>
                </c:pt>
                <c:pt idx="12871">
                  <c:v>#N/A</c:v>
                </c:pt>
                <c:pt idx="12872">
                  <c:v>#N/A</c:v>
                </c:pt>
                <c:pt idx="12873">
                  <c:v>#N/A</c:v>
                </c:pt>
                <c:pt idx="12874">
                  <c:v>#N/A</c:v>
                </c:pt>
                <c:pt idx="12875">
                  <c:v>#N/A</c:v>
                </c:pt>
                <c:pt idx="12876">
                  <c:v>#N/A</c:v>
                </c:pt>
                <c:pt idx="12877">
                  <c:v>#N/A</c:v>
                </c:pt>
                <c:pt idx="12878">
                  <c:v>#N/A</c:v>
                </c:pt>
                <c:pt idx="12879">
                  <c:v>#N/A</c:v>
                </c:pt>
                <c:pt idx="12880">
                  <c:v>#N/A</c:v>
                </c:pt>
                <c:pt idx="12881">
                  <c:v>8.4328767123287669</c:v>
                </c:pt>
                <c:pt idx="12882">
                  <c:v>#N/A</c:v>
                </c:pt>
                <c:pt idx="12883">
                  <c:v>#N/A</c:v>
                </c:pt>
                <c:pt idx="12884">
                  <c:v>#N/A</c:v>
                </c:pt>
                <c:pt idx="12885">
                  <c:v>#N/A</c:v>
                </c:pt>
                <c:pt idx="12886">
                  <c:v>#N/A</c:v>
                </c:pt>
                <c:pt idx="12887">
                  <c:v>#N/A</c:v>
                </c:pt>
                <c:pt idx="12888">
                  <c:v>#N/A</c:v>
                </c:pt>
                <c:pt idx="12889">
                  <c:v>#N/A</c:v>
                </c:pt>
                <c:pt idx="12890">
                  <c:v>#N/A</c:v>
                </c:pt>
                <c:pt idx="12891">
                  <c:v>#N/A</c:v>
                </c:pt>
                <c:pt idx="12892">
                  <c:v>#N/A</c:v>
                </c:pt>
                <c:pt idx="12893">
                  <c:v>#N/A</c:v>
                </c:pt>
                <c:pt idx="12894">
                  <c:v>#N/A</c:v>
                </c:pt>
                <c:pt idx="12895">
                  <c:v>#N/A</c:v>
                </c:pt>
                <c:pt idx="12896">
                  <c:v>#N/A</c:v>
                </c:pt>
                <c:pt idx="12897">
                  <c:v>#N/A</c:v>
                </c:pt>
                <c:pt idx="12898">
                  <c:v>#N/A</c:v>
                </c:pt>
                <c:pt idx="12899">
                  <c:v>#N/A</c:v>
                </c:pt>
                <c:pt idx="12900">
                  <c:v>#N/A</c:v>
                </c:pt>
                <c:pt idx="12901">
                  <c:v>#N/A</c:v>
                </c:pt>
                <c:pt idx="12902">
                  <c:v>#N/A</c:v>
                </c:pt>
                <c:pt idx="12903">
                  <c:v>#N/A</c:v>
                </c:pt>
                <c:pt idx="12904">
                  <c:v>#N/A</c:v>
                </c:pt>
                <c:pt idx="12905">
                  <c:v>#N/A</c:v>
                </c:pt>
                <c:pt idx="12906">
                  <c:v>#N/A</c:v>
                </c:pt>
                <c:pt idx="12907">
                  <c:v>#N/A</c:v>
                </c:pt>
                <c:pt idx="12908">
                  <c:v>#N/A</c:v>
                </c:pt>
                <c:pt idx="12909">
                  <c:v>#N/A</c:v>
                </c:pt>
                <c:pt idx="12910">
                  <c:v>8.7041095890410958</c:v>
                </c:pt>
                <c:pt idx="12911">
                  <c:v>#N/A</c:v>
                </c:pt>
                <c:pt idx="12912">
                  <c:v>#N/A</c:v>
                </c:pt>
                <c:pt idx="12913">
                  <c:v>#N/A</c:v>
                </c:pt>
                <c:pt idx="12914">
                  <c:v>#N/A</c:v>
                </c:pt>
                <c:pt idx="12915">
                  <c:v>#N/A</c:v>
                </c:pt>
                <c:pt idx="12916">
                  <c:v>#N/A</c:v>
                </c:pt>
                <c:pt idx="12917">
                  <c:v>#N/A</c:v>
                </c:pt>
                <c:pt idx="12918">
                  <c:v>#N/A</c:v>
                </c:pt>
                <c:pt idx="12919">
                  <c:v>#N/A</c:v>
                </c:pt>
                <c:pt idx="12920">
                  <c:v>#N/A</c:v>
                </c:pt>
                <c:pt idx="12921">
                  <c:v>#N/A</c:v>
                </c:pt>
                <c:pt idx="12922">
                  <c:v>#N/A</c:v>
                </c:pt>
                <c:pt idx="12923">
                  <c:v>#N/A</c:v>
                </c:pt>
                <c:pt idx="12924">
                  <c:v>#N/A</c:v>
                </c:pt>
                <c:pt idx="12925">
                  <c:v>#N/A</c:v>
                </c:pt>
                <c:pt idx="12926">
                  <c:v>#N/A</c:v>
                </c:pt>
                <c:pt idx="12927">
                  <c:v>#N/A</c:v>
                </c:pt>
                <c:pt idx="12928">
                  <c:v>#N/A</c:v>
                </c:pt>
                <c:pt idx="12929">
                  <c:v>#N/A</c:v>
                </c:pt>
                <c:pt idx="12930">
                  <c:v>#N/A</c:v>
                </c:pt>
                <c:pt idx="12931">
                  <c:v>#N/A</c:v>
                </c:pt>
                <c:pt idx="12932">
                  <c:v>#N/A</c:v>
                </c:pt>
                <c:pt idx="12933">
                  <c:v>#N/A</c:v>
                </c:pt>
                <c:pt idx="12934">
                  <c:v>#N/A</c:v>
                </c:pt>
                <c:pt idx="12935">
                  <c:v>#N/A</c:v>
                </c:pt>
                <c:pt idx="12936">
                  <c:v>#N/A</c:v>
                </c:pt>
                <c:pt idx="12937">
                  <c:v>#N/A</c:v>
                </c:pt>
                <c:pt idx="12938">
                  <c:v>#N/A</c:v>
                </c:pt>
                <c:pt idx="12939">
                  <c:v>#N/A</c:v>
                </c:pt>
                <c:pt idx="12940">
                  <c:v>#N/A</c:v>
                </c:pt>
                <c:pt idx="12941">
                  <c:v>#N/A</c:v>
                </c:pt>
                <c:pt idx="12942">
                  <c:v>#N/A</c:v>
                </c:pt>
                <c:pt idx="12943">
                  <c:v>#N/A</c:v>
                </c:pt>
                <c:pt idx="12944">
                  <c:v>#N/A</c:v>
                </c:pt>
                <c:pt idx="12945">
                  <c:v>#N/A</c:v>
                </c:pt>
                <c:pt idx="12946">
                  <c:v>#N/A</c:v>
                </c:pt>
                <c:pt idx="12947">
                  <c:v>#N/A</c:v>
                </c:pt>
                <c:pt idx="12948">
                  <c:v>#N/A</c:v>
                </c:pt>
                <c:pt idx="12949">
                  <c:v>#N/A</c:v>
                </c:pt>
                <c:pt idx="12950">
                  <c:v>#N/A</c:v>
                </c:pt>
                <c:pt idx="12951">
                  <c:v>#N/A</c:v>
                </c:pt>
                <c:pt idx="12952">
                  <c:v>#N/A</c:v>
                </c:pt>
                <c:pt idx="12953">
                  <c:v>#N/A</c:v>
                </c:pt>
                <c:pt idx="12954">
                  <c:v>#N/A</c:v>
                </c:pt>
                <c:pt idx="12955">
                  <c:v>#N/A</c:v>
                </c:pt>
                <c:pt idx="12956">
                  <c:v>#N/A</c:v>
                </c:pt>
                <c:pt idx="12957">
                  <c:v>#N/A</c:v>
                </c:pt>
                <c:pt idx="12958">
                  <c:v>#N/A</c:v>
                </c:pt>
                <c:pt idx="12959">
                  <c:v>#N/A</c:v>
                </c:pt>
                <c:pt idx="12960">
                  <c:v>#N/A</c:v>
                </c:pt>
                <c:pt idx="12961">
                  <c:v>#N/A</c:v>
                </c:pt>
                <c:pt idx="12962">
                  <c:v>#N/A</c:v>
                </c:pt>
                <c:pt idx="12963">
                  <c:v>#N/A</c:v>
                </c:pt>
                <c:pt idx="12964">
                  <c:v>#N/A</c:v>
                </c:pt>
                <c:pt idx="12965">
                  <c:v>#N/A</c:v>
                </c:pt>
                <c:pt idx="12966">
                  <c:v>#N/A</c:v>
                </c:pt>
                <c:pt idx="12967">
                  <c:v>#N/A</c:v>
                </c:pt>
                <c:pt idx="12968">
                  <c:v>#N/A</c:v>
                </c:pt>
                <c:pt idx="12969">
                  <c:v>#N/A</c:v>
                </c:pt>
                <c:pt idx="12970">
                  <c:v>#N/A</c:v>
                </c:pt>
                <c:pt idx="12971">
                  <c:v>#N/A</c:v>
                </c:pt>
                <c:pt idx="12972">
                  <c:v>#N/A</c:v>
                </c:pt>
                <c:pt idx="12973">
                  <c:v>#N/A</c:v>
                </c:pt>
                <c:pt idx="12974">
                  <c:v>#N/A</c:v>
                </c:pt>
                <c:pt idx="12975">
                  <c:v>#N/A</c:v>
                </c:pt>
                <c:pt idx="12976">
                  <c:v>#N/A</c:v>
                </c:pt>
                <c:pt idx="12977">
                  <c:v>#N/A</c:v>
                </c:pt>
                <c:pt idx="12978">
                  <c:v>#N/A</c:v>
                </c:pt>
                <c:pt idx="12979">
                  <c:v>#N/A</c:v>
                </c:pt>
                <c:pt idx="12980">
                  <c:v>#N/A</c:v>
                </c:pt>
                <c:pt idx="12981">
                  <c:v>#N/A</c:v>
                </c:pt>
                <c:pt idx="12982">
                  <c:v>#N/A</c:v>
                </c:pt>
                <c:pt idx="12983">
                  <c:v>#N/A</c:v>
                </c:pt>
                <c:pt idx="12984">
                  <c:v>#N/A</c:v>
                </c:pt>
                <c:pt idx="12985">
                  <c:v>#N/A</c:v>
                </c:pt>
                <c:pt idx="12986">
                  <c:v>#N/A</c:v>
                </c:pt>
                <c:pt idx="12987">
                  <c:v>#N/A</c:v>
                </c:pt>
                <c:pt idx="12988">
                  <c:v>#N/A</c:v>
                </c:pt>
                <c:pt idx="12989">
                  <c:v>#N/A</c:v>
                </c:pt>
                <c:pt idx="12990">
                  <c:v>#N/A</c:v>
                </c:pt>
                <c:pt idx="12991">
                  <c:v>#N/A</c:v>
                </c:pt>
                <c:pt idx="12992">
                  <c:v>#N/A</c:v>
                </c:pt>
                <c:pt idx="12993">
                  <c:v>#N/A</c:v>
                </c:pt>
                <c:pt idx="12994">
                  <c:v>#N/A</c:v>
                </c:pt>
                <c:pt idx="12995">
                  <c:v>#N/A</c:v>
                </c:pt>
                <c:pt idx="12996">
                  <c:v>#N/A</c:v>
                </c:pt>
                <c:pt idx="12997">
                  <c:v>#N/A</c:v>
                </c:pt>
                <c:pt idx="12998">
                  <c:v>#N/A</c:v>
                </c:pt>
                <c:pt idx="12999">
                  <c:v>#N/A</c:v>
                </c:pt>
                <c:pt idx="13000">
                  <c:v>#N/A</c:v>
                </c:pt>
                <c:pt idx="13001">
                  <c:v>#N/A</c:v>
                </c:pt>
                <c:pt idx="13002">
                  <c:v>#N/A</c:v>
                </c:pt>
                <c:pt idx="13003">
                  <c:v>#N/A</c:v>
                </c:pt>
                <c:pt idx="13004">
                  <c:v>#N/A</c:v>
                </c:pt>
                <c:pt idx="13005">
                  <c:v>#N/A</c:v>
                </c:pt>
                <c:pt idx="13006">
                  <c:v>#N/A</c:v>
                </c:pt>
                <c:pt idx="13007">
                  <c:v>#N/A</c:v>
                </c:pt>
                <c:pt idx="13008">
                  <c:v>#N/A</c:v>
                </c:pt>
                <c:pt idx="13009">
                  <c:v>#N/A</c:v>
                </c:pt>
                <c:pt idx="13010">
                  <c:v>#N/A</c:v>
                </c:pt>
                <c:pt idx="13011">
                  <c:v>#N/A</c:v>
                </c:pt>
                <c:pt idx="13012">
                  <c:v>#N/A</c:v>
                </c:pt>
                <c:pt idx="13013">
                  <c:v>#N/A</c:v>
                </c:pt>
                <c:pt idx="13014">
                  <c:v>#N/A</c:v>
                </c:pt>
                <c:pt idx="13015">
                  <c:v>#N/A</c:v>
                </c:pt>
                <c:pt idx="13016">
                  <c:v>#N/A</c:v>
                </c:pt>
                <c:pt idx="13017">
                  <c:v>#N/A</c:v>
                </c:pt>
                <c:pt idx="13018">
                  <c:v>#N/A</c:v>
                </c:pt>
                <c:pt idx="13019">
                  <c:v>#N/A</c:v>
                </c:pt>
                <c:pt idx="13020">
                  <c:v>#N/A</c:v>
                </c:pt>
                <c:pt idx="13021">
                  <c:v>#N/A</c:v>
                </c:pt>
                <c:pt idx="13022">
                  <c:v>#N/A</c:v>
                </c:pt>
                <c:pt idx="13023">
                  <c:v>#N/A</c:v>
                </c:pt>
                <c:pt idx="13024">
                  <c:v>#N/A</c:v>
                </c:pt>
                <c:pt idx="13025">
                  <c:v>#N/A</c:v>
                </c:pt>
                <c:pt idx="13026">
                  <c:v>#N/A</c:v>
                </c:pt>
                <c:pt idx="13027">
                  <c:v>#N/A</c:v>
                </c:pt>
                <c:pt idx="13028">
                  <c:v>#N/A</c:v>
                </c:pt>
                <c:pt idx="13029">
                  <c:v>#N/A</c:v>
                </c:pt>
                <c:pt idx="13030">
                  <c:v>#N/A</c:v>
                </c:pt>
                <c:pt idx="13031">
                  <c:v>#N/A</c:v>
                </c:pt>
                <c:pt idx="13032">
                  <c:v>#N/A</c:v>
                </c:pt>
                <c:pt idx="13033">
                  <c:v>#N/A</c:v>
                </c:pt>
                <c:pt idx="13034">
                  <c:v>#N/A</c:v>
                </c:pt>
                <c:pt idx="13035">
                  <c:v>#N/A</c:v>
                </c:pt>
                <c:pt idx="13036">
                  <c:v>#N/A</c:v>
                </c:pt>
                <c:pt idx="13037">
                  <c:v>#N/A</c:v>
                </c:pt>
                <c:pt idx="13038">
                  <c:v>#N/A</c:v>
                </c:pt>
                <c:pt idx="13039">
                  <c:v>#N/A</c:v>
                </c:pt>
                <c:pt idx="13040">
                  <c:v>#N/A</c:v>
                </c:pt>
                <c:pt idx="13041">
                  <c:v>#N/A</c:v>
                </c:pt>
                <c:pt idx="13042">
                  <c:v>#N/A</c:v>
                </c:pt>
                <c:pt idx="13043">
                  <c:v>#N/A</c:v>
                </c:pt>
                <c:pt idx="13044">
                  <c:v>#N/A</c:v>
                </c:pt>
                <c:pt idx="13045">
                  <c:v>#N/A</c:v>
                </c:pt>
                <c:pt idx="13046">
                  <c:v>#N/A</c:v>
                </c:pt>
                <c:pt idx="13047">
                  <c:v>#N/A</c:v>
                </c:pt>
                <c:pt idx="13048">
                  <c:v>#N/A</c:v>
                </c:pt>
                <c:pt idx="13049">
                  <c:v>#N/A</c:v>
                </c:pt>
                <c:pt idx="13050">
                  <c:v>#N/A</c:v>
                </c:pt>
                <c:pt idx="13051">
                  <c:v>#N/A</c:v>
                </c:pt>
                <c:pt idx="13052">
                  <c:v>#N/A</c:v>
                </c:pt>
                <c:pt idx="13053">
                  <c:v>#N/A</c:v>
                </c:pt>
                <c:pt idx="13054">
                  <c:v>#N/A</c:v>
                </c:pt>
                <c:pt idx="13055">
                  <c:v>#N/A</c:v>
                </c:pt>
                <c:pt idx="13056">
                  <c:v>#N/A</c:v>
                </c:pt>
                <c:pt idx="13057">
                  <c:v>#N/A</c:v>
                </c:pt>
                <c:pt idx="13058">
                  <c:v>#N/A</c:v>
                </c:pt>
                <c:pt idx="13059">
                  <c:v>#N/A</c:v>
                </c:pt>
                <c:pt idx="13060">
                  <c:v>#N/A</c:v>
                </c:pt>
                <c:pt idx="13061">
                  <c:v>#N/A</c:v>
                </c:pt>
                <c:pt idx="13062">
                  <c:v>#N/A</c:v>
                </c:pt>
                <c:pt idx="13063">
                  <c:v>#N/A</c:v>
                </c:pt>
                <c:pt idx="13064">
                  <c:v>#N/A</c:v>
                </c:pt>
                <c:pt idx="13065">
                  <c:v>#N/A</c:v>
                </c:pt>
                <c:pt idx="13066">
                  <c:v>#N/A</c:v>
                </c:pt>
                <c:pt idx="13067">
                  <c:v>#N/A</c:v>
                </c:pt>
                <c:pt idx="13068">
                  <c:v>#N/A</c:v>
                </c:pt>
                <c:pt idx="13069">
                  <c:v>#N/A</c:v>
                </c:pt>
                <c:pt idx="13070">
                  <c:v>#N/A</c:v>
                </c:pt>
                <c:pt idx="13071">
                  <c:v>#N/A</c:v>
                </c:pt>
                <c:pt idx="13072">
                  <c:v>#N/A</c:v>
                </c:pt>
                <c:pt idx="13073">
                  <c:v>#N/A</c:v>
                </c:pt>
                <c:pt idx="13074">
                  <c:v>#N/A</c:v>
                </c:pt>
                <c:pt idx="13075">
                  <c:v>#N/A</c:v>
                </c:pt>
                <c:pt idx="13076">
                  <c:v>#N/A</c:v>
                </c:pt>
                <c:pt idx="13077">
                  <c:v>#N/A</c:v>
                </c:pt>
                <c:pt idx="13078">
                  <c:v>#N/A</c:v>
                </c:pt>
                <c:pt idx="13079">
                  <c:v>#N/A</c:v>
                </c:pt>
                <c:pt idx="13080">
                  <c:v>#N/A</c:v>
                </c:pt>
              </c:numCache>
            </c:numRef>
          </c:xVal>
          <c:yVal>
            <c:numRef>
              <c:f>'power_generator-2024-09-23T (2)'!$U$2:$U$13082</c:f>
              <c:numCache>
                <c:formatCode>General</c:formatCode>
                <c:ptCount val="13081"/>
                <c:pt idx="0">
                  <c:v>5.0423620058489318</c:v>
                </c:pt>
                <c:pt idx="1">
                  <c:v>5.9984969734300204</c:v>
                </c:pt>
                <c:pt idx="2">
                  <c:v>6.028243266869449</c:v>
                </c:pt>
                <c:pt idx="3">
                  <c:v>6.027615680892267</c:v>
                </c:pt>
                <c:pt idx="4">
                  <c:v>6.0968802963641044</c:v>
                </c:pt>
                <c:pt idx="5">
                  <c:v>5.0833740576969442</c:v>
                </c:pt>
                <c:pt idx="6">
                  <c:v>4.8649706859237121</c:v>
                </c:pt>
                <c:pt idx="7">
                  <c:v>4.9838127763822371</c:v>
                </c:pt>
                <c:pt idx="8">
                  <c:v>3.9330733837753398</c:v>
                </c:pt>
                <c:pt idx="9">
                  <c:v>5.0274272656549748</c:v>
                </c:pt>
                <c:pt idx="10">
                  <c:v>4.2713519971552012</c:v>
                </c:pt>
                <c:pt idx="11">
                  <c:v>4.0230424193938301</c:v>
                </c:pt>
                <c:pt idx="12">
                  <c:v>5.1093266698785786</c:v>
                </c:pt>
                <c:pt idx="13">
                  <c:v>3.7789549155485394</c:v>
                </c:pt>
                <c:pt idx="14">
                  <c:v>5.1135823180669</c:v>
                </c:pt>
                <c:pt idx="15">
                  <c:v>5.1470967119613782</c:v>
                </c:pt>
                <c:pt idx="16">
                  <c:v>5.0933798732621636</c:v>
                </c:pt>
                <c:pt idx="17">
                  <c:v>6.1148849603222679</c:v>
                </c:pt>
                <c:pt idx="18">
                  <c:v>5.1840351127786324</c:v>
                </c:pt>
                <c:pt idx="19">
                  <c:v>4.9326101929562061</c:v>
                </c:pt>
                <c:pt idx="20">
                  <c:v>4.891495675253843</c:v>
                </c:pt>
                <c:pt idx="21">
                  <c:v>5.0342251415695536</c:v>
                </c:pt>
                <c:pt idx="22">
                  <c:v>5.0857390895175936</c:v>
                </c:pt>
                <c:pt idx="23">
                  <c:v>6.0305374433227987</c:v>
                </c:pt>
                <c:pt idx="24">
                  <c:v>5.867703502113379</c:v>
                </c:pt>
                <c:pt idx="25">
                  <c:v>5.2281367546392428</c:v>
                </c:pt>
                <c:pt idx="26">
                  <c:v>6.0403565569171107</c:v>
                </c:pt>
                <c:pt idx="27">
                  <c:v>4.9230729141968723</c:v>
                </c:pt>
                <c:pt idx="28">
                  <c:v>5.0047761039437617</c:v>
                </c:pt>
                <c:pt idx="29">
                  <c:v>4.1601352771088891</c:v>
                </c:pt>
                <c:pt idx="30">
                  <c:v>4.8531316785957088</c:v>
                </c:pt>
                <c:pt idx="31">
                  <c:v>5.1731757707995758</c:v>
                </c:pt>
                <c:pt idx="32">
                  <c:v>3.8841641575482173</c:v>
                </c:pt>
                <c:pt idx="33">
                  <c:v>4.9633263593285042</c:v>
                </c:pt>
                <c:pt idx="34">
                  <c:v>5.7934833686737042</c:v>
                </c:pt>
                <c:pt idx="35">
                  <c:v>5.776250892404355</c:v>
                </c:pt>
                <c:pt idx="36">
                  <c:v>4.9795114960604261</c:v>
                </c:pt>
                <c:pt idx="37">
                  <c:v>7.0567515492551678</c:v>
                </c:pt>
                <c:pt idx="38">
                  <c:v>5.9107818677330508</c:v>
                </c:pt>
                <c:pt idx="39">
                  <c:v>3.9863828012207243</c:v>
                </c:pt>
                <c:pt idx="40">
                  <c:v>5.0730218962980711</c:v>
                </c:pt>
                <c:pt idx="41">
                  <c:v>4.912029944991863</c:v>
                </c:pt>
                <c:pt idx="42">
                  <c:v>5.0048101777829253</c:v>
                </c:pt>
                <c:pt idx="43">
                  <c:v>5.8595127855509057</c:v>
                </c:pt>
                <c:pt idx="44">
                  <c:v>4.1076766125286248</c:v>
                </c:pt>
                <c:pt idx="45">
                  <c:v>6.9813927063759165</c:v>
                </c:pt>
                <c:pt idx="46">
                  <c:v>6.1455680024709345</c:v>
                </c:pt>
                <c:pt idx="47">
                  <c:v>5.002322790238539</c:v>
                </c:pt>
                <c:pt idx="48">
                  <c:v>3.9556188004152095</c:v>
                </c:pt>
                <c:pt idx="49">
                  <c:v>5.9668690691198574</c:v>
                </c:pt>
                <c:pt idx="50">
                  <c:v>6.1061528519625874</c:v>
                </c:pt>
                <c:pt idx="51">
                  <c:v>4.9568554683781558</c:v>
                </c:pt>
                <c:pt idx="52">
                  <c:v>5.9705560961442199</c:v>
                </c:pt>
                <c:pt idx="53">
                  <c:v>3.8649575757968564</c:v>
                </c:pt>
                <c:pt idx="54">
                  <c:v>5.0505858619730901</c:v>
                </c:pt>
                <c:pt idx="55">
                  <c:v>5.094145874629155</c:v>
                </c:pt>
                <c:pt idx="56">
                  <c:v>5.8074269643065435</c:v>
                </c:pt>
                <c:pt idx="57">
                  <c:v>5.953659090889821</c:v>
                </c:pt>
                <c:pt idx="58">
                  <c:v>4.8031963268992515</c:v>
                </c:pt>
                <c:pt idx="59">
                  <c:v>4.0680530396243464</c:v>
                </c:pt>
                <c:pt idx="60">
                  <c:v>5.1313087767133325</c:v>
                </c:pt>
                <c:pt idx="61">
                  <c:v>3.8579803787173397</c:v>
                </c:pt>
                <c:pt idx="62">
                  <c:v>5.8664847588884204</c:v>
                </c:pt>
                <c:pt idx="63">
                  <c:v>9.0794018642177576</c:v>
                </c:pt>
                <c:pt idx="64">
                  <c:v>5.0592714449641276</c:v>
                </c:pt>
                <c:pt idx="65">
                  <c:v>6.1206365581012303</c:v>
                </c:pt>
                <c:pt idx="66">
                  <c:v>4.8865991374950877</c:v>
                </c:pt>
                <c:pt idx="67">
                  <c:v>4.9021862801652549</c:v>
                </c:pt>
                <c:pt idx="68">
                  <c:v>5.1710506636393925</c:v>
                </c:pt>
                <c:pt idx="69">
                  <c:v>6.1361049125818008</c:v>
                </c:pt>
                <c:pt idx="70">
                  <c:v>5.9186018762335406</c:v>
                </c:pt>
                <c:pt idx="71">
                  <c:v>6.0127675753564214</c:v>
                </c:pt>
                <c:pt idx="72">
                  <c:v>5.9751240711200326</c:v>
                </c:pt>
                <c:pt idx="73">
                  <c:v>5.9048754423423997</c:v>
                </c:pt>
                <c:pt idx="74">
                  <c:v>6.0030827812151504</c:v>
                </c:pt>
                <c:pt idx="75">
                  <c:v>5.9356058018936881</c:v>
                </c:pt>
                <c:pt idx="76">
                  <c:v>4.9025467418290649</c:v>
                </c:pt>
                <c:pt idx="77">
                  <c:v>5.8577519470087003</c:v>
                </c:pt>
                <c:pt idx="78">
                  <c:v>4.917646632103513</c:v>
                </c:pt>
                <c:pt idx="79">
                  <c:v>4.9490580642890647</c:v>
                </c:pt>
                <c:pt idx="80">
                  <c:v>5.0974975255379489</c:v>
                </c:pt>
                <c:pt idx="81">
                  <c:v>5.9318785407512555</c:v>
                </c:pt>
                <c:pt idx="82">
                  <c:v>4.9220516310285447</c:v>
                </c:pt>
                <c:pt idx="83">
                  <c:v>5.078016067201184</c:v>
                </c:pt>
                <c:pt idx="84">
                  <c:v>5.1051260061440606</c:v>
                </c:pt>
                <c:pt idx="85">
                  <c:v>4.9754304970155259</c:v>
                </c:pt>
                <c:pt idx="86">
                  <c:v>5.9431455999129463</c:v>
                </c:pt>
                <c:pt idx="87">
                  <c:v>6.0190873451923839</c:v>
                </c:pt>
                <c:pt idx="88">
                  <c:v>5.1276009043277524</c:v>
                </c:pt>
                <c:pt idx="89">
                  <c:v>6.0970598419303919</c:v>
                </c:pt>
                <c:pt idx="90">
                  <c:v>5.0061002985165173</c:v>
                </c:pt>
                <c:pt idx="91">
                  <c:v>6.0247791384179923</c:v>
                </c:pt>
                <c:pt idx="92">
                  <c:v>5.9782425106237085</c:v>
                </c:pt>
                <c:pt idx="93">
                  <c:v>4.9007286570651205</c:v>
                </c:pt>
                <c:pt idx="94">
                  <c:v>5.962445986496177</c:v>
                </c:pt>
                <c:pt idx="95">
                  <c:v>6.1226960261946486</c:v>
                </c:pt>
                <c:pt idx="96">
                  <c:v>5.0999749424204692</c:v>
                </c:pt>
                <c:pt idx="97">
                  <c:v>5.0223016162710925</c:v>
                </c:pt>
                <c:pt idx="98">
                  <c:v>5.925556808952706</c:v>
                </c:pt>
                <c:pt idx="99">
                  <c:v>5.9122627195450885</c:v>
                </c:pt>
                <c:pt idx="100">
                  <c:v>5.9604077256928312</c:v>
                </c:pt>
                <c:pt idx="101">
                  <c:v>6.0114538526580734</c:v>
                </c:pt>
                <c:pt idx="102">
                  <c:v>6.2095468873314248</c:v>
                </c:pt>
                <c:pt idx="103">
                  <c:v>4.9598970253977299</c:v>
                </c:pt>
                <c:pt idx="104">
                  <c:v>6.1295661774850361</c:v>
                </c:pt>
                <c:pt idx="105">
                  <c:v>6.0973062095551605</c:v>
                </c:pt>
                <c:pt idx="106">
                  <c:v>4.973498553324597</c:v>
                </c:pt>
                <c:pt idx="107">
                  <c:v>4.9186300478743785</c:v>
                </c:pt>
                <c:pt idx="108">
                  <c:v>5.0099753647069001</c:v>
                </c:pt>
                <c:pt idx="109">
                  <c:v>4.9343798874746421</c:v>
                </c:pt>
                <c:pt idx="110">
                  <c:v>4.8266720303695108</c:v>
                </c:pt>
                <c:pt idx="111">
                  <c:v>4.9887374921046366</c:v>
                </c:pt>
                <c:pt idx="112">
                  <c:v>5.9214695848801044</c:v>
                </c:pt>
                <c:pt idx="113">
                  <c:v>5.2496843542288083</c:v>
                </c:pt>
                <c:pt idx="114">
                  <c:v>6.9017115400496101</c:v>
                </c:pt>
                <c:pt idx="115">
                  <c:v>4.8642807759450353</c:v>
                </c:pt>
                <c:pt idx="116">
                  <c:v>4.0107633082364842</c:v>
                </c:pt>
                <c:pt idx="117">
                  <c:v>5.716100812085207</c:v>
                </c:pt>
                <c:pt idx="118">
                  <c:v>3.9643128178614315</c:v>
                </c:pt>
                <c:pt idx="119">
                  <c:v>4.9274400474862983</c:v>
                </c:pt>
                <c:pt idx="120">
                  <c:v>5.9118105434917032</c:v>
                </c:pt>
                <c:pt idx="121">
                  <c:v>4.9687323800346315</c:v>
                </c:pt>
                <c:pt idx="122">
                  <c:v>5.0709090838859856</c:v>
                </c:pt>
                <c:pt idx="123">
                  <c:v>6.1895441805595812</c:v>
                </c:pt>
                <c:pt idx="124">
                  <c:v>5.0240952862107973</c:v>
                </c:pt>
                <c:pt idx="125">
                  <c:v>5.0158145501548654</c:v>
                </c:pt>
                <c:pt idx="126">
                  <c:v>4.9110702561664219</c:v>
                </c:pt>
                <c:pt idx="127">
                  <c:v>4.9505232340569609</c:v>
                </c:pt>
                <c:pt idx="128">
                  <c:v>4.9914528394628972</c:v>
                </c:pt>
                <c:pt idx="129">
                  <c:v>5.0485988376627606</c:v>
                </c:pt>
                <c:pt idx="130">
                  <c:v>5.9040392126915098</c:v>
                </c:pt>
                <c:pt idx="131">
                  <c:v>5.1263152877492377</c:v>
                </c:pt>
                <c:pt idx="132">
                  <c:v>3.8780653190770926</c:v>
                </c:pt>
                <c:pt idx="133">
                  <c:v>7.0810924603937728</c:v>
                </c:pt>
                <c:pt idx="134">
                  <c:v>4.1695790557500478</c:v>
                </c:pt>
                <c:pt idx="135">
                  <c:v>4.8333544444253231</c:v>
                </c:pt>
                <c:pt idx="136">
                  <c:v>5.047786140001068</c:v>
                </c:pt>
                <c:pt idx="137">
                  <c:v>4.9850374742404373</c:v>
                </c:pt>
                <c:pt idx="138">
                  <c:v>5.9966655440644159</c:v>
                </c:pt>
                <c:pt idx="139">
                  <c:v>5.9464070761871151</c:v>
                </c:pt>
                <c:pt idx="140">
                  <c:v>5.0261577459183897</c:v>
                </c:pt>
                <c:pt idx="141">
                  <c:v>6.0492630038458195</c:v>
                </c:pt>
                <c:pt idx="142">
                  <c:v>5.9904079223632039</c:v>
                </c:pt>
                <c:pt idx="143">
                  <c:v>5.1123386361373644</c:v>
                </c:pt>
                <c:pt idx="144">
                  <c:v>5.9627487621356012</c:v>
                </c:pt>
                <c:pt idx="145">
                  <c:v>5.0191285834595094</c:v>
                </c:pt>
                <c:pt idx="146">
                  <c:v>4.8464054626331707</c:v>
                </c:pt>
                <c:pt idx="147">
                  <c:v>6.1887514766896352</c:v>
                </c:pt>
                <c:pt idx="148">
                  <c:v>5.0198268604449474</c:v>
                </c:pt>
                <c:pt idx="149">
                  <c:v>4.9449494860754672</c:v>
                </c:pt>
                <c:pt idx="150">
                  <c:v>6.0367281491066711</c:v>
                </c:pt>
                <c:pt idx="151">
                  <c:v>5.0934908623560897</c:v>
                </c:pt>
                <c:pt idx="152">
                  <c:v>3.9807678242223608</c:v>
                </c:pt>
                <c:pt idx="153">
                  <c:v>6.0355725917546055</c:v>
                </c:pt>
                <c:pt idx="154">
                  <c:v>5.9603480468779209</c:v>
                </c:pt>
                <c:pt idx="155">
                  <c:v>5.9638408615907457</c:v>
                </c:pt>
                <c:pt idx="156">
                  <c:v>3.9539837663113113</c:v>
                </c:pt>
                <c:pt idx="157">
                  <c:v>4.1731656536706145</c:v>
                </c:pt>
                <c:pt idx="158">
                  <c:v>4.0214970395963894</c:v>
                </c:pt>
                <c:pt idx="159">
                  <c:v>6.8408029881742465</c:v>
                </c:pt>
                <c:pt idx="160">
                  <c:v>4.910736369240956</c:v>
                </c:pt>
                <c:pt idx="161">
                  <c:v>3.803027586613863</c:v>
                </c:pt>
                <c:pt idx="162">
                  <c:v>4.8912904841671416</c:v>
                </c:pt>
                <c:pt idx="163">
                  <c:v>5.0828837914567213</c:v>
                </c:pt>
                <c:pt idx="164">
                  <c:v>5.9008980929160826</c:v>
                </c:pt>
                <c:pt idx="165">
                  <c:v>5.0204716450650793</c:v>
                </c:pt>
                <c:pt idx="166">
                  <c:v>5.8305132069850591</c:v>
                </c:pt>
                <c:pt idx="167">
                  <c:v>7.0406017735940996</c:v>
                </c:pt>
                <c:pt idx="168">
                  <c:v>5.9859054573296024</c:v>
                </c:pt>
                <c:pt idx="169">
                  <c:v>4.9997223872251988</c:v>
                </c:pt>
                <c:pt idx="170">
                  <c:v>6.0103278301842487</c:v>
                </c:pt>
                <c:pt idx="171">
                  <c:v>7.1055740348015242</c:v>
                </c:pt>
                <c:pt idx="172">
                  <c:v>5.0173008044384222</c:v>
                </c:pt>
                <c:pt idx="173">
                  <c:v>6.1730306603458152</c:v>
                </c:pt>
                <c:pt idx="174">
                  <c:v>6.1826816457524929</c:v>
                </c:pt>
                <c:pt idx="175">
                  <c:v>4.9729191662701808</c:v>
                </c:pt>
                <c:pt idx="176">
                  <c:v>5.0330274337650973</c:v>
                </c:pt>
                <c:pt idx="177">
                  <c:v>7.1317304266108064</c:v>
                </c:pt>
                <c:pt idx="178">
                  <c:v>5.0889509198750593</c:v>
                </c:pt>
                <c:pt idx="179">
                  <c:v>6.8172523782089272</c:v>
                </c:pt>
                <c:pt idx="180">
                  <c:v>6.1648282916004895</c:v>
                </c:pt>
                <c:pt idx="181">
                  <c:v>6.9722014193880693</c:v>
                </c:pt>
                <c:pt idx="182">
                  <c:v>4.9969252129256176</c:v>
                </c:pt>
                <c:pt idx="183">
                  <c:v>4.8497439597186318</c:v>
                </c:pt>
                <c:pt idx="184">
                  <c:v>6.1491410038074044</c:v>
                </c:pt>
                <c:pt idx="185">
                  <c:v>6.8212694297105489</c:v>
                </c:pt>
                <c:pt idx="186">
                  <c:v>4.9067617809449633</c:v>
                </c:pt>
                <c:pt idx="187">
                  <c:v>5.9926035340808115</c:v>
                </c:pt>
                <c:pt idx="188">
                  <c:v>5.1682307987036351</c:v>
                </c:pt>
                <c:pt idx="189">
                  <c:v>4.9957825970204937</c:v>
                </c:pt>
                <c:pt idx="190">
                  <c:v>5.0982241597762847</c:v>
                </c:pt>
                <c:pt idx="191">
                  <c:v>6.0282998980335787</c:v>
                </c:pt>
                <c:pt idx="192">
                  <c:v>5.0541895358524371</c:v>
                </c:pt>
                <c:pt idx="193">
                  <c:v>4.9970709057776794</c:v>
                </c:pt>
                <c:pt idx="194">
                  <c:v>3.8003804184922676</c:v>
                </c:pt>
                <c:pt idx="195">
                  <c:v>7.0466582274554277</c:v>
                </c:pt>
                <c:pt idx="196">
                  <c:v>6.0212963952618574</c:v>
                </c:pt>
                <c:pt idx="197">
                  <c:v>4.793230031026722</c:v>
                </c:pt>
                <c:pt idx="198">
                  <c:v>6.080865798418067</c:v>
                </c:pt>
                <c:pt idx="199">
                  <c:v>4.8861636674611866</c:v>
                </c:pt>
                <c:pt idx="200">
                  <c:v>6.1234908645295203</c:v>
                </c:pt>
                <c:pt idx="201">
                  <c:v>4.999357389225942</c:v>
                </c:pt>
                <c:pt idx="202">
                  <c:v>5.980716292650639</c:v>
                </c:pt>
                <c:pt idx="203">
                  <c:v>6.0332082211200744</c:v>
                </c:pt>
                <c:pt idx="204">
                  <c:v>6.0915285932885723</c:v>
                </c:pt>
                <c:pt idx="205">
                  <c:v>6.0278542981032821</c:v>
                </c:pt>
                <c:pt idx="206">
                  <c:v>2.9477775731227913</c:v>
                </c:pt>
                <c:pt idx="207">
                  <c:v>6.0840400342303207</c:v>
                </c:pt>
                <c:pt idx="208">
                  <c:v>6.1682895985196717</c:v>
                </c:pt>
                <c:pt idx="209">
                  <c:v>5.0584110563120026</c:v>
                </c:pt>
                <c:pt idx="210">
                  <c:v>5.9020192961825133</c:v>
                </c:pt>
                <c:pt idx="211">
                  <c:v>5.0820017355251439</c:v>
                </c:pt>
                <c:pt idx="212">
                  <c:v>6.1041879349566557</c:v>
                </c:pt>
                <c:pt idx="213">
                  <c:v>4.842808517381517</c:v>
                </c:pt>
                <c:pt idx="214">
                  <c:v>5.0700700097661784</c:v>
                </c:pt>
                <c:pt idx="215">
                  <c:v>5.9056577603186318</c:v>
                </c:pt>
                <c:pt idx="216">
                  <c:v>5.9642940476681057</c:v>
                </c:pt>
                <c:pt idx="217">
                  <c:v>5.8165689246558028</c:v>
                </c:pt>
                <c:pt idx="218">
                  <c:v>6.0108322739224</c:v>
                </c:pt>
                <c:pt idx="219">
                  <c:v>4.8831536474413122</c:v>
                </c:pt>
                <c:pt idx="220">
                  <c:v>4.9390785790196503</c:v>
                </c:pt>
                <c:pt idx="221">
                  <c:v>6.8765981783800934</c:v>
                </c:pt>
                <c:pt idx="222">
                  <c:v>5.8793298720437672</c:v>
                </c:pt>
                <c:pt idx="223">
                  <c:v>5.962042194731616</c:v>
                </c:pt>
                <c:pt idx="224">
                  <c:v>7.1114495938419244</c:v>
                </c:pt>
                <c:pt idx="225">
                  <c:v>4.9892365360762199</c:v>
                </c:pt>
                <c:pt idx="226">
                  <c:v>4.9188345427678497</c:v>
                </c:pt>
                <c:pt idx="227">
                  <c:v>4.843636773135592</c:v>
                </c:pt>
                <c:pt idx="228">
                  <c:v>4.8146486174694072</c:v>
                </c:pt>
                <c:pt idx="229">
                  <c:v>6.9030673957482822</c:v>
                </c:pt>
                <c:pt idx="230">
                  <c:v>4.880718752787109</c:v>
                </c:pt>
                <c:pt idx="231">
                  <c:v>4.9002960353052485</c:v>
                </c:pt>
                <c:pt idx="232">
                  <c:v>4.7193027084078878</c:v>
                </c:pt>
                <c:pt idx="233">
                  <c:v>2.8697434451342234</c:v>
                </c:pt>
                <c:pt idx="234">
                  <c:v>5.0756071344489966</c:v>
                </c:pt>
                <c:pt idx="235">
                  <c:v>5.8944544926968101</c:v>
                </c:pt>
                <c:pt idx="236">
                  <c:v>4.9127453877650717</c:v>
                </c:pt>
                <c:pt idx="237">
                  <c:v>4.8017985781301844</c:v>
                </c:pt>
                <c:pt idx="238">
                  <c:v>5.9327315458412953</c:v>
                </c:pt>
                <c:pt idx="239">
                  <c:v>5.9041896594131291</c:v>
                </c:pt>
                <c:pt idx="240">
                  <c:v>4.8016771338059607</c:v>
                </c:pt>
                <c:pt idx="241">
                  <c:v>5.9641380952762617</c:v>
                </c:pt>
                <c:pt idx="242">
                  <c:v>5.952300035164785</c:v>
                </c:pt>
                <c:pt idx="243">
                  <c:v>6.0619676921819243</c:v>
                </c:pt>
                <c:pt idx="244">
                  <c:v>6.0111006631843953</c:v>
                </c:pt>
                <c:pt idx="245">
                  <c:v>4.851244598195402</c:v>
                </c:pt>
                <c:pt idx="246">
                  <c:v>4.9906080186302466</c:v>
                </c:pt>
                <c:pt idx="247">
                  <c:v>4.9064243993438685</c:v>
                </c:pt>
                <c:pt idx="248">
                  <c:v>5.8970273293123032</c:v>
                </c:pt>
                <c:pt idx="249">
                  <c:v>5.0452739296327449</c:v>
                </c:pt>
                <c:pt idx="250">
                  <c:v>5.1689640835037789</c:v>
                </c:pt>
                <c:pt idx="251">
                  <c:v>5.7823981166963154</c:v>
                </c:pt>
                <c:pt idx="252">
                  <c:v>5.9882387546657707</c:v>
                </c:pt>
                <c:pt idx="253">
                  <c:v>4.9312738496139774</c:v>
                </c:pt>
                <c:pt idx="254">
                  <c:v>4.9625860723113746</c:v>
                </c:pt>
                <c:pt idx="255">
                  <c:v>5.0109173225453576</c:v>
                </c:pt>
                <c:pt idx="256">
                  <c:v>5.2733558191826919</c:v>
                </c:pt>
                <c:pt idx="257">
                  <c:v>4.9274546571206894</c:v>
                </c:pt>
                <c:pt idx="258">
                  <c:v>5.9450012077590904</c:v>
                </c:pt>
                <c:pt idx="259">
                  <c:v>4.7775452926105935</c:v>
                </c:pt>
                <c:pt idx="260">
                  <c:v>5.073238990658262</c:v>
                </c:pt>
                <c:pt idx="261">
                  <c:v>5.0522821710366914</c:v>
                </c:pt>
                <c:pt idx="262">
                  <c:v>5.2364283529770788</c:v>
                </c:pt>
                <c:pt idx="263">
                  <c:v>5.0524473201889153</c:v>
                </c:pt>
                <c:pt idx="264">
                  <c:v>5.9465842556328274</c:v>
                </c:pt>
                <c:pt idx="265">
                  <c:v>4.8895291818552256</c:v>
                </c:pt>
                <c:pt idx="266">
                  <c:v>5.0805123652886399</c:v>
                </c:pt>
                <c:pt idx="267">
                  <c:v>4.8794320382777912</c:v>
                </c:pt>
                <c:pt idx="268">
                  <c:v>5.01838177870472</c:v>
                </c:pt>
                <c:pt idx="269">
                  <c:v>4.9918274488573955</c:v>
                </c:pt>
                <c:pt idx="270">
                  <c:v>6.1200409172211074</c:v>
                </c:pt>
                <c:pt idx="271">
                  <c:v>5.932653920391326</c:v>
                </c:pt>
                <c:pt idx="272">
                  <c:v>5.9701727787049306</c:v>
                </c:pt>
                <c:pt idx="273">
                  <c:v>6.1478878161993809</c:v>
                </c:pt>
                <c:pt idx="274">
                  <c:v>4.8317009545328231</c:v>
                </c:pt>
                <c:pt idx="275">
                  <c:v>2.9634620591025471</c:v>
                </c:pt>
                <c:pt idx="276">
                  <c:v>3.9806464797880272</c:v>
                </c:pt>
                <c:pt idx="277">
                  <c:v>5.9867573979320845</c:v>
                </c:pt>
                <c:pt idx="278">
                  <c:v>6.0781911475850325</c:v>
                </c:pt>
                <c:pt idx="279">
                  <c:v>6.0342051834257191</c:v>
                </c:pt>
                <c:pt idx="280">
                  <c:v>5.9271561542908229</c:v>
                </c:pt>
                <c:pt idx="281">
                  <c:v>6.1122342121904909</c:v>
                </c:pt>
                <c:pt idx="282">
                  <c:v>5.815451475759053</c:v>
                </c:pt>
                <c:pt idx="283">
                  <c:v>5.8798628396886503</c:v>
                </c:pt>
                <c:pt idx="284">
                  <c:v>4.9700053532855195</c:v>
                </c:pt>
                <c:pt idx="285">
                  <c:v>5.1303753972439967</c:v>
                </c:pt>
                <c:pt idx="286">
                  <c:v>4.9920553925093136</c:v>
                </c:pt>
                <c:pt idx="287">
                  <c:v>6.9827118123280414</c:v>
                </c:pt>
                <c:pt idx="288">
                  <c:v>5.9880190527504773</c:v>
                </c:pt>
                <c:pt idx="289">
                  <c:v>3.9919881112683298</c:v>
                </c:pt>
                <c:pt idx="290">
                  <c:v>6.0840417778173324</c:v>
                </c:pt>
                <c:pt idx="291">
                  <c:v>6.0194571192955193</c:v>
                </c:pt>
                <c:pt idx="292">
                  <c:v>6.1022896422957089</c:v>
                </c:pt>
                <c:pt idx="293">
                  <c:v>5.0392997264935273</c:v>
                </c:pt>
                <c:pt idx="294">
                  <c:v>6.0363952575660953</c:v>
                </c:pt>
                <c:pt idx="295">
                  <c:v>4.9871365582278697</c:v>
                </c:pt>
                <c:pt idx="296">
                  <c:v>6.0088966354097133</c:v>
                </c:pt>
                <c:pt idx="297">
                  <c:v>5.0622778632756074</c:v>
                </c:pt>
                <c:pt idx="298">
                  <c:v>3.9427991134193787</c:v>
                </c:pt>
                <c:pt idx="299">
                  <c:v>4.8892441963980575</c:v>
                </c:pt>
                <c:pt idx="300">
                  <c:v>5.0413153770015597</c:v>
                </c:pt>
                <c:pt idx="301">
                  <c:v>5.0652707849752199</c:v>
                </c:pt>
                <c:pt idx="302">
                  <c:v>5.0239740289447949</c:v>
                </c:pt>
                <c:pt idx="303">
                  <c:v>5.968839313017182</c:v>
                </c:pt>
                <c:pt idx="304">
                  <c:v>6.033625409387751</c:v>
                </c:pt>
                <c:pt idx="305">
                  <c:v>4.9154251328101868</c:v>
                </c:pt>
                <c:pt idx="306">
                  <c:v>5.0960135237818402</c:v>
                </c:pt>
                <c:pt idx="307">
                  <c:v>4.9013306189490136</c:v>
                </c:pt>
                <c:pt idx="308">
                  <c:v>5.8767408005972879</c:v>
                </c:pt>
                <c:pt idx="309">
                  <c:v>3.8219548454663124</c:v>
                </c:pt>
                <c:pt idx="310">
                  <c:v>5.1852830532321361</c:v>
                </c:pt>
                <c:pt idx="311">
                  <c:v>5.9895204201191588</c:v>
                </c:pt>
                <c:pt idx="312">
                  <c:v>6.2069554504064888</c:v>
                </c:pt>
                <c:pt idx="313">
                  <c:v>5.161462854999523</c:v>
                </c:pt>
                <c:pt idx="314">
                  <c:v>5.1493373094064729</c:v>
                </c:pt>
                <c:pt idx="315">
                  <c:v>4.8440120114589256</c:v>
                </c:pt>
                <c:pt idx="316">
                  <c:v>3.9032997784716916</c:v>
                </c:pt>
                <c:pt idx="317">
                  <c:v>4.9576213770016144</c:v>
                </c:pt>
                <c:pt idx="318">
                  <c:v>4.8503244241720846</c:v>
                </c:pt>
                <c:pt idx="319">
                  <c:v>5.9600145107325364</c:v>
                </c:pt>
                <c:pt idx="320">
                  <c:v>5.8987295344287523</c:v>
                </c:pt>
                <c:pt idx="321">
                  <c:v>6.057050866882923</c:v>
                </c:pt>
                <c:pt idx="322">
                  <c:v>6.0487230419033526</c:v>
                </c:pt>
                <c:pt idx="323">
                  <c:v>6.1336847944682846</c:v>
                </c:pt>
                <c:pt idx="324">
                  <c:v>6.9544399674089181</c:v>
                </c:pt>
                <c:pt idx="325">
                  <c:v>4.808816710036723</c:v>
                </c:pt>
                <c:pt idx="326">
                  <c:v>4.9794913942623946</c:v>
                </c:pt>
                <c:pt idx="327">
                  <c:v>6.1644405081891041</c:v>
                </c:pt>
                <c:pt idx="328">
                  <c:v>3.9218760587372112</c:v>
                </c:pt>
                <c:pt idx="329">
                  <c:v>4.8872602261411595</c:v>
                </c:pt>
                <c:pt idx="330">
                  <c:v>4.9853337761105507</c:v>
                </c:pt>
                <c:pt idx="331">
                  <c:v>7.065037717679794</c:v>
                </c:pt>
                <c:pt idx="332">
                  <c:v>5.2737874926974966</c:v>
                </c:pt>
                <c:pt idx="333">
                  <c:v>6.0572261608642428</c:v>
                </c:pt>
                <c:pt idx="334">
                  <c:v>4.8764830148170111</c:v>
                </c:pt>
                <c:pt idx="335">
                  <c:v>5.9679167828210709</c:v>
                </c:pt>
                <c:pt idx="336">
                  <c:v>5.1131043128302176</c:v>
                </c:pt>
                <c:pt idx="337">
                  <c:v>6.1343592522027919</c:v>
                </c:pt>
                <c:pt idx="338">
                  <c:v>6.0301297223411812</c:v>
                </c:pt>
                <c:pt idx="339">
                  <c:v>4.9457066337093911</c:v>
                </c:pt>
                <c:pt idx="340">
                  <c:v>5.0605160671991198</c:v>
                </c:pt>
                <c:pt idx="341">
                  <c:v>5.9550894755082133</c:v>
                </c:pt>
                <c:pt idx="342">
                  <c:v>6.0746855578257133</c:v>
                </c:pt>
                <c:pt idx="343">
                  <c:v>6.0978608957887674</c:v>
                </c:pt>
                <c:pt idx="344">
                  <c:v>5.8756101884225522</c:v>
                </c:pt>
                <c:pt idx="345">
                  <c:v>4.9188368870531995</c:v>
                </c:pt>
                <c:pt idx="346">
                  <c:v>5.0844212910354836</c:v>
                </c:pt>
                <c:pt idx="347">
                  <c:v>4.9181079764859836</c:v>
                </c:pt>
                <c:pt idx="348">
                  <c:v>5.044646254830921</c:v>
                </c:pt>
                <c:pt idx="349">
                  <c:v>5.8356833278369562</c:v>
                </c:pt>
                <c:pt idx="350">
                  <c:v>5.0884302924375566</c:v>
                </c:pt>
                <c:pt idx="351">
                  <c:v>5.0422446718746547</c:v>
                </c:pt>
                <c:pt idx="352">
                  <c:v>4.9106652376792059</c:v>
                </c:pt>
                <c:pt idx="353">
                  <c:v>6.0630771991423824</c:v>
                </c:pt>
                <c:pt idx="354">
                  <c:v>6.1129968480713783</c:v>
                </c:pt>
                <c:pt idx="355">
                  <c:v>6.0094966980013664</c:v>
                </c:pt>
                <c:pt idx="356">
                  <c:v>4.9610035780420514</c:v>
                </c:pt>
                <c:pt idx="357">
                  <c:v>4.9157121492655946</c:v>
                </c:pt>
                <c:pt idx="358">
                  <c:v>5.8033729384724273</c:v>
                </c:pt>
                <c:pt idx="359">
                  <c:v>4.9302084871776231</c:v>
                </c:pt>
                <c:pt idx="360">
                  <c:v>6.1025270978055346</c:v>
                </c:pt>
                <c:pt idx="361">
                  <c:v>5.0724853358064692</c:v>
                </c:pt>
                <c:pt idx="362">
                  <c:v>5.9053768351829614</c:v>
                </c:pt>
                <c:pt idx="363">
                  <c:v>5.926839235613806</c:v>
                </c:pt>
                <c:pt idx="364">
                  <c:v>6.0328040695080274</c:v>
                </c:pt>
                <c:pt idx="365">
                  <c:v>5.0406055666312701</c:v>
                </c:pt>
                <c:pt idx="366">
                  <c:v>4.9025989861004344</c:v>
                </c:pt>
                <c:pt idx="367">
                  <c:v>5.0939324641028891</c:v>
                </c:pt>
                <c:pt idx="368">
                  <c:v>4.9662255802727948</c:v>
                </c:pt>
                <c:pt idx="369">
                  <c:v>4.8765438556883014</c:v>
                </c:pt>
                <c:pt idx="370">
                  <c:v>4.9015945723515708</c:v>
                </c:pt>
                <c:pt idx="371">
                  <c:v>5.9417459041058338</c:v>
                </c:pt>
                <c:pt idx="372">
                  <c:v>4.9331555610057825</c:v>
                </c:pt>
                <c:pt idx="373">
                  <c:v>4.7366043874871453</c:v>
                </c:pt>
                <c:pt idx="374">
                  <c:v>6.0078344154387979</c:v>
                </c:pt>
                <c:pt idx="375">
                  <c:v>6.0603739624748609</c:v>
                </c:pt>
                <c:pt idx="376">
                  <c:v>6.0991121085320419</c:v>
                </c:pt>
                <c:pt idx="377">
                  <c:v>5.9089415303033306</c:v>
                </c:pt>
                <c:pt idx="378">
                  <c:v>5.0495417255407711</c:v>
                </c:pt>
                <c:pt idx="379">
                  <c:v>6.93794890130473</c:v>
                </c:pt>
                <c:pt idx="380">
                  <c:v>6.0602720675591666</c:v>
                </c:pt>
                <c:pt idx="381">
                  <c:v>5.0993048867104873</c:v>
                </c:pt>
                <c:pt idx="382">
                  <c:v>4.9905666272203675</c:v>
                </c:pt>
                <c:pt idx="383">
                  <c:v>6.1090324312273285</c:v>
                </c:pt>
                <c:pt idx="384">
                  <c:v>5.9780361767082599</c:v>
                </c:pt>
                <c:pt idx="385">
                  <c:v>5.8890602924289173</c:v>
                </c:pt>
                <c:pt idx="386">
                  <c:v>5.056646385808234</c:v>
                </c:pt>
                <c:pt idx="387">
                  <c:v>5.284458925171287</c:v>
                </c:pt>
                <c:pt idx="388">
                  <c:v>5.1113687628078281</c:v>
                </c:pt>
                <c:pt idx="389">
                  <c:v>4.9183420952386276</c:v>
                </c:pt>
                <c:pt idx="390">
                  <c:v>5.030871823904314</c:v>
                </c:pt>
                <c:pt idx="391">
                  <c:v>4.8765433610651749</c:v>
                </c:pt>
                <c:pt idx="392">
                  <c:v>7.0124312933875661</c:v>
                </c:pt>
                <c:pt idx="393">
                  <c:v>7.0693160854753057</c:v>
                </c:pt>
                <c:pt idx="394">
                  <c:v>6.9371584626636755</c:v>
                </c:pt>
                <c:pt idx="395">
                  <c:v>6.0898278013704354</c:v>
                </c:pt>
                <c:pt idx="396">
                  <c:v>6.0426094078689827</c:v>
                </c:pt>
                <c:pt idx="397">
                  <c:v>5.9611745825794724</c:v>
                </c:pt>
                <c:pt idx="398">
                  <c:v>7.0412816939840264</c:v>
                </c:pt>
                <c:pt idx="399">
                  <c:v>4.9447325019026582</c:v>
                </c:pt>
                <c:pt idx="400">
                  <c:v>6.2075700765928659</c:v>
                </c:pt>
                <c:pt idx="401">
                  <c:v>5.0110885648677801</c:v>
                </c:pt>
                <c:pt idx="402">
                  <c:v>4.9623912758908704</c:v>
                </c:pt>
                <c:pt idx="403">
                  <c:v>6.9167230423717045</c:v>
                </c:pt>
                <c:pt idx="404">
                  <c:v>5.9956243446709019</c:v>
                </c:pt>
                <c:pt idx="405">
                  <c:v>3.9446384928454195</c:v>
                </c:pt>
                <c:pt idx="406">
                  <c:v>3.9870649018227589</c:v>
                </c:pt>
                <c:pt idx="407">
                  <c:v>5.0742112911596777</c:v>
                </c:pt>
                <c:pt idx="408">
                  <c:v>1.7600022717928372</c:v>
                </c:pt>
                <c:pt idx="409">
                  <c:v>5.9346645359748305</c:v>
                </c:pt>
                <c:pt idx="410">
                  <c:v>6.0801702978504073</c:v>
                </c:pt>
                <c:pt idx="411">
                  <c:v>5.0839586460577895</c:v>
                </c:pt>
                <c:pt idx="412">
                  <c:v>4.9558819881149896</c:v>
                </c:pt>
                <c:pt idx="413">
                  <c:v>4.8559971816590046</c:v>
                </c:pt>
                <c:pt idx="414">
                  <c:v>5.0313173037435819</c:v>
                </c:pt>
                <c:pt idx="415">
                  <c:v>6.1549351502432712</c:v>
                </c:pt>
                <c:pt idx="416">
                  <c:v>4.8927343512993247</c:v>
                </c:pt>
                <c:pt idx="417">
                  <c:v>5.8652685620920781</c:v>
                </c:pt>
                <c:pt idx="418">
                  <c:v>4.7475229628460927</c:v>
                </c:pt>
                <c:pt idx="419">
                  <c:v>6.1363518309517993</c:v>
                </c:pt>
                <c:pt idx="420">
                  <c:v>6.2697334490773962</c:v>
                </c:pt>
                <c:pt idx="421">
                  <c:v>6.0831397145979444</c:v>
                </c:pt>
                <c:pt idx="422">
                  <c:v>4.8768987171812483</c:v>
                </c:pt>
                <c:pt idx="423">
                  <c:v>4.9988179492249971</c:v>
                </c:pt>
                <c:pt idx="424">
                  <c:v>5.1273767037704152</c:v>
                </c:pt>
                <c:pt idx="425">
                  <c:v>6.0770025717210405</c:v>
                </c:pt>
                <c:pt idx="426">
                  <c:v>5.0407145733156238</c:v>
                </c:pt>
                <c:pt idx="427">
                  <c:v>6.0124995025209005</c:v>
                </c:pt>
                <c:pt idx="428">
                  <c:v>4.95841273892598</c:v>
                </c:pt>
                <c:pt idx="429">
                  <c:v>5.9838594759965966</c:v>
                </c:pt>
                <c:pt idx="430">
                  <c:v>5.1257689989498116</c:v>
                </c:pt>
                <c:pt idx="431">
                  <c:v>6.1442562333815882</c:v>
                </c:pt>
                <c:pt idx="432">
                  <c:v>4.9527336553167869</c:v>
                </c:pt>
                <c:pt idx="433">
                  <c:v>4.8830023036906276</c:v>
                </c:pt>
                <c:pt idx="434">
                  <c:v>6.0424297172320465</c:v>
                </c:pt>
                <c:pt idx="435">
                  <c:v>7.0730754837387675</c:v>
                </c:pt>
                <c:pt idx="436">
                  <c:v>5.1106844708238697</c:v>
                </c:pt>
                <c:pt idx="437">
                  <c:v>4.9243033397499616</c:v>
                </c:pt>
                <c:pt idx="438">
                  <c:v>7.142942607756491</c:v>
                </c:pt>
                <c:pt idx="439">
                  <c:v>4.9392168898925641</c:v>
                </c:pt>
                <c:pt idx="440">
                  <c:v>4.9087847398426492</c:v>
                </c:pt>
                <c:pt idx="441">
                  <c:v>4.9832167176425646</c:v>
                </c:pt>
                <c:pt idx="442">
                  <c:v>4.976125437489392</c:v>
                </c:pt>
                <c:pt idx="443">
                  <c:v>6.9590335179699041</c:v>
                </c:pt>
                <c:pt idx="444">
                  <c:v>5.9202017444246904</c:v>
                </c:pt>
                <c:pt idx="445">
                  <c:v>4.9046364658992578</c:v>
                </c:pt>
                <c:pt idx="446">
                  <c:v>4.7539650406056442</c:v>
                </c:pt>
                <c:pt idx="447">
                  <c:v>4.8640678087130818</c:v>
                </c:pt>
                <c:pt idx="448">
                  <c:v>4.9710367438373471</c:v>
                </c:pt>
                <c:pt idx="449">
                  <c:v>5.046449567870396</c:v>
                </c:pt>
                <c:pt idx="450">
                  <c:v>6.0133449032723583</c:v>
                </c:pt>
                <c:pt idx="451">
                  <c:v>4.9882724840849413</c:v>
                </c:pt>
                <c:pt idx="452">
                  <c:v>6.0699392675876291</c:v>
                </c:pt>
                <c:pt idx="453">
                  <c:v>5.9879698578349432</c:v>
                </c:pt>
                <c:pt idx="454">
                  <c:v>4.8818067925804618</c:v>
                </c:pt>
                <c:pt idx="455">
                  <c:v>5.1562528075250125</c:v>
                </c:pt>
                <c:pt idx="456">
                  <c:v>5.0053652935344379</c:v>
                </c:pt>
                <c:pt idx="457">
                  <c:v>5.8727677645621474</c:v>
                </c:pt>
                <c:pt idx="458">
                  <c:v>5.0227111564056708</c:v>
                </c:pt>
                <c:pt idx="459">
                  <c:v>5.1001965331268959</c:v>
                </c:pt>
                <c:pt idx="460">
                  <c:v>5.9644951933147752</c:v>
                </c:pt>
                <c:pt idx="461">
                  <c:v>5.932992221100875</c:v>
                </c:pt>
                <c:pt idx="462">
                  <c:v>5.9399762568550099</c:v>
                </c:pt>
                <c:pt idx="463">
                  <c:v>6.2171061850162017</c:v>
                </c:pt>
                <c:pt idx="464">
                  <c:v>4.9800882624731342</c:v>
                </c:pt>
                <c:pt idx="465">
                  <c:v>5.8591225369495694</c:v>
                </c:pt>
                <c:pt idx="466">
                  <c:v>7.0686959545127346</c:v>
                </c:pt>
                <c:pt idx="467">
                  <c:v>4.8891792626019779</c:v>
                </c:pt>
                <c:pt idx="468">
                  <c:v>2.0789821234075188</c:v>
                </c:pt>
                <c:pt idx="469">
                  <c:v>5.144535094063575</c:v>
                </c:pt>
                <c:pt idx="470">
                  <c:v>5.8112500471987278</c:v>
                </c:pt>
                <c:pt idx="471">
                  <c:v>5.0253740512820171</c:v>
                </c:pt>
                <c:pt idx="472">
                  <c:v>5.0038668143292737</c:v>
                </c:pt>
                <c:pt idx="473">
                  <c:v>5.9977404018087057</c:v>
                </c:pt>
                <c:pt idx="474">
                  <c:v>4.9569426596837083</c:v>
                </c:pt>
                <c:pt idx="475">
                  <c:v>7.1971207960538592</c:v>
                </c:pt>
                <c:pt idx="476">
                  <c:v>5.9641893202534995</c:v>
                </c:pt>
                <c:pt idx="477">
                  <c:v>7.0047404854594966</c:v>
                </c:pt>
                <c:pt idx="478">
                  <c:v>6.0773687954956026</c:v>
                </c:pt>
                <c:pt idx="479">
                  <c:v>4.8875322584532306</c:v>
                </c:pt>
                <c:pt idx="480">
                  <c:v>4.8729472162900382</c:v>
                </c:pt>
                <c:pt idx="481">
                  <c:v>4.955627760016867</c:v>
                </c:pt>
                <c:pt idx="482">
                  <c:v>4.0566347213905187</c:v>
                </c:pt>
                <c:pt idx="483">
                  <c:v>4.8760667485759575</c:v>
                </c:pt>
                <c:pt idx="484">
                  <c:v>5.1049491871044372</c:v>
                </c:pt>
                <c:pt idx="485">
                  <c:v>5.7092205972022043</c:v>
                </c:pt>
                <c:pt idx="486">
                  <c:v>4.9594590522043731</c:v>
                </c:pt>
                <c:pt idx="487">
                  <c:v>4.9845482241049632</c:v>
                </c:pt>
                <c:pt idx="488">
                  <c:v>6.0150473616108071</c:v>
                </c:pt>
                <c:pt idx="489">
                  <c:v>4.174348773748056</c:v>
                </c:pt>
                <c:pt idx="490">
                  <c:v>6.9914659195835176</c:v>
                </c:pt>
                <c:pt idx="491">
                  <c:v>5.9400590151004051</c:v>
                </c:pt>
                <c:pt idx="492">
                  <c:v>4.9900032418761509</c:v>
                </c:pt>
                <c:pt idx="493">
                  <c:v>5.9498861002395707</c:v>
                </c:pt>
                <c:pt idx="494">
                  <c:v>4.8429191507405829</c:v>
                </c:pt>
                <c:pt idx="495">
                  <c:v>6.010832665229441</c:v>
                </c:pt>
                <c:pt idx="496">
                  <c:v>5.0234638782179513</c:v>
                </c:pt>
                <c:pt idx="497">
                  <c:v>5.9791631416215747</c:v>
                </c:pt>
                <c:pt idx="498">
                  <c:v>5.8490511271560894</c:v>
                </c:pt>
                <c:pt idx="499">
                  <c:v>4.8819831735620518</c:v>
                </c:pt>
                <c:pt idx="500">
                  <c:v>5.99716102455087</c:v>
                </c:pt>
                <c:pt idx="501">
                  <c:v>4.9830454288073369</c:v>
                </c:pt>
                <c:pt idx="502">
                  <c:v>4.9558829228165244</c:v>
                </c:pt>
                <c:pt idx="503">
                  <c:v>6.0557071127145399</c:v>
                </c:pt>
                <c:pt idx="504">
                  <c:v>6.0418878242014182</c:v>
                </c:pt>
                <c:pt idx="505">
                  <c:v>4.9783429164453548</c:v>
                </c:pt>
                <c:pt idx="506">
                  <c:v>5.8539470259696778</c:v>
                </c:pt>
                <c:pt idx="507">
                  <c:v>5.9516471558783577</c:v>
                </c:pt>
                <c:pt idx="508">
                  <c:v>5.9596734318073983</c:v>
                </c:pt>
                <c:pt idx="509">
                  <c:v>4.9641565685302149</c:v>
                </c:pt>
                <c:pt idx="510">
                  <c:v>6.9370217508740888</c:v>
                </c:pt>
                <c:pt idx="511">
                  <c:v>4.9280293121360668</c:v>
                </c:pt>
                <c:pt idx="512">
                  <c:v>4.9972366971669961</c:v>
                </c:pt>
                <c:pt idx="513">
                  <c:v>4.9268457886269648</c:v>
                </c:pt>
                <c:pt idx="514">
                  <c:v>5.9818627829398769</c:v>
                </c:pt>
                <c:pt idx="515">
                  <c:v>5.8209843973272148</c:v>
                </c:pt>
                <c:pt idx="516">
                  <c:v>5.9691501049851512</c:v>
                </c:pt>
                <c:pt idx="517">
                  <c:v>5.864935341405797</c:v>
                </c:pt>
                <c:pt idx="518">
                  <c:v>4.9843645371099674</c:v>
                </c:pt>
                <c:pt idx="519">
                  <c:v>4.09479677216813</c:v>
                </c:pt>
                <c:pt idx="520">
                  <c:v>6.1147883997539214</c:v>
                </c:pt>
                <c:pt idx="521">
                  <c:v>6.1117924724012855</c:v>
                </c:pt>
                <c:pt idx="522">
                  <c:v>5.1571815579707181</c:v>
                </c:pt>
                <c:pt idx="523">
                  <c:v>6.0620587845262177</c:v>
                </c:pt>
                <c:pt idx="524">
                  <c:v>4.9390376884006697</c:v>
                </c:pt>
                <c:pt idx="525">
                  <c:v>6.0779986422861629</c:v>
                </c:pt>
                <c:pt idx="526">
                  <c:v>6.0761853083399675</c:v>
                </c:pt>
                <c:pt idx="527">
                  <c:v>5.836437396181795</c:v>
                </c:pt>
                <c:pt idx="528">
                  <c:v>5.089248381933249</c:v>
                </c:pt>
                <c:pt idx="529">
                  <c:v>4.8920484673590945</c:v>
                </c:pt>
                <c:pt idx="530">
                  <c:v>5.0069960578263428</c:v>
                </c:pt>
                <c:pt idx="531">
                  <c:v>5.0705690019953193</c:v>
                </c:pt>
                <c:pt idx="532">
                  <c:v>5.9311126295820946</c:v>
                </c:pt>
                <c:pt idx="533">
                  <c:v>6.1071057909256607</c:v>
                </c:pt>
                <c:pt idx="534">
                  <c:v>7.1907957106306268</c:v>
                </c:pt>
                <c:pt idx="535">
                  <c:v>5.967270109776976</c:v>
                </c:pt>
                <c:pt idx="536">
                  <c:v>6.8813375871100027</c:v>
                </c:pt>
                <c:pt idx="537">
                  <c:v>6.1119370594381772</c:v>
                </c:pt>
                <c:pt idx="538">
                  <c:v>4.9812148007211556</c:v>
                </c:pt>
                <c:pt idx="539">
                  <c:v>4.9429126646839352</c:v>
                </c:pt>
                <c:pt idx="540">
                  <c:v>4.9320082423108946</c:v>
                </c:pt>
                <c:pt idx="541">
                  <c:v>6.0601631704968622</c:v>
                </c:pt>
                <c:pt idx="542">
                  <c:v>6.0556232472663432</c:v>
                </c:pt>
                <c:pt idx="543">
                  <c:v>5.1511358126799012</c:v>
                </c:pt>
                <c:pt idx="544">
                  <c:v>6.1293449254959667</c:v>
                </c:pt>
                <c:pt idx="545">
                  <c:v>4.9243692058923338</c:v>
                </c:pt>
                <c:pt idx="546">
                  <c:v>6.1027027544233379</c:v>
                </c:pt>
                <c:pt idx="547">
                  <c:v>6.0018490055461706</c:v>
                </c:pt>
                <c:pt idx="548">
                  <c:v>5.9663473222944203</c:v>
                </c:pt>
                <c:pt idx="549">
                  <c:v>6.1427213087020904</c:v>
                </c:pt>
                <c:pt idx="550">
                  <c:v>5.0047458646239464</c:v>
                </c:pt>
                <c:pt idx="551">
                  <c:v>5.8326016540467611</c:v>
                </c:pt>
                <c:pt idx="552">
                  <c:v>5.0193388266842085</c:v>
                </c:pt>
                <c:pt idx="553">
                  <c:v>6.0663035500825657</c:v>
                </c:pt>
                <c:pt idx="554">
                  <c:v>7.0357569489189942</c:v>
                </c:pt>
                <c:pt idx="555">
                  <c:v>5.9285337621616705</c:v>
                </c:pt>
                <c:pt idx="556">
                  <c:v>4.1234153126108888</c:v>
                </c:pt>
                <c:pt idx="557">
                  <c:v>5.8927965560181841</c:v>
                </c:pt>
                <c:pt idx="558">
                  <c:v>4.9718655718117288</c:v>
                </c:pt>
                <c:pt idx="559">
                  <c:v>7.1178711692216599</c:v>
                </c:pt>
                <c:pt idx="560">
                  <c:v>5.92141689027462</c:v>
                </c:pt>
                <c:pt idx="561">
                  <c:v>6.9773375268472062</c:v>
                </c:pt>
                <c:pt idx="562">
                  <c:v>7.0036115778822632</c:v>
                </c:pt>
                <c:pt idx="563">
                  <c:v>6.0197897211962292</c:v>
                </c:pt>
                <c:pt idx="564">
                  <c:v>6.1235295898718629</c:v>
                </c:pt>
                <c:pt idx="565">
                  <c:v>5.0927209876131938</c:v>
                </c:pt>
                <c:pt idx="566">
                  <c:v>5.1281030787682367</c:v>
                </c:pt>
                <c:pt idx="567">
                  <c:v>6.8730891328019066</c:v>
                </c:pt>
                <c:pt idx="568">
                  <c:v>5.9686392646104345</c:v>
                </c:pt>
                <c:pt idx="569">
                  <c:v>4.971714375725556</c:v>
                </c:pt>
                <c:pt idx="570">
                  <c:v>5.8854602361295667</c:v>
                </c:pt>
                <c:pt idx="571">
                  <c:v>7.0398045222047756</c:v>
                </c:pt>
                <c:pt idx="572">
                  <c:v>5.9335411534803546</c:v>
                </c:pt>
                <c:pt idx="573">
                  <c:v>6.0035084357344166</c:v>
                </c:pt>
                <c:pt idx="574">
                  <c:v>7.1612744563814932</c:v>
                </c:pt>
                <c:pt idx="575">
                  <c:v>5.9452007217816636</c:v>
                </c:pt>
                <c:pt idx="576">
                  <c:v>7.055492723278312</c:v>
                </c:pt>
                <c:pt idx="577">
                  <c:v>5.8867145007453718</c:v>
                </c:pt>
                <c:pt idx="578">
                  <c:v>6.980548029110988</c:v>
                </c:pt>
                <c:pt idx="579">
                  <c:v>5.8752362394512714</c:v>
                </c:pt>
                <c:pt idx="580">
                  <c:v>5.8603638362785668</c:v>
                </c:pt>
                <c:pt idx="581">
                  <c:v>5.8677916975003814</c:v>
                </c:pt>
                <c:pt idx="582">
                  <c:v>5.9861379334826763</c:v>
                </c:pt>
                <c:pt idx="583">
                  <c:v>7.0565611747645836</c:v>
                </c:pt>
                <c:pt idx="584">
                  <c:v>5.8768930731023001</c:v>
                </c:pt>
                <c:pt idx="585">
                  <c:v>7.0621236672951646</c:v>
                </c:pt>
                <c:pt idx="586">
                  <c:v>5.089166866244045</c:v>
                </c:pt>
                <c:pt idx="587">
                  <c:v>5.9636188153419383</c:v>
                </c:pt>
                <c:pt idx="588">
                  <c:v>4.8648246674029867</c:v>
                </c:pt>
                <c:pt idx="589">
                  <c:v>6.0143599725321515</c:v>
                </c:pt>
                <c:pt idx="590">
                  <c:v>4.8998527678363448</c:v>
                </c:pt>
                <c:pt idx="591">
                  <c:v>6.8797959050947535</c:v>
                </c:pt>
                <c:pt idx="592">
                  <c:v>5.029047616128377</c:v>
                </c:pt>
                <c:pt idx="593">
                  <c:v>7.0347699581971446</c:v>
                </c:pt>
                <c:pt idx="594">
                  <c:v>4.8291517897494671</c:v>
                </c:pt>
                <c:pt idx="595">
                  <c:v>4.031403780656226</c:v>
                </c:pt>
                <c:pt idx="596">
                  <c:v>6.1269427418719715</c:v>
                </c:pt>
                <c:pt idx="597">
                  <c:v>4.9142345699245169</c:v>
                </c:pt>
                <c:pt idx="598">
                  <c:v>6.1943912085750386</c:v>
                </c:pt>
                <c:pt idx="599">
                  <c:v>6.7639804192699682</c:v>
                </c:pt>
                <c:pt idx="600">
                  <c:v>5.7436495356945851</c:v>
                </c:pt>
                <c:pt idx="601">
                  <c:v>5.9006472239152803</c:v>
                </c:pt>
                <c:pt idx="602">
                  <c:v>6.8903700477329828</c:v>
                </c:pt>
                <c:pt idx="603">
                  <c:v>5.9847035858058328</c:v>
                </c:pt>
                <c:pt idx="604">
                  <c:v>6.1014073460012321</c:v>
                </c:pt>
                <c:pt idx="605">
                  <c:v>6.9476119244658614</c:v>
                </c:pt>
                <c:pt idx="606">
                  <c:v>5.9183023279340778</c:v>
                </c:pt>
                <c:pt idx="607">
                  <c:v>6.9949621686481036</c:v>
                </c:pt>
                <c:pt idx="608">
                  <c:v>4.8182265516766343</c:v>
                </c:pt>
                <c:pt idx="609">
                  <c:v>6.0707340111036299</c:v>
                </c:pt>
                <c:pt idx="610">
                  <c:v>5.0141668880829009</c:v>
                </c:pt>
                <c:pt idx="611">
                  <c:v>6.0134030899012973</c:v>
                </c:pt>
                <c:pt idx="612">
                  <c:v>5.7998851498196577</c:v>
                </c:pt>
                <c:pt idx="613">
                  <c:v>5.9863590122170613</c:v>
                </c:pt>
                <c:pt idx="614">
                  <c:v>4.9356085556178781</c:v>
                </c:pt>
                <c:pt idx="615">
                  <c:v>4.8900164311956553</c:v>
                </c:pt>
                <c:pt idx="616">
                  <c:v>7.1121094455930685</c:v>
                </c:pt>
                <c:pt idx="617">
                  <c:v>4.8710757785302858</c:v>
                </c:pt>
                <c:pt idx="618">
                  <c:v>6.023599076821478</c:v>
                </c:pt>
                <c:pt idx="619">
                  <c:v>3.030097819577978</c:v>
                </c:pt>
                <c:pt idx="620">
                  <c:v>5.0438936748186922</c:v>
                </c:pt>
                <c:pt idx="621">
                  <c:v>4.8237993741904495</c:v>
                </c:pt>
                <c:pt idx="622">
                  <c:v>5.0269797190947543</c:v>
                </c:pt>
                <c:pt idx="623">
                  <c:v>6.0275580308425916</c:v>
                </c:pt>
                <c:pt idx="624">
                  <c:v>7.1054191459963194</c:v>
                </c:pt>
                <c:pt idx="625">
                  <c:v>6.0152244191930873</c:v>
                </c:pt>
                <c:pt idx="626">
                  <c:v>6.0580160494681419</c:v>
                </c:pt>
                <c:pt idx="627">
                  <c:v>6.9082141625157547</c:v>
                </c:pt>
                <c:pt idx="628">
                  <c:v>5.0435697615513568</c:v>
                </c:pt>
                <c:pt idx="629">
                  <c:v>4.8827759191360167</c:v>
                </c:pt>
                <c:pt idx="630">
                  <c:v>4.9174590834182901</c:v>
                </c:pt>
                <c:pt idx="631">
                  <c:v>6.0576916913892918</c:v>
                </c:pt>
                <c:pt idx="632">
                  <c:v>5.8728421651923384</c:v>
                </c:pt>
                <c:pt idx="633">
                  <c:v>6.9778702641966337</c:v>
                </c:pt>
                <c:pt idx="634">
                  <c:v>5.9792270220913908</c:v>
                </c:pt>
                <c:pt idx="635">
                  <c:v>5.997971492755326</c:v>
                </c:pt>
                <c:pt idx="636">
                  <c:v>5.0679384448401565</c:v>
                </c:pt>
                <c:pt idx="637">
                  <c:v>6.9044002479461462</c:v>
                </c:pt>
                <c:pt idx="638">
                  <c:v>5.7691517499992608</c:v>
                </c:pt>
                <c:pt idx="639">
                  <c:v>7.096003893743382</c:v>
                </c:pt>
                <c:pt idx="640">
                  <c:v>4.9027893845836044</c:v>
                </c:pt>
                <c:pt idx="641">
                  <c:v>6.0980826625567834</c:v>
                </c:pt>
                <c:pt idx="642">
                  <c:v>5.9331690126096257</c:v>
                </c:pt>
                <c:pt idx="643">
                  <c:v>5.0583774211971164</c:v>
                </c:pt>
                <c:pt idx="644">
                  <c:v>5.9593419816854363</c:v>
                </c:pt>
                <c:pt idx="645">
                  <c:v>4.9867513000124042</c:v>
                </c:pt>
                <c:pt idx="646">
                  <c:v>6.0504145213085572</c:v>
                </c:pt>
                <c:pt idx="647">
                  <c:v>5.0125710764540754</c:v>
                </c:pt>
                <c:pt idx="648">
                  <c:v>6.0214535101464532</c:v>
                </c:pt>
                <c:pt idx="649">
                  <c:v>7.013959127165835</c:v>
                </c:pt>
                <c:pt idx="650">
                  <c:v>5.1181213579530249</c:v>
                </c:pt>
                <c:pt idx="651">
                  <c:v>5.8899754547095826</c:v>
                </c:pt>
                <c:pt idx="652">
                  <c:v>7.0677057228342699</c:v>
                </c:pt>
                <c:pt idx="653">
                  <c:v>5.0297295721735544</c:v>
                </c:pt>
                <c:pt idx="654">
                  <c:v>5.9521601889807512</c:v>
                </c:pt>
                <c:pt idx="655">
                  <c:v>5.8833212712352916</c:v>
                </c:pt>
                <c:pt idx="656">
                  <c:v>6.1239388457086781</c:v>
                </c:pt>
                <c:pt idx="657">
                  <c:v>5.8651524146257907</c:v>
                </c:pt>
                <c:pt idx="658">
                  <c:v>5.8538554542600352</c:v>
                </c:pt>
                <c:pt idx="659">
                  <c:v>5.9516342646591021</c:v>
                </c:pt>
                <c:pt idx="660">
                  <c:v>4.8607865505231613</c:v>
                </c:pt>
                <c:pt idx="661">
                  <c:v>7.0454579172298297</c:v>
                </c:pt>
                <c:pt idx="662">
                  <c:v>4.9037723259106434</c:v>
                </c:pt>
                <c:pt idx="663">
                  <c:v>5.9861973870843954</c:v>
                </c:pt>
                <c:pt idx="664">
                  <c:v>5.8659859631213065</c:v>
                </c:pt>
                <c:pt idx="665">
                  <c:v>7.1094859313012355</c:v>
                </c:pt>
                <c:pt idx="666">
                  <c:v>6.0834839658043203</c:v>
                </c:pt>
                <c:pt idx="667">
                  <c:v>6.012323560754127</c:v>
                </c:pt>
                <c:pt idx="668">
                  <c:v>6.0103491501487598</c:v>
                </c:pt>
                <c:pt idx="669">
                  <c:v>4.8930707977688952</c:v>
                </c:pt>
                <c:pt idx="670">
                  <c:v>6.0846969200908889</c:v>
                </c:pt>
                <c:pt idx="671">
                  <c:v>6.0475143532445577</c:v>
                </c:pt>
                <c:pt idx="672">
                  <c:v>4.0327839027679211</c:v>
                </c:pt>
                <c:pt idx="673">
                  <c:v>4.9152307621705917</c:v>
                </c:pt>
                <c:pt idx="674">
                  <c:v>6.1517742633524408</c:v>
                </c:pt>
                <c:pt idx="675">
                  <c:v>5.789051433536323</c:v>
                </c:pt>
                <c:pt idx="676">
                  <c:v>5.9784793280406721</c:v>
                </c:pt>
                <c:pt idx="677">
                  <c:v>4.9556223170404055</c:v>
                </c:pt>
                <c:pt idx="678">
                  <c:v>4.979502177483476</c:v>
                </c:pt>
                <c:pt idx="679">
                  <c:v>5.7842397610883216</c:v>
                </c:pt>
                <c:pt idx="680">
                  <c:v>5.077071400108883</c:v>
                </c:pt>
                <c:pt idx="681">
                  <c:v>4.852694990757815</c:v>
                </c:pt>
                <c:pt idx="682">
                  <c:v>6.1605018138623064</c:v>
                </c:pt>
                <c:pt idx="683">
                  <c:v>4.9516845940075589</c:v>
                </c:pt>
                <c:pt idx="684">
                  <c:v>5.8998864420676229</c:v>
                </c:pt>
                <c:pt idx="685">
                  <c:v>6.9503215079455209</c:v>
                </c:pt>
                <c:pt idx="686">
                  <c:v>7.0085356648546933</c:v>
                </c:pt>
                <c:pt idx="687">
                  <c:v>3.9778997973554486</c:v>
                </c:pt>
                <c:pt idx="688">
                  <c:v>4.8399531395618522</c:v>
                </c:pt>
                <c:pt idx="689">
                  <c:v>6.16960366363051</c:v>
                </c:pt>
                <c:pt idx="690">
                  <c:v>5.9020755639961333</c:v>
                </c:pt>
                <c:pt idx="691">
                  <c:v>5.985567106456573</c:v>
                </c:pt>
                <c:pt idx="692">
                  <c:v>5.240237020499106</c:v>
                </c:pt>
                <c:pt idx="693">
                  <c:v>6.1141759877248854</c:v>
                </c:pt>
                <c:pt idx="694">
                  <c:v>5.9548714025466847</c:v>
                </c:pt>
                <c:pt idx="695">
                  <c:v>5.2447775159633645</c:v>
                </c:pt>
                <c:pt idx="696">
                  <c:v>5.8271842296203431</c:v>
                </c:pt>
                <c:pt idx="697">
                  <c:v>4.9248630477986426</c:v>
                </c:pt>
                <c:pt idx="698">
                  <c:v>5.7138960203288987</c:v>
                </c:pt>
                <c:pt idx="699">
                  <c:v>6.062984410203522</c:v>
                </c:pt>
                <c:pt idx="700">
                  <c:v>5.071695813188084</c:v>
                </c:pt>
                <c:pt idx="701">
                  <c:v>5.0393378175552161</c:v>
                </c:pt>
                <c:pt idx="702">
                  <c:v>5.8839010460873507</c:v>
                </c:pt>
                <c:pt idx="703">
                  <c:v>4.9160592059606332</c:v>
                </c:pt>
                <c:pt idx="704">
                  <c:v>7.001859122520858</c:v>
                </c:pt>
                <c:pt idx="705">
                  <c:v>5.9583545022985716</c:v>
                </c:pt>
                <c:pt idx="706">
                  <c:v>5.9485476612870398</c:v>
                </c:pt>
                <c:pt idx="707">
                  <c:v>5.7671051006638931</c:v>
                </c:pt>
                <c:pt idx="708">
                  <c:v>4.1087069779647249</c:v>
                </c:pt>
                <c:pt idx="709">
                  <c:v>5.8203750980134012</c:v>
                </c:pt>
                <c:pt idx="710">
                  <c:v>5.9367377825053653</c:v>
                </c:pt>
                <c:pt idx="711">
                  <c:v>5.9574234285617624</c:v>
                </c:pt>
                <c:pt idx="712">
                  <c:v>4.8816364909532748</c:v>
                </c:pt>
                <c:pt idx="713">
                  <c:v>4.966545764200375</c:v>
                </c:pt>
                <c:pt idx="714">
                  <c:v>7.0494294721736388</c:v>
                </c:pt>
                <c:pt idx="715">
                  <c:v>5.997431175120207</c:v>
                </c:pt>
                <c:pt idx="716">
                  <c:v>6.1705777825956272</c:v>
                </c:pt>
                <c:pt idx="717">
                  <c:v>7.0527832885124928</c:v>
                </c:pt>
                <c:pt idx="718">
                  <c:v>4.9335782430709729</c:v>
                </c:pt>
                <c:pt idx="719">
                  <c:v>5.9674931496114079</c:v>
                </c:pt>
                <c:pt idx="720">
                  <c:v>5.1360164023790382</c:v>
                </c:pt>
                <c:pt idx="721">
                  <c:v>5.0405618615207493</c:v>
                </c:pt>
                <c:pt idx="722">
                  <c:v>6.1827801898479207</c:v>
                </c:pt>
                <c:pt idx="723">
                  <c:v>5.0406365618325184</c:v>
                </c:pt>
                <c:pt idx="724">
                  <c:v>5.8609124534205419</c:v>
                </c:pt>
                <c:pt idx="725">
                  <c:v>5.9130838098849345</c:v>
                </c:pt>
                <c:pt idx="726">
                  <c:v>5.0553302493755554</c:v>
                </c:pt>
                <c:pt idx="727">
                  <c:v>6.015942493556719</c:v>
                </c:pt>
                <c:pt idx="728">
                  <c:v>5.0513696387559595</c:v>
                </c:pt>
                <c:pt idx="729">
                  <c:v>7.1277211120771549</c:v>
                </c:pt>
                <c:pt idx="730">
                  <c:v>7.1348879575039135</c:v>
                </c:pt>
                <c:pt idx="731">
                  <c:v>7.0458042552761073</c:v>
                </c:pt>
                <c:pt idx="732">
                  <c:v>6.046245962920473</c:v>
                </c:pt>
                <c:pt idx="733">
                  <c:v>3.8544608910195532</c:v>
                </c:pt>
                <c:pt idx="734">
                  <c:v>7.1207531400216855</c:v>
                </c:pt>
                <c:pt idx="735">
                  <c:v>7.0614368142566812</c:v>
                </c:pt>
                <c:pt idx="736">
                  <c:v>5.9369369946447179</c:v>
                </c:pt>
                <c:pt idx="737">
                  <c:v>4.9066319239341363</c:v>
                </c:pt>
                <c:pt idx="738">
                  <c:v>5.1040302234343242</c:v>
                </c:pt>
                <c:pt idx="739">
                  <c:v>6.1776592527352356</c:v>
                </c:pt>
                <c:pt idx="740">
                  <c:v>7.0776761252081224</c:v>
                </c:pt>
                <c:pt idx="741">
                  <c:v>4.9735445587587606</c:v>
                </c:pt>
                <c:pt idx="742">
                  <c:v>3.9638340558752256</c:v>
                </c:pt>
                <c:pt idx="743">
                  <c:v>4.0282277927915757</c:v>
                </c:pt>
                <c:pt idx="744">
                  <c:v>6.978967942546995</c:v>
                </c:pt>
                <c:pt idx="745">
                  <c:v>5.9287941896140728</c:v>
                </c:pt>
                <c:pt idx="746">
                  <c:v>3.9830338785105321</c:v>
                </c:pt>
                <c:pt idx="747">
                  <c:v>5.9372304509173057</c:v>
                </c:pt>
                <c:pt idx="748">
                  <c:v>6.0499601620319892</c:v>
                </c:pt>
                <c:pt idx="749">
                  <c:v>6.0287392345630169</c:v>
                </c:pt>
                <c:pt idx="750">
                  <c:v>3.9785380952296183</c:v>
                </c:pt>
                <c:pt idx="751">
                  <c:v>4.8558962662704142</c:v>
                </c:pt>
                <c:pt idx="752">
                  <c:v>5.8872295683394498</c:v>
                </c:pt>
                <c:pt idx="753">
                  <c:v>4.0286727066372725</c:v>
                </c:pt>
                <c:pt idx="754">
                  <c:v>6.1007255320643781</c:v>
                </c:pt>
                <c:pt idx="755">
                  <c:v>6.1142092748035726</c:v>
                </c:pt>
                <c:pt idx="756">
                  <c:v>6.7647031750322757</c:v>
                </c:pt>
                <c:pt idx="757">
                  <c:v>4.8579594584882555</c:v>
                </c:pt>
                <c:pt idx="758">
                  <c:v>6.9875093373978263</c:v>
                </c:pt>
                <c:pt idx="759">
                  <c:v>6.0348146587576332</c:v>
                </c:pt>
                <c:pt idx="760">
                  <c:v>7.0420993778991186</c:v>
                </c:pt>
                <c:pt idx="761">
                  <c:v>6.9875112787319225</c:v>
                </c:pt>
                <c:pt idx="762">
                  <c:v>6.1150124822105631</c:v>
                </c:pt>
                <c:pt idx="763">
                  <c:v>6.1124094299093414</c:v>
                </c:pt>
                <c:pt idx="764">
                  <c:v>5.1241850666039879</c:v>
                </c:pt>
                <c:pt idx="765">
                  <c:v>5.9969423478700232</c:v>
                </c:pt>
                <c:pt idx="766">
                  <c:v>4.0288689739788888</c:v>
                </c:pt>
                <c:pt idx="767">
                  <c:v>7.1657511020335001</c:v>
                </c:pt>
                <c:pt idx="768">
                  <c:v>6.0248594583677448</c:v>
                </c:pt>
                <c:pt idx="769">
                  <c:v>6.0620097518403826</c:v>
                </c:pt>
                <c:pt idx="770">
                  <c:v>6.0631564673239033</c:v>
                </c:pt>
                <c:pt idx="771">
                  <c:v>5.9602952854345395</c:v>
                </c:pt>
                <c:pt idx="772">
                  <c:v>6.022706270436017</c:v>
                </c:pt>
                <c:pt idx="773">
                  <c:v>7.1620687599989177</c:v>
                </c:pt>
                <c:pt idx="774">
                  <c:v>5.8756435383941801</c:v>
                </c:pt>
                <c:pt idx="775">
                  <c:v>4.9639742620202281</c:v>
                </c:pt>
                <c:pt idx="776">
                  <c:v>6.1838736033217536</c:v>
                </c:pt>
                <c:pt idx="777">
                  <c:v>5.9639107702160201</c:v>
                </c:pt>
                <c:pt idx="778">
                  <c:v>4.9368071688932904</c:v>
                </c:pt>
                <c:pt idx="779">
                  <c:v>5.0621748528312072</c:v>
                </c:pt>
                <c:pt idx="780">
                  <c:v>5.856551748277699</c:v>
                </c:pt>
                <c:pt idx="781">
                  <c:v>4.9505028481606432</c:v>
                </c:pt>
                <c:pt idx="782">
                  <c:v>5.8756016234608008</c:v>
                </c:pt>
                <c:pt idx="783">
                  <c:v>4.0509162802827658</c:v>
                </c:pt>
                <c:pt idx="784">
                  <c:v>5.0178427292095273</c:v>
                </c:pt>
                <c:pt idx="785">
                  <c:v>4.8952445371369961</c:v>
                </c:pt>
                <c:pt idx="786">
                  <c:v>4.8973502476456012</c:v>
                </c:pt>
                <c:pt idx="787">
                  <c:v>6.0263964982924492</c:v>
                </c:pt>
                <c:pt idx="788">
                  <c:v>4.8297668107338509</c:v>
                </c:pt>
                <c:pt idx="789">
                  <c:v>6.0141083970772442</c:v>
                </c:pt>
                <c:pt idx="790">
                  <c:v>4.0112816868375889</c:v>
                </c:pt>
                <c:pt idx="791">
                  <c:v>6.0379931744781041</c:v>
                </c:pt>
                <c:pt idx="792">
                  <c:v>4.9770591439736682</c:v>
                </c:pt>
                <c:pt idx="793">
                  <c:v>6.0007836547433433</c:v>
                </c:pt>
                <c:pt idx="794">
                  <c:v>5.9813766968460298</c:v>
                </c:pt>
                <c:pt idx="795">
                  <c:v>6.1089928407146417</c:v>
                </c:pt>
                <c:pt idx="796">
                  <c:v>6.122121980080216</c:v>
                </c:pt>
                <c:pt idx="797">
                  <c:v>4.1055534308908053</c:v>
                </c:pt>
                <c:pt idx="798">
                  <c:v>6.0349238720149927</c:v>
                </c:pt>
                <c:pt idx="799">
                  <c:v>4.9973939743865516</c:v>
                </c:pt>
                <c:pt idx="800">
                  <c:v>5.1067164232216999</c:v>
                </c:pt>
                <c:pt idx="801">
                  <c:v>6.1934782714673293</c:v>
                </c:pt>
                <c:pt idx="802">
                  <c:v>6.006057224487952</c:v>
                </c:pt>
                <c:pt idx="803">
                  <c:v>6.8252063077723424</c:v>
                </c:pt>
                <c:pt idx="804">
                  <c:v>6.0643699451897941</c:v>
                </c:pt>
                <c:pt idx="805">
                  <c:v>6.043804330140671</c:v>
                </c:pt>
                <c:pt idx="806">
                  <c:v>5.116290615961133</c:v>
                </c:pt>
                <c:pt idx="807">
                  <c:v>5.9150392433899839</c:v>
                </c:pt>
                <c:pt idx="808">
                  <c:v>5.1623743612193653</c:v>
                </c:pt>
                <c:pt idx="809">
                  <c:v>5.1306127339122742</c:v>
                </c:pt>
                <c:pt idx="810">
                  <c:v>5.0023875144900858</c:v>
                </c:pt>
                <c:pt idx="811">
                  <c:v>6.0000242496083205</c:v>
                </c:pt>
                <c:pt idx="812">
                  <c:v>3.7911259443148637</c:v>
                </c:pt>
                <c:pt idx="813">
                  <c:v>6.1140787335836873</c:v>
                </c:pt>
                <c:pt idx="814">
                  <c:v>5.0190798336904745</c:v>
                </c:pt>
                <c:pt idx="815">
                  <c:v>6.0280939314997095</c:v>
                </c:pt>
                <c:pt idx="816">
                  <c:v>7.1194130032016325</c:v>
                </c:pt>
                <c:pt idx="817">
                  <c:v>6.068858140036915</c:v>
                </c:pt>
                <c:pt idx="818">
                  <c:v>6.9848586749113659</c:v>
                </c:pt>
                <c:pt idx="819">
                  <c:v>6.1318449598935976</c:v>
                </c:pt>
                <c:pt idx="820">
                  <c:v>5.0177554448607999</c:v>
                </c:pt>
                <c:pt idx="821">
                  <c:v>5.005417260514502</c:v>
                </c:pt>
                <c:pt idx="822">
                  <c:v>6.1003114967705532</c:v>
                </c:pt>
                <c:pt idx="823">
                  <c:v>6.0207621682761232</c:v>
                </c:pt>
                <c:pt idx="824">
                  <c:v>5.9971871915989308</c:v>
                </c:pt>
                <c:pt idx="825">
                  <c:v>6.0593277441675006</c:v>
                </c:pt>
                <c:pt idx="826">
                  <c:v>5.0494401026641951</c:v>
                </c:pt>
                <c:pt idx="827">
                  <c:v>5.9066200881038089</c:v>
                </c:pt>
                <c:pt idx="828">
                  <c:v>6.0512585448868128</c:v>
                </c:pt>
                <c:pt idx="829">
                  <c:v>6.0614691645466703</c:v>
                </c:pt>
                <c:pt idx="830">
                  <c:v>5.0018436561632678</c:v>
                </c:pt>
                <c:pt idx="831">
                  <c:v>7.1135294376657425</c:v>
                </c:pt>
                <c:pt idx="832">
                  <c:v>5.0589578424734363</c:v>
                </c:pt>
                <c:pt idx="833">
                  <c:v>5.1023055811659974</c:v>
                </c:pt>
                <c:pt idx="834">
                  <c:v>5.0237768638580169</c:v>
                </c:pt>
                <c:pt idx="835">
                  <c:v>5.0701649328321849</c:v>
                </c:pt>
                <c:pt idx="836">
                  <c:v>6.0126540138380058</c:v>
                </c:pt>
                <c:pt idx="837">
                  <c:v>7.0630501682634481</c:v>
                </c:pt>
                <c:pt idx="838">
                  <c:v>4.9567667568314393</c:v>
                </c:pt>
                <c:pt idx="839">
                  <c:v>4.9640115256924764</c:v>
                </c:pt>
                <c:pt idx="840">
                  <c:v>5.0414799214725585</c:v>
                </c:pt>
                <c:pt idx="841">
                  <c:v>4.8477445209853309</c:v>
                </c:pt>
                <c:pt idx="842">
                  <c:v>5.1204633024957893</c:v>
                </c:pt>
                <c:pt idx="843">
                  <c:v>4.9043029658105182</c:v>
                </c:pt>
                <c:pt idx="844">
                  <c:v>5.0210310522825052</c:v>
                </c:pt>
                <c:pt idx="845">
                  <c:v>4.0134933752688369</c:v>
                </c:pt>
                <c:pt idx="846">
                  <c:v>5.9650133408702271</c:v>
                </c:pt>
                <c:pt idx="847">
                  <c:v>5.9473834304652478</c:v>
                </c:pt>
                <c:pt idx="848">
                  <c:v>6.9080573491115524</c:v>
                </c:pt>
                <c:pt idx="849">
                  <c:v>4.964684548303544</c:v>
                </c:pt>
                <c:pt idx="850">
                  <c:v>4.0003085600062898</c:v>
                </c:pt>
                <c:pt idx="851">
                  <c:v>6.1365548992331327</c:v>
                </c:pt>
                <c:pt idx="852">
                  <c:v>5.9173810314860118</c:v>
                </c:pt>
                <c:pt idx="853">
                  <c:v>6.0059492824562994</c:v>
                </c:pt>
                <c:pt idx="854">
                  <c:v>6.0967667345234391</c:v>
                </c:pt>
                <c:pt idx="855">
                  <c:v>6.0779837494195537</c:v>
                </c:pt>
                <c:pt idx="856">
                  <c:v>5.0498823639165868</c:v>
                </c:pt>
                <c:pt idx="857">
                  <c:v>3.9670239660117046</c:v>
                </c:pt>
                <c:pt idx="858">
                  <c:v>4.9188677274937422</c:v>
                </c:pt>
                <c:pt idx="859">
                  <c:v>5.9754812553843504</c:v>
                </c:pt>
                <c:pt idx="860">
                  <c:v>5.2847792141901859</c:v>
                </c:pt>
                <c:pt idx="861">
                  <c:v>5.8712158286888041</c:v>
                </c:pt>
                <c:pt idx="862">
                  <c:v>6.0301776063826606</c:v>
                </c:pt>
                <c:pt idx="863">
                  <c:v>4.8600828078083245</c:v>
                </c:pt>
                <c:pt idx="864">
                  <c:v>6.0030917777830952</c:v>
                </c:pt>
                <c:pt idx="865">
                  <c:v>6.0585358897557144</c:v>
                </c:pt>
                <c:pt idx="866">
                  <c:v>6.0553802398676622</c:v>
                </c:pt>
                <c:pt idx="867">
                  <c:v>6.9486274246651636</c:v>
                </c:pt>
                <c:pt idx="868">
                  <c:v>5.0723803958118152</c:v>
                </c:pt>
                <c:pt idx="869">
                  <c:v>3.8382710890088449</c:v>
                </c:pt>
                <c:pt idx="870">
                  <c:v>5.9516736415968037</c:v>
                </c:pt>
                <c:pt idx="871">
                  <c:v>5.9050895065832449</c:v>
                </c:pt>
                <c:pt idx="872">
                  <c:v>7.0277092355540942</c:v>
                </c:pt>
                <c:pt idx="873">
                  <c:v>6.1219900202880373</c:v>
                </c:pt>
                <c:pt idx="874">
                  <c:v>6.9758359612121961</c:v>
                </c:pt>
                <c:pt idx="875">
                  <c:v>6.1207044627386988</c:v>
                </c:pt>
                <c:pt idx="876">
                  <c:v>6.1228377691718059</c:v>
                </c:pt>
                <c:pt idx="877">
                  <c:v>6.0578642215836851</c:v>
                </c:pt>
                <c:pt idx="878">
                  <c:v>4.844428767952019</c:v>
                </c:pt>
                <c:pt idx="879">
                  <c:v>6.9535215737507841</c:v>
                </c:pt>
                <c:pt idx="880">
                  <c:v>5.8793146336187467</c:v>
                </c:pt>
                <c:pt idx="881">
                  <c:v>6.1475129872445873</c:v>
                </c:pt>
                <c:pt idx="882">
                  <c:v>6.0948848599190208</c:v>
                </c:pt>
                <c:pt idx="883">
                  <c:v>6.0572501991170133</c:v>
                </c:pt>
                <c:pt idx="884">
                  <c:v>5.9295454518542305</c:v>
                </c:pt>
                <c:pt idx="885">
                  <c:v>7.1386272851174475</c:v>
                </c:pt>
                <c:pt idx="886">
                  <c:v>5.9000831533647382</c:v>
                </c:pt>
                <c:pt idx="887">
                  <c:v>6.1030878441115597</c:v>
                </c:pt>
                <c:pt idx="888">
                  <c:v>6.1534991448845968</c:v>
                </c:pt>
                <c:pt idx="889">
                  <c:v>4.9525350316955956</c:v>
                </c:pt>
                <c:pt idx="890">
                  <c:v>4.0460458038214098</c:v>
                </c:pt>
                <c:pt idx="891">
                  <c:v>4.978883531507444</c:v>
                </c:pt>
                <c:pt idx="892">
                  <c:v>4.8946780322056389</c:v>
                </c:pt>
                <c:pt idx="893">
                  <c:v>6.0859875182900653</c:v>
                </c:pt>
                <c:pt idx="894">
                  <c:v>4.071537229956494</c:v>
                </c:pt>
                <c:pt idx="895">
                  <c:v>5.0762892116051761</c:v>
                </c:pt>
                <c:pt idx="896">
                  <c:v>4.9652310584216712</c:v>
                </c:pt>
                <c:pt idx="897">
                  <c:v>6.959391390476414</c:v>
                </c:pt>
                <c:pt idx="898">
                  <c:v>6.09071639422221</c:v>
                </c:pt>
                <c:pt idx="899">
                  <c:v>6.0470404938803224</c:v>
                </c:pt>
                <c:pt idx="900">
                  <c:v>7.0601493640390673</c:v>
                </c:pt>
                <c:pt idx="901">
                  <c:v>6.1641700429508361</c:v>
                </c:pt>
                <c:pt idx="902">
                  <c:v>7.1149391367029571</c:v>
                </c:pt>
                <c:pt idx="903">
                  <c:v>4.8354568202326949</c:v>
                </c:pt>
                <c:pt idx="904">
                  <c:v>4.9854366724571113</c:v>
                </c:pt>
                <c:pt idx="905">
                  <c:v>6.0306160859396494</c:v>
                </c:pt>
                <c:pt idx="906">
                  <c:v>5.8142483484516987</c:v>
                </c:pt>
                <c:pt idx="907">
                  <c:v>6.0442836243940237</c:v>
                </c:pt>
                <c:pt idx="908">
                  <c:v>4.6804394592949006</c:v>
                </c:pt>
                <c:pt idx="909">
                  <c:v>5.863265140007738</c:v>
                </c:pt>
                <c:pt idx="910">
                  <c:v>4.8624745337823629</c:v>
                </c:pt>
                <c:pt idx="911">
                  <c:v>4.9438793167837964</c:v>
                </c:pt>
                <c:pt idx="912">
                  <c:v>5.7433109205260191</c:v>
                </c:pt>
                <c:pt idx="913">
                  <c:v>6.1871972408344833</c:v>
                </c:pt>
                <c:pt idx="914">
                  <c:v>4.9824725284955491</c:v>
                </c:pt>
                <c:pt idx="915">
                  <c:v>6.2691389178725165</c:v>
                </c:pt>
                <c:pt idx="916">
                  <c:v>5.0204197926301886</c:v>
                </c:pt>
                <c:pt idx="917">
                  <c:v>5.00337170300197</c:v>
                </c:pt>
                <c:pt idx="918">
                  <c:v>5.0079438060825865</c:v>
                </c:pt>
                <c:pt idx="919">
                  <c:v>5.6966615132923168</c:v>
                </c:pt>
                <c:pt idx="920">
                  <c:v>6.1076127106342115</c:v>
                </c:pt>
                <c:pt idx="921">
                  <c:v>7.0739069323434629</c:v>
                </c:pt>
                <c:pt idx="922">
                  <c:v>5.0312090146245625</c:v>
                </c:pt>
                <c:pt idx="923">
                  <c:v>4.7094172847978832</c:v>
                </c:pt>
                <c:pt idx="924">
                  <c:v>6.7958250194545382</c:v>
                </c:pt>
                <c:pt idx="925">
                  <c:v>6.990700684606252</c:v>
                </c:pt>
                <c:pt idx="926">
                  <c:v>6.970441882034244</c:v>
                </c:pt>
                <c:pt idx="927">
                  <c:v>6.0299929431429211</c:v>
                </c:pt>
                <c:pt idx="928">
                  <c:v>6.312741385739864</c:v>
                </c:pt>
                <c:pt idx="929">
                  <c:v>6.053224781560635</c:v>
                </c:pt>
                <c:pt idx="930">
                  <c:v>5.174974989632152</c:v>
                </c:pt>
                <c:pt idx="931">
                  <c:v>5.1747556327084725</c:v>
                </c:pt>
                <c:pt idx="932">
                  <c:v>5.0801015988579152</c:v>
                </c:pt>
                <c:pt idx="933">
                  <c:v>5.7619396679183419</c:v>
                </c:pt>
                <c:pt idx="934">
                  <c:v>5.9213350058212937</c:v>
                </c:pt>
                <c:pt idx="935">
                  <c:v>6.0514727486381394</c:v>
                </c:pt>
                <c:pt idx="936">
                  <c:v>5.0174263034462028</c:v>
                </c:pt>
                <c:pt idx="937">
                  <c:v>5.9095902500144684</c:v>
                </c:pt>
                <c:pt idx="938">
                  <c:v>7.017391779112593</c:v>
                </c:pt>
                <c:pt idx="939">
                  <c:v>5.0872515108566176</c:v>
                </c:pt>
                <c:pt idx="940">
                  <c:v>5.9071605665773559</c:v>
                </c:pt>
                <c:pt idx="941">
                  <c:v>5.1005728985179317</c:v>
                </c:pt>
                <c:pt idx="942">
                  <c:v>4.8685566156969546</c:v>
                </c:pt>
                <c:pt idx="943">
                  <c:v>6.156165719566113</c:v>
                </c:pt>
                <c:pt idx="944">
                  <c:v>5.8647693934870828</c:v>
                </c:pt>
                <c:pt idx="945">
                  <c:v>5.9843310335340147</c:v>
                </c:pt>
                <c:pt idx="946">
                  <c:v>7.0155951698143131</c:v>
                </c:pt>
                <c:pt idx="947">
                  <c:v>6.1119619242546346</c:v>
                </c:pt>
                <c:pt idx="948">
                  <c:v>5.9713134176075293</c:v>
                </c:pt>
                <c:pt idx="949">
                  <c:v>5.1921044650501988</c:v>
                </c:pt>
                <c:pt idx="950">
                  <c:v>4.9517360047542516</c:v>
                </c:pt>
                <c:pt idx="951">
                  <c:v>4.8640810556490699</c:v>
                </c:pt>
                <c:pt idx="952">
                  <c:v>4.9567643580437837</c:v>
                </c:pt>
                <c:pt idx="953">
                  <c:v>5.8654044329838504</c:v>
                </c:pt>
                <c:pt idx="954">
                  <c:v>4.988333021295885</c:v>
                </c:pt>
                <c:pt idx="955">
                  <c:v>6.037842134619325</c:v>
                </c:pt>
                <c:pt idx="956">
                  <c:v>4.9807179799714874</c:v>
                </c:pt>
                <c:pt idx="957">
                  <c:v>6.1216887893635166</c:v>
                </c:pt>
                <c:pt idx="958">
                  <c:v>4.920965192217726</c:v>
                </c:pt>
                <c:pt idx="959">
                  <c:v>5.8224171278872481</c:v>
                </c:pt>
                <c:pt idx="960">
                  <c:v>7.1666342108251042</c:v>
                </c:pt>
                <c:pt idx="961">
                  <c:v>6.8545225042416424</c:v>
                </c:pt>
                <c:pt idx="962">
                  <c:v>5.9519490479133728</c:v>
                </c:pt>
                <c:pt idx="963">
                  <c:v>6.0461278506257115</c:v>
                </c:pt>
                <c:pt idx="964">
                  <c:v>4.8565759163348075</c:v>
                </c:pt>
                <c:pt idx="965">
                  <c:v>5.908935374250512</c:v>
                </c:pt>
                <c:pt idx="966">
                  <c:v>5.7845222864471335</c:v>
                </c:pt>
                <c:pt idx="967">
                  <c:v>6.065377642791554</c:v>
                </c:pt>
                <c:pt idx="968">
                  <c:v>6.0504867611032829</c:v>
                </c:pt>
                <c:pt idx="969">
                  <c:v>7.0101787763309931</c:v>
                </c:pt>
                <c:pt idx="970">
                  <c:v>4.9968760136781425</c:v>
                </c:pt>
                <c:pt idx="971">
                  <c:v>4.9214411420843795</c:v>
                </c:pt>
                <c:pt idx="972">
                  <c:v>7.0553312560323498</c:v>
                </c:pt>
                <c:pt idx="973">
                  <c:v>4.9716817422120565</c:v>
                </c:pt>
                <c:pt idx="974">
                  <c:v>4.839310295791619</c:v>
                </c:pt>
                <c:pt idx="975">
                  <c:v>6.0168149141882461</c:v>
                </c:pt>
                <c:pt idx="976">
                  <c:v>5.0547430271997049</c:v>
                </c:pt>
                <c:pt idx="977">
                  <c:v>6.0755411528715326</c:v>
                </c:pt>
                <c:pt idx="978">
                  <c:v>5.1546814934983587</c:v>
                </c:pt>
                <c:pt idx="979">
                  <c:v>5.1836480298721712</c:v>
                </c:pt>
                <c:pt idx="980">
                  <c:v>5.0004366801315658</c:v>
                </c:pt>
                <c:pt idx="981">
                  <c:v>4.9802795943895353</c:v>
                </c:pt>
                <c:pt idx="982">
                  <c:v>5.0451624051801991</c:v>
                </c:pt>
                <c:pt idx="983">
                  <c:v>6.1000362388280109</c:v>
                </c:pt>
                <c:pt idx="984">
                  <c:v>4.9029631448508253</c:v>
                </c:pt>
                <c:pt idx="985">
                  <c:v>6.0547112734188975</c:v>
                </c:pt>
                <c:pt idx="986">
                  <c:v>4.9525064308429583</c:v>
                </c:pt>
                <c:pt idx="987">
                  <c:v>5.8488194596365819</c:v>
                </c:pt>
                <c:pt idx="988">
                  <c:v>6.0460220774941016</c:v>
                </c:pt>
                <c:pt idx="989">
                  <c:v>4.9966243890728173</c:v>
                </c:pt>
                <c:pt idx="990">
                  <c:v>5.9987729705280586</c:v>
                </c:pt>
                <c:pt idx="991">
                  <c:v>4.9817285880514799</c:v>
                </c:pt>
                <c:pt idx="992">
                  <c:v>6.0300810672983651</c:v>
                </c:pt>
                <c:pt idx="993">
                  <c:v>5.0245837035817873</c:v>
                </c:pt>
                <c:pt idx="994">
                  <c:v>4.6962356533655987</c:v>
                </c:pt>
                <c:pt idx="995">
                  <c:v>6.0806397384360347</c:v>
                </c:pt>
                <c:pt idx="996">
                  <c:v>6.0384929110691239</c:v>
                </c:pt>
                <c:pt idx="997">
                  <c:v>4.8857231785234889</c:v>
                </c:pt>
                <c:pt idx="998">
                  <c:v>5.9624120036314681</c:v>
                </c:pt>
                <c:pt idx="999">
                  <c:v>6.0876370056968581</c:v>
                </c:pt>
                <c:pt idx="1000">
                  <c:v>6.00750628026596</c:v>
                </c:pt>
                <c:pt idx="1001">
                  <c:v>6.0598575542225008</c:v>
                </c:pt>
                <c:pt idx="1002">
                  <c:v>6.118437401325262</c:v>
                </c:pt>
                <c:pt idx="1003">
                  <c:v>5.9781909117473671</c:v>
                </c:pt>
                <c:pt idx="1004">
                  <c:v>6.0182884812290451</c:v>
                </c:pt>
                <c:pt idx="1005">
                  <c:v>5.037060460229128</c:v>
                </c:pt>
                <c:pt idx="1006">
                  <c:v>6.034238654538699</c:v>
                </c:pt>
                <c:pt idx="1007">
                  <c:v>5.1357186012924458</c:v>
                </c:pt>
                <c:pt idx="1008">
                  <c:v>5.9683448823380134</c:v>
                </c:pt>
                <c:pt idx="1009">
                  <c:v>5.0172715460527808</c:v>
                </c:pt>
                <c:pt idx="1010">
                  <c:v>4.9366325934173743</c:v>
                </c:pt>
                <c:pt idx="1011">
                  <c:v>4.8600545734431915</c:v>
                </c:pt>
                <c:pt idx="1012">
                  <c:v>4.9682970041332046</c:v>
                </c:pt>
                <c:pt idx="1013">
                  <c:v>5.0105608574516065</c:v>
                </c:pt>
                <c:pt idx="1014">
                  <c:v>4.9423992236916554</c:v>
                </c:pt>
                <c:pt idx="1015">
                  <c:v>5.9445190236830756</c:v>
                </c:pt>
                <c:pt idx="1016">
                  <c:v>6.0801427988981338</c:v>
                </c:pt>
                <c:pt idx="1017">
                  <c:v>5.1329012867515802</c:v>
                </c:pt>
                <c:pt idx="1018">
                  <c:v>6.004748960132086</c:v>
                </c:pt>
                <c:pt idx="1019">
                  <c:v>4.9595290805728469</c:v>
                </c:pt>
                <c:pt idx="1020">
                  <c:v>5.9740008951881265</c:v>
                </c:pt>
                <c:pt idx="1021">
                  <c:v>5.0004176042915685</c:v>
                </c:pt>
                <c:pt idx="1022">
                  <c:v>6.2001474738687818</c:v>
                </c:pt>
                <c:pt idx="1023">
                  <c:v>4.8819066741586612</c:v>
                </c:pt>
                <c:pt idx="1024">
                  <c:v>4.9495867344097784</c:v>
                </c:pt>
                <c:pt idx="1025">
                  <c:v>5.9159248409278229</c:v>
                </c:pt>
                <c:pt idx="1026">
                  <c:v>5.0048953091008892</c:v>
                </c:pt>
                <c:pt idx="1027">
                  <c:v>6.053598410237119</c:v>
                </c:pt>
                <c:pt idx="1028">
                  <c:v>6.0332816011095884</c:v>
                </c:pt>
                <c:pt idx="1029">
                  <c:v>5.1112891395629223</c:v>
                </c:pt>
                <c:pt idx="1030">
                  <c:v>4.9223358018006733</c:v>
                </c:pt>
                <c:pt idx="1031">
                  <c:v>4.8852460864742495</c:v>
                </c:pt>
                <c:pt idx="1032">
                  <c:v>6.1218974448867742</c:v>
                </c:pt>
                <c:pt idx="1033">
                  <c:v>5.0881465611073518</c:v>
                </c:pt>
                <c:pt idx="1034">
                  <c:v>5.1133327137901867</c:v>
                </c:pt>
                <c:pt idx="1035">
                  <c:v>4.9415019277643166</c:v>
                </c:pt>
                <c:pt idx="1036">
                  <c:v>6.0480171780265195</c:v>
                </c:pt>
                <c:pt idx="1037">
                  <c:v>5.2435714191000455</c:v>
                </c:pt>
                <c:pt idx="1038">
                  <c:v>4.8690930718758567</c:v>
                </c:pt>
                <c:pt idx="1039">
                  <c:v>5.9460558520155624</c:v>
                </c:pt>
                <c:pt idx="1040">
                  <c:v>6.9279696608418897</c:v>
                </c:pt>
                <c:pt idx="1041">
                  <c:v>6.8402356024202238</c:v>
                </c:pt>
                <c:pt idx="1042">
                  <c:v>6.0364155301419746</c:v>
                </c:pt>
                <c:pt idx="1043">
                  <c:v>4.9785560646985081</c:v>
                </c:pt>
                <c:pt idx="1044">
                  <c:v>4.9392511284872533</c:v>
                </c:pt>
                <c:pt idx="1045">
                  <c:v>5.1020693786701008</c:v>
                </c:pt>
                <c:pt idx="1046">
                  <c:v>4.8769594640057843</c:v>
                </c:pt>
                <c:pt idx="1047">
                  <c:v>6.0933982771622617</c:v>
                </c:pt>
                <c:pt idx="1048">
                  <c:v>5.0848456254239593</c:v>
                </c:pt>
                <c:pt idx="1049">
                  <c:v>6.1289201227865018</c:v>
                </c:pt>
                <c:pt idx="1050">
                  <c:v>5.061692310818291</c:v>
                </c:pt>
                <c:pt idx="1051">
                  <c:v>6.0369344369402622</c:v>
                </c:pt>
                <c:pt idx="1052">
                  <c:v>5.8428009143610389</c:v>
                </c:pt>
                <c:pt idx="1053">
                  <c:v>6.0150586130096784</c:v>
                </c:pt>
                <c:pt idx="1054">
                  <c:v>5.9586639380716191</c:v>
                </c:pt>
                <c:pt idx="1055">
                  <c:v>4.8692216019165215</c:v>
                </c:pt>
                <c:pt idx="1056">
                  <c:v>5.8464858747693063</c:v>
                </c:pt>
                <c:pt idx="1057">
                  <c:v>6.1958178944125901</c:v>
                </c:pt>
                <c:pt idx="1058">
                  <c:v>5.9768001325465256</c:v>
                </c:pt>
                <c:pt idx="1059">
                  <c:v>5.0355992473164193</c:v>
                </c:pt>
                <c:pt idx="1060">
                  <c:v>7.03602977681029</c:v>
                </c:pt>
                <c:pt idx="1061">
                  <c:v>7.2141396315667778</c:v>
                </c:pt>
                <c:pt idx="1062">
                  <c:v>5.942366251177579</c:v>
                </c:pt>
                <c:pt idx="1063">
                  <c:v>6.994436044260433</c:v>
                </c:pt>
                <c:pt idx="1064">
                  <c:v>6.0101999717973174</c:v>
                </c:pt>
                <c:pt idx="1065">
                  <c:v>6.920836631288986</c:v>
                </c:pt>
                <c:pt idx="1066">
                  <c:v>5.0941478421408126</c:v>
                </c:pt>
                <c:pt idx="1067">
                  <c:v>6.9227427207498522</c:v>
                </c:pt>
                <c:pt idx="1068">
                  <c:v>5.7758711596886636</c:v>
                </c:pt>
                <c:pt idx="1069">
                  <c:v>6.0936985955903538</c:v>
                </c:pt>
                <c:pt idx="1070">
                  <c:v>6.0399325857778914</c:v>
                </c:pt>
                <c:pt idx="1071">
                  <c:v>5.9436313347603509</c:v>
                </c:pt>
                <c:pt idx="1072">
                  <c:v>6.0937451638781353</c:v>
                </c:pt>
                <c:pt idx="1073">
                  <c:v>6.9709166776727223</c:v>
                </c:pt>
                <c:pt idx="1074">
                  <c:v>6.0497560704099413</c:v>
                </c:pt>
                <c:pt idx="1075">
                  <c:v>7.048980394854695</c:v>
                </c:pt>
                <c:pt idx="1076">
                  <c:v>4.9620480362098647</c:v>
                </c:pt>
                <c:pt idx="1077">
                  <c:v>5.8404736875863117</c:v>
                </c:pt>
                <c:pt idx="1078">
                  <c:v>6.0149249696513252</c:v>
                </c:pt>
                <c:pt idx="1079">
                  <c:v>1.8020404022741703</c:v>
                </c:pt>
                <c:pt idx="1080">
                  <c:v>4.9608694385285821</c:v>
                </c:pt>
                <c:pt idx="1081">
                  <c:v>2.0842096056649915</c:v>
                </c:pt>
                <c:pt idx="1082">
                  <c:v>2.0579764488184389</c:v>
                </c:pt>
                <c:pt idx="1083">
                  <c:v>4.9480537703392278</c:v>
                </c:pt>
                <c:pt idx="1084">
                  <c:v>4.9716474125309302</c:v>
                </c:pt>
                <c:pt idx="1085">
                  <c:v>4.7815276216284008</c:v>
                </c:pt>
                <c:pt idx="1086">
                  <c:v>5.0884955727283394</c:v>
                </c:pt>
                <c:pt idx="1087">
                  <c:v>4.8789376459622398</c:v>
                </c:pt>
                <c:pt idx="1088">
                  <c:v>4.0228247636492869</c:v>
                </c:pt>
                <c:pt idx="1089">
                  <c:v>5.0087963483019209</c:v>
                </c:pt>
                <c:pt idx="1090">
                  <c:v>3.9926765530203046</c:v>
                </c:pt>
                <c:pt idx="1091">
                  <c:v>4.9913314043258907</c:v>
                </c:pt>
                <c:pt idx="1092">
                  <c:v>7.0678872191635858</c:v>
                </c:pt>
                <c:pt idx="1093">
                  <c:v>3.8762940355032804</c:v>
                </c:pt>
                <c:pt idx="1094">
                  <c:v>5.969322668158707</c:v>
                </c:pt>
                <c:pt idx="1095">
                  <c:v>6.1297201505746903</c:v>
                </c:pt>
                <c:pt idx="1096">
                  <c:v>6.8308096943748362</c:v>
                </c:pt>
                <c:pt idx="1097">
                  <c:v>6.9983263017224955</c:v>
                </c:pt>
                <c:pt idx="1098">
                  <c:v>6.0903983451463075</c:v>
                </c:pt>
                <c:pt idx="1099">
                  <c:v>6.0540902055188912</c:v>
                </c:pt>
                <c:pt idx="1100">
                  <c:v>6.0275675224655831</c:v>
                </c:pt>
                <c:pt idx="1101">
                  <c:v>6.1304209594871697</c:v>
                </c:pt>
                <c:pt idx="1102">
                  <c:v>6.9535174674094327</c:v>
                </c:pt>
                <c:pt idx="1103">
                  <c:v>6.1367203196466846</c:v>
                </c:pt>
                <c:pt idx="1104">
                  <c:v>5.0017461076024583</c:v>
                </c:pt>
                <c:pt idx="1105">
                  <c:v>6.0006581460278072</c:v>
                </c:pt>
                <c:pt idx="1106">
                  <c:v>6.8578150117009073</c:v>
                </c:pt>
                <c:pt idx="1107">
                  <c:v>5.9670126782502821</c:v>
                </c:pt>
                <c:pt idx="1108">
                  <c:v>6.0370172988503681</c:v>
                </c:pt>
                <c:pt idx="1109">
                  <c:v>4.9646233495839143</c:v>
                </c:pt>
                <c:pt idx="1110">
                  <c:v>5.0113204694098581</c:v>
                </c:pt>
                <c:pt idx="1111">
                  <c:v>4.8511085198431552</c:v>
                </c:pt>
                <c:pt idx="1112">
                  <c:v>4.9958837406795205</c:v>
                </c:pt>
                <c:pt idx="1113">
                  <c:v>5.0639348083019051</c:v>
                </c:pt>
                <c:pt idx="1114">
                  <c:v>6.0695405520546863</c:v>
                </c:pt>
                <c:pt idx="1115">
                  <c:v>5.1033911301702064</c:v>
                </c:pt>
                <c:pt idx="1116">
                  <c:v>4.0188097688577864</c:v>
                </c:pt>
                <c:pt idx="1117">
                  <c:v>5.1182746610944214</c:v>
                </c:pt>
                <c:pt idx="1118">
                  <c:v>4.9880447994259285</c:v>
                </c:pt>
                <c:pt idx="1119">
                  <c:v>6.8322729272032952</c:v>
                </c:pt>
                <c:pt idx="1120">
                  <c:v>5.1579672963696765</c:v>
                </c:pt>
                <c:pt idx="1121">
                  <c:v>5.0989848067206358</c:v>
                </c:pt>
                <c:pt idx="1122">
                  <c:v>4.8097196849473303</c:v>
                </c:pt>
                <c:pt idx="1123">
                  <c:v>5.1994404060124344</c:v>
                </c:pt>
                <c:pt idx="1124">
                  <c:v>4.7613275411598508</c:v>
                </c:pt>
                <c:pt idx="1125">
                  <c:v>6.0459858455444291</c:v>
                </c:pt>
                <c:pt idx="1126">
                  <c:v>5.8297177066167007</c:v>
                </c:pt>
                <c:pt idx="1127">
                  <c:v>6.0142923320201715</c:v>
                </c:pt>
                <c:pt idx="1128">
                  <c:v>6.969184187942087</c:v>
                </c:pt>
                <c:pt idx="1129">
                  <c:v>6.0390193979694047</c:v>
                </c:pt>
                <c:pt idx="1130">
                  <c:v>6.1264251904412861</c:v>
                </c:pt>
                <c:pt idx="1131">
                  <c:v>4.9596808429260513</c:v>
                </c:pt>
                <c:pt idx="1132">
                  <c:v>4.9198843581666987</c:v>
                </c:pt>
                <c:pt idx="1133">
                  <c:v>5.1170589232618093</c:v>
                </c:pt>
                <c:pt idx="1134">
                  <c:v>5.9140812401904794</c:v>
                </c:pt>
                <c:pt idx="1135">
                  <c:v>5.9634419156769241</c:v>
                </c:pt>
                <c:pt idx="1136">
                  <c:v>4.855980348851431</c:v>
                </c:pt>
                <c:pt idx="1137">
                  <c:v>6.2731576660144057</c:v>
                </c:pt>
                <c:pt idx="1138">
                  <c:v>6.0494790695568303</c:v>
                </c:pt>
                <c:pt idx="1139">
                  <c:v>4.9291168063837816</c:v>
                </c:pt>
                <c:pt idx="1140">
                  <c:v>5.7806460050958348</c:v>
                </c:pt>
                <c:pt idx="1141">
                  <c:v>4.8952100478639116</c:v>
                </c:pt>
                <c:pt idx="1142">
                  <c:v>4.849459012689521</c:v>
                </c:pt>
                <c:pt idx="1143">
                  <c:v>1.880461267430666</c:v>
                </c:pt>
                <c:pt idx="1144">
                  <c:v>4.9628394212364748</c:v>
                </c:pt>
                <c:pt idx="1145">
                  <c:v>4.9883034826306547</c:v>
                </c:pt>
                <c:pt idx="1146">
                  <c:v>4.9571178109552472</c:v>
                </c:pt>
                <c:pt idx="1147">
                  <c:v>4.9096935146834015</c:v>
                </c:pt>
                <c:pt idx="1148">
                  <c:v>4.9176829499414758</c:v>
                </c:pt>
                <c:pt idx="1149">
                  <c:v>5.9930982989444725</c:v>
                </c:pt>
                <c:pt idx="1150">
                  <c:v>5.8668775259382651</c:v>
                </c:pt>
                <c:pt idx="1151">
                  <c:v>6.1857443889640011</c:v>
                </c:pt>
                <c:pt idx="1152">
                  <c:v>6.172905002901544</c:v>
                </c:pt>
                <c:pt idx="1153">
                  <c:v>5.9684888083657297</c:v>
                </c:pt>
                <c:pt idx="1154">
                  <c:v>6.1545983028293145</c:v>
                </c:pt>
                <c:pt idx="1155">
                  <c:v>5.9736281795041517</c:v>
                </c:pt>
                <c:pt idx="1156">
                  <c:v>5.014424150386648</c:v>
                </c:pt>
                <c:pt idx="1157">
                  <c:v>4.7742834610029083</c:v>
                </c:pt>
                <c:pt idx="1158">
                  <c:v>5.9246862839447099</c:v>
                </c:pt>
                <c:pt idx="1159">
                  <c:v>5.9905533351908407</c:v>
                </c:pt>
                <c:pt idx="1160">
                  <c:v>6.0101028293552918</c:v>
                </c:pt>
                <c:pt idx="1161">
                  <c:v>6.0927237371024408</c:v>
                </c:pt>
                <c:pt idx="1162">
                  <c:v>4.9876894904153897</c:v>
                </c:pt>
                <c:pt idx="1163">
                  <c:v>4.8698358071745806</c:v>
                </c:pt>
                <c:pt idx="1164">
                  <c:v>6.1100311959223275</c:v>
                </c:pt>
                <c:pt idx="1165">
                  <c:v>5.1078641938878873</c:v>
                </c:pt>
                <c:pt idx="1166">
                  <c:v>6.8102438011207695</c:v>
                </c:pt>
                <c:pt idx="1167">
                  <c:v>5.9125924875234155</c:v>
                </c:pt>
                <c:pt idx="1168">
                  <c:v>5.0470289887937501</c:v>
                </c:pt>
                <c:pt idx="1169">
                  <c:v>5.9826063123410398</c:v>
                </c:pt>
                <c:pt idx="1170">
                  <c:v>4.9539123793248567</c:v>
                </c:pt>
                <c:pt idx="1171">
                  <c:v>5.793857577840412</c:v>
                </c:pt>
                <c:pt idx="1172">
                  <c:v>4.9944382091493633</c:v>
                </c:pt>
                <c:pt idx="1173">
                  <c:v>5.9913409313068495</c:v>
                </c:pt>
                <c:pt idx="1174">
                  <c:v>5.1529224057098455</c:v>
                </c:pt>
                <c:pt idx="1175">
                  <c:v>5.8551416207356324</c:v>
                </c:pt>
                <c:pt idx="1176">
                  <c:v>5.1469082790601624</c:v>
                </c:pt>
                <c:pt idx="1177">
                  <c:v>5.8309547820159757</c:v>
                </c:pt>
                <c:pt idx="1178">
                  <c:v>5.9044394537169822</c:v>
                </c:pt>
                <c:pt idx="1179">
                  <c:v>4.8584504402623967</c:v>
                </c:pt>
                <c:pt idx="1180">
                  <c:v>5.0791902510254676</c:v>
                </c:pt>
                <c:pt idx="1181">
                  <c:v>5.129236014518904</c:v>
                </c:pt>
                <c:pt idx="1182">
                  <c:v>5.1237175345299901</c:v>
                </c:pt>
                <c:pt idx="1183">
                  <c:v>4.8603742478369787</c:v>
                </c:pt>
                <c:pt idx="1184">
                  <c:v>5.1397845164377811</c:v>
                </c:pt>
                <c:pt idx="1185">
                  <c:v>5.8918350631344225</c:v>
                </c:pt>
                <c:pt idx="1186">
                  <c:v>5.8780112019879684</c:v>
                </c:pt>
                <c:pt idx="1187">
                  <c:v>4.7807559994769901</c:v>
                </c:pt>
                <c:pt idx="1188">
                  <c:v>4.9999332308235553</c:v>
                </c:pt>
                <c:pt idx="1189">
                  <c:v>5.1128366620468526</c:v>
                </c:pt>
                <c:pt idx="1190">
                  <c:v>4.9679515436143955</c:v>
                </c:pt>
                <c:pt idx="1191">
                  <c:v>6.1287444069815438</c:v>
                </c:pt>
                <c:pt idx="1192">
                  <c:v>5.2343301958928157</c:v>
                </c:pt>
                <c:pt idx="1193">
                  <c:v>5.8796517497125862</c:v>
                </c:pt>
                <c:pt idx="1194">
                  <c:v>6.0647752622294782</c:v>
                </c:pt>
                <c:pt idx="1195">
                  <c:v>6.0470114279335725</c:v>
                </c:pt>
                <c:pt idx="1196">
                  <c:v>5.0223933274248633</c:v>
                </c:pt>
                <c:pt idx="1197">
                  <c:v>5.9684086545060433</c:v>
                </c:pt>
                <c:pt idx="1198">
                  <c:v>6.11181466536146</c:v>
                </c:pt>
                <c:pt idx="1199">
                  <c:v>4.9216550036654461</c:v>
                </c:pt>
                <c:pt idx="1200">
                  <c:v>4.9846980866382156</c:v>
                </c:pt>
                <c:pt idx="1201">
                  <c:v>5.9136421376089405</c:v>
                </c:pt>
                <c:pt idx="1202">
                  <c:v>4.9752609183981242</c:v>
                </c:pt>
                <c:pt idx="1203">
                  <c:v>5.9963957675584654</c:v>
                </c:pt>
                <c:pt idx="1204">
                  <c:v>5.8750779725188238</c:v>
                </c:pt>
                <c:pt idx="1205">
                  <c:v>5.9506684984529459</c:v>
                </c:pt>
                <c:pt idx="1206">
                  <c:v>6.0167739971013638</c:v>
                </c:pt>
                <c:pt idx="1207">
                  <c:v>6.9727659793367502</c:v>
                </c:pt>
                <c:pt idx="1208">
                  <c:v>4.9480154595479009</c:v>
                </c:pt>
                <c:pt idx="1209">
                  <c:v>6.0138021592680753</c:v>
                </c:pt>
                <c:pt idx="1210">
                  <c:v>5.0341250447693167</c:v>
                </c:pt>
                <c:pt idx="1211">
                  <c:v>4.8707639023168605</c:v>
                </c:pt>
                <c:pt idx="1212">
                  <c:v>6.9618781097786879</c:v>
                </c:pt>
                <c:pt idx="1213">
                  <c:v>5.9142751381327274</c:v>
                </c:pt>
                <c:pt idx="1214">
                  <c:v>6.1428492939065595</c:v>
                </c:pt>
                <c:pt idx="1215">
                  <c:v>4.8967339175505682</c:v>
                </c:pt>
                <c:pt idx="1216">
                  <c:v>6.1237999196329227</c:v>
                </c:pt>
                <c:pt idx="1217">
                  <c:v>4.8211062624990495</c:v>
                </c:pt>
                <c:pt idx="1218">
                  <c:v>5.9965030496854554</c:v>
                </c:pt>
                <c:pt idx="1219">
                  <c:v>6.0775477176425428</c:v>
                </c:pt>
                <c:pt idx="1220">
                  <c:v>5.9732250081347678</c:v>
                </c:pt>
                <c:pt idx="1221">
                  <c:v>5.0133360421380111</c:v>
                </c:pt>
                <c:pt idx="1222">
                  <c:v>6.0034424187009767</c:v>
                </c:pt>
                <c:pt idx="1223">
                  <c:v>4.9347105635491788</c:v>
                </c:pt>
                <c:pt idx="1224">
                  <c:v>6.0422732372380015</c:v>
                </c:pt>
                <c:pt idx="1225">
                  <c:v>6.0384262018229302</c:v>
                </c:pt>
                <c:pt idx="1226">
                  <c:v>6.0778971374403152</c:v>
                </c:pt>
                <c:pt idx="1227">
                  <c:v>5.9804993965635198</c:v>
                </c:pt>
                <c:pt idx="1228">
                  <c:v>4.9215229964939304</c:v>
                </c:pt>
                <c:pt idx="1229">
                  <c:v>6.0312728741344577</c:v>
                </c:pt>
                <c:pt idx="1230">
                  <c:v>4.9469514960824377</c:v>
                </c:pt>
                <c:pt idx="1231">
                  <c:v>6.0320368389289545</c:v>
                </c:pt>
                <c:pt idx="1232">
                  <c:v>4.9861494589567554</c:v>
                </c:pt>
                <c:pt idx="1233">
                  <c:v>5.9336837570864471</c:v>
                </c:pt>
                <c:pt idx="1234">
                  <c:v>5.9393038349390039</c:v>
                </c:pt>
                <c:pt idx="1235">
                  <c:v>5.161600397741255</c:v>
                </c:pt>
                <c:pt idx="1236">
                  <c:v>7.1799318068910338</c:v>
                </c:pt>
                <c:pt idx="1237">
                  <c:v>5.8982305502841221</c:v>
                </c:pt>
                <c:pt idx="1238">
                  <c:v>5.0976875196955822</c:v>
                </c:pt>
                <c:pt idx="1239">
                  <c:v>5.0279030556485784</c:v>
                </c:pt>
                <c:pt idx="1240">
                  <c:v>5.0727419810020855</c:v>
                </c:pt>
                <c:pt idx="1241">
                  <c:v>6.0374538485421629</c:v>
                </c:pt>
                <c:pt idx="1242">
                  <c:v>4.886885684819811</c:v>
                </c:pt>
                <c:pt idx="1243">
                  <c:v>4.9880982104190048</c:v>
                </c:pt>
                <c:pt idx="1244">
                  <c:v>5.8493883801285689</c:v>
                </c:pt>
                <c:pt idx="1245">
                  <c:v>6.1805386434566003</c:v>
                </c:pt>
                <c:pt idx="1246">
                  <c:v>5.9396342783185592</c:v>
                </c:pt>
                <c:pt idx="1247">
                  <c:v>6.2160644657873334</c:v>
                </c:pt>
                <c:pt idx="1248">
                  <c:v>5.9825210356691496</c:v>
                </c:pt>
                <c:pt idx="1249">
                  <c:v>5.1369690041724763</c:v>
                </c:pt>
                <c:pt idx="1250">
                  <c:v>5.0221966236123219</c:v>
                </c:pt>
                <c:pt idx="1251">
                  <c:v>6.0154054347101535</c:v>
                </c:pt>
                <c:pt idx="1252">
                  <c:v>6.0867566745558239</c:v>
                </c:pt>
                <c:pt idx="1253">
                  <c:v>4.873243441785422</c:v>
                </c:pt>
                <c:pt idx="1254">
                  <c:v>4.9957323869107446</c:v>
                </c:pt>
                <c:pt idx="1255">
                  <c:v>4.889870112321975</c:v>
                </c:pt>
                <c:pt idx="1256">
                  <c:v>4.9599819746119298</c:v>
                </c:pt>
                <c:pt idx="1257">
                  <c:v>5.171621569218896</c:v>
                </c:pt>
                <c:pt idx="1258">
                  <c:v>6.8553231298788431</c:v>
                </c:pt>
                <c:pt idx="1259">
                  <c:v>6.0482897909055104</c:v>
                </c:pt>
                <c:pt idx="1260">
                  <c:v>6.0579560362997871</c:v>
                </c:pt>
                <c:pt idx="1261">
                  <c:v>4.8199923853267377</c:v>
                </c:pt>
                <c:pt idx="1262">
                  <c:v>4.9046135088136902</c:v>
                </c:pt>
                <c:pt idx="1263">
                  <c:v>6.2039967967010679</c:v>
                </c:pt>
                <c:pt idx="1264">
                  <c:v>4.0240260664449075</c:v>
                </c:pt>
                <c:pt idx="1265">
                  <c:v>6.0061902554062243</c:v>
                </c:pt>
                <c:pt idx="1266">
                  <c:v>5.0310594323256046</c:v>
                </c:pt>
                <c:pt idx="1267">
                  <c:v>5.0517036643949256</c:v>
                </c:pt>
                <c:pt idx="1268">
                  <c:v>4.7861088688639457</c:v>
                </c:pt>
                <c:pt idx="1269">
                  <c:v>4.9463953038497817</c:v>
                </c:pt>
                <c:pt idx="1270">
                  <c:v>5.9953765175932272</c:v>
                </c:pt>
                <c:pt idx="1271">
                  <c:v>4.9911525067395255</c:v>
                </c:pt>
                <c:pt idx="1272">
                  <c:v>5.0828147471179834</c:v>
                </c:pt>
                <c:pt idx="1273">
                  <c:v>4.9806501227196183</c:v>
                </c:pt>
                <c:pt idx="1274">
                  <c:v>4.9942868029490546</c:v>
                </c:pt>
                <c:pt idx="1275">
                  <c:v>4.9345697470396814</c:v>
                </c:pt>
                <c:pt idx="1276">
                  <c:v>5.9774752413790813</c:v>
                </c:pt>
                <c:pt idx="1277">
                  <c:v>5.8637488992337143</c:v>
                </c:pt>
                <c:pt idx="1278">
                  <c:v>4.9277256376821423</c:v>
                </c:pt>
                <c:pt idx="1279">
                  <c:v>4.9255483004024754</c:v>
                </c:pt>
                <c:pt idx="1280">
                  <c:v>5.0822149117891469</c:v>
                </c:pt>
                <c:pt idx="1281">
                  <c:v>4.9102393078799569</c:v>
                </c:pt>
                <c:pt idx="1282">
                  <c:v>5.0359681131119878</c:v>
                </c:pt>
                <c:pt idx="1283">
                  <c:v>6.0722855727548426</c:v>
                </c:pt>
                <c:pt idx="1284">
                  <c:v>6.0295110839206876</c:v>
                </c:pt>
                <c:pt idx="1285">
                  <c:v>5.9767608520710152</c:v>
                </c:pt>
                <c:pt idx="1286">
                  <c:v>5.9164507493710774</c:v>
                </c:pt>
                <c:pt idx="1287">
                  <c:v>5.9870766083004172</c:v>
                </c:pt>
                <c:pt idx="1288">
                  <c:v>5.0392672788402608</c:v>
                </c:pt>
                <c:pt idx="1289">
                  <c:v>7.0014514135287067</c:v>
                </c:pt>
                <c:pt idx="1290">
                  <c:v>3.898410058709044</c:v>
                </c:pt>
                <c:pt idx="1291">
                  <c:v>5.9402127550990134</c:v>
                </c:pt>
                <c:pt idx="1292">
                  <c:v>6.0582402894423986</c:v>
                </c:pt>
                <c:pt idx="1293">
                  <c:v>6.0138218529128622</c:v>
                </c:pt>
                <c:pt idx="1294">
                  <c:v>5.873374104205249</c:v>
                </c:pt>
                <c:pt idx="1295">
                  <c:v>5.9342478379668648</c:v>
                </c:pt>
                <c:pt idx="1296">
                  <c:v>6.9811545445836893</c:v>
                </c:pt>
                <c:pt idx="1297">
                  <c:v>4.0137913029180075</c:v>
                </c:pt>
                <c:pt idx="1298">
                  <c:v>6.0987711270121583</c:v>
                </c:pt>
                <c:pt idx="1299">
                  <c:v>4.1424189347965541</c:v>
                </c:pt>
                <c:pt idx="1300">
                  <c:v>7.0743652401819785</c:v>
                </c:pt>
                <c:pt idx="1301">
                  <c:v>3.8959814801654926</c:v>
                </c:pt>
                <c:pt idx="1302">
                  <c:v>5.1212353435677</c:v>
                </c:pt>
                <c:pt idx="1303">
                  <c:v>4.8971437179423463</c:v>
                </c:pt>
                <c:pt idx="1304">
                  <c:v>4.060143560013584</c:v>
                </c:pt>
                <c:pt idx="1305">
                  <c:v>3.9474749458040508</c:v>
                </c:pt>
                <c:pt idx="1306">
                  <c:v>5.9242919043409721</c:v>
                </c:pt>
                <c:pt idx="1307">
                  <c:v>5.9278610418376845</c:v>
                </c:pt>
                <c:pt idx="1308">
                  <c:v>4.0831830561481182</c:v>
                </c:pt>
                <c:pt idx="1309">
                  <c:v>3.9045467394547448</c:v>
                </c:pt>
                <c:pt idx="1310">
                  <c:v>6.0059351610928928</c:v>
                </c:pt>
                <c:pt idx="1311">
                  <c:v>3.8607298906425154</c:v>
                </c:pt>
                <c:pt idx="1312">
                  <c:v>3.9196966763330217</c:v>
                </c:pt>
                <c:pt idx="1313">
                  <c:v>5.9885758632359156</c:v>
                </c:pt>
                <c:pt idx="1314">
                  <c:v>4.0415946338975459</c:v>
                </c:pt>
                <c:pt idx="1315">
                  <c:v>5.8653770470749391</c:v>
                </c:pt>
                <c:pt idx="1316">
                  <c:v>6.908043134992595</c:v>
                </c:pt>
                <c:pt idx="1317">
                  <c:v>5.8382174903226112</c:v>
                </c:pt>
                <c:pt idx="1318">
                  <c:v>3.0764210309773001</c:v>
                </c:pt>
                <c:pt idx="1319">
                  <c:v>4.9830200083195217</c:v>
                </c:pt>
                <c:pt idx="1320">
                  <c:v>5.9646493233462472</c:v>
                </c:pt>
                <c:pt idx="1321">
                  <c:v>4.9817455511156616</c:v>
                </c:pt>
                <c:pt idx="1322">
                  <c:v>4.9805737109812762</c:v>
                </c:pt>
                <c:pt idx="1323">
                  <c:v>5.9242752769108984</c:v>
                </c:pt>
                <c:pt idx="1324">
                  <c:v>5.9834618256863266</c:v>
                </c:pt>
                <c:pt idx="1325">
                  <c:v>5.9788862064182302</c:v>
                </c:pt>
                <c:pt idx="1326">
                  <c:v>6.0663888091662379</c:v>
                </c:pt>
                <c:pt idx="1327">
                  <c:v>5.0056757942699868</c:v>
                </c:pt>
                <c:pt idx="1328">
                  <c:v>4.9205242738598924</c:v>
                </c:pt>
                <c:pt idx="1329">
                  <c:v>5.1929855674517915</c:v>
                </c:pt>
                <c:pt idx="1330">
                  <c:v>5.9386583149666867</c:v>
                </c:pt>
                <c:pt idx="1331">
                  <c:v>6.1178138351065137</c:v>
                </c:pt>
                <c:pt idx="1332">
                  <c:v>5.9549584175971759</c:v>
                </c:pt>
                <c:pt idx="1333">
                  <c:v>5.8114799877316798</c:v>
                </c:pt>
                <c:pt idx="1334">
                  <c:v>6.0536752726426659</c:v>
                </c:pt>
                <c:pt idx="1335">
                  <c:v>5.006035343239704</c:v>
                </c:pt>
                <c:pt idx="1336">
                  <c:v>5.8377112580218764</c:v>
                </c:pt>
                <c:pt idx="1337">
                  <c:v>6.0729296513079252</c:v>
                </c:pt>
                <c:pt idx="1338">
                  <c:v>4.9267095791197804</c:v>
                </c:pt>
                <c:pt idx="1339">
                  <c:v>5.869148650606216</c:v>
                </c:pt>
                <c:pt idx="1340">
                  <c:v>5.9994889858098546</c:v>
                </c:pt>
                <c:pt idx="1341">
                  <c:v>5.0332614606429678</c:v>
                </c:pt>
                <c:pt idx="1342">
                  <c:v>4.9629550034342165</c:v>
                </c:pt>
                <c:pt idx="1343">
                  <c:v>4.8232071816765316</c:v>
                </c:pt>
                <c:pt idx="1344">
                  <c:v>6.0744932362099204</c:v>
                </c:pt>
                <c:pt idx="1345">
                  <c:v>4.841822659327657</c:v>
                </c:pt>
                <c:pt idx="1346">
                  <c:v>5.1051303114906545</c:v>
                </c:pt>
                <c:pt idx="1347">
                  <c:v>4.8303257228659167</c:v>
                </c:pt>
                <c:pt idx="1348">
                  <c:v>4.881233584551679</c:v>
                </c:pt>
                <c:pt idx="1349">
                  <c:v>5.0062349146591387</c:v>
                </c:pt>
                <c:pt idx="1350">
                  <c:v>4.9451875923022657</c:v>
                </c:pt>
                <c:pt idx="1351">
                  <c:v>4.9409947632190443</c:v>
                </c:pt>
                <c:pt idx="1352">
                  <c:v>5.0232576741344825</c:v>
                </c:pt>
                <c:pt idx="1353">
                  <c:v>5.0105978597858938</c:v>
                </c:pt>
                <c:pt idx="1354">
                  <c:v>7.0942246347704927</c:v>
                </c:pt>
                <c:pt idx="1355">
                  <c:v>5.987480026826602</c:v>
                </c:pt>
                <c:pt idx="1356">
                  <c:v>6.0246276848364992</c:v>
                </c:pt>
                <c:pt idx="1357">
                  <c:v>5.8962077728354014</c:v>
                </c:pt>
                <c:pt idx="1358">
                  <c:v>4.934880258800864</c:v>
                </c:pt>
                <c:pt idx="1359">
                  <c:v>5.0014357001490151</c:v>
                </c:pt>
                <c:pt idx="1360">
                  <c:v>5.0511400536336311</c:v>
                </c:pt>
                <c:pt idx="1361">
                  <c:v>5.0820162551342483</c:v>
                </c:pt>
                <c:pt idx="1362">
                  <c:v>4.9603223592627783</c:v>
                </c:pt>
                <c:pt idx="1363">
                  <c:v>6.9792695705815149</c:v>
                </c:pt>
                <c:pt idx="1364">
                  <c:v>6.9445393156323583</c:v>
                </c:pt>
                <c:pt idx="1365">
                  <c:v>7.1712692504040003</c:v>
                </c:pt>
                <c:pt idx="1366">
                  <c:v>6.9792710739848971</c:v>
                </c:pt>
                <c:pt idx="1367">
                  <c:v>7.0513999009911155</c:v>
                </c:pt>
                <c:pt idx="1368">
                  <c:v>1.9793943847948936</c:v>
                </c:pt>
                <c:pt idx="1369">
                  <c:v>5.080627825660434</c:v>
                </c:pt>
                <c:pt idx="1370">
                  <c:v>5.0768117786924902</c:v>
                </c:pt>
                <c:pt idx="1371">
                  <c:v>5.9863907183798997</c:v>
                </c:pt>
                <c:pt idx="1372">
                  <c:v>7.0097455584935489</c:v>
                </c:pt>
                <c:pt idx="1373">
                  <c:v>4.9323637479060043</c:v>
                </c:pt>
                <c:pt idx="1374">
                  <c:v>3.9594953769512626</c:v>
                </c:pt>
                <c:pt idx="1375">
                  <c:v>6.1259545423670856</c:v>
                </c:pt>
                <c:pt idx="1376">
                  <c:v>6.0155176735457863</c:v>
                </c:pt>
                <c:pt idx="1377">
                  <c:v>4.9648324611698573</c:v>
                </c:pt>
                <c:pt idx="1378">
                  <c:v>5.8230115379932172</c:v>
                </c:pt>
                <c:pt idx="1379">
                  <c:v>4.8840219819051205</c:v>
                </c:pt>
                <c:pt idx="1380">
                  <c:v>4.9113812998690785</c:v>
                </c:pt>
                <c:pt idx="1381">
                  <c:v>5.1251622912547123</c:v>
                </c:pt>
                <c:pt idx="1382">
                  <c:v>4.9388626220239304</c:v>
                </c:pt>
                <c:pt idx="1383">
                  <c:v>5.0397902297288244</c:v>
                </c:pt>
                <c:pt idx="1384">
                  <c:v>5.963786773601818</c:v>
                </c:pt>
                <c:pt idx="1385">
                  <c:v>4.8984293157617911</c:v>
                </c:pt>
                <c:pt idx="1386">
                  <c:v>5.1965480594019633</c:v>
                </c:pt>
                <c:pt idx="1387">
                  <c:v>4.0686126281394532</c:v>
                </c:pt>
                <c:pt idx="1388">
                  <c:v>4.798171037923936</c:v>
                </c:pt>
                <c:pt idx="1389">
                  <c:v>5.1190927719649029</c:v>
                </c:pt>
                <c:pt idx="1390">
                  <c:v>5.0476955555260723</c:v>
                </c:pt>
                <c:pt idx="1391">
                  <c:v>4.8976018669312307</c:v>
                </c:pt>
                <c:pt idx="1392">
                  <c:v>5.1779858978338682</c:v>
                </c:pt>
                <c:pt idx="1393">
                  <c:v>4.9290939816535992</c:v>
                </c:pt>
                <c:pt idx="1394">
                  <c:v>5.0001841419889406</c:v>
                </c:pt>
                <c:pt idx="1395">
                  <c:v>5.0807904249191616</c:v>
                </c:pt>
                <c:pt idx="1396">
                  <c:v>5.1799587623890373</c:v>
                </c:pt>
                <c:pt idx="1397">
                  <c:v>5.9796873852068009</c:v>
                </c:pt>
                <c:pt idx="1398">
                  <c:v>5.9691198156768799</c:v>
                </c:pt>
                <c:pt idx="1399">
                  <c:v>5.0123888640240617</c:v>
                </c:pt>
                <c:pt idx="1400">
                  <c:v>6.1133864167127872</c:v>
                </c:pt>
                <c:pt idx="1401">
                  <c:v>5.1436884479239211</c:v>
                </c:pt>
                <c:pt idx="1402">
                  <c:v>4.9410037378272014</c:v>
                </c:pt>
                <c:pt idx="1403">
                  <c:v>4.9295508033281932</c:v>
                </c:pt>
                <c:pt idx="1404">
                  <c:v>5.1554477348669465</c:v>
                </c:pt>
                <c:pt idx="1405">
                  <c:v>4.9977165106870194</c:v>
                </c:pt>
                <c:pt idx="1406">
                  <c:v>4.9719489191025446</c:v>
                </c:pt>
                <c:pt idx="1407">
                  <c:v>4.928060510215035</c:v>
                </c:pt>
                <c:pt idx="1408">
                  <c:v>5.9093728722460446</c:v>
                </c:pt>
                <c:pt idx="1409">
                  <c:v>5.9068608806681473</c:v>
                </c:pt>
                <c:pt idx="1410">
                  <c:v>4.9614862669910256</c:v>
                </c:pt>
                <c:pt idx="1411">
                  <c:v>5.1034139978938091</c:v>
                </c:pt>
                <c:pt idx="1412">
                  <c:v>4.8336695059631474</c:v>
                </c:pt>
                <c:pt idx="1413">
                  <c:v>6.0544046773089972</c:v>
                </c:pt>
                <c:pt idx="1414">
                  <c:v>4.9103532390083018</c:v>
                </c:pt>
                <c:pt idx="1415">
                  <c:v>5.9873769656755185</c:v>
                </c:pt>
                <c:pt idx="1416">
                  <c:v>6.0413923748262501</c:v>
                </c:pt>
                <c:pt idx="1417">
                  <c:v>5.050596756365838</c:v>
                </c:pt>
                <c:pt idx="1418">
                  <c:v>6.0091084948240203</c:v>
                </c:pt>
                <c:pt idx="1419">
                  <c:v>5.0636938607266098</c:v>
                </c:pt>
                <c:pt idx="1420">
                  <c:v>4.76490557917404</c:v>
                </c:pt>
                <c:pt idx="1421">
                  <c:v>6.0031929132650177</c:v>
                </c:pt>
                <c:pt idx="1422">
                  <c:v>6.2309384834672752</c:v>
                </c:pt>
                <c:pt idx="1423">
                  <c:v>5.9340190164528055</c:v>
                </c:pt>
                <c:pt idx="1424">
                  <c:v>5.0061494600984418</c:v>
                </c:pt>
                <c:pt idx="1425">
                  <c:v>4.0866424694728192</c:v>
                </c:pt>
                <c:pt idx="1426">
                  <c:v>5.0794036309425659</c:v>
                </c:pt>
                <c:pt idx="1427">
                  <c:v>6.2221107199630348</c:v>
                </c:pt>
                <c:pt idx="1428">
                  <c:v>5.1006731088775634</c:v>
                </c:pt>
                <c:pt idx="1429">
                  <c:v>3.9671980336702366</c:v>
                </c:pt>
                <c:pt idx="1430">
                  <c:v>4.960111809379419</c:v>
                </c:pt>
                <c:pt idx="1431">
                  <c:v>4.9946245141371062</c:v>
                </c:pt>
                <c:pt idx="1432">
                  <c:v>6.0081300559175848</c:v>
                </c:pt>
                <c:pt idx="1433">
                  <c:v>5.1077217826048074</c:v>
                </c:pt>
                <c:pt idx="1434">
                  <c:v>4.7857215788933356</c:v>
                </c:pt>
                <c:pt idx="1435">
                  <c:v>4.0185837209383299</c:v>
                </c:pt>
                <c:pt idx="1436">
                  <c:v>5.803840817283505</c:v>
                </c:pt>
                <c:pt idx="1437">
                  <c:v>5.0768424395758398</c:v>
                </c:pt>
                <c:pt idx="1438">
                  <c:v>5.942387681661125</c:v>
                </c:pt>
                <c:pt idx="1439">
                  <c:v>4.9306598793130565</c:v>
                </c:pt>
                <c:pt idx="1440">
                  <c:v>5.0609695230528962</c:v>
                </c:pt>
                <c:pt idx="1441">
                  <c:v>4.8264570712997896</c:v>
                </c:pt>
                <c:pt idx="1442">
                  <c:v>6.013104687216928</c:v>
                </c:pt>
                <c:pt idx="1443">
                  <c:v>4.8261587874841521</c:v>
                </c:pt>
                <c:pt idx="1444">
                  <c:v>5.0748590455741267</c:v>
                </c:pt>
                <c:pt idx="1445">
                  <c:v>5.9105886004566166</c:v>
                </c:pt>
                <c:pt idx="1446">
                  <c:v>5.127280408851802</c:v>
                </c:pt>
                <c:pt idx="1447">
                  <c:v>5.1667941397074184</c:v>
                </c:pt>
                <c:pt idx="1448">
                  <c:v>6.0001812221193971</c:v>
                </c:pt>
                <c:pt idx="1449">
                  <c:v>5.0951106336919114</c:v>
                </c:pt>
                <c:pt idx="1450">
                  <c:v>5.0912139543028703</c:v>
                </c:pt>
                <c:pt idx="1451">
                  <c:v>6.0587822331602652</c:v>
                </c:pt>
                <c:pt idx="1452">
                  <c:v>3.0125944993891767</c:v>
                </c:pt>
                <c:pt idx="1453">
                  <c:v>4.957947351554056</c:v>
                </c:pt>
                <c:pt idx="1454">
                  <c:v>5.8034542487009251</c:v>
                </c:pt>
                <c:pt idx="1455">
                  <c:v>6.1094647571735221</c:v>
                </c:pt>
                <c:pt idx="1456">
                  <c:v>6.0049705405221889</c:v>
                </c:pt>
                <c:pt idx="1457">
                  <c:v>4.2234822839722597</c:v>
                </c:pt>
                <c:pt idx="1458">
                  <c:v>5.9360942756479274</c:v>
                </c:pt>
                <c:pt idx="1459">
                  <c:v>3.9256748416193856</c:v>
                </c:pt>
                <c:pt idx="1460">
                  <c:v>7.0754724328139691</c:v>
                </c:pt>
                <c:pt idx="1461">
                  <c:v>4.2068758414270819</c:v>
                </c:pt>
                <c:pt idx="1462">
                  <c:v>3.8464166921739213</c:v>
                </c:pt>
                <c:pt idx="1463">
                  <c:v>5.9589041719070011</c:v>
                </c:pt>
                <c:pt idx="1464">
                  <c:v>6.1208132326889269</c:v>
                </c:pt>
                <c:pt idx="1465">
                  <c:v>5.8886609250135384</c:v>
                </c:pt>
                <c:pt idx="1466">
                  <c:v>5.0460561376856106</c:v>
                </c:pt>
                <c:pt idx="1467">
                  <c:v>4.8198742997931969</c:v>
                </c:pt>
                <c:pt idx="1468">
                  <c:v>4.9295587074474696</c:v>
                </c:pt>
                <c:pt idx="1469">
                  <c:v>5.0062397146295501</c:v>
                </c:pt>
                <c:pt idx="1470">
                  <c:v>4.9377848731278249</c:v>
                </c:pt>
                <c:pt idx="1471">
                  <c:v>6.166417736570815</c:v>
                </c:pt>
                <c:pt idx="1472">
                  <c:v>5.9681733384796232</c:v>
                </c:pt>
                <c:pt idx="1473">
                  <c:v>6.2288233801681869</c:v>
                </c:pt>
                <c:pt idx="1474">
                  <c:v>5.0018259817421304</c:v>
                </c:pt>
                <c:pt idx="1475">
                  <c:v>4.8655432909700629</c:v>
                </c:pt>
                <c:pt idx="1476">
                  <c:v>6.0851694506913061</c:v>
                </c:pt>
                <c:pt idx="1477">
                  <c:v>5.937423178829663</c:v>
                </c:pt>
                <c:pt idx="1478">
                  <c:v>6.1474050634347366</c:v>
                </c:pt>
                <c:pt idx="1479">
                  <c:v>5.0689121840075853</c:v>
                </c:pt>
                <c:pt idx="1480">
                  <c:v>6.0565132522056944</c:v>
                </c:pt>
                <c:pt idx="1481">
                  <c:v>5.0811605290360795</c:v>
                </c:pt>
                <c:pt idx="1482">
                  <c:v>6.1170220653615548</c:v>
                </c:pt>
                <c:pt idx="1483">
                  <c:v>5.9547202219675244</c:v>
                </c:pt>
                <c:pt idx="1484">
                  <c:v>5.9967052923574222</c:v>
                </c:pt>
                <c:pt idx="1485">
                  <c:v>5.867229812440141</c:v>
                </c:pt>
                <c:pt idx="1486">
                  <c:v>5.0047521938986765</c:v>
                </c:pt>
                <c:pt idx="1487">
                  <c:v>5.0873052644601984</c:v>
                </c:pt>
                <c:pt idx="1488">
                  <c:v>6.824897125124723</c:v>
                </c:pt>
                <c:pt idx="1489">
                  <c:v>5.8697049294707702</c:v>
                </c:pt>
                <c:pt idx="1490">
                  <c:v>5.0449656711705382</c:v>
                </c:pt>
                <c:pt idx="1491">
                  <c:v>6.0023947426902664</c:v>
                </c:pt>
                <c:pt idx="1492">
                  <c:v>4.9595013318108974</c:v>
                </c:pt>
                <c:pt idx="1493">
                  <c:v>6.9822484941734739</c:v>
                </c:pt>
                <c:pt idx="1494">
                  <c:v>6.0416476113902942</c:v>
                </c:pt>
                <c:pt idx="1495">
                  <c:v>6.0408243042656284</c:v>
                </c:pt>
                <c:pt idx="1496">
                  <c:v>5.0231741696928225</c:v>
                </c:pt>
                <c:pt idx="1497">
                  <c:v>7.0111092441233875</c:v>
                </c:pt>
                <c:pt idx="1498">
                  <c:v>5.1850180564593389</c:v>
                </c:pt>
                <c:pt idx="1499">
                  <c:v>4.9447529385054105</c:v>
                </c:pt>
                <c:pt idx="1500">
                  <c:v>4.9491127328295796</c:v>
                </c:pt>
                <c:pt idx="1501">
                  <c:v>4.9171128588765258</c:v>
                </c:pt>
                <c:pt idx="1502">
                  <c:v>4.9570236729721371</c:v>
                </c:pt>
                <c:pt idx="1503">
                  <c:v>6.0348319279866391</c:v>
                </c:pt>
                <c:pt idx="1504">
                  <c:v>6.132555238612408</c:v>
                </c:pt>
                <c:pt idx="1505">
                  <c:v>4.0916030770846445</c:v>
                </c:pt>
                <c:pt idx="1506">
                  <c:v>5.8985141638030365</c:v>
                </c:pt>
                <c:pt idx="1507">
                  <c:v>4.9198960450744851</c:v>
                </c:pt>
                <c:pt idx="1508">
                  <c:v>3.9897154610321497</c:v>
                </c:pt>
                <c:pt idx="1509">
                  <c:v>5.1214094591127628</c:v>
                </c:pt>
                <c:pt idx="1510">
                  <c:v>4.9853155500174013</c:v>
                </c:pt>
                <c:pt idx="1511">
                  <c:v>5.845340387382949</c:v>
                </c:pt>
                <c:pt idx="1512">
                  <c:v>5.9613120285002772</c:v>
                </c:pt>
                <c:pt idx="1513">
                  <c:v>5.9976844460363532</c:v>
                </c:pt>
                <c:pt idx="1514">
                  <c:v>5.8490509193759559</c:v>
                </c:pt>
                <c:pt idx="1515">
                  <c:v>5.8668597343559705</c:v>
                </c:pt>
                <c:pt idx="1516">
                  <c:v>5.9962755347430585</c:v>
                </c:pt>
                <c:pt idx="1517">
                  <c:v>5.8398314730361607</c:v>
                </c:pt>
                <c:pt idx="1518">
                  <c:v>4.8924849355596374</c:v>
                </c:pt>
                <c:pt idx="1519">
                  <c:v>3.80005061718412</c:v>
                </c:pt>
                <c:pt idx="1520">
                  <c:v>6.1082069735763804</c:v>
                </c:pt>
                <c:pt idx="1521">
                  <c:v>6.0095975437153797</c:v>
                </c:pt>
                <c:pt idx="1522">
                  <c:v>6.050015229774159</c:v>
                </c:pt>
                <c:pt idx="1523">
                  <c:v>5.9789608443947246</c:v>
                </c:pt>
                <c:pt idx="1524">
                  <c:v>5.0810875706787408</c:v>
                </c:pt>
                <c:pt idx="1525">
                  <c:v>6.0089238318436884</c:v>
                </c:pt>
                <c:pt idx="1526">
                  <c:v>4.9589766269081865</c:v>
                </c:pt>
                <c:pt idx="1527">
                  <c:v>5.9611178247271734</c:v>
                </c:pt>
                <c:pt idx="1528">
                  <c:v>5.0825362569435022</c:v>
                </c:pt>
                <c:pt idx="1529">
                  <c:v>5.0827426836464635</c:v>
                </c:pt>
                <c:pt idx="1530">
                  <c:v>5.1003037719494486</c:v>
                </c:pt>
                <c:pt idx="1531">
                  <c:v>6.0279643208098097</c:v>
                </c:pt>
                <c:pt idx="1532">
                  <c:v>4.9839882418753607</c:v>
                </c:pt>
                <c:pt idx="1533">
                  <c:v>5.0493054115778877</c:v>
                </c:pt>
                <c:pt idx="1534">
                  <c:v>4.9861222900984492</c:v>
                </c:pt>
                <c:pt idx="1535">
                  <c:v>4.9357568475741074</c:v>
                </c:pt>
                <c:pt idx="1536">
                  <c:v>6.0461429726130911</c:v>
                </c:pt>
                <c:pt idx="1537">
                  <c:v>5.9494815782719543</c:v>
                </c:pt>
                <c:pt idx="1538">
                  <c:v>6.0038469414858948</c:v>
                </c:pt>
                <c:pt idx="1539">
                  <c:v>6.9367057866765238</c:v>
                </c:pt>
                <c:pt idx="1540">
                  <c:v>4.9301986046023707</c:v>
                </c:pt>
                <c:pt idx="1541">
                  <c:v>6.0208611233070659</c:v>
                </c:pt>
                <c:pt idx="1542">
                  <c:v>4.9680537468823802</c:v>
                </c:pt>
                <c:pt idx="1543">
                  <c:v>4.9586338018187623</c:v>
                </c:pt>
                <c:pt idx="1544">
                  <c:v>5.9662026325308553</c:v>
                </c:pt>
                <c:pt idx="1545">
                  <c:v>5.0892076914677906</c:v>
                </c:pt>
                <c:pt idx="1546">
                  <c:v>5.9781483995940707</c:v>
                </c:pt>
                <c:pt idx="1547">
                  <c:v>4.9893715651338493</c:v>
                </c:pt>
                <c:pt idx="1548">
                  <c:v>4.842799659739053</c:v>
                </c:pt>
                <c:pt idx="1549">
                  <c:v>4.9734519425762747</c:v>
                </c:pt>
                <c:pt idx="1550">
                  <c:v>5.020292087287717</c:v>
                </c:pt>
                <c:pt idx="1551">
                  <c:v>6.0068706048375207</c:v>
                </c:pt>
                <c:pt idx="1552">
                  <c:v>6.0718880310546481</c:v>
                </c:pt>
                <c:pt idx="1553">
                  <c:v>5.998508225613949</c:v>
                </c:pt>
                <c:pt idx="1554">
                  <c:v>6.0716885945889638</c:v>
                </c:pt>
                <c:pt idx="1555">
                  <c:v>5.0859131990079707</c:v>
                </c:pt>
                <c:pt idx="1556">
                  <c:v>4.9464327856672323</c:v>
                </c:pt>
                <c:pt idx="1557">
                  <c:v>5.8791336148930418</c:v>
                </c:pt>
                <c:pt idx="1558">
                  <c:v>5.1766695391056103</c:v>
                </c:pt>
                <c:pt idx="1559">
                  <c:v>4.8618784390254053</c:v>
                </c:pt>
                <c:pt idx="1560">
                  <c:v>5.0449327600918412</c:v>
                </c:pt>
                <c:pt idx="1561">
                  <c:v>4.9111122226586978</c:v>
                </c:pt>
                <c:pt idx="1562">
                  <c:v>4.8186737710605234</c:v>
                </c:pt>
                <c:pt idx="1563">
                  <c:v>6.9457952130843079</c:v>
                </c:pt>
                <c:pt idx="1564">
                  <c:v>4.9709100423699129</c:v>
                </c:pt>
                <c:pt idx="1565">
                  <c:v>5.9577685815713579</c:v>
                </c:pt>
                <c:pt idx="1566">
                  <c:v>4.934277153790779</c:v>
                </c:pt>
                <c:pt idx="1567">
                  <c:v>5.9040487725448729</c:v>
                </c:pt>
                <c:pt idx="1568">
                  <c:v>5.8285529105939844</c:v>
                </c:pt>
                <c:pt idx="1569">
                  <c:v>4.9837375453025823</c:v>
                </c:pt>
                <c:pt idx="1570">
                  <c:v>4.9242642634943348</c:v>
                </c:pt>
                <c:pt idx="1571">
                  <c:v>4.9688893393770837</c:v>
                </c:pt>
                <c:pt idx="1572">
                  <c:v>6.032121785399104</c:v>
                </c:pt>
                <c:pt idx="1573">
                  <c:v>5.0155669475592015</c:v>
                </c:pt>
                <c:pt idx="1574">
                  <c:v>4.8680456786225319</c:v>
                </c:pt>
                <c:pt idx="1575">
                  <c:v>5.0530441721977386</c:v>
                </c:pt>
                <c:pt idx="1576">
                  <c:v>5.0849779806945614</c:v>
                </c:pt>
                <c:pt idx="1577">
                  <c:v>6.1540344951898067</c:v>
                </c:pt>
                <c:pt idx="1578">
                  <c:v>4.7086337071285058</c:v>
                </c:pt>
                <c:pt idx="1579">
                  <c:v>4.814989713853139</c:v>
                </c:pt>
                <c:pt idx="1580">
                  <c:v>4.9764006832320486</c:v>
                </c:pt>
                <c:pt idx="1581">
                  <c:v>6.9741159047159256</c:v>
                </c:pt>
                <c:pt idx="1582">
                  <c:v>5.0064865789554736</c:v>
                </c:pt>
                <c:pt idx="1583">
                  <c:v>5.0645121141125049</c:v>
                </c:pt>
                <c:pt idx="1584">
                  <c:v>5.8480751106768398</c:v>
                </c:pt>
                <c:pt idx="1585">
                  <c:v>4.9174315224445513</c:v>
                </c:pt>
                <c:pt idx="1586">
                  <c:v>5.1358141486388256</c:v>
                </c:pt>
                <c:pt idx="1587">
                  <c:v>6.0550148369395904</c:v>
                </c:pt>
                <c:pt idx="1588">
                  <c:v>6.0388756549651772</c:v>
                </c:pt>
                <c:pt idx="1589">
                  <c:v>5.9456037897608294</c:v>
                </c:pt>
                <c:pt idx="1590">
                  <c:v>4.8876612059468556</c:v>
                </c:pt>
                <c:pt idx="1591">
                  <c:v>4.9302834662293611</c:v>
                </c:pt>
                <c:pt idx="1592">
                  <c:v>5.1248780853269942</c:v>
                </c:pt>
                <c:pt idx="1593">
                  <c:v>4.9889656192643015</c:v>
                </c:pt>
                <c:pt idx="1594">
                  <c:v>6.0423308486376932</c:v>
                </c:pt>
                <c:pt idx="1595">
                  <c:v>5.1482429645527796</c:v>
                </c:pt>
                <c:pt idx="1596">
                  <c:v>6.0698520783869965</c:v>
                </c:pt>
                <c:pt idx="1597">
                  <c:v>6.0198787373307292</c:v>
                </c:pt>
                <c:pt idx="1598">
                  <c:v>5.0239392257237467</c:v>
                </c:pt>
                <c:pt idx="1599">
                  <c:v>6.8994519357586439</c:v>
                </c:pt>
                <c:pt idx="1600">
                  <c:v>5.9426898908134733</c:v>
                </c:pt>
                <c:pt idx="1601">
                  <c:v>4.9512737368493571</c:v>
                </c:pt>
                <c:pt idx="1602">
                  <c:v>5.016811751011204</c:v>
                </c:pt>
                <c:pt idx="1603">
                  <c:v>6.0769687858037562</c:v>
                </c:pt>
                <c:pt idx="1604">
                  <c:v>5.02756902148887</c:v>
                </c:pt>
                <c:pt idx="1605">
                  <c:v>6.0794510723030273</c:v>
                </c:pt>
                <c:pt idx="1606">
                  <c:v>4.8138925518741527</c:v>
                </c:pt>
                <c:pt idx="1607">
                  <c:v>6.097146003314041</c:v>
                </c:pt>
                <c:pt idx="1608">
                  <c:v>6.1640262583258547</c:v>
                </c:pt>
                <c:pt idx="1609">
                  <c:v>5.1013682409547076</c:v>
                </c:pt>
                <c:pt idx="1610">
                  <c:v>5.8740073363986181</c:v>
                </c:pt>
                <c:pt idx="1611">
                  <c:v>5.9468040461806471</c:v>
                </c:pt>
                <c:pt idx="1612">
                  <c:v>6.0935087929108755</c:v>
                </c:pt>
                <c:pt idx="1613">
                  <c:v>5.8299598981463721</c:v>
                </c:pt>
                <c:pt idx="1614">
                  <c:v>6.0754805607255946</c:v>
                </c:pt>
                <c:pt idx="1615">
                  <c:v>5.8292385078480349</c:v>
                </c:pt>
                <c:pt idx="1616">
                  <c:v>6.0644635907741922</c:v>
                </c:pt>
                <c:pt idx="1617">
                  <c:v>6.0222869053474186</c:v>
                </c:pt>
                <c:pt idx="1618">
                  <c:v>5.0072494557642573</c:v>
                </c:pt>
                <c:pt idx="1619">
                  <c:v>6.0446459550889147</c:v>
                </c:pt>
                <c:pt idx="1620">
                  <c:v>5.9832665587517972</c:v>
                </c:pt>
                <c:pt idx="1621">
                  <c:v>5.0484286958392097</c:v>
                </c:pt>
                <c:pt idx="1622">
                  <c:v>4.8636805950710738</c:v>
                </c:pt>
                <c:pt idx="1623">
                  <c:v>6.1621290160024627</c:v>
                </c:pt>
                <c:pt idx="1624">
                  <c:v>4.9402358825573875</c:v>
                </c:pt>
                <c:pt idx="1625">
                  <c:v>5.7991090339238625</c:v>
                </c:pt>
                <c:pt idx="1626">
                  <c:v>5.7918254713655486</c:v>
                </c:pt>
                <c:pt idx="1627">
                  <c:v>5.9632265721059179</c:v>
                </c:pt>
                <c:pt idx="1628">
                  <c:v>4.8876202473119834</c:v>
                </c:pt>
                <c:pt idx="1629">
                  <c:v>6.1437152396836439</c:v>
                </c:pt>
                <c:pt idx="1630">
                  <c:v>6.1221903983915524</c:v>
                </c:pt>
                <c:pt idx="1631">
                  <c:v>4.9624739134349811</c:v>
                </c:pt>
                <c:pt idx="1632">
                  <c:v>4.9683110444877849</c:v>
                </c:pt>
                <c:pt idx="1633">
                  <c:v>5.2480588608432202</c:v>
                </c:pt>
                <c:pt idx="1634">
                  <c:v>4.74735852812295</c:v>
                </c:pt>
                <c:pt idx="1635">
                  <c:v>7.1588568522628044</c:v>
                </c:pt>
                <c:pt idx="1636">
                  <c:v>5.0122034919857708</c:v>
                </c:pt>
                <c:pt idx="1637">
                  <c:v>4.8858732119302015</c:v>
                </c:pt>
                <c:pt idx="1638">
                  <c:v>5.0445430634380815</c:v>
                </c:pt>
                <c:pt idx="1639">
                  <c:v>4.8368747116876625</c:v>
                </c:pt>
                <c:pt idx="1640">
                  <c:v>4.9130102368451931</c:v>
                </c:pt>
                <c:pt idx="1641">
                  <c:v>4.0568087796770982</c:v>
                </c:pt>
                <c:pt idx="1642">
                  <c:v>4.0717940008802334</c:v>
                </c:pt>
                <c:pt idx="1643">
                  <c:v>4.8460173896114078</c:v>
                </c:pt>
                <c:pt idx="1644">
                  <c:v>3.9652083442792754</c:v>
                </c:pt>
                <c:pt idx="1645">
                  <c:v>4.8560107311468821</c:v>
                </c:pt>
                <c:pt idx="1646">
                  <c:v>4.9902981786801428</c:v>
                </c:pt>
                <c:pt idx="1647">
                  <c:v>5.0519511087515392</c:v>
                </c:pt>
                <c:pt idx="1648">
                  <c:v>5.9849069029894393</c:v>
                </c:pt>
                <c:pt idx="1649">
                  <c:v>4.9805979476424724</c:v>
                </c:pt>
                <c:pt idx="1650">
                  <c:v>4.9518561966153616</c:v>
                </c:pt>
                <c:pt idx="1651">
                  <c:v>6.1268435304747006</c:v>
                </c:pt>
                <c:pt idx="1652">
                  <c:v>5.9277779476882824</c:v>
                </c:pt>
                <c:pt idx="1653">
                  <c:v>6.0044324793110224</c:v>
                </c:pt>
                <c:pt idx="1654">
                  <c:v>4.9794921156654501</c:v>
                </c:pt>
                <c:pt idx="1655">
                  <c:v>5.8965083023047935</c:v>
                </c:pt>
                <c:pt idx="1656">
                  <c:v>6.1129733354065028</c:v>
                </c:pt>
                <c:pt idx="1657">
                  <c:v>6.0824156767470159</c:v>
                </c:pt>
                <c:pt idx="1658">
                  <c:v>6.0056174527730937</c:v>
                </c:pt>
                <c:pt idx="1659">
                  <c:v>5.9551203512054007</c:v>
                </c:pt>
                <c:pt idx="1660">
                  <c:v>5.0800268402610413</c:v>
                </c:pt>
                <c:pt idx="1661">
                  <c:v>6.0953871116214504</c:v>
                </c:pt>
                <c:pt idx="1662">
                  <c:v>5.9780243316345674</c:v>
                </c:pt>
                <c:pt idx="1663">
                  <c:v>5.9467183379880728</c:v>
                </c:pt>
                <c:pt idx="1664">
                  <c:v>5.8480393291786585</c:v>
                </c:pt>
                <c:pt idx="1665">
                  <c:v>4.946190586525085</c:v>
                </c:pt>
                <c:pt idx="1666">
                  <c:v>5.1425426393122367</c:v>
                </c:pt>
                <c:pt idx="1667">
                  <c:v>5.0231568680827436</c:v>
                </c:pt>
                <c:pt idx="1668">
                  <c:v>5.1124419254701312</c:v>
                </c:pt>
                <c:pt idx="1669">
                  <c:v>5.9345883324534938</c:v>
                </c:pt>
                <c:pt idx="1670">
                  <c:v>4.9552258568370311</c:v>
                </c:pt>
                <c:pt idx="1671">
                  <c:v>5.8927047473224166</c:v>
                </c:pt>
                <c:pt idx="1672">
                  <c:v>5.1849156909881531</c:v>
                </c:pt>
                <c:pt idx="1673">
                  <c:v>4.9808950406419763</c:v>
                </c:pt>
                <c:pt idx="1674">
                  <c:v>5.989677831311548</c:v>
                </c:pt>
                <c:pt idx="1675">
                  <c:v>5.9834037971231284</c:v>
                </c:pt>
                <c:pt idx="1676">
                  <c:v>5.8324936232081148</c:v>
                </c:pt>
                <c:pt idx="1677">
                  <c:v>6.116095836878543</c:v>
                </c:pt>
                <c:pt idx="1678">
                  <c:v>5.0078871522200297</c:v>
                </c:pt>
                <c:pt idx="1679">
                  <c:v>4.8590788787663</c:v>
                </c:pt>
                <c:pt idx="1680">
                  <c:v>6.2000239635277765</c:v>
                </c:pt>
                <c:pt idx="1681">
                  <c:v>5.1116560927838535</c:v>
                </c:pt>
                <c:pt idx="1682">
                  <c:v>6.0350862199330519</c:v>
                </c:pt>
                <c:pt idx="1683">
                  <c:v>4.9431397368560051</c:v>
                </c:pt>
                <c:pt idx="1684">
                  <c:v>6.0529166820082789</c:v>
                </c:pt>
                <c:pt idx="1685">
                  <c:v>5.937878870251426</c:v>
                </c:pt>
                <c:pt idx="1686">
                  <c:v>5.9030984466826073</c:v>
                </c:pt>
                <c:pt idx="1687">
                  <c:v>5.9663760687832061</c:v>
                </c:pt>
                <c:pt idx="1688">
                  <c:v>4.9958593621578995</c:v>
                </c:pt>
                <c:pt idx="1689">
                  <c:v>5.956308523364144</c:v>
                </c:pt>
                <c:pt idx="1690">
                  <c:v>5.2379020443299034</c:v>
                </c:pt>
                <c:pt idx="1691">
                  <c:v>4.9019466371206377</c:v>
                </c:pt>
                <c:pt idx="1692">
                  <c:v>6.0422790651991205</c:v>
                </c:pt>
                <c:pt idx="1693">
                  <c:v>7.0536372004064978</c:v>
                </c:pt>
                <c:pt idx="1694">
                  <c:v>5.1463293766966212</c:v>
                </c:pt>
                <c:pt idx="1695">
                  <c:v>4.9174754394265676</c:v>
                </c:pt>
                <c:pt idx="1696">
                  <c:v>5.1675038119243979</c:v>
                </c:pt>
                <c:pt idx="1697">
                  <c:v>6.142760437741388</c:v>
                </c:pt>
                <c:pt idx="1698">
                  <c:v>5.003157606942624</c:v>
                </c:pt>
                <c:pt idx="1699">
                  <c:v>4.7997180646578732</c:v>
                </c:pt>
                <c:pt idx="1700">
                  <c:v>7.010775156421472</c:v>
                </c:pt>
                <c:pt idx="1701">
                  <c:v>6.0642888112883773</c:v>
                </c:pt>
                <c:pt idx="1702">
                  <c:v>5.8794314586448877</c:v>
                </c:pt>
                <c:pt idx="1703">
                  <c:v>6.1073940019664716</c:v>
                </c:pt>
                <c:pt idx="1704">
                  <c:v>6.1173287459887611</c:v>
                </c:pt>
                <c:pt idx="1705">
                  <c:v>4.8421319744324975</c:v>
                </c:pt>
                <c:pt idx="1706">
                  <c:v>4.9481736878241378</c:v>
                </c:pt>
                <c:pt idx="1707">
                  <c:v>5.9997440973033127</c:v>
                </c:pt>
                <c:pt idx="1708">
                  <c:v>5.9998158504125998</c:v>
                </c:pt>
                <c:pt idx="1709">
                  <c:v>5.8872233950937289</c:v>
                </c:pt>
                <c:pt idx="1710">
                  <c:v>5.0577872971097904</c:v>
                </c:pt>
                <c:pt idx="1711">
                  <c:v>6.0402280299672482</c:v>
                </c:pt>
                <c:pt idx="1712">
                  <c:v>5.0369402998500341</c:v>
                </c:pt>
                <c:pt idx="1713">
                  <c:v>6.0687542663535732</c:v>
                </c:pt>
                <c:pt idx="1714">
                  <c:v>5.1074470609559572</c:v>
                </c:pt>
                <c:pt idx="1715">
                  <c:v>4.9591039636061085</c:v>
                </c:pt>
                <c:pt idx="1716">
                  <c:v>4.9589175018003067</c:v>
                </c:pt>
                <c:pt idx="1717">
                  <c:v>6.0324211720092968</c:v>
                </c:pt>
                <c:pt idx="1718">
                  <c:v>4.9557464030816485</c:v>
                </c:pt>
                <c:pt idx="1719">
                  <c:v>5.0073470099336355</c:v>
                </c:pt>
                <c:pt idx="1720">
                  <c:v>4.9585231271684975</c:v>
                </c:pt>
                <c:pt idx="1721">
                  <c:v>4.9536980162583486</c:v>
                </c:pt>
                <c:pt idx="1722">
                  <c:v>5.0104799381652452</c:v>
                </c:pt>
                <c:pt idx="1723">
                  <c:v>4.9535526185937231</c:v>
                </c:pt>
                <c:pt idx="1724">
                  <c:v>5.8030444491984543</c:v>
                </c:pt>
                <c:pt idx="1725">
                  <c:v>8.0813146389412704</c:v>
                </c:pt>
                <c:pt idx="1726">
                  <c:v>6.0318079781479916</c:v>
                </c:pt>
                <c:pt idx="1727">
                  <c:v>6.0818817929035802</c:v>
                </c:pt>
                <c:pt idx="1728">
                  <c:v>5.0428860601789696</c:v>
                </c:pt>
                <c:pt idx="1729">
                  <c:v>6.0640122191981476</c:v>
                </c:pt>
                <c:pt idx="1730">
                  <c:v>4.8299553514755331</c:v>
                </c:pt>
                <c:pt idx="1731">
                  <c:v>4.8820492691416222</c:v>
                </c:pt>
                <c:pt idx="1732">
                  <c:v>6.0178369732750516</c:v>
                </c:pt>
                <c:pt idx="1733">
                  <c:v>6.0749891336618438</c:v>
                </c:pt>
                <c:pt idx="1734">
                  <c:v>5.0981179937987813</c:v>
                </c:pt>
                <c:pt idx="1735">
                  <c:v>6.0193022339934394</c:v>
                </c:pt>
                <c:pt idx="1736">
                  <c:v>5.9783379240996233</c:v>
                </c:pt>
                <c:pt idx="1737">
                  <c:v>4.9935769857790069</c:v>
                </c:pt>
                <c:pt idx="1738">
                  <c:v>6.0173771631129753</c:v>
                </c:pt>
                <c:pt idx="1739">
                  <c:v>5.9564139151139628</c:v>
                </c:pt>
                <c:pt idx="1740">
                  <c:v>6.0186644143235517</c:v>
                </c:pt>
                <c:pt idx="1741">
                  <c:v>6.0841275744077707</c:v>
                </c:pt>
                <c:pt idx="1742">
                  <c:v>4.939363854198823</c:v>
                </c:pt>
                <c:pt idx="1743">
                  <c:v>5.0209056256243576</c:v>
                </c:pt>
                <c:pt idx="1744">
                  <c:v>5.0896914770945445</c:v>
                </c:pt>
                <c:pt idx="1745">
                  <c:v>4.8843353109940315</c:v>
                </c:pt>
                <c:pt idx="1746">
                  <c:v>5.8573581035146836</c:v>
                </c:pt>
                <c:pt idx="1747">
                  <c:v>5.1464830439188232</c:v>
                </c:pt>
                <c:pt idx="1748">
                  <c:v>4.9875841425473002</c:v>
                </c:pt>
                <c:pt idx="1749">
                  <c:v>5.137286263988261</c:v>
                </c:pt>
                <c:pt idx="1750">
                  <c:v>4.9382685892016598</c:v>
                </c:pt>
                <c:pt idx="1751">
                  <c:v>5.0948724969759258</c:v>
                </c:pt>
                <c:pt idx="1752">
                  <c:v>4.95963643336645</c:v>
                </c:pt>
                <c:pt idx="1753">
                  <c:v>6.1155271975919199</c:v>
                </c:pt>
                <c:pt idx="1754">
                  <c:v>6.1934810136891558</c:v>
                </c:pt>
                <c:pt idx="1755">
                  <c:v>5.9722855793114773</c:v>
                </c:pt>
                <c:pt idx="1756">
                  <c:v>5.0330797874487541</c:v>
                </c:pt>
                <c:pt idx="1757">
                  <c:v>5.8649112305885911</c:v>
                </c:pt>
                <c:pt idx="1758">
                  <c:v>5.0288746708351661</c:v>
                </c:pt>
                <c:pt idx="1759">
                  <c:v>5.0759050376335875</c:v>
                </c:pt>
                <c:pt idx="1760">
                  <c:v>6.1808745233986278</c:v>
                </c:pt>
                <c:pt idx="1761">
                  <c:v>5.0849757094733441</c:v>
                </c:pt>
                <c:pt idx="1762">
                  <c:v>5.9705043357779886</c:v>
                </c:pt>
                <c:pt idx="1763">
                  <c:v>6.9432394029726252</c:v>
                </c:pt>
                <c:pt idx="1764">
                  <c:v>5.1736793779655557</c:v>
                </c:pt>
                <c:pt idx="1765">
                  <c:v>6.0415193177578388</c:v>
                </c:pt>
                <c:pt idx="1766">
                  <c:v>4.9525124879857083</c:v>
                </c:pt>
                <c:pt idx="1767">
                  <c:v>6.0577004633358085</c:v>
                </c:pt>
                <c:pt idx="1768">
                  <c:v>5.9480296879828245</c:v>
                </c:pt>
                <c:pt idx="1769">
                  <c:v>7.1208564105923857</c:v>
                </c:pt>
                <c:pt idx="1770">
                  <c:v>5.7847013161717866</c:v>
                </c:pt>
                <c:pt idx="1771">
                  <c:v>5.1916110196543119</c:v>
                </c:pt>
                <c:pt idx="1772">
                  <c:v>4.8849252239357535</c:v>
                </c:pt>
                <c:pt idx="1773">
                  <c:v>5.0728877469520119</c:v>
                </c:pt>
                <c:pt idx="1774">
                  <c:v>5.1090630346135741</c:v>
                </c:pt>
                <c:pt idx="1775">
                  <c:v>5.0460749940729777</c:v>
                </c:pt>
                <c:pt idx="1776">
                  <c:v>4.9338329237332026</c:v>
                </c:pt>
                <c:pt idx="1777">
                  <c:v>6.0756324752865707</c:v>
                </c:pt>
                <c:pt idx="1778">
                  <c:v>4.9998709419589282</c:v>
                </c:pt>
                <c:pt idx="1779">
                  <c:v>7.0985852971509864</c:v>
                </c:pt>
                <c:pt idx="1780">
                  <c:v>6.0140461442834425</c:v>
                </c:pt>
                <c:pt idx="1781">
                  <c:v>6.9825589629116482</c:v>
                </c:pt>
                <c:pt idx="1782">
                  <c:v>7.2185148878607013</c:v>
                </c:pt>
                <c:pt idx="1783">
                  <c:v>7.0078224728425278</c:v>
                </c:pt>
                <c:pt idx="1784">
                  <c:v>5.1230315443199412</c:v>
                </c:pt>
                <c:pt idx="1785">
                  <c:v>6.1878968537699546</c:v>
                </c:pt>
                <c:pt idx="1786">
                  <c:v>4.9935645686681669</c:v>
                </c:pt>
                <c:pt idx="1787">
                  <c:v>6.0023284724834332</c:v>
                </c:pt>
                <c:pt idx="1788">
                  <c:v>5.0262893481954203</c:v>
                </c:pt>
                <c:pt idx="1789">
                  <c:v>5.9382634541594994</c:v>
                </c:pt>
                <c:pt idx="1790">
                  <c:v>5.8400088778920471</c:v>
                </c:pt>
                <c:pt idx="1791">
                  <c:v>5.0536722797038207</c:v>
                </c:pt>
                <c:pt idx="1792">
                  <c:v>6.0152948395605774</c:v>
                </c:pt>
                <c:pt idx="1793">
                  <c:v>6.1051945765989455</c:v>
                </c:pt>
                <c:pt idx="1794">
                  <c:v>5.9485971436265626</c:v>
                </c:pt>
                <c:pt idx="1795">
                  <c:v>6.0994079050710681</c:v>
                </c:pt>
                <c:pt idx="1796">
                  <c:v>5.9605744693683071</c:v>
                </c:pt>
                <c:pt idx="1797">
                  <c:v>5.0236891580984402</c:v>
                </c:pt>
                <c:pt idx="1798">
                  <c:v>6.1593456100323625</c:v>
                </c:pt>
                <c:pt idx="1799">
                  <c:v>6.8705454235806798</c:v>
                </c:pt>
                <c:pt idx="1800">
                  <c:v>5.0574122244510091</c:v>
                </c:pt>
                <c:pt idx="1801">
                  <c:v>6.0501801321697926</c:v>
                </c:pt>
                <c:pt idx="1802">
                  <c:v>6.0045373223512968</c:v>
                </c:pt>
                <c:pt idx="1803">
                  <c:v>5.1425369371948211</c:v>
                </c:pt>
                <c:pt idx="1804">
                  <c:v>6.9094969449193639</c:v>
                </c:pt>
                <c:pt idx="1805">
                  <c:v>5.9816075003194928</c:v>
                </c:pt>
                <c:pt idx="1806">
                  <c:v>5.1240520206668814</c:v>
                </c:pt>
                <c:pt idx="1807">
                  <c:v>6.9828091622477046</c:v>
                </c:pt>
                <c:pt idx="1808">
                  <c:v>4.9648246369158358</c:v>
                </c:pt>
                <c:pt idx="1809">
                  <c:v>7.0948237282542603</c:v>
                </c:pt>
                <c:pt idx="1810">
                  <c:v>5.9185876423196371</c:v>
                </c:pt>
                <c:pt idx="1811">
                  <c:v>6.6928135937604365</c:v>
                </c:pt>
                <c:pt idx="1812">
                  <c:v>7.0282815141466841</c:v>
                </c:pt>
                <c:pt idx="1813">
                  <c:v>5.0153821084628545</c:v>
                </c:pt>
                <c:pt idx="1814">
                  <c:v>6.0114208270581546</c:v>
                </c:pt>
                <c:pt idx="1815">
                  <c:v>4.0784058792096687</c:v>
                </c:pt>
                <c:pt idx="1816">
                  <c:v>6.0778495647403474</c:v>
                </c:pt>
                <c:pt idx="1817">
                  <c:v>5.8753582455585649</c:v>
                </c:pt>
                <c:pt idx="1818">
                  <c:v>7.0697175170187849</c:v>
                </c:pt>
                <c:pt idx="1819">
                  <c:v>5.927838985661924</c:v>
                </c:pt>
                <c:pt idx="1820">
                  <c:v>5.7897193056260097</c:v>
                </c:pt>
                <c:pt idx="1821">
                  <c:v>5.063664285905813</c:v>
                </c:pt>
                <c:pt idx="1822">
                  <c:v>6.0337025687798889</c:v>
                </c:pt>
                <c:pt idx="1823">
                  <c:v>6.1096741120324429</c:v>
                </c:pt>
                <c:pt idx="1824">
                  <c:v>6.1021831526157611</c:v>
                </c:pt>
                <c:pt idx="1825">
                  <c:v>5.9030721402528537</c:v>
                </c:pt>
                <c:pt idx="1826">
                  <c:v>9.0264528855788395</c:v>
                </c:pt>
                <c:pt idx="1827">
                  <c:v>4.9722096660373989</c:v>
                </c:pt>
                <c:pt idx="1828">
                  <c:v>4.9955433140996455</c:v>
                </c:pt>
                <c:pt idx="1829">
                  <c:v>4.9052724023850178</c:v>
                </c:pt>
                <c:pt idx="1830">
                  <c:v>4.8319370422073895</c:v>
                </c:pt>
                <c:pt idx="1831">
                  <c:v>3.8452586645193469</c:v>
                </c:pt>
                <c:pt idx="1832">
                  <c:v>4.9736679309340319</c:v>
                </c:pt>
                <c:pt idx="1833">
                  <c:v>5.2016210025587339</c:v>
                </c:pt>
                <c:pt idx="1834">
                  <c:v>5.0365078410291551</c:v>
                </c:pt>
                <c:pt idx="1835">
                  <c:v>6.0234611055650644</c:v>
                </c:pt>
                <c:pt idx="1836">
                  <c:v>4.9337381282089101</c:v>
                </c:pt>
                <c:pt idx="1837">
                  <c:v>5.0018988814874339</c:v>
                </c:pt>
                <c:pt idx="1838">
                  <c:v>4.8986097686540955</c:v>
                </c:pt>
                <c:pt idx="1839">
                  <c:v>3.9371597052199263</c:v>
                </c:pt>
                <c:pt idx="1840">
                  <c:v>6.0051959529422065</c:v>
                </c:pt>
                <c:pt idx="1841">
                  <c:v>3.9764402739304296</c:v>
                </c:pt>
                <c:pt idx="1842">
                  <c:v>5.1612670897312363</c:v>
                </c:pt>
                <c:pt idx="1843">
                  <c:v>4.9464850020154456</c:v>
                </c:pt>
                <c:pt idx="1844">
                  <c:v>5.9201482252619035</c:v>
                </c:pt>
                <c:pt idx="1845">
                  <c:v>5.0399797319303916</c:v>
                </c:pt>
                <c:pt idx="1846">
                  <c:v>5.9733481112363345</c:v>
                </c:pt>
                <c:pt idx="1847">
                  <c:v>6.9959540668243907</c:v>
                </c:pt>
                <c:pt idx="1848">
                  <c:v>5.9726826650189535</c:v>
                </c:pt>
                <c:pt idx="1849">
                  <c:v>5.1643763870214432</c:v>
                </c:pt>
                <c:pt idx="1850">
                  <c:v>6.9997728129432053</c:v>
                </c:pt>
                <c:pt idx="1851">
                  <c:v>6.2093573522551004</c:v>
                </c:pt>
                <c:pt idx="1852">
                  <c:v>5.9736306742073797</c:v>
                </c:pt>
                <c:pt idx="1853">
                  <c:v>6.164324825083189</c:v>
                </c:pt>
                <c:pt idx="1854">
                  <c:v>5.9377180463280697</c:v>
                </c:pt>
                <c:pt idx="1855">
                  <c:v>6.8469999152980749</c:v>
                </c:pt>
                <c:pt idx="1856">
                  <c:v>7.2107083768768581</c:v>
                </c:pt>
                <c:pt idx="1857">
                  <c:v>4.9827418743435326</c:v>
                </c:pt>
                <c:pt idx="1858">
                  <c:v>7.0158578223459189</c:v>
                </c:pt>
                <c:pt idx="1859">
                  <c:v>6.8634451223068647</c:v>
                </c:pt>
                <c:pt idx="1860">
                  <c:v>5.8691784540447642</c:v>
                </c:pt>
                <c:pt idx="1861">
                  <c:v>6.9767166690993552</c:v>
                </c:pt>
                <c:pt idx="1862">
                  <c:v>6.7847223872921925</c:v>
                </c:pt>
                <c:pt idx="1863">
                  <c:v>7.0048115452333963</c:v>
                </c:pt>
                <c:pt idx="1864">
                  <c:v>4.9926160491588263</c:v>
                </c:pt>
                <c:pt idx="1865">
                  <c:v>6.0090736399530753</c:v>
                </c:pt>
                <c:pt idx="1866">
                  <c:v>4.9345205908277388</c:v>
                </c:pt>
                <c:pt idx="1867">
                  <c:v>5.9671194134384713</c:v>
                </c:pt>
                <c:pt idx="1868">
                  <c:v>5.098150801505021</c:v>
                </c:pt>
                <c:pt idx="1869">
                  <c:v>5.0027293020226296</c:v>
                </c:pt>
                <c:pt idx="1870">
                  <c:v>4.9821591746138054</c:v>
                </c:pt>
                <c:pt idx="1871">
                  <c:v>7.236976377514746</c:v>
                </c:pt>
                <c:pt idx="1872">
                  <c:v>5.990309492725971</c:v>
                </c:pt>
                <c:pt idx="1873">
                  <c:v>7.0523038038789458</c:v>
                </c:pt>
                <c:pt idx="1874">
                  <c:v>6.050852088859072</c:v>
                </c:pt>
                <c:pt idx="1875">
                  <c:v>3.9546035724120947</c:v>
                </c:pt>
                <c:pt idx="1876">
                  <c:v>5.9237584542453376</c:v>
                </c:pt>
                <c:pt idx="1877">
                  <c:v>4.8266800447999074</c:v>
                </c:pt>
                <c:pt idx="1878">
                  <c:v>4.9894959677160786</c:v>
                </c:pt>
                <c:pt idx="1879">
                  <c:v>4.9443488125340407</c:v>
                </c:pt>
                <c:pt idx="1880">
                  <c:v>5.1154399311175309</c:v>
                </c:pt>
                <c:pt idx="1881">
                  <c:v>7.0624530791436699</c:v>
                </c:pt>
                <c:pt idx="1882">
                  <c:v>5.9684993877819945</c:v>
                </c:pt>
                <c:pt idx="1883">
                  <c:v>6.7399487272290592</c:v>
                </c:pt>
                <c:pt idx="1884">
                  <c:v>5.1098282424249888</c:v>
                </c:pt>
                <c:pt idx="1885">
                  <c:v>6.0495952957151369</c:v>
                </c:pt>
                <c:pt idx="1886">
                  <c:v>6.0379423850912843</c:v>
                </c:pt>
                <c:pt idx="1887">
                  <c:v>5.0454735206953538</c:v>
                </c:pt>
                <c:pt idx="1888">
                  <c:v>4.8600351507445456</c:v>
                </c:pt>
                <c:pt idx="1889">
                  <c:v>3.9244732684930441</c:v>
                </c:pt>
                <c:pt idx="1890">
                  <c:v>4.8916104560981752</c:v>
                </c:pt>
                <c:pt idx="1891">
                  <c:v>5.9768451022882125</c:v>
                </c:pt>
                <c:pt idx="1892">
                  <c:v>5.9541704901579449</c:v>
                </c:pt>
                <c:pt idx="1893">
                  <c:v>5.900173842055831</c:v>
                </c:pt>
                <c:pt idx="1894">
                  <c:v>5.9961541018956339</c:v>
                </c:pt>
                <c:pt idx="1895">
                  <c:v>6.0541956601608318</c:v>
                </c:pt>
                <c:pt idx="1896">
                  <c:v>5.0906290641826812</c:v>
                </c:pt>
                <c:pt idx="1897">
                  <c:v>5.0255564854339845</c:v>
                </c:pt>
                <c:pt idx="1898">
                  <c:v>6.0626070962485867</c:v>
                </c:pt>
                <c:pt idx="1899">
                  <c:v>4.8829600865698453</c:v>
                </c:pt>
                <c:pt idx="1900">
                  <c:v>6.1724697856415291</c:v>
                </c:pt>
                <c:pt idx="1901">
                  <c:v>6.0028870091899318</c:v>
                </c:pt>
                <c:pt idx="1902">
                  <c:v>6.0423748444841854</c:v>
                </c:pt>
                <c:pt idx="1903">
                  <c:v>6.1468604925921388</c:v>
                </c:pt>
                <c:pt idx="1904">
                  <c:v>6.1579492756514176</c:v>
                </c:pt>
                <c:pt idx="1905">
                  <c:v>5.0223187403029517</c:v>
                </c:pt>
                <c:pt idx="1906">
                  <c:v>4.9821010100152145</c:v>
                </c:pt>
                <c:pt idx="1907">
                  <c:v>4.9311953469482468</c:v>
                </c:pt>
                <c:pt idx="1908">
                  <c:v>3.9742719081528666</c:v>
                </c:pt>
                <c:pt idx="1909">
                  <c:v>4.9987070934797702</c:v>
                </c:pt>
                <c:pt idx="1910">
                  <c:v>5.2375940601534801</c:v>
                </c:pt>
                <c:pt idx="1911">
                  <c:v>5.0544509451820296</c:v>
                </c:pt>
                <c:pt idx="1912">
                  <c:v>7.0848699782358366</c:v>
                </c:pt>
                <c:pt idx="1913">
                  <c:v>4.8439263444115408</c:v>
                </c:pt>
                <c:pt idx="1914">
                  <c:v>5.1335664016556457</c:v>
                </c:pt>
                <c:pt idx="1915">
                  <c:v>5.0478045656623065</c:v>
                </c:pt>
                <c:pt idx="1916">
                  <c:v>4.9115574321741704</c:v>
                </c:pt>
                <c:pt idx="1917">
                  <c:v>5.8900067926553143</c:v>
                </c:pt>
                <c:pt idx="1918">
                  <c:v>6.1599049583320671</c:v>
                </c:pt>
                <c:pt idx="1919">
                  <c:v>5.0890651847006643</c:v>
                </c:pt>
                <c:pt idx="1920">
                  <c:v>4.8854062854152707</c:v>
                </c:pt>
                <c:pt idx="1921">
                  <c:v>5.9211598840395965</c:v>
                </c:pt>
                <c:pt idx="1922">
                  <c:v>5.2352997497559546</c:v>
                </c:pt>
                <c:pt idx="1923">
                  <c:v>4.8753165222245887</c:v>
                </c:pt>
                <c:pt idx="1924">
                  <c:v>5.0623654828201197</c:v>
                </c:pt>
                <c:pt idx="1925">
                  <c:v>4.9877180592343304</c:v>
                </c:pt>
                <c:pt idx="1926">
                  <c:v>5.0381475471163926</c:v>
                </c:pt>
                <c:pt idx="1927">
                  <c:v>5.1132958907190122</c:v>
                </c:pt>
                <c:pt idx="1928">
                  <c:v>5.973265708379496</c:v>
                </c:pt>
                <c:pt idx="1929">
                  <c:v>6.0380260803014423</c:v>
                </c:pt>
                <c:pt idx="1930">
                  <c:v>5.1243461755671502</c:v>
                </c:pt>
                <c:pt idx="1931">
                  <c:v>5.2682552168417711</c:v>
                </c:pt>
                <c:pt idx="1932">
                  <c:v>5.9044223634971589</c:v>
                </c:pt>
                <c:pt idx="1933">
                  <c:v>5.1731981729495997</c:v>
                </c:pt>
                <c:pt idx="1934">
                  <c:v>5.1571840674846952</c:v>
                </c:pt>
                <c:pt idx="1935">
                  <c:v>5.8648746132395058</c:v>
                </c:pt>
                <c:pt idx="1936">
                  <c:v>6.0815479551659237</c:v>
                </c:pt>
                <c:pt idx="1937">
                  <c:v>5.0747648859491594</c:v>
                </c:pt>
                <c:pt idx="1938">
                  <c:v>5.9076631291276129</c:v>
                </c:pt>
                <c:pt idx="1939">
                  <c:v>4.9607035691445738</c:v>
                </c:pt>
                <c:pt idx="1940">
                  <c:v>5.1195092703349276</c:v>
                </c:pt>
                <c:pt idx="1941">
                  <c:v>6.1426128237295812</c:v>
                </c:pt>
                <c:pt idx="1942">
                  <c:v>6.1430170196857503</c:v>
                </c:pt>
                <c:pt idx="1943">
                  <c:v>5.0779475503779654</c:v>
                </c:pt>
                <c:pt idx="1944">
                  <c:v>3.8988316500062763</c:v>
                </c:pt>
                <c:pt idx="1945">
                  <c:v>4.1718932029342506</c:v>
                </c:pt>
                <c:pt idx="1946">
                  <c:v>5.9871867617552645</c:v>
                </c:pt>
                <c:pt idx="1947">
                  <c:v>4.9032504043529075</c:v>
                </c:pt>
                <c:pt idx="1948">
                  <c:v>5.1555794910644837</c:v>
                </c:pt>
                <c:pt idx="1949">
                  <c:v>6.0477721353514786</c:v>
                </c:pt>
                <c:pt idx="1950">
                  <c:v>7.1139018533435969</c:v>
                </c:pt>
                <c:pt idx="1951">
                  <c:v>5.9877073230997349</c:v>
                </c:pt>
                <c:pt idx="1952">
                  <c:v>6.8317610331480001</c:v>
                </c:pt>
                <c:pt idx="1953">
                  <c:v>7.0689215210281127</c:v>
                </c:pt>
                <c:pt idx="1954">
                  <c:v>6.9297816574994116</c:v>
                </c:pt>
                <c:pt idx="1955">
                  <c:v>6.9107329068019219</c:v>
                </c:pt>
                <c:pt idx="1956">
                  <c:v>2.797583864084964</c:v>
                </c:pt>
                <c:pt idx="1957">
                  <c:v>3.197216439017426</c:v>
                </c:pt>
                <c:pt idx="1958">
                  <c:v>5.0770728902413271</c:v>
                </c:pt>
                <c:pt idx="1959">
                  <c:v>6.0166256968430218</c:v>
                </c:pt>
                <c:pt idx="1960">
                  <c:v>5.9886367569074839</c:v>
                </c:pt>
                <c:pt idx="1961">
                  <c:v>4.0305606253963555</c:v>
                </c:pt>
                <c:pt idx="1962">
                  <c:v>4.8665892393337984</c:v>
                </c:pt>
                <c:pt idx="1963">
                  <c:v>6.1718954041466905</c:v>
                </c:pt>
                <c:pt idx="1964">
                  <c:v>5.1029006991763328</c:v>
                </c:pt>
                <c:pt idx="1965">
                  <c:v>5.9020042574259666</c:v>
                </c:pt>
                <c:pt idx="1966">
                  <c:v>6.0844835021909818</c:v>
                </c:pt>
                <c:pt idx="1967">
                  <c:v>5.1401193917595478</c:v>
                </c:pt>
                <c:pt idx="1968">
                  <c:v>4.9715652921437314</c:v>
                </c:pt>
                <c:pt idx="1969">
                  <c:v>6.0878675711627519</c:v>
                </c:pt>
                <c:pt idx="1970">
                  <c:v>5.0131134139539606</c:v>
                </c:pt>
                <c:pt idx="1971">
                  <c:v>5.7964402549602712</c:v>
                </c:pt>
                <c:pt idx="1972">
                  <c:v>4.9401197265655039</c:v>
                </c:pt>
                <c:pt idx="1973">
                  <c:v>4.7997627548285005</c:v>
                </c:pt>
                <c:pt idx="1974">
                  <c:v>4.9638669211834365</c:v>
                </c:pt>
                <c:pt idx="1975">
                  <c:v>4.8983820726440364</c:v>
                </c:pt>
                <c:pt idx="1976">
                  <c:v>5.0993948533761726</c:v>
                </c:pt>
                <c:pt idx="1977">
                  <c:v>5.9142214611728505</c:v>
                </c:pt>
                <c:pt idx="1978">
                  <c:v>6.0432246853087488</c:v>
                </c:pt>
                <c:pt idx="1979">
                  <c:v>7.1272966162828757</c:v>
                </c:pt>
                <c:pt idx="1980">
                  <c:v>5.0256909776592238</c:v>
                </c:pt>
                <c:pt idx="1981">
                  <c:v>4.1064953581291173</c:v>
                </c:pt>
                <c:pt idx="1982">
                  <c:v>5.9510808574532215</c:v>
                </c:pt>
                <c:pt idx="1983">
                  <c:v>5.8985813047496203</c:v>
                </c:pt>
                <c:pt idx="1984">
                  <c:v>5.086771792815119</c:v>
                </c:pt>
                <c:pt idx="1985">
                  <c:v>5.1399639989610071</c:v>
                </c:pt>
                <c:pt idx="1986">
                  <c:v>6.1416787002541895</c:v>
                </c:pt>
                <c:pt idx="1987">
                  <c:v>4.9412500369435968</c:v>
                </c:pt>
                <c:pt idx="1988">
                  <c:v>4.9982725344325134</c:v>
                </c:pt>
                <c:pt idx="1989">
                  <c:v>6.1570457573228579</c:v>
                </c:pt>
                <c:pt idx="1990">
                  <c:v>5.9907953317181324</c:v>
                </c:pt>
                <c:pt idx="1991">
                  <c:v>5.0628328959894606</c:v>
                </c:pt>
                <c:pt idx="1992">
                  <c:v>4.9932476108637616</c:v>
                </c:pt>
                <c:pt idx="1993">
                  <c:v>4.9484983798102267</c:v>
                </c:pt>
                <c:pt idx="1994">
                  <c:v>5.8724310046679893</c:v>
                </c:pt>
                <c:pt idx="1995">
                  <c:v>5.0961987707497736</c:v>
                </c:pt>
                <c:pt idx="1996">
                  <c:v>4.9756522556913056</c:v>
                </c:pt>
                <c:pt idx="1997">
                  <c:v>4.9624995185135985</c:v>
                </c:pt>
                <c:pt idx="1998">
                  <c:v>5.0033239730765242</c:v>
                </c:pt>
                <c:pt idx="1999">
                  <c:v>5.1305913396836127</c:v>
                </c:pt>
                <c:pt idx="2000">
                  <c:v>4.8632111624174668</c:v>
                </c:pt>
                <c:pt idx="2001">
                  <c:v>5.9666202691926182</c:v>
                </c:pt>
                <c:pt idx="2002">
                  <c:v>6.0642225536139094</c:v>
                </c:pt>
                <c:pt idx="2003">
                  <c:v>4.909228998199481</c:v>
                </c:pt>
                <c:pt idx="2004">
                  <c:v>5.8184983044560177</c:v>
                </c:pt>
                <c:pt idx="2005">
                  <c:v>5.9571472657548519</c:v>
                </c:pt>
                <c:pt idx="2006">
                  <c:v>6.9592142640214831</c:v>
                </c:pt>
                <c:pt idx="2007">
                  <c:v>6.8312585848229599</c:v>
                </c:pt>
                <c:pt idx="2008">
                  <c:v>6.8717917282909662</c:v>
                </c:pt>
                <c:pt idx="2009">
                  <c:v>4.732988008414404</c:v>
                </c:pt>
                <c:pt idx="2010">
                  <c:v>4.9905935034364557</c:v>
                </c:pt>
                <c:pt idx="2011">
                  <c:v>6.9725267509328699</c:v>
                </c:pt>
                <c:pt idx="2012">
                  <c:v>4.9466032194469927</c:v>
                </c:pt>
                <c:pt idx="2013">
                  <c:v>4.8389718095562637</c:v>
                </c:pt>
                <c:pt idx="2014">
                  <c:v>4.957193180011795</c:v>
                </c:pt>
                <c:pt idx="2015">
                  <c:v>5.9924268124107751</c:v>
                </c:pt>
                <c:pt idx="2016">
                  <c:v>5.9684256053215039</c:v>
                </c:pt>
                <c:pt idx="2017">
                  <c:v>5.0119620073564093</c:v>
                </c:pt>
                <c:pt idx="2018">
                  <c:v>4.8814558838820759</c:v>
                </c:pt>
                <c:pt idx="2019">
                  <c:v>7.0952098356679718</c:v>
                </c:pt>
                <c:pt idx="2020">
                  <c:v>5.1795951622734302</c:v>
                </c:pt>
                <c:pt idx="2021">
                  <c:v>4.8964069592354473</c:v>
                </c:pt>
                <c:pt idx="2022">
                  <c:v>5.0128001711244474</c:v>
                </c:pt>
                <c:pt idx="2023">
                  <c:v>5.0583833684213566</c:v>
                </c:pt>
                <c:pt idx="2024">
                  <c:v>6.2088767909185165</c:v>
                </c:pt>
                <c:pt idx="2025">
                  <c:v>4.8177481906763679</c:v>
                </c:pt>
                <c:pt idx="2026">
                  <c:v>6.073236050552814</c:v>
                </c:pt>
                <c:pt idx="2027">
                  <c:v>5.2044437246253779</c:v>
                </c:pt>
                <c:pt idx="2028">
                  <c:v>5.0020409726491275</c:v>
                </c:pt>
                <c:pt idx="2029">
                  <c:v>5.1581391191424784</c:v>
                </c:pt>
                <c:pt idx="2030">
                  <c:v>4.9267707365389981</c:v>
                </c:pt>
                <c:pt idx="2031">
                  <c:v>4.9946770950291954</c:v>
                </c:pt>
                <c:pt idx="2032">
                  <c:v>5.0406911646214771</c:v>
                </c:pt>
                <c:pt idx="2033">
                  <c:v>4.9353287474741219</c:v>
                </c:pt>
                <c:pt idx="2034">
                  <c:v>5.9149084403950551</c:v>
                </c:pt>
                <c:pt idx="2035">
                  <c:v>6.0718350787802153</c:v>
                </c:pt>
                <c:pt idx="2036">
                  <c:v>6.1528167900553381</c:v>
                </c:pt>
                <c:pt idx="2037">
                  <c:v>4.8800224922546427</c:v>
                </c:pt>
                <c:pt idx="2038">
                  <c:v>5.0935168488012987</c:v>
                </c:pt>
                <c:pt idx="2039">
                  <c:v>6.0525226120756352</c:v>
                </c:pt>
                <c:pt idx="2040">
                  <c:v>6.1170333153119785</c:v>
                </c:pt>
                <c:pt idx="2041">
                  <c:v>5.9854568557757988</c:v>
                </c:pt>
                <c:pt idx="2042">
                  <c:v>5.9943228691460169</c:v>
                </c:pt>
                <c:pt idx="2043">
                  <c:v>6.2497312548658535</c:v>
                </c:pt>
                <c:pt idx="2044">
                  <c:v>5.9340655124191475</c:v>
                </c:pt>
                <c:pt idx="2045">
                  <c:v>4.1260549176157317</c:v>
                </c:pt>
                <c:pt idx="2046">
                  <c:v>4.9588575920326603</c:v>
                </c:pt>
                <c:pt idx="2047">
                  <c:v>5.9675651103412628</c:v>
                </c:pt>
                <c:pt idx="2048">
                  <c:v>4.7877509085392482</c:v>
                </c:pt>
                <c:pt idx="2049">
                  <c:v>7.0976084138947657</c:v>
                </c:pt>
                <c:pt idx="2050">
                  <c:v>4.9403013646466185</c:v>
                </c:pt>
                <c:pt idx="2051">
                  <c:v>6.0775840907101264</c:v>
                </c:pt>
                <c:pt idx="2052">
                  <c:v>5.9501502801054231</c:v>
                </c:pt>
                <c:pt idx="2053">
                  <c:v>6.1081217018798233</c:v>
                </c:pt>
                <c:pt idx="2054">
                  <c:v>4.8879480753050384</c:v>
                </c:pt>
                <c:pt idx="2055">
                  <c:v>4.0157927779781062</c:v>
                </c:pt>
                <c:pt idx="2056">
                  <c:v>4.9824919416600437</c:v>
                </c:pt>
                <c:pt idx="2057">
                  <c:v>6.0318449466710709</c:v>
                </c:pt>
                <c:pt idx="2058">
                  <c:v>4.9873248135916404</c:v>
                </c:pt>
                <c:pt idx="2059">
                  <c:v>5.0404414499775907</c:v>
                </c:pt>
                <c:pt idx="2060">
                  <c:v>6.0129688685603391</c:v>
                </c:pt>
                <c:pt idx="2061">
                  <c:v>4.0013527550873684</c:v>
                </c:pt>
                <c:pt idx="2062">
                  <c:v>4.9352462959747099</c:v>
                </c:pt>
                <c:pt idx="2063">
                  <c:v>6.9591024149118681</c:v>
                </c:pt>
                <c:pt idx="2064">
                  <c:v>7.2020437798898218</c:v>
                </c:pt>
                <c:pt idx="2065">
                  <c:v>5.0610092768702577</c:v>
                </c:pt>
                <c:pt idx="2066">
                  <c:v>5.0056435520762035</c:v>
                </c:pt>
                <c:pt idx="2067">
                  <c:v>6.1565089527234704</c:v>
                </c:pt>
                <c:pt idx="2068">
                  <c:v>5.9943241372244751</c:v>
                </c:pt>
                <c:pt idx="2069">
                  <c:v>4.9975117094762354</c:v>
                </c:pt>
                <c:pt idx="2070">
                  <c:v>4.7205717881093436</c:v>
                </c:pt>
                <c:pt idx="2071">
                  <c:v>5.9728146728888483</c:v>
                </c:pt>
                <c:pt idx="2072">
                  <c:v>6.0126982772054891</c:v>
                </c:pt>
                <c:pt idx="2073">
                  <c:v>5.9071173769918497</c:v>
                </c:pt>
                <c:pt idx="2074">
                  <c:v>5.1547477647318765</c:v>
                </c:pt>
                <c:pt idx="2075">
                  <c:v>4.8993930631815559</c:v>
                </c:pt>
                <c:pt idx="2076">
                  <c:v>6.2471290559528549</c:v>
                </c:pt>
                <c:pt idx="2077">
                  <c:v>6.1698759858208634</c:v>
                </c:pt>
                <c:pt idx="2078">
                  <c:v>4.8712650523003456</c:v>
                </c:pt>
                <c:pt idx="2079">
                  <c:v>4.9182634091703292</c:v>
                </c:pt>
                <c:pt idx="2080">
                  <c:v>5.9810778329331784</c:v>
                </c:pt>
                <c:pt idx="2081">
                  <c:v>5.8907794259055999</c:v>
                </c:pt>
                <c:pt idx="2082">
                  <c:v>5.8688067163532853</c:v>
                </c:pt>
                <c:pt idx="2083">
                  <c:v>6.0863452995340968</c:v>
                </c:pt>
                <c:pt idx="2084">
                  <c:v>4.8953438120863266</c:v>
                </c:pt>
                <c:pt idx="2085">
                  <c:v>7.0504616180091615</c:v>
                </c:pt>
                <c:pt idx="2086">
                  <c:v>5.0807022812056593</c:v>
                </c:pt>
                <c:pt idx="2087">
                  <c:v>5.0289677864723332</c:v>
                </c:pt>
                <c:pt idx="2088">
                  <c:v>6.098027344168365</c:v>
                </c:pt>
                <c:pt idx="2089">
                  <c:v>4.8770355949143767</c:v>
                </c:pt>
                <c:pt idx="2090">
                  <c:v>6.1327441785871537</c:v>
                </c:pt>
                <c:pt idx="2091">
                  <c:v>5.1973508615915414</c:v>
                </c:pt>
                <c:pt idx="2092">
                  <c:v>4.9393591140679156</c:v>
                </c:pt>
                <c:pt idx="2093">
                  <c:v>4.9084625387215208</c:v>
                </c:pt>
                <c:pt idx="2094">
                  <c:v>6.2965374800106284</c:v>
                </c:pt>
                <c:pt idx="2095">
                  <c:v>5.0315894267007533</c:v>
                </c:pt>
                <c:pt idx="2096">
                  <c:v>5.9397068305523018</c:v>
                </c:pt>
                <c:pt idx="2097">
                  <c:v>5.1062822587290926</c:v>
                </c:pt>
                <c:pt idx="2098">
                  <c:v>7.0386900855139229</c:v>
                </c:pt>
                <c:pt idx="2099">
                  <c:v>4.9721037187322255</c:v>
                </c:pt>
                <c:pt idx="2100">
                  <c:v>5.9845909145634026</c:v>
                </c:pt>
                <c:pt idx="2101">
                  <c:v>5.9232133451933269</c:v>
                </c:pt>
                <c:pt idx="2102">
                  <c:v>4.8692358374414733</c:v>
                </c:pt>
                <c:pt idx="2103">
                  <c:v>5.9607534392818708</c:v>
                </c:pt>
                <c:pt idx="2104">
                  <c:v>5.0168322231368077</c:v>
                </c:pt>
                <c:pt idx="2105">
                  <c:v>6.8989660640341777</c:v>
                </c:pt>
                <c:pt idx="2106">
                  <c:v>6.2257658284564759</c:v>
                </c:pt>
                <c:pt idx="2107">
                  <c:v>6.0971127679752524</c:v>
                </c:pt>
                <c:pt idx="2108">
                  <c:v>5.9372251073109146</c:v>
                </c:pt>
                <c:pt idx="2109">
                  <c:v>6.044574697859181</c:v>
                </c:pt>
                <c:pt idx="2110">
                  <c:v>6.0093470718561175</c:v>
                </c:pt>
                <c:pt idx="2111">
                  <c:v>3.9350798519012797</c:v>
                </c:pt>
                <c:pt idx="2112">
                  <c:v>6.0385416291666534</c:v>
                </c:pt>
                <c:pt idx="2113">
                  <c:v>5.082657933278238</c:v>
                </c:pt>
                <c:pt idx="2114">
                  <c:v>5.9679280727255284</c:v>
                </c:pt>
                <c:pt idx="2115">
                  <c:v>5.875762456634015</c:v>
                </c:pt>
                <c:pt idx="2116">
                  <c:v>4.9949461536617896</c:v>
                </c:pt>
                <c:pt idx="2117">
                  <c:v>3.9730948533739969</c:v>
                </c:pt>
                <c:pt idx="2118">
                  <c:v>4.9995064144102264</c:v>
                </c:pt>
                <c:pt idx="2119">
                  <c:v>4.8781058671262416</c:v>
                </c:pt>
                <c:pt idx="2120">
                  <c:v>6.0028372538918502</c:v>
                </c:pt>
                <c:pt idx="2121">
                  <c:v>5.0988182562572799</c:v>
                </c:pt>
                <c:pt idx="2122">
                  <c:v>5.0612987385647266</c:v>
                </c:pt>
                <c:pt idx="2123">
                  <c:v>3.9791676460793348</c:v>
                </c:pt>
                <c:pt idx="2124">
                  <c:v>6.844902585206837</c:v>
                </c:pt>
                <c:pt idx="2125">
                  <c:v>5.0611579440179932</c:v>
                </c:pt>
                <c:pt idx="2126">
                  <c:v>5.0615656297046048</c:v>
                </c:pt>
                <c:pt idx="2127">
                  <c:v>4.8409953861462114</c:v>
                </c:pt>
                <c:pt idx="2128">
                  <c:v>6.0752019627370801</c:v>
                </c:pt>
                <c:pt idx="2129">
                  <c:v>5.0077872331149216</c:v>
                </c:pt>
                <c:pt idx="2130">
                  <c:v>4.8567218803642813</c:v>
                </c:pt>
                <c:pt idx="2131">
                  <c:v>7.0017895086351629</c:v>
                </c:pt>
                <c:pt idx="2132">
                  <c:v>6.0919314126813049</c:v>
                </c:pt>
                <c:pt idx="2133">
                  <c:v>7.0320585800120599</c:v>
                </c:pt>
                <c:pt idx="2134">
                  <c:v>4.7994444368880451</c:v>
                </c:pt>
                <c:pt idx="2135">
                  <c:v>5.9882568419975222</c:v>
                </c:pt>
                <c:pt idx="2136">
                  <c:v>6.1948932108900499</c:v>
                </c:pt>
                <c:pt idx="2137">
                  <c:v>4.970643803248552</c:v>
                </c:pt>
                <c:pt idx="2138">
                  <c:v>5.7994721932798159</c:v>
                </c:pt>
                <c:pt idx="2139">
                  <c:v>6.0206851483075345</c:v>
                </c:pt>
                <c:pt idx="2140">
                  <c:v>5.8732340715989553</c:v>
                </c:pt>
                <c:pt idx="2141">
                  <c:v>5.9849238827516835</c:v>
                </c:pt>
                <c:pt idx="2142">
                  <c:v>7.0639405023431125</c:v>
                </c:pt>
                <c:pt idx="2143">
                  <c:v>4.8859979770253039</c:v>
                </c:pt>
                <c:pt idx="2144">
                  <c:v>4.9660576255723301</c:v>
                </c:pt>
                <c:pt idx="2145">
                  <c:v>4.9862814890747709</c:v>
                </c:pt>
                <c:pt idx="2146">
                  <c:v>6.0705314182641619</c:v>
                </c:pt>
                <c:pt idx="2147">
                  <c:v>7.1423640555957277</c:v>
                </c:pt>
                <c:pt idx="2148">
                  <c:v>5.0225126077016924</c:v>
                </c:pt>
                <c:pt idx="2149">
                  <c:v>6.1099777142617313</c:v>
                </c:pt>
                <c:pt idx="2150">
                  <c:v>5.1050253322222554</c:v>
                </c:pt>
                <c:pt idx="2151">
                  <c:v>5.9311155431875129</c:v>
                </c:pt>
                <c:pt idx="2152">
                  <c:v>6.0665120938680168</c:v>
                </c:pt>
                <c:pt idx="2153">
                  <c:v>5.0040457789447252</c:v>
                </c:pt>
                <c:pt idx="2154">
                  <c:v>4.802387087403666</c:v>
                </c:pt>
                <c:pt idx="2155">
                  <c:v>5.0337835161708639</c:v>
                </c:pt>
                <c:pt idx="2156">
                  <c:v>5.9699547471546612</c:v>
                </c:pt>
                <c:pt idx="2157">
                  <c:v>4.9139546737630466</c:v>
                </c:pt>
                <c:pt idx="2158">
                  <c:v>6.9960604435499354</c:v>
                </c:pt>
                <c:pt idx="2159">
                  <c:v>6.1136913790554397</c:v>
                </c:pt>
                <c:pt idx="2160">
                  <c:v>7.0050345974415755</c:v>
                </c:pt>
                <c:pt idx="2161">
                  <c:v>4.8692878164079945</c:v>
                </c:pt>
                <c:pt idx="2162">
                  <c:v>5.1117133972111111</c:v>
                </c:pt>
                <c:pt idx="2163">
                  <c:v>5.0124258573382612</c:v>
                </c:pt>
                <c:pt idx="2164">
                  <c:v>6.8804304783939942</c:v>
                </c:pt>
                <c:pt idx="2165">
                  <c:v>4.8716336011871126</c:v>
                </c:pt>
                <c:pt idx="2166">
                  <c:v>5.9781125053205812</c:v>
                </c:pt>
                <c:pt idx="2167">
                  <c:v>5.9378455972992406</c:v>
                </c:pt>
                <c:pt idx="2168">
                  <c:v>5.9113929634969127</c:v>
                </c:pt>
                <c:pt idx="2169">
                  <c:v>5.8884850542118707</c:v>
                </c:pt>
                <c:pt idx="2170">
                  <c:v>3.9343123065467309</c:v>
                </c:pt>
                <c:pt idx="2171">
                  <c:v>5.0326199331190011</c:v>
                </c:pt>
                <c:pt idx="2172">
                  <c:v>6.1040969207003553</c:v>
                </c:pt>
                <c:pt idx="2173">
                  <c:v>4.89309558232946</c:v>
                </c:pt>
                <c:pt idx="2174">
                  <c:v>6.0550845859342717</c:v>
                </c:pt>
                <c:pt idx="2175">
                  <c:v>5.0974959696802848</c:v>
                </c:pt>
                <c:pt idx="2176">
                  <c:v>4.974289014318293</c:v>
                </c:pt>
                <c:pt idx="2177">
                  <c:v>3.8632293904689292</c:v>
                </c:pt>
                <c:pt idx="2178">
                  <c:v>5.9575205737631718</c:v>
                </c:pt>
                <c:pt idx="2179">
                  <c:v>5.8352162774121528</c:v>
                </c:pt>
                <c:pt idx="2180">
                  <c:v>5.9537055080054921</c:v>
                </c:pt>
                <c:pt idx="2181">
                  <c:v>5.9792052205799342</c:v>
                </c:pt>
                <c:pt idx="2182">
                  <c:v>6.1266564549767972</c:v>
                </c:pt>
                <c:pt idx="2183">
                  <c:v>6.094267625558933</c:v>
                </c:pt>
                <c:pt idx="2184">
                  <c:v>5.8922799799159753</c:v>
                </c:pt>
                <c:pt idx="2185">
                  <c:v>6.055423359629768</c:v>
                </c:pt>
                <c:pt idx="2186">
                  <c:v>5.8911078938114789</c:v>
                </c:pt>
                <c:pt idx="2187">
                  <c:v>5.883567899258602</c:v>
                </c:pt>
                <c:pt idx="2188">
                  <c:v>6.0030942466853077</c:v>
                </c:pt>
                <c:pt idx="2189">
                  <c:v>5.900474291171208</c:v>
                </c:pt>
                <c:pt idx="2190">
                  <c:v>5.947508763618103</c:v>
                </c:pt>
                <c:pt idx="2191">
                  <c:v>5.9205576025524973</c:v>
                </c:pt>
                <c:pt idx="2192">
                  <c:v>5.9332161508831671</c:v>
                </c:pt>
                <c:pt idx="2193">
                  <c:v>6.1838498016278294</c:v>
                </c:pt>
                <c:pt idx="2194">
                  <c:v>4.9718635431837841</c:v>
                </c:pt>
                <c:pt idx="2195">
                  <c:v>6.0221266717525932</c:v>
                </c:pt>
                <c:pt idx="2196">
                  <c:v>6.0277784124143938</c:v>
                </c:pt>
                <c:pt idx="2197">
                  <c:v>6.0876184867294478</c:v>
                </c:pt>
                <c:pt idx="2198">
                  <c:v>6.0581339040978133</c:v>
                </c:pt>
                <c:pt idx="2199">
                  <c:v>4.989135461505386</c:v>
                </c:pt>
                <c:pt idx="2200">
                  <c:v>5.07847261005102</c:v>
                </c:pt>
                <c:pt idx="2201">
                  <c:v>4.958498640361463</c:v>
                </c:pt>
                <c:pt idx="2202">
                  <c:v>5.0378221447085387</c:v>
                </c:pt>
                <c:pt idx="2203">
                  <c:v>5.9980384182629738</c:v>
                </c:pt>
                <c:pt idx="2204">
                  <c:v>5.8789491498782507</c:v>
                </c:pt>
                <c:pt idx="2205">
                  <c:v>6.9423905871917224</c:v>
                </c:pt>
                <c:pt idx="2206">
                  <c:v>5.9578847447816079</c:v>
                </c:pt>
                <c:pt idx="2207">
                  <c:v>4.9471416142183591</c:v>
                </c:pt>
                <c:pt idx="2208">
                  <c:v>5.0446026674137814</c:v>
                </c:pt>
                <c:pt idx="2209">
                  <c:v>5.0224437817703667</c:v>
                </c:pt>
                <c:pt idx="2210">
                  <c:v>4.9142830734166898</c:v>
                </c:pt>
                <c:pt idx="2211">
                  <c:v>5.9252890026219607</c:v>
                </c:pt>
                <c:pt idx="2212">
                  <c:v>5.8805224115659582</c:v>
                </c:pt>
                <c:pt idx="2213">
                  <c:v>5.7997518151041447</c:v>
                </c:pt>
                <c:pt idx="2214">
                  <c:v>2.0089465280072418</c:v>
                </c:pt>
                <c:pt idx="2215">
                  <c:v>4.9622694296182113</c:v>
                </c:pt>
                <c:pt idx="2216">
                  <c:v>5.9109846797498964</c:v>
                </c:pt>
                <c:pt idx="2217">
                  <c:v>2.2111931190340686</c:v>
                </c:pt>
                <c:pt idx="2218">
                  <c:v>5.9952364071715465</c:v>
                </c:pt>
                <c:pt idx="2219">
                  <c:v>5.8302510149512923</c:v>
                </c:pt>
                <c:pt idx="2220">
                  <c:v>1.8950131147393481</c:v>
                </c:pt>
                <c:pt idx="2221">
                  <c:v>6.1051260791468858</c:v>
                </c:pt>
                <c:pt idx="2222">
                  <c:v>2.1066048450870163</c:v>
                </c:pt>
                <c:pt idx="2223">
                  <c:v>5.8640100532914845</c:v>
                </c:pt>
                <c:pt idx="2224">
                  <c:v>6.0411665790376512</c:v>
                </c:pt>
                <c:pt idx="2225">
                  <c:v>6.022014771025388</c:v>
                </c:pt>
                <c:pt idx="2226">
                  <c:v>6.0058503327747124</c:v>
                </c:pt>
                <c:pt idx="2227">
                  <c:v>5.0182272453110528</c:v>
                </c:pt>
                <c:pt idx="2228">
                  <c:v>6.0579111469513087</c:v>
                </c:pt>
                <c:pt idx="2229">
                  <c:v>6.1032097258013795</c:v>
                </c:pt>
                <c:pt idx="2230">
                  <c:v>3.9666654740055711</c:v>
                </c:pt>
                <c:pt idx="2231">
                  <c:v>5.974450042599166</c:v>
                </c:pt>
                <c:pt idx="2232">
                  <c:v>5.8188350944389313</c:v>
                </c:pt>
                <c:pt idx="2233">
                  <c:v>6.1981999535772534</c:v>
                </c:pt>
                <c:pt idx="2234">
                  <c:v>3.9582802369069667</c:v>
                </c:pt>
                <c:pt idx="2235">
                  <c:v>5.0730173334154589</c:v>
                </c:pt>
                <c:pt idx="2236">
                  <c:v>5.7939645871962009</c:v>
                </c:pt>
                <c:pt idx="2237">
                  <c:v>1.9634612099840498</c:v>
                </c:pt>
                <c:pt idx="2238">
                  <c:v>5.9336198252783952</c:v>
                </c:pt>
                <c:pt idx="2239">
                  <c:v>6.0831818502897512</c:v>
                </c:pt>
                <c:pt idx="2240">
                  <c:v>5.9919524261868959</c:v>
                </c:pt>
                <c:pt idx="2241">
                  <c:v>5.982103853787426</c:v>
                </c:pt>
                <c:pt idx="2242">
                  <c:v>5.0190983705948771</c:v>
                </c:pt>
                <c:pt idx="2243">
                  <c:v>6.0900482179291133</c:v>
                </c:pt>
                <c:pt idx="2244">
                  <c:v>5.0019588138983284</c:v>
                </c:pt>
                <c:pt idx="2245">
                  <c:v>6.0400970515821157</c:v>
                </c:pt>
                <c:pt idx="2246">
                  <c:v>5.0507314934723526</c:v>
                </c:pt>
                <c:pt idx="2247">
                  <c:v>5.1163952375860937</c:v>
                </c:pt>
                <c:pt idx="2248">
                  <c:v>5.005845240151868</c:v>
                </c:pt>
                <c:pt idx="2249">
                  <c:v>5.0763239198890524</c:v>
                </c:pt>
                <c:pt idx="2250">
                  <c:v>5.9543878284761469</c:v>
                </c:pt>
                <c:pt idx="2251">
                  <c:v>7.0264946613070869</c:v>
                </c:pt>
                <c:pt idx="2252">
                  <c:v>5.9090359798759611</c:v>
                </c:pt>
                <c:pt idx="2253">
                  <c:v>6.0256638602461861</c:v>
                </c:pt>
                <c:pt idx="2254">
                  <c:v>4.8738881690485085</c:v>
                </c:pt>
                <c:pt idx="2255">
                  <c:v>6.0445775917309712</c:v>
                </c:pt>
                <c:pt idx="2256">
                  <c:v>4.993500513574479</c:v>
                </c:pt>
                <c:pt idx="2257">
                  <c:v>5.1679157411120933</c:v>
                </c:pt>
                <c:pt idx="2258">
                  <c:v>5.0801971198356188</c:v>
                </c:pt>
                <c:pt idx="2259">
                  <c:v>5.9369422949526172</c:v>
                </c:pt>
                <c:pt idx="2260">
                  <c:v>5.0344675514870243</c:v>
                </c:pt>
                <c:pt idx="2261">
                  <c:v>5.0708340723223184</c:v>
                </c:pt>
                <c:pt idx="2262">
                  <c:v>5.0129133027062363</c:v>
                </c:pt>
                <c:pt idx="2263">
                  <c:v>6.2057409596141655</c:v>
                </c:pt>
                <c:pt idx="2264">
                  <c:v>5.020866495385234</c:v>
                </c:pt>
                <c:pt idx="2265">
                  <c:v>6.009072142658014</c:v>
                </c:pt>
                <c:pt idx="2266">
                  <c:v>5.0072914647669835</c:v>
                </c:pt>
                <c:pt idx="2267">
                  <c:v>4.098084744128168</c:v>
                </c:pt>
                <c:pt idx="2268">
                  <c:v>5.0162638819120042</c:v>
                </c:pt>
                <c:pt idx="2269">
                  <c:v>6.1508551294039098</c:v>
                </c:pt>
                <c:pt idx="2270">
                  <c:v>5.9776504223873621</c:v>
                </c:pt>
                <c:pt idx="2271">
                  <c:v>5.9873766209352315</c:v>
                </c:pt>
                <c:pt idx="2272">
                  <c:v>5.9970685311422853</c:v>
                </c:pt>
                <c:pt idx="2273">
                  <c:v>5.9462409092923441</c:v>
                </c:pt>
                <c:pt idx="2274">
                  <c:v>6.0947429657137597</c:v>
                </c:pt>
                <c:pt idx="2275">
                  <c:v>5.9984256205549258</c:v>
                </c:pt>
                <c:pt idx="2276">
                  <c:v>7.0156268451035499</c:v>
                </c:pt>
                <c:pt idx="2277">
                  <c:v>5.0692561793128545</c:v>
                </c:pt>
                <c:pt idx="2278">
                  <c:v>5.0570223664417187</c:v>
                </c:pt>
                <c:pt idx="2279">
                  <c:v>4.9441418251656142</c:v>
                </c:pt>
                <c:pt idx="2280">
                  <c:v>4.9214097073824483</c:v>
                </c:pt>
                <c:pt idx="2281">
                  <c:v>5.9224803002861783</c:v>
                </c:pt>
                <c:pt idx="2282">
                  <c:v>5.0809632877125885</c:v>
                </c:pt>
                <c:pt idx="2283">
                  <c:v>6.0997025809721661</c:v>
                </c:pt>
                <c:pt idx="2284">
                  <c:v>4.0753381597852369</c:v>
                </c:pt>
                <c:pt idx="2285">
                  <c:v>3.9129080312986497</c:v>
                </c:pt>
                <c:pt idx="2286">
                  <c:v>5.9486779474057752</c:v>
                </c:pt>
                <c:pt idx="2287">
                  <c:v>4.9321674579299408</c:v>
                </c:pt>
                <c:pt idx="2288">
                  <c:v>6.1900690531276759</c:v>
                </c:pt>
                <c:pt idx="2289">
                  <c:v>5.9507327258948131</c:v>
                </c:pt>
                <c:pt idx="2290">
                  <c:v>6.0503781417856173</c:v>
                </c:pt>
                <c:pt idx="2291">
                  <c:v>5.0841337053594273</c:v>
                </c:pt>
                <c:pt idx="2292">
                  <c:v>6.0604877164099644</c:v>
                </c:pt>
                <c:pt idx="2293">
                  <c:v>6.0146743791454309</c:v>
                </c:pt>
                <c:pt idx="2294">
                  <c:v>5.0439303989943101</c:v>
                </c:pt>
                <c:pt idx="2295">
                  <c:v>4.9643056035647852</c:v>
                </c:pt>
                <c:pt idx="2296">
                  <c:v>6.8338258169025394</c:v>
                </c:pt>
                <c:pt idx="2297">
                  <c:v>5.9090735315262828</c:v>
                </c:pt>
                <c:pt idx="2298">
                  <c:v>5.1054204866197823</c:v>
                </c:pt>
                <c:pt idx="2299">
                  <c:v>5.9796484632310332</c:v>
                </c:pt>
                <c:pt idx="2300">
                  <c:v>6.0725676266335844</c:v>
                </c:pt>
                <c:pt idx="2301">
                  <c:v>6.0349939294188193</c:v>
                </c:pt>
                <c:pt idx="2302">
                  <c:v>6.0110715553844054</c:v>
                </c:pt>
                <c:pt idx="2303">
                  <c:v>7.0285506932165385</c:v>
                </c:pt>
                <c:pt idx="2304">
                  <c:v>6.9465341034090837</c:v>
                </c:pt>
                <c:pt idx="2305">
                  <c:v>6.202106001856496</c:v>
                </c:pt>
                <c:pt idx="2306">
                  <c:v>4.8986678942838582</c:v>
                </c:pt>
                <c:pt idx="2307">
                  <c:v>4.7827372193094675</c:v>
                </c:pt>
                <c:pt idx="2308">
                  <c:v>5.0737617592447695</c:v>
                </c:pt>
                <c:pt idx="2309">
                  <c:v>4.8455845092617063</c:v>
                </c:pt>
                <c:pt idx="2310">
                  <c:v>4.9937695709932548</c:v>
                </c:pt>
                <c:pt idx="2311">
                  <c:v>5.0013794794093176</c:v>
                </c:pt>
                <c:pt idx="2312">
                  <c:v>4.8448912004173765</c:v>
                </c:pt>
                <c:pt idx="2313">
                  <c:v>5.93968687666609</c:v>
                </c:pt>
                <c:pt idx="2314">
                  <c:v>5.8733765089434584</c:v>
                </c:pt>
                <c:pt idx="2315">
                  <c:v>4.9548886875971396</c:v>
                </c:pt>
                <c:pt idx="2316">
                  <c:v>6.0128130900128154</c:v>
                </c:pt>
                <c:pt idx="2317">
                  <c:v>5.8678729008914852</c:v>
                </c:pt>
                <c:pt idx="2318">
                  <c:v>5.9073206759017269</c:v>
                </c:pt>
                <c:pt idx="2319">
                  <c:v>6.8473669280492606</c:v>
                </c:pt>
                <c:pt idx="2320">
                  <c:v>5.9532400171302129</c:v>
                </c:pt>
                <c:pt idx="2321">
                  <c:v>5.0255744335271846</c:v>
                </c:pt>
                <c:pt idx="2322">
                  <c:v>4.9735694590715402</c:v>
                </c:pt>
                <c:pt idx="2323">
                  <c:v>6.1346473623740829</c:v>
                </c:pt>
                <c:pt idx="2324">
                  <c:v>5.0655488032895359</c:v>
                </c:pt>
                <c:pt idx="2325">
                  <c:v>6.1552401663414713</c:v>
                </c:pt>
                <c:pt idx="2326">
                  <c:v>5.0638272047439665</c:v>
                </c:pt>
                <c:pt idx="2327">
                  <c:v>6.0192619705485786</c:v>
                </c:pt>
                <c:pt idx="2328">
                  <c:v>6.0216059257337911</c:v>
                </c:pt>
                <c:pt idx="2329">
                  <c:v>5.0150578520527516</c:v>
                </c:pt>
                <c:pt idx="2330">
                  <c:v>4.7974649415006878</c:v>
                </c:pt>
                <c:pt idx="2331">
                  <c:v>4.8669737237992026</c:v>
                </c:pt>
                <c:pt idx="2332">
                  <c:v>6.0652477204084656</c:v>
                </c:pt>
                <c:pt idx="2333">
                  <c:v>7.0816668625169505</c:v>
                </c:pt>
                <c:pt idx="2334">
                  <c:v>6.2033832056303728</c:v>
                </c:pt>
                <c:pt idx="2335">
                  <c:v>5.8156697206809493</c:v>
                </c:pt>
                <c:pt idx="2336">
                  <c:v>5.0214856632577058</c:v>
                </c:pt>
                <c:pt idx="2337">
                  <c:v>5.007136447575121</c:v>
                </c:pt>
                <c:pt idx="2338">
                  <c:v>5.9934332376027948</c:v>
                </c:pt>
                <c:pt idx="2339">
                  <c:v>4.8919149485698341</c:v>
                </c:pt>
                <c:pt idx="2340">
                  <c:v>5.9649760474823568</c:v>
                </c:pt>
                <c:pt idx="2341">
                  <c:v>5.0420645621059865</c:v>
                </c:pt>
                <c:pt idx="2342">
                  <c:v>5.9521563203336019</c:v>
                </c:pt>
                <c:pt idx="2343">
                  <c:v>5.0862142321887278</c:v>
                </c:pt>
                <c:pt idx="2344">
                  <c:v>6.0471797404845189</c:v>
                </c:pt>
                <c:pt idx="2345">
                  <c:v>7.1094116378903722</c:v>
                </c:pt>
                <c:pt idx="2346">
                  <c:v>5.0341159188462665</c:v>
                </c:pt>
                <c:pt idx="2347">
                  <c:v>5.0407509107320747</c:v>
                </c:pt>
                <c:pt idx="2348">
                  <c:v>6.0277518085296924</c:v>
                </c:pt>
                <c:pt idx="2349">
                  <c:v>4.9480025719207639</c:v>
                </c:pt>
                <c:pt idx="2350">
                  <c:v>4.8967238160517299</c:v>
                </c:pt>
                <c:pt idx="2351">
                  <c:v>6.6925553689334629</c:v>
                </c:pt>
                <c:pt idx="2352">
                  <c:v>5.9046225252189579</c:v>
                </c:pt>
                <c:pt idx="2353">
                  <c:v>7.0377790318779345</c:v>
                </c:pt>
                <c:pt idx="2354">
                  <c:v>6.0570347233391919</c:v>
                </c:pt>
                <c:pt idx="2355">
                  <c:v>6.9140070927016639</c:v>
                </c:pt>
                <c:pt idx="2356">
                  <c:v>5.9561908375342121</c:v>
                </c:pt>
                <c:pt idx="2357">
                  <c:v>5.0810416116497299</c:v>
                </c:pt>
                <c:pt idx="2358">
                  <c:v>5.0580026365133426</c:v>
                </c:pt>
                <c:pt idx="2359">
                  <c:v>6.1159038339935936</c:v>
                </c:pt>
                <c:pt idx="2360">
                  <c:v>5.1718752747766628</c:v>
                </c:pt>
                <c:pt idx="2361">
                  <c:v>5.0312972890359253</c:v>
                </c:pt>
                <c:pt idx="2362">
                  <c:v>5.9817050618348802</c:v>
                </c:pt>
                <c:pt idx="2363">
                  <c:v>4.8497194824603422</c:v>
                </c:pt>
                <c:pt idx="2364">
                  <c:v>5.0496286336823548</c:v>
                </c:pt>
                <c:pt idx="2365">
                  <c:v>6.0336272203528871</c:v>
                </c:pt>
                <c:pt idx="2366">
                  <c:v>5.9217162248415081</c:v>
                </c:pt>
                <c:pt idx="2367">
                  <c:v>4.8911996052594864</c:v>
                </c:pt>
                <c:pt idx="2368">
                  <c:v>5.1720157995039644</c:v>
                </c:pt>
                <c:pt idx="2369">
                  <c:v>6.0253239626776649</c:v>
                </c:pt>
                <c:pt idx="2370">
                  <c:v>5.0768149861396044</c:v>
                </c:pt>
                <c:pt idx="2371">
                  <c:v>5.0060675064659392</c:v>
                </c:pt>
                <c:pt idx="2372">
                  <c:v>5.9822984391393907</c:v>
                </c:pt>
                <c:pt idx="2373">
                  <c:v>5.8379873256981378</c:v>
                </c:pt>
                <c:pt idx="2374">
                  <c:v>4.9778184039221989</c:v>
                </c:pt>
                <c:pt idx="2375">
                  <c:v>6.0615909086565356</c:v>
                </c:pt>
                <c:pt idx="2376">
                  <c:v>5.182785365216283</c:v>
                </c:pt>
                <c:pt idx="2377">
                  <c:v>8.9693284511431042</c:v>
                </c:pt>
                <c:pt idx="2378">
                  <c:v>6.9988780991351707</c:v>
                </c:pt>
                <c:pt idx="2379">
                  <c:v>6.0450034708587603</c:v>
                </c:pt>
                <c:pt idx="2380">
                  <c:v>4.9352856096522082</c:v>
                </c:pt>
                <c:pt idx="2381">
                  <c:v>5.0852168979423373</c:v>
                </c:pt>
                <c:pt idx="2382">
                  <c:v>6.1227525371855851</c:v>
                </c:pt>
                <c:pt idx="2383">
                  <c:v>4.9212337205297816</c:v>
                </c:pt>
                <c:pt idx="2384">
                  <c:v>5.3076856437737252</c:v>
                </c:pt>
                <c:pt idx="2385">
                  <c:v>4.946677651082716</c:v>
                </c:pt>
                <c:pt idx="2386">
                  <c:v>6.1297405840115609</c:v>
                </c:pt>
                <c:pt idx="2387">
                  <c:v>6.0363261825063201</c:v>
                </c:pt>
                <c:pt idx="2388">
                  <c:v>5.0538746438061377</c:v>
                </c:pt>
                <c:pt idx="2389">
                  <c:v>5.1995529049196669</c:v>
                </c:pt>
                <c:pt idx="2390">
                  <c:v>5.0840126966917749</c:v>
                </c:pt>
                <c:pt idx="2391">
                  <c:v>4.8924830266373673</c:v>
                </c:pt>
                <c:pt idx="2392">
                  <c:v>5.8709770341918368</c:v>
                </c:pt>
                <c:pt idx="2393">
                  <c:v>4.8604976628686636</c:v>
                </c:pt>
                <c:pt idx="2394">
                  <c:v>4.8351235349497852</c:v>
                </c:pt>
                <c:pt idx="2395">
                  <c:v>5.8887965416510433</c:v>
                </c:pt>
                <c:pt idx="2396">
                  <c:v>4.0232532089182627</c:v>
                </c:pt>
                <c:pt idx="2397">
                  <c:v>4.9221528420798135</c:v>
                </c:pt>
                <c:pt idx="2398">
                  <c:v>6.0297913285094564</c:v>
                </c:pt>
                <c:pt idx="2399">
                  <c:v>5.9125830946513123</c:v>
                </c:pt>
                <c:pt idx="2400">
                  <c:v>5.0746959747338183</c:v>
                </c:pt>
                <c:pt idx="2401">
                  <c:v>4.8549359087497805</c:v>
                </c:pt>
                <c:pt idx="2402">
                  <c:v>5.0554585654366502</c:v>
                </c:pt>
                <c:pt idx="2403">
                  <c:v>6.141269084005752</c:v>
                </c:pt>
                <c:pt idx="2404">
                  <c:v>7.0153771863644776</c:v>
                </c:pt>
                <c:pt idx="2405">
                  <c:v>5.9889043617268021</c:v>
                </c:pt>
                <c:pt idx="2406">
                  <c:v>5.8475928541848639</c:v>
                </c:pt>
                <c:pt idx="2407">
                  <c:v>4.9597468607114958</c:v>
                </c:pt>
                <c:pt idx="2408">
                  <c:v>5.0281490253919809</c:v>
                </c:pt>
                <c:pt idx="2409">
                  <c:v>6.913294389228299</c:v>
                </c:pt>
                <c:pt idx="2410">
                  <c:v>6.0195838440372684</c:v>
                </c:pt>
                <c:pt idx="2411">
                  <c:v>5.0867945311115728</c:v>
                </c:pt>
                <c:pt idx="2412">
                  <c:v>5.0136429138632703</c:v>
                </c:pt>
                <c:pt idx="2413">
                  <c:v>4.9573713632105765</c:v>
                </c:pt>
                <c:pt idx="2414">
                  <c:v>4.1850661159427087</c:v>
                </c:pt>
                <c:pt idx="2415">
                  <c:v>3.7620822821371807</c:v>
                </c:pt>
                <c:pt idx="2416">
                  <c:v>4.0675778510880258</c:v>
                </c:pt>
                <c:pt idx="2417">
                  <c:v>5.8960688191361772</c:v>
                </c:pt>
                <c:pt idx="2418">
                  <c:v>5.1476511634571116</c:v>
                </c:pt>
                <c:pt idx="2419">
                  <c:v>5.1944161100793806</c:v>
                </c:pt>
                <c:pt idx="2420">
                  <c:v>4.9748212967115224</c:v>
                </c:pt>
                <c:pt idx="2421">
                  <c:v>6.9991682724874806</c:v>
                </c:pt>
                <c:pt idx="2422">
                  <c:v>4.8449550730816746</c:v>
                </c:pt>
                <c:pt idx="2423">
                  <c:v>5.9156438582234774</c:v>
                </c:pt>
                <c:pt idx="2424">
                  <c:v>5.0722447859389179</c:v>
                </c:pt>
                <c:pt idx="2425">
                  <c:v>5.963224450656492</c:v>
                </c:pt>
                <c:pt idx="2426">
                  <c:v>4.993199139145263</c:v>
                </c:pt>
                <c:pt idx="2427">
                  <c:v>6.094436643625202</c:v>
                </c:pt>
                <c:pt idx="2428">
                  <c:v>5.9777991188252573</c:v>
                </c:pt>
                <c:pt idx="2429">
                  <c:v>6.0421265216528122</c:v>
                </c:pt>
                <c:pt idx="2430">
                  <c:v>5.9535763605098975</c:v>
                </c:pt>
                <c:pt idx="2431">
                  <c:v>5.9064562083097272</c:v>
                </c:pt>
                <c:pt idx="2432">
                  <c:v>7.1560545167643301</c:v>
                </c:pt>
                <c:pt idx="2433">
                  <c:v>3.9480728043286279</c:v>
                </c:pt>
                <c:pt idx="2434">
                  <c:v>3.9703972167724957</c:v>
                </c:pt>
                <c:pt idx="2435">
                  <c:v>4.0545945711472857</c:v>
                </c:pt>
                <c:pt idx="2436">
                  <c:v>6.0608755806184824</c:v>
                </c:pt>
                <c:pt idx="2437">
                  <c:v>5.9586001028708289</c:v>
                </c:pt>
                <c:pt idx="2438">
                  <c:v>6.0229910218420057</c:v>
                </c:pt>
                <c:pt idx="2439">
                  <c:v>5.2367000317076657</c:v>
                </c:pt>
                <c:pt idx="2440">
                  <c:v>4.8709532630691337</c:v>
                </c:pt>
                <c:pt idx="2441">
                  <c:v>5.0093234039033385</c:v>
                </c:pt>
                <c:pt idx="2442">
                  <c:v>5.8452392482821836</c:v>
                </c:pt>
                <c:pt idx="2443">
                  <c:v>4.951017763662616</c:v>
                </c:pt>
                <c:pt idx="2444">
                  <c:v>4.8208351725737639</c:v>
                </c:pt>
                <c:pt idx="2445">
                  <c:v>5.0553071179573221</c:v>
                </c:pt>
                <c:pt idx="2446">
                  <c:v>4.9811324029830724</c:v>
                </c:pt>
                <c:pt idx="2447">
                  <c:v>5.9521816683183291</c:v>
                </c:pt>
                <c:pt idx="2448">
                  <c:v>5.2714400500523748</c:v>
                </c:pt>
                <c:pt idx="2449">
                  <c:v>4.9034456363123171</c:v>
                </c:pt>
                <c:pt idx="2450">
                  <c:v>6.092864693177324</c:v>
                </c:pt>
                <c:pt idx="2451">
                  <c:v>6.0111678754628315</c:v>
                </c:pt>
                <c:pt idx="2452">
                  <c:v>6.1355334081052648</c:v>
                </c:pt>
                <c:pt idx="2453">
                  <c:v>4.8766580927776726</c:v>
                </c:pt>
                <c:pt idx="2454">
                  <c:v>6.0746564665803371</c:v>
                </c:pt>
                <c:pt idx="2455">
                  <c:v>4.8040599031604634</c:v>
                </c:pt>
                <c:pt idx="2456">
                  <c:v>5.9544971249241421</c:v>
                </c:pt>
                <c:pt idx="2457">
                  <c:v>6.1770834356449837</c:v>
                </c:pt>
                <c:pt idx="2458">
                  <c:v>6.0806366425468363</c:v>
                </c:pt>
                <c:pt idx="2459">
                  <c:v>6.0669202059885867</c:v>
                </c:pt>
                <c:pt idx="2460">
                  <c:v>6.0500472931355631</c:v>
                </c:pt>
                <c:pt idx="2461">
                  <c:v>5.9891095435746537</c:v>
                </c:pt>
                <c:pt idx="2462">
                  <c:v>6.0768012195204459</c:v>
                </c:pt>
                <c:pt idx="2463">
                  <c:v>6.0176032709316827</c:v>
                </c:pt>
                <c:pt idx="2464">
                  <c:v>6.0839421951371282</c:v>
                </c:pt>
                <c:pt idx="2465">
                  <c:v>5.9909519282683767</c:v>
                </c:pt>
                <c:pt idx="2466">
                  <c:v>5.948111449797822</c:v>
                </c:pt>
                <c:pt idx="2467">
                  <c:v>6.0792639184521367</c:v>
                </c:pt>
                <c:pt idx="2468">
                  <c:v>6.0716196910885509</c:v>
                </c:pt>
                <c:pt idx="2469">
                  <c:v>6.1174653472451324</c:v>
                </c:pt>
                <c:pt idx="2470">
                  <c:v>6.0691645180808251</c:v>
                </c:pt>
                <c:pt idx="2471">
                  <c:v>6.012966599484681</c:v>
                </c:pt>
                <c:pt idx="2472">
                  <c:v>6.0391783481041763</c:v>
                </c:pt>
                <c:pt idx="2473">
                  <c:v>5.8929698416924667</c:v>
                </c:pt>
                <c:pt idx="2474">
                  <c:v>4.8543155393363095</c:v>
                </c:pt>
                <c:pt idx="2475">
                  <c:v>5.9843318344761833</c:v>
                </c:pt>
                <c:pt idx="2476">
                  <c:v>6.0834402377585581</c:v>
                </c:pt>
                <c:pt idx="2477">
                  <c:v>5.1098390562453675</c:v>
                </c:pt>
                <c:pt idx="2478">
                  <c:v>5.0872009317603624</c:v>
                </c:pt>
                <c:pt idx="2479">
                  <c:v>6.0853739912129177</c:v>
                </c:pt>
                <c:pt idx="2480">
                  <c:v>5.015947372813641</c:v>
                </c:pt>
                <c:pt idx="2481">
                  <c:v>4.9306063198111145</c:v>
                </c:pt>
                <c:pt idx="2482">
                  <c:v>5.9821926836883845</c:v>
                </c:pt>
                <c:pt idx="2483">
                  <c:v>6.1126023523015993</c:v>
                </c:pt>
                <c:pt idx="2484">
                  <c:v>3.9622357754936384</c:v>
                </c:pt>
                <c:pt idx="2485">
                  <c:v>4.8872685791962205</c:v>
                </c:pt>
                <c:pt idx="2486">
                  <c:v>5.0577861029170217</c:v>
                </c:pt>
                <c:pt idx="2487">
                  <c:v>3.9874253958147117</c:v>
                </c:pt>
                <c:pt idx="2488">
                  <c:v>4.9043579820659469</c:v>
                </c:pt>
                <c:pt idx="2489">
                  <c:v>7.1049720601006952</c:v>
                </c:pt>
                <c:pt idx="2490">
                  <c:v>6.0761776874487197</c:v>
                </c:pt>
                <c:pt idx="2491">
                  <c:v>4.8594825245064195</c:v>
                </c:pt>
                <c:pt idx="2492">
                  <c:v>5.939517925921824</c:v>
                </c:pt>
                <c:pt idx="2493">
                  <c:v>4.9692311616489659</c:v>
                </c:pt>
                <c:pt idx="2494">
                  <c:v>4.984307977808685</c:v>
                </c:pt>
                <c:pt idx="2495">
                  <c:v>5.8965405189024915</c:v>
                </c:pt>
                <c:pt idx="2496">
                  <c:v>4.9084801855317721</c:v>
                </c:pt>
                <c:pt idx="2497">
                  <c:v>5.9538421470285154</c:v>
                </c:pt>
                <c:pt idx="2498">
                  <c:v>5.9428668474940931</c:v>
                </c:pt>
                <c:pt idx="2499">
                  <c:v>6.0377019905913158</c:v>
                </c:pt>
                <c:pt idx="2500">
                  <c:v>6.0415411400794738</c:v>
                </c:pt>
                <c:pt idx="2501">
                  <c:v>5.9674164071598108</c:v>
                </c:pt>
                <c:pt idx="2502">
                  <c:v>6.013269735965511</c:v>
                </c:pt>
                <c:pt idx="2503">
                  <c:v>5.1103067912291307</c:v>
                </c:pt>
                <c:pt idx="2504">
                  <c:v>6.0541100603746614</c:v>
                </c:pt>
                <c:pt idx="2505">
                  <c:v>6.0856352355477954</c:v>
                </c:pt>
                <c:pt idx="2506">
                  <c:v>4.9440537612667796</c:v>
                </c:pt>
                <c:pt idx="2507">
                  <c:v>5.7965080303224683</c:v>
                </c:pt>
                <c:pt idx="2508">
                  <c:v>6.0122696688737394</c:v>
                </c:pt>
                <c:pt idx="2509">
                  <c:v>5.085702644337867</c:v>
                </c:pt>
                <c:pt idx="2510">
                  <c:v>6.0976599587923044</c:v>
                </c:pt>
                <c:pt idx="2511">
                  <c:v>5.0570222259685487</c:v>
                </c:pt>
                <c:pt idx="2512">
                  <c:v>6.8986057901847166</c:v>
                </c:pt>
                <c:pt idx="2513">
                  <c:v>4.9306689766975822</c:v>
                </c:pt>
                <c:pt idx="2514">
                  <c:v>5.8800045957260503</c:v>
                </c:pt>
                <c:pt idx="2515">
                  <c:v>6.0531733934922176</c:v>
                </c:pt>
                <c:pt idx="2516">
                  <c:v>5.1334904198465976</c:v>
                </c:pt>
                <c:pt idx="2517">
                  <c:v>6.1272677051390136</c:v>
                </c:pt>
                <c:pt idx="2518">
                  <c:v>6.0866595820700153</c:v>
                </c:pt>
                <c:pt idx="2519">
                  <c:v>4.9081899468018069</c:v>
                </c:pt>
                <c:pt idx="2520">
                  <c:v>5.0616589576431155</c:v>
                </c:pt>
                <c:pt idx="2521">
                  <c:v>4.8005263543139796</c:v>
                </c:pt>
                <c:pt idx="2522">
                  <c:v>6.0870124839832798</c:v>
                </c:pt>
                <c:pt idx="2523">
                  <c:v>5.0520122529460014</c:v>
                </c:pt>
                <c:pt idx="2524">
                  <c:v>6.0071074816933878</c:v>
                </c:pt>
                <c:pt idx="2525">
                  <c:v>3.8408279126004565</c:v>
                </c:pt>
                <c:pt idx="2526">
                  <c:v>5.1566655400333845</c:v>
                </c:pt>
                <c:pt idx="2527">
                  <c:v>6.0561429351577569</c:v>
                </c:pt>
                <c:pt idx="2528">
                  <c:v>4.9917183689486482</c:v>
                </c:pt>
                <c:pt idx="2529">
                  <c:v>6.0577230439833549</c:v>
                </c:pt>
                <c:pt idx="2530">
                  <c:v>5.0472861999443257</c:v>
                </c:pt>
                <c:pt idx="2531">
                  <c:v>4.8578739665534192</c:v>
                </c:pt>
                <c:pt idx="2532">
                  <c:v>5.0288707907589618</c:v>
                </c:pt>
                <c:pt idx="2533">
                  <c:v>5.2015575218177208</c:v>
                </c:pt>
                <c:pt idx="2534">
                  <c:v>6.0019639233055031</c:v>
                </c:pt>
                <c:pt idx="2535">
                  <c:v>7.1844024949557967</c:v>
                </c:pt>
                <c:pt idx="2536">
                  <c:v>6.1327200770558292</c:v>
                </c:pt>
                <c:pt idx="2537">
                  <c:v>4.7960220354903793</c:v>
                </c:pt>
                <c:pt idx="2538">
                  <c:v>5.00492067495931</c:v>
                </c:pt>
                <c:pt idx="2539">
                  <c:v>4.9681947124621164</c:v>
                </c:pt>
                <c:pt idx="2540">
                  <c:v>4.9860224802143573</c:v>
                </c:pt>
                <c:pt idx="2541">
                  <c:v>4.996882834491319</c:v>
                </c:pt>
                <c:pt idx="2542">
                  <c:v>4.9364329709090953</c:v>
                </c:pt>
                <c:pt idx="2543">
                  <c:v>5.9992251364965448</c:v>
                </c:pt>
                <c:pt idx="2544">
                  <c:v>5.0397288634711908</c:v>
                </c:pt>
                <c:pt idx="2545">
                  <c:v>5.8559885668752649</c:v>
                </c:pt>
                <c:pt idx="2546">
                  <c:v>5.1327580127454002</c:v>
                </c:pt>
                <c:pt idx="2547">
                  <c:v>5.826429056504435</c:v>
                </c:pt>
                <c:pt idx="2548">
                  <c:v>4.8514888051819778</c:v>
                </c:pt>
                <c:pt idx="2549">
                  <c:v>6.071713955561254</c:v>
                </c:pt>
                <c:pt idx="2550">
                  <c:v>4.9504552550016641</c:v>
                </c:pt>
                <c:pt idx="2551">
                  <c:v>6.0366217520638861</c:v>
                </c:pt>
                <c:pt idx="2552">
                  <c:v>4.9008374201761686</c:v>
                </c:pt>
                <c:pt idx="2553">
                  <c:v>5.9374280066023113</c:v>
                </c:pt>
                <c:pt idx="2554">
                  <c:v>5.0737027499721847</c:v>
                </c:pt>
                <c:pt idx="2555">
                  <c:v>6.1465540659459847</c:v>
                </c:pt>
                <c:pt idx="2556">
                  <c:v>6.8754152699111595</c:v>
                </c:pt>
                <c:pt idx="2557">
                  <c:v>5.9232413848584731</c:v>
                </c:pt>
                <c:pt idx="2558">
                  <c:v>5.162535956926674</c:v>
                </c:pt>
                <c:pt idx="2559">
                  <c:v>6.0995300819903946</c:v>
                </c:pt>
                <c:pt idx="2560">
                  <c:v>7.0110943036507729</c:v>
                </c:pt>
                <c:pt idx="2561">
                  <c:v>6.0035609440245814</c:v>
                </c:pt>
                <c:pt idx="2562">
                  <c:v>6.1185942611634117</c:v>
                </c:pt>
                <c:pt idx="2563">
                  <c:v>4.8935349083257487</c:v>
                </c:pt>
                <c:pt idx="2564">
                  <c:v>5.1205977674223311</c:v>
                </c:pt>
                <c:pt idx="2565">
                  <c:v>4.8942744382541123</c:v>
                </c:pt>
                <c:pt idx="2566">
                  <c:v>5.0038663785345792</c:v>
                </c:pt>
                <c:pt idx="2567">
                  <c:v>6.0687873139274071</c:v>
                </c:pt>
                <c:pt idx="2568">
                  <c:v>5.92154383539589</c:v>
                </c:pt>
                <c:pt idx="2569">
                  <c:v>6.0142957732288389</c:v>
                </c:pt>
                <c:pt idx="2570">
                  <c:v>4.8954616694267026</c:v>
                </c:pt>
                <c:pt idx="2571">
                  <c:v>6.0677900612419267</c:v>
                </c:pt>
                <c:pt idx="2572">
                  <c:v>5.9305056489271903</c:v>
                </c:pt>
                <c:pt idx="2573">
                  <c:v>5.0974647427491533</c:v>
                </c:pt>
                <c:pt idx="2574">
                  <c:v>5.0041454004838464</c:v>
                </c:pt>
                <c:pt idx="2575">
                  <c:v>6.0429469408276235</c:v>
                </c:pt>
                <c:pt idx="2576">
                  <c:v>4.9065530513225459</c:v>
                </c:pt>
                <c:pt idx="2577">
                  <c:v>5.0115333325499307</c:v>
                </c:pt>
                <c:pt idx="2578">
                  <c:v>5.0532150222705763</c:v>
                </c:pt>
                <c:pt idx="2579">
                  <c:v>5.9125682600452469</c:v>
                </c:pt>
                <c:pt idx="2580">
                  <c:v>6.0096264164435915</c:v>
                </c:pt>
                <c:pt idx="2581">
                  <c:v>5.0149185486346299</c:v>
                </c:pt>
                <c:pt idx="2582">
                  <c:v>5.8916615854205299</c:v>
                </c:pt>
                <c:pt idx="2583">
                  <c:v>6.1470382794860363</c:v>
                </c:pt>
                <c:pt idx="2584">
                  <c:v>6.0744622739866028</c:v>
                </c:pt>
                <c:pt idx="2585">
                  <c:v>7.1397231674523693</c:v>
                </c:pt>
                <c:pt idx="2586">
                  <c:v>5.9961672423361998</c:v>
                </c:pt>
                <c:pt idx="2587">
                  <c:v>4.8772987144475213</c:v>
                </c:pt>
                <c:pt idx="2588">
                  <c:v>5.0326282854480189</c:v>
                </c:pt>
                <c:pt idx="2589">
                  <c:v>6.1945722244010604</c:v>
                </c:pt>
                <c:pt idx="2590">
                  <c:v>5.9732025164339024</c:v>
                </c:pt>
                <c:pt idx="2591">
                  <c:v>6.0617042364514226</c:v>
                </c:pt>
                <c:pt idx="2592">
                  <c:v>5.8234613180889081</c:v>
                </c:pt>
                <c:pt idx="2593">
                  <c:v>4.9925844897629883</c:v>
                </c:pt>
                <c:pt idx="2594">
                  <c:v>5.8287512164183557</c:v>
                </c:pt>
                <c:pt idx="2595">
                  <c:v>6.0792643343976298</c:v>
                </c:pt>
                <c:pt idx="2596">
                  <c:v>4.9291717889185209</c:v>
                </c:pt>
                <c:pt idx="2597">
                  <c:v>5.9587693590891124</c:v>
                </c:pt>
                <c:pt idx="2598">
                  <c:v>5.0480770796375474</c:v>
                </c:pt>
                <c:pt idx="2599">
                  <c:v>6.0209332339017712</c:v>
                </c:pt>
                <c:pt idx="2600">
                  <c:v>5.9715366065071755</c:v>
                </c:pt>
                <c:pt idx="2601">
                  <c:v>4.8708988934479391</c:v>
                </c:pt>
                <c:pt idx="2602">
                  <c:v>6.0335936895427649</c:v>
                </c:pt>
                <c:pt idx="2603">
                  <c:v>6.2938335455363807</c:v>
                </c:pt>
                <c:pt idx="2604">
                  <c:v>5.9856815120684006</c:v>
                </c:pt>
                <c:pt idx="2605">
                  <c:v>7.0596212708866402</c:v>
                </c:pt>
                <c:pt idx="2606">
                  <c:v>6.026066124470038</c:v>
                </c:pt>
                <c:pt idx="2607">
                  <c:v>5.9086390144749794</c:v>
                </c:pt>
                <c:pt idx="2608">
                  <c:v>5.9028082426598489</c:v>
                </c:pt>
                <c:pt idx="2609">
                  <c:v>5.8122032318314183</c:v>
                </c:pt>
                <c:pt idx="2610">
                  <c:v>4.8502572523481327</c:v>
                </c:pt>
                <c:pt idx="2611">
                  <c:v>4.8930648443206923</c:v>
                </c:pt>
                <c:pt idx="2612">
                  <c:v>4.8686860235669371</c:v>
                </c:pt>
                <c:pt idx="2613">
                  <c:v>5.1060114503204304</c:v>
                </c:pt>
                <c:pt idx="2614">
                  <c:v>7.089366131956047</c:v>
                </c:pt>
                <c:pt idx="2615">
                  <c:v>5.8983872874971688</c:v>
                </c:pt>
                <c:pt idx="2616">
                  <c:v>6.164918615262053</c:v>
                </c:pt>
                <c:pt idx="2617">
                  <c:v>5.9102828767499123</c:v>
                </c:pt>
                <c:pt idx="2618">
                  <c:v>7.0647199738836077</c:v>
                </c:pt>
                <c:pt idx="2619">
                  <c:v>3.9364676096566713</c:v>
                </c:pt>
                <c:pt idx="2620">
                  <c:v>5.0866368812741722</c:v>
                </c:pt>
                <c:pt idx="2621">
                  <c:v>4.9787681033556375</c:v>
                </c:pt>
                <c:pt idx="2622">
                  <c:v>4.7888275216880318</c:v>
                </c:pt>
                <c:pt idx="2623">
                  <c:v>6.1791424824549823</c:v>
                </c:pt>
                <c:pt idx="2624">
                  <c:v>5.0939187717532528</c:v>
                </c:pt>
                <c:pt idx="2625">
                  <c:v>6.0140977383496539</c:v>
                </c:pt>
                <c:pt idx="2626">
                  <c:v>6.0579830343415404</c:v>
                </c:pt>
                <c:pt idx="2627">
                  <c:v>6.0204417118218387</c:v>
                </c:pt>
                <c:pt idx="2628">
                  <c:v>4.8947638609658757</c:v>
                </c:pt>
                <c:pt idx="2629">
                  <c:v>6.0429527616385101</c:v>
                </c:pt>
                <c:pt idx="2630">
                  <c:v>4.8825191813925164</c:v>
                </c:pt>
                <c:pt idx="2631">
                  <c:v>6.1335283089705648</c:v>
                </c:pt>
                <c:pt idx="2632">
                  <c:v>2.0019872462384649</c:v>
                </c:pt>
                <c:pt idx="2633">
                  <c:v>3.080783958541979</c:v>
                </c:pt>
                <c:pt idx="2634">
                  <c:v>5.0100978255472368</c:v>
                </c:pt>
                <c:pt idx="2635">
                  <c:v>4.9212878674049723</c:v>
                </c:pt>
                <c:pt idx="2636">
                  <c:v>5.0380285317440254</c:v>
                </c:pt>
                <c:pt idx="2637">
                  <c:v>2.9598307045521244</c:v>
                </c:pt>
                <c:pt idx="2638">
                  <c:v>6.1175484118078227</c:v>
                </c:pt>
                <c:pt idx="2639">
                  <c:v>6.8973666588171305</c:v>
                </c:pt>
                <c:pt idx="2640">
                  <c:v>5.9683945036660822</c:v>
                </c:pt>
                <c:pt idx="2641">
                  <c:v>6.9803537453395048</c:v>
                </c:pt>
                <c:pt idx="2642">
                  <c:v>4.9696708150620061</c:v>
                </c:pt>
                <c:pt idx="2643">
                  <c:v>5.9285534946359384</c:v>
                </c:pt>
                <c:pt idx="2644">
                  <c:v>4.8632471211097279</c:v>
                </c:pt>
                <c:pt idx="2645">
                  <c:v>5.0245881745168575</c:v>
                </c:pt>
                <c:pt idx="2646">
                  <c:v>5.1227616957049369</c:v>
                </c:pt>
                <c:pt idx="2647">
                  <c:v>4.047950356467573</c:v>
                </c:pt>
                <c:pt idx="2648">
                  <c:v>5.0476382184363784</c:v>
                </c:pt>
                <c:pt idx="2649">
                  <c:v>4.9352579923116799</c:v>
                </c:pt>
                <c:pt idx="2650">
                  <c:v>5.0812050927651367</c:v>
                </c:pt>
                <c:pt idx="2651">
                  <c:v>5.0445168000952822</c:v>
                </c:pt>
                <c:pt idx="2652">
                  <c:v>5.8309898967946463</c:v>
                </c:pt>
                <c:pt idx="2653">
                  <c:v>6.0153250425696028</c:v>
                </c:pt>
                <c:pt idx="2654">
                  <c:v>4.0333117956132174</c:v>
                </c:pt>
                <c:pt idx="2655">
                  <c:v>2.9287696178667368</c:v>
                </c:pt>
                <c:pt idx="2656">
                  <c:v>4.8481380164172201</c:v>
                </c:pt>
                <c:pt idx="2657">
                  <c:v>4.7916464094709781</c:v>
                </c:pt>
                <c:pt idx="2658">
                  <c:v>5.0806479052675426</c:v>
                </c:pt>
                <c:pt idx="2659">
                  <c:v>4.8861720436130325</c:v>
                </c:pt>
                <c:pt idx="2660">
                  <c:v>3.8487782947857894</c:v>
                </c:pt>
                <c:pt idx="2661">
                  <c:v>6.0812425538231363</c:v>
                </c:pt>
                <c:pt idx="2662">
                  <c:v>4.0435566821510847</c:v>
                </c:pt>
                <c:pt idx="2663">
                  <c:v>3.9584363625461059</c:v>
                </c:pt>
                <c:pt idx="2664">
                  <c:v>4.8276991875232982</c:v>
                </c:pt>
                <c:pt idx="2665">
                  <c:v>4.8697619248380768</c:v>
                </c:pt>
                <c:pt idx="2666">
                  <c:v>2.9051017967003747</c:v>
                </c:pt>
                <c:pt idx="2667">
                  <c:v>4.0301861747171497</c:v>
                </c:pt>
                <c:pt idx="2668">
                  <c:v>5.0084596790686753</c:v>
                </c:pt>
                <c:pt idx="2669">
                  <c:v>5.9719106107932669</c:v>
                </c:pt>
                <c:pt idx="2670">
                  <c:v>5.9761738245806626</c:v>
                </c:pt>
                <c:pt idx="2671">
                  <c:v>4.9662829058169926</c:v>
                </c:pt>
                <c:pt idx="2672">
                  <c:v>5.9160805288338203</c:v>
                </c:pt>
                <c:pt idx="2673">
                  <c:v>2.9136450868945389</c:v>
                </c:pt>
                <c:pt idx="2674">
                  <c:v>4.8151517212207544</c:v>
                </c:pt>
                <c:pt idx="2675">
                  <c:v>5.8528684239077684</c:v>
                </c:pt>
                <c:pt idx="2676">
                  <c:v>6.9807557040252881</c:v>
                </c:pt>
                <c:pt idx="2677">
                  <c:v>4.9895889827432374</c:v>
                </c:pt>
                <c:pt idx="2678">
                  <c:v>5.9749666813374871</c:v>
                </c:pt>
                <c:pt idx="2679">
                  <c:v>4.9731926436916387</c:v>
                </c:pt>
                <c:pt idx="2680">
                  <c:v>4.995176272170271</c:v>
                </c:pt>
                <c:pt idx="2681">
                  <c:v>4.8942081705575555</c:v>
                </c:pt>
                <c:pt idx="2682">
                  <c:v>6.0288775921519555</c:v>
                </c:pt>
                <c:pt idx="2683">
                  <c:v>6.0882043814713809</c:v>
                </c:pt>
                <c:pt idx="2684">
                  <c:v>5.0261025173891634</c:v>
                </c:pt>
                <c:pt idx="2685">
                  <c:v>4.0067496110208065</c:v>
                </c:pt>
                <c:pt idx="2686">
                  <c:v>5.9784748866812647</c:v>
                </c:pt>
                <c:pt idx="2687">
                  <c:v>3.9775589269959362</c:v>
                </c:pt>
                <c:pt idx="2688">
                  <c:v>6.0265191764657624</c:v>
                </c:pt>
                <c:pt idx="2689">
                  <c:v>4.8007867530719279</c:v>
                </c:pt>
                <c:pt idx="2690">
                  <c:v>6.0773664626404811</c:v>
                </c:pt>
                <c:pt idx="2691">
                  <c:v>5.0545764203414727</c:v>
                </c:pt>
                <c:pt idx="2692">
                  <c:v>5.8032267297427822</c:v>
                </c:pt>
                <c:pt idx="2693">
                  <c:v>4.874297447991645</c:v>
                </c:pt>
                <c:pt idx="2694">
                  <c:v>5.9071480698802432</c:v>
                </c:pt>
                <c:pt idx="2695">
                  <c:v>4.9713236903023272</c:v>
                </c:pt>
                <c:pt idx="2696">
                  <c:v>5.9958751245830673</c:v>
                </c:pt>
                <c:pt idx="2697">
                  <c:v>6.1066067715632872</c:v>
                </c:pt>
                <c:pt idx="2698">
                  <c:v>4.975442965803281</c:v>
                </c:pt>
                <c:pt idx="2699">
                  <c:v>5.0956840726930128</c:v>
                </c:pt>
                <c:pt idx="2700">
                  <c:v>6.0929042740208077</c:v>
                </c:pt>
                <c:pt idx="2701">
                  <c:v>6.1326737025625562</c:v>
                </c:pt>
                <c:pt idx="2702">
                  <c:v>5.9037766056190932</c:v>
                </c:pt>
                <c:pt idx="2703">
                  <c:v>5.1239397687255597</c:v>
                </c:pt>
                <c:pt idx="2704">
                  <c:v>5.0109875296615041</c:v>
                </c:pt>
                <c:pt idx="2705">
                  <c:v>5.9952519812194964</c:v>
                </c:pt>
                <c:pt idx="2706">
                  <c:v>5.0572122528446561</c:v>
                </c:pt>
                <c:pt idx="2707">
                  <c:v>5.0197701237582377</c:v>
                </c:pt>
                <c:pt idx="2708">
                  <c:v>4.7541207485551933</c:v>
                </c:pt>
                <c:pt idx="2709">
                  <c:v>5.9414831444017375</c:v>
                </c:pt>
                <c:pt idx="2710">
                  <c:v>5.0253224629586999</c:v>
                </c:pt>
                <c:pt idx="2711">
                  <c:v>4.9069660103782073</c:v>
                </c:pt>
                <c:pt idx="2712">
                  <c:v>4.988477996485047</c:v>
                </c:pt>
                <c:pt idx="2713">
                  <c:v>6.0434392077676229</c:v>
                </c:pt>
                <c:pt idx="2714">
                  <c:v>5.0556750440481428</c:v>
                </c:pt>
                <c:pt idx="2715">
                  <c:v>3.7544630509847403</c:v>
                </c:pt>
                <c:pt idx="2716">
                  <c:v>4.9690133988510308</c:v>
                </c:pt>
                <c:pt idx="2717">
                  <c:v>5.8869180769289624</c:v>
                </c:pt>
                <c:pt idx="2718">
                  <c:v>4.9135376704763996</c:v>
                </c:pt>
                <c:pt idx="2719">
                  <c:v>3.7770996940627959</c:v>
                </c:pt>
                <c:pt idx="2720">
                  <c:v>4.9955778844798591</c:v>
                </c:pt>
                <c:pt idx="2721">
                  <c:v>3.8348362285517239</c:v>
                </c:pt>
                <c:pt idx="2722">
                  <c:v>5.8337823661418442</c:v>
                </c:pt>
                <c:pt idx="2723">
                  <c:v>5.1534573921188809</c:v>
                </c:pt>
                <c:pt idx="2724">
                  <c:v>3.6421782317195408</c:v>
                </c:pt>
                <c:pt idx="2725">
                  <c:v>5.9298715521920426</c:v>
                </c:pt>
                <c:pt idx="2726">
                  <c:v>8.9662551027221831</c:v>
                </c:pt>
                <c:pt idx="2727">
                  <c:v>6.049415517059308</c:v>
                </c:pt>
                <c:pt idx="2728">
                  <c:v>5.8575430940055879</c:v>
                </c:pt>
                <c:pt idx="2729">
                  <c:v>6.2239201865486047</c:v>
                </c:pt>
                <c:pt idx="2730">
                  <c:v>4.9135614596075445</c:v>
                </c:pt>
                <c:pt idx="2731">
                  <c:v>5.0294151451494962</c:v>
                </c:pt>
                <c:pt idx="2732">
                  <c:v>6.1162437083022656</c:v>
                </c:pt>
                <c:pt idx="2733">
                  <c:v>5.1325283207192269</c:v>
                </c:pt>
                <c:pt idx="2734">
                  <c:v>5.0866470906814758</c:v>
                </c:pt>
                <c:pt idx="2735">
                  <c:v>5.912631303011473</c:v>
                </c:pt>
                <c:pt idx="2736">
                  <c:v>6.0395828004568912</c:v>
                </c:pt>
                <c:pt idx="2737">
                  <c:v>4.8363684269320046</c:v>
                </c:pt>
                <c:pt idx="2738">
                  <c:v>4.8351611045881988</c:v>
                </c:pt>
                <c:pt idx="2739">
                  <c:v>6.0483389647255379</c:v>
                </c:pt>
                <c:pt idx="2740">
                  <c:v>5.872516478881793</c:v>
                </c:pt>
                <c:pt idx="2741">
                  <c:v>5.1314808340631863</c:v>
                </c:pt>
                <c:pt idx="2742">
                  <c:v>5.8965797038045178</c:v>
                </c:pt>
                <c:pt idx="2743">
                  <c:v>5.1185617648917301</c:v>
                </c:pt>
                <c:pt idx="2744">
                  <c:v>5.9608630237704823</c:v>
                </c:pt>
                <c:pt idx="2745">
                  <c:v>6.1066902063829422</c:v>
                </c:pt>
                <c:pt idx="2746">
                  <c:v>5.0248386530855935</c:v>
                </c:pt>
                <c:pt idx="2747">
                  <c:v>5.0503767182877057</c:v>
                </c:pt>
                <c:pt idx="2748">
                  <c:v>6.1855879765845163</c:v>
                </c:pt>
                <c:pt idx="2749">
                  <c:v>4.9721846100818015</c:v>
                </c:pt>
                <c:pt idx="2750">
                  <c:v>5.1077358196481635</c:v>
                </c:pt>
                <c:pt idx="2751">
                  <c:v>4.9573433010231245</c:v>
                </c:pt>
                <c:pt idx="2752">
                  <c:v>4.9672223159350652</c:v>
                </c:pt>
                <c:pt idx="2753">
                  <c:v>5.0013821165121524</c:v>
                </c:pt>
                <c:pt idx="2754">
                  <c:v>5.0033561916900995</c:v>
                </c:pt>
                <c:pt idx="2755">
                  <c:v>6.0169965755310999</c:v>
                </c:pt>
                <c:pt idx="2756">
                  <c:v>3.9851384003763592</c:v>
                </c:pt>
                <c:pt idx="2757">
                  <c:v>7.0778944145423965</c:v>
                </c:pt>
                <c:pt idx="2758">
                  <c:v>5.015295965438554</c:v>
                </c:pt>
                <c:pt idx="2759">
                  <c:v>4.9142487593140958</c:v>
                </c:pt>
                <c:pt idx="2760">
                  <c:v>5.0843278846029314</c:v>
                </c:pt>
                <c:pt idx="2761">
                  <c:v>5.0132137548147018</c:v>
                </c:pt>
                <c:pt idx="2762">
                  <c:v>5.8479829282031313</c:v>
                </c:pt>
                <c:pt idx="2763">
                  <c:v>4.879712510809803</c:v>
                </c:pt>
                <c:pt idx="2764">
                  <c:v>5.1938484426406175</c:v>
                </c:pt>
                <c:pt idx="2765">
                  <c:v>5.1491618960681329</c:v>
                </c:pt>
                <c:pt idx="2766">
                  <c:v>5.0503662861144258</c:v>
                </c:pt>
                <c:pt idx="2767">
                  <c:v>5.1619827383979366</c:v>
                </c:pt>
                <c:pt idx="2768">
                  <c:v>6.0131091378319583</c:v>
                </c:pt>
                <c:pt idx="2769">
                  <c:v>4.032626752804501</c:v>
                </c:pt>
                <c:pt idx="2770">
                  <c:v>5.1098297446247045</c:v>
                </c:pt>
                <c:pt idx="2771">
                  <c:v>5.0305168103225153</c:v>
                </c:pt>
                <c:pt idx="2772">
                  <c:v>4.9233644299508628</c:v>
                </c:pt>
                <c:pt idx="2773">
                  <c:v>4.8915625754910845</c:v>
                </c:pt>
                <c:pt idx="2774">
                  <c:v>4.1431789811746631</c:v>
                </c:pt>
                <c:pt idx="2775">
                  <c:v>6.0419529227073436</c:v>
                </c:pt>
                <c:pt idx="2776">
                  <c:v>6.063193689346833</c:v>
                </c:pt>
                <c:pt idx="2777">
                  <c:v>5.8792679915756763</c:v>
                </c:pt>
                <c:pt idx="2778">
                  <c:v>4.1566937478611248</c:v>
                </c:pt>
                <c:pt idx="2779">
                  <c:v>6.0804915319780175</c:v>
                </c:pt>
                <c:pt idx="2780">
                  <c:v>5.9730918141946558</c:v>
                </c:pt>
                <c:pt idx="2781">
                  <c:v>6.0402745645335409</c:v>
                </c:pt>
                <c:pt idx="2782">
                  <c:v>4.9428547247483232</c:v>
                </c:pt>
                <c:pt idx="2783">
                  <c:v>6.0753365467313127</c:v>
                </c:pt>
                <c:pt idx="2784">
                  <c:v>6.0876459217547554</c:v>
                </c:pt>
                <c:pt idx="2785">
                  <c:v>5.9641061083658</c:v>
                </c:pt>
                <c:pt idx="2786">
                  <c:v>6.0023836307066647</c:v>
                </c:pt>
                <c:pt idx="2787">
                  <c:v>6.1193967229152086</c:v>
                </c:pt>
                <c:pt idx="2788">
                  <c:v>5.9757748729616003</c:v>
                </c:pt>
                <c:pt idx="2789">
                  <c:v>6.0460208259711221</c:v>
                </c:pt>
                <c:pt idx="2790">
                  <c:v>6.3167523813677882</c:v>
                </c:pt>
                <c:pt idx="2791">
                  <c:v>5.9574804745879479</c:v>
                </c:pt>
                <c:pt idx="2792">
                  <c:v>5.0944894386381856</c:v>
                </c:pt>
                <c:pt idx="2793">
                  <c:v>6.016920268248132</c:v>
                </c:pt>
                <c:pt idx="2794">
                  <c:v>6.0959944216221764</c:v>
                </c:pt>
                <c:pt idx="2795">
                  <c:v>5.1675642100854562</c:v>
                </c:pt>
                <c:pt idx="2796">
                  <c:v>6.2405267956523121</c:v>
                </c:pt>
                <c:pt idx="2797">
                  <c:v>7.0751631375727309</c:v>
                </c:pt>
                <c:pt idx="2798">
                  <c:v>4.9159084185687387</c:v>
                </c:pt>
                <c:pt idx="2799">
                  <c:v>6.1114575796116526</c:v>
                </c:pt>
                <c:pt idx="2800">
                  <c:v>7.0240130497895858</c:v>
                </c:pt>
                <c:pt idx="2801">
                  <c:v>5.8659363404440992</c:v>
                </c:pt>
                <c:pt idx="2802">
                  <c:v>6.0615731067701821</c:v>
                </c:pt>
                <c:pt idx="2803">
                  <c:v>5.9078089320424496</c:v>
                </c:pt>
                <c:pt idx="2804">
                  <c:v>6.0557225191949939</c:v>
                </c:pt>
                <c:pt idx="2805">
                  <c:v>5.9421686878922362</c:v>
                </c:pt>
                <c:pt idx="2806">
                  <c:v>5.9173437316996518</c:v>
                </c:pt>
                <c:pt idx="2807">
                  <c:v>5.0108313699572893</c:v>
                </c:pt>
                <c:pt idx="2808">
                  <c:v>4.1182387941867926</c:v>
                </c:pt>
                <c:pt idx="2809">
                  <c:v>5.9650330992386182</c:v>
                </c:pt>
                <c:pt idx="2810">
                  <c:v>5.0220753320646256</c:v>
                </c:pt>
                <c:pt idx="2811">
                  <c:v>5.9949434775291275</c:v>
                </c:pt>
                <c:pt idx="2812">
                  <c:v>4.8501145403290113</c:v>
                </c:pt>
                <c:pt idx="2813">
                  <c:v>5.9881815126894029</c:v>
                </c:pt>
                <c:pt idx="2814">
                  <c:v>6.0973414177970389</c:v>
                </c:pt>
                <c:pt idx="2815">
                  <c:v>6.2345785571258743</c:v>
                </c:pt>
                <c:pt idx="2816">
                  <c:v>6.0352478836200589</c:v>
                </c:pt>
                <c:pt idx="2817">
                  <c:v>3.961124982474117</c:v>
                </c:pt>
                <c:pt idx="2818">
                  <c:v>6.0230942749956204</c:v>
                </c:pt>
                <c:pt idx="2819">
                  <c:v>4.9903703754053179</c:v>
                </c:pt>
                <c:pt idx="2820">
                  <c:v>3.9500256702121037</c:v>
                </c:pt>
                <c:pt idx="2821">
                  <c:v>3.8989394408782769</c:v>
                </c:pt>
                <c:pt idx="2822">
                  <c:v>5.1526899863499622</c:v>
                </c:pt>
                <c:pt idx="2823">
                  <c:v>5.9926623941433785</c:v>
                </c:pt>
                <c:pt idx="2824">
                  <c:v>4.9396947252278824</c:v>
                </c:pt>
                <c:pt idx="2825">
                  <c:v>5.9220883420844537</c:v>
                </c:pt>
                <c:pt idx="2826">
                  <c:v>6.0349330509719472</c:v>
                </c:pt>
                <c:pt idx="2827">
                  <c:v>5.950386215993162</c:v>
                </c:pt>
                <c:pt idx="2828">
                  <c:v>5.9989588523568091</c:v>
                </c:pt>
                <c:pt idx="2829">
                  <c:v>4.8951462167317619</c:v>
                </c:pt>
                <c:pt idx="2830">
                  <c:v>5.0806566026001461</c:v>
                </c:pt>
                <c:pt idx="2831">
                  <c:v>4.0176046622027464</c:v>
                </c:pt>
                <c:pt idx="2832">
                  <c:v>4.9956005049410974</c:v>
                </c:pt>
                <c:pt idx="2833">
                  <c:v>4.8430160002117502</c:v>
                </c:pt>
                <c:pt idx="2834">
                  <c:v>5.9504148263106034</c:v>
                </c:pt>
                <c:pt idx="2835">
                  <c:v>4.9058119336605266</c:v>
                </c:pt>
                <c:pt idx="2836">
                  <c:v>3.9550900428509701</c:v>
                </c:pt>
                <c:pt idx="2837">
                  <c:v>4.0253574279285331</c:v>
                </c:pt>
                <c:pt idx="2838">
                  <c:v>6.0919859544519364</c:v>
                </c:pt>
                <c:pt idx="2839">
                  <c:v>6.0213922521712124</c:v>
                </c:pt>
                <c:pt idx="2840">
                  <c:v>4.9353851190001459</c:v>
                </c:pt>
                <c:pt idx="2841">
                  <c:v>3.924329957336417</c:v>
                </c:pt>
                <c:pt idx="2842">
                  <c:v>4.9179551721301911</c:v>
                </c:pt>
                <c:pt idx="2843">
                  <c:v>6.0727420160288101</c:v>
                </c:pt>
                <c:pt idx="2844">
                  <c:v>4.0020317550408437</c:v>
                </c:pt>
                <c:pt idx="2845">
                  <c:v>6.1090249208861991</c:v>
                </c:pt>
                <c:pt idx="2846">
                  <c:v>5.0832734537023319</c:v>
                </c:pt>
                <c:pt idx="2847">
                  <c:v>5.9047063767205445</c:v>
                </c:pt>
                <c:pt idx="2848">
                  <c:v>4.8633640612113744</c:v>
                </c:pt>
                <c:pt idx="2849">
                  <c:v>5.0892098373345798</c:v>
                </c:pt>
                <c:pt idx="2850">
                  <c:v>5.8213735765218839</c:v>
                </c:pt>
                <c:pt idx="2851">
                  <c:v>5.8760777058449118</c:v>
                </c:pt>
                <c:pt idx="2852">
                  <c:v>4.9096190045401826</c:v>
                </c:pt>
                <c:pt idx="2853">
                  <c:v>4.9989571736930092</c:v>
                </c:pt>
                <c:pt idx="2854">
                  <c:v>6.1018874072117972</c:v>
                </c:pt>
                <c:pt idx="2855">
                  <c:v>5.954907304431539</c:v>
                </c:pt>
                <c:pt idx="2856">
                  <c:v>5.9842078977183437</c:v>
                </c:pt>
                <c:pt idx="2857">
                  <c:v>5.8948286008358544</c:v>
                </c:pt>
                <c:pt idx="2858">
                  <c:v>4.8145527621091606</c:v>
                </c:pt>
                <c:pt idx="2859">
                  <c:v>4.984340622139233</c:v>
                </c:pt>
                <c:pt idx="2860">
                  <c:v>6.0332240346492183</c:v>
                </c:pt>
                <c:pt idx="2861">
                  <c:v>7.1475247844747578</c:v>
                </c:pt>
                <c:pt idx="2862">
                  <c:v>5.9964774606390847</c:v>
                </c:pt>
                <c:pt idx="2863">
                  <c:v>5.0080339420433777</c:v>
                </c:pt>
                <c:pt idx="2864">
                  <c:v>6.1081097819818879</c:v>
                </c:pt>
                <c:pt idx="2865">
                  <c:v>6.0434386399048794</c:v>
                </c:pt>
                <c:pt idx="2866">
                  <c:v>5.888154693152134</c:v>
                </c:pt>
                <c:pt idx="2867">
                  <c:v>5.0232077532361581</c:v>
                </c:pt>
                <c:pt idx="2868">
                  <c:v>4.873421600832593</c:v>
                </c:pt>
                <c:pt idx="2869">
                  <c:v>5.9325094367185844</c:v>
                </c:pt>
                <c:pt idx="2870">
                  <c:v>4.9014595754155446</c:v>
                </c:pt>
                <c:pt idx="2871">
                  <c:v>6.9637479509646596</c:v>
                </c:pt>
                <c:pt idx="2872">
                  <c:v>4.9231327576228026</c:v>
                </c:pt>
                <c:pt idx="2873">
                  <c:v>6.0077958599872803</c:v>
                </c:pt>
                <c:pt idx="2874">
                  <c:v>6.1017998546466901</c:v>
                </c:pt>
                <c:pt idx="2875">
                  <c:v>5.008947591066268</c:v>
                </c:pt>
                <c:pt idx="2876">
                  <c:v>5.9728885259541116</c:v>
                </c:pt>
                <c:pt idx="2877">
                  <c:v>5.1552439782164914</c:v>
                </c:pt>
                <c:pt idx="2878">
                  <c:v>4.8304206219878489</c:v>
                </c:pt>
                <c:pt idx="2879">
                  <c:v>6.1397422107711872</c:v>
                </c:pt>
                <c:pt idx="2880">
                  <c:v>6.1116687181186524</c:v>
                </c:pt>
                <c:pt idx="2881">
                  <c:v>5.8097615342968965</c:v>
                </c:pt>
                <c:pt idx="2882">
                  <c:v>5.0459622909538595</c:v>
                </c:pt>
                <c:pt idx="2883">
                  <c:v>5.6017887509581126</c:v>
                </c:pt>
                <c:pt idx="2884">
                  <c:v>6.9056090615372687</c:v>
                </c:pt>
                <c:pt idx="2885">
                  <c:v>4.875649856655472</c:v>
                </c:pt>
                <c:pt idx="2886">
                  <c:v>5.1223383913646225</c:v>
                </c:pt>
                <c:pt idx="2887">
                  <c:v>4.9820488002532617</c:v>
                </c:pt>
                <c:pt idx="2888">
                  <c:v>4.96348275640345</c:v>
                </c:pt>
                <c:pt idx="2889">
                  <c:v>7.0057823202157232</c:v>
                </c:pt>
                <c:pt idx="2890">
                  <c:v>5.1075251082778612</c:v>
                </c:pt>
                <c:pt idx="2891">
                  <c:v>4.9354404529603144</c:v>
                </c:pt>
                <c:pt idx="2892">
                  <c:v>6.148992393805675</c:v>
                </c:pt>
                <c:pt idx="2893">
                  <c:v>5.0249834922026286</c:v>
                </c:pt>
                <c:pt idx="2894">
                  <c:v>5.0056499575928539</c:v>
                </c:pt>
                <c:pt idx="2895">
                  <c:v>4.9829489332641925</c:v>
                </c:pt>
                <c:pt idx="2896">
                  <c:v>4.9030268743007133</c:v>
                </c:pt>
                <c:pt idx="2897">
                  <c:v>6.1967015692036433</c:v>
                </c:pt>
                <c:pt idx="2898">
                  <c:v>6.9381339802947908</c:v>
                </c:pt>
                <c:pt idx="2899">
                  <c:v>6.0619853098002556</c:v>
                </c:pt>
                <c:pt idx="2900">
                  <c:v>4.8619483063095545</c:v>
                </c:pt>
                <c:pt idx="2901">
                  <c:v>4.963517954739407</c:v>
                </c:pt>
                <c:pt idx="2902">
                  <c:v>5.9660399229940611</c:v>
                </c:pt>
                <c:pt idx="2903">
                  <c:v>6.9788986229887966</c:v>
                </c:pt>
                <c:pt idx="2904">
                  <c:v>7.0716555255776949</c:v>
                </c:pt>
                <c:pt idx="2905">
                  <c:v>5.0936499968392219</c:v>
                </c:pt>
                <c:pt idx="2906">
                  <c:v>6.125897014889226</c:v>
                </c:pt>
                <c:pt idx="2907">
                  <c:v>6.9761037796297147</c:v>
                </c:pt>
                <c:pt idx="2908">
                  <c:v>5.0067208670434331</c:v>
                </c:pt>
                <c:pt idx="2909">
                  <c:v>4.9956632407372714</c:v>
                </c:pt>
                <c:pt idx="2910">
                  <c:v>6.0329453589333006</c:v>
                </c:pt>
                <c:pt idx="2911">
                  <c:v>7.0198298641989254</c:v>
                </c:pt>
                <c:pt idx="2912">
                  <c:v>4.905863056912291</c:v>
                </c:pt>
                <c:pt idx="2913">
                  <c:v>5.0404384240951012</c:v>
                </c:pt>
                <c:pt idx="2914">
                  <c:v>5.9492519181822292</c:v>
                </c:pt>
                <c:pt idx="2915">
                  <c:v>5.0817652677880787</c:v>
                </c:pt>
                <c:pt idx="2916">
                  <c:v>5.0180621660288569</c:v>
                </c:pt>
                <c:pt idx="2917">
                  <c:v>6.9560618511466501</c:v>
                </c:pt>
                <c:pt idx="2918">
                  <c:v>5.0245730735936336</c:v>
                </c:pt>
                <c:pt idx="2919">
                  <c:v>5.1383574098352325</c:v>
                </c:pt>
                <c:pt idx="2920">
                  <c:v>6.1232976922532325</c:v>
                </c:pt>
                <c:pt idx="2921">
                  <c:v>5.0192540756905526</c:v>
                </c:pt>
                <c:pt idx="2922">
                  <c:v>5.9301647912924675</c:v>
                </c:pt>
                <c:pt idx="2923">
                  <c:v>5.0596875386437539</c:v>
                </c:pt>
                <c:pt idx="2924">
                  <c:v>5.8386039894531532</c:v>
                </c:pt>
                <c:pt idx="2925">
                  <c:v>6.1979944043807738</c:v>
                </c:pt>
                <c:pt idx="2926">
                  <c:v>5.1413949364584983</c:v>
                </c:pt>
                <c:pt idx="2927">
                  <c:v>5.9674310878643597</c:v>
                </c:pt>
                <c:pt idx="2928">
                  <c:v>5.0241066934888536</c:v>
                </c:pt>
                <c:pt idx="2929">
                  <c:v>5.9760881388882465</c:v>
                </c:pt>
                <c:pt idx="2930">
                  <c:v>5.9097380261017101</c:v>
                </c:pt>
                <c:pt idx="2931">
                  <c:v>4.892008265889757</c:v>
                </c:pt>
                <c:pt idx="2932">
                  <c:v>4.9275825378513538</c:v>
                </c:pt>
                <c:pt idx="2933">
                  <c:v>5.0562802625303469</c:v>
                </c:pt>
                <c:pt idx="2934">
                  <c:v>4.818545182284578</c:v>
                </c:pt>
                <c:pt idx="2935">
                  <c:v>5.0857536536019055</c:v>
                </c:pt>
                <c:pt idx="2936">
                  <c:v>6.0409469551921422</c:v>
                </c:pt>
                <c:pt idx="2937">
                  <c:v>4.8699735788735614</c:v>
                </c:pt>
                <c:pt idx="2938">
                  <c:v>4.9209622066097749</c:v>
                </c:pt>
                <c:pt idx="2939">
                  <c:v>3.9032332907816656</c:v>
                </c:pt>
                <c:pt idx="2940">
                  <c:v>4.9193255389468149</c:v>
                </c:pt>
                <c:pt idx="2941">
                  <c:v>5.9290804733414317</c:v>
                </c:pt>
                <c:pt idx="2942">
                  <c:v>5.9887875854379766</c:v>
                </c:pt>
                <c:pt idx="2943">
                  <c:v>4.8888152539737693</c:v>
                </c:pt>
                <c:pt idx="2944">
                  <c:v>5.0830444060228892</c:v>
                </c:pt>
                <c:pt idx="2945">
                  <c:v>4.8469075911575885</c:v>
                </c:pt>
                <c:pt idx="2946">
                  <c:v>5.8944782920973298</c:v>
                </c:pt>
                <c:pt idx="2947">
                  <c:v>6.0757437402098597</c:v>
                </c:pt>
                <c:pt idx="2948">
                  <c:v>5.8407229695124823</c:v>
                </c:pt>
                <c:pt idx="2949">
                  <c:v>4.9458884114053108</c:v>
                </c:pt>
                <c:pt idx="2950">
                  <c:v>4.9517177091993547</c:v>
                </c:pt>
                <c:pt idx="2951">
                  <c:v>6.2050173175007357</c:v>
                </c:pt>
                <c:pt idx="2952">
                  <c:v>4.8931074474657592</c:v>
                </c:pt>
                <c:pt idx="2953">
                  <c:v>6.1767108265342987</c:v>
                </c:pt>
                <c:pt idx="2954">
                  <c:v>4.8895192286047502</c:v>
                </c:pt>
                <c:pt idx="2955">
                  <c:v>5.9321357659252039</c:v>
                </c:pt>
                <c:pt idx="2956">
                  <c:v>6.0260895440517546</c:v>
                </c:pt>
                <c:pt idx="2957">
                  <c:v>6.0218450216457979</c:v>
                </c:pt>
                <c:pt idx="2958">
                  <c:v>6.0450111511169666</c:v>
                </c:pt>
                <c:pt idx="2959">
                  <c:v>5.9709909477148537</c:v>
                </c:pt>
                <c:pt idx="2960">
                  <c:v>5.9479220267201889</c:v>
                </c:pt>
                <c:pt idx="2961">
                  <c:v>4.9345107042089875</c:v>
                </c:pt>
                <c:pt idx="2962">
                  <c:v>4.8867799825411566</c:v>
                </c:pt>
                <c:pt idx="2963">
                  <c:v>4.9638366318085145</c:v>
                </c:pt>
                <c:pt idx="2964">
                  <c:v>6.1444920552531626</c:v>
                </c:pt>
                <c:pt idx="2965">
                  <c:v>4.9662499538727678</c:v>
                </c:pt>
                <c:pt idx="2966">
                  <c:v>4.8857799875696815</c:v>
                </c:pt>
                <c:pt idx="2967">
                  <c:v>5.0959104390189411</c:v>
                </c:pt>
                <c:pt idx="2968">
                  <c:v>4.9687422386951647</c:v>
                </c:pt>
                <c:pt idx="2969">
                  <c:v>5.7312775628434451</c:v>
                </c:pt>
                <c:pt idx="2970">
                  <c:v>5.9116562012025522</c:v>
                </c:pt>
                <c:pt idx="2971">
                  <c:v>5.0206328060219523</c:v>
                </c:pt>
                <c:pt idx="2972">
                  <c:v>4.8777787602622906</c:v>
                </c:pt>
                <c:pt idx="2973">
                  <c:v>6.0863734297576411</c:v>
                </c:pt>
                <c:pt idx="2974">
                  <c:v>5.874241660513257</c:v>
                </c:pt>
                <c:pt idx="2975">
                  <c:v>5.9861899815068833</c:v>
                </c:pt>
                <c:pt idx="2976">
                  <c:v>5.109243874640276</c:v>
                </c:pt>
                <c:pt idx="2977">
                  <c:v>5.8096743831078319</c:v>
                </c:pt>
                <c:pt idx="2978">
                  <c:v>6.0064917735407093</c:v>
                </c:pt>
                <c:pt idx="2979">
                  <c:v>5.931564205971501</c:v>
                </c:pt>
                <c:pt idx="2980">
                  <c:v>5.0819653782712857</c:v>
                </c:pt>
                <c:pt idx="2981">
                  <c:v>5.0443851650820868</c:v>
                </c:pt>
                <c:pt idx="2982">
                  <c:v>5.193843136586235</c:v>
                </c:pt>
                <c:pt idx="2983">
                  <c:v>6.1677016278124963</c:v>
                </c:pt>
                <c:pt idx="2984">
                  <c:v>4.8539782620645147</c:v>
                </c:pt>
                <c:pt idx="2985">
                  <c:v>4.9517506665105424</c:v>
                </c:pt>
                <c:pt idx="2986">
                  <c:v>5.1150743928150346</c:v>
                </c:pt>
                <c:pt idx="2987">
                  <c:v>4.7574386320052584</c:v>
                </c:pt>
                <c:pt idx="2988">
                  <c:v>5.0913291252602066</c:v>
                </c:pt>
                <c:pt idx="2989">
                  <c:v>6.1357508997813648</c:v>
                </c:pt>
                <c:pt idx="2990">
                  <c:v>4.9964791885364415</c:v>
                </c:pt>
                <c:pt idx="2991">
                  <c:v>6.0487166010749043</c:v>
                </c:pt>
                <c:pt idx="2992">
                  <c:v>5.0532062828564781</c:v>
                </c:pt>
                <c:pt idx="2993">
                  <c:v>5.0433915545234251</c:v>
                </c:pt>
                <c:pt idx="2994">
                  <c:v>6.0502945759139575</c:v>
                </c:pt>
                <c:pt idx="2995">
                  <c:v>6.1173824866224606</c:v>
                </c:pt>
                <c:pt idx="2996">
                  <c:v>6.0373141824889194</c:v>
                </c:pt>
                <c:pt idx="2997">
                  <c:v>5.1736675318943988</c:v>
                </c:pt>
                <c:pt idx="2998">
                  <c:v>5.104219345512603</c:v>
                </c:pt>
                <c:pt idx="2999">
                  <c:v>4.9530183945985309</c:v>
                </c:pt>
                <c:pt idx="3000">
                  <c:v>5.0136228609982494</c:v>
                </c:pt>
                <c:pt idx="3001">
                  <c:v>5.9688464242601977</c:v>
                </c:pt>
                <c:pt idx="3002">
                  <c:v>5.9628702564721632</c:v>
                </c:pt>
                <c:pt idx="3003">
                  <c:v>5.7841462993714412</c:v>
                </c:pt>
                <c:pt idx="3004">
                  <c:v>5.1169793677571702</c:v>
                </c:pt>
                <c:pt idx="3005">
                  <c:v>4.9892799765676203</c:v>
                </c:pt>
                <c:pt idx="3006">
                  <c:v>6.0888098975381926</c:v>
                </c:pt>
                <c:pt idx="3007">
                  <c:v>6.0481156096598276</c:v>
                </c:pt>
                <c:pt idx="3008">
                  <c:v>4.999787561404295</c:v>
                </c:pt>
                <c:pt idx="3009">
                  <c:v>6.0841350901568081</c:v>
                </c:pt>
                <c:pt idx="3010">
                  <c:v>5.9684544888300692</c:v>
                </c:pt>
                <c:pt idx="3011">
                  <c:v>5.0870028359950723</c:v>
                </c:pt>
                <c:pt idx="3012">
                  <c:v>5.9834479528475928</c:v>
                </c:pt>
                <c:pt idx="3013">
                  <c:v>6.1144871787684583</c:v>
                </c:pt>
                <c:pt idx="3014">
                  <c:v>5.9971792222490876</c:v>
                </c:pt>
                <c:pt idx="3015">
                  <c:v>4.8682342557684226</c:v>
                </c:pt>
                <c:pt idx="3016">
                  <c:v>4.8746512354316707</c:v>
                </c:pt>
                <c:pt idx="3017">
                  <c:v>4.8409680602118765</c:v>
                </c:pt>
                <c:pt idx="3018">
                  <c:v>6.0265399970627165</c:v>
                </c:pt>
                <c:pt idx="3019">
                  <c:v>4.9928539830874978</c:v>
                </c:pt>
                <c:pt idx="3020">
                  <c:v>6.089791800071569</c:v>
                </c:pt>
                <c:pt idx="3021">
                  <c:v>6.0174645801363127</c:v>
                </c:pt>
                <c:pt idx="3022">
                  <c:v>4.9234010270288007</c:v>
                </c:pt>
                <c:pt idx="3023">
                  <c:v>5.0826783352618499</c:v>
                </c:pt>
                <c:pt idx="3024">
                  <c:v>5.0559740580380108</c:v>
                </c:pt>
                <c:pt idx="3025">
                  <c:v>6.1112700158625319</c:v>
                </c:pt>
                <c:pt idx="3026">
                  <c:v>5.7752595366751809</c:v>
                </c:pt>
                <c:pt idx="3027">
                  <c:v>5.9665880384078669</c:v>
                </c:pt>
                <c:pt idx="3028">
                  <c:v>4.9895250271598321</c:v>
                </c:pt>
                <c:pt idx="3029">
                  <c:v>4.9784488941624234</c:v>
                </c:pt>
                <c:pt idx="3030">
                  <c:v>4.9815032897103446</c:v>
                </c:pt>
                <c:pt idx="3031">
                  <c:v>4.8785555474562949</c:v>
                </c:pt>
                <c:pt idx="3032">
                  <c:v>6.1427370979617129</c:v>
                </c:pt>
                <c:pt idx="3033">
                  <c:v>5.0294513295842469</c:v>
                </c:pt>
                <c:pt idx="3034">
                  <c:v>5.830853242525281</c:v>
                </c:pt>
                <c:pt idx="3035">
                  <c:v>5.0780389708028038</c:v>
                </c:pt>
                <c:pt idx="3036">
                  <c:v>4.9505081761825016</c:v>
                </c:pt>
                <c:pt idx="3037">
                  <c:v>6.1734209170173466</c:v>
                </c:pt>
                <c:pt idx="3038">
                  <c:v>6.0945572192069548</c:v>
                </c:pt>
                <c:pt idx="3039">
                  <c:v>4.0084647361630248</c:v>
                </c:pt>
                <c:pt idx="3040">
                  <c:v>5.0523016788658612</c:v>
                </c:pt>
                <c:pt idx="3041">
                  <c:v>4.91675697452854</c:v>
                </c:pt>
                <c:pt idx="3042">
                  <c:v>6.0452370329441223</c:v>
                </c:pt>
                <c:pt idx="3043">
                  <c:v>5.072621405645557</c:v>
                </c:pt>
                <c:pt idx="3044">
                  <c:v>4.9283634937607541</c:v>
                </c:pt>
                <c:pt idx="3045">
                  <c:v>5.0551994446588706</c:v>
                </c:pt>
                <c:pt idx="3046">
                  <c:v>5.1311937166072186</c:v>
                </c:pt>
                <c:pt idx="3047">
                  <c:v>6.0315350504810539</c:v>
                </c:pt>
                <c:pt idx="3048">
                  <c:v>6.0042553840580313</c:v>
                </c:pt>
                <c:pt idx="3049">
                  <c:v>4.6495444375815191</c:v>
                </c:pt>
                <c:pt idx="3050">
                  <c:v>5.0164956693811309</c:v>
                </c:pt>
                <c:pt idx="3051">
                  <c:v>5.9455085377012287</c:v>
                </c:pt>
                <c:pt idx="3052">
                  <c:v>5.7812715587096246</c:v>
                </c:pt>
                <c:pt idx="3053">
                  <c:v>5.1678290061982253</c:v>
                </c:pt>
                <c:pt idx="3054">
                  <c:v>5.02973562231288</c:v>
                </c:pt>
                <c:pt idx="3055">
                  <c:v>4.8796010327735813</c:v>
                </c:pt>
                <c:pt idx="3056">
                  <c:v>5.0413804094136285</c:v>
                </c:pt>
                <c:pt idx="3057">
                  <c:v>5.8895297181617874</c:v>
                </c:pt>
                <c:pt idx="3058">
                  <c:v>5.0828374205656672</c:v>
                </c:pt>
                <c:pt idx="3059">
                  <c:v>5.986112219121388</c:v>
                </c:pt>
                <c:pt idx="3060">
                  <c:v>6.1396289750241664</c:v>
                </c:pt>
                <c:pt idx="3061">
                  <c:v>5.7955633897386756</c:v>
                </c:pt>
                <c:pt idx="3062">
                  <c:v>4.9536775016220957</c:v>
                </c:pt>
                <c:pt idx="3063">
                  <c:v>5.9648799135558059</c:v>
                </c:pt>
                <c:pt idx="3064">
                  <c:v>5.0348184657764286</c:v>
                </c:pt>
                <c:pt idx="3065">
                  <c:v>6.0646475832774591</c:v>
                </c:pt>
                <c:pt idx="3066">
                  <c:v>5.0021791288001278</c:v>
                </c:pt>
                <c:pt idx="3067">
                  <c:v>5.9318697540166836</c:v>
                </c:pt>
                <c:pt idx="3068">
                  <c:v>5.0721205435648793</c:v>
                </c:pt>
                <c:pt idx="3069">
                  <c:v>5.1204007673582241</c:v>
                </c:pt>
                <c:pt idx="3070">
                  <c:v>6.1464262242771879</c:v>
                </c:pt>
                <c:pt idx="3071">
                  <c:v>4.9308306519422906</c:v>
                </c:pt>
                <c:pt idx="3072">
                  <c:v>6.1176229716791362</c:v>
                </c:pt>
                <c:pt idx="3073">
                  <c:v>5.0560637921248466</c:v>
                </c:pt>
                <c:pt idx="3074">
                  <c:v>4.8227622579600302</c:v>
                </c:pt>
                <c:pt idx="3075">
                  <c:v>5.8978036321624634</c:v>
                </c:pt>
                <c:pt idx="3076">
                  <c:v>5.8553295479539678</c:v>
                </c:pt>
                <c:pt idx="3077">
                  <c:v>5.1384303538077791</c:v>
                </c:pt>
                <c:pt idx="3078">
                  <c:v>5.0415496488869778</c:v>
                </c:pt>
                <c:pt idx="3079">
                  <c:v>4.8972121373363402</c:v>
                </c:pt>
                <c:pt idx="3080">
                  <c:v>4.9737354331990389</c:v>
                </c:pt>
                <c:pt idx="3081">
                  <c:v>5.1107373651577293</c:v>
                </c:pt>
                <c:pt idx="3082">
                  <c:v>4.8752015090494929</c:v>
                </c:pt>
                <c:pt idx="3083">
                  <c:v>5.0809849092070181</c:v>
                </c:pt>
                <c:pt idx="3084">
                  <c:v>4.933450353971339</c:v>
                </c:pt>
                <c:pt idx="3085">
                  <c:v>6.85809939002338</c:v>
                </c:pt>
                <c:pt idx="3086">
                  <c:v>5.1685460188382697</c:v>
                </c:pt>
                <c:pt idx="3087">
                  <c:v>5.9730710665126407</c:v>
                </c:pt>
                <c:pt idx="3088">
                  <c:v>3.9835324160956116</c:v>
                </c:pt>
                <c:pt idx="3089">
                  <c:v>5.1439258993317551</c:v>
                </c:pt>
                <c:pt idx="3090">
                  <c:v>4.9223128018624935</c:v>
                </c:pt>
                <c:pt idx="3091">
                  <c:v>6.0691681866951868</c:v>
                </c:pt>
                <c:pt idx="3092">
                  <c:v>4.8696740104071656</c:v>
                </c:pt>
                <c:pt idx="3093">
                  <c:v>6.0698451894303496</c:v>
                </c:pt>
                <c:pt idx="3094">
                  <c:v>5.9528397076534265</c:v>
                </c:pt>
                <c:pt idx="3095">
                  <c:v>4.9223428469931507</c:v>
                </c:pt>
                <c:pt idx="3096">
                  <c:v>3.7957362477976408</c:v>
                </c:pt>
                <c:pt idx="3097">
                  <c:v>4.966167961061621</c:v>
                </c:pt>
                <c:pt idx="3098">
                  <c:v>5.0048679905664262</c:v>
                </c:pt>
                <c:pt idx="3099">
                  <c:v>6.0925605946355459</c:v>
                </c:pt>
                <c:pt idx="3100">
                  <c:v>5.0993062276918248</c:v>
                </c:pt>
                <c:pt idx="3101">
                  <c:v>6.0309818080215702</c:v>
                </c:pt>
                <c:pt idx="3102">
                  <c:v>4.9403750766116454</c:v>
                </c:pt>
                <c:pt idx="3103">
                  <c:v>6.1350486330822429</c:v>
                </c:pt>
                <c:pt idx="3104">
                  <c:v>6.9204307649185646</c:v>
                </c:pt>
                <c:pt idx="3105">
                  <c:v>5.0016072431254477</c:v>
                </c:pt>
                <c:pt idx="3106">
                  <c:v>5.0644193554298802</c:v>
                </c:pt>
                <c:pt idx="3107">
                  <c:v>5.9281071269822148</c:v>
                </c:pt>
                <c:pt idx="3108">
                  <c:v>3.044502515767967</c:v>
                </c:pt>
                <c:pt idx="3109">
                  <c:v>6.1487810824817783</c:v>
                </c:pt>
                <c:pt idx="3110">
                  <c:v>5.9837925874843263</c:v>
                </c:pt>
                <c:pt idx="3111">
                  <c:v>7.0247053125195889</c:v>
                </c:pt>
                <c:pt idx="3112">
                  <c:v>6.1110279815590669</c:v>
                </c:pt>
                <c:pt idx="3113">
                  <c:v>2.0120504609962389</c:v>
                </c:pt>
                <c:pt idx="3114">
                  <c:v>4.9690895889441347</c:v>
                </c:pt>
                <c:pt idx="3115">
                  <c:v>5.1429589049825193</c:v>
                </c:pt>
                <c:pt idx="3116">
                  <c:v>1.9501203725964871</c:v>
                </c:pt>
                <c:pt idx="3117">
                  <c:v>5.9643922917608121</c:v>
                </c:pt>
                <c:pt idx="3118">
                  <c:v>5.0482274104189395</c:v>
                </c:pt>
                <c:pt idx="3119">
                  <c:v>5.9493709538986623</c:v>
                </c:pt>
                <c:pt idx="3120">
                  <c:v>5.0682115262702414</c:v>
                </c:pt>
                <c:pt idx="3121">
                  <c:v>2.0151657986977329</c:v>
                </c:pt>
                <c:pt idx="3122">
                  <c:v>5.9736743683580773</c:v>
                </c:pt>
                <c:pt idx="3123">
                  <c:v>6.0246578770310952</c:v>
                </c:pt>
                <c:pt idx="3124">
                  <c:v>7.0893216516547266</c:v>
                </c:pt>
                <c:pt idx="3125">
                  <c:v>5.9771984911801974</c:v>
                </c:pt>
                <c:pt idx="3126">
                  <c:v>5.052119943962496</c:v>
                </c:pt>
                <c:pt idx="3127">
                  <c:v>4.9628247938045718</c:v>
                </c:pt>
                <c:pt idx="3128">
                  <c:v>7.1143531943091807</c:v>
                </c:pt>
                <c:pt idx="3129">
                  <c:v>4.9317393198034578</c:v>
                </c:pt>
                <c:pt idx="3130">
                  <c:v>5.8765071931060655</c:v>
                </c:pt>
                <c:pt idx="3131">
                  <c:v>6.2223388680473724</c:v>
                </c:pt>
                <c:pt idx="3132">
                  <c:v>4.9425660461557666</c:v>
                </c:pt>
                <c:pt idx="3133">
                  <c:v>5.8390731410513705</c:v>
                </c:pt>
                <c:pt idx="3134">
                  <c:v>6.7315754947929447</c:v>
                </c:pt>
                <c:pt idx="3135">
                  <c:v>4.969779865486541</c:v>
                </c:pt>
                <c:pt idx="3136">
                  <c:v>5.8773895293998555</c:v>
                </c:pt>
                <c:pt idx="3137">
                  <c:v>5.0784576891512634</c:v>
                </c:pt>
                <c:pt idx="3138">
                  <c:v>5.9547643362628664</c:v>
                </c:pt>
                <c:pt idx="3139">
                  <c:v>7.0294427613976485</c:v>
                </c:pt>
                <c:pt idx="3140">
                  <c:v>6.8209027353597529</c:v>
                </c:pt>
                <c:pt idx="3141">
                  <c:v>5.0773697406659348</c:v>
                </c:pt>
                <c:pt idx="3142">
                  <c:v>5.004735590826539</c:v>
                </c:pt>
                <c:pt idx="3143">
                  <c:v>5.9415582764780499</c:v>
                </c:pt>
                <c:pt idx="3144">
                  <c:v>6.1247538788857003</c:v>
                </c:pt>
                <c:pt idx="3145">
                  <c:v>6.0006792921565175</c:v>
                </c:pt>
                <c:pt idx="3146">
                  <c:v>5.9270136771546165</c:v>
                </c:pt>
                <c:pt idx="3147">
                  <c:v>4.9294684462451874</c:v>
                </c:pt>
                <c:pt idx="3148">
                  <c:v>6.0317942369888824</c:v>
                </c:pt>
                <c:pt idx="3149">
                  <c:v>7.1268308639443978</c:v>
                </c:pt>
                <c:pt idx="3150">
                  <c:v>5.1981891218126126</c:v>
                </c:pt>
                <c:pt idx="3151">
                  <c:v>6.0745049909906754</c:v>
                </c:pt>
                <c:pt idx="3152">
                  <c:v>5.0082161353620087</c:v>
                </c:pt>
                <c:pt idx="3153">
                  <c:v>5.1711494151552477</c:v>
                </c:pt>
                <c:pt idx="3154">
                  <c:v>5.0254948701616504</c:v>
                </c:pt>
                <c:pt idx="3155">
                  <c:v>5.0789078699107018</c:v>
                </c:pt>
                <c:pt idx="3156">
                  <c:v>4.8775384720723522</c:v>
                </c:pt>
                <c:pt idx="3157">
                  <c:v>6.0318730087856771</c:v>
                </c:pt>
                <c:pt idx="3158">
                  <c:v>4.0004578595790017</c:v>
                </c:pt>
                <c:pt idx="3159">
                  <c:v>7.0894765041473429</c:v>
                </c:pt>
                <c:pt idx="3160">
                  <c:v>3.9123309861812507</c:v>
                </c:pt>
                <c:pt idx="3161">
                  <c:v>4.9069234146238792</c:v>
                </c:pt>
                <c:pt idx="3162">
                  <c:v>5.1569758255884324</c:v>
                </c:pt>
                <c:pt idx="3163">
                  <c:v>5.995740790450272</c:v>
                </c:pt>
                <c:pt idx="3164">
                  <c:v>4.9646321915326475</c:v>
                </c:pt>
                <c:pt idx="3165">
                  <c:v>4.9323367384300409</c:v>
                </c:pt>
                <c:pt idx="3166">
                  <c:v>5.0243879812769654</c:v>
                </c:pt>
                <c:pt idx="3167">
                  <c:v>5.1121796270948794</c:v>
                </c:pt>
                <c:pt idx="3168">
                  <c:v>6.9644571470069883</c:v>
                </c:pt>
                <c:pt idx="3169">
                  <c:v>4.9055322837360515</c:v>
                </c:pt>
                <c:pt idx="3170">
                  <c:v>4.880839157472054</c:v>
                </c:pt>
                <c:pt idx="3171">
                  <c:v>4.7485175775521249</c:v>
                </c:pt>
                <c:pt idx="3172">
                  <c:v>5.2273107223857371</c:v>
                </c:pt>
                <c:pt idx="3173">
                  <c:v>5.0138217737712951</c:v>
                </c:pt>
                <c:pt idx="3174">
                  <c:v>5.9630753942229227</c:v>
                </c:pt>
                <c:pt idx="3175">
                  <c:v>4.8151361712564116</c:v>
                </c:pt>
                <c:pt idx="3176">
                  <c:v>4.9717572401782038</c:v>
                </c:pt>
                <c:pt idx="3177">
                  <c:v>5.0813792834656839</c:v>
                </c:pt>
                <c:pt idx="3178">
                  <c:v>4.9284480661231118</c:v>
                </c:pt>
                <c:pt idx="3179">
                  <c:v>6.1947627481410006</c:v>
                </c:pt>
                <c:pt idx="3180">
                  <c:v>5.9622839704668937</c:v>
                </c:pt>
                <c:pt idx="3181">
                  <c:v>5.0041742004570056</c:v>
                </c:pt>
                <c:pt idx="3182">
                  <c:v>6.9792183348791177</c:v>
                </c:pt>
                <c:pt idx="3183">
                  <c:v>6.0159419337223969</c:v>
                </c:pt>
                <c:pt idx="3184">
                  <c:v>7.0334694640591602</c:v>
                </c:pt>
                <c:pt idx="3185">
                  <c:v>5.1143661605418282</c:v>
                </c:pt>
                <c:pt idx="3186">
                  <c:v>5.1289045163578928</c:v>
                </c:pt>
                <c:pt idx="3187">
                  <c:v>5.9806892129348599</c:v>
                </c:pt>
                <c:pt idx="3188">
                  <c:v>5.0246594507505229</c:v>
                </c:pt>
                <c:pt idx="3189">
                  <c:v>5.8759415565638156</c:v>
                </c:pt>
                <c:pt idx="3190">
                  <c:v>4.9389362497397897</c:v>
                </c:pt>
                <c:pt idx="3191">
                  <c:v>4.9504954538764956</c:v>
                </c:pt>
                <c:pt idx="3192">
                  <c:v>6.0160487451528528</c:v>
                </c:pt>
                <c:pt idx="3193">
                  <c:v>5.9092915315105241</c:v>
                </c:pt>
                <c:pt idx="3194">
                  <c:v>4.8827470912132291</c:v>
                </c:pt>
                <c:pt idx="3195">
                  <c:v>5.0080559803567102</c:v>
                </c:pt>
                <c:pt idx="3196">
                  <c:v>6.7794179863662549</c:v>
                </c:pt>
                <c:pt idx="3197">
                  <c:v>5.0954766991707672</c:v>
                </c:pt>
                <c:pt idx="3198">
                  <c:v>6.0378921324573822</c:v>
                </c:pt>
                <c:pt idx="3199">
                  <c:v>6.9383656811045302</c:v>
                </c:pt>
                <c:pt idx="3200">
                  <c:v>4.9809282489560252</c:v>
                </c:pt>
                <c:pt idx="3201">
                  <c:v>5.1278392411238567</c:v>
                </c:pt>
                <c:pt idx="3202">
                  <c:v>5.8998474380631496</c:v>
                </c:pt>
                <c:pt idx="3203">
                  <c:v>4.8361955433020061</c:v>
                </c:pt>
                <c:pt idx="3204">
                  <c:v>4.8146560294032827</c:v>
                </c:pt>
                <c:pt idx="3205">
                  <c:v>5.0146292960375911</c:v>
                </c:pt>
                <c:pt idx="3206">
                  <c:v>5.0426782758996023</c:v>
                </c:pt>
                <c:pt idx="3207">
                  <c:v>5.9027360998097151</c:v>
                </c:pt>
                <c:pt idx="3208">
                  <c:v>5.7336051344263854</c:v>
                </c:pt>
                <c:pt idx="3209">
                  <c:v>6.0122811937052356</c:v>
                </c:pt>
                <c:pt idx="3210">
                  <c:v>5.9319937730338639</c:v>
                </c:pt>
                <c:pt idx="3211">
                  <c:v>5.07719644203575</c:v>
                </c:pt>
                <c:pt idx="3212">
                  <c:v>5.9204238418083062</c:v>
                </c:pt>
                <c:pt idx="3213">
                  <c:v>5.0194070133407029</c:v>
                </c:pt>
                <c:pt idx="3214">
                  <c:v>4.9545489644941005</c:v>
                </c:pt>
                <c:pt idx="3215">
                  <c:v>5.0137543640225033</c:v>
                </c:pt>
                <c:pt idx="3216">
                  <c:v>4.9208068719151399</c:v>
                </c:pt>
                <c:pt idx="3217">
                  <c:v>5.8724098235081383</c:v>
                </c:pt>
                <c:pt idx="3218">
                  <c:v>6.0395657060564378</c:v>
                </c:pt>
                <c:pt idx="3219">
                  <c:v>5.0454666454252619</c:v>
                </c:pt>
                <c:pt idx="3220">
                  <c:v>4.9197052345020875</c:v>
                </c:pt>
                <c:pt idx="3221">
                  <c:v>5.011888294136587</c:v>
                </c:pt>
                <c:pt idx="3222">
                  <c:v>4.9925523335469615</c:v>
                </c:pt>
                <c:pt idx="3223">
                  <c:v>5.0046380317481063</c:v>
                </c:pt>
                <c:pt idx="3224">
                  <c:v>5.0495076891636792</c:v>
                </c:pt>
                <c:pt idx="3225">
                  <c:v>4.9171593157475</c:v>
                </c:pt>
                <c:pt idx="3226">
                  <c:v>4.7733157332284737</c:v>
                </c:pt>
                <c:pt idx="3227">
                  <c:v>5.0701046947392188</c:v>
                </c:pt>
                <c:pt idx="3228">
                  <c:v>5.9211693587466945</c:v>
                </c:pt>
                <c:pt idx="3229">
                  <c:v>5.9245478912605822</c:v>
                </c:pt>
                <c:pt idx="3230">
                  <c:v>4.926030847292302</c:v>
                </c:pt>
                <c:pt idx="3231">
                  <c:v>4.8396418146813547</c:v>
                </c:pt>
                <c:pt idx="3232">
                  <c:v>5.0847948515285939</c:v>
                </c:pt>
                <c:pt idx="3233">
                  <c:v>5.0829854293317709</c:v>
                </c:pt>
                <c:pt idx="3234">
                  <c:v>4.9297413662631175</c:v>
                </c:pt>
                <c:pt idx="3235">
                  <c:v>5.0532484177936565</c:v>
                </c:pt>
                <c:pt idx="3236">
                  <c:v>5.7779848882831342</c:v>
                </c:pt>
                <c:pt idx="3237">
                  <c:v>6.0068377119969725</c:v>
                </c:pt>
                <c:pt idx="3238">
                  <c:v>6.0641596835949745</c:v>
                </c:pt>
                <c:pt idx="3239">
                  <c:v>5.1459039910132836</c:v>
                </c:pt>
                <c:pt idx="3240">
                  <c:v>4.9827669096602278</c:v>
                </c:pt>
                <c:pt idx="3241">
                  <c:v>6.1521092848467651</c:v>
                </c:pt>
                <c:pt idx="3242">
                  <c:v>5.0887263905087581</c:v>
                </c:pt>
                <c:pt idx="3243">
                  <c:v>5.0421599666686578</c:v>
                </c:pt>
                <c:pt idx="3244">
                  <c:v>4.9890399087475963</c:v>
                </c:pt>
                <c:pt idx="3245">
                  <c:v>6.0057703575299115</c:v>
                </c:pt>
                <c:pt idx="3246">
                  <c:v>4.9941073000951581</c:v>
                </c:pt>
                <c:pt idx="3247">
                  <c:v>4.7704496102120615</c:v>
                </c:pt>
                <c:pt idx="3248">
                  <c:v>5.0601972580178947</c:v>
                </c:pt>
                <c:pt idx="3249">
                  <c:v>6.0678866311397393</c:v>
                </c:pt>
                <c:pt idx="3250">
                  <c:v>5.0569958636713439</c:v>
                </c:pt>
                <c:pt idx="3251">
                  <c:v>5.0174436806610281</c:v>
                </c:pt>
                <c:pt idx="3252">
                  <c:v>5.073853377331079</c:v>
                </c:pt>
                <c:pt idx="3253">
                  <c:v>5.0082690976194151</c:v>
                </c:pt>
                <c:pt idx="3254">
                  <c:v>6.112602344441421</c:v>
                </c:pt>
                <c:pt idx="3255">
                  <c:v>6.0721405943614863</c:v>
                </c:pt>
                <c:pt idx="3256">
                  <c:v>5.9220067888104317</c:v>
                </c:pt>
                <c:pt idx="3257">
                  <c:v>5.0133202927463305</c:v>
                </c:pt>
                <c:pt idx="3258">
                  <c:v>5.0928392497621058</c:v>
                </c:pt>
                <c:pt idx="3259">
                  <c:v>5.9706978924360161</c:v>
                </c:pt>
                <c:pt idx="3260">
                  <c:v>6.1598807359154097</c:v>
                </c:pt>
                <c:pt idx="3261">
                  <c:v>4.9362116746919673</c:v>
                </c:pt>
                <c:pt idx="3262">
                  <c:v>6.086926288083732</c:v>
                </c:pt>
                <c:pt idx="3263">
                  <c:v>7.0727462723487688</c:v>
                </c:pt>
                <c:pt idx="3264">
                  <c:v>5.0402124460231477</c:v>
                </c:pt>
                <c:pt idx="3265">
                  <c:v>5.0584426236875508</c:v>
                </c:pt>
                <c:pt idx="3266">
                  <c:v>5.9758360326710793</c:v>
                </c:pt>
                <c:pt idx="3267">
                  <c:v>4.9014605297018123</c:v>
                </c:pt>
                <c:pt idx="3268">
                  <c:v>4.9198877198744313</c:v>
                </c:pt>
                <c:pt idx="3269">
                  <c:v>6.2142250341082015</c:v>
                </c:pt>
                <c:pt idx="3270">
                  <c:v>7.016849462993723</c:v>
                </c:pt>
                <c:pt idx="3271">
                  <c:v>4.9612617276271012</c:v>
                </c:pt>
                <c:pt idx="3272">
                  <c:v>6.1270422395790334</c:v>
                </c:pt>
                <c:pt idx="3273">
                  <c:v>4.9202338754618316</c:v>
                </c:pt>
                <c:pt idx="3274">
                  <c:v>5.0770370077296914</c:v>
                </c:pt>
                <c:pt idx="3275">
                  <c:v>5.0647160505548836</c:v>
                </c:pt>
                <c:pt idx="3276">
                  <c:v>4.912959959877357</c:v>
                </c:pt>
                <c:pt idx="3277">
                  <c:v>5.9840344514663082</c:v>
                </c:pt>
                <c:pt idx="3278">
                  <c:v>4.9787954316430136</c:v>
                </c:pt>
                <c:pt idx="3279">
                  <c:v>5.0959065036353062</c:v>
                </c:pt>
                <c:pt idx="3280">
                  <c:v>4.9858332569565311</c:v>
                </c:pt>
                <c:pt idx="3281">
                  <c:v>6.1102397290716777</c:v>
                </c:pt>
                <c:pt idx="3282">
                  <c:v>5.0878427450970225</c:v>
                </c:pt>
                <c:pt idx="3283">
                  <c:v>5.935681689005829</c:v>
                </c:pt>
                <c:pt idx="3284">
                  <c:v>6.1062524220405772</c:v>
                </c:pt>
                <c:pt idx="3285">
                  <c:v>5.0680159415917982</c:v>
                </c:pt>
                <c:pt idx="3286">
                  <c:v>5.0457699154527624</c:v>
                </c:pt>
                <c:pt idx="3287">
                  <c:v>6.0062759243854664</c:v>
                </c:pt>
                <c:pt idx="3288">
                  <c:v>5.0595690670647322</c:v>
                </c:pt>
                <c:pt idx="3289">
                  <c:v>5.1584890435460391</c:v>
                </c:pt>
                <c:pt idx="3290">
                  <c:v>5.094462195108366</c:v>
                </c:pt>
                <c:pt idx="3291">
                  <c:v>4.8817052802211451</c:v>
                </c:pt>
                <c:pt idx="3292">
                  <c:v>5.0640200778038036</c:v>
                </c:pt>
                <c:pt idx="3293">
                  <c:v>5.9877007004569283</c:v>
                </c:pt>
                <c:pt idx="3294">
                  <c:v>5.1236922845063715</c:v>
                </c:pt>
                <c:pt idx="3295">
                  <c:v>5.0289938571772659</c:v>
                </c:pt>
                <c:pt idx="3296">
                  <c:v>5.900465557765763</c:v>
                </c:pt>
                <c:pt idx="3297">
                  <c:v>4.8899241404823321</c:v>
                </c:pt>
                <c:pt idx="3298">
                  <c:v>4.8787246439503171</c:v>
                </c:pt>
                <c:pt idx="3299">
                  <c:v>4.8360982759062772</c:v>
                </c:pt>
                <c:pt idx="3300">
                  <c:v>4.9109434449124416</c:v>
                </c:pt>
                <c:pt idx="3301">
                  <c:v>6.1067567242531515</c:v>
                </c:pt>
                <c:pt idx="3302">
                  <c:v>4.9768601226388842</c:v>
                </c:pt>
                <c:pt idx="3303">
                  <c:v>4.9843552779073068</c:v>
                </c:pt>
                <c:pt idx="3304">
                  <c:v>4.991044934248384</c:v>
                </c:pt>
                <c:pt idx="3305">
                  <c:v>4.9802013327852652</c:v>
                </c:pt>
                <c:pt idx="3306">
                  <c:v>6.241554493008187</c:v>
                </c:pt>
                <c:pt idx="3307">
                  <c:v>4.8403866462638545</c:v>
                </c:pt>
                <c:pt idx="3308">
                  <c:v>5.0196913361377735</c:v>
                </c:pt>
                <c:pt idx="3309">
                  <c:v>5.0277352027508444</c:v>
                </c:pt>
                <c:pt idx="3310">
                  <c:v>6.101227512457946</c:v>
                </c:pt>
                <c:pt idx="3311">
                  <c:v>6.1962998100959004</c:v>
                </c:pt>
                <c:pt idx="3312">
                  <c:v>6.0416299789721819</c:v>
                </c:pt>
                <c:pt idx="3313">
                  <c:v>5.0227679078365748</c:v>
                </c:pt>
                <c:pt idx="3314">
                  <c:v>5.0185456775918187</c:v>
                </c:pt>
                <c:pt idx="3315">
                  <c:v>7.1151087972039218</c:v>
                </c:pt>
                <c:pt idx="3316">
                  <c:v>5.1067569670710569</c:v>
                </c:pt>
                <c:pt idx="3317">
                  <c:v>5.1993390718766817</c:v>
                </c:pt>
                <c:pt idx="3318">
                  <c:v>6.0015579943093886</c:v>
                </c:pt>
                <c:pt idx="3319">
                  <c:v>4.8613566950834226</c:v>
                </c:pt>
                <c:pt idx="3320">
                  <c:v>5.9458458710683928</c:v>
                </c:pt>
                <c:pt idx="3321">
                  <c:v>4.9444231144620696</c:v>
                </c:pt>
                <c:pt idx="3322">
                  <c:v>5.9408779673245737</c:v>
                </c:pt>
                <c:pt idx="3323">
                  <c:v>5.0101000602853132</c:v>
                </c:pt>
                <c:pt idx="3324">
                  <c:v>5.0401460526684101</c:v>
                </c:pt>
                <c:pt idx="3325">
                  <c:v>4.9557478594427185</c:v>
                </c:pt>
                <c:pt idx="3326">
                  <c:v>6.0349152527579291</c:v>
                </c:pt>
                <c:pt idx="3327">
                  <c:v>5.9741148514725166</c:v>
                </c:pt>
                <c:pt idx="3328">
                  <c:v>4.8518220406522587</c:v>
                </c:pt>
                <c:pt idx="3329">
                  <c:v>6.0943009073697691</c:v>
                </c:pt>
                <c:pt idx="3330">
                  <c:v>5.9374525387135781</c:v>
                </c:pt>
                <c:pt idx="3331">
                  <c:v>4.948060602694448</c:v>
                </c:pt>
                <c:pt idx="3332">
                  <c:v>6.1676803479470683</c:v>
                </c:pt>
                <c:pt idx="3333">
                  <c:v>5.0485031259486703</c:v>
                </c:pt>
                <c:pt idx="3334">
                  <c:v>4.8796668357453603</c:v>
                </c:pt>
                <c:pt idx="3335">
                  <c:v>5.0667564626265786</c:v>
                </c:pt>
                <c:pt idx="3336">
                  <c:v>5.1124629690054659</c:v>
                </c:pt>
                <c:pt idx="3337">
                  <c:v>5.1433351762136637</c:v>
                </c:pt>
                <c:pt idx="3338">
                  <c:v>4.8356097413729868</c:v>
                </c:pt>
                <c:pt idx="3339">
                  <c:v>5.0120694520417253</c:v>
                </c:pt>
                <c:pt idx="3340">
                  <c:v>4.9474361362265027</c:v>
                </c:pt>
                <c:pt idx="3341">
                  <c:v>5.1425248176913376</c:v>
                </c:pt>
                <c:pt idx="3342">
                  <c:v>5.9502268082747198</c:v>
                </c:pt>
                <c:pt idx="3343">
                  <c:v>5.842853341376367</c:v>
                </c:pt>
                <c:pt idx="3344">
                  <c:v>5.8435387317662322</c:v>
                </c:pt>
                <c:pt idx="3345">
                  <c:v>5.0127538356277253</c:v>
                </c:pt>
                <c:pt idx="3346">
                  <c:v>6.0545655149289743</c:v>
                </c:pt>
                <c:pt idx="3347">
                  <c:v>5.9789698387180703</c:v>
                </c:pt>
                <c:pt idx="3348">
                  <c:v>4.9614720481947225</c:v>
                </c:pt>
                <c:pt idx="3349">
                  <c:v>5.9713580179423937</c:v>
                </c:pt>
                <c:pt idx="3350">
                  <c:v>4.9463542750295009</c:v>
                </c:pt>
                <c:pt idx="3351">
                  <c:v>4.9069349441470491</c:v>
                </c:pt>
                <c:pt idx="3352">
                  <c:v>6.0526601858308515</c:v>
                </c:pt>
                <c:pt idx="3353">
                  <c:v>3.0137917626950004</c:v>
                </c:pt>
                <c:pt idx="3354">
                  <c:v>5.1480449665583059</c:v>
                </c:pt>
                <c:pt idx="3355">
                  <c:v>6.0832633011922681</c:v>
                </c:pt>
                <c:pt idx="3356">
                  <c:v>4.9845152185535309</c:v>
                </c:pt>
                <c:pt idx="3357">
                  <c:v>4.9937903849868208</c:v>
                </c:pt>
                <c:pt idx="3358">
                  <c:v>5.0602246971104794</c:v>
                </c:pt>
                <c:pt idx="3359">
                  <c:v>5.9194226096994011</c:v>
                </c:pt>
                <c:pt idx="3360">
                  <c:v>4.9398980880532868</c:v>
                </c:pt>
                <c:pt idx="3361">
                  <c:v>5.0511356591061949</c:v>
                </c:pt>
                <c:pt idx="3362">
                  <c:v>5.0983999900777164</c:v>
                </c:pt>
                <c:pt idx="3363">
                  <c:v>5.8116227644942882</c:v>
                </c:pt>
                <c:pt idx="3364">
                  <c:v>5.2860288176197274</c:v>
                </c:pt>
                <c:pt idx="3365">
                  <c:v>5.0654527157151339</c:v>
                </c:pt>
                <c:pt idx="3366">
                  <c:v>5.1659574724623223</c:v>
                </c:pt>
                <c:pt idx="3367">
                  <c:v>5.0740723900742157</c:v>
                </c:pt>
                <c:pt idx="3368">
                  <c:v>4.9958377450485267</c:v>
                </c:pt>
                <c:pt idx="3369">
                  <c:v>5.155111351322442</c:v>
                </c:pt>
                <c:pt idx="3370">
                  <c:v>5.0685104055767889</c:v>
                </c:pt>
                <c:pt idx="3371">
                  <c:v>5.045436046729411</c:v>
                </c:pt>
                <c:pt idx="3372">
                  <c:v>4.9954526082115374</c:v>
                </c:pt>
                <c:pt idx="3373">
                  <c:v>4.9241413493928929</c:v>
                </c:pt>
                <c:pt idx="3374">
                  <c:v>5.7932252836849791</c:v>
                </c:pt>
                <c:pt idx="3375">
                  <c:v>5.8327110645984535</c:v>
                </c:pt>
                <c:pt idx="3376">
                  <c:v>5.0616054105357469</c:v>
                </c:pt>
                <c:pt idx="3377">
                  <c:v>5.9063029094624673</c:v>
                </c:pt>
                <c:pt idx="3378">
                  <c:v>5.9376153670588376</c:v>
                </c:pt>
                <c:pt idx="3379">
                  <c:v>4.8343594581334965</c:v>
                </c:pt>
                <c:pt idx="3380">
                  <c:v>5.0684054399985552</c:v>
                </c:pt>
                <c:pt idx="3381">
                  <c:v>5.1211909311264456</c:v>
                </c:pt>
                <c:pt idx="3382">
                  <c:v>5.055809452584203</c:v>
                </c:pt>
                <c:pt idx="3383">
                  <c:v>6.0580638670976468</c:v>
                </c:pt>
                <c:pt idx="3384">
                  <c:v>5.014265749108997</c:v>
                </c:pt>
                <c:pt idx="3385">
                  <c:v>5.1941679481513319</c:v>
                </c:pt>
                <c:pt idx="3386">
                  <c:v>4.9757067178495378</c:v>
                </c:pt>
                <c:pt idx="3387">
                  <c:v>4.9312731905444966</c:v>
                </c:pt>
                <c:pt idx="3388">
                  <c:v>5.7544124394277087</c:v>
                </c:pt>
                <c:pt idx="3389">
                  <c:v>5.0330062893472691</c:v>
                </c:pt>
                <c:pt idx="3390">
                  <c:v>4.9282103130241888</c:v>
                </c:pt>
                <c:pt idx="3391">
                  <c:v>6.0374293578587395</c:v>
                </c:pt>
                <c:pt idx="3392">
                  <c:v>4.9652635538936476</c:v>
                </c:pt>
                <c:pt idx="3393">
                  <c:v>6.0885197551787034</c:v>
                </c:pt>
                <c:pt idx="3394">
                  <c:v>5.0530629935761748</c:v>
                </c:pt>
                <c:pt idx="3395">
                  <c:v>5.0027739059334388</c:v>
                </c:pt>
                <c:pt idx="3396">
                  <c:v>4.917857636030881</c:v>
                </c:pt>
                <c:pt idx="3397">
                  <c:v>4.903517384218457</c:v>
                </c:pt>
                <c:pt idx="3398">
                  <c:v>5.0996423547302143</c:v>
                </c:pt>
                <c:pt idx="3399">
                  <c:v>4.9533512520606129</c:v>
                </c:pt>
                <c:pt idx="3400">
                  <c:v>4.9231202930271962</c:v>
                </c:pt>
                <c:pt idx="3401">
                  <c:v>5.0317039401757206</c:v>
                </c:pt>
                <c:pt idx="3402">
                  <c:v>5.0817555657441833</c:v>
                </c:pt>
                <c:pt idx="3403">
                  <c:v>5.0349317610308661</c:v>
                </c:pt>
                <c:pt idx="3404">
                  <c:v>5.0539861700181161</c:v>
                </c:pt>
                <c:pt idx="3405">
                  <c:v>5.0518084884491934</c:v>
                </c:pt>
                <c:pt idx="3406">
                  <c:v>6.1945155132076994</c:v>
                </c:pt>
                <c:pt idx="3407">
                  <c:v>5.9820520348554131</c:v>
                </c:pt>
                <c:pt idx="3408">
                  <c:v>5.9358418057719273</c:v>
                </c:pt>
                <c:pt idx="3409">
                  <c:v>5.9899057955854147</c:v>
                </c:pt>
                <c:pt idx="3410">
                  <c:v>5.1279632341902559</c:v>
                </c:pt>
                <c:pt idx="3411">
                  <c:v>5.0424394228215483</c:v>
                </c:pt>
                <c:pt idx="3412">
                  <c:v>4.9840780918756078</c:v>
                </c:pt>
                <c:pt idx="3413">
                  <c:v>4.8281353299414622</c:v>
                </c:pt>
                <c:pt idx="3414">
                  <c:v>5.176913800509281</c:v>
                </c:pt>
                <c:pt idx="3415">
                  <c:v>4.9239398142601658</c:v>
                </c:pt>
                <c:pt idx="3416">
                  <c:v>5.9071814801800686</c:v>
                </c:pt>
                <c:pt idx="3417">
                  <c:v>5.0237271025253945</c:v>
                </c:pt>
                <c:pt idx="3418">
                  <c:v>5.0009828100434017</c:v>
                </c:pt>
                <c:pt idx="3419">
                  <c:v>4.9105992894150239</c:v>
                </c:pt>
                <c:pt idx="3420">
                  <c:v>5.9740910814993713</c:v>
                </c:pt>
                <c:pt idx="3421">
                  <c:v>4.8590548652679004</c:v>
                </c:pt>
                <c:pt idx="3422">
                  <c:v>5.0804108620070245</c:v>
                </c:pt>
                <c:pt idx="3423">
                  <c:v>6.2299993989953695</c:v>
                </c:pt>
                <c:pt idx="3424">
                  <c:v>4.8729778334103839</c:v>
                </c:pt>
                <c:pt idx="3425">
                  <c:v>4.9580784582497381</c:v>
                </c:pt>
                <c:pt idx="3426">
                  <c:v>4.9621643657051706</c:v>
                </c:pt>
                <c:pt idx="3427">
                  <c:v>5.0915944160358331</c:v>
                </c:pt>
                <c:pt idx="3428">
                  <c:v>6.2516033571012528</c:v>
                </c:pt>
                <c:pt idx="3429">
                  <c:v>4.9947100773287403</c:v>
                </c:pt>
                <c:pt idx="3430">
                  <c:v>5.0097309857104078</c:v>
                </c:pt>
                <c:pt idx="3431">
                  <c:v>4.9578807513309746</c:v>
                </c:pt>
                <c:pt idx="3432">
                  <c:v>5.138256589211406</c:v>
                </c:pt>
                <c:pt idx="3433">
                  <c:v>4.9025726799813434</c:v>
                </c:pt>
                <c:pt idx="3434">
                  <c:v>5.9328544352118557</c:v>
                </c:pt>
                <c:pt idx="3435">
                  <c:v>4.8887012443904858</c:v>
                </c:pt>
                <c:pt idx="3436">
                  <c:v>4.9976343411434589</c:v>
                </c:pt>
                <c:pt idx="3437">
                  <c:v>5.2760713346855184</c:v>
                </c:pt>
                <c:pt idx="3438">
                  <c:v>4.9234458039225402</c:v>
                </c:pt>
                <c:pt idx="3439">
                  <c:v>7.1686470201596659</c:v>
                </c:pt>
                <c:pt idx="3440">
                  <c:v>6.0831107705601157</c:v>
                </c:pt>
                <c:pt idx="3441">
                  <c:v>5.9227537584304013</c:v>
                </c:pt>
                <c:pt idx="3442">
                  <c:v>5.0155654786880204</c:v>
                </c:pt>
                <c:pt idx="3443">
                  <c:v>5.9281468745672266</c:v>
                </c:pt>
                <c:pt idx="3444">
                  <c:v>5.2269153898867673</c:v>
                </c:pt>
                <c:pt idx="3445">
                  <c:v>5.9297947558416721</c:v>
                </c:pt>
                <c:pt idx="3446">
                  <c:v>5.9243593189215522</c:v>
                </c:pt>
                <c:pt idx="3447">
                  <c:v>5.9047255078885685</c:v>
                </c:pt>
                <c:pt idx="3448">
                  <c:v>5.0558989027199379</c:v>
                </c:pt>
                <c:pt idx="3449">
                  <c:v>6.8648405875368228</c:v>
                </c:pt>
                <c:pt idx="3450">
                  <c:v>5.9330083770643327</c:v>
                </c:pt>
                <c:pt idx="3451">
                  <c:v>4.9883565471356199</c:v>
                </c:pt>
                <c:pt idx="3452">
                  <c:v>5.108631254163476</c:v>
                </c:pt>
                <c:pt idx="3453">
                  <c:v>5.0779510228604714</c:v>
                </c:pt>
                <c:pt idx="3454">
                  <c:v>4.8386246633988428</c:v>
                </c:pt>
                <c:pt idx="3455">
                  <c:v>5.1367521039866322</c:v>
                </c:pt>
                <c:pt idx="3456">
                  <c:v>6.0631309507242941</c:v>
                </c:pt>
                <c:pt idx="3457">
                  <c:v>5.0365459018328416</c:v>
                </c:pt>
                <c:pt idx="3458">
                  <c:v>5.0942469231372964</c:v>
                </c:pt>
                <c:pt idx="3459">
                  <c:v>6.0876237233379191</c:v>
                </c:pt>
                <c:pt idx="3460">
                  <c:v>6.0056818556725675</c:v>
                </c:pt>
                <c:pt idx="3461">
                  <c:v>6.8106164465895178</c:v>
                </c:pt>
                <c:pt idx="3462">
                  <c:v>4.9726950373206344</c:v>
                </c:pt>
                <c:pt idx="3463">
                  <c:v>4.8503453817182969</c:v>
                </c:pt>
                <c:pt idx="3464">
                  <c:v>5.0334425957807785</c:v>
                </c:pt>
                <c:pt idx="3465">
                  <c:v>5.1356463410592212</c:v>
                </c:pt>
                <c:pt idx="3466">
                  <c:v>4.9806606804912397</c:v>
                </c:pt>
                <c:pt idx="3467">
                  <c:v>5.9983352760434254</c:v>
                </c:pt>
                <c:pt idx="3468">
                  <c:v>5.9554545409317585</c:v>
                </c:pt>
                <c:pt idx="3469">
                  <c:v>4.9515883279358262</c:v>
                </c:pt>
                <c:pt idx="3470">
                  <c:v>6.0266517748293005</c:v>
                </c:pt>
                <c:pt idx="3471">
                  <c:v>5.1432026920571632</c:v>
                </c:pt>
                <c:pt idx="3472">
                  <c:v>5.0234089411862914</c:v>
                </c:pt>
                <c:pt idx="3473">
                  <c:v>4.960120398252359</c:v>
                </c:pt>
                <c:pt idx="3474">
                  <c:v>5.9969781898937526</c:v>
                </c:pt>
                <c:pt idx="3475">
                  <c:v>5.0377466295747322</c:v>
                </c:pt>
                <c:pt idx="3476">
                  <c:v>5.0169540442927314</c:v>
                </c:pt>
                <c:pt idx="3477">
                  <c:v>5.9616383109727726</c:v>
                </c:pt>
                <c:pt idx="3478">
                  <c:v>5.0302126827943514</c:v>
                </c:pt>
                <c:pt idx="3479">
                  <c:v>5.0024585433633542</c:v>
                </c:pt>
                <c:pt idx="3480">
                  <c:v>5.8558136865376014</c:v>
                </c:pt>
                <c:pt idx="3481">
                  <c:v>4.8599625181549424</c:v>
                </c:pt>
                <c:pt idx="3482">
                  <c:v>6.0716489493550698</c:v>
                </c:pt>
                <c:pt idx="3483">
                  <c:v>4.8425593036805452</c:v>
                </c:pt>
                <c:pt idx="3484">
                  <c:v>4.864086550772778</c:v>
                </c:pt>
                <c:pt idx="3485">
                  <c:v>5.0647609381732197</c:v>
                </c:pt>
                <c:pt idx="3486">
                  <c:v>4.7665817579781713</c:v>
                </c:pt>
                <c:pt idx="3487">
                  <c:v>4.9423047289852313</c:v>
                </c:pt>
                <c:pt idx="3488">
                  <c:v>4.925738614142122</c:v>
                </c:pt>
                <c:pt idx="3489">
                  <c:v>4.9256436882898695</c:v>
                </c:pt>
                <c:pt idx="3490">
                  <c:v>4.9179212593625508</c:v>
                </c:pt>
                <c:pt idx="3491">
                  <c:v>5.971060535593022</c:v>
                </c:pt>
                <c:pt idx="3492">
                  <c:v>5.8595130059852689</c:v>
                </c:pt>
                <c:pt idx="3493">
                  <c:v>4.9746575817907761</c:v>
                </c:pt>
                <c:pt idx="3494">
                  <c:v>4.8901168011068314</c:v>
                </c:pt>
                <c:pt idx="3495">
                  <c:v>5.0984465866470208</c:v>
                </c:pt>
                <c:pt idx="3496">
                  <c:v>4.9075888062389934</c:v>
                </c:pt>
                <c:pt idx="3497">
                  <c:v>5.055413384032394</c:v>
                </c:pt>
                <c:pt idx="3498">
                  <c:v>7.1242229946166393</c:v>
                </c:pt>
                <c:pt idx="3499">
                  <c:v>5.1489087396608859</c:v>
                </c:pt>
                <c:pt idx="3500">
                  <c:v>6.2180138572777439</c:v>
                </c:pt>
                <c:pt idx="3501">
                  <c:v>6.0371125095543245</c:v>
                </c:pt>
                <c:pt idx="3502">
                  <c:v>5.0450630215899084</c:v>
                </c:pt>
                <c:pt idx="3503">
                  <c:v>5.019545859548237</c:v>
                </c:pt>
                <c:pt idx="3504">
                  <c:v>6.0035491429712504</c:v>
                </c:pt>
                <c:pt idx="3505">
                  <c:v>4.8546330212731696</c:v>
                </c:pt>
                <c:pt idx="3506">
                  <c:v>5.0151314095961004</c:v>
                </c:pt>
                <c:pt idx="3507">
                  <c:v>4.9682323265172394</c:v>
                </c:pt>
                <c:pt idx="3508">
                  <c:v>5.1643944222363656</c:v>
                </c:pt>
                <c:pt idx="3509">
                  <c:v>5.9116287300624393</c:v>
                </c:pt>
                <c:pt idx="3510">
                  <c:v>4.9608049512487495</c:v>
                </c:pt>
                <c:pt idx="3511">
                  <c:v>4.9515176439084181</c:v>
                </c:pt>
                <c:pt idx="3512">
                  <c:v>5.9864442196315242</c:v>
                </c:pt>
                <c:pt idx="3513">
                  <c:v>5.1827599494916408</c:v>
                </c:pt>
                <c:pt idx="3514">
                  <c:v>6.0391361597717674</c:v>
                </c:pt>
                <c:pt idx="3515">
                  <c:v>5.901004240047464</c:v>
                </c:pt>
                <c:pt idx="3516">
                  <c:v>4.9564809305846165</c:v>
                </c:pt>
                <c:pt idx="3517">
                  <c:v>6.081222053083347</c:v>
                </c:pt>
                <c:pt idx="3518">
                  <c:v>6.8910459644913065</c:v>
                </c:pt>
                <c:pt idx="3519">
                  <c:v>5.0579131727821993</c:v>
                </c:pt>
                <c:pt idx="3520">
                  <c:v>5.0509853566263896</c:v>
                </c:pt>
                <c:pt idx="3521">
                  <c:v>4.7481852301240011</c:v>
                </c:pt>
                <c:pt idx="3522">
                  <c:v>4.7995247886221364</c:v>
                </c:pt>
                <c:pt idx="3523">
                  <c:v>4.9869838363301477</c:v>
                </c:pt>
                <c:pt idx="3524">
                  <c:v>5.0589066433394114</c:v>
                </c:pt>
                <c:pt idx="3525">
                  <c:v>4.9759461924201407</c:v>
                </c:pt>
                <c:pt idx="3526">
                  <c:v>5.003108200122127</c:v>
                </c:pt>
                <c:pt idx="3527">
                  <c:v>5.0501744920259517</c:v>
                </c:pt>
                <c:pt idx="3528">
                  <c:v>5.0164368118242768</c:v>
                </c:pt>
                <c:pt idx="3529">
                  <c:v>5.0270221538786899</c:v>
                </c:pt>
                <c:pt idx="3530">
                  <c:v>4.9583070340556175</c:v>
                </c:pt>
                <c:pt idx="3531">
                  <c:v>6.0540341285947852</c:v>
                </c:pt>
                <c:pt idx="3532">
                  <c:v>4.9671977771007212</c:v>
                </c:pt>
                <c:pt idx="3533">
                  <c:v>5.0224983050243637</c:v>
                </c:pt>
                <c:pt idx="3534">
                  <c:v>7.0243721594059467</c:v>
                </c:pt>
                <c:pt idx="3535">
                  <c:v>5.0546283227948878</c:v>
                </c:pt>
                <c:pt idx="3536">
                  <c:v>5.0589149878622379</c:v>
                </c:pt>
                <c:pt idx="3537">
                  <c:v>5.0117334307966477</c:v>
                </c:pt>
                <c:pt idx="3538">
                  <c:v>5.0532342864011666</c:v>
                </c:pt>
                <c:pt idx="3539">
                  <c:v>5.8886200952965906</c:v>
                </c:pt>
                <c:pt idx="3540">
                  <c:v>4.9394067245292277</c:v>
                </c:pt>
                <c:pt idx="3541">
                  <c:v>5.1559449969212396</c:v>
                </c:pt>
                <c:pt idx="3542">
                  <c:v>4.9425987244457472</c:v>
                </c:pt>
                <c:pt idx="3543">
                  <c:v>5.1448086416063878</c:v>
                </c:pt>
                <c:pt idx="3544">
                  <c:v>5.9497860658882802</c:v>
                </c:pt>
                <c:pt idx="3545">
                  <c:v>5.0420024396537002</c:v>
                </c:pt>
                <c:pt idx="3546">
                  <c:v>5.0282312865948899</c:v>
                </c:pt>
                <c:pt idx="3547">
                  <c:v>5.0256214322045256</c:v>
                </c:pt>
                <c:pt idx="3548">
                  <c:v>5.0716007756689807</c:v>
                </c:pt>
                <c:pt idx="3549">
                  <c:v>4.8963887817075209</c:v>
                </c:pt>
                <c:pt idx="3550">
                  <c:v>4.9090543342436881</c:v>
                </c:pt>
                <c:pt idx="3551">
                  <c:v>6.1329260362647489</c:v>
                </c:pt>
                <c:pt idx="3552">
                  <c:v>5.9779194817100132</c:v>
                </c:pt>
                <c:pt idx="3553">
                  <c:v>5.9721011666909991</c:v>
                </c:pt>
                <c:pt idx="3554">
                  <c:v>5.799900483256649</c:v>
                </c:pt>
                <c:pt idx="3555">
                  <c:v>4.8832886407943956</c:v>
                </c:pt>
                <c:pt idx="3556">
                  <c:v>4.9967517220151842</c:v>
                </c:pt>
                <c:pt idx="3557">
                  <c:v>5.034808963911126</c:v>
                </c:pt>
                <c:pt idx="3558">
                  <c:v>5.0546988930767833</c:v>
                </c:pt>
                <c:pt idx="3559">
                  <c:v>5.9576229072672264</c:v>
                </c:pt>
                <c:pt idx="3560">
                  <c:v>5.1354155383270506</c:v>
                </c:pt>
                <c:pt idx="3561">
                  <c:v>5.1051403464226421</c:v>
                </c:pt>
                <c:pt idx="3562">
                  <c:v>5.9359972667845815</c:v>
                </c:pt>
                <c:pt idx="3563">
                  <c:v>4.9431014026503188</c:v>
                </c:pt>
                <c:pt idx="3564">
                  <c:v>6.1238265262053124</c:v>
                </c:pt>
                <c:pt idx="3565">
                  <c:v>4.9218883081741716</c:v>
                </c:pt>
                <c:pt idx="3566">
                  <c:v>5.2497884739473237</c:v>
                </c:pt>
                <c:pt idx="3567">
                  <c:v>5.055701743566595</c:v>
                </c:pt>
                <c:pt idx="3568">
                  <c:v>4.9731883584577643</c:v>
                </c:pt>
                <c:pt idx="3569">
                  <c:v>4.7943951503908977</c:v>
                </c:pt>
                <c:pt idx="3570">
                  <c:v>4.9358770425050524</c:v>
                </c:pt>
                <c:pt idx="3571">
                  <c:v>5.6878149825030535</c:v>
                </c:pt>
                <c:pt idx="3572">
                  <c:v>5.2042713800849905</c:v>
                </c:pt>
                <c:pt idx="3573">
                  <c:v>4.9622003420586598</c:v>
                </c:pt>
                <c:pt idx="3574">
                  <c:v>4.9461864426804087</c:v>
                </c:pt>
                <c:pt idx="3575">
                  <c:v>5.0079286404284602</c:v>
                </c:pt>
                <c:pt idx="3576">
                  <c:v>4.8321083567262875</c:v>
                </c:pt>
                <c:pt idx="3577">
                  <c:v>5.1299056384230859</c:v>
                </c:pt>
                <c:pt idx="3578">
                  <c:v>5.0193115856954185</c:v>
                </c:pt>
                <c:pt idx="3579">
                  <c:v>5.1561186026410484</c:v>
                </c:pt>
                <c:pt idx="3580">
                  <c:v>6.020069803723846</c:v>
                </c:pt>
                <c:pt idx="3581">
                  <c:v>5.0346002901140086</c:v>
                </c:pt>
                <c:pt idx="3582">
                  <c:v>5.0021112033127029</c:v>
                </c:pt>
                <c:pt idx="3583">
                  <c:v>4.8507879451899161</c:v>
                </c:pt>
                <c:pt idx="3584">
                  <c:v>5.0927040272866053</c:v>
                </c:pt>
                <c:pt idx="3585">
                  <c:v>5.0397105884043683</c:v>
                </c:pt>
                <c:pt idx="3586">
                  <c:v>5.1489730890664394</c:v>
                </c:pt>
                <c:pt idx="3587">
                  <c:v>4.8696544766310339</c:v>
                </c:pt>
                <c:pt idx="3588">
                  <c:v>4.9176581152882965</c:v>
                </c:pt>
                <c:pt idx="3589">
                  <c:v>5.1584469149073229</c:v>
                </c:pt>
                <c:pt idx="3590">
                  <c:v>5.0311717012464836</c:v>
                </c:pt>
                <c:pt idx="3591">
                  <c:v>4.9612113428969744</c:v>
                </c:pt>
                <c:pt idx="3592">
                  <c:v>4.9299631899100511</c:v>
                </c:pt>
                <c:pt idx="3593">
                  <c:v>5.9745834131266786</c:v>
                </c:pt>
                <c:pt idx="3594">
                  <c:v>4.9893831941452653</c:v>
                </c:pt>
                <c:pt idx="3595">
                  <c:v>5.0914508246616155</c:v>
                </c:pt>
                <c:pt idx="3596">
                  <c:v>4.994328288328088</c:v>
                </c:pt>
                <c:pt idx="3597">
                  <c:v>5.0400154650223925</c:v>
                </c:pt>
                <c:pt idx="3598">
                  <c:v>4.8393521460457469</c:v>
                </c:pt>
                <c:pt idx="3599">
                  <c:v>4.8902579775715891</c:v>
                </c:pt>
                <c:pt idx="3600">
                  <c:v>4.9960064820158276</c:v>
                </c:pt>
                <c:pt idx="3601">
                  <c:v>5.0206952657313781</c:v>
                </c:pt>
                <c:pt idx="3602">
                  <c:v>4.9699504546416122</c:v>
                </c:pt>
                <c:pt idx="3603">
                  <c:v>5.9196407882042372</c:v>
                </c:pt>
                <c:pt idx="3604">
                  <c:v>6.109687114460014</c:v>
                </c:pt>
                <c:pt idx="3605">
                  <c:v>6.0942469105752055</c:v>
                </c:pt>
                <c:pt idx="3606">
                  <c:v>4.8933131502032579</c:v>
                </c:pt>
                <c:pt idx="3607">
                  <c:v>5.9876962526381892</c:v>
                </c:pt>
                <c:pt idx="3608">
                  <c:v>4.9952339480811263</c:v>
                </c:pt>
                <c:pt idx="3609">
                  <c:v>5.0396435591599005</c:v>
                </c:pt>
                <c:pt idx="3610">
                  <c:v>4.9007866460867548</c:v>
                </c:pt>
                <c:pt idx="3611">
                  <c:v>4.9199583861233975</c:v>
                </c:pt>
                <c:pt idx="3612">
                  <c:v>5.7899820159414226</c:v>
                </c:pt>
                <c:pt idx="3613">
                  <c:v>4.9044137293143333</c:v>
                </c:pt>
                <c:pt idx="3614">
                  <c:v>5.0756274097673222</c:v>
                </c:pt>
                <c:pt idx="3615">
                  <c:v>4.8941088844443081</c:v>
                </c:pt>
                <c:pt idx="3616">
                  <c:v>5.0917102054522969</c:v>
                </c:pt>
                <c:pt idx="3617">
                  <c:v>5.0350493988730687</c:v>
                </c:pt>
                <c:pt idx="3618">
                  <c:v>5.8919327135314603</c:v>
                </c:pt>
                <c:pt idx="3619">
                  <c:v>5.0628316684529588</c:v>
                </c:pt>
                <c:pt idx="3620">
                  <c:v>4.9819069581147479</c:v>
                </c:pt>
                <c:pt idx="3621">
                  <c:v>4.9831812550347845</c:v>
                </c:pt>
                <c:pt idx="3622">
                  <c:v>5.1853958871015546</c:v>
                </c:pt>
                <c:pt idx="3623">
                  <c:v>6.1330951310626407</c:v>
                </c:pt>
                <c:pt idx="3624">
                  <c:v>5.1453646045755175</c:v>
                </c:pt>
                <c:pt idx="3625">
                  <c:v>5.1748869884940305</c:v>
                </c:pt>
                <c:pt idx="3626">
                  <c:v>4.9446531820799402</c:v>
                </c:pt>
                <c:pt idx="3627">
                  <c:v>5.1715788617507652</c:v>
                </c:pt>
                <c:pt idx="3628">
                  <c:v>5.9348137692323801</c:v>
                </c:pt>
                <c:pt idx="3629">
                  <c:v>4.7982050172666337</c:v>
                </c:pt>
                <c:pt idx="3630">
                  <c:v>5.0751341416474096</c:v>
                </c:pt>
                <c:pt idx="3631">
                  <c:v>4.9089586670246472</c:v>
                </c:pt>
                <c:pt idx="3632">
                  <c:v>6.0075918619050457</c:v>
                </c:pt>
                <c:pt idx="3633">
                  <c:v>4.8934301457013003</c:v>
                </c:pt>
                <c:pt idx="3634">
                  <c:v>4.9837502463669416</c:v>
                </c:pt>
                <c:pt idx="3635">
                  <c:v>5.1075042519283631</c:v>
                </c:pt>
                <c:pt idx="3636">
                  <c:v>5.0570412066990311</c:v>
                </c:pt>
                <c:pt idx="3637">
                  <c:v>5.0231693032336864</c:v>
                </c:pt>
                <c:pt idx="3638">
                  <c:v>5.0304101708411313</c:v>
                </c:pt>
                <c:pt idx="3639">
                  <c:v>6.0163809382345965</c:v>
                </c:pt>
                <c:pt idx="3640">
                  <c:v>5.9975190296377452</c:v>
                </c:pt>
                <c:pt idx="3641">
                  <c:v>5.9984211958141405</c:v>
                </c:pt>
                <c:pt idx="3642">
                  <c:v>5.0099229154346938</c:v>
                </c:pt>
                <c:pt idx="3643">
                  <c:v>5.0356436716805328</c:v>
                </c:pt>
                <c:pt idx="3644">
                  <c:v>5.9260757818274739</c:v>
                </c:pt>
                <c:pt idx="3645">
                  <c:v>5.1337939162131683</c:v>
                </c:pt>
                <c:pt idx="3646">
                  <c:v>5.0622029306302307</c:v>
                </c:pt>
                <c:pt idx="3647">
                  <c:v>4.9199443665624898</c:v>
                </c:pt>
                <c:pt idx="3648">
                  <c:v>5.0626330610024315</c:v>
                </c:pt>
                <c:pt idx="3649">
                  <c:v>4.9804879010867937</c:v>
                </c:pt>
                <c:pt idx="3650">
                  <c:v>5.9129421027085893</c:v>
                </c:pt>
                <c:pt idx="3651">
                  <c:v>4.8701865841654355</c:v>
                </c:pt>
                <c:pt idx="3652">
                  <c:v>6.1490032472601293</c:v>
                </c:pt>
                <c:pt idx="3653">
                  <c:v>5.0040860490836154</c:v>
                </c:pt>
                <c:pt idx="3654">
                  <c:v>5.1755531123864902</c:v>
                </c:pt>
                <c:pt idx="3655">
                  <c:v>5.8942061998147013</c:v>
                </c:pt>
                <c:pt idx="3656">
                  <c:v>5.0619072017618922</c:v>
                </c:pt>
                <c:pt idx="3657">
                  <c:v>6.0565720605471984</c:v>
                </c:pt>
                <c:pt idx="3658">
                  <c:v>4.9914688694131444</c:v>
                </c:pt>
                <c:pt idx="3659">
                  <c:v>5.0206154279002142</c:v>
                </c:pt>
                <c:pt idx="3660">
                  <c:v>4.9528284790360999</c:v>
                </c:pt>
                <c:pt idx="3661">
                  <c:v>5.1600848247327553</c:v>
                </c:pt>
                <c:pt idx="3662">
                  <c:v>5.9272316016477724</c:v>
                </c:pt>
                <c:pt idx="3663">
                  <c:v>6.0131488798304682</c:v>
                </c:pt>
                <c:pt idx="3664">
                  <c:v>5.1070239839642415</c:v>
                </c:pt>
                <c:pt idx="3665">
                  <c:v>4.9742927096415555</c:v>
                </c:pt>
                <c:pt idx="3666">
                  <c:v>4.9089206043298299</c:v>
                </c:pt>
                <c:pt idx="3667">
                  <c:v>6.0513814759654405</c:v>
                </c:pt>
                <c:pt idx="3668">
                  <c:v>4.8925689849000076</c:v>
                </c:pt>
                <c:pt idx="3669">
                  <c:v>5.054836681886572</c:v>
                </c:pt>
                <c:pt idx="3670">
                  <c:v>5.1080028235952692</c:v>
                </c:pt>
                <c:pt idx="3671">
                  <c:v>5.0939475333253244</c:v>
                </c:pt>
                <c:pt idx="3672">
                  <c:v>5.1073846483190106</c:v>
                </c:pt>
                <c:pt idx="3673">
                  <c:v>4.9189346641492353</c:v>
                </c:pt>
                <c:pt idx="3674">
                  <c:v>5.0751828125281495</c:v>
                </c:pt>
                <c:pt idx="3675">
                  <c:v>5.9785521239284742</c:v>
                </c:pt>
                <c:pt idx="3676">
                  <c:v>4.9589209968814991</c:v>
                </c:pt>
                <c:pt idx="3677">
                  <c:v>5.0548996607683359</c:v>
                </c:pt>
                <c:pt idx="3678">
                  <c:v>5.9703789433342633</c:v>
                </c:pt>
                <c:pt idx="3679">
                  <c:v>6.1016998904915623</c:v>
                </c:pt>
                <c:pt idx="3680">
                  <c:v>4.9105623530716693</c:v>
                </c:pt>
                <c:pt idx="3681">
                  <c:v>5.9222573848132729</c:v>
                </c:pt>
                <c:pt idx="3682">
                  <c:v>5.9477192047162664</c:v>
                </c:pt>
                <c:pt idx="3683">
                  <c:v>6.1295114875804675</c:v>
                </c:pt>
                <c:pt idx="3684">
                  <c:v>6.0703917730643937</c:v>
                </c:pt>
                <c:pt idx="3685">
                  <c:v>4.9743300871469129</c:v>
                </c:pt>
                <c:pt idx="3686">
                  <c:v>6.0371619023966758</c:v>
                </c:pt>
                <c:pt idx="3687">
                  <c:v>6.0265845471883797</c:v>
                </c:pt>
                <c:pt idx="3688">
                  <c:v>6.9495440425538968</c:v>
                </c:pt>
                <c:pt idx="3689">
                  <c:v>5.0860638229653183</c:v>
                </c:pt>
                <c:pt idx="3690">
                  <c:v>4.95310703035637</c:v>
                </c:pt>
                <c:pt idx="3691">
                  <c:v>5.9842830741770934</c:v>
                </c:pt>
                <c:pt idx="3692">
                  <c:v>6.8930192613259997</c:v>
                </c:pt>
                <c:pt idx="3693">
                  <c:v>4.9937220466490988</c:v>
                </c:pt>
                <c:pt idx="3694">
                  <c:v>4.8863127129533082</c:v>
                </c:pt>
                <c:pt idx="3695">
                  <c:v>4.8365637979484344</c:v>
                </c:pt>
                <c:pt idx="3696">
                  <c:v>5.1246255001976628</c:v>
                </c:pt>
                <c:pt idx="3697">
                  <c:v>4.9222153015795858</c:v>
                </c:pt>
                <c:pt idx="3698">
                  <c:v>4.9351757422499674</c:v>
                </c:pt>
                <c:pt idx="3699">
                  <c:v>5.1736673956825285</c:v>
                </c:pt>
                <c:pt idx="3700">
                  <c:v>4.8684345607464881</c:v>
                </c:pt>
                <c:pt idx="3701">
                  <c:v>4.8726783464715249</c:v>
                </c:pt>
                <c:pt idx="3702">
                  <c:v>6.0638124808339189</c:v>
                </c:pt>
                <c:pt idx="3703">
                  <c:v>6.0945862283443395</c:v>
                </c:pt>
                <c:pt idx="3704">
                  <c:v>7.0063075547995624</c:v>
                </c:pt>
                <c:pt idx="3705">
                  <c:v>6.1091316121936892</c:v>
                </c:pt>
                <c:pt idx="3706">
                  <c:v>6.0092524596069934</c:v>
                </c:pt>
                <c:pt idx="3707">
                  <c:v>5.0046875836449463</c:v>
                </c:pt>
                <c:pt idx="3708">
                  <c:v>5.0243127905909368</c:v>
                </c:pt>
                <c:pt idx="3709">
                  <c:v>5.8882482795299982</c:v>
                </c:pt>
                <c:pt idx="3710">
                  <c:v>4.8741213260132197</c:v>
                </c:pt>
                <c:pt idx="3711">
                  <c:v>5.0611074866792132</c:v>
                </c:pt>
                <c:pt idx="3712">
                  <c:v>5.1874826732858406</c:v>
                </c:pt>
                <c:pt idx="3713">
                  <c:v>6.2075434925156312</c:v>
                </c:pt>
                <c:pt idx="3714">
                  <c:v>5.9977953046786645</c:v>
                </c:pt>
                <c:pt idx="3715">
                  <c:v>5.9252131617741997</c:v>
                </c:pt>
                <c:pt idx="3716">
                  <c:v>5.9303549935326538</c:v>
                </c:pt>
                <c:pt idx="3717">
                  <c:v>6.0172842176797028</c:v>
                </c:pt>
                <c:pt idx="3718">
                  <c:v>4.9709357487304677</c:v>
                </c:pt>
                <c:pt idx="3719">
                  <c:v>5.0624487380197838</c:v>
                </c:pt>
                <c:pt idx="3720">
                  <c:v>5.8449861717630833</c:v>
                </c:pt>
                <c:pt idx="3721">
                  <c:v>4.9193802511630853</c:v>
                </c:pt>
                <c:pt idx="3722">
                  <c:v>4.9399914430780258</c:v>
                </c:pt>
                <c:pt idx="3723">
                  <c:v>4.947883894804078</c:v>
                </c:pt>
                <c:pt idx="3724">
                  <c:v>5.1437212985500356</c:v>
                </c:pt>
                <c:pt idx="3725">
                  <c:v>5.1529023559200242</c:v>
                </c:pt>
                <c:pt idx="3726">
                  <c:v>6.0196152503180507</c:v>
                </c:pt>
                <c:pt idx="3727">
                  <c:v>5.0276996725487031</c:v>
                </c:pt>
                <c:pt idx="3728">
                  <c:v>4.8835658401284592</c:v>
                </c:pt>
                <c:pt idx="3729">
                  <c:v>6.0476216094302462</c:v>
                </c:pt>
                <c:pt idx="3730">
                  <c:v>5.8403158742761212</c:v>
                </c:pt>
                <c:pt idx="3731">
                  <c:v>5.2191237704543987</c:v>
                </c:pt>
                <c:pt idx="3732">
                  <c:v>5.1533357984584445</c:v>
                </c:pt>
                <c:pt idx="3733">
                  <c:v>4.9032043233710407</c:v>
                </c:pt>
                <c:pt idx="3734">
                  <c:v>5.0867583590299903</c:v>
                </c:pt>
                <c:pt idx="3735">
                  <c:v>6.1235226574483361</c:v>
                </c:pt>
                <c:pt idx="3736">
                  <c:v>5.0658359137203863</c:v>
                </c:pt>
                <c:pt idx="3737">
                  <c:v>6.0326755064905742</c:v>
                </c:pt>
                <c:pt idx="3738">
                  <c:v>4.9078775462414628</c:v>
                </c:pt>
                <c:pt idx="3739">
                  <c:v>5.0787344525900071</c:v>
                </c:pt>
                <c:pt idx="3740">
                  <c:v>4.9191309026073009</c:v>
                </c:pt>
                <c:pt idx="3741">
                  <c:v>5.9648098734585693</c:v>
                </c:pt>
                <c:pt idx="3742">
                  <c:v>5.0029906361592165</c:v>
                </c:pt>
                <c:pt idx="3743">
                  <c:v>4.9982125410221752</c:v>
                </c:pt>
                <c:pt idx="3744">
                  <c:v>5.0414706455659113</c:v>
                </c:pt>
                <c:pt idx="3745">
                  <c:v>4.9545346356216946</c:v>
                </c:pt>
                <c:pt idx="3746">
                  <c:v>5.1665729740001645</c:v>
                </c:pt>
                <c:pt idx="3747">
                  <c:v>6.2317246845692749</c:v>
                </c:pt>
                <c:pt idx="3748">
                  <c:v>4.883374972482545</c:v>
                </c:pt>
                <c:pt idx="3749">
                  <c:v>4.932252775498406</c:v>
                </c:pt>
                <c:pt idx="3750">
                  <c:v>4.9897227155000845</c:v>
                </c:pt>
                <c:pt idx="3751">
                  <c:v>5.9779805134004782</c:v>
                </c:pt>
                <c:pt idx="3752">
                  <c:v>4.8646498650782792</c:v>
                </c:pt>
                <c:pt idx="3753">
                  <c:v>5.9615522555765681</c:v>
                </c:pt>
                <c:pt idx="3754">
                  <c:v>6.1029479759428336</c:v>
                </c:pt>
                <c:pt idx="3755">
                  <c:v>5.0946704235295881</c:v>
                </c:pt>
                <c:pt idx="3756">
                  <c:v>5.9525920674458304</c:v>
                </c:pt>
                <c:pt idx="3757">
                  <c:v>4.9632618107782527</c:v>
                </c:pt>
                <c:pt idx="3758">
                  <c:v>6.933680276826192</c:v>
                </c:pt>
                <c:pt idx="3759">
                  <c:v>6.0333553343201416</c:v>
                </c:pt>
                <c:pt idx="3760">
                  <c:v>5.0131262581381097</c:v>
                </c:pt>
                <c:pt idx="3761">
                  <c:v>5.9628191184004695</c:v>
                </c:pt>
                <c:pt idx="3762">
                  <c:v>6.126460808681232</c:v>
                </c:pt>
                <c:pt idx="3763">
                  <c:v>6.0517370698775625</c:v>
                </c:pt>
                <c:pt idx="3764">
                  <c:v>5.0364437744554467</c:v>
                </c:pt>
                <c:pt idx="3765">
                  <c:v>6.0395059575574974</c:v>
                </c:pt>
                <c:pt idx="3766">
                  <c:v>5.0404698908249115</c:v>
                </c:pt>
                <c:pt idx="3767">
                  <c:v>4.9140184154826105</c:v>
                </c:pt>
                <c:pt idx="3768">
                  <c:v>6.0321920637959661</c:v>
                </c:pt>
                <c:pt idx="3769">
                  <c:v>6.1436562954473288</c:v>
                </c:pt>
                <c:pt idx="3770">
                  <c:v>5.0705074356910007</c:v>
                </c:pt>
                <c:pt idx="3771">
                  <c:v>5.9396379648880604</c:v>
                </c:pt>
                <c:pt idx="3772">
                  <c:v>4.9444867690980843</c:v>
                </c:pt>
                <c:pt idx="3773">
                  <c:v>6.0276603890067415</c:v>
                </c:pt>
                <c:pt idx="3774">
                  <c:v>4.9490293391915312</c:v>
                </c:pt>
                <c:pt idx="3775">
                  <c:v>5.8938267548433174</c:v>
                </c:pt>
                <c:pt idx="3776">
                  <c:v>5.0735618551604142</c:v>
                </c:pt>
                <c:pt idx="3777">
                  <c:v>5.1121872367380172</c:v>
                </c:pt>
                <c:pt idx="3778">
                  <c:v>5.825614669074092</c:v>
                </c:pt>
                <c:pt idx="3779">
                  <c:v>5.2318318386078513</c:v>
                </c:pt>
                <c:pt idx="3780">
                  <c:v>4.8567728759028288</c:v>
                </c:pt>
                <c:pt idx="3781">
                  <c:v>5.9580883839005594</c:v>
                </c:pt>
                <c:pt idx="3782">
                  <c:v>5.0354203340699328</c:v>
                </c:pt>
                <c:pt idx="3783">
                  <c:v>6.0006764553796827</c:v>
                </c:pt>
                <c:pt idx="3784">
                  <c:v>4.8678725708153783</c:v>
                </c:pt>
                <c:pt idx="3785">
                  <c:v>4.8144902494156199</c:v>
                </c:pt>
                <c:pt idx="3786">
                  <c:v>6.0244221174428265</c:v>
                </c:pt>
                <c:pt idx="3787">
                  <c:v>6.1112737257240983</c:v>
                </c:pt>
                <c:pt idx="3788">
                  <c:v>4.8253354378161282</c:v>
                </c:pt>
                <c:pt idx="3789">
                  <c:v>5.0300389167446626</c:v>
                </c:pt>
                <c:pt idx="3790">
                  <c:v>5.9575739499038258</c:v>
                </c:pt>
                <c:pt idx="3791">
                  <c:v>6.1151145142275531</c:v>
                </c:pt>
                <c:pt idx="3792">
                  <c:v>6.1513846030478172</c:v>
                </c:pt>
                <c:pt idx="3793">
                  <c:v>4.9938151490601097</c:v>
                </c:pt>
                <c:pt idx="3794">
                  <c:v>4.8164556280098587</c:v>
                </c:pt>
                <c:pt idx="3795">
                  <c:v>4.9367284607157442</c:v>
                </c:pt>
                <c:pt idx="3796">
                  <c:v>5.1115144916093129</c:v>
                </c:pt>
                <c:pt idx="3797">
                  <c:v>5.7473592104673941</c:v>
                </c:pt>
                <c:pt idx="3798">
                  <c:v>5.1730926983644911</c:v>
                </c:pt>
                <c:pt idx="3799">
                  <c:v>4.8830818053913649</c:v>
                </c:pt>
                <c:pt idx="3800">
                  <c:v>6.2423828482970887</c:v>
                </c:pt>
                <c:pt idx="3801">
                  <c:v>4.9639218474209237</c:v>
                </c:pt>
                <c:pt idx="3802">
                  <c:v>5.8145799562762299</c:v>
                </c:pt>
                <c:pt idx="3803">
                  <c:v>5.9404468051231438</c:v>
                </c:pt>
                <c:pt idx="3804">
                  <c:v>5.1018952972448988</c:v>
                </c:pt>
                <c:pt idx="3805">
                  <c:v>4.7852921395073071</c:v>
                </c:pt>
                <c:pt idx="3806">
                  <c:v>5.9338012208514295</c:v>
                </c:pt>
                <c:pt idx="3807">
                  <c:v>5.0484906113328494</c:v>
                </c:pt>
                <c:pt idx="3808">
                  <c:v>4.9262500389111494</c:v>
                </c:pt>
                <c:pt idx="3809">
                  <c:v>4.9627833997181821</c:v>
                </c:pt>
                <c:pt idx="3810">
                  <c:v>4.9638952727532741</c:v>
                </c:pt>
                <c:pt idx="3811">
                  <c:v>5.0041020448045783</c:v>
                </c:pt>
                <c:pt idx="3812">
                  <c:v>5.1186917365778708</c:v>
                </c:pt>
                <c:pt idx="3813">
                  <c:v>5.142570660938139</c:v>
                </c:pt>
                <c:pt idx="3814">
                  <c:v>5.0884637227419933</c:v>
                </c:pt>
                <c:pt idx="3815">
                  <c:v>5.0319356138252713</c:v>
                </c:pt>
                <c:pt idx="3816">
                  <c:v>7.0694194412339506</c:v>
                </c:pt>
                <c:pt idx="3817">
                  <c:v>5.1539176748106428</c:v>
                </c:pt>
                <c:pt idx="3818">
                  <c:v>4.9970786080145952</c:v>
                </c:pt>
                <c:pt idx="3819">
                  <c:v>4.9861193990231438</c:v>
                </c:pt>
                <c:pt idx="3820">
                  <c:v>6.2013286390872988</c:v>
                </c:pt>
                <c:pt idx="3821">
                  <c:v>6.0084323139771252</c:v>
                </c:pt>
                <c:pt idx="3822">
                  <c:v>5.0746833543808778</c:v>
                </c:pt>
                <c:pt idx="3823">
                  <c:v>4.8556043562332096</c:v>
                </c:pt>
                <c:pt idx="3824">
                  <c:v>4.899735758616548</c:v>
                </c:pt>
                <c:pt idx="3825">
                  <c:v>6.0149075778485148</c:v>
                </c:pt>
                <c:pt idx="3826">
                  <c:v>5.8336868372436772</c:v>
                </c:pt>
                <c:pt idx="3827">
                  <c:v>4.9983600244469963</c:v>
                </c:pt>
                <c:pt idx="3828">
                  <c:v>6.0819463619223004</c:v>
                </c:pt>
                <c:pt idx="3829">
                  <c:v>4.9775051374231634</c:v>
                </c:pt>
                <c:pt idx="3830">
                  <c:v>4.940018857945593</c:v>
                </c:pt>
                <c:pt idx="3831">
                  <c:v>6.0485926328236275</c:v>
                </c:pt>
                <c:pt idx="3832">
                  <c:v>6.0293022442270097</c:v>
                </c:pt>
                <c:pt idx="3833">
                  <c:v>4.9187660736978556</c:v>
                </c:pt>
                <c:pt idx="3834">
                  <c:v>5.9605261776785738</c:v>
                </c:pt>
                <c:pt idx="3835">
                  <c:v>5.0544937301616946</c:v>
                </c:pt>
                <c:pt idx="3836">
                  <c:v>4.955057426028497</c:v>
                </c:pt>
                <c:pt idx="3837">
                  <c:v>4.9498581425158283</c:v>
                </c:pt>
                <c:pt idx="3838">
                  <c:v>6.0218880938455808</c:v>
                </c:pt>
                <c:pt idx="3839">
                  <c:v>5.0623893059286775</c:v>
                </c:pt>
                <c:pt idx="3840">
                  <c:v>6.0713572015117583</c:v>
                </c:pt>
                <c:pt idx="3841">
                  <c:v>5.0099351654213766</c:v>
                </c:pt>
                <c:pt idx="3842">
                  <c:v>6.9035909676492695</c:v>
                </c:pt>
                <c:pt idx="3843">
                  <c:v>5.0186737263141881</c:v>
                </c:pt>
                <c:pt idx="3844">
                  <c:v>6.8923909513706318</c:v>
                </c:pt>
                <c:pt idx="3845">
                  <c:v>6.0211021264138971</c:v>
                </c:pt>
                <c:pt idx="3846">
                  <c:v>4.9875989165341936</c:v>
                </c:pt>
                <c:pt idx="3847">
                  <c:v>5.0463071759874172</c:v>
                </c:pt>
                <c:pt idx="3848">
                  <c:v>5.0402406742591328</c:v>
                </c:pt>
                <c:pt idx="3849">
                  <c:v>5.1181200575725043</c:v>
                </c:pt>
                <c:pt idx="3850">
                  <c:v>6.1265884778960755</c:v>
                </c:pt>
                <c:pt idx="3851">
                  <c:v>4.9880887413682506</c:v>
                </c:pt>
                <c:pt idx="3852">
                  <c:v>4.9893615954586954</c:v>
                </c:pt>
                <c:pt idx="3853">
                  <c:v>5.1434890307685937</c:v>
                </c:pt>
                <c:pt idx="3854">
                  <c:v>5.0083705967005114</c:v>
                </c:pt>
                <c:pt idx="3855">
                  <c:v>4.9417213759824783</c:v>
                </c:pt>
                <c:pt idx="3856">
                  <c:v>6.1328176802534831</c:v>
                </c:pt>
                <c:pt idx="3857">
                  <c:v>5.9635343822755189</c:v>
                </c:pt>
                <c:pt idx="3858">
                  <c:v>4.6973758673558432</c:v>
                </c:pt>
                <c:pt idx="3859">
                  <c:v>4.768116013846381</c:v>
                </c:pt>
                <c:pt idx="3860">
                  <c:v>5.9534695505908317</c:v>
                </c:pt>
                <c:pt idx="3861">
                  <c:v>6.0767925658620694</c:v>
                </c:pt>
                <c:pt idx="3862">
                  <c:v>5.076808740012023</c:v>
                </c:pt>
                <c:pt idx="3863">
                  <c:v>4.9629331751657135</c:v>
                </c:pt>
                <c:pt idx="3864">
                  <c:v>4.9843911654639887</c:v>
                </c:pt>
                <c:pt idx="3865">
                  <c:v>4.9021198746322314</c:v>
                </c:pt>
                <c:pt idx="3866">
                  <c:v>5.0386105455289547</c:v>
                </c:pt>
                <c:pt idx="3867">
                  <c:v>5.0816998729115994</c:v>
                </c:pt>
                <c:pt idx="3868">
                  <c:v>4.8404672114446052</c:v>
                </c:pt>
                <c:pt idx="3869">
                  <c:v>5.0418312700645114</c:v>
                </c:pt>
                <c:pt idx="3870">
                  <c:v>5.0749750191180327</c:v>
                </c:pt>
                <c:pt idx="3871">
                  <c:v>5.0936099857040631</c:v>
                </c:pt>
                <c:pt idx="3872">
                  <c:v>5.1576053237886628</c:v>
                </c:pt>
                <c:pt idx="3873">
                  <c:v>5.0049930889379395</c:v>
                </c:pt>
                <c:pt idx="3874">
                  <c:v>4.9205590634286969</c:v>
                </c:pt>
                <c:pt idx="3875">
                  <c:v>5.022311354407198</c:v>
                </c:pt>
                <c:pt idx="3876">
                  <c:v>5.1430413524672351</c:v>
                </c:pt>
                <c:pt idx="3877">
                  <c:v>6.0028482242710091</c:v>
                </c:pt>
                <c:pt idx="3878">
                  <c:v>5.0642095437986736</c:v>
                </c:pt>
                <c:pt idx="3879">
                  <c:v>4.9035343340970989</c:v>
                </c:pt>
                <c:pt idx="3880">
                  <c:v>6.0500594336943259</c:v>
                </c:pt>
                <c:pt idx="3881">
                  <c:v>5.1298403978226625</c:v>
                </c:pt>
                <c:pt idx="3882">
                  <c:v>4.9588723917466409</c:v>
                </c:pt>
                <c:pt idx="3883">
                  <c:v>4.8887896113671827</c:v>
                </c:pt>
                <c:pt idx="3884">
                  <c:v>4.9565792975421008</c:v>
                </c:pt>
                <c:pt idx="3885">
                  <c:v>6.0164816580145217</c:v>
                </c:pt>
                <c:pt idx="3886">
                  <c:v>4.9289419147774538</c:v>
                </c:pt>
                <c:pt idx="3887">
                  <c:v>4.8873414246923419</c:v>
                </c:pt>
                <c:pt idx="3888">
                  <c:v>5.0168609940242028</c:v>
                </c:pt>
                <c:pt idx="3889">
                  <c:v>6.0124215578027655</c:v>
                </c:pt>
                <c:pt idx="3890">
                  <c:v>5.9562936550828738</c:v>
                </c:pt>
                <c:pt idx="3891">
                  <c:v>5.0370822415492711</c:v>
                </c:pt>
                <c:pt idx="3892">
                  <c:v>4.9067502558387917</c:v>
                </c:pt>
                <c:pt idx="3893">
                  <c:v>4.941000885638033</c:v>
                </c:pt>
                <c:pt idx="3894">
                  <c:v>5.9246038415522486</c:v>
                </c:pt>
                <c:pt idx="3895">
                  <c:v>4.9646122583731369</c:v>
                </c:pt>
                <c:pt idx="3896">
                  <c:v>5.0186541680382506</c:v>
                </c:pt>
                <c:pt idx="3897">
                  <c:v>4.9999341602565313</c:v>
                </c:pt>
                <c:pt idx="3898">
                  <c:v>5.0376627566436101</c:v>
                </c:pt>
                <c:pt idx="3899">
                  <c:v>4.9686607315152234</c:v>
                </c:pt>
                <c:pt idx="3900">
                  <c:v>5.0469942775129368</c:v>
                </c:pt>
                <c:pt idx="3901">
                  <c:v>4.9644740808799579</c:v>
                </c:pt>
                <c:pt idx="3902">
                  <c:v>6.0219606110500692</c:v>
                </c:pt>
                <c:pt idx="3903">
                  <c:v>5.9985875992934172</c:v>
                </c:pt>
                <c:pt idx="3904">
                  <c:v>4.9707918881630668</c:v>
                </c:pt>
                <c:pt idx="3905">
                  <c:v>5.191753675082718</c:v>
                </c:pt>
                <c:pt idx="3906">
                  <c:v>4.9039467992800212</c:v>
                </c:pt>
                <c:pt idx="3907">
                  <c:v>5.0015916234784648</c:v>
                </c:pt>
                <c:pt idx="3908">
                  <c:v>4.9976394464038147</c:v>
                </c:pt>
                <c:pt idx="3909">
                  <c:v>5.9476447933905128</c:v>
                </c:pt>
                <c:pt idx="3910">
                  <c:v>5.1572638301911056</c:v>
                </c:pt>
                <c:pt idx="3911">
                  <c:v>6.033982938280082</c:v>
                </c:pt>
                <c:pt idx="3912">
                  <c:v>5.1876980708394926</c:v>
                </c:pt>
                <c:pt idx="3913">
                  <c:v>4.949010613260584</c:v>
                </c:pt>
                <c:pt idx="3914">
                  <c:v>3.8695712749384379</c:v>
                </c:pt>
                <c:pt idx="3915">
                  <c:v>4.9408046387440985</c:v>
                </c:pt>
                <c:pt idx="3916">
                  <c:v>3.9463057054216435</c:v>
                </c:pt>
                <c:pt idx="3917">
                  <c:v>6.998980599338041</c:v>
                </c:pt>
                <c:pt idx="3918">
                  <c:v>6.7972194441897331</c:v>
                </c:pt>
                <c:pt idx="3919">
                  <c:v>6.0356343541459143</c:v>
                </c:pt>
                <c:pt idx="3920">
                  <c:v>5.8044495306427581</c:v>
                </c:pt>
                <c:pt idx="3921">
                  <c:v>5.9633222113700963</c:v>
                </c:pt>
                <c:pt idx="3922">
                  <c:v>5.0660931111983381</c:v>
                </c:pt>
                <c:pt idx="3923">
                  <c:v>4.970279919655912</c:v>
                </c:pt>
                <c:pt idx="3924">
                  <c:v>5.8951310198741966</c:v>
                </c:pt>
                <c:pt idx="3925">
                  <c:v>6.0741019817055015</c:v>
                </c:pt>
                <c:pt idx="3926">
                  <c:v>5.8201156154297378</c:v>
                </c:pt>
                <c:pt idx="3927">
                  <c:v>5.0400125024655242</c:v>
                </c:pt>
                <c:pt idx="3928">
                  <c:v>5.0762007631740049</c:v>
                </c:pt>
                <c:pt idx="3929">
                  <c:v>5.8956115007972896</c:v>
                </c:pt>
                <c:pt idx="3930">
                  <c:v>5.8573235633302057</c:v>
                </c:pt>
                <c:pt idx="3931">
                  <c:v>7.0843660487004412</c:v>
                </c:pt>
                <c:pt idx="3932">
                  <c:v>5.0414620499700566</c:v>
                </c:pt>
                <c:pt idx="3933">
                  <c:v>4.9612410692456672</c:v>
                </c:pt>
                <c:pt idx="3934">
                  <c:v>4.8114032640729683</c:v>
                </c:pt>
                <c:pt idx="3935">
                  <c:v>7.0110495002471902</c:v>
                </c:pt>
                <c:pt idx="3936">
                  <c:v>6.0551294477728828</c:v>
                </c:pt>
                <c:pt idx="3937">
                  <c:v>6.0751753075367612</c:v>
                </c:pt>
                <c:pt idx="3938">
                  <c:v>5.9954987484442892</c:v>
                </c:pt>
                <c:pt idx="3939">
                  <c:v>4.9323693242257711</c:v>
                </c:pt>
                <c:pt idx="3940">
                  <c:v>4.9260640932082191</c:v>
                </c:pt>
                <c:pt idx="3941">
                  <c:v>6.0147391217239639</c:v>
                </c:pt>
                <c:pt idx="3942">
                  <c:v>5.0391908357947841</c:v>
                </c:pt>
                <c:pt idx="3943">
                  <c:v>4.9197403013302523</c:v>
                </c:pt>
                <c:pt idx="3944">
                  <c:v>4.9933080266167371</c:v>
                </c:pt>
                <c:pt idx="3945">
                  <c:v>6.1440328785806733</c:v>
                </c:pt>
                <c:pt idx="3946">
                  <c:v>6.1339713902342803</c:v>
                </c:pt>
                <c:pt idx="3947">
                  <c:v>6.0521509326796181</c:v>
                </c:pt>
                <c:pt idx="3948">
                  <c:v>4.9810349044767097</c:v>
                </c:pt>
                <c:pt idx="3949">
                  <c:v>5.9661787452254442</c:v>
                </c:pt>
                <c:pt idx="3950">
                  <c:v>6.1264318749619582</c:v>
                </c:pt>
                <c:pt idx="3951">
                  <c:v>4.8901262679023398</c:v>
                </c:pt>
                <c:pt idx="3952">
                  <c:v>5.049527832024082</c:v>
                </c:pt>
                <c:pt idx="3953">
                  <c:v>6.0562756100646693</c:v>
                </c:pt>
                <c:pt idx="3954">
                  <c:v>5.0415882385597488</c:v>
                </c:pt>
                <c:pt idx="3955">
                  <c:v>5.1485620651856872</c:v>
                </c:pt>
                <c:pt idx="3956">
                  <c:v>5.8364833427866483</c:v>
                </c:pt>
                <c:pt idx="3957">
                  <c:v>5.9795854629645904</c:v>
                </c:pt>
                <c:pt idx="3958">
                  <c:v>6.9903463275957884</c:v>
                </c:pt>
                <c:pt idx="3959">
                  <c:v>5.0744835444368785</c:v>
                </c:pt>
                <c:pt idx="3960">
                  <c:v>7.0034987028199644</c:v>
                </c:pt>
                <c:pt idx="3961">
                  <c:v>5.8440663706247848</c:v>
                </c:pt>
                <c:pt idx="3962">
                  <c:v>5.8830617446906617</c:v>
                </c:pt>
                <c:pt idx="3963">
                  <c:v>5.9252768667850333</c:v>
                </c:pt>
                <c:pt idx="3964">
                  <c:v>4.8895950743321954</c:v>
                </c:pt>
                <c:pt idx="3965">
                  <c:v>5.0817201524737881</c:v>
                </c:pt>
                <c:pt idx="3966">
                  <c:v>4.9477242420020628</c:v>
                </c:pt>
                <c:pt idx="3967">
                  <c:v>6.0762497795815973</c:v>
                </c:pt>
                <c:pt idx="3968">
                  <c:v>3.9604721961326539</c:v>
                </c:pt>
                <c:pt idx="3969">
                  <c:v>5.0512456635789738</c:v>
                </c:pt>
                <c:pt idx="3970">
                  <c:v>4.7269149414454938</c:v>
                </c:pt>
                <c:pt idx="3971">
                  <c:v>5.1628244430074233</c:v>
                </c:pt>
                <c:pt idx="3972">
                  <c:v>5.9732294846212657</c:v>
                </c:pt>
                <c:pt idx="3973">
                  <c:v>5.1888349294066778</c:v>
                </c:pt>
                <c:pt idx="3974">
                  <c:v>6.9439485471590787</c:v>
                </c:pt>
                <c:pt idx="3975">
                  <c:v>7.0916388548225511</c:v>
                </c:pt>
                <c:pt idx="3976">
                  <c:v>6.1254831643905172</c:v>
                </c:pt>
                <c:pt idx="3977">
                  <c:v>5.7772601540626782</c:v>
                </c:pt>
                <c:pt idx="3978">
                  <c:v>5.9866418410510542</c:v>
                </c:pt>
                <c:pt idx="3979">
                  <c:v>5.1084671607779555</c:v>
                </c:pt>
                <c:pt idx="3980">
                  <c:v>5.0421119276789659</c:v>
                </c:pt>
                <c:pt idx="3981">
                  <c:v>4.9742858897737454</c:v>
                </c:pt>
                <c:pt idx="3982">
                  <c:v>5.9922445959806359</c:v>
                </c:pt>
                <c:pt idx="3983">
                  <c:v>5.0742270582203881</c:v>
                </c:pt>
                <c:pt idx="3984">
                  <c:v>6.0134245141051235</c:v>
                </c:pt>
                <c:pt idx="3985">
                  <c:v>4.9773683186188427</c:v>
                </c:pt>
                <c:pt idx="3986">
                  <c:v>4.8217609195084661</c:v>
                </c:pt>
                <c:pt idx="3987">
                  <c:v>5.9950992337676139</c:v>
                </c:pt>
                <c:pt idx="3988">
                  <c:v>5.0504307260447829</c:v>
                </c:pt>
                <c:pt idx="3989">
                  <c:v>5.0107657118750346</c:v>
                </c:pt>
                <c:pt idx="3990">
                  <c:v>5.1076407086282929</c:v>
                </c:pt>
                <c:pt idx="3991">
                  <c:v>5.0602229767873679</c:v>
                </c:pt>
                <c:pt idx="3992">
                  <c:v>4.9644089803703331</c:v>
                </c:pt>
                <c:pt idx="3993">
                  <c:v>5.0910152779007554</c:v>
                </c:pt>
                <c:pt idx="3994">
                  <c:v>5.0640717167841025</c:v>
                </c:pt>
                <c:pt idx="3995">
                  <c:v>4.7931523193411669</c:v>
                </c:pt>
                <c:pt idx="3996">
                  <c:v>5.9531797726619757</c:v>
                </c:pt>
                <c:pt idx="3997">
                  <c:v>4.8997441675702174</c:v>
                </c:pt>
                <c:pt idx="3998">
                  <c:v>6.096541227283196</c:v>
                </c:pt>
                <c:pt idx="3999">
                  <c:v>4.901534350867637</c:v>
                </c:pt>
                <c:pt idx="4000">
                  <c:v>5.9611337611562494</c:v>
                </c:pt>
                <c:pt idx="4001">
                  <c:v>6.0445188768097013</c:v>
                </c:pt>
                <c:pt idx="4002">
                  <c:v>4.9653458861754212</c:v>
                </c:pt>
                <c:pt idx="4003">
                  <c:v>5.9404137906361054</c:v>
                </c:pt>
                <c:pt idx="4004">
                  <c:v>5.9653080994172019</c:v>
                </c:pt>
                <c:pt idx="4005">
                  <c:v>4.8272382034028603</c:v>
                </c:pt>
                <c:pt idx="4006">
                  <c:v>6.0759994792390319</c:v>
                </c:pt>
                <c:pt idx="4007">
                  <c:v>5.9836379634203878</c:v>
                </c:pt>
                <c:pt idx="4008">
                  <c:v>5.0472173511071752</c:v>
                </c:pt>
                <c:pt idx="4009">
                  <c:v>5.0135065042194986</c:v>
                </c:pt>
                <c:pt idx="4010">
                  <c:v>4.9344184034892917</c:v>
                </c:pt>
                <c:pt idx="4011">
                  <c:v>4.9867777460686673</c:v>
                </c:pt>
                <c:pt idx="4012">
                  <c:v>6.0062734313588289</c:v>
                </c:pt>
                <c:pt idx="4013">
                  <c:v>7.1150379674672708</c:v>
                </c:pt>
                <c:pt idx="4014">
                  <c:v>5.1369547282374368</c:v>
                </c:pt>
                <c:pt idx="4015">
                  <c:v>5.0495308171256825</c:v>
                </c:pt>
                <c:pt idx="4016">
                  <c:v>5.0575881482230409</c:v>
                </c:pt>
                <c:pt idx="4017">
                  <c:v>4.9733616189892649</c:v>
                </c:pt>
                <c:pt idx="4018">
                  <c:v>5.109662293481132</c:v>
                </c:pt>
                <c:pt idx="4019">
                  <c:v>4.7949054487304963</c:v>
                </c:pt>
                <c:pt idx="4020">
                  <c:v>4.9217830269898544</c:v>
                </c:pt>
                <c:pt idx="4021">
                  <c:v>4.957198446443666</c:v>
                </c:pt>
                <c:pt idx="4022">
                  <c:v>5.8046266120735366</c:v>
                </c:pt>
                <c:pt idx="4023">
                  <c:v>5.9534785828701633</c:v>
                </c:pt>
                <c:pt idx="4024">
                  <c:v>4.9552569313220971</c:v>
                </c:pt>
                <c:pt idx="4025">
                  <c:v>5.0610447213437295</c:v>
                </c:pt>
                <c:pt idx="4026">
                  <c:v>5.1259217323702222</c:v>
                </c:pt>
                <c:pt idx="4027">
                  <c:v>5.7906408308810349</c:v>
                </c:pt>
                <c:pt idx="4028">
                  <c:v>5.93688548309742</c:v>
                </c:pt>
                <c:pt idx="4029">
                  <c:v>6.2201041571186364</c:v>
                </c:pt>
                <c:pt idx="4030">
                  <c:v>4.8842224498140432</c:v>
                </c:pt>
                <c:pt idx="4031">
                  <c:v>7.034773252022374</c:v>
                </c:pt>
                <c:pt idx="4032">
                  <c:v>5.9637980044367493</c:v>
                </c:pt>
                <c:pt idx="4033">
                  <c:v>5.0756214145510858</c:v>
                </c:pt>
                <c:pt idx="4034">
                  <c:v>5.0458980342867568</c:v>
                </c:pt>
                <c:pt idx="4035">
                  <c:v>5.0237730093026123</c:v>
                </c:pt>
                <c:pt idx="4036">
                  <c:v>5.7610386755219976</c:v>
                </c:pt>
                <c:pt idx="4037">
                  <c:v>5.7379868839178583</c:v>
                </c:pt>
                <c:pt idx="4038">
                  <c:v>6.0242406111236351</c:v>
                </c:pt>
                <c:pt idx="4039">
                  <c:v>6.0496796146405698</c:v>
                </c:pt>
                <c:pt idx="4040">
                  <c:v>5.0984328228003557</c:v>
                </c:pt>
                <c:pt idx="4041">
                  <c:v>6.1350270035102428</c:v>
                </c:pt>
                <c:pt idx="4042">
                  <c:v>4.8691942608820469</c:v>
                </c:pt>
                <c:pt idx="4043">
                  <c:v>5.1496853388025903</c:v>
                </c:pt>
                <c:pt idx="4044">
                  <c:v>5.9526650222941706</c:v>
                </c:pt>
                <c:pt idx="4045">
                  <c:v>5.902435800432114</c:v>
                </c:pt>
                <c:pt idx="4046">
                  <c:v>5.0005942884679957</c:v>
                </c:pt>
                <c:pt idx="4047">
                  <c:v>5.9509370954632281</c:v>
                </c:pt>
                <c:pt idx="4048">
                  <c:v>5.1050311054347803</c:v>
                </c:pt>
                <c:pt idx="4049">
                  <c:v>5.0269718276093247</c:v>
                </c:pt>
                <c:pt idx="4050">
                  <c:v>6.0113548497670388</c:v>
                </c:pt>
                <c:pt idx="4051">
                  <c:v>4.9734897634390132</c:v>
                </c:pt>
                <c:pt idx="4052">
                  <c:v>5.0323609348160412</c:v>
                </c:pt>
                <c:pt idx="4053">
                  <c:v>6.0148812406540291</c:v>
                </c:pt>
                <c:pt idx="4054">
                  <c:v>6.0427155796833896</c:v>
                </c:pt>
                <c:pt idx="4055">
                  <c:v>5.0089777627719823</c:v>
                </c:pt>
                <c:pt idx="4056">
                  <c:v>5.9725111914354185</c:v>
                </c:pt>
                <c:pt idx="4057">
                  <c:v>6.050270421926121</c:v>
                </c:pt>
                <c:pt idx="4058">
                  <c:v>7.0999589438252695</c:v>
                </c:pt>
                <c:pt idx="4059">
                  <c:v>5.1340364086216033</c:v>
                </c:pt>
                <c:pt idx="4060">
                  <c:v>5.9953001306355613</c:v>
                </c:pt>
                <c:pt idx="4061">
                  <c:v>5.8685530434543658</c:v>
                </c:pt>
                <c:pt idx="4062">
                  <c:v>6.1707316009106297</c:v>
                </c:pt>
                <c:pt idx="4063">
                  <c:v>5.0551493212182104</c:v>
                </c:pt>
                <c:pt idx="4064">
                  <c:v>6.8971093721827295</c:v>
                </c:pt>
                <c:pt idx="4065">
                  <c:v>6.0682492543646394</c:v>
                </c:pt>
                <c:pt idx="4066">
                  <c:v>5.0636394091450248</c:v>
                </c:pt>
                <c:pt idx="4067">
                  <c:v>6.9923514705955405</c:v>
                </c:pt>
                <c:pt idx="4068">
                  <c:v>5.0303154629897602</c:v>
                </c:pt>
                <c:pt idx="4069">
                  <c:v>7.0475938871263883</c:v>
                </c:pt>
                <c:pt idx="4070">
                  <c:v>6.0501303823920392</c:v>
                </c:pt>
                <c:pt idx="4071">
                  <c:v>4.9414958031981469</c:v>
                </c:pt>
                <c:pt idx="4072">
                  <c:v>6.871810362223937</c:v>
                </c:pt>
                <c:pt idx="4073">
                  <c:v>7.0049773491910505</c:v>
                </c:pt>
                <c:pt idx="4074">
                  <c:v>5.9722893395312289</c:v>
                </c:pt>
                <c:pt idx="4075">
                  <c:v>5.0763663164909962</c:v>
                </c:pt>
                <c:pt idx="4076">
                  <c:v>4.0950245083037862</c:v>
                </c:pt>
                <c:pt idx="4077">
                  <c:v>5.0813879013226675</c:v>
                </c:pt>
                <c:pt idx="4078">
                  <c:v>3.8960831876132604</c:v>
                </c:pt>
                <c:pt idx="4079">
                  <c:v>4.9552722591246523</c:v>
                </c:pt>
                <c:pt idx="4080">
                  <c:v>5.8970996750677509</c:v>
                </c:pt>
                <c:pt idx="4081">
                  <c:v>5.0448975151210078</c:v>
                </c:pt>
                <c:pt idx="4082">
                  <c:v>5.9894576823621932</c:v>
                </c:pt>
                <c:pt idx="4083">
                  <c:v>5.0100576441539522</c:v>
                </c:pt>
                <c:pt idx="4084">
                  <c:v>4.8305270802996958</c:v>
                </c:pt>
                <c:pt idx="4085">
                  <c:v>6.0227697289652706</c:v>
                </c:pt>
                <c:pt idx="4086">
                  <c:v>6.0776469108529758</c:v>
                </c:pt>
                <c:pt idx="4087">
                  <c:v>7.0196183663879559</c:v>
                </c:pt>
                <c:pt idx="4088">
                  <c:v>4.9873990827833241</c:v>
                </c:pt>
                <c:pt idx="4089">
                  <c:v>5.0536217225754294</c:v>
                </c:pt>
                <c:pt idx="4090">
                  <c:v>4.9839711213727167</c:v>
                </c:pt>
                <c:pt idx="4091">
                  <c:v>5.0809858437595006</c:v>
                </c:pt>
                <c:pt idx="4092">
                  <c:v>5.0864984503288042</c:v>
                </c:pt>
                <c:pt idx="4093">
                  <c:v>5.8790900148510143</c:v>
                </c:pt>
                <c:pt idx="4094">
                  <c:v>6.0395159643750276</c:v>
                </c:pt>
                <c:pt idx="4095">
                  <c:v>4.9823813173840703</c:v>
                </c:pt>
                <c:pt idx="4096">
                  <c:v>7.0351168782158275</c:v>
                </c:pt>
                <c:pt idx="4097">
                  <c:v>5.0667081478428901</c:v>
                </c:pt>
                <c:pt idx="4098">
                  <c:v>4.9475803315368463</c:v>
                </c:pt>
                <c:pt idx="4099">
                  <c:v>2.9858527516942246</c:v>
                </c:pt>
                <c:pt idx="4100">
                  <c:v>7.1217313055201599</c:v>
                </c:pt>
                <c:pt idx="4101">
                  <c:v>6.0666463427966448</c:v>
                </c:pt>
                <c:pt idx="4102">
                  <c:v>6.204059728254391</c:v>
                </c:pt>
                <c:pt idx="4103">
                  <c:v>6.0436903082615272</c:v>
                </c:pt>
                <c:pt idx="4104">
                  <c:v>5.8654170002334576</c:v>
                </c:pt>
                <c:pt idx="4105">
                  <c:v>5.8908105806382096</c:v>
                </c:pt>
                <c:pt idx="4106">
                  <c:v>4.9149620112420935</c:v>
                </c:pt>
                <c:pt idx="4107">
                  <c:v>5.9234589640474553</c:v>
                </c:pt>
                <c:pt idx="4108">
                  <c:v>5.9406724760605734</c:v>
                </c:pt>
                <c:pt idx="4109">
                  <c:v>5.9051657821816095</c:v>
                </c:pt>
                <c:pt idx="4110">
                  <c:v>5.2457270881376949</c:v>
                </c:pt>
                <c:pt idx="4111">
                  <c:v>5.0372900296404231</c:v>
                </c:pt>
                <c:pt idx="4112">
                  <c:v>4.9283286453870661</c:v>
                </c:pt>
                <c:pt idx="4113">
                  <c:v>5.9981927209936226</c:v>
                </c:pt>
                <c:pt idx="4114">
                  <c:v>4.8431357933351187</c:v>
                </c:pt>
                <c:pt idx="4115">
                  <c:v>5.0405070642741112</c:v>
                </c:pt>
                <c:pt idx="4116">
                  <c:v>6.0674727910519852</c:v>
                </c:pt>
                <c:pt idx="4117">
                  <c:v>6.2372352381349137</c:v>
                </c:pt>
                <c:pt idx="4118">
                  <c:v>4.9840690070352993</c:v>
                </c:pt>
                <c:pt idx="4119">
                  <c:v>6.0736013546764847</c:v>
                </c:pt>
                <c:pt idx="4120">
                  <c:v>5.0266469388181241</c:v>
                </c:pt>
                <c:pt idx="4121">
                  <c:v>5.9423032914582539</c:v>
                </c:pt>
                <c:pt idx="4122">
                  <c:v>4.9450244462720274</c:v>
                </c:pt>
                <c:pt idx="4123">
                  <c:v>7.0955673809816968</c:v>
                </c:pt>
                <c:pt idx="4124">
                  <c:v>4.904906641314839</c:v>
                </c:pt>
                <c:pt idx="4125">
                  <c:v>5.8839770459029799</c:v>
                </c:pt>
                <c:pt idx="4126">
                  <c:v>4.9453494082015013</c:v>
                </c:pt>
                <c:pt idx="4127">
                  <c:v>5.1088836623833398</c:v>
                </c:pt>
                <c:pt idx="4128">
                  <c:v>5.9793234737306991</c:v>
                </c:pt>
                <c:pt idx="4129">
                  <c:v>4.8994675806974879</c:v>
                </c:pt>
                <c:pt idx="4130">
                  <c:v>4.8948902246717658</c:v>
                </c:pt>
                <c:pt idx="4131">
                  <c:v>4.9483863462425539</c:v>
                </c:pt>
                <c:pt idx="4132">
                  <c:v>4.816304734368023</c:v>
                </c:pt>
                <c:pt idx="4133">
                  <c:v>5.9641116287156271</c:v>
                </c:pt>
                <c:pt idx="4134">
                  <c:v>5.0544281514561575</c:v>
                </c:pt>
                <c:pt idx="4135">
                  <c:v>5.1689779300914811</c:v>
                </c:pt>
                <c:pt idx="4136">
                  <c:v>5.0181521143589176</c:v>
                </c:pt>
                <c:pt idx="4137">
                  <c:v>5.9972767501978588</c:v>
                </c:pt>
                <c:pt idx="4138">
                  <c:v>4.9547000327977972</c:v>
                </c:pt>
                <c:pt idx="4139">
                  <c:v>5.1179297721862298</c:v>
                </c:pt>
                <c:pt idx="4140">
                  <c:v>4.7830351467226144</c:v>
                </c:pt>
                <c:pt idx="4141">
                  <c:v>6.0015790385254739</c:v>
                </c:pt>
                <c:pt idx="4142">
                  <c:v>6.0998743166582647</c:v>
                </c:pt>
                <c:pt idx="4143">
                  <c:v>4.9639798217177304</c:v>
                </c:pt>
                <c:pt idx="4144">
                  <c:v>4.9692878383242265</c:v>
                </c:pt>
                <c:pt idx="4145">
                  <c:v>5.0990854611478804</c:v>
                </c:pt>
                <c:pt idx="4146">
                  <c:v>5.9681043855993181</c:v>
                </c:pt>
                <c:pt idx="4147">
                  <c:v>7.1050843731017714</c:v>
                </c:pt>
                <c:pt idx="4148">
                  <c:v>5.0068709656507435</c:v>
                </c:pt>
                <c:pt idx="4149">
                  <c:v>5.9451790847733017</c:v>
                </c:pt>
                <c:pt idx="4150">
                  <c:v>5.0255094519959709</c:v>
                </c:pt>
                <c:pt idx="4151">
                  <c:v>6.0827622868830549</c:v>
                </c:pt>
                <c:pt idx="4152">
                  <c:v>6.9852511164241911</c:v>
                </c:pt>
                <c:pt idx="4153">
                  <c:v>7.0300231794764398</c:v>
                </c:pt>
                <c:pt idx="4154">
                  <c:v>4.9876816584992785</c:v>
                </c:pt>
                <c:pt idx="4155">
                  <c:v>7.0846695007332938</c:v>
                </c:pt>
                <c:pt idx="4156">
                  <c:v>5.9412605599630899</c:v>
                </c:pt>
                <c:pt idx="4157">
                  <c:v>6.0542632734920954</c:v>
                </c:pt>
                <c:pt idx="4158">
                  <c:v>6.9021337463812573</c:v>
                </c:pt>
                <c:pt idx="4159">
                  <c:v>6.8359920332431727</c:v>
                </c:pt>
                <c:pt idx="4160">
                  <c:v>5.0042710897424261</c:v>
                </c:pt>
                <c:pt idx="4161">
                  <c:v>7.0349376929078797</c:v>
                </c:pt>
                <c:pt idx="4162">
                  <c:v>6.95758891337434</c:v>
                </c:pt>
                <c:pt idx="4163">
                  <c:v>7.0638933810207742</c:v>
                </c:pt>
                <c:pt idx="4164">
                  <c:v>6.9729377311048797</c:v>
                </c:pt>
                <c:pt idx="4165">
                  <c:v>5.1774553328357182</c:v>
                </c:pt>
                <c:pt idx="4166">
                  <c:v>5.1034425083149628</c:v>
                </c:pt>
                <c:pt idx="4167">
                  <c:v>6.8353910816923626</c:v>
                </c:pt>
                <c:pt idx="4168">
                  <c:v>5.1685895386687708</c:v>
                </c:pt>
                <c:pt idx="4169">
                  <c:v>6.9555287115909188</c:v>
                </c:pt>
                <c:pt idx="4170">
                  <c:v>5.9468233191474811</c:v>
                </c:pt>
                <c:pt idx="4171">
                  <c:v>4.9584947037997216</c:v>
                </c:pt>
                <c:pt idx="4172">
                  <c:v>5.9708250157113341</c:v>
                </c:pt>
                <c:pt idx="4173">
                  <c:v>5.0151903322428577</c:v>
                </c:pt>
                <c:pt idx="4174">
                  <c:v>4.999301519924531</c:v>
                </c:pt>
                <c:pt idx="4175">
                  <c:v>6.2639142802026626</c:v>
                </c:pt>
                <c:pt idx="4176">
                  <c:v>4.845676869750581</c:v>
                </c:pt>
                <c:pt idx="4177">
                  <c:v>4.9638270451256652</c:v>
                </c:pt>
                <c:pt idx="4178">
                  <c:v>5.938493867635902</c:v>
                </c:pt>
                <c:pt idx="4179">
                  <c:v>5.076317090221738</c:v>
                </c:pt>
                <c:pt idx="4180">
                  <c:v>5.1009443732012052</c:v>
                </c:pt>
                <c:pt idx="4181">
                  <c:v>5.9855841959641625</c:v>
                </c:pt>
                <c:pt idx="4182">
                  <c:v>4.9858395934218063</c:v>
                </c:pt>
                <c:pt idx="4183">
                  <c:v>5.0939396820832821</c:v>
                </c:pt>
                <c:pt idx="4184">
                  <c:v>5.0940516443009383</c:v>
                </c:pt>
                <c:pt idx="4185">
                  <c:v>4.9802398608153116</c:v>
                </c:pt>
                <c:pt idx="4186">
                  <c:v>4.9570743970165445</c:v>
                </c:pt>
                <c:pt idx="4187">
                  <c:v>4.9801661030050095</c:v>
                </c:pt>
                <c:pt idx="4188">
                  <c:v>6.0808983850632989</c:v>
                </c:pt>
                <c:pt idx="4189">
                  <c:v>5.0624186387232974</c:v>
                </c:pt>
                <c:pt idx="4190">
                  <c:v>5.0967858440275018</c:v>
                </c:pt>
                <c:pt idx="4191">
                  <c:v>5.0124754090250105</c:v>
                </c:pt>
                <c:pt idx="4192">
                  <c:v>4.940550430354512</c:v>
                </c:pt>
                <c:pt idx="4193">
                  <c:v>5.0207281347389872</c:v>
                </c:pt>
                <c:pt idx="4194">
                  <c:v>4.796709736630576</c:v>
                </c:pt>
                <c:pt idx="4195">
                  <c:v>5.2421566813666818</c:v>
                </c:pt>
                <c:pt idx="4196">
                  <c:v>4.9646693303753739</c:v>
                </c:pt>
                <c:pt idx="4197">
                  <c:v>6.0533817062977215</c:v>
                </c:pt>
                <c:pt idx="4198">
                  <c:v>4.9996104967819885</c:v>
                </c:pt>
                <c:pt idx="4199">
                  <c:v>5.1080685670502133</c:v>
                </c:pt>
                <c:pt idx="4200">
                  <c:v>4.8495836710543294</c:v>
                </c:pt>
                <c:pt idx="4201">
                  <c:v>5.1439292987220711</c:v>
                </c:pt>
                <c:pt idx="4202">
                  <c:v>5.0131620468278495</c:v>
                </c:pt>
                <c:pt idx="4203">
                  <c:v>6.0069969215233465</c:v>
                </c:pt>
                <c:pt idx="4204">
                  <c:v>5.881495391323452</c:v>
                </c:pt>
                <c:pt idx="4205">
                  <c:v>4.9040017682447248</c:v>
                </c:pt>
                <c:pt idx="4206">
                  <c:v>6.1061869502246084</c:v>
                </c:pt>
                <c:pt idx="4207">
                  <c:v>5.1023393592353807</c:v>
                </c:pt>
                <c:pt idx="4208">
                  <c:v>5.2121969480851629</c:v>
                </c:pt>
                <c:pt idx="4209">
                  <c:v>5.0101988706000329</c:v>
                </c:pt>
                <c:pt idx="4210">
                  <c:v>6.0902990788972442</c:v>
                </c:pt>
                <c:pt idx="4211">
                  <c:v>5.8348237130656431</c:v>
                </c:pt>
                <c:pt idx="4212">
                  <c:v>4.9871845453153654</c:v>
                </c:pt>
                <c:pt idx="4213">
                  <c:v>5.1158533847677852</c:v>
                </c:pt>
                <c:pt idx="4214">
                  <c:v>5.0037863524838206</c:v>
                </c:pt>
                <c:pt idx="4215">
                  <c:v>4.9375397674493247</c:v>
                </c:pt>
                <c:pt idx="4216">
                  <c:v>6.0075643693815568</c:v>
                </c:pt>
                <c:pt idx="4217">
                  <c:v>6.2541813711160801</c:v>
                </c:pt>
                <c:pt idx="4218">
                  <c:v>5.0682547920137306</c:v>
                </c:pt>
                <c:pt idx="4219">
                  <c:v>5.9616824043380099</c:v>
                </c:pt>
                <c:pt idx="4220">
                  <c:v>4.9709264885830002</c:v>
                </c:pt>
                <c:pt idx="4221">
                  <c:v>6.8526353576480172</c:v>
                </c:pt>
                <c:pt idx="4222">
                  <c:v>5.0186457323913505</c:v>
                </c:pt>
                <c:pt idx="4223">
                  <c:v>5.9560673969735571</c:v>
                </c:pt>
                <c:pt idx="4224">
                  <c:v>5.0061484695645682</c:v>
                </c:pt>
                <c:pt idx="4225">
                  <c:v>4.996240113671707</c:v>
                </c:pt>
                <c:pt idx="4226">
                  <c:v>6.203164573123404</c:v>
                </c:pt>
                <c:pt idx="4227">
                  <c:v>6.0444419250822818</c:v>
                </c:pt>
                <c:pt idx="4228">
                  <c:v>5.9685293435859288</c:v>
                </c:pt>
                <c:pt idx="4229">
                  <c:v>6.022884598454973</c:v>
                </c:pt>
                <c:pt idx="4230">
                  <c:v>4.957508191623508</c:v>
                </c:pt>
                <c:pt idx="4231">
                  <c:v>4.9906317689686093</c:v>
                </c:pt>
                <c:pt idx="4232">
                  <c:v>5.1539669833683481</c:v>
                </c:pt>
                <c:pt idx="4233">
                  <c:v>5.0276943246612005</c:v>
                </c:pt>
                <c:pt idx="4234">
                  <c:v>6.0058727994010033</c:v>
                </c:pt>
                <c:pt idx="4235">
                  <c:v>4.9934643738223885</c:v>
                </c:pt>
                <c:pt idx="4236">
                  <c:v>7.0806514830218648</c:v>
                </c:pt>
                <c:pt idx="4237">
                  <c:v>6.1490610094068936</c:v>
                </c:pt>
                <c:pt idx="4238">
                  <c:v>4.8949542418686791</c:v>
                </c:pt>
                <c:pt idx="4239">
                  <c:v>7.0181128736973974</c:v>
                </c:pt>
                <c:pt idx="4240">
                  <c:v>4.8943534369859476</c:v>
                </c:pt>
                <c:pt idx="4241">
                  <c:v>5.1790671608481249</c:v>
                </c:pt>
                <c:pt idx="4242">
                  <c:v>4.9172663373812142</c:v>
                </c:pt>
                <c:pt idx="4243">
                  <c:v>4.9470796207801415</c:v>
                </c:pt>
                <c:pt idx="4244">
                  <c:v>7.1528561955491679</c:v>
                </c:pt>
                <c:pt idx="4245">
                  <c:v>5.082182005906013</c:v>
                </c:pt>
                <c:pt idx="4246">
                  <c:v>4.8608196337160896</c:v>
                </c:pt>
                <c:pt idx="4247">
                  <c:v>5.054267784338915</c:v>
                </c:pt>
                <c:pt idx="4248">
                  <c:v>4.8730188084038124</c:v>
                </c:pt>
                <c:pt idx="4249">
                  <c:v>7.1112782733891411</c:v>
                </c:pt>
                <c:pt idx="4250">
                  <c:v>6.0670046444795567</c:v>
                </c:pt>
                <c:pt idx="4251">
                  <c:v>5.8872623240941024</c:v>
                </c:pt>
                <c:pt idx="4252">
                  <c:v>5.8638665714793898</c:v>
                </c:pt>
                <c:pt idx="4253">
                  <c:v>5.054638854852981</c:v>
                </c:pt>
                <c:pt idx="4254">
                  <c:v>5.067060520031891</c:v>
                </c:pt>
                <c:pt idx="4255">
                  <c:v>5.0976067957522648</c:v>
                </c:pt>
                <c:pt idx="4256">
                  <c:v>6.0638676888185969</c:v>
                </c:pt>
                <c:pt idx="4257">
                  <c:v>5.1005859741225619</c:v>
                </c:pt>
                <c:pt idx="4258">
                  <c:v>4.8672217410461265</c:v>
                </c:pt>
                <c:pt idx="4259">
                  <c:v>5.9952141840946389</c:v>
                </c:pt>
                <c:pt idx="4260">
                  <c:v>5.9709242755722096</c:v>
                </c:pt>
                <c:pt idx="4261">
                  <c:v>4.9519821510157174</c:v>
                </c:pt>
                <c:pt idx="4262">
                  <c:v>5.048076721828135</c:v>
                </c:pt>
                <c:pt idx="4263">
                  <c:v>4.9286067499500437</c:v>
                </c:pt>
                <c:pt idx="4264">
                  <c:v>5.1402578139269322</c:v>
                </c:pt>
                <c:pt idx="4265">
                  <c:v>4.001051704878523</c:v>
                </c:pt>
                <c:pt idx="4266">
                  <c:v>5.0644185562626216</c:v>
                </c:pt>
                <c:pt idx="4267">
                  <c:v>4.8665391111037808</c:v>
                </c:pt>
                <c:pt idx="4268">
                  <c:v>5.0823181867790241</c:v>
                </c:pt>
                <c:pt idx="4269">
                  <c:v>5.0352845017196763</c:v>
                </c:pt>
                <c:pt idx="4270">
                  <c:v>5.1675983201723179</c:v>
                </c:pt>
                <c:pt idx="4271">
                  <c:v>4.9262849338175005</c:v>
                </c:pt>
                <c:pt idx="4272">
                  <c:v>5.0335966597793957</c:v>
                </c:pt>
                <c:pt idx="4273">
                  <c:v>5.0029192518405488</c:v>
                </c:pt>
                <c:pt idx="4274">
                  <c:v>5.1015228573719593</c:v>
                </c:pt>
                <c:pt idx="4275">
                  <c:v>4.9335208045431305</c:v>
                </c:pt>
                <c:pt idx="4276">
                  <c:v>4.8899598407951723</c:v>
                </c:pt>
                <c:pt idx="4277">
                  <c:v>4.9233370701545898</c:v>
                </c:pt>
                <c:pt idx="4278">
                  <c:v>5.7124374656304955</c:v>
                </c:pt>
                <c:pt idx="4279">
                  <c:v>4.816716662051153</c:v>
                </c:pt>
                <c:pt idx="4280">
                  <c:v>5.8534355051522811</c:v>
                </c:pt>
                <c:pt idx="4281">
                  <c:v>6.9889303456971321</c:v>
                </c:pt>
                <c:pt idx="4282">
                  <c:v>6.0584593967564055</c:v>
                </c:pt>
                <c:pt idx="4283">
                  <c:v>6.0455986443636043</c:v>
                </c:pt>
                <c:pt idx="4284">
                  <c:v>4.9970752040470749</c:v>
                </c:pt>
                <c:pt idx="4285">
                  <c:v>5.0354453607152214</c:v>
                </c:pt>
                <c:pt idx="4286">
                  <c:v>4.8580635906206933</c:v>
                </c:pt>
                <c:pt idx="4287">
                  <c:v>5.8213498668139545</c:v>
                </c:pt>
                <c:pt idx="4288">
                  <c:v>5.9040762246902183</c:v>
                </c:pt>
                <c:pt idx="4289">
                  <c:v>7.0462244935927609</c:v>
                </c:pt>
                <c:pt idx="4290">
                  <c:v>4.9808702486954095</c:v>
                </c:pt>
                <c:pt idx="4291">
                  <c:v>6.022757765848298</c:v>
                </c:pt>
                <c:pt idx="4292">
                  <c:v>6.12633890626332</c:v>
                </c:pt>
                <c:pt idx="4293">
                  <c:v>4.9350172564717099</c:v>
                </c:pt>
                <c:pt idx="4294">
                  <c:v>7.1826944257398182</c:v>
                </c:pt>
                <c:pt idx="4295">
                  <c:v>5.9904704379232578</c:v>
                </c:pt>
                <c:pt idx="4296">
                  <c:v>6.0086313262418587</c:v>
                </c:pt>
                <c:pt idx="4297">
                  <c:v>7.1654905327753085</c:v>
                </c:pt>
                <c:pt idx="4298">
                  <c:v>4.8719061240977677</c:v>
                </c:pt>
                <c:pt idx="4299">
                  <c:v>5.1873565700874851</c:v>
                </c:pt>
                <c:pt idx="4300">
                  <c:v>5.95769125587214</c:v>
                </c:pt>
                <c:pt idx="4301">
                  <c:v>5.0148647413630778</c:v>
                </c:pt>
                <c:pt idx="4302">
                  <c:v>5.930826813092696</c:v>
                </c:pt>
                <c:pt idx="4303">
                  <c:v>6.7365037901870526</c:v>
                </c:pt>
                <c:pt idx="4304">
                  <c:v>5.0383512581651253</c:v>
                </c:pt>
                <c:pt idx="4305">
                  <c:v>5.0231168774549584</c:v>
                </c:pt>
                <c:pt idx="4306">
                  <c:v>6.9342681573570006</c:v>
                </c:pt>
                <c:pt idx="4307">
                  <c:v>5.8970699485571174</c:v>
                </c:pt>
                <c:pt idx="4308">
                  <c:v>5.8988291481711208</c:v>
                </c:pt>
                <c:pt idx="4309">
                  <c:v>4.9562653814578983</c:v>
                </c:pt>
                <c:pt idx="4310">
                  <c:v>6.0312412364382864</c:v>
                </c:pt>
                <c:pt idx="4311">
                  <c:v>5.1062760232943969</c:v>
                </c:pt>
                <c:pt idx="4312">
                  <c:v>5.1089588142446578</c:v>
                </c:pt>
                <c:pt idx="4313">
                  <c:v>4.0104242328298305</c:v>
                </c:pt>
                <c:pt idx="4314">
                  <c:v>7.0647931145077747</c:v>
                </c:pt>
                <c:pt idx="4315">
                  <c:v>5.0250303512713632</c:v>
                </c:pt>
                <c:pt idx="4316">
                  <c:v>4.98075799060768</c:v>
                </c:pt>
                <c:pt idx="4317">
                  <c:v>5.8922050296338551</c:v>
                </c:pt>
                <c:pt idx="4318">
                  <c:v>5.0770697222577095</c:v>
                </c:pt>
                <c:pt idx="4319">
                  <c:v>4.9915302499395828</c:v>
                </c:pt>
                <c:pt idx="4320">
                  <c:v>5.021385771033291</c:v>
                </c:pt>
                <c:pt idx="4321">
                  <c:v>5.9051499325790653</c:v>
                </c:pt>
                <c:pt idx="4322">
                  <c:v>5.2192914262392707</c:v>
                </c:pt>
                <c:pt idx="4323">
                  <c:v>5.9127378560679498</c:v>
                </c:pt>
                <c:pt idx="4324">
                  <c:v>4.9989106253741999</c:v>
                </c:pt>
                <c:pt idx="4325">
                  <c:v>6.2320720087940922</c:v>
                </c:pt>
                <c:pt idx="4326">
                  <c:v>6.0406498227701544</c:v>
                </c:pt>
                <c:pt idx="4327">
                  <c:v>4.8265640902047249</c:v>
                </c:pt>
                <c:pt idx="4328">
                  <c:v>4.9172905364027502</c:v>
                </c:pt>
                <c:pt idx="4329">
                  <c:v>5.0672938993402781</c:v>
                </c:pt>
                <c:pt idx="4330">
                  <c:v>5.12638488995833</c:v>
                </c:pt>
                <c:pt idx="4331">
                  <c:v>4.881319188625862</c:v>
                </c:pt>
                <c:pt idx="4332">
                  <c:v>5.0072780504468124</c:v>
                </c:pt>
                <c:pt idx="4333">
                  <c:v>3.9532258124489594</c:v>
                </c:pt>
                <c:pt idx="4334">
                  <c:v>5.8685619479914228</c:v>
                </c:pt>
                <c:pt idx="4335">
                  <c:v>4.9533749010400463</c:v>
                </c:pt>
                <c:pt idx="4336">
                  <c:v>5.9335782455842629</c:v>
                </c:pt>
                <c:pt idx="4337">
                  <c:v>4.940809966335113</c:v>
                </c:pt>
                <c:pt idx="4338">
                  <c:v>5.9135304060300689</c:v>
                </c:pt>
                <c:pt idx="4339">
                  <c:v>4.8950138783734722</c:v>
                </c:pt>
                <c:pt idx="4340">
                  <c:v>6.9261938617824637</c:v>
                </c:pt>
                <c:pt idx="4341">
                  <c:v>5.8074734873857219</c:v>
                </c:pt>
                <c:pt idx="4342">
                  <c:v>5.8606645363485343</c:v>
                </c:pt>
                <c:pt idx="4343">
                  <c:v>5.184677652780314</c:v>
                </c:pt>
                <c:pt idx="4344">
                  <c:v>5.0982591839163991</c:v>
                </c:pt>
                <c:pt idx="4345">
                  <c:v>5.0757304703781569</c:v>
                </c:pt>
                <c:pt idx="4346">
                  <c:v>4.9078298626039389</c:v>
                </c:pt>
                <c:pt idx="4347">
                  <c:v>4.9616392143715435</c:v>
                </c:pt>
                <c:pt idx="4348">
                  <c:v>6.0366235142175499</c:v>
                </c:pt>
                <c:pt idx="4349">
                  <c:v>4.9089619366734034</c:v>
                </c:pt>
                <c:pt idx="4350">
                  <c:v>5.2305171485189765</c:v>
                </c:pt>
                <c:pt idx="4351">
                  <c:v>5.7914741143575954</c:v>
                </c:pt>
                <c:pt idx="4352">
                  <c:v>6.0202545718980334</c:v>
                </c:pt>
                <c:pt idx="4353">
                  <c:v>5.1212090333774869</c:v>
                </c:pt>
                <c:pt idx="4354">
                  <c:v>5.8992712285292468</c:v>
                </c:pt>
                <c:pt idx="4355">
                  <c:v>5.0653259795651833</c:v>
                </c:pt>
                <c:pt idx="4356">
                  <c:v>5.9425318921478603</c:v>
                </c:pt>
                <c:pt idx="4357">
                  <c:v>7.1326119897817533</c:v>
                </c:pt>
                <c:pt idx="4358">
                  <c:v>4.9600075250717719</c:v>
                </c:pt>
                <c:pt idx="4359">
                  <c:v>4.9329346128770535</c:v>
                </c:pt>
                <c:pt idx="4360">
                  <c:v>4.9323708260837735</c:v>
                </c:pt>
                <c:pt idx="4361">
                  <c:v>4.8816622871550646</c:v>
                </c:pt>
                <c:pt idx="4362">
                  <c:v>6.0268582967730993</c:v>
                </c:pt>
                <c:pt idx="4363">
                  <c:v>6.9230645750695938</c:v>
                </c:pt>
                <c:pt idx="4364">
                  <c:v>5.0600515320743522</c:v>
                </c:pt>
                <c:pt idx="4365">
                  <c:v>4.9867877438202379</c:v>
                </c:pt>
                <c:pt idx="4366">
                  <c:v>5.1255253170298971</c:v>
                </c:pt>
                <c:pt idx="4367">
                  <c:v>4.8326919707836122</c:v>
                </c:pt>
                <c:pt idx="4368">
                  <c:v>5.0147927453911647</c:v>
                </c:pt>
                <c:pt idx="4369">
                  <c:v>5.0489568293068485</c:v>
                </c:pt>
                <c:pt idx="4370">
                  <c:v>5.9256638668980308</c:v>
                </c:pt>
                <c:pt idx="4371">
                  <c:v>6.1550627260674062</c:v>
                </c:pt>
                <c:pt idx="4372">
                  <c:v>4.8931620267337497</c:v>
                </c:pt>
                <c:pt idx="4373">
                  <c:v>5.9372161693032588</c:v>
                </c:pt>
                <c:pt idx="4374">
                  <c:v>6.2408843863311638</c:v>
                </c:pt>
                <c:pt idx="4375">
                  <c:v>5.0729594326674352</c:v>
                </c:pt>
                <c:pt idx="4376">
                  <c:v>6.0304339884616613</c:v>
                </c:pt>
                <c:pt idx="4377">
                  <c:v>5.0468347205032922</c:v>
                </c:pt>
                <c:pt idx="4378">
                  <c:v>6.0173969112747185</c:v>
                </c:pt>
                <c:pt idx="4379">
                  <c:v>4.9482203755249641</c:v>
                </c:pt>
                <c:pt idx="4380">
                  <c:v>6.0208030413290752</c:v>
                </c:pt>
                <c:pt idx="4381">
                  <c:v>6.031888318143853</c:v>
                </c:pt>
                <c:pt idx="4382">
                  <c:v>4.9040572713472086</c:v>
                </c:pt>
                <c:pt idx="4383">
                  <c:v>5.9714432335224412</c:v>
                </c:pt>
                <c:pt idx="4384">
                  <c:v>3.9194828788431773</c:v>
                </c:pt>
                <c:pt idx="4385">
                  <c:v>6.018907437381892</c:v>
                </c:pt>
                <c:pt idx="4386">
                  <c:v>6.01260572748199</c:v>
                </c:pt>
                <c:pt idx="4387">
                  <c:v>6.1725326868410377</c:v>
                </c:pt>
                <c:pt idx="4388">
                  <c:v>4.9725071993809999</c:v>
                </c:pt>
                <c:pt idx="4389">
                  <c:v>6.07346432980414</c:v>
                </c:pt>
                <c:pt idx="4390">
                  <c:v>6.0127524814991622</c:v>
                </c:pt>
                <c:pt idx="4391">
                  <c:v>6.0532880826277085</c:v>
                </c:pt>
                <c:pt idx="4392">
                  <c:v>5.2472564792408232</c:v>
                </c:pt>
                <c:pt idx="4393">
                  <c:v>5.040987169282527</c:v>
                </c:pt>
                <c:pt idx="4394">
                  <c:v>5.0517204979314743</c:v>
                </c:pt>
                <c:pt idx="4395">
                  <c:v>5.1228095948705175</c:v>
                </c:pt>
                <c:pt idx="4396">
                  <c:v>4.9589218562201705</c:v>
                </c:pt>
                <c:pt idx="4397">
                  <c:v>6.0532419229516572</c:v>
                </c:pt>
                <c:pt idx="4398">
                  <c:v>5.7710897647848451</c:v>
                </c:pt>
                <c:pt idx="4399">
                  <c:v>6.0644832739141448</c:v>
                </c:pt>
                <c:pt idx="4400">
                  <c:v>6.7976613293641215</c:v>
                </c:pt>
                <c:pt idx="4401">
                  <c:v>6.0467245722116623</c:v>
                </c:pt>
                <c:pt idx="4402">
                  <c:v>5.9295970809296037</c:v>
                </c:pt>
                <c:pt idx="4403">
                  <c:v>4.9536868122626174</c:v>
                </c:pt>
                <c:pt idx="4404">
                  <c:v>6.0238408445145151</c:v>
                </c:pt>
                <c:pt idx="4405">
                  <c:v>4.9895155619139002</c:v>
                </c:pt>
                <c:pt idx="4406">
                  <c:v>5.0000492243247328</c:v>
                </c:pt>
                <c:pt idx="4407">
                  <c:v>5.9240558796837712</c:v>
                </c:pt>
                <c:pt idx="4408">
                  <c:v>5.0741816038360668</c:v>
                </c:pt>
                <c:pt idx="4409">
                  <c:v>7.0637482485241883</c:v>
                </c:pt>
                <c:pt idx="4410">
                  <c:v>5.0159517990226261</c:v>
                </c:pt>
                <c:pt idx="4411">
                  <c:v>4.9510991546549832</c:v>
                </c:pt>
                <c:pt idx="4412">
                  <c:v>6.1973375841573404</c:v>
                </c:pt>
                <c:pt idx="4413">
                  <c:v>5.778807440347542</c:v>
                </c:pt>
                <c:pt idx="4414">
                  <c:v>4.9219790562460952</c:v>
                </c:pt>
                <c:pt idx="4415">
                  <c:v>5.8745180669394479</c:v>
                </c:pt>
                <c:pt idx="4416">
                  <c:v>5.8878336068015598</c:v>
                </c:pt>
                <c:pt idx="4417">
                  <c:v>5.978245889932964</c:v>
                </c:pt>
                <c:pt idx="4418">
                  <c:v>5.0436382344335309</c:v>
                </c:pt>
                <c:pt idx="4419">
                  <c:v>6.0453154587982629</c:v>
                </c:pt>
                <c:pt idx="4420">
                  <c:v>6.0655151430853849</c:v>
                </c:pt>
                <c:pt idx="4421">
                  <c:v>5.1292954068926822</c:v>
                </c:pt>
                <c:pt idx="4422">
                  <c:v>5.0523986888736356</c:v>
                </c:pt>
                <c:pt idx="4423">
                  <c:v>5.0908507299765775</c:v>
                </c:pt>
                <c:pt idx="4424">
                  <c:v>6.0206193974796758</c:v>
                </c:pt>
                <c:pt idx="4425">
                  <c:v>4.9978527682802447</c:v>
                </c:pt>
                <c:pt idx="4426">
                  <c:v>4.8852175577188603</c:v>
                </c:pt>
                <c:pt idx="4427">
                  <c:v>8.0317367771759542</c:v>
                </c:pt>
                <c:pt idx="4428">
                  <c:v>4.0370747812271359</c:v>
                </c:pt>
                <c:pt idx="4429">
                  <c:v>4.9334587520663407</c:v>
                </c:pt>
                <c:pt idx="4430">
                  <c:v>5.2263468579476493</c:v>
                </c:pt>
                <c:pt idx="4431">
                  <c:v>5.9408971687346233</c:v>
                </c:pt>
                <c:pt idx="4432">
                  <c:v>5.1163165832143171</c:v>
                </c:pt>
                <c:pt idx="4433">
                  <c:v>5.0768354344127067</c:v>
                </c:pt>
                <c:pt idx="4434">
                  <c:v>5.0507421571195481</c:v>
                </c:pt>
                <c:pt idx="4435">
                  <c:v>6.0963058359162723</c:v>
                </c:pt>
                <c:pt idx="4436">
                  <c:v>5.9485043071321995</c:v>
                </c:pt>
                <c:pt idx="4437">
                  <c:v>4.0151443755956517</c:v>
                </c:pt>
                <c:pt idx="4438">
                  <c:v>5.1613926877667913</c:v>
                </c:pt>
                <c:pt idx="4439">
                  <c:v>4.8894846589136227</c:v>
                </c:pt>
                <c:pt idx="4440">
                  <c:v>5.9962749196134055</c:v>
                </c:pt>
                <c:pt idx="4441">
                  <c:v>6.1957948576605002</c:v>
                </c:pt>
                <c:pt idx="4442">
                  <c:v>4.947813652811524</c:v>
                </c:pt>
                <c:pt idx="4443">
                  <c:v>5.089408386384239</c:v>
                </c:pt>
                <c:pt idx="4444">
                  <c:v>5.1288795631506749</c:v>
                </c:pt>
                <c:pt idx="4445">
                  <c:v>5.8237314125220072</c:v>
                </c:pt>
                <c:pt idx="4446">
                  <c:v>4.9686409164167804</c:v>
                </c:pt>
                <c:pt idx="4447">
                  <c:v>4.9296324995156144</c:v>
                </c:pt>
                <c:pt idx="4448">
                  <c:v>5.0473012942733906</c:v>
                </c:pt>
                <c:pt idx="4449">
                  <c:v>4.9094090347038506</c:v>
                </c:pt>
                <c:pt idx="4450">
                  <c:v>5.1258121333574644</c:v>
                </c:pt>
                <c:pt idx="4451">
                  <c:v>5.9773368941781175</c:v>
                </c:pt>
                <c:pt idx="4452">
                  <c:v>4.985885688346646</c:v>
                </c:pt>
                <c:pt idx="4453">
                  <c:v>4.9460573489328263</c:v>
                </c:pt>
                <c:pt idx="4454">
                  <c:v>6.0233817045387914</c:v>
                </c:pt>
                <c:pt idx="4455">
                  <c:v>4.9342280363534785</c:v>
                </c:pt>
                <c:pt idx="4456">
                  <c:v>6.0011031747578132</c:v>
                </c:pt>
                <c:pt idx="4457">
                  <c:v>5.9645945394469289</c:v>
                </c:pt>
                <c:pt idx="4458">
                  <c:v>6.1086746618135619</c:v>
                </c:pt>
                <c:pt idx="4459">
                  <c:v>5.9875714139365845</c:v>
                </c:pt>
                <c:pt idx="4460">
                  <c:v>4.02547647041541</c:v>
                </c:pt>
                <c:pt idx="4461">
                  <c:v>4.9845244938278128</c:v>
                </c:pt>
                <c:pt idx="4462">
                  <c:v>6.1388157601178053</c:v>
                </c:pt>
                <c:pt idx="4463">
                  <c:v>6.009744332618526</c:v>
                </c:pt>
                <c:pt idx="4464">
                  <c:v>5.924209244080104</c:v>
                </c:pt>
                <c:pt idx="4465">
                  <c:v>4.9533549304865563</c:v>
                </c:pt>
                <c:pt idx="4466">
                  <c:v>5.9450106576197896</c:v>
                </c:pt>
                <c:pt idx="4467">
                  <c:v>4.9498588570791089</c:v>
                </c:pt>
                <c:pt idx="4468">
                  <c:v>6.0393399903717393</c:v>
                </c:pt>
                <c:pt idx="4469">
                  <c:v>6.0380979401283659</c:v>
                </c:pt>
                <c:pt idx="4470">
                  <c:v>4.9254946527994212</c:v>
                </c:pt>
                <c:pt idx="4471">
                  <c:v>5.0081728873816616</c:v>
                </c:pt>
                <c:pt idx="4472">
                  <c:v>5.0384671474631713</c:v>
                </c:pt>
                <c:pt idx="4473">
                  <c:v>6.1429297779774323</c:v>
                </c:pt>
                <c:pt idx="4474">
                  <c:v>4.8763519556220842</c:v>
                </c:pt>
                <c:pt idx="4475">
                  <c:v>4.9547935756292469</c:v>
                </c:pt>
                <c:pt idx="4476">
                  <c:v>6.1332362986789102</c:v>
                </c:pt>
                <c:pt idx="4477">
                  <c:v>6.0162783005311509</c:v>
                </c:pt>
                <c:pt idx="4478">
                  <c:v>6.0021251321205584</c:v>
                </c:pt>
                <c:pt idx="4479">
                  <c:v>6.0282634577148331</c:v>
                </c:pt>
                <c:pt idx="4480">
                  <c:v>5.9438011834839308</c:v>
                </c:pt>
                <c:pt idx="4481">
                  <c:v>5.9307557279523939</c:v>
                </c:pt>
                <c:pt idx="4482">
                  <c:v>5.956678134922778</c:v>
                </c:pt>
                <c:pt idx="4483">
                  <c:v>5.890405435745758</c:v>
                </c:pt>
                <c:pt idx="4484">
                  <c:v>6.0231710279700241</c:v>
                </c:pt>
                <c:pt idx="4485">
                  <c:v>5.9674630832998341</c:v>
                </c:pt>
                <c:pt idx="4486">
                  <c:v>6.0813366072409663</c:v>
                </c:pt>
                <c:pt idx="4487">
                  <c:v>6.033557579933353</c:v>
                </c:pt>
                <c:pt idx="4488">
                  <c:v>6.0152782187897582</c:v>
                </c:pt>
                <c:pt idx="4489">
                  <c:v>5.903699736674251</c:v>
                </c:pt>
                <c:pt idx="4490">
                  <c:v>5.9846873733158219</c:v>
                </c:pt>
                <c:pt idx="4491">
                  <c:v>6.0962889523619426</c:v>
                </c:pt>
                <c:pt idx="4492">
                  <c:v>6.1307360883036051</c:v>
                </c:pt>
                <c:pt idx="4493">
                  <c:v>5.7689787545653886</c:v>
                </c:pt>
                <c:pt idx="4494">
                  <c:v>5.9522691630265054</c:v>
                </c:pt>
                <c:pt idx="4495">
                  <c:v>5.9294301827296341</c:v>
                </c:pt>
                <c:pt idx="4496">
                  <c:v>5.9256148932843411</c:v>
                </c:pt>
                <c:pt idx="4497">
                  <c:v>5.9212308509033065</c:v>
                </c:pt>
                <c:pt idx="4498">
                  <c:v>6.067994863582971</c:v>
                </c:pt>
                <c:pt idx="4499">
                  <c:v>5.9016880023885072</c:v>
                </c:pt>
                <c:pt idx="4500">
                  <c:v>6.0979470151355297</c:v>
                </c:pt>
                <c:pt idx="4501">
                  <c:v>6.0144701004376913</c:v>
                </c:pt>
                <c:pt idx="4502">
                  <c:v>5.8536861051056306</c:v>
                </c:pt>
                <c:pt idx="4503">
                  <c:v>5.9769463959509199</c:v>
                </c:pt>
                <c:pt idx="4504">
                  <c:v>5.9809233488784166</c:v>
                </c:pt>
                <c:pt idx="4505">
                  <c:v>5.975999335785894</c:v>
                </c:pt>
                <c:pt idx="4506">
                  <c:v>6.0591537286188926</c:v>
                </c:pt>
                <c:pt idx="4507">
                  <c:v>6.0830724455216707</c:v>
                </c:pt>
                <c:pt idx="4508">
                  <c:v>6.1240832044739015</c:v>
                </c:pt>
                <c:pt idx="4509">
                  <c:v>5.9322312212464583</c:v>
                </c:pt>
                <c:pt idx="4510">
                  <c:v>6.0752421408750097</c:v>
                </c:pt>
                <c:pt idx="4511">
                  <c:v>5.9896142645638966</c:v>
                </c:pt>
                <c:pt idx="4512">
                  <c:v>5.9972960913812994</c:v>
                </c:pt>
                <c:pt idx="4513">
                  <c:v>5.8886840668526323</c:v>
                </c:pt>
                <c:pt idx="4514">
                  <c:v>5.8266013513251345</c:v>
                </c:pt>
                <c:pt idx="4515">
                  <c:v>6.0990420057124597</c:v>
                </c:pt>
                <c:pt idx="4516">
                  <c:v>4.9745591808025171</c:v>
                </c:pt>
                <c:pt idx="4517">
                  <c:v>6.0469427430922176</c:v>
                </c:pt>
                <c:pt idx="4518">
                  <c:v>6.0474178385768562</c:v>
                </c:pt>
                <c:pt idx="4519">
                  <c:v>5.9628973219343369</c:v>
                </c:pt>
                <c:pt idx="4520">
                  <c:v>5.886287722288114</c:v>
                </c:pt>
                <c:pt idx="4521">
                  <c:v>5.7467431741679889</c:v>
                </c:pt>
                <c:pt idx="4522">
                  <c:v>5.8105443952452216</c:v>
                </c:pt>
                <c:pt idx="4523">
                  <c:v>5.9272121798424431</c:v>
                </c:pt>
                <c:pt idx="4524">
                  <c:v>5.8879291396578468</c:v>
                </c:pt>
                <c:pt idx="4525">
                  <c:v>6.042857695947438</c:v>
                </c:pt>
                <c:pt idx="4526">
                  <c:v>5.9846430783226685</c:v>
                </c:pt>
                <c:pt idx="4527">
                  <c:v>6.078838627148893</c:v>
                </c:pt>
                <c:pt idx="4528">
                  <c:v>5.8968726542306777</c:v>
                </c:pt>
                <c:pt idx="4529">
                  <c:v>5.9277183785267091</c:v>
                </c:pt>
                <c:pt idx="4530">
                  <c:v>5.0593030680265576</c:v>
                </c:pt>
                <c:pt idx="4531">
                  <c:v>6.0197545796630241</c:v>
                </c:pt>
                <c:pt idx="4532">
                  <c:v>6.0725961468795058</c:v>
                </c:pt>
                <c:pt idx="4533">
                  <c:v>6.0484303822624037</c:v>
                </c:pt>
                <c:pt idx="4534">
                  <c:v>5.919059293146395</c:v>
                </c:pt>
                <c:pt idx="4535">
                  <c:v>6.1203902386272455</c:v>
                </c:pt>
                <c:pt idx="4536">
                  <c:v>5.9540270915312146</c:v>
                </c:pt>
                <c:pt idx="4537">
                  <c:v>6.1262507841959515</c:v>
                </c:pt>
                <c:pt idx="4538">
                  <c:v>6.1477078067356654</c:v>
                </c:pt>
                <c:pt idx="4539">
                  <c:v>5.8430018812538247</c:v>
                </c:pt>
                <c:pt idx="4540">
                  <c:v>6.0447835061844568</c:v>
                </c:pt>
                <c:pt idx="4541">
                  <c:v>6.0871567469709902</c:v>
                </c:pt>
                <c:pt idx="4542">
                  <c:v>5.0657909389867104</c:v>
                </c:pt>
                <c:pt idx="4543">
                  <c:v>4.9675313859927401</c:v>
                </c:pt>
                <c:pt idx="4544">
                  <c:v>5.0354920789579101</c:v>
                </c:pt>
                <c:pt idx="4545">
                  <c:v>5.8608426339376072</c:v>
                </c:pt>
                <c:pt idx="4546">
                  <c:v>6.1687660141919363</c:v>
                </c:pt>
                <c:pt idx="4547">
                  <c:v>5.0122944575556456</c:v>
                </c:pt>
                <c:pt idx="4548">
                  <c:v>4.9784956419825699</c:v>
                </c:pt>
                <c:pt idx="4549">
                  <c:v>4.8228382424170331</c:v>
                </c:pt>
                <c:pt idx="4550">
                  <c:v>5.17091120574631</c:v>
                </c:pt>
                <c:pt idx="4551">
                  <c:v>6.1539239127293603</c:v>
                </c:pt>
                <c:pt idx="4552">
                  <c:v>7.071544136391001</c:v>
                </c:pt>
                <c:pt idx="4553">
                  <c:v>5.1855723734689532</c:v>
                </c:pt>
                <c:pt idx="4554">
                  <c:v>6.1577412767055604</c:v>
                </c:pt>
                <c:pt idx="4555">
                  <c:v>7.0016020904616365</c:v>
                </c:pt>
                <c:pt idx="4556">
                  <c:v>6.2073324857826773</c:v>
                </c:pt>
                <c:pt idx="4557">
                  <c:v>5.9219128338132325</c:v>
                </c:pt>
                <c:pt idx="4558">
                  <c:v>4.9506564058124001</c:v>
                </c:pt>
                <c:pt idx="4559">
                  <c:v>4.9300904593052239</c:v>
                </c:pt>
                <c:pt idx="4560">
                  <c:v>5.0530872093039445</c:v>
                </c:pt>
                <c:pt idx="4561">
                  <c:v>6.0364544669671831</c:v>
                </c:pt>
                <c:pt idx="4562">
                  <c:v>5.9881516193280113</c:v>
                </c:pt>
                <c:pt idx="4563">
                  <c:v>5.0617046447684286</c:v>
                </c:pt>
                <c:pt idx="4564">
                  <c:v>5.8655945839623254</c:v>
                </c:pt>
                <c:pt idx="4565">
                  <c:v>6.0797720875963641</c:v>
                </c:pt>
                <c:pt idx="4566">
                  <c:v>5.9697013292894114</c:v>
                </c:pt>
                <c:pt idx="4567">
                  <c:v>6.0408457839431202</c:v>
                </c:pt>
                <c:pt idx="4568">
                  <c:v>4.8578616648868813</c:v>
                </c:pt>
                <c:pt idx="4569">
                  <c:v>6.0782173251487501</c:v>
                </c:pt>
                <c:pt idx="4570">
                  <c:v>5.7803740394142826</c:v>
                </c:pt>
                <c:pt idx="4571">
                  <c:v>5.134228843373891</c:v>
                </c:pt>
                <c:pt idx="4572">
                  <c:v>4.9290963968243879</c:v>
                </c:pt>
                <c:pt idx="4573">
                  <c:v>5.221952434560885</c:v>
                </c:pt>
                <c:pt idx="4574">
                  <c:v>5.0108914366190387</c:v>
                </c:pt>
                <c:pt idx="4575">
                  <c:v>5.8418033487499823</c:v>
                </c:pt>
                <c:pt idx="4576">
                  <c:v>4.9331701187177286</c:v>
                </c:pt>
                <c:pt idx="4577">
                  <c:v>6.0440278700690175</c:v>
                </c:pt>
                <c:pt idx="4578">
                  <c:v>5.9042625779060529</c:v>
                </c:pt>
                <c:pt idx="4579">
                  <c:v>6.0743383220116991</c:v>
                </c:pt>
                <c:pt idx="4580">
                  <c:v>6.2589044701603598</c:v>
                </c:pt>
                <c:pt idx="4581">
                  <c:v>5.9716399674200114</c:v>
                </c:pt>
                <c:pt idx="4582">
                  <c:v>4.9324909755743462</c:v>
                </c:pt>
                <c:pt idx="4583">
                  <c:v>6.0445902885011025</c:v>
                </c:pt>
                <c:pt idx="4584">
                  <c:v>4.9767391195633603</c:v>
                </c:pt>
                <c:pt idx="4585">
                  <c:v>6.9965020072465283</c:v>
                </c:pt>
                <c:pt idx="4586">
                  <c:v>4.0847108495557887</c:v>
                </c:pt>
                <c:pt idx="4587">
                  <c:v>5.0278824071075841</c:v>
                </c:pt>
                <c:pt idx="4588">
                  <c:v>6.8925373019249978</c:v>
                </c:pt>
                <c:pt idx="4589">
                  <c:v>5.0393065565035453</c:v>
                </c:pt>
                <c:pt idx="4590">
                  <c:v>4.9968361443081601</c:v>
                </c:pt>
                <c:pt idx="4591">
                  <c:v>4.8352419199226535</c:v>
                </c:pt>
                <c:pt idx="4592">
                  <c:v>4.7999532233501139</c:v>
                </c:pt>
                <c:pt idx="4593">
                  <c:v>4.9927473665088087</c:v>
                </c:pt>
                <c:pt idx="4594">
                  <c:v>5.0354282032125628</c:v>
                </c:pt>
                <c:pt idx="4595">
                  <c:v>4.8914920098288448</c:v>
                </c:pt>
                <c:pt idx="4596">
                  <c:v>5.0362101482834989</c:v>
                </c:pt>
                <c:pt idx="4597">
                  <c:v>5.0773398566854278</c:v>
                </c:pt>
                <c:pt idx="4598">
                  <c:v>4.9398898466649328</c:v>
                </c:pt>
                <c:pt idx="4599">
                  <c:v>6.0181309897640443</c:v>
                </c:pt>
                <c:pt idx="4600">
                  <c:v>5.9690771770957722</c:v>
                </c:pt>
                <c:pt idx="4601">
                  <c:v>6.0634102159640708</c:v>
                </c:pt>
                <c:pt idx="4602">
                  <c:v>3.8281120535220845</c:v>
                </c:pt>
                <c:pt idx="4603">
                  <c:v>5.8282702443756218</c:v>
                </c:pt>
                <c:pt idx="4604">
                  <c:v>5.0199564038371456</c:v>
                </c:pt>
                <c:pt idx="4605">
                  <c:v>5.1691764369507229</c:v>
                </c:pt>
                <c:pt idx="4606">
                  <c:v>5.9928654747266972</c:v>
                </c:pt>
                <c:pt idx="4607">
                  <c:v>5.8746758431497001</c:v>
                </c:pt>
                <c:pt idx="4608">
                  <c:v>5.0793304119615961</c:v>
                </c:pt>
                <c:pt idx="4609">
                  <c:v>5.1237183592559115</c:v>
                </c:pt>
                <c:pt idx="4610">
                  <c:v>6.1280023990113799</c:v>
                </c:pt>
                <c:pt idx="4611">
                  <c:v>4.980121093578024</c:v>
                </c:pt>
                <c:pt idx="4612">
                  <c:v>5.1359763769404267</c:v>
                </c:pt>
                <c:pt idx="4613">
                  <c:v>5.9421002660233802</c:v>
                </c:pt>
                <c:pt idx="4614">
                  <c:v>4.0568202330497041</c:v>
                </c:pt>
                <c:pt idx="4615">
                  <c:v>4.9219049874494889</c:v>
                </c:pt>
                <c:pt idx="4616">
                  <c:v>6.9219899068676627</c:v>
                </c:pt>
                <c:pt idx="4617">
                  <c:v>4.8331351931009969</c:v>
                </c:pt>
                <c:pt idx="4618">
                  <c:v>5.9728077093664327</c:v>
                </c:pt>
                <c:pt idx="4619">
                  <c:v>5.0730273272765745</c:v>
                </c:pt>
                <c:pt idx="4620">
                  <c:v>6.0236869179455219</c:v>
                </c:pt>
                <c:pt idx="4621">
                  <c:v>5.9576154780920989</c:v>
                </c:pt>
                <c:pt idx="4622">
                  <c:v>4.8464307234825919</c:v>
                </c:pt>
                <c:pt idx="4623">
                  <c:v>3.0110575929625925</c:v>
                </c:pt>
                <c:pt idx="4624">
                  <c:v>5.9811174289779583</c:v>
                </c:pt>
                <c:pt idx="4625">
                  <c:v>4.0738400176168348</c:v>
                </c:pt>
                <c:pt idx="4626">
                  <c:v>4.854928344764323</c:v>
                </c:pt>
                <c:pt idx="4627">
                  <c:v>5.9395235392996142</c:v>
                </c:pt>
                <c:pt idx="4628">
                  <c:v>4.9014850426133707</c:v>
                </c:pt>
                <c:pt idx="4629">
                  <c:v>5.9023397088334892</c:v>
                </c:pt>
                <c:pt idx="4630">
                  <c:v>4.8599079497575586</c:v>
                </c:pt>
                <c:pt idx="4631">
                  <c:v>6.9588969874991786</c:v>
                </c:pt>
                <c:pt idx="4632">
                  <c:v>5.8137044025651701</c:v>
                </c:pt>
                <c:pt idx="4633">
                  <c:v>4.9359612637557317</c:v>
                </c:pt>
                <c:pt idx="4634">
                  <c:v>6.2847222764694051</c:v>
                </c:pt>
                <c:pt idx="4635">
                  <c:v>5.0626881218107922</c:v>
                </c:pt>
                <c:pt idx="4636">
                  <c:v>4.9634689959066689</c:v>
                </c:pt>
                <c:pt idx="4637">
                  <c:v>4.936990020073214</c:v>
                </c:pt>
                <c:pt idx="4638">
                  <c:v>5.9955514483111854</c:v>
                </c:pt>
                <c:pt idx="4639">
                  <c:v>5.0074125615470937</c:v>
                </c:pt>
                <c:pt idx="4640">
                  <c:v>6.0010511430357614</c:v>
                </c:pt>
                <c:pt idx="4641">
                  <c:v>5.0889404889736713</c:v>
                </c:pt>
                <c:pt idx="4642">
                  <c:v>6.0593206534830797</c:v>
                </c:pt>
                <c:pt idx="4643">
                  <c:v>4.1645748833277167</c:v>
                </c:pt>
                <c:pt idx="4644">
                  <c:v>5.0909997789237993</c:v>
                </c:pt>
                <c:pt idx="4645">
                  <c:v>6.9880138910765375</c:v>
                </c:pt>
                <c:pt idx="4646">
                  <c:v>4.9886475149356437</c:v>
                </c:pt>
                <c:pt idx="4647">
                  <c:v>6.0535168137853548</c:v>
                </c:pt>
                <c:pt idx="4648">
                  <c:v>4.8478871800368006</c:v>
                </c:pt>
                <c:pt idx="4649">
                  <c:v>6.0982912252267667</c:v>
                </c:pt>
                <c:pt idx="4650">
                  <c:v>4.9928799256021819</c:v>
                </c:pt>
                <c:pt idx="4651">
                  <c:v>5.2245651613534374</c:v>
                </c:pt>
                <c:pt idx="4652">
                  <c:v>5.9102384967185655</c:v>
                </c:pt>
                <c:pt idx="4653">
                  <c:v>5.0223789104958554</c:v>
                </c:pt>
                <c:pt idx="4654">
                  <c:v>6.0179770103728174</c:v>
                </c:pt>
                <c:pt idx="4655">
                  <c:v>5.9482324538323956</c:v>
                </c:pt>
                <c:pt idx="4656">
                  <c:v>5.7221088186205931</c:v>
                </c:pt>
                <c:pt idx="4657">
                  <c:v>4.946169038565964</c:v>
                </c:pt>
                <c:pt idx="4658">
                  <c:v>6.1907812342596671</c:v>
                </c:pt>
                <c:pt idx="4659">
                  <c:v>5.86206287327522</c:v>
                </c:pt>
                <c:pt idx="4660">
                  <c:v>5.8660867406517578</c:v>
                </c:pt>
                <c:pt idx="4661">
                  <c:v>5.0071824052265876</c:v>
                </c:pt>
                <c:pt idx="4662">
                  <c:v>4.9386816694086466</c:v>
                </c:pt>
                <c:pt idx="4663">
                  <c:v>5.9584715519688531</c:v>
                </c:pt>
                <c:pt idx="4664">
                  <c:v>5.1125991154836363</c:v>
                </c:pt>
                <c:pt idx="4665">
                  <c:v>5.0620171906644869</c:v>
                </c:pt>
                <c:pt idx="4666">
                  <c:v>3.8726031027464005</c:v>
                </c:pt>
                <c:pt idx="4667">
                  <c:v>5.0502714614475579</c:v>
                </c:pt>
                <c:pt idx="4668">
                  <c:v>6.0166263464269099</c:v>
                </c:pt>
                <c:pt idx="4669">
                  <c:v>5.00740398222921</c:v>
                </c:pt>
                <c:pt idx="4670">
                  <c:v>5.9413075472996431</c:v>
                </c:pt>
                <c:pt idx="4671">
                  <c:v>5.1975433876780608</c:v>
                </c:pt>
                <c:pt idx="4672">
                  <c:v>4.9294244920811492</c:v>
                </c:pt>
                <c:pt idx="4673">
                  <c:v>5.0067538575047807</c:v>
                </c:pt>
                <c:pt idx="4674">
                  <c:v>5.1105928571888857</c:v>
                </c:pt>
                <c:pt idx="4675">
                  <c:v>4.9227790802864444</c:v>
                </c:pt>
                <c:pt idx="4676">
                  <c:v>5.9837018815140537</c:v>
                </c:pt>
                <c:pt idx="4677">
                  <c:v>5.0303525830906128</c:v>
                </c:pt>
                <c:pt idx="4678">
                  <c:v>3.9727834138912965</c:v>
                </c:pt>
                <c:pt idx="4679">
                  <c:v>5.9242104339880326</c:v>
                </c:pt>
                <c:pt idx="4680">
                  <c:v>6.0105578472990455</c:v>
                </c:pt>
                <c:pt idx="4681">
                  <c:v>5.0492063192211685</c:v>
                </c:pt>
                <c:pt idx="4682">
                  <c:v>5.2038856879952027</c:v>
                </c:pt>
                <c:pt idx="4683">
                  <c:v>5.9605456443695966</c:v>
                </c:pt>
                <c:pt idx="4684">
                  <c:v>4.9428684728245385</c:v>
                </c:pt>
                <c:pt idx="4685">
                  <c:v>3.0811602771966777</c:v>
                </c:pt>
                <c:pt idx="4686">
                  <c:v>6.0351829367525065</c:v>
                </c:pt>
                <c:pt idx="4687">
                  <c:v>6.0136874442667745</c:v>
                </c:pt>
                <c:pt idx="4688">
                  <c:v>6.1429133408066736</c:v>
                </c:pt>
                <c:pt idx="4689">
                  <c:v>5.1674659902726647</c:v>
                </c:pt>
                <c:pt idx="4690">
                  <c:v>4.9158169486236361</c:v>
                </c:pt>
                <c:pt idx="4691">
                  <c:v>4.8999250701619133</c:v>
                </c:pt>
                <c:pt idx="4692">
                  <c:v>4.9534093227008835</c:v>
                </c:pt>
                <c:pt idx="4693">
                  <c:v>5.1071241627696118</c:v>
                </c:pt>
                <c:pt idx="4694">
                  <c:v>5.957720991842006</c:v>
                </c:pt>
                <c:pt idx="4695">
                  <c:v>4.1689103303500268</c:v>
                </c:pt>
                <c:pt idx="4696">
                  <c:v>5.7763883763692929</c:v>
                </c:pt>
                <c:pt idx="4697">
                  <c:v>6.005713730581876</c:v>
                </c:pt>
                <c:pt idx="4698">
                  <c:v>4.8507894248103769</c:v>
                </c:pt>
                <c:pt idx="4699">
                  <c:v>5.9605946573665447</c:v>
                </c:pt>
                <c:pt idx="4700">
                  <c:v>4.9745090588320293</c:v>
                </c:pt>
                <c:pt idx="4701">
                  <c:v>6.9759337085575321</c:v>
                </c:pt>
                <c:pt idx="4702">
                  <c:v>6.0272048168660337</c:v>
                </c:pt>
                <c:pt idx="4703">
                  <c:v>5.0780500683854131</c:v>
                </c:pt>
                <c:pt idx="4704">
                  <c:v>6.1873053487627327</c:v>
                </c:pt>
                <c:pt idx="4705">
                  <c:v>5.208483905370203</c:v>
                </c:pt>
                <c:pt idx="4706">
                  <c:v>5.1403915376455007</c:v>
                </c:pt>
                <c:pt idx="4707">
                  <c:v>5.0058090608652028</c:v>
                </c:pt>
                <c:pt idx="4708">
                  <c:v>4.925937340706926</c:v>
                </c:pt>
                <c:pt idx="4709">
                  <c:v>5.0038093236502101</c:v>
                </c:pt>
                <c:pt idx="4710">
                  <c:v>5.9110881702251676</c:v>
                </c:pt>
                <c:pt idx="4711">
                  <c:v>6.0399095640432208</c:v>
                </c:pt>
                <c:pt idx="4712">
                  <c:v>6.1451389695570686</c:v>
                </c:pt>
                <c:pt idx="4713">
                  <c:v>4.9448249004691123</c:v>
                </c:pt>
                <c:pt idx="4714">
                  <c:v>4.8313390700757992</c:v>
                </c:pt>
                <c:pt idx="4715">
                  <c:v>6.1184682849374141</c:v>
                </c:pt>
                <c:pt idx="4716">
                  <c:v>4.996375700659387</c:v>
                </c:pt>
                <c:pt idx="4717">
                  <c:v>6.047906694808999</c:v>
                </c:pt>
                <c:pt idx="4718">
                  <c:v>6.9925683284645173</c:v>
                </c:pt>
                <c:pt idx="4719">
                  <c:v>5.0969773405965908</c:v>
                </c:pt>
                <c:pt idx="4720">
                  <c:v>6.0064270067018013</c:v>
                </c:pt>
                <c:pt idx="4721">
                  <c:v>2.0475776868443525</c:v>
                </c:pt>
                <c:pt idx="4722">
                  <c:v>4.8396510018065015</c:v>
                </c:pt>
                <c:pt idx="4723">
                  <c:v>4.8740592625883759</c:v>
                </c:pt>
                <c:pt idx="4724">
                  <c:v>5.0290092329852891</c:v>
                </c:pt>
                <c:pt idx="4725">
                  <c:v>5.1615250367175438</c:v>
                </c:pt>
                <c:pt idx="4726">
                  <c:v>5.9916626300226712</c:v>
                </c:pt>
                <c:pt idx="4727">
                  <c:v>4.9707454800195245</c:v>
                </c:pt>
                <c:pt idx="4728">
                  <c:v>6.0089695576348632</c:v>
                </c:pt>
                <c:pt idx="4729">
                  <c:v>4.9806054014602816</c:v>
                </c:pt>
                <c:pt idx="4730">
                  <c:v>4.9558184884529171</c:v>
                </c:pt>
                <c:pt idx="4731">
                  <c:v>5.9056571577269832</c:v>
                </c:pt>
                <c:pt idx="4732">
                  <c:v>6.0108119337735513</c:v>
                </c:pt>
                <c:pt idx="4733">
                  <c:v>5.0155706370113124</c:v>
                </c:pt>
                <c:pt idx="4734">
                  <c:v>4.9947503314879924</c:v>
                </c:pt>
                <c:pt idx="4735">
                  <c:v>5.1289621075152247</c:v>
                </c:pt>
                <c:pt idx="4736">
                  <c:v>4.9533964504686265</c:v>
                </c:pt>
                <c:pt idx="4737">
                  <c:v>6.0462178867833645</c:v>
                </c:pt>
                <c:pt idx="4738">
                  <c:v>5.051507524139792</c:v>
                </c:pt>
                <c:pt idx="4739">
                  <c:v>5.8642773976933738</c:v>
                </c:pt>
                <c:pt idx="4740">
                  <c:v>4.9330773042958347</c:v>
                </c:pt>
                <c:pt idx="4741">
                  <c:v>5.0244158398450525</c:v>
                </c:pt>
                <c:pt idx="4742">
                  <c:v>5.0984287129727477</c:v>
                </c:pt>
                <c:pt idx="4743">
                  <c:v>5.8384210205342315</c:v>
                </c:pt>
                <c:pt idx="4744">
                  <c:v>5.8615906020423481</c:v>
                </c:pt>
                <c:pt idx="4745">
                  <c:v>6.0374410001208663</c:v>
                </c:pt>
                <c:pt idx="4746">
                  <c:v>7.1364037111289838</c:v>
                </c:pt>
                <c:pt idx="4747">
                  <c:v>5.9919810913090412</c:v>
                </c:pt>
                <c:pt idx="4748">
                  <c:v>4.9347636033798778</c:v>
                </c:pt>
                <c:pt idx="4749">
                  <c:v>5.0830996821375392</c:v>
                </c:pt>
                <c:pt idx="4750">
                  <c:v>5.900668594061802</c:v>
                </c:pt>
                <c:pt idx="4751">
                  <c:v>4.8629749816425933</c:v>
                </c:pt>
                <c:pt idx="4752">
                  <c:v>5.9073664105909733</c:v>
                </c:pt>
                <c:pt idx="4753">
                  <c:v>5.8537629302954262</c:v>
                </c:pt>
                <c:pt idx="4754">
                  <c:v>6.8574031011177574</c:v>
                </c:pt>
                <c:pt idx="4755">
                  <c:v>7.092771796918993</c:v>
                </c:pt>
                <c:pt idx="4756">
                  <c:v>6.0495965985140305</c:v>
                </c:pt>
                <c:pt idx="4757">
                  <c:v>4.9008683416815835</c:v>
                </c:pt>
                <c:pt idx="4758">
                  <c:v>4.9598487157606517</c:v>
                </c:pt>
                <c:pt idx="4759">
                  <c:v>3.7861809160641506</c:v>
                </c:pt>
                <c:pt idx="4760">
                  <c:v>6.0256618829814386</c:v>
                </c:pt>
                <c:pt idx="4761">
                  <c:v>5.0644875653213122</c:v>
                </c:pt>
                <c:pt idx="4762">
                  <c:v>6.012229577066754</c:v>
                </c:pt>
                <c:pt idx="4763">
                  <c:v>5.1328074250676421</c:v>
                </c:pt>
                <c:pt idx="4764">
                  <c:v>5.993710458233509</c:v>
                </c:pt>
                <c:pt idx="4765">
                  <c:v>4.8514313468405215</c:v>
                </c:pt>
                <c:pt idx="4766">
                  <c:v>5.0795531544485959</c:v>
                </c:pt>
                <c:pt idx="4767">
                  <c:v>5.0341446680279569</c:v>
                </c:pt>
                <c:pt idx="4768">
                  <c:v>6.0112551174021185</c:v>
                </c:pt>
                <c:pt idx="4769">
                  <c:v>4.0383262059962313</c:v>
                </c:pt>
                <c:pt idx="4770">
                  <c:v>5.0837051383424718</c:v>
                </c:pt>
                <c:pt idx="4771">
                  <c:v>5.0504669423152366</c:v>
                </c:pt>
                <c:pt idx="4772">
                  <c:v>6.0203919433822568</c:v>
                </c:pt>
                <c:pt idx="4773">
                  <c:v>4.8696205840388744</c:v>
                </c:pt>
                <c:pt idx="4774">
                  <c:v>5.0992339149013963</c:v>
                </c:pt>
                <c:pt idx="4775">
                  <c:v>4.9934673103307698</c:v>
                </c:pt>
                <c:pt idx="4776">
                  <c:v>6.1584809304570447</c:v>
                </c:pt>
                <c:pt idx="4777">
                  <c:v>4.0894269516043371</c:v>
                </c:pt>
                <c:pt idx="4778">
                  <c:v>5.7542040723655017</c:v>
                </c:pt>
                <c:pt idx="4779">
                  <c:v>5.0635067294713476</c:v>
                </c:pt>
                <c:pt idx="4780">
                  <c:v>6.1019530721723942</c:v>
                </c:pt>
                <c:pt idx="4781">
                  <c:v>5.0747307473693652</c:v>
                </c:pt>
                <c:pt idx="4782">
                  <c:v>6.1325091321199245</c:v>
                </c:pt>
                <c:pt idx="4783">
                  <c:v>5.035227318218074</c:v>
                </c:pt>
                <c:pt idx="4784">
                  <c:v>5.0357162727225724</c:v>
                </c:pt>
                <c:pt idx="4785">
                  <c:v>5.926202696498617</c:v>
                </c:pt>
                <c:pt idx="4786">
                  <c:v>5.0888707649002889</c:v>
                </c:pt>
                <c:pt idx="4787">
                  <c:v>6.1236918325638259</c:v>
                </c:pt>
                <c:pt idx="4788">
                  <c:v>4.9585743626078012</c:v>
                </c:pt>
                <c:pt idx="4789">
                  <c:v>5.8291905169799154</c:v>
                </c:pt>
                <c:pt idx="4790">
                  <c:v>5.0253042219640411</c:v>
                </c:pt>
                <c:pt idx="4791">
                  <c:v>5.9918087903918824</c:v>
                </c:pt>
                <c:pt idx="4792">
                  <c:v>6.1004807913363912</c:v>
                </c:pt>
                <c:pt idx="4793">
                  <c:v>4.8820337496144397</c:v>
                </c:pt>
                <c:pt idx="4794">
                  <c:v>5.0004818939615987</c:v>
                </c:pt>
                <c:pt idx="4795">
                  <c:v>6.0279798075412323</c:v>
                </c:pt>
                <c:pt idx="4796">
                  <c:v>4.1109272980030758</c:v>
                </c:pt>
                <c:pt idx="4797">
                  <c:v>5.1376517558276262</c:v>
                </c:pt>
                <c:pt idx="4798">
                  <c:v>4.9656861325245503</c:v>
                </c:pt>
                <c:pt idx="4799">
                  <c:v>6.0912765934629176</c:v>
                </c:pt>
                <c:pt idx="4800">
                  <c:v>5.1642615972629144</c:v>
                </c:pt>
                <c:pt idx="4801">
                  <c:v>5.010605236929436</c:v>
                </c:pt>
                <c:pt idx="4802">
                  <c:v>6.8849882585484439</c:v>
                </c:pt>
                <c:pt idx="4803">
                  <c:v>5.0683277954346613</c:v>
                </c:pt>
                <c:pt idx="4804">
                  <c:v>7.0807544300094687</c:v>
                </c:pt>
                <c:pt idx="4805">
                  <c:v>4.9473988727117941</c:v>
                </c:pt>
                <c:pt idx="4806">
                  <c:v>5.8126281835279121</c:v>
                </c:pt>
                <c:pt idx="4807">
                  <c:v>6.0593120034743482</c:v>
                </c:pt>
                <c:pt idx="4808">
                  <c:v>6.0922978649314823</c:v>
                </c:pt>
                <c:pt idx="4809">
                  <c:v>5.9932182020721418</c:v>
                </c:pt>
                <c:pt idx="4810">
                  <c:v>5.8961017114685932</c:v>
                </c:pt>
                <c:pt idx="4811">
                  <c:v>6.0036234149991907</c:v>
                </c:pt>
                <c:pt idx="4812">
                  <c:v>4.8918649980115623</c:v>
                </c:pt>
                <c:pt idx="4813">
                  <c:v>6.1050978726517178</c:v>
                </c:pt>
                <c:pt idx="4814">
                  <c:v>5.8632239855899755</c:v>
                </c:pt>
                <c:pt idx="4815">
                  <c:v>5.9033319678345801</c:v>
                </c:pt>
                <c:pt idx="4816">
                  <c:v>5.9601331027517102</c:v>
                </c:pt>
                <c:pt idx="4817">
                  <c:v>4.9117036655531594</c:v>
                </c:pt>
                <c:pt idx="4818">
                  <c:v>4.9690165154601837</c:v>
                </c:pt>
                <c:pt idx="4819">
                  <c:v>5.0769355722684493</c:v>
                </c:pt>
                <c:pt idx="4820">
                  <c:v>7.0485868540482262</c:v>
                </c:pt>
                <c:pt idx="4821">
                  <c:v>7.0012667835904123</c:v>
                </c:pt>
                <c:pt idx="4822">
                  <c:v>5.1107516391469821</c:v>
                </c:pt>
                <c:pt idx="4823">
                  <c:v>5.04740438577414</c:v>
                </c:pt>
                <c:pt idx="4824">
                  <c:v>5.9310505286108244</c:v>
                </c:pt>
                <c:pt idx="4825">
                  <c:v>4.8688383240798636</c:v>
                </c:pt>
                <c:pt idx="4826">
                  <c:v>5.0054591697999644</c:v>
                </c:pt>
                <c:pt idx="4827">
                  <c:v>6.28325372009588</c:v>
                </c:pt>
                <c:pt idx="4828">
                  <c:v>6.0168807864841733</c:v>
                </c:pt>
                <c:pt idx="4829">
                  <c:v>4.9150170005060989</c:v>
                </c:pt>
                <c:pt idx="4830">
                  <c:v>6.0513444254888089</c:v>
                </c:pt>
                <c:pt idx="4831">
                  <c:v>4.9108347975771114</c:v>
                </c:pt>
                <c:pt idx="4832">
                  <c:v>5.9023781379923292</c:v>
                </c:pt>
                <c:pt idx="4833">
                  <c:v>5.0682401169138283</c:v>
                </c:pt>
                <c:pt idx="4834">
                  <c:v>5.9431380264515896</c:v>
                </c:pt>
                <c:pt idx="4835">
                  <c:v>5.9541327708482887</c:v>
                </c:pt>
                <c:pt idx="4836">
                  <c:v>4.0403295810831494</c:v>
                </c:pt>
                <c:pt idx="4837">
                  <c:v>5.0940779609305471</c:v>
                </c:pt>
                <c:pt idx="4838">
                  <c:v>4.9810082621649689</c:v>
                </c:pt>
                <c:pt idx="4839">
                  <c:v>4.9403917588098594</c:v>
                </c:pt>
                <c:pt idx="4840">
                  <c:v>5.9254167714328823</c:v>
                </c:pt>
                <c:pt idx="4841">
                  <c:v>5.0221656742596705</c:v>
                </c:pt>
                <c:pt idx="4842">
                  <c:v>5.9471181657269643</c:v>
                </c:pt>
                <c:pt idx="4843">
                  <c:v>5.2367064022204994</c:v>
                </c:pt>
                <c:pt idx="4844">
                  <c:v>5.9044433608778757</c:v>
                </c:pt>
                <c:pt idx="4845">
                  <c:v>5.0080030047203987</c:v>
                </c:pt>
                <c:pt idx="4846">
                  <c:v>7.0050933976671201</c:v>
                </c:pt>
                <c:pt idx="4847">
                  <c:v>3.8090424766872872</c:v>
                </c:pt>
                <c:pt idx="4848">
                  <c:v>3.8925906431000445</c:v>
                </c:pt>
                <c:pt idx="4849">
                  <c:v>3.9132672098840127</c:v>
                </c:pt>
                <c:pt idx="4850">
                  <c:v>3.9600078963142744</c:v>
                </c:pt>
                <c:pt idx="4851">
                  <c:v>3.9395082333853799</c:v>
                </c:pt>
                <c:pt idx="4852">
                  <c:v>4.1855695969566034</c:v>
                </c:pt>
                <c:pt idx="4853">
                  <c:v>4.0238897920135184</c:v>
                </c:pt>
                <c:pt idx="4854">
                  <c:v>4.1544836135091243</c:v>
                </c:pt>
                <c:pt idx="4855">
                  <c:v>4.0947245036027704</c:v>
                </c:pt>
                <c:pt idx="4856">
                  <c:v>3.8550364527655527</c:v>
                </c:pt>
                <c:pt idx="4857">
                  <c:v>5.8396633617012217</c:v>
                </c:pt>
                <c:pt idx="4858">
                  <c:v>4.9327396343613303</c:v>
                </c:pt>
                <c:pt idx="4859">
                  <c:v>5.008399117092484</c:v>
                </c:pt>
                <c:pt idx="4860">
                  <c:v>4.9081039637646811</c:v>
                </c:pt>
                <c:pt idx="4861">
                  <c:v>4.8234567092316736</c:v>
                </c:pt>
                <c:pt idx="4862">
                  <c:v>5.8497366048149955</c:v>
                </c:pt>
                <c:pt idx="4863">
                  <c:v>6.001339654508044</c:v>
                </c:pt>
                <c:pt idx="4864">
                  <c:v>5.0370171831695485</c:v>
                </c:pt>
                <c:pt idx="4865">
                  <c:v>4.9002890040985765</c:v>
                </c:pt>
                <c:pt idx="4866">
                  <c:v>4.9105248389943981</c:v>
                </c:pt>
                <c:pt idx="4867">
                  <c:v>5.8857774089816584</c:v>
                </c:pt>
                <c:pt idx="4868">
                  <c:v>7.0460948818630555</c:v>
                </c:pt>
                <c:pt idx="4869">
                  <c:v>4.9098175988800072</c:v>
                </c:pt>
                <c:pt idx="4870">
                  <c:v>4.9491891116039817</c:v>
                </c:pt>
                <c:pt idx="4871">
                  <c:v>5.99276709975803</c:v>
                </c:pt>
                <c:pt idx="4872">
                  <c:v>5.9384142823992025</c:v>
                </c:pt>
                <c:pt idx="4873">
                  <c:v>5.8542995259491697</c:v>
                </c:pt>
                <c:pt idx="4874">
                  <c:v>4.9104007136908274</c:v>
                </c:pt>
                <c:pt idx="4875">
                  <c:v>5.06725413078461</c:v>
                </c:pt>
                <c:pt idx="4876">
                  <c:v>6.1615771142154117</c:v>
                </c:pt>
                <c:pt idx="4877">
                  <c:v>4.9581963758894876</c:v>
                </c:pt>
                <c:pt idx="4878">
                  <c:v>4.8051001117007077</c:v>
                </c:pt>
                <c:pt idx="4879">
                  <c:v>4.6814781603275675</c:v>
                </c:pt>
                <c:pt idx="4880">
                  <c:v>3.9400223252959083</c:v>
                </c:pt>
                <c:pt idx="4881">
                  <c:v>6.0112289369128522</c:v>
                </c:pt>
                <c:pt idx="4882">
                  <c:v>4.9418282779829061</c:v>
                </c:pt>
                <c:pt idx="4883">
                  <c:v>5.924999531479556</c:v>
                </c:pt>
                <c:pt idx="4884">
                  <c:v>4.9562258806367465</c:v>
                </c:pt>
                <c:pt idx="4885">
                  <c:v>4.9297455245148534</c:v>
                </c:pt>
                <c:pt idx="4886">
                  <c:v>4.981233315175138</c:v>
                </c:pt>
                <c:pt idx="4887">
                  <c:v>3.9940940159272791</c:v>
                </c:pt>
                <c:pt idx="4888">
                  <c:v>5.8854029799368046</c:v>
                </c:pt>
                <c:pt idx="4889">
                  <c:v>6.0257172076340151</c:v>
                </c:pt>
                <c:pt idx="4890">
                  <c:v>4.8575668806564662</c:v>
                </c:pt>
                <c:pt idx="4891">
                  <c:v>4.9323326226265118</c:v>
                </c:pt>
                <c:pt idx="4892">
                  <c:v>4.9986312443085268</c:v>
                </c:pt>
                <c:pt idx="4893">
                  <c:v>5.2053249422406473</c:v>
                </c:pt>
                <c:pt idx="4894">
                  <c:v>5.9029036172151956</c:v>
                </c:pt>
                <c:pt idx="4895">
                  <c:v>4.8566413436828437</c:v>
                </c:pt>
                <c:pt idx="4896">
                  <c:v>5.098620213188287</c:v>
                </c:pt>
                <c:pt idx="4897">
                  <c:v>5.0206033545961581</c:v>
                </c:pt>
                <c:pt idx="4898">
                  <c:v>5.1117301155809809</c:v>
                </c:pt>
                <c:pt idx="4899">
                  <c:v>4.8761867520321962</c:v>
                </c:pt>
                <c:pt idx="4900">
                  <c:v>4.8940190605800371</c:v>
                </c:pt>
                <c:pt idx="4901">
                  <c:v>4.9517803624183268</c:v>
                </c:pt>
                <c:pt idx="4902">
                  <c:v>4.9971737917251691</c:v>
                </c:pt>
                <c:pt idx="4903">
                  <c:v>5.775671886986018</c:v>
                </c:pt>
                <c:pt idx="4904">
                  <c:v>5.0274182625618362</c:v>
                </c:pt>
                <c:pt idx="4905">
                  <c:v>5.2409062729559199</c:v>
                </c:pt>
                <c:pt idx="4906">
                  <c:v>7.1203772052773342</c:v>
                </c:pt>
                <c:pt idx="4907">
                  <c:v>7.1618207681544508</c:v>
                </c:pt>
                <c:pt idx="4908">
                  <c:v>5.0890874236356272</c:v>
                </c:pt>
                <c:pt idx="4909">
                  <c:v>5.1359917239546524</c:v>
                </c:pt>
                <c:pt idx="4910">
                  <c:v>6.8776437409297735</c:v>
                </c:pt>
                <c:pt idx="4911">
                  <c:v>5.0026620012758727</c:v>
                </c:pt>
                <c:pt idx="4912">
                  <c:v>6.8501098035981594</c:v>
                </c:pt>
                <c:pt idx="4913">
                  <c:v>6.9825881821777473</c:v>
                </c:pt>
                <c:pt idx="4914">
                  <c:v>4.9961147468467537</c:v>
                </c:pt>
                <c:pt idx="4915">
                  <c:v>5.1360971367484574</c:v>
                </c:pt>
                <c:pt idx="4916">
                  <c:v>7.0021881082186015</c:v>
                </c:pt>
                <c:pt idx="4917">
                  <c:v>7.1239904485459675</c:v>
                </c:pt>
                <c:pt idx="4918">
                  <c:v>5.1867291500258679</c:v>
                </c:pt>
                <c:pt idx="4919">
                  <c:v>7.0846459922260054</c:v>
                </c:pt>
                <c:pt idx="4920">
                  <c:v>6.9733899891254154</c:v>
                </c:pt>
                <c:pt idx="4921">
                  <c:v>7.1069277447918626</c:v>
                </c:pt>
                <c:pt idx="4922">
                  <c:v>4.9544045749616616</c:v>
                </c:pt>
                <c:pt idx="4923">
                  <c:v>6.9746170066564863</c:v>
                </c:pt>
                <c:pt idx="4924">
                  <c:v>4.8744403001346903</c:v>
                </c:pt>
                <c:pt idx="4925">
                  <c:v>7.1923735127019714</c:v>
                </c:pt>
                <c:pt idx="4926">
                  <c:v>4.9132486306401804</c:v>
                </c:pt>
                <c:pt idx="4927">
                  <c:v>5.0129196248476644</c:v>
                </c:pt>
                <c:pt idx="4928">
                  <c:v>5.0578194985364373</c:v>
                </c:pt>
                <c:pt idx="4929">
                  <c:v>7.0167338201798861</c:v>
                </c:pt>
                <c:pt idx="4930">
                  <c:v>6.1051710799684571</c:v>
                </c:pt>
                <c:pt idx="4931">
                  <c:v>5.0726431475399014</c:v>
                </c:pt>
                <c:pt idx="4932">
                  <c:v>6.1070785054559344</c:v>
                </c:pt>
                <c:pt idx="4933">
                  <c:v>6.1342247574966304</c:v>
                </c:pt>
                <c:pt idx="4934">
                  <c:v>6.0304875600014904</c:v>
                </c:pt>
                <c:pt idx="4935">
                  <c:v>5.9714237269532022</c:v>
                </c:pt>
                <c:pt idx="4936">
                  <c:v>5.9911766111256819</c:v>
                </c:pt>
                <c:pt idx="4937">
                  <c:v>6.068484098436806</c:v>
                </c:pt>
                <c:pt idx="4938">
                  <c:v>6.0440052511656139</c:v>
                </c:pt>
                <c:pt idx="4939">
                  <c:v>6.2484127562169967</c:v>
                </c:pt>
                <c:pt idx="4940">
                  <c:v>2.9956115445707994</c:v>
                </c:pt>
                <c:pt idx="4941">
                  <c:v>5.0490530030599023</c:v>
                </c:pt>
                <c:pt idx="4942">
                  <c:v>5.9214368591059605</c:v>
                </c:pt>
                <c:pt idx="4943">
                  <c:v>4.9829211504808564</c:v>
                </c:pt>
                <c:pt idx="4944">
                  <c:v>4.9733764254809643</c:v>
                </c:pt>
                <c:pt idx="4945">
                  <c:v>4.897401769793178</c:v>
                </c:pt>
                <c:pt idx="4946">
                  <c:v>6.0109331246191937</c:v>
                </c:pt>
                <c:pt idx="4947">
                  <c:v>4.9374987409347053</c:v>
                </c:pt>
                <c:pt idx="4948">
                  <c:v>4.8897929063285526</c:v>
                </c:pt>
                <c:pt idx="4949">
                  <c:v>5.9200144867667825</c:v>
                </c:pt>
                <c:pt idx="4950">
                  <c:v>4.9709230853889483</c:v>
                </c:pt>
                <c:pt idx="4951">
                  <c:v>6.0395322145610564</c:v>
                </c:pt>
                <c:pt idx="4952">
                  <c:v>5.947014749341915</c:v>
                </c:pt>
                <c:pt idx="4953">
                  <c:v>6.2108330150961528</c:v>
                </c:pt>
                <c:pt idx="4954">
                  <c:v>3.9363179513313145</c:v>
                </c:pt>
                <c:pt idx="4955">
                  <c:v>6.1521669055326944</c:v>
                </c:pt>
                <c:pt idx="4956">
                  <c:v>4.0556803931193848</c:v>
                </c:pt>
                <c:pt idx="4957">
                  <c:v>6.0331573368889009</c:v>
                </c:pt>
                <c:pt idx="4958">
                  <c:v>6.1096134591035147</c:v>
                </c:pt>
                <c:pt idx="4959">
                  <c:v>6.0520049687075375</c:v>
                </c:pt>
                <c:pt idx="4960">
                  <c:v>5.0602625019116303</c:v>
                </c:pt>
                <c:pt idx="4961">
                  <c:v>5.0449449309169978</c:v>
                </c:pt>
                <c:pt idx="4962">
                  <c:v>6.0783886969793626</c:v>
                </c:pt>
                <c:pt idx="4963">
                  <c:v>5.9480200200516222</c:v>
                </c:pt>
                <c:pt idx="4964">
                  <c:v>5.104176145375356</c:v>
                </c:pt>
                <c:pt idx="4965">
                  <c:v>4.9687570607046334</c:v>
                </c:pt>
                <c:pt idx="4966">
                  <c:v>5.1078203707442249</c:v>
                </c:pt>
                <c:pt idx="4967">
                  <c:v>6.1332995631905005</c:v>
                </c:pt>
                <c:pt idx="4968">
                  <c:v>5.0147712039340924</c:v>
                </c:pt>
                <c:pt idx="4969">
                  <c:v>7.1084734979424882</c:v>
                </c:pt>
                <c:pt idx="4970">
                  <c:v>5.9298224194350402</c:v>
                </c:pt>
                <c:pt idx="4971">
                  <c:v>6.04119553849746</c:v>
                </c:pt>
                <c:pt idx="4972">
                  <c:v>6.2047947795964413</c:v>
                </c:pt>
                <c:pt idx="4973">
                  <c:v>6.0668458325827146</c:v>
                </c:pt>
                <c:pt idx="4974">
                  <c:v>5.0480089822551957</c:v>
                </c:pt>
                <c:pt idx="4975">
                  <c:v>5.0069799528089742</c:v>
                </c:pt>
                <c:pt idx="4976">
                  <c:v>5.9178193222249105</c:v>
                </c:pt>
                <c:pt idx="4977">
                  <c:v>6.0687380368629302</c:v>
                </c:pt>
                <c:pt idx="4978">
                  <c:v>5.0196346800800331</c:v>
                </c:pt>
                <c:pt idx="4979">
                  <c:v>5.949392015025972</c:v>
                </c:pt>
                <c:pt idx="4980">
                  <c:v>6.0742287024083543</c:v>
                </c:pt>
                <c:pt idx="4981">
                  <c:v>6.0198111933180751</c:v>
                </c:pt>
                <c:pt idx="4982">
                  <c:v>4.9385315337034283</c:v>
                </c:pt>
                <c:pt idx="4983">
                  <c:v>6.0012190571661943</c:v>
                </c:pt>
                <c:pt idx="4984">
                  <c:v>5.0660141249195405</c:v>
                </c:pt>
                <c:pt idx="4985">
                  <c:v>6.0466642786930045</c:v>
                </c:pt>
                <c:pt idx="4986">
                  <c:v>5.8081879601445081</c:v>
                </c:pt>
                <c:pt idx="4987">
                  <c:v>5.7938534454397947</c:v>
                </c:pt>
                <c:pt idx="4988">
                  <c:v>6.1028960911498595</c:v>
                </c:pt>
                <c:pt idx="4989">
                  <c:v>5.993373595116636</c:v>
                </c:pt>
                <c:pt idx="4990">
                  <c:v>5.0818514243959072</c:v>
                </c:pt>
                <c:pt idx="4991">
                  <c:v>4.9407883843325529</c:v>
                </c:pt>
                <c:pt idx="4992">
                  <c:v>5.0404661019290504</c:v>
                </c:pt>
                <c:pt idx="4993">
                  <c:v>5.1084198280314439</c:v>
                </c:pt>
                <c:pt idx="4994">
                  <c:v>7.089676982685571</c:v>
                </c:pt>
                <c:pt idx="4995">
                  <c:v>6.1157804501538422</c:v>
                </c:pt>
                <c:pt idx="4996">
                  <c:v>4.9729840491265342</c:v>
                </c:pt>
                <c:pt idx="4997">
                  <c:v>5.134856975456116</c:v>
                </c:pt>
                <c:pt idx="4998">
                  <c:v>6.0119280802206045</c:v>
                </c:pt>
                <c:pt idx="4999">
                  <c:v>5.9910910414379366</c:v>
                </c:pt>
                <c:pt idx="5000">
                  <c:v>4.9545596400861305</c:v>
                </c:pt>
                <c:pt idx="5001">
                  <c:v>5.8651430845996551</c:v>
                </c:pt>
                <c:pt idx="5002">
                  <c:v>5.011249876337768</c:v>
                </c:pt>
                <c:pt idx="5003">
                  <c:v>6.0293446243366597</c:v>
                </c:pt>
                <c:pt idx="5004">
                  <c:v>5.9457184313325433</c:v>
                </c:pt>
                <c:pt idx="5005">
                  <c:v>5.0539993686834679</c:v>
                </c:pt>
                <c:pt idx="5006">
                  <c:v>4.9148020141253923</c:v>
                </c:pt>
                <c:pt idx="5007">
                  <c:v>6.9609395163065866</c:v>
                </c:pt>
                <c:pt idx="5008">
                  <c:v>6.0683318365021313</c:v>
                </c:pt>
                <c:pt idx="5009">
                  <c:v>5.0328386876135385</c:v>
                </c:pt>
                <c:pt idx="5010">
                  <c:v>6.0406635022997515</c:v>
                </c:pt>
                <c:pt idx="5011">
                  <c:v>6.0686979083783612</c:v>
                </c:pt>
                <c:pt idx="5012">
                  <c:v>6.0978993511118276</c:v>
                </c:pt>
                <c:pt idx="5013">
                  <c:v>3.8581762440208278</c:v>
                </c:pt>
                <c:pt idx="5014">
                  <c:v>5.9120115930726493</c:v>
                </c:pt>
                <c:pt idx="5015">
                  <c:v>5.9308429031283074</c:v>
                </c:pt>
                <c:pt idx="5016">
                  <c:v>5.0792510042345649</c:v>
                </c:pt>
                <c:pt idx="5017">
                  <c:v>6.0269228920082432</c:v>
                </c:pt>
                <c:pt idx="5018">
                  <c:v>5.0303823191177708</c:v>
                </c:pt>
                <c:pt idx="5019">
                  <c:v>4.9524370794350334</c:v>
                </c:pt>
                <c:pt idx="5020">
                  <c:v>6.071143199162246</c:v>
                </c:pt>
                <c:pt idx="5021">
                  <c:v>5.0468022959247358</c:v>
                </c:pt>
                <c:pt idx="5022">
                  <c:v>6.1811779681666223</c:v>
                </c:pt>
                <c:pt idx="5023">
                  <c:v>5.8653496159212102</c:v>
                </c:pt>
                <c:pt idx="5024">
                  <c:v>6.1298602470861905</c:v>
                </c:pt>
                <c:pt idx="5025">
                  <c:v>5.9850013650620912</c:v>
                </c:pt>
                <c:pt idx="5026">
                  <c:v>4.8465764400374791</c:v>
                </c:pt>
                <c:pt idx="5027">
                  <c:v>5.9946633144354973</c:v>
                </c:pt>
                <c:pt idx="5028">
                  <c:v>6.0960435182371846</c:v>
                </c:pt>
                <c:pt idx="5029">
                  <c:v>5.9648964344176099</c:v>
                </c:pt>
                <c:pt idx="5030">
                  <c:v>6.1116378857966982</c:v>
                </c:pt>
                <c:pt idx="5031">
                  <c:v>5.7070466395653714</c:v>
                </c:pt>
                <c:pt idx="5032">
                  <c:v>5.0199486436171279</c:v>
                </c:pt>
                <c:pt idx="5033">
                  <c:v>6.0786226353268278</c:v>
                </c:pt>
                <c:pt idx="5034">
                  <c:v>4.009445693148578</c:v>
                </c:pt>
                <c:pt idx="5035">
                  <c:v>5.9587795546441003</c:v>
                </c:pt>
                <c:pt idx="5036">
                  <c:v>5.9926271602356573</c:v>
                </c:pt>
                <c:pt idx="5037">
                  <c:v>6.0055593097644051</c:v>
                </c:pt>
                <c:pt idx="5038">
                  <c:v>6.2457191284954838</c:v>
                </c:pt>
                <c:pt idx="5039">
                  <c:v>5.922775525645136</c:v>
                </c:pt>
                <c:pt idx="5040">
                  <c:v>6.029530543759428</c:v>
                </c:pt>
                <c:pt idx="5041">
                  <c:v>5.0353378471504575</c:v>
                </c:pt>
                <c:pt idx="5042">
                  <c:v>5.9767835657256203</c:v>
                </c:pt>
                <c:pt idx="5043">
                  <c:v>5.9687695921866153</c:v>
                </c:pt>
                <c:pt idx="5044">
                  <c:v>5.9586945790745149</c:v>
                </c:pt>
                <c:pt idx="5045">
                  <c:v>5.0254555914876082</c:v>
                </c:pt>
                <c:pt idx="5046">
                  <c:v>5.7995000735265085</c:v>
                </c:pt>
                <c:pt idx="5047">
                  <c:v>5.9671937138107385</c:v>
                </c:pt>
                <c:pt idx="5048">
                  <c:v>5.9448547825255025</c:v>
                </c:pt>
                <c:pt idx="5049">
                  <c:v>4.9743068558988623</c:v>
                </c:pt>
                <c:pt idx="5050">
                  <c:v>6.066651614989345</c:v>
                </c:pt>
                <c:pt idx="5051">
                  <c:v>6.2610251606965415</c:v>
                </c:pt>
                <c:pt idx="5052">
                  <c:v>5.9403433391045457</c:v>
                </c:pt>
                <c:pt idx="5053">
                  <c:v>5.9155208078203811</c:v>
                </c:pt>
                <c:pt idx="5054">
                  <c:v>5.0462245729909201</c:v>
                </c:pt>
                <c:pt idx="5055">
                  <c:v>6.0123482450790959</c:v>
                </c:pt>
                <c:pt idx="5056">
                  <c:v>6.1946960969361182</c:v>
                </c:pt>
                <c:pt idx="5057">
                  <c:v>5.9730915289890234</c:v>
                </c:pt>
                <c:pt idx="5058">
                  <c:v>5.1150625101268945</c:v>
                </c:pt>
                <c:pt idx="5059">
                  <c:v>7.1754260668771961</c:v>
                </c:pt>
                <c:pt idx="5060">
                  <c:v>6.1068579299054218</c:v>
                </c:pt>
                <c:pt idx="5061">
                  <c:v>6.0216116697679158</c:v>
                </c:pt>
                <c:pt idx="5062">
                  <c:v>4.9005411630220541</c:v>
                </c:pt>
                <c:pt idx="5063">
                  <c:v>6.0334805543666032</c:v>
                </c:pt>
                <c:pt idx="5064">
                  <c:v>5.0938395637805867</c:v>
                </c:pt>
                <c:pt idx="5065">
                  <c:v>6.1112638698907045</c:v>
                </c:pt>
                <c:pt idx="5066">
                  <c:v>4.9996037305463528</c:v>
                </c:pt>
                <c:pt idx="5067">
                  <c:v>6.0088612974706264</c:v>
                </c:pt>
                <c:pt idx="5068">
                  <c:v>4.9947612645633352</c:v>
                </c:pt>
                <c:pt idx="5069">
                  <c:v>5.0334258579452653</c:v>
                </c:pt>
                <c:pt idx="5070">
                  <c:v>5.0317866196551462</c:v>
                </c:pt>
                <c:pt idx="5071">
                  <c:v>6.0341280056389053</c:v>
                </c:pt>
                <c:pt idx="5072">
                  <c:v>5.782085709291902</c:v>
                </c:pt>
                <c:pt idx="5073">
                  <c:v>6.0380662051118517</c:v>
                </c:pt>
                <c:pt idx="5074">
                  <c:v>5.9017333770187363</c:v>
                </c:pt>
                <c:pt idx="5075">
                  <c:v>4.7898342506174068</c:v>
                </c:pt>
                <c:pt idx="5076">
                  <c:v>4.9269076348188428</c:v>
                </c:pt>
                <c:pt idx="5077">
                  <c:v>6.9914972096573651</c:v>
                </c:pt>
                <c:pt idx="5078">
                  <c:v>5.0703580237584243</c:v>
                </c:pt>
                <c:pt idx="5079">
                  <c:v>5.1292516040849723</c:v>
                </c:pt>
                <c:pt idx="5080">
                  <c:v>4.8931463077257726</c:v>
                </c:pt>
                <c:pt idx="5081">
                  <c:v>5.0818820922180343</c:v>
                </c:pt>
                <c:pt idx="5082">
                  <c:v>6.1042319836226859</c:v>
                </c:pt>
                <c:pt idx="5083">
                  <c:v>6.0199152458218368</c:v>
                </c:pt>
                <c:pt idx="5084">
                  <c:v>4.826656477689192</c:v>
                </c:pt>
                <c:pt idx="5085">
                  <c:v>6.066430630762575</c:v>
                </c:pt>
                <c:pt idx="5086">
                  <c:v>5.0549607683646585</c:v>
                </c:pt>
                <c:pt idx="5087">
                  <c:v>4.9733892749220061</c:v>
                </c:pt>
                <c:pt idx="5088">
                  <c:v>6.1117537063086322</c:v>
                </c:pt>
                <c:pt idx="5089">
                  <c:v>4.9472201249815333</c:v>
                </c:pt>
                <c:pt idx="5090">
                  <c:v>5.0460753986650797</c:v>
                </c:pt>
                <c:pt idx="5091">
                  <c:v>5.0239507649505892</c:v>
                </c:pt>
                <c:pt idx="5092">
                  <c:v>6.0274999741101247</c:v>
                </c:pt>
                <c:pt idx="5093">
                  <c:v>6.1300299513877334</c:v>
                </c:pt>
                <c:pt idx="5094">
                  <c:v>5.0412891553466554</c:v>
                </c:pt>
                <c:pt idx="5095">
                  <c:v>6.0170324833944857</c:v>
                </c:pt>
                <c:pt idx="5096">
                  <c:v>5.9939003122523369</c:v>
                </c:pt>
                <c:pt idx="5097">
                  <c:v>7.0038650806501082</c:v>
                </c:pt>
                <c:pt idx="5098">
                  <c:v>5.8632789037366502</c:v>
                </c:pt>
                <c:pt idx="5099">
                  <c:v>5.9917140309642267</c:v>
                </c:pt>
                <c:pt idx="5100">
                  <c:v>5.0473478290165072</c:v>
                </c:pt>
                <c:pt idx="5101">
                  <c:v>6.0162140464903375</c:v>
                </c:pt>
                <c:pt idx="5102">
                  <c:v>6.0933354576975551</c:v>
                </c:pt>
                <c:pt idx="5103">
                  <c:v>4.9466471957646236</c:v>
                </c:pt>
                <c:pt idx="5104">
                  <c:v>6.0465112260220586</c:v>
                </c:pt>
                <c:pt idx="5105">
                  <c:v>5.9079277538397061</c:v>
                </c:pt>
                <c:pt idx="5106">
                  <c:v>3.9538270615622149</c:v>
                </c:pt>
                <c:pt idx="5107">
                  <c:v>5.9896402068368753</c:v>
                </c:pt>
                <c:pt idx="5108">
                  <c:v>5.9387109424058302</c:v>
                </c:pt>
                <c:pt idx="5109">
                  <c:v>5.85248117319082</c:v>
                </c:pt>
                <c:pt idx="5110">
                  <c:v>6.1527771022023749</c:v>
                </c:pt>
                <c:pt idx="5111">
                  <c:v>4.8801254268958401</c:v>
                </c:pt>
                <c:pt idx="5112">
                  <c:v>5.0200356159610529</c:v>
                </c:pt>
                <c:pt idx="5113">
                  <c:v>5.0581672189762816</c:v>
                </c:pt>
                <c:pt idx="5114">
                  <c:v>4.8687698729552613</c:v>
                </c:pt>
                <c:pt idx="5115">
                  <c:v>5.999787971862216</c:v>
                </c:pt>
                <c:pt idx="5116">
                  <c:v>5.9160466342968299</c:v>
                </c:pt>
                <c:pt idx="5117">
                  <c:v>4.7989531038114208</c:v>
                </c:pt>
                <c:pt idx="5118">
                  <c:v>6.0926435833180976</c:v>
                </c:pt>
                <c:pt idx="5119">
                  <c:v>4.9012023563519449</c:v>
                </c:pt>
                <c:pt idx="5120">
                  <c:v>5.8204219973444404</c:v>
                </c:pt>
                <c:pt idx="5121">
                  <c:v>4.9347872419895626</c:v>
                </c:pt>
                <c:pt idx="5122">
                  <c:v>4.8896076492874823</c:v>
                </c:pt>
                <c:pt idx="5123">
                  <c:v>6.006675992768332</c:v>
                </c:pt>
                <c:pt idx="5124">
                  <c:v>4.9369853246413911</c:v>
                </c:pt>
                <c:pt idx="5125">
                  <c:v>6.1718535451091876</c:v>
                </c:pt>
                <c:pt idx="5126">
                  <c:v>6.0757232062572664</c:v>
                </c:pt>
                <c:pt idx="5127">
                  <c:v>4.9228744779434495</c:v>
                </c:pt>
                <c:pt idx="5128">
                  <c:v>6.0277164892246935</c:v>
                </c:pt>
                <c:pt idx="5129">
                  <c:v>5.664308165974016</c:v>
                </c:pt>
                <c:pt idx="5130">
                  <c:v>5.9989362063205451</c:v>
                </c:pt>
                <c:pt idx="5131">
                  <c:v>5.8866111097588014</c:v>
                </c:pt>
                <c:pt idx="5132">
                  <c:v>5.9239664206985587</c:v>
                </c:pt>
                <c:pt idx="5133">
                  <c:v>5.9857735410680064</c:v>
                </c:pt>
                <c:pt idx="5134">
                  <c:v>6.0766917644952576</c:v>
                </c:pt>
                <c:pt idx="5135">
                  <c:v>6.8779320562401089</c:v>
                </c:pt>
                <c:pt idx="5136">
                  <c:v>6.0176334056244478</c:v>
                </c:pt>
                <c:pt idx="5137">
                  <c:v>4.9496323403470051</c:v>
                </c:pt>
                <c:pt idx="5138">
                  <c:v>5.9917926065346885</c:v>
                </c:pt>
                <c:pt idx="5139">
                  <c:v>5.9808122991383845</c:v>
                </c:pt>
                <c:pt idx="5140">
                  <c:v>6.0618480531901477</c:v>
                </c:pt>
                <c:pt idx="5141">
                  <c:v>6.239614251351731</c:v>
                </c:pt>
                <c:pt idx="5142">
                  <c:v>6.0134738867071631</c:v>
                </c:pt>
                <c:pt idx="5143">
                  <c:v>5.9903057897638288</c:v>
                </c:pt>
                <c:pt idx="5144">
                  <c:v>4.8571185814301909</c:v>
                </c:pt>
                <c:pt idx="5145">
                  <c:v>5.0602466201798659</c:v>
                </c:pt>
                <c:pt idx="5146">
                  <c:v>4.9291872161706554</c:v>
                </c:pt>
                <c:pt idx="5147">
                  <c:v>5.8902391176643283</c:v>
                </c:pt>
                <c:pt idx="5148">
                  <c:v>6.0848336253282636</c:v>
                </c:pt>
                <c:pt idx="5149">
                  <c:v>5.8999962530216656</c:v>
                </c:pt>
                <c:pt idx="5150">
                  <c:v>5.1230218998664547</c:v>
                </c:pt>
                <c:pt idx="5151">
                  <c:v>4.8956096339504844</c:v>
                </c:pt>
                <c:pt idx="5152">
                  <c:v>4.8672026121898524</c:v>
                </c:pt>
                <c:pt idx="5153">
                  <c:v>4.9132623765095742</c:v>
                </c:pt>
                <c:pt idx="5154">
                  <c:v>4.9584299658109225</c:v>
                </c:pt>
                <c:pt idx="5155">
                  <c:v>7.130795089282028</c:v>
                </c:pt>
                <c:pt idx="5156">
                  <c:v>5.8641807635881777</c:v>
                </c:pt>
                <c:pt idx="5157">
                  <c:v>7.1996113907797126</c:v>
                </c:pt>
                <c:pt idx="5158">
                  <c:v>6.0675442958716488</c:v>
                </c:pt>
                <c:pt idx="5159">
                  <c:v>4.8687530976572555</c:v>
                </c:pt>
                <c:pt idx="5160">
                  <c:v>5.0139161644279868</c:v>
                </c:pt>
                <c:pt idx="5161">
                  <c:v>7.1740097067463111</c:v>
                </c:pt>
                <c:pt idx="5162">
                  <c:v>5.8964871062099924</c:v>
                </c:pt>
                <c:pt idx="5163">
                  <c:v>5.9635854364075129</c:v>
                </c:pt>
                <c:pt idx="5164">
                  <c:v>5.9704150224467831</c:v>
                </c:pt>
                <c:pt idx="5165">
                  <c:v>5.1275015061909857</c:v>
                </c:pt>
                <c:pt idx="5166">
                  <c:v>5.9200326283155409</c:v>
                </c:pt>
                <c:pt idx="5167">
                  <c:v>5.0904006174463809</c:v>
                </c:pt>
                <c:pt idx="5168">
                  <c:v>5.0792353909760672</c:v>
                </c:pt>
                <c:pt idx="5169">
                  <c:v>5.9052558722250366</c:v>
                </c:pt>
                <c:pt idx="5170">
                  <c:v>6.0136956363715255</c:v>
                </c:pt>
                <c:pt idx="5171">
                  <c:v>6.0158106209435029</c:v>
                </c:pt>
                <c:pt idx="5172">
                  <c:v>4.973098919683677</c:v>
                </c:pt>
                <c:pt idx="5173">
                  <c:v>5.9114213061052707</c:v>
                </c:pt>
                <c:pt idx="5174">
                  <c:v>5.9440970855963284</c:v>
                </c:pt>
                <c:pt idx="5175">
                  <c:v>6.0349728196214389</c:v>
                </c:pt>
                <c:pt idx="5176">
                  <c:v>4.773845939079493</c:v>
                </c:pt>
                <c:pt idx="5177">
                  <c:v>5.0782429069832755</c:v>
                </c:pt>
                <c:pt idx="5178">
                  <c:v>7.1084116294002051</c:v>
                </c:pt>
                <c:pt idx="5179">
                  <c:v>6.0144316333672192</c:v>
                </c:pt>
                <c:pt idx="5180">
                  <c:v>5.880127585446794</c:v>
                </c:pt>
                <c:pt idx="5181">
                  <c:v>5.9766414053443517</c:v>
                </c:pt>
                <c:pt idx="5182">
                  <c:v>5.1481591340517419</c:v>
                </c:pt>
                <c:pt idx="5183">
                  <c:v>6.0348372674140451</c:v>
                </c:pt>
                <c:pt idx="5184">
                  <c:v>5.0587720693623668</c:v>
                </c:pt>
                <c:pt idx="5185">
                  <c:v>7.0463654103104201</c:v>
                </c:pt>
                <c:pt idx="5186">
                  <c:v>4.9335906739981699</c:v>
                </c:pt>
                <c:pt idx="5187">
                  <c:v>5.0937700239776564</c:v>
                </c:pt>
                <c:pt idx="5188">
                  <c:v>6.138180588132867</c:v>
                </c:pt>
                <c:pt idx="5189">
                  <c:v>6.0536367704915399</c:v>
                </c:pt>
                <c:pt idx="5190">
                  <c:v>5.0743062368042242</c:v>
                </c:pt>
                <c:pt idx="5191">
                  <c:v>5.7854911666910951</c:v>
                </c:pt>
                <c:pt idx="5192">
                  <c:v>5.9702884334705448</c:v>
                </c:pt>
                <c:pt idx="5193">
                  <c:v>6.0777189127895808</c:v>
                </c:pt>
                <c:pt idx="5194">
                  <c:v>4.0030294768847279</c:v>
                </c:pt>
                <c:pt idx="5195">
                  <c:v>5.0405785345729672</c:v>
                </c:pt>
                <c:pt idx="5196">
                  <c:v>4.947903662529904</c:v>
                </c:pt>
                <c:pt idx="5197">
                  <c:v>4.9130170070084178</c:v>
                </c:pt>
                <c:pt idx="5198">
                  <c:v>5.8947950314331514</c:v>
                </c:pt>
                <c:pt idx="5199">
                  <c:v>3.9380231014281724</c:v>
                </c:pt>
                <c:pt idx="5200">
                  <c:v>6.0603231202367596</c:v>
                </c:pt>
                <c:pt idx="5201">
                  <c:v>5.9234444459539679</c:v>
                </c:pt>
                <c:pt idx="5202">
                  <c:v>6.2970891259816328</c:v>
                </c:pt>
                <c:pt idx="5203">
                  <c:v>5.9388066202076661</c:v>
                </c:pt>
                <c:pt idx="5204">
                  <c:v>4.9388787106923457</c:v>
                </c:pt>
                <c:pt idx="5205">
                  <c:v>6.9342120765196924</c:v>
                </c:pt>
                <c:pt idx="5206">
                  <c:v>6.8287678241424734</c:v>
                </c:pt>
                <c:pt idx="5207">
                  <c:v>4.8729735209632938</c:v>
                </c:pt>
                <c:pt idx="5208">
                  <c:v>4.9227006546062491</c:v>
                </c:pt>
                <c:pt idx="5209">
                  <c:v>5.8318952028412152</c:v>
                </c:pt>
                <c:pt idx="5210">
                  <c:v>5.1301549607690227</c:v>
                </c:pt>
                <c:pt idx="5211">
                  <c:v>7.0914720928345423</c:v>
                </c:pt>
                <c:pt idx="5212">
                  <c:v>4.8370558974651274</c:v>
                </c:pt>
                <c:pt idx="5213">
                  <c:v>4.7477949236548538</c:v>
                </c:pt>
                <c:pt idx="5214">
                  <c:v>6.0719312492804542</c:v>
                </c:pt>
                <c:pt idx="5215">
                  <c:v>4.9862639172644787</c:v>
                </c:pt>
                <c:pt idx="5216">
                  <c:v>5.1517605266049387</c:v>
                </c:pt>
                <c:pt idx="5217">
                  <c:v>5.0625443591390047</c:v>
                </c:pt>
                <c:pt idx="5218">
                  <c:v>5.8589751611836238</c:v>
                </c:pt>
                <c:pt idx="5219">
                  <c:v>5.075707500149047</c:v>
                </c:pt>
                <c:pt idx="5220">
                  <c:v>5.9857411362610016</c:v>
                </c:pt>
                <c:pt idx="5221">
                  <c:v>5.0371369504301038</c:v>
                </c:pt>
                <c:pt idx="5222">
                  <c:v>6.2700115484357068</c:v>
                </c:pt>
                <c:pt idx="5223">
                  <c:v>5.9751024982147412</c:v>
                </c:pt>
                <c:pt idx="5224">
                  <c:v>5.9177390668868428</c:v>
                </c:pt>
                <c:pt idx="5225">
                  <c:v>4.9365143073001247</c:v>
                </c:pt>
                <c:pt idx="5226">
                  <c:v>3.8892702827380257</c:v>
                </c:pt>
                <c:pt idx="5227">
                  <c:v>5.0379013641784853</c:v>
                </c:pt>
                <c:pt idx="5228">
                  <c:v>4.8491301567015981</c:v>
                </c:pt>
                <c:pt idx="5229">
                  <c:v>7.0181827642634955</c:v>
                </c:pt>
                <c:pt idx="5230">
                  <c:v>5.8419430468054232</c:v>
                </c:pt>
                <c:pt idx="5231">
                  <c:v>6.0113222294631905</c:v>
                </c:pt>
                <c:pt idx="5232">
                  <c:v>5.9316522946597843</c:v>
                </c:pt>
                <c:pt idx="5233">
                  <c:v>4.9371900304106671</c:v>
                </c:pt>
                <c:pt idx="5234">
                  <c:v>4.9517437181291086</c:v>
                </c:pt>
                <c:pt idx="5235">
                  <c:v>6.8165998253512647</c:v>
                </c:pt>
                <c:pt idx="5236">
                  <c:v>5.8764986807469439</c:v>
                </c:pt>
                <c:pt idx="5237">
                  <c:v>5.0955313116468597</c:v>
                </c:pt>
                <c:pt idx="5238">
                  <c:v>4.0325038335422452</c:v>
                </c:pt>
                <c:pt idx="5239">
                  <c:v>5.9741467885034671</c:v>
                </c:pt>
                <c:pt idx="5240">
                  <c:v>4.820336681760188</c:v>
                </c:pt>
                <c:pt idx="5241">
                  <c:v>4.9692670772465446</c:v>
                </c:pt>
                <c:pt idx="5242">
                  <c:v>6.0828842402079477</c:v>
                </c:pt>
                <c:pt idx="5243">
                  <c:v>5.9431129049066476</c:v>
                </c:pt>
                <c:pt idx="5244">
                  <c:v>4.9478682031875083</c:v>
                </c:pt>
                <c:pt idx="5245">
                  <c:v>5.9875843342228601</c:v>
                </c:pt>
                <c:pt idx="5246">
                  <c:v>4.8380043203735852</c:v>
                </c:pt>
                <c:pt idx="5247">
                  <c:v>5.9353962346664524</c:v>
                </c:pt>
                <c:pt idx="5248">
                  <c:v>6.218913777489627</c:v>
                </c:pt>
                <c:pt idx="5249">
                  <c:v>4.9345986883722102</c:v>
                </c:pt>
                <c:pt idx="5250">
                  <c:v>6.1240646135835854</c:v>
                </c:pt>
                <c:pt idx="5251">
                  <c:v>7.042229608891013</c:v>
                </c:pt>
                <c:pt idx="5252">
                  <c:v>7.0008674930015706</c:v>
                </c:pt>
                <c:pt idx="5253">
                  <c:v>5.047447323546618</c:v>
                </c:pt>
                <c:pt idx="5254">
                  <c:v>4.9681001343189282</c:v>
                </c:pt>
                <c:pt idx="5255">
                  <c:v>6.9526674449822172</c:v>
                </c:pt>
                <c:pt idx="5256">
                  <c:v>5.7379902486278</c:v>
                </c:pt>
                <c:pt idx="5257">
                  <c:v>5.9962288801225716</c:v>
                </c:pt>
                <c:pt idx="5258">
                  <c:v>6.0323188386361659</c:v>
                </c:pt>
                <c:pt idx="5259">
                  <c:v>5.9186621059773454</c:v>
                </c:pt>
                <c:pt idx="5260">
                  <c:v>4.9148875595481876</c:v>
                </c:pt>
                <c:pt idx="5261">
                  <c:v>6.0194385254936043</c:v>
                </c:pt>
                <c:pt idx="5262">
                  <c:v>6.0285772762216698</c:v>
                </c:pt>
                <c:pt idx="5263">
                  <c:v>5.9798013096923919</c:v>
                </c:pt>
                <c:pt idx="5264">
                  <c:v>5.8156633073068207</c:v>
                </c:pt>
                <c:pt idx="5265">
                  <c:v>6.0065607457527488</c:v>
                </c:pt>
                <c:pt idx="5266">
                  <c:v>5.9959071485411641</c:v>
                </c:pt>
                <c:pt idx="5267">
                  <c:v>5.9985430576723395</c:v>
                </c:pt>
                <c:pt idx="5268">
                  <c:v>5.1173934853310437</c:v>
                </c:pt>
                <c:pt idx="5269">
                  <c:v>5.9249299039117922</c:v>
                </c:pt>
                <c:pt idx="5270">
                  <c:v>6.0439348171396494</c:v>
                </c:pt>
                <c:pt idx="5271">
                  <c:v>6.0258771133824203</c:v>
                </c:pt>
                <c:pt idx="5272">
                  <c:v>5.8895666784202136</c:v>
                </c:pt>
                <c:pt idx="5273">
                  <c:v>6.1088533166340904</c:v>
                </c:pt>
                <c:pt idx="5274">
                  <c:v>5.964337926174343</c:v>
                </c:pt>
                <c:pt idx="5275">
                  <c:v>6.9428298388517806</c:v>
                </c:pt>
                <c:pt idx="5276">
                  <c:v>5.0315391844030897</c:v>
                </c:pt>
                <c:pt idx="5277">
                  <c:v>4.8541252016955507</c:v>
                </c:pt>
                <c:pt idx="5278">
                  <c:v>5.8410835861028527</c:v>
                </c:pt>
                <c:pt idx="5279">
                  <c:v>5.8566046086370225</c:v>
                </c:pt>
                <c:pt idx="5280">
                  <c:v>5.1806883605131446</c:v>
                </c:pt>
                <c:pt idx="5281">
                  <c:v>6.0771954110583568</c:v>
                </c:pt>
                <c:pt idx="5282">
                  <c:v>5.0490977240680666</c:v>
                </c:pt>
                <c:pt idx="5283">
                  <c:v>4.9485142376711533</c:v>
                </c:pt>
                <c:pt idx="5284">
                  <c:v>3.949410526180174</c:v>
                </c:pt>
                <c:pt idx="5285">
                  <c:v>6.1094834011966999</c:v>
                </c:pt>
                <c:pt idx="5286">
                  <c:v>3.856612665488298</c:v>
                </c:pt>
                <c:pt idx="5287">
                  <c:v>5.0977555404269825</c:v>
                </c:pt>
                <c:pt idx="5288">
                  <c:v>5.8153765814496072</c:v>
                </c:pt>
                <c:pt idx="5289">
                  <c:v>4.8281448692005178</c:v>
                </c:pt>
                <c:pt idx="5290">
                  <c:v>6.9615634197140448</c:v>
                </c:pt>
                <c:pt idx="5291">
                  <c:v>4.9461831062472497</c:v>
                </c:pt>
                <c:pt idx="5292">
                  <c:v>4.8891523060889162</c:v>
                </c:pt>
                <c:pt idx="5293">
                  <c:v>5.0992469560163114</c:v>
                </c:pt>
                <c:pt idx="5294">
                  <c:v>4.9651272082521025</c:v>
                </c:pt>
                <c:pt idx="5295">
                  <c:v>5.8721203771357571</c:v>
                </c:pt>
                <c:pt idx="5296">
                  <c:v>4.8480627932121036</c:v>
                </c:pt>
                <c:pt idx="5297">
                  <c:v>6.0770748420084075</c:v>
                </c:pt>
                <c:pt idx="5298">
                  <c:v>6.8678147501605631</c:v>
                </c:pt>
                <c:pt idx="5299">
                  <c:v>6.2365673973886846</c:v>
                </c:pt>
                <c:pt idx="5300">
                  <c:v>6.097263166897628</c:v>
                </c:pt>
                <c:pt idx="5301">
                  <c:v>6.7128353520690291</c:v>
                </c:pt>
                <c:pt idx="5302">
                  <c:v>4.9965692530939245</c:v>
                </c:pt>
                <c:pt idx="5303">
                  <c:v>5.8783181553111685</c:v>
                </c:pt>
                <c:pt idx="5304">
                  <c:v>4.8282912640252915</c:v>
                </c:pt>
                <c:pt idx="5305">
                  <c:v>6.0126040102497207</c:v>
                </c:pt>
                <c:pt idx="5306">
                  <c:v>4.9491172005829789</c:v>
                </c:pt>
                <c:pt idx="5307">
                  <c:v>4.9563283125475142</c:v>
                </c:pt>
                <c:pt idx="5308">
                  <c:v>4.1725134141157394</c:v>
                </c:pt>
                <c:pt idx="5309">
                  <c:v>6.2288420913936564</c:v>
                </c:pt>
                <c:pt idx="5310">
                  <c:v>5.0477045824546432</c:v>
                </c:pt>
                <c:pt idx="5311">
                  <c:v>5.9105169272189979</c:v>
                </c:pt>
                <c:pt idx="5312">
                  <c:v>5.9768743948338949</c:v>
                </c:pt>
                <c:pt idx="5313">
                  <c:v>5.0729373821745467</c:v>
                </c:pt>
                <c:pt idx="5314">
                  <c:v>5.0657717316976134</c:v>
                </c:pt>
                <c:pt idx="5315">
                  <c:v>5.1413172895173949</c:v>
                </c:pt>
                <c:pt idx="5316">
                  <c:v>5.9094726975424248</c:v>
                </c:pt>
                <c:pt idx="5317">
                  <c:v>4.9318942577078611</c:v>
                </c:pt>
                <c:pt idx="5318">
                  <c:v>6.9545696227781519</c:v>
                </c:pt>
                <c:pt idx="5319">
                  <c:v>6.1405406985815789</c:v>
                </c:pt>
                <c:pt idx="5320">
                  <c:v>6.9199412110665177</c:v>
                </c:pt>
                <c:pt idx="5321">
                  <c:v>7.0213145892053994</c:v>
                </c:pt>
                <c:pt idx="5322">
                  <c:v>6.8879164145677247</c:v>
                </c:pt>
                <c:pt idx="5323">
                  <c:v>5.0090408745390134</c:v>
                </c:pt>
                <c:pt idx="5324">
                  <c:v>5.8505564896286213</c:v>
                </c:pt>
                <c:pt idx="5325">
                  <c:v>5.9885655975067875</c:v>
                </c:pt>
                <c:pt idx="5326">
                  <c:v>5.0007436131276588</c:v>
                </c:pt>
                <c:pt idx="5327">
                  <c:v>6.1650654377136691</c:v>
                </c:pt>
                <c:pt idx="5328">
                  <c:v>5.9614303841907148</c:v>
                </c:pt>
                <c:pt idx="5329">
                  <c:v>6.0888010610565333</c:v>
                </c:pt>
                <c:pt idx="5330">
                  <c:v>5.0221046675568735</c:v>
                </c:pt>
                <c:pt idx="5331">
                  <c:v>5.95619512488478</c:v>
                </c:pt>
                <c:pt idx="5332">
                  <c:v>5.9013187672926239</c:v>
                </c:pt>
                <c:pt idx="5333">
                  <c:v>5.867949752646747</c:v>
                </c:pt>
                <c:pt idx="5334">
                  <c:v>7.016411705981155</c:v>
                </c:pt>
                <c:pt idx="5335">
                  <c:v>6.3001182254213983</c:v>
                </c:pt>
                <c:pt idx="5336">
                  <c:v>5.8844425816874244</c:v>
                </c:pt>
                <c:pt idx="5337">
                  <c:v>5.0330582625823403</c:v>
                </c:pt>
                <c:pt idx="5338">
                  <c:v>7.0546116747822296</c:v>
                </c:pt>
                <c:pt idx="5339">
                  <c:v>6.0163484006126104</c:v>
                </c:pt>
                <c:pt idx="5340">
                  <c:v>4.9714123389785376</c:v>
                </c:pt>
                <c:pt idx="5341">
                  <c:v>5.055751812468503</c:v>
                </c:pt>
                <c:pt idx="5342">
                  <c:v>5.0069153438085685</c:v>
                </c:pt>
                <c:pt idx="5343">
                  <c:v>4.9560710835074691</c:v>
                </c:pt>
                <c:pt idx="5344">
                  <c:v>5.836499203523088</c:v>
                </c:pt>
                <c:pt idx="5345">
                  <c:v>5.064960880024473</c:v>
                </c:pt>
                <c:pt idx="5346">
                  <c:v>6.1331699533819224</c:v>
                </c:pt>
                <c:pt idx="5347">
                  <c:v>7.0581975164629984</c:v>
                </c:pt>
                <c:pt idx="5348">
                  <c:v>4.7911123766151613</c:v>
                </c:pt>
                <c:pt idx="5349">
                  <c:v>4.9168662334686148</c:v>
                </c:pt>
                <c:pt idx="5350">
                  <c:v>6.0340704033340149</c:v>
                </c:pt>
                <c:pt idx="5351">
                  <c:v>5.8929438045983122</c:v>
                </c:pt>
                <c:pt idx="5352">
                  <c:v>6.0383588594026723</c:v>
                </c:pt>
                <c:pt idx="5353">
                  <c:v>5.035192287588492</c:v>
                </c:pt>
                <c:pt idx="5354">
                  <c:v>4.991672592660386</c:v>
                </c:pt>
                <c:pt idx="5355">
                  <c:v>5.1156115111984173</c:v>
                </c:pt>
                <c:pt idx="5356">
                  <c:v>5.1605430865737425</c:v>
                </c:pt>
                <c:pt idx="5357">
                  <c:v>5.9180732475537177</c:v>
                </c:pt>
                <c:pt idx="5358">
                  <c:v>4.9955981289833131</c:v>
                </c:pt>
                <c:pt idx="5359">
                  <c:v>5.9662919027216379</c:v>
                </c:pt>
                <c:pt idx="5360">
                  <c:v>5.9636488212716943</c:v>
                </c:pt>
                <c:pt idx="5361">
                  <c:v>5.8540166467345278</c:v>
                </c:pt>
                <c:pt idx="5362">
                  <c:v>5.0116451159002837</c:v>
                </c:pt>
                <c:pt idx="5363">
                  <c:v>4.8813847120096376</c:v>
                </c:pt>
                <c:pt idx="5364">
                  <c:v>5.8481891101906589</c:v>
                </c:pt>
                <c:pt idx="5365">
                  <c:v>5.1864232819198302</c:v>
                </c:pt>
                <c:pt idx="5366">
                  <c:v>5.8917017089091477</c:v>
                </c:pt>
                <c:pt idx="5367">
                  <c:v>4.9875985283371067</c:v>
                </c:pt>
                <c:pt idx="5368">
                  <c:v>6.1835267613854201</c:v>
                </c:pt>
                <c:pt idx="5369">
                  <c:v>4.9450231809816678</c:v>
                </c:pt>
                <c:pt idx="5370">
                  <c:v>5.0474475307113265</c:v>
                </c:pt>
                <c:pt idx="5371">
                  <c:v>4.9855270293773666</c:v>
                </c:pt>
                <c:pt idx="5372">
                  <c:v>6.0103145347673239</c:v>
                </c:pt>
                <c:pt idx="5373">
                  <c:v>6.1306844428321812</c:v>
                </c:pt>
                <c:pt idx="5374">
                  <c:v>5.9377617096283553</c:v>
                </c:pt>
                <c:pt idx="5375">
                  <c:v>6.9336784881254765</c:v>
                </c:pt>
                <c:pt idx="5376">
                  <c:v>4.8543486504310289</c:v>
                </c:pt>
                <c:pt idx="5377">
                  <c:v>5.9745048318994476</c:v>
                </c:pt>
                <c:pt idx="5378">
                  <c:v>7.0843942484691729</c:v>
                </c:pt>
                <c:pt idx="5379">
                  <c:v>6.1138406867561077</c:v>
                </c:pt>
                <c:pt idx="5380">
                  <c:v>5.9321577165039496</c:v>
                </c:pt>
                <c:pt idx="5381">
                  <c:v>4.8901667399504376</c:v>
                </c:pt>
                <c:pt idx="5382">
                  <c:v>6.197984066048047</c:v>
                </c:pt>
                <c:pt idx="5383">
                  <c:v>6.0707346895007213</c:v>
                </c:pt>
                <c:pt idx="5384">
                  <c:v>6.1567074692034716</c:v>
                </c:pt>
                <c:pt idx="5385">
                  <c:v>6.0690642527614083</c:v>
                </c:pt>
                <c:pt idx="5386">
                  <c:v>6.2410486448122455</c:v>
                </c:pt>
                <c:pt idx="5387">
                  <c:v>5.9083003300716044</c:v>
                </c:pt>
                <c:pt idx="5388">
                  <c:v>4.9422560444275883</c:v>
                </c:pt>
                <c:pt idx="5389">
                  <c:v>4.9985475688279424</c:v>
                </c:pt>
                <c:pt idx="5390">
                  <c:v>5.0529402288456859</c:v>
                </c:pt>
                <c:pt idx="5391">
                  <c:v>6.083120600456601</c:v>
                </c:pt>
                <c:pt idx="5392">
                  <c:v>5.0686904314678047</c:v>
                </c:pt>
                <c:pt idx="5393">
                  <c:v>4.865473906579294</c:v>
                </c:pt>
                <c:pt idx="5394">
                  <c:v>6.1105433512768483</c:v>
                </c:pt>
                <c:pt idx="5395">
                  <c:v>5.7546325020666105</c:v>
                </c:pt>
                <c:pt idx="5396">
                  <c:v>6.0812679789206543</c:v>
                </c:pt>
                <c:pt idx="5397">
                  <c:v>5.983416379340162</c:v>
                </c:pt>
                <c:pt idx="5398">
                  <c:v>7.0269723144374501</c:v>
                </c:pt>
                <c:pt idx="5399">
                  <c:v>6.1197088502872541</c:v>
                </c:pt>
                <c:pt idx="5400">
                  <c:v>6.1737358667792028</c:v>
                </c:pt>
                <c:pt idx="5401">
                  <c:v>5.9045141743959828</c:v>
                </c:pt>
                <c:pt idx="5402">
                  <c:v>6.0659657350687324</c:v>
                </c:pt>
                <c:pt idx="5403">
                  <c:v>6.0149489075175762</c:v>
                </c:pt>
                <c:pt idx="5404">
                  <c:v>5.1208186528118738</c:v>
                </c:pt>
                <c:pt idx="5405">
                  <c:v>4.9815584265090447</c:v>
                </c:pt>
                <c:pt idx="5406">
                  <c:v>4.9863656314685443</c:v>
                </c:pt>
                <c:pt idx="5407">
                  <c:v>6.0966201306939789</c:v>
                </c:pt>
                <c:pt idx="5408">
                  <c:v>6.146936063348071</c:v>
                </c:pt>
                <c:pt idx="5409">
                  <c:v>6.0491144479605623</c:v>
                </c:pt>
                <c:pt idx="5410">
                  <c:v>6.1598366109444287</c:v>
                </c:pt>
                <c:pt idx="5411">
                  <c:v>4.9275698454986454</c:v>
                </c:pt>
                <c:pt idx="5412">
                  <c:v>6.0242586190481386</c:v>
                </c:pt>
                <c:pt idx="5413">
                  <c:v>6.0479383644996592</c:v>
                </c:pt>
                <c:pt idx="5414">
                  <c:v>5.985837725334842</c:v>
                </c:pt>
                <c:pt idx="5415">
                  <c:v>5.8562424091221885</c:v>
                </c:pt>
                <c:pt idx="5416">
                  <c:v>5.8305101245773807</c:v>
                </c:pt>
                <c:pt idx="5417">
                  <c:v>4.9981667294287071</c:v>
                </c:pt>
                <c:pt idx="5418">
                  <c:v>5.9797079149978511</c:v>
                </c:pt>
                <c:pt idx="5419">
                  <c:v>5.0595787076360601</c:v>
                </c:pt>
                <c:pt idx="5420">
                  <c:v>5.8849118230028612</c:v>
                </c:pt>
                <c:pt idx="5421">
                  <c:v>5.973557866136689</c:v>
                </c:pt>
                <c:pt idx="5422">
                  <c:v>6.0819651209454726</c:v>
                </c:pt>
                <c:pt idx="5423">
                  <c:v>6.026084479735041</c:v>
                </c:pt>
                <c:pt idx="5424">
                  <c:v>5.8396079573970416</c:v>
                </c:pt>
                <c:pt idx="5425">
                  <c:v>6.0693024991320739</c:v>
                </c:pt>
                <c:pt idx="5426">
                  <c:v>6.1749820856232418</c:v>
                </c:pt>
                <c:pt idx="5427">
                  <c:v>5.9992145578033336</c:v>
                </c:pt>
                <c:pt idx="5428">
                  <c:v>4.0210223347819234</c:v>
                </c:pt>
                <c:pt idx="5429">
                  <c:v>6.0281044027185766</c:v>
                </c:pt>
                <c:pt idx="5430">
                  <c:v>5.029319323094195</c:v>
                </c:pt>
                <c:pt idx="5431">
                  <c:v>5.9089447677373679</c:v>
                </c:pt>
                <c:pt idx="5432">
                  <c:v>6.8390882789395304</c:v>
                </c:pt>
                <c:pt idx="5433">
                  <c:v>5.92893139699044</c:v>
                </c:pt>
                <c:pt idx="5434">
                  <c:v>6.1674851872218017</c:v>
                </c:pt>
                <c:pt idx="5435">
                  <c:v>5.9070646749915863</c:v>
                </c:pt>
                <c:pt idx="5436">
                  <c:v>5.8773419010973873</c:v>
                </c:pt>
                <c:pt idx="5437">
                  <c:v>5.0321646375368232</c:v>
                </c:pt>
                <c:pt idx="5438">
                  <c:v>4.9117696393870593</c:v>
                </c:pt>
                <c:pt idx="5439">
                  <c:v>6.0698773608175864</c:v>
                </c:pt>
                <c:pt idx="5440">
                  <c:v>5.8573570610011787</c:v>
                </c:pt>
                <c:pt idx="5441">
                  <c:v>5.1657287220231565</c:v>
                </c:pt>
                <c:pt idx="5442">
                  <c:v>4.9584856937519222</c:v>
                </c:pt>
                <c:pt idx="5443">
                  <c:v>5.9700002070321831</c:v>
                </c:pt>
                <c:pt idx="5444">
                  <c:v>6.0873884475257238</c:v>
                </c:pt>
                <c:pt idx="5445">
                  <c:v>4.9541402851891458</c:v>
                </c:pt>
                <c:pt idx="5446">
                  <c:v>6.1109262819548364</c:v>
                </c:pt>
                <c:pt idx="5447">
                  <c:v>4.8647157045714646</c:v>
                </c:pt>
                <c:pt idx="5448">
                  <c:v>6.110748312349453</c:v>
                </c:pt>
                <c:pt idx="5449">
                  <c:v>6.0151377926626397</c:v>
                </c:pt>
                <c:pt idx="5450">
                  <c:v>4.9851215961858744</c:v>
                </c:pt>
                <c:pt idx="5451">
                  <c:v>6.067563182708926</c:v>
                </c:pt>
                <c:pt idx="5452">
                  <c:v>4.9752549009829989</c:v>
                </c:pt>
                <c:pt idx="5453">
                  <c:v>4.8977213088430203</c:v>
                </c:pt>
                <c:pt idx="5454">
                  <c:v>6.095914537334103</c:v>
                </c:pt>
                <c:pt idx="5455">
                  <c:v>4.9322168434090665</c:v>
                </c:pt>
                <c:pt idx="5456">
                  <c:v>5.9376019272185347</c:v>
                </c:pt>
                <c:pt idx="5457">
                  <c:v>6.0383223719023658</c:v>
                </c:pt>
                <c:pt idx="5458">
                  <c:v>5.8231605381482794</c:v>
                </c:pt>
                <c:pt idx="5459">
                  <c:v>5.937356374154044</c:v>
                </c:pt>
                <c:pt idx="5460">
                  <c:v>6.0469688760969706</c:v>
                </c:pt>
                <c:pt idx="5461">
                  <c:v>6.1509453053986034</c:v>
                </c:pt>
                <c:pt idx="5462">
                  <c:v>4.9676683936490411</c:v>
                </c:pt>
                <c:pt idx="5463">
                  <c:v>6.0089378437918199</c:v>
                </c:pt>
                <c:pt idx="5464">
                  <c:v>6.0597063381939682</c:v>
                </c:pt>
                <c:pt idx="5465">
                  <c:v>6.0479718878118289</c:v>
                </c:pt>
                <c:pt idx="5466">
                  <c:v>6.1113260366305404</c:v>
                </c:pt>
                <c:pt idx="5467">
                  <c:v>4.7481359355011348</c:v>
                </c:pt>
                <c:pt idx="5468">
                  <c:v>5.9897393588975616</c:v>
                </c:pt>
                <c:pt idx="5469">
                  <c:v>4.8965214281307876</c:v>
                </c:pt>
                <c:pt idx="5470">
                  <c:v>6.0900706610961137</c:v>
                </c:pt>
                <c:pt idx="5471">
                  <c:v>6.0552166679233723</c:v>
                </c:pt>
                <c:pt idx="5472">
                  <c:v>6.0332942394574998</c:v>
                </c:pt>
                <c:pt idx="5473">
                  <c:v>6.1060176972008806</c:v>
                </c:pt>
                <c:pt idx="5474">
                  <c:v>5.9718137913967899</c:v>
                </c:pt>
                <c:pt idx="5475">
                  <c:v>5.8661754544618168</c:v>
                </c:pt>
                <c:pt idx="5476">
                  <c:v>5.9875799383350703</c:v>
                </c:pt>
                <c:pt idx="5477">
                  <c:v>4.9483951991706183</c:v>
                </c:pt>
                <c:pt idx="5478">
                  <c:v>5.8410159012996443</c:v>
                </c:pt>
                <c:pt idx="5479">
                  <c:v>5.9773622053655329</c:v>
                </c:pt>
                <c:pt idx="5480">
                  <c:v>6.0268862127514424</c:v>
                </c:pt>
                <c:pt idx="5481">
                  <c:v>5.9931139909770765</c:v>
                </c:pt>
                <c:pt idx="5482">
                  <c:v>5.9760892809477459</c:v>
                </c:pt>
                <c:pt idx="5483">
                  <c:v>4.9247554322065179</c:v>
                </c:pt>
                <c:pt idx="5484">
                  <c:v>6.1061395493101065</c:v>
                </c:pt>
                <c:pt idx="5485">
                  <c:v>6.0116317986366026</c:v>
                </c:pt>
                <c:pt idx="5486">
                  <c:v>6.0830262838543891</c:v>
                </c:pt>
                <c:pt idx="5487">
                  <c:v>5.9184260026743178</c:v>
                </c:pt>
                <c:pt idx="5488">
                  <c:v>5.024028983842987</c:v>
                </c:pt>
                <c:pt idx="5489">
                  <c:v>5.9395479180400068</c:v>
                </c:pt>
                <c:pt idx="5490">
                  <c:v>6.1028302212514323</c:v>
                </c:pt>
                <c:pt idx="5491">
                  <c:v>6.0646760408150309</c:v>
                </c:pt>
                <c:pt idx="5492">
                  <c:v>6.028787655712474</c:v>
                </c:pt>
                <c:pt idx="5493">
                  <c:v>6.1132266924416827</c:v>
                </c:pt>
                <c:pt idx="5494">
                  <c:v>5.9450438615635424</c:v>
                </c:pt>
                <c:pt idx="5495">
                  <c:v>6.1494464361109333</c:v>
                </c:pt>
                <c:pt idx="5496">
                  <c:v>4.9127393225901876</c:v>
                </c:pt>
                <c:pt idx="5497">
                  <c:v>6.0775395539417749</c:v>
                </c:pt>
                <c:pt idx="5498">
                  <c:v>6.1026398483614006</c:v>
                </c:pt>
                <c:pt idx="5499">
                  <c:v>5.0805501863851079</c:v>
                </c:pt>
                <c:pt idx="5500">
                  <c:v>5.0605438465101544</c:v>
                </c:pt>
                <c:pt idx="5501">
                  <c:v>6.017708040040624</c:v>
                </c:pt>
                <c:pt idx="5502">
                  <c:v>6.1700722295591524</c:v>
                </c:pt>
                <c:pt idx="5503">
                  <c:v>5.1010839124379919</c:v>
                </c:pt>
                <c:pt idx="5504">
                  <c:v>6.0240416718655299</c:v>
                </c:pt>
                <c:pt idx="5505">
                  <c:v>4.8923834060261235</c:v>
                </c:pt>
                <c:pt idx="5506">
                  <c:v>4.9101624231448397</c:v>
                </c:pt>
                <c:pt idx="5507">
                  <c:v>5.8946827063704621</c:v>
                </c:pt>
                <c:pt idx="5508">
                  <c:v>6.1519770458758725</c:v>
                </c:pt>
                <c:pt idx="5509">
                  <c:v>6.1618457222612895</c:v>
                </c:pt>
                <c:pt idx="5510">
                  <c:v>5.0227504835077958</c:v>
                </c:pt>
                <c:pt idx="5511">
                  <c:v>5.1492077937066085</c:v>
                </c:pt>
                <c:pt idx="5512">
                  <c:v>5.8912278603952926</c:v>
                </c:pt>
                <c:pt idx="5513">
                  <c:v>5.0035950744940045</c:v>
                </c:pt>
                <c:pt idx="5514">
                  <c:v>5.9516419453612031</c:v>
                </c:pt>
                <c:pt idx="5515">
                  <c:v>5.9634776376679701</c:v>
                </c:pt>
                <c:pt idx="5516">
                  <c:v>6.0616543234033697</c:v>
                </c:pt>
                <c:pt idx="5517">
                  <c:v>6.0437683602465588</c:v>
                </c:pt>
                <c:pt idx="5518">
                  <c:v>5.9293920556318298</c:v>
                </c:pt>
                <c:pt idx="5519">
                  <c:v>5.8830285686256483</c:v>
                </c:pt>
                <c:pt idx="5520">
                  <c:v>5.0485486592824316</c:v>
                </c:pt>
                <c:pt idx="5521">
                  <c:v>6.0326479475387442</c:v>
                </c:pt>
                <c:pt idx="5522">
                  <c:v>6.1497670420261432</c:v>
                </c:pt>
                <c:pt idx="5523">
                  <c:v>6.2068201901051312</c:v>
                </c:pt>
                <c:pt idx="5524">
                  <c:v>6.0139009180014549</c:v>
                </c:pt>
                <c:pt idx="5525">
                  <c:v>5.8786785915800257</c:v>
                </c:pt>
                <c:pt idx="5526">
                  <c:v>4.9197975781458032</c:v>
                </c:pt>
                <c:pt idx="5527">
                  <c:v>5.0883031173702369</c:v>
                </c:pt>
                <c:pt idx="5528">
                  <c:v>5.9873526674113657</c:v>
                </c:pt>
                <c:pt idx="5529">
                  <c:v>6.1039803715873866</c:v>
                </c:pt>
                <c:pt idx="5530">
                  <c:v>5.1078437534877734</c:v>
                </c:pt>
                <c:pt idx="5531">
                  <c:v>5.9478960135098218</c:v>
                </c:pt>
                <c:pt idx="5532">
                  <c:v>5.9519463099001948</c:v>
                </c:pt>
                <c:pt idx="5533">
                  <c:v>6.0441752839202794</c:v>
                </c:pt>
                <c:pt idx="5534">
                  <c:v>4.9736071366133032</c:v>
                </c:pt>
                <c:pt idx="5535">
                  <c:v>5.9838992935093938</c:v>
                </c:pt>
                <c:pt idx="5536">
                  <c:v>5.0137483283879325</c:v>
                </c:pt>
                <c:pt idx="5537">
                  <c:v>4.9350815906498946</c:v>
                </c:pt>
                <c:pt idx="5538">
                  <c:v>6.0489761159104578</c:v>
                </c:pt>
                <c:pt idx="5539">
                  <c:v>5.853155735973071</c:v>
                </c:pt>
                <c:pt idx="5540">
                  <c:v>5.9105106703183488</c:v>
                </c:pt>
                <c:pt idx="5541">
                  <c:v>6.0040139218115298</c:v>
                </c:pt>
                <c:pt idx="5542">
                  <c:v>5.973309076509616</c:v>
                </c:pt>
                <c:pt idx="5543">
                  <c:v>5.9552014119177255</c:v>
                </c:pt>
                <c:pt idx="5544">
                  <c:v>6.0886230442168365</c:v>
                </c:pt>
                <c:pt idx="5545">
                  <c:v>5.9456222098267553</c:v>
                </c:pt>
                <c:pt idx="5546">
                  <c:v>4.7538752451241466</c:v>
                </c:pt>
                <c:pt idx="5547">
                  <c:v>5.0134165936420603</c:v>
                </c:pt>
                <c:pt idx="5548">
                  <c:v>5.0686931200219254</c:v>
                </c:pt>
                <c:pt idx="5549">
                  <c:v>6.8575696575373764</c:v>
                </c:pt>
                <c:pt idx="5550">
                  <c:v>6.0622296498225658</c:v>
                </c:pt>
                <c:pt idx="5551">
                  <c:v>4.9023909062843281</c:v>
                </c:pt>
                <c:pt idx="5552">
                  <c:v>6.1401741444404161</c:v>
                </c:pt>
                <c:pt idx="5553">
                  <c:v>6.1248925457643839</c:v>
                </c:pt>
                <c:pt idx="5554">
                  <c:v>5.8459361759228701</c:v>
                </c:pt>
                <c:pt idx="5555">
                  <c:v>5.1097095321861827</c:v>
                </c:pt>
                <c:pt idx="5556">
                  <c:v>7.1292678647545014</c:v>
                </c:pt>
                <c:pt idx="5557">
                  <c:v>5.9478846995045584</c:v>
                </c:pt>
                <c:pt idx="5558">
                  <c:v>5.8311256683597374</c:v>
                </c:pt>
                <c:pt idx="5559">
                  <c:v>4.8625983511605213</c:v>
                </c:pt>
                <c:pt idx="5560">
                  <c:v>5.9749336498405636</c:v>
                </c:pt>
                <c:pt idx="5561">
                  <c:v>7.0328222797708841</c:v>
                </c:pt>
                <c:pt idx="5562">
                  <c:v>5.0557443455852171</c:v>
                </c:pt>
                <c:pt idx="5563">
                  <c:v>4.9629859884599306</c:v>
                </c:pt>
                <c:pt idx="5564">
                  <c:v>6.8834312495455352</c:v>
                </c:pt>
                <c:pt idx="5565">
                  <c:v>4.9244566758709025</c:v>
                </c:pt>
                <c:pt idx="5566">
                  <c:v>5.0119215548537239</c:v>
                </c:pt>
                <c:pt idx="5567">
                  <c:v>4.9672696791449962</c:v>
                </c:pt>
                <c:pt idx="5568">
                  <c:v>4.9027273856792251</c:v>
                </c:pt>
                <c:pt idx="5569">
                  <c:v>5.9131354777629115</c:v>
                </c:pt>
                <c:pt idx="5570">
                  <c:v>5.993704146150785</c:v>
                </c:pt>
                <c:pt idx="5571">
                  <c:v>6.0984070022233752</c:v>
                </c:pt>
                <c:pt idx="5572">
                  <c:v>4.0615269329510237</c:v>
                </c:pt>
                <c:pt idx="5573">
                  <c:v>4.892917645686488</c:v>
                </c:pt>
                <c:pt idx="5574">
                  <c:v>5.872179762292868</c:v>
                </c:pt>
                <c:pt idx="5575">
                  <c:v>6.0424021994758537</c:v>
                </c:pt>
                <c:pt idx="5576">
                  <c:v>6.0052121451087048</c:v>
                </c:pt>
                <c:pt idx="5577">
                  <c:v>6.0525741743410926</c:v>
                </c:pt>
                <c:pt idx="5578">
                  <c:v>4.9326175603529601</c:v>
                </c:pt>
                <c:pt idx="5579">
                  <c:v>5.8498500699621419</c:v>
                </c:pt>
                <c:pt idx="5580">
                  <c:v>4.7578490890957879</c:v>
                </c:pt>
                <c:pt idx="5581">
                  <c:v>5.1559802601829885</c:v>
                </c:pt>
                <c:pt idx="5582">
                  <c:v>5.1041695339835158</c:v>
                </c:pt>
                <c:pt idx="5583">
                  <c:v>6.1703890180051095</c:v>
                </c:pt>
                <c:pt idx="5584">
                  <c:v>5.9818362665729641</c:v>
                </c:pt>
                <c:pt idx="5585">
                  <c:v>5.9979448915816826</c:v>
                </c:pt>
                <c:pt idx="5586">
                  <c:v>5.0420572012304179</c:v>
                </c:pt>
                <c:pt idx="5587">
                  <c:v>5.0596113347179354</c:v>
                </c:pt>
                <c:pt idx="5588">
                  <c:v>5.9901606287721609</c:v>
                </c:pt>
                <c:pt idx="5589">
                  <c:v>5.9198231475205851</c:v>
                </c:pt>
                <c:pt idx="5590">
                  <c:v>5.99661482772576</c:v>
                </c:pt>
                <c:pt idx="5591">
                  <c:v>6.0041171788978431</c:v>
                </c:pt>
                <c:pt idx="5592">
                  <c:v>5.9361924280968745</c:v>
                </c:pt>
                <c:pt idx="5593">
                  <c:v>5.0340141728303891</c:v>
                </c:pt>
                <c:pt idx="5594">
                  <c:v>6.102294110831477</c:v>
                </c:pt>
                <c:pt idx="5595">
                  <c:v>5.7899949823314234</c:v>
                </c:pt>
                <c:pt idx="5596">
                  <c:v>5.7222611549298339</c:v>
                </c:pt>
                <c:pt idx="5597">
                  <c:v>6.0164797044829292</c:v>
                </c:pt>
                <c:pt idx="5598">
                  <c:v>5.0458926361966734</c:v>
                </c:pt>
                <c:pt idx="5599">
                  <c:v>6.9794097789236984</c:v>
                </c:pt>
                <c:pt idx="5600">
                  <c:v>4.9043376414129218</c:v>
                </c:pt>
                <c:pt idx="5601">
                  <c:v>5.0203232754239044</c:v>
                </c:pt>
                <c:pt idx="5602">
                  <c:v>4.9223567304842888</c:v>
                </c:pt>
                <c:pt idx="5603">
                  <c:v>6.0654892911436598</c:v>
                </c:pt>
                <c:pt idx="5604">
                  <c:v>6.1254868119578463</c:v>
                </c:pt>
                <c:pt idx="5605">
                  <c:v>5.0070873245670215</c:v>
                </c:pt>
                <c:pt idx="5606">
                  <c:v>5.0245730609640118</c:v>
                </c:pt>
                <c:pt idx="5607">
                  <c:v>5.8894810440015721</c:v>
                </c:pt>
                <c:pt idx="5608">
                  <c:v>4.9523135326596774</c:v>
                </c:pt>
                <c:pt idx="5609">
                  <c:v>6.1185632466559543</c:v>
                </c:pt>
                <c:pt idx="5610">
                  <c:v>4.8025311200520155</c:v>
                </c:pt>
                <c:pt idx="5611">
                  <c:v>5.8492147088432329</c:v>
                </c:pt>
                <c:pt idx="5612">
                  <c:v>6.8963680233148592</c:v>
                </c:pt>
                <c:pt idx="5613">
                  <c:v>5.995184744823769</c:v>
                </c:pt>
                <c:pt idx="5614">
                  <c:v>4.89971070514913</c:v>
                </c:pt>
                <c:pt idx="5615">
                  <c:v>6.162815892619836</c:v>
                </c:pt>
                <c:pt idx="5616">
                  <c:v>6.0900153998787836</c:v>
                </c:pt>
                <c:pt idx="5617">
                  <c:v>6.9615384025868634</c:v>
                </c:pt>
                <c:pt idx="5618">
                  <c:v>7.219078313219522</c:v>
                </c:pt>
                <c:pt idx="5619">
                  <c:v>5.8936541564882656</c:v>
                </c:pt>
                <c:pt idx="5620">
                  <c:v>5.9889055221173262</c:v>
                </c:pt>
                <c:pt idx="5621">
                  <c:v>6.0092250180886282</c:v>
                </c:pt>
                <c:pt idx="5622">
                  <c:v>5.8829398577082239</c:v>
                </c:pt>
                <c:pt idx="5623">
                  <c:v>7.0151933488848481</c:v>
                </c:pt>
                <c:pt idx="5624">
                  <c:v>6.0679804770466284</c:v>
                </c:pt>
                <c:pt idx="5625">
                  <c:v>5.8659515770043926</c:v>
                </c:pt>
                <c:pt idx="5626">
                  <c:v>6.0791602219343215</c:v>
                </c:pt>
                <c:pt idx="5627">
                  <c:v>5.9750316819585549</c:v>
                </c:pt>
                <c:pt idx="5628">
                  <c:v>6.0147635502212085</c:v>
                </c:pt>
                <c:pt idx="5629">
                  <c:v>6.1943433987637615</c:v>
                </c:pt>
                <c:pt idx="5630">
                  <c:v>5.0312158812224057</c:v>
                </c:pt>
                <c:pt idx="5631">
                  <c:v>6.0328751020596627</c:v>
                </c:pt>
                <c:pt idx="5632">
                  <c:v>5.1251499329090802</c:v>
                </c:pt>
                <c:pt idx="5633">
                  <c:v>5.8989221708765873</c:v>
                </c:pt>
                <c:pt idx="5634">
                  <c:v>6.9469199019240886</c:v>
                </c:pt>
                <c:pt idx="5635">
                  <c:v>4.9048990998214022</c:v>
                </c:pt>
                <c:pt idx="5636">
                  <c:v>5.06972730670108</c:v>
                </c:pt>
                <c:pt idx="5637">
                  <c:v>5.84966039631753</c:v>
                </c:pt>
                <c:pt idx="5638">
                  <c:v>5.0422400778664764</c:v>
                </c:pt>
                <c:pt idx="5639">
                  <c:v>3.0175703574209796</c:v>
                </c:pt>
                <c:pt idx="5640">
                  <c:v>5.0026121795344443</c:v>
                </c:pt>
                <c:pt idx="5641">
                  <c:v>5.9200788711064956</c:v>
                </c:pt>
                <c:pt idx="5642">
                  <c:v>5.1531870433899902</c:v>
                </c:pt>
                <c:pt idx="5643">
                  <c:v>5.0617969239956455</c:v>
                </c:pt>
                <c:pt idx="5644">
                  <c:v>5.9917022726768128</c:v>
                </c:pt>
                <c:pt idx="5645">
                  <c:v>5.9499658291173168</c:v>
                </c:pt>
                <c:pt idx="5646">
                  <c:v>5.0107290879045197</c:v>
                </c:pt>
                <c:pt idx="5647">
                  <c:v>6.8640830706757026</c:v>
                </c:pt>
                <c:pt idx="5648">
                  <c:v>4.9885848558884556</c:v>
                </c:pt>
                <c:pt idx="5649">
                  <c:v>6.0217299370350315</c:v>
                </c:pt>
                <c:pt idx="5650">
                  <c:v>5.9705137531587935</c:v>
                </c:pt>
                <c:pt idx="5651">
                  <c:v>4.893715123119077</c:v>
                </c:pt>
                <c:pt idx="5652">
                  <c:v>7.1064289827383957</c:v>
                </c:pt>
                <c:pt idx="5653">
                  <c:v>5.0438969625882093</c:v>
                </c:pt>
                <c:pt idx="5654">
                  <c:v>6.9743070798408091</c:v>
                </c:pt>
                <c:pt idx="5655">
                  <c:v>4.9955500587194415</c:v>
                </c:pt>
                <c:pt idx="5656">
                  <c:v>5.0612670924030878</c:v>
                </c:pt>
                <c:pt idx="5657">
                  <c:v>6.0954710832605628</c:v>
                </c:pt>
                <c:pt idx="5658">
                  <c:v>6.0356007137053362</c:v>
                </c:pt>
                <c:pt idx="5659">
                  <c:v>6.8524452807194951</c:v>
                </c:pt>
                <c:pt idx="5660">
                  <c:v>7.1839254015376701</c:v>
                </c:pt>
                <c:pt idx="5661">
                  <c:v>5.9839173536892325</c:v>
                </c:pt>
                <c:pt idx="5662">
                  <c:v>5.2606687683219624</c:v>
                </c:pt>
                <c:pt idx="5663">
                  <c:v>5.2061785543739472</c:v>
                </c:pt>
                <c:pt idx="5664">
                  <c:v>6.0620599839296476</c:v>
                </c:pt>
                <c:pt idx="5665">
                  <c:v>5.9810435978576066</c:v>
                </c:pt>
                <c:pt idx="5666">
                  <c:v>7.1629915354775431</c:v>
                </c:pt>
                <c:pt idx="5667">
                  <c:v>5.9426519572710115</c:v>
                </c:pt>
                <c:pt idx="5668">
                  <c:v>4.9666205581149301</c:v>
                </c:pt>
                <c:pt idx="5669">
                  <c:v>5.2540758614563208</c:v>
                </c:pt>
                <c:pt idx="5670">
                  <c:v>5.8772318234097272</c:v>
                </c:pt>
                <c:pt idx="5671">
                  <c:v>5.9084005232021832</c:v>
                </c:pt>
                <c:pt idx="5672">
                  <c:v>6.1572897106634308</c:v>
                </c:pt>
                <c:pt idx="5673">
                  <c:v>6.8830341347676596</c:v>
                </c:pt>
                <c:pt idx="5674">
                  <c:v>6.0004323400522193</c:v>
                </c:pt>
                <c:pt idx="5675">
                  <c:v>5.0102661373188058</c:v>
                </c:pt>
                <c:pt idx="5676">
                  <c:v>5.0232184057586169</c:v>
                </c:pt>
                <c:pt idx="5677">
                  <c:v>5.9347542719745991</c:v>
                </c:pt>
                <c:pt idx="5678">
                  <c:v>7.009452975441163</c:v>
                </c:pt>
                <c:pt idx="5679">
                  <c:v>4.891067111203963</c:v>
                </c:pt>
                <c:pt idx="5680">
                  <c:v>6.0598963604989482</c:v>
                </c:pt>
                <c:pt idx="5681">
                  <c:v>6.1203879168370827</c:v>
                </c:pt>
                <c:pt idx="5682">
                  <c:v>6.0012189330366468</c:v>
                </c:pt>
                <c:pt idx="5683">
                  <c:v>5.982554619563782</c:v>
                </c:pt>
                <c:pt idx="5684">
                  <c:v>6.0044336557499918</c:v>
                </c:pt>
                <c:pt idx="5685">
                  <c:v>4.8817204654003161</c:v>
                </c:pt>
                <c:pt idx="5686">
                  <c:v>6.1273487991051629</c:v>
                </c:pt>
                <c:pt idx="5687">
                  <c:v>5.0975507589078264</c:v>
                </c:pt>
                <c:pt idx="5688">
                  <c:v>5.8926478998775833</c:v>
                </c:pt>
                <c:pt idx="5689">
                  <c:v>4.9416685532140949</c:v>
                </c:pt>
                <c:pt idx="5690">
                  <c:v>5.1011201634604495</c:v>
                </c:pt>
                <c:pt idx="5691">
                  <c:v>6.1076212356661808</c:v>
                </c:pt>
                <c:pt idx="5692">
                  <c:v>6.0968239842630796</c:v>
                </c:pt>
                <c:pt idx="5693">
                  <c:v>6.0281583754097259</c:v>
                </c:pt>
                <c:pt idx="5694">
                  <c:v>4.9286155754872105</c:v>
                </c:pt>
                <c:pt idx="5695">
                  <c:v>6.0200706597737286</c:v>
                </c:pt>
                <c:pt idx="5696">
                  <c:v>4.0155007614491804</c:v>
                </c:pt>
                <c:pt idx="5697">
                  <c:v>6.0635443072508517</c:v>
                </c:pt>
                <c:pt idx="5698">
                  <c:v>6.0270107170444422</c:v>
                </c:pt>
                <c:pt idx="5699">
                  <c:v>5.9615189615018593</c:v>
                </c:pt>
                <c:pt idx="5700">
                  <c:v>6.0388107073425044</c:v>
                </c:pt>
                <c:pt idx="5701">
                  <c:v>5.9886733295088561</c:v>
                </c:pt>
                <c:pt idx="5702">
                  <c:v>5.9399486250124438</c:v>
                </c:pt>
                <c:pt idx="5703">
                  <c:v>6.008360295295021</c:v>
                </c:pt>
                <c:pt idx="5704">
                  <c:v>4.9065106360008279</c:v>
                </c:pt>
                <c:pt idx="5705">
                  <c:v>4.9492091689825015</c:v>
                </c:pt>
                <c:pt idx="5706">
                  <c:v>5.8192642073452703</c:v>
                </c:pt>
                <c:pt idx="5707">
                  <c:v>4.9275261111759043</c:v>
                </c:pt>
                <c:pt idx="5708">
                  <c:v>6.0011872460416011</c:v>
                </c:pt>
                <c:pt idx="5709">
                  <c:v>6.0662742410787915</c:v>
                </c:pt>
                <c:pt idx="5710">
                  <c:v>4.9636817141146086</c:v>
                </c:pt>
                <c:pt idx="5711">
                  <c:v>5.8915019210302493</c:v>
                </c:pt>
                <c:pt idx="5712">
                  <c:v>6.0867480507498524</c:v>
                </c:pt>
                <c:pt idx="5713">
                  <c:v>5.0592543405723696</c:v>
                </c:pt>
                <c:pt idx="5714">
                  <c:v>6.042423318155266</c:v>
                </c:pt>
                <c:pt idx="5715">
                  <c:v>5.8869978519636401</c:v>
                </c:pt>
                <c:pt idx="5716">
                  <c:v>5.9898394251994658</c:v>
                </c:pt>
                <c:pt idx="5717">
                  <c:v>5.92140640090257</c:v>
                </c:pt>
                <c:pt idx="5718">
                  <c:v>6.1641728940766534</c:v>
                </c:pt>
                <c:pt idx="5719">
                  <c:v>4.8849363928859768</c:v>
                </c:pt>
                <c:pt idx="5720">
                  <c:v>5.8530849015889821</c:v>
                </c:pt>
                <c:pt idx="5721">
                  <c:v>5.8809163866226948</c:v>
                </c:pt>
                <c:pt idx="5722">
                  <c:v>4.9566764669844172</c:v>
                </c:pt>
                <c:pt idx="5723">
                  <c:v>6.0086730735082625</c:v>
                </c:pt>
                <c:pt idx="5724">
                  <c:v>6.0238612382353063</c:v>
                </c:pt>
                <c:pt idx="5725">
                  <c:v>5.0501546854347099</c:v>
                </c:pt>
                <c:pt idx="5726">
                  <c:v>4.9724413382432404</c:v>
                </c:pt>
                <c:pt idx="5727">
                  <c:v>6.0105348171152642</c:v>
                </c:pt>
                <c:pt idx="5728">
                  <c:v>6.0644785152158009</c:v>
                </c:pt>
                <c:pt idx="5729">
                  <c:v>6.0041802783091622</c:v>
                </c:pt>
                <c:pt idx="5730">
                  <c:v>5.9532938869663807</c:v>
                </c:pt>
                <c:pt idx="5731">
                  <c:v>5.8655962615860329</c:v>
                </c:pt>
                <c:pt idx="5732">
                  <c:v>6.9949716515596565</c:v>
                </c:pt>
                <c:pt idx="5733">
                  <c:v>6.927388602743525</c:v>
                </c:pt>
                <c:pt idx="5734">
                  <c:v>5.1666740685928652</c:v>
                </c:pt>
                <c:pt idx="5735">
                  <c:v>6.2729758511668861</c:v>
                </c:pt>
                <c:pt idx="5736">
                  <c:v>4.9856786470461589</c:v>
                </c:pt>
                <c:pt idx="5737">
                  <c:v>6.0372213889377777</c:v>
                </c:pt>
                <c:pt idx="5738">
                  <c:v>6.1761386181907731</c:v>
                </c:pt>
                <c:pt idx="5739">
                  <c:v>4.9836968506245203</c:v>
                </c:pt>
                <c:pt idx="5740">
                  <c:v>5.0139540153456572</c:v>
                </c:pt>
                <c:pt idx="5741">
                  <c:v>6.0469267618629452</c:v>
                </c:pt>
                <c:pt idx="5742">
                  <c:v>6.1948038737385458</c:v>
                </c:pt>
                <c:pt idx="5743">
                  <c:v>5.9996121854021025</c:v>
                </c:pt>
                <c:pt idx="5744">
                  <c:v>4.9001829268665977</c:v>
                </c:pt>
                <c:pt idx="5745">
                  <c:v>6.1161328310041805</c:v>
                </c:pt>
                <c:pt idx="5746">
                  <c:v>7.2085128009206256</c:v>
                </c:pt>
                <c:pt idx="5747">
                  <c:v>5.9806078884292511</c:v>
                </c:pt>
                <c:pt idx="5748">
                  <c:v>4.9280867963619626</c:v>
                </c:pt>
                <c:pt idx="5749">
                  <c:v>6.8547223303907163</c:v>
                </c:pt>
                <c:pt idx="5750">
                  <c:v>6.1108586408762866</c:v>
                </c:pt>
                <c:pt idx="5751">
                  <c:v>6.2210539306062316</c:v>
                </c:pt>
                <c:pt idx="5752">
                  <c:v>5.9863490842810343</c:v>
                </c:pt>
                <c:pt idx="5753">
                  <c:v>7.0936393176611308</c:v>
                </c:pt>
                <c:pt idx="5754">
                  <c:v>5.850501667451292</c:v>
                </c:pt>
                <c:pt idx="5755">
                  <c:v>6.0394620825123413</c:v>
                </c:pt>
                <c:pt idx="5756">
                  <c:v>4.9834965882636855</c:v>
                </c:pt>
                <c:pt idx="5757">
                  <c:v>5.0493900607464255</c:v>
                </c:pt>
                <c:pt idx="5758">
                  <c:v>6.9197409128662937</c:v>
                </c:pt>
                <c:pt idx="5759">
                  <c:v>4.9880889432431692</c:v>
                </c:pt>
                <c:pt idx="5760">
                  <c:v>4.9798849963614877</c:v>
                </c:pt>
                <c:pt idx="5761">
                  <c:v>5.9038338422937153</c:v>
                </c:pt>
                <c:pt idx="5762">
                  <c:v>4.9743799161651134</c:v>
                </c:pt>
                <c:pt idx="5763">
                  <c:v>4.9446874687970821</c:v>
                </c:pt>
                <c:pt idx="5764">
                  <c:v>6.0987798500547283</c:v>
                </c:pt>
                <c:pt idx="5765">
                  <c:v>6.077912872062873</c:v>
                </c:pt>
                <c:pt idx="5766">
                  <c:v>5.6869858282154198</c:v>
                </c:pt>
                <c:pt idx="5767">
                  <c:v>5.8912642378261157</c:v>
                </c:pt>
                <c:pt idx="5768">
                  <c:v>5.9682037285061558</c:v>
                </c:pt>
                <c:pt idx="5769">
                  <c:v>5.8535879075646902</c:v>
                </c:pt>
                <c:pt idx="5770">
                  <c:v>6.0405416879960931</c:v>
                </c:pt>
                <c:pt idx="5771">
                  <c:v>4.9032763482300066</c:v>
                </c:pt>
                <c:pt idx="5772">
                  <c:v>5.9882109630477185</c:v>
                </c:pt>
                <c:pt idx="5773">
                  <c:v>4.9342146772181197</c:v>
                </c:pt>
                <c:pt idx="5774">
                  <c:v>5.0475259700600317</c:v>
                </c:pt>
                <c:pt idx="5775">
                  <c:v>6.1960665835988218</c:v>
                </c:pt>
                <c:pt idx="5776">
                  <c:v>6.0839612961310676</c:v>
                </c:pt>
                <c:pt idx="5777">
                  <c:v>5.9751847740235888</c:v>
                </c:pt>
                <c:pt idx="5778">
                  <c:v>5.9958473570572579</c:v>
                </c:pt>
                <c:pt idx="5779">
                  <c:v>6.0476387922308401</c:v>
                </c:pt>
                <c:pt idx="5780">
                  <c:v>6.1065960093289871</c:v>
                </c:pt>
                <c:pt idx="5781">
                  <c:v>5.1082173683401741</c:v>
                </c:pt>
                <c:pt idx="5782">
                  <c:v>4.9594961623017992</c:v>
                </c:pt>
                <c:pt idx="5783">
                  <c:v>5.8770478478992842</c:v>
                </c:pt>
                <c:pt idx="5784">
                  <c:v>4.9595328860403471</c:v>
                </c:pt>
                <c:pt idx="5785">
                  <c:v>4.8719559816384406</c:v>
                </c:pt>
                <c:pt idx="5786">
                  <c:v>4.1582435324211025</c:v>
                </c:pt>
                <c:pt idx="5787">
                  <c:v>6.9442179069987384</c:v>
                </c:pt>
                <c:pt idx="5788">
                  <c:v>6.8714768441255174</c:v>
                </c:pt>
                <c:pt idx="5789">
                  <c:v>7.0545212589639945</c:v>
                </c:pt>
                <c:pt idx="5790">
                  <c:v>5.9542347291066644</c:v>
                </c:pt>
                <c:pt idx="5791">
                  <c:v>6.0862127675639632</c:v>
                </c:pt>
                <c:pt idx="5792">
                  <c:v>4.9652019054496117</c:v>
                </c:pt>
                <c:pt idx="5793">
                  <c:v>6.0618734917958026</c:v>
                </c:pt>
                <c:pt idx="5794">
                  <c:v>7.1607051178820242</c:v>
                </c:pt>
                <c:pt idx="5795">
                  <c:v>5.9285187257297842</c:v>
                </c:pt>
                <c:pt idx="5796">
                  <c:v>4.9820510835506386</c:v>
                </c:pt>
                <c:pt idx="5797">
                  <c:v>6.0380889233858461</c:v>
                </c:pt>
                <c:pt idx="5798">
                  <c:v>4.8615869887187584</c:v>
                </c:pt>
                <c:pt idx="5799">
                  <c:v>5.8822961233894491</c:v>
                </c:pt>
                <c:pt idx="5800">
                  <c:v>6.9639573941179167</c:v>
                </c:pt>
                <c:pt idx="5801">
                  <c:v>5.0233465828118931</c:v>
                </c:pt>
                <c:pt idx="5802">
                  <c:v>7.0191602871682877</c:v>
                </c:pt>
                <c:pt idx="5803">
                  <c:v>5.0098736702998607</c:v>
                </c:pt>
                <c:pt idx="5804">
                  <c:v>7.0883564847577007</c:v>
                </c:pt>
                <c:pt idx="5805">
                  <c:v>4.967457313444303</c:v>
                </c:pt>
                <c:pt idx="5806">
                  <c:v>4.8393307044827241</c:v>
                </c:pt>
                <c:pt idx="5807">
                  <c:v>5.8722745757800894</c:v>
                </c:pt>
                <c:pt idx="5808">
                  <c:v>5.9400125151387106</c:v>
                </c:pt>
                <c:pt idx="5809">
                  <c:v>4.8824724865913041</c:v>
                </c:pt>
                <c:pt idx="5810">
                  <c:v>5.9165881794963679</c:v>
                </c:pt>
                <c:pt idx="5811">
                  <c:v>6.0490197993063006</c:v>
                </c:pt>
                <c:pt idx="5812">
                  <c:v>4.9270879291538652</c:v>
                </c:pt>
                <c:pt idx="5813">
                  <c:v>5.0532613160518283</c:v>
                </c:pt>
                <c:pt idx="5814">
                  <c:v>6.1394504950059359</c:v>
                </c:pt>
                <c:pt idx="5815">
                  <c:v>5.0555871553989435</c:v>
                </c:pt>
                <c:pt idx="5816">
                  <c:v>5.8703345197724914</c:v>
                </c:pt>
                <c:pt idx="5817">
                  <c:v>5.997719362533565</c:v>
                </c:pt>
                <c:pt idx="5818">
                  <c:v>5.8887405839248528</c:v>
                </c:pt>
                <c:pt idx="5819">
                  <c:v>5.9808764980755678</c:v>
                </c:pt>
                <c:pt idx="5820">
                  <c:v>5.8904736406782003</c:v>
                </c:pt>
                <c:pt idx="5821">
                  <c:v>4.9923694462453936</c:v>
                </c:pt>
                <c:pt idx="5822">
                  <c:v>6.0852397541475041</c:v>
                </c:pt>
                <c:pt idx="5823">
                  <c:v>4.9556798320766156</c:v>
                </c:pt>
                <c:pt idx="5824">
                  <c:v>4.9873127366995522</c:v>
                </c:pt>
                <c:pt idx="5825">
                  <c:v>5.0242890678148351</c:v>
                </c:pt>
                <c:pt idx="5826">
                  <c:v>4.8179491301909811</c:v>
                </c:pt>
                <c:pt idx="5827">
                  <c:v>6.1413024422858555</c:v>
                </c:pt>
                <c:pt idx="5828">
                  <c:v>5.9811798104514686</c:v>
                </c:pt>
                <c:pt idx="5829">
                  <c:v>4.9128250049996076</c:v>
                </c:pt>
                <c:pt idx="5830">
                  <c:v>6.0659683809102711</c:v>
                </c:pt>
                <c:pt idx="5831">
                  <c:v>4.9022589113400903</c:v>
                </c:pt>
                <c:pt idx="5832">
                  <c:v>6.2139270631973131</c:v>
                </c:pt>
                <c:pt idx="5833">
                  <c:v>7.096576340930679</c:v>
                </c:pt>
                <c:pt idx="5834">
                  <c:v>5.9216681657407992</c:v>
                </c:pt>
                <c:pt idx="5835">
                  <c:v>6.0830749023396802</c:v>
                </c:pt>
                <c:pt idx="5836">
                  <c:v>5.88134950596677</c:v>
                </c:pt>
                <c:pt idx="5837">
                  <c:v>5.9545955199348821</c:v>
                </c:pt>
                <c:pt idx="5838">
                  <c:v>6.0413672060798733</c:v>
                </c:pt>
                <c:pt idx="5839">
                  <c:v>5.9016541599601409</c:v>
                </c:pt>
                <c:pt idx="5840">
                  <c:v>6.0176032335290133</c:v>
                </c:pt>
                <c:pt idx="5841">
                  <c:v>5.0906902401058858</c:v>
                </c:pt>
                <c:pt idx="5842">
                  <c:v>4.9326353132978848</c:v>
                </c:pt>
                <c:pt idx="5843">
                  <c:v>5.9644828336949409</c:v>
                </c:pt>
                <c:pt idx="5844">
                  <c:v>6.0578741926520836</c:v>
                </c:pt>
                <c:pt idx="5845">
                  <c:v>5.170961029897156</c:v>
                </c:pt>
                <c:pt idx="5846">
                  <c:v>4.9322380708867088</c:v>
                </c:pt>
                <c:pt idx="5847">
                  <c:v>5.0363927383604228</c:v>
                </c:pt>
                <c:pt idx="5848">
                  <c:v>6.1642176275078571</c:v>
                </c:pt>
                <c:pt idx="5849">
                  <c:v>5.0938389204866548</c:v>
                </c:pt>
                <c:pt idx="5850">
                  <c:v>6.0346959345105011</c:v>
                </c:pt>
                <c:pt idx="5851">
                  <c:v>5.1812971745902239</c:v>
                </c:pt>
                <c:pt idx="5852">
                  <c:v>5.1075065648958873</c:v>
                </c:pt>
                <c:pt idx="5853">
                  <c:v>6.0014172835695723</c:v>
                </c:pt>
                <c:pt idx="5854">
                  <c:v>5.0212670931338854</c:v>
                </c:pt>
                <c:pt idx="5855">
                  <c:v>4.9817625550536464</c:v>
                </c:pt>
                <c:pt idx="5856">
                  <c:v>4.855985063423228</c:v>
                </c:pt>
                <c:pt idx="5857">
                  <c:v>6.0474129496089022</c:v>
                </c:pt>
                <c:pt idx="5858">
                  <c:v>4.9216825011173624</c:v>
                </c:pt>
                <c:pt idx="5859">
                  <c:v>5.1911536342320446</c:v>
                </c:pt>
                <c:pt idx="5860">
                  <c:v>5.1106375109125679</c:v>
                </c:pt>
                <c:pt idx="5861">
                  <c:v>6.1076833270247191</c:v>
                </c:pt>
                <c:pt idx="5862">
                  <c:v>5.012807162358289</c:v>
                </c:pt>
                <c:pt idx="5863">
                  <c:v>5.0936060635098395</c:v>
                </c:pt>
                <c:pt idx="5864">
                  <c:v>6.149357633323981</c:v>
                </c:pt>
                <c:pt idx="5865">
                  <c:v>6.0835505855387879</c:v>
                </c:pt>
                <c:pt idx="5866">
                  <c:v>7.1327655794094529</c:v>
                </c:pt>
                <c:pt idx="5867">
                  <c:v>5.9429588643171547</c:v>
                </c:pt>
                <c:pt idx="5868">
                  <c:v>5.0309859786583901</c:v>
                </c:pt>
                <c:pt idx="5869">
                  <c:v>5.0375287637335049</c:v>
                </c:pt>
                <c:pt idx="5870">
                  <c:v>7.2606052056494645</c:v>
                </c:pt>
                <c:pt idx="5871">
                  <c:v>5.015992636593066</c:v>
                </c:pt>
                <c:pt idx="5872">
                  <c:v>4.8140027795585203</c:v>
                </c:pt>
                <c:pt idx="5873">
                  <c:v>6.0753570862487063</c:v>
                </c:pt>
                <c:pt idx="5874">
                  <c:v>4.9001305925295213</c:v>
                </c:pt>
                <c:pt idx="5875">
                  <c:v>6.0072726620754571</c:v>
                </c:pt>
                <c:pt idx="5876">
                  <c:v>6.0384375338234388</c:v>
                </c:pt>
                <c:pt idx="5877">
                  <c:v>5.0663304296821945</c:v>
                </c:pt>
                <c:pt idx="5878">
                  <c:v>5.8458418977774302</c:v>
                </c:pt>
                <c:pt idx="5879">
                  <c:v>5.9157779799163031</c:v>
                </c:pt>
                <c:pt idx="5880">
                  <c:v>6.0181139326708291</c:v>
                </c:pt>
                <c:pt idx="5881">
                  <c:v>5.1001353682217685</c:v>
                </c:pt>
                <c:pt idx="5882">
                  <c:v>4.9040164714233017</c:v>
                </c:pt>
                <c:pt idx="5883">
                  <c:v>5.0818686079781497</c:v>
                </c:pt>
                <c:pt idx="5884">
                  <c:v>5.9271009971323556</c:v>
                </c:pt>
                <c:pt idx="5885">
                  <c:v>4.9019817225156359</c:v>
                </c:pt>
                <c:pt idx="5886">
                  <c:v>6.9225371586633777</c:v>
                </c:pt>
                <c:pt idx="5887">
                  <c:v>5.077342920076326</c:v>
                </c:pt>
                <c:pt idx="5888">
                  <c:v>5.0466542332285469</c:v>
                </c:pt>
                <c:pt idx="5889">
                  <c:v>4.8871569397669168</c:v>
                </c:pt>
                <c:pt idx="5890">
                  <c:v>5.0906182520413257</c:v>
                </c:pt>
                <c:pt idx="5891">
                  <c:v>4.8953218597107213</c:v>
                </c:pt>
                <c:pt idx="5892">
                  <c:v>5.9418925360905828</c:v>
                </c:pt>
                <c:pt idx="5893">
                  <c:v>5.2369494478617806</c:v>
                </c:pt>
                <c:pt idx="5894">
                  <c:v>5.9793300923950987</c:v>
                </c:pt>
                <c:pt idx="5895">
                  <c:v>4.9948349461480586</c:v>
                </c:pt>
                <c:pt idx="5896">
                  <c:v>4.8828273286495323</c:v>
                </c:pt>
                <c:pt idx="5897">
                  <c:v>5.8240330270710725</c:v>
                </c:pt>
                <c:pt idx="5898">
                  <c:v>5.9711006819119889</c:v>
                </c:pt>
                <c:pt idx="5899">
                  <c:v>5.054619730624224</c:v>
                </c:pt>
                <c:pt idx="5900">
                  <c:v>5.9006270573430015</c:v>
                </c:pt>
                <c:pt idx="5901">
                  <c:v>5.181929713247964</c:v>
                </c:pt>
                <c:pt idx="5902">
                  <c:v>5.1065079639370961</c:v>
                </c:pt>
                <c:pt idx="5903">
                  <c:v>5.1499231154230527</c:v>
                </c:pt>
                <c:pt idx="5904">
                  <c:v>5.0526219492975954</c:v>
                </c:pt>
                <c:pt idx="5905">
                  <c:v>5.9571026580280391</c:v>
                </c:pt>
                <c:pt idx="5906">
                  <c:v>5.9362037076585503</c:v>
                </c:pt>
                <c:pt idx="5907">
                  <c:v>4.9497334022792359</c:v>
                </c:pt>
                <c:pt idx="5908">
                  <c:v>5.9158051717744096</c:v>
                </c:pt>
                <c:pt idx="5909">
                  <c:v>5.0057959941301844</c:v>
                </c:pt>
                <c:pt idx="5910">
                  <c:v>4.9524405514283139</c:v>
                </c:pt>
                <c:pt idx="5911">
                  <c:v>6.1538022984544334</c:v>
                </c:pt>
                <c:pt idx="5912">
                  <c:v>5.0581016540045702</c:v>
                </c:pt>
                <c:pt idx="5913">
                  <c:v>6.1361617731397438</c:v>
                </c:pt>
                <c:pt idx="5914">
                  <c:v>5.1040146944046274</c:v>
                </c:pt>
                <c:pt idx="5915">
                  <c:v>5.0979099881917938</c:v>
                </c:pt>
                <c:pt idx="5916">
                  <c:v>6.060135474264924</c:v>
                </c:pt>
                <c:pt idx="5917">
                  <c:v>5.126888766183253</c:v>
                </c:pt>
                <c:pt idx="5918">
                  <c:v>5.9535150369739309</c:v>
                </c:pt>
                <c:pt idx="5919">
                  <c:v>5.9923820615031342</c:v>
                </c:pt>
                <c:pt idx="5920">
                  <c:v>5.9969666163475024</c:v>
                </c:pt>
                <c:pt idx="5921">
                  <c:v>4.9954800989043067</c:v>
                </c:pt>
                <c:pt idx="5922">
                  <c:v>3.9705893270316492</c:v>
                </c:pt>
                <c:pt idx="5923">
                  <c:v>4.888434982575343</c:v>
                </c:pt>
                <c:pt idx="5924">
                  <c:v>4.9036325825607667</c:v>
                </c:pt>
                <c:pt idx="5925">
                  <c:v>6.0940434043371141</c:v>
                </c:pt>
                <c:pt idx="5926">
                  <c:v>5.0791710701368933</c:v>
                </c:pt>
                <c:pt idx="5927">
                  <c:v>6.0411756255557556</c:v>
                </c:pt>
                <c:pt idx="5928">
                  <c:v>6.1331008348633995</c:v>
                </c:pt>
                <c:pt idx="5929">
                  <c:v>6.2679350444192252</c:v>
                </c:pt>
                <c:pt idx="5930">
                  <c:v>3.0340737877839086</c:v>
                </c:pt>
                <c:pt idx="5931">
                  <c:v>5.1147983775140569</c:v>
                </c:pt>
                <c:pt idx="5932">
                  <c:v>5.84841881414967</c:v>
                </c:pt>
                <c:pt idx="5933">
                  <c:v>5.0363934000429973</c:v>
                </c:pt>
                <c:pt idx="5934">
                  <c:v>5.108217111249755</c:v>
                </c:pt>
                <c:pt idx="5935">
                  <c:v>5.9228823227321135</c:v>
                </c:pt>
                <c:pt idx="5936">
                  <c:v>4.972172692509063</c:v>
                </c:pt>
                <c:pt idx="5937">
                  <c:v>6.0892487797818449</c:v>
                </c:pt>
                <c:pt idx="5938">
                  <c:v>5.981524842671881</c:v>
                </c:pt>
                <c:pt idx="5939">
                  <c:v>5.8432838189187226</c:v>
                </c:pt>
                <c:pt idx="5940">
                  <c:v>5.0826773168127115</c:v>
                </c:pt>
                <c:pt idx="5941">
                  <c:v>5.150999361817826</c:v>
                </c:pt>
                <c:pt idx="5942">
                  <c:v>6.1265502797441886</c:v>
                </c:pt>
                <c:pt idx="5943">
                  <c:v>6.0862470560854813</c:v>
                </c:pt>
                <c:pt idx="5944">
                  <c:v>5.0471215474082962</c:v>
                </c:pt>
                <c:pt idx="5945">
                  <c:v>4.9505806354430657</c:v>
                </c:pt>
                <c:pt idx="5946">
                  <c:v>6.0904555781752192</c:v>
                </c:pt>
                <c:pt idx="5947">
                  <c:v>4.8747461880464948</c:v>
                </c:pt>
                <c:pt idx="5948">
                  <c:v>5.0381885064721672</c:v>
                </c:pt>
                <c:pt idx="5949">
                  <c:v>5.8717134973971108</c:v>
                </c:pt>
                <c:pt idx="5950">
                  <c:v>5.7747505961644219</c:v>
                </c:pt>
                <c:pt idx="5951">
                  <c:v>5.9155902455795495</c:v>
                </c:pt>
                <c:pt idx="5952">
                  <c:v>6.1864587667370987</c:v>
                </c:pt>
                <c:pt idx="5953">
                  <c:v>5.9821623409150702</c:v>
                </c:pt>
                <c:pt idx="5954">
                  <c:v>6.0116129726912666</c:v>
                </c:pt>
                <c:pt idx="5955">
                  <c:v>6.1167423669917333</c:v>
                </c:pt>
                <c:pt idx="5956">
                  <c:v>5.0530650513902264</c:v>
                </c:pt>
                <c:pt idx="5957">
                  <c:v>6.2734318417322212</c:v>
                </c:pt>
                <c:pt idx="5958">
                  <c:v>5.116751873410295</c:v>
                </c:pt>
                <c:pt idx="5959">
                  <c:v>6.018596638540104</c:v>
                </c:pt>
                <c:pt idx="5960">
                  <c:v>5.8727165462584106</c:v>
                </c:pt>
                <c:pt idx="5961">
                  <c:v>5.1080778912240143</c:v>
                </c:pt>
                <c:pt idx="5962">
                  <c:v>4.9609066836537092</c:v>
                </c:pt>
                <c:pt idx="5963">
                  <c:v>5.9723899121335844</c:v>
                </c:pt>
                <c:pt idx="5964">
                  <c:v>4.8705480773059211</c:v>
                </c:pt>
                <c:pt idx="5965">
                  <c:v>5.9504944816563716</c:v>
                </c:pt>
                <c:pt idx="5966">
                  <c:v>4.9630955519889204</c:v>
                </c:pt>
                <c:pt idx="5967">
                  <c:v>5.7885814464726391</c:v>
                </c:pt>
                <c:pt idx="5968">
                  <c:v>4.9938829965407319</c:v>
                </c:pt>
                <c:pt idx="5969">
                  <c:v>6.12167642223163</c:v>
                </c:pt>
                <c:pt idx="5970">
                  <c:v>5.0704329747903225</c:v>
                </c:pt>
                <c:pt idx="5971">
                  <c:v>6.0652333224548096</c:v>
                </c:pt>
                <c:pt idx="5972">
                  <c:v>5.9710838513148161</c:v>
                </c:pt>
                <c:pt idx="5973">
                  <c:v>5.8753901054246285</c:v>
                </c:pt>
                <c:pt idx="5974">
                  <c:v>6.0832465983788877</c:v>
                </c:pt>
                <c:pt idx="5975">
                  <c:v>5.9055794725594746</c:v>
                </c:pt>
                <c:pt idx="5976">
                  <c:v>5.1550927085006615</c:v>
                </c:pt>
                <c:pt idx="5977">
                  <c:v>4.9844826295915663</c:v>
                </c:pt>
                <c:pt idx="5978">
                  <c:v>5.9056673523765495</c:v>
                </c:pt>
                <c:pt idx="5979">
                  <c:v>5.0407237776735867</c:v>
                </c:pt>
                <c:pt idx="5980">
                  <c:v>5.1616177194306889</c:v>
                </c:pt>
                <c:pt idx="5981">
                  <c:v>5.9378410678149649</c:v>
                </c:pt>
                <c:pt idx="5982">
                  <c:v>5.9486948067098053</c:v>
                </c:pt>
                <c:pt idx="5983">
                  <c:v>6.1263997455304704</c:v>
                </c:pt>
                <c:pt idx="5984">
                  <c:v>4.8934009734528381</c:v>
                </c:pt>
                <c:pt idx="5985">
                  <c:v>5.0342534872675966</c:v>
                </c:pt>
                <c:pt idx="5986">
                  <c:v>4.9643626324704986</c:v>
                </c:pt>
                <c:pt idx="5987">
                  <c:v>4.88128027979878</c:v>
                </c:pt>
                <c:pt idx="5988">
                  <c:v>5.883182663738773</c:v>
                </c:pt>
                <c:pt idx="5989">
                  <c:v>6.1140232628248539</c:v>
                </c:pt>
                <c:pt idx="5990">
                  <c:v>6.0153952161881152</c:v>
                </c:pt>
                <c:pt idx="5991">
                  <c:v>4.9110151483676052</c:v>
                </c:pt>
                <c:pt idx="5992">
                  <c:v>6.0988474188281305</c:v>
                </c:pt>
                <c:pt idx="5993">
                  <c:v>5.0025231739855478</c:v>
                </c:pt>
                <c:pt idx="5994">
                  <c:v>6.0463618667994936</c:v>
                </c:pt>
                <c:pt idx="5995">
                  <c:v>6.0999062117870517</c:v>
                </c:pt>
                <c:pt idx="5996">
                  <c:v>5.0976580278379435</c:v>
                </c:pt>
                <c:pt idx="5997">
                  <c:v>5.9023155341411364</c:v>
                </c:pt>
                <c:pt idx="5998">
                  <c:v>5.091452561420386</c:v>
                </c:pt>
                <c:pt idx="5999">
                  <c:v>5.9236775027311008</c:v>
                </c:pt>
                <c:pt idx="6000">
                  <c:v>7.0702086144194762</c:v>
                </c:pt>
                <c:pt idx="6001">
                  <c:v>5.9090689003270018</c:v>
                </c:pt>
                <c:pt idx="6002">
                  <c:v>5.219422346918396</c:v>
                </c:pt>
                <c:pt idx="6003">
                  <c:v>5.9495228737808636</c:v>
                </c:pt>
                <c:pt idx="6004">
                  <c:v>4.9396257770304208</c:v>
                </c:pt>
                <c:pt idx="6005">
                  <c:v>5.1274676757753967</c:v>
                </c:pt>
                <c:pt idx="6006">
                  <c:v>6.045575281692015</c:v>
                </c:pt>
                <c:pt idx="6007">
                  <c:v>6.1794958804313209</c:v>
                </c:pt>
                <c:pt idx="6008">
                  <c:v>4.9288662789971776</c:v>
                </c:pt>
                <c:pt idx="6009">
                  <c:v>6.0266343381132907</c:v>
                </c:pt>
                <c:pt idx="6010">
                  <c:v>5.0491870648885344</c:v>
                </c:pt>
                <c:pt idx="6011">
                  <c:v>5.1017586665710972</c:v>
                </c:pt>
                <c:pt idx="6012">
                  <c:v>5.963258281021913</c:v>
                </c:pt>
                <c:pt idx="6013">
                  <c:v>5.1083231346518865</c:v>
                </c:pt>
                <c:pt idx="6014">
                  <c:v>5.0401540163709546</c:v>
                </c:pt>
                <c:pt idx="6015">
                  <c:v>5.9718062281307116</c:v>
                </c:pt>
                <c:pt idx="6016">
                  <c:v>5.1050276038387041</c:v>
                </c:pt>
                <c:pt idx="6017">
                  <c:v>6.0481677958733098</c:v>
                </c:pt>
                <c:pt idx="6018">
                  <c:v>6.066355837763254</c:v>
                </c:pt>
                <c:pt idx="6019">
                  <c:v>5.971395233934313</c:v>
                </c:pt>
                <c:pt idx="6020">
                  <c:v>5.9812483473483757</c:v>
                </c:pt>
                <c:pt idx="6021">
                  <c:v>4.9257060935047408</c:v>
                </c:pt>
                <c:pt idx="6022">
                  <c:v>5.1281637354048604</c:v>
                </c:pt>
                <c:pt idx="6023">
                  <c:v>6.0954283082594998</c:v>
                </c:pt>
                <c:pt idx="6024">
                  <c:v>6.117697475336219</c:v>
                </c:pt>
                <c:pt idx="6025">
                  <c:v>5.0095141462207833</c:v>
                </c:pt>
                <c:pt idx="6026">
                  <c:v>4.9999593185610482</c:v>
                </c:pt>
                <c:pt idx="6027">
                  <c:v>5.0321992502316846</c:v>
                </c:pt>
                <c:pt idx="6028">
                  <c:v>4.8566287563343788</c:v>
                </c:pt>
                <c:pt idx="6029">
                  <c:v>5.857613292200039</c:v>
                </c:pt>
                <c:pt idx="6030">
                  <c:v>6.010150210068792</c:v>
                </c:pt>
                <c:pt idx="6031">
                  <c:v>4.9244952268236268</c:v>
                </c:pt>
                <c:pt idx="6032">
                  <c:v>5.9422265475526723</c:v>
                </c:pt>
                <c:pt idx="6033">
                  <c:v>5.9679115812436132</c:v>
                </c:pt>
                <c:pt idx="6034">
                  <c:v>3.9383214708636562</c:v>
                </c:pt>
                <c:pt idx="6035">
                  <c:v>4.8034862448130324</c:v>
                </c:pt>
                <c:pt idx="6036">
                  <c:v>5.9207180623988469</c:v>
                </c:pt>
                <c:pt idx="6037">
                  <c:v>5.9184027944880775</c:v>
                </c:pt>
                <c:pt idx="6038">
                  <c:v>5.0598193270132255</c:v>
                </c:pt>
                <c:pt idx="6039">
                  <c:v>5.0821561189922884</c:v>
                </c:pt>
                <c:pt idx="6040">
                  <c:v>4.96861355528792</c:v>
                </c:pt>
                <c:pt idx="6041">
                  <c:v>6.9553751327616355</c:v>
                </c:pt>
                <c:pt idx="6042">
                  <c:v>4.1249300095322488</c:v>
                </c:pt>
                <c:pt idx="6043">
                  <c:v>7.0757704670974153</c:v>
                </c:pt>
                <c:pt idx="6044">
                  <c:v>7.0376212871673136</c:v>
                </c:pt>
                <c:pt idx="6045">
                  <c:v>5.0115134514662083</c:v>
                </c:pt>
                <c:pt idx="6046">
                  <c:v>5.0271905768423393</c:v>
                </c:pt>
                <c:pt idx="6047">
                  <c:v>6.0636173936582018</c:v>
                </c:pt>
                <c:pt idx="6048">
                  <c:v>5.1188971552009637</c:v>
                </c:pt>
                <c:pt idx="6049">
                  <c:v>4.8351631751985078</c:v>
                </c:pt>
                <c:pt idx="6050">
                  <c:v>6.0581884236368326</c:v>
                </c:pt>
                <c:pt idx="6051">
                  <c:v>6.0908735542849062</c:v>
                </c:pt>
                <c:pt idx="6052">
                  <c:v>5.9852327369990634</c:v>
                </c:pt>
                <c:pt idx="6053">
                  <c:v>5.1655788131961149</c:v>
                </c:pt>
                <c:pt idx="6054">
                  <c:v>5.9508370040227616</c:v>
                </c:pt>
                <c:pt idx="6055">
                  <c:v>4.981402448765837</c:v>
                </c:pt>
                <c:pt idx="6056">
                  <c:v>5.9538960368240126</c:v>
                </c:pt>
                <c:pt idx="6057">
                  <c:v>6.2680053523161074</c:v>
                </c:pt>
                <c:pt idx="6058">
                  <c:v>5.9618147488136728</c:v>
                </c:pt>
                <c:pt idx="6059">
                  <c:v>5.9220392266327497</c:v>
                </c:pt>
                <c:pt idx="6060">
                  <c:v>6.1124624854683391</c:v>
                </c:pt>
                <c:pt idx="6061">
                  <c:v>5.7685805453183052</c:v>
                </c:pt>
                <c:pt idx="6062">
                  <c:v>6.0758252167957068</c:v>
                </c:pt>
                <c:pt idx="6063">
                  <c:v>4.922451616744242</c:v>
                </c:pt>
                <c:pt idx="6064">
                  <c:v>6.0687708132296505</c:v>
                </c:pt>
                <c:pt idx="6065">
                  <c:v>5.1040797907875817</c:v>
                </c:pt>
                <c:pt idx="6066">
                  <c:v>5.9550970799621847</c:v>
                </c:pt>
                <c:pt idx="6067">
                  <c:v>6.146711035969779</c:v>
                </c:pt>
                <c:pt idx="6068">
                  <c:v>4.9673102195063938</c:v>
                </c:pt>
                <c:pt idx="6069">
                  <c:v>6.0586416231360571</c:v>
                </c:pt>
                <c:pt idx="6070">
                  <c:v>5.077020143972522</c:v>
                </c:pt>
                <c:pt idx="6071">
                  <c:v>5.0935521576078298</c:v>
                </c:pt>
                <c:pt idx="6072">
                  <c:v>5.8770465736397206</c:v>
                </c:pt>
                <c:pt idx="6073">
                  <c:v>4.9328209936431451</c:v>
                </c:pt>
                <c:pt idx="6074">
                  <c:v>4.9696589153946809</c:v>
                </c:pt>
                <c:pt idx="6075">
                  <c:v>7.0487307603688576</c:v>
                </c:pt>
                <c:pt idx="6076">
                  <c:v>4.7468030726164381</c:v>
                </c:pt>
                <c:pt idx="6077">
                  <c:v>5.9295633914333941</c:v>
                </c:pt>
                <c:pt idx="6078">
                  <c:v>5.9002315483842471</c:v>
                </c:pt>
                <c:pt idx="6079">
                  <c:v>6.0621434615107583</c:v>
                </c:pt>
                <c:pt idx="6080">
                  <c:v>6.1111488227670936</c:v>
                </c:pt>
                <c:pt idx="6081">
                  <c:v>4.9138159348919324</c:v>
                </c:pt>
                <c:pt idx="6082">
                  <c:v>5.9448119546951874</c:v>
                </c:pt>
                <c:pt idx="6083">
                  <c:v>4.9420798900471814</c:v>
                </c:pt>
                <c:pt idx="6084">
                  <c:v>5.053970842353686</c:v>
                </c:pt>
                <c:pt idx="6085">
                  <c:v>6.143424232746777</c:v>
                </c:pt>
                <c:pt idx="6086">
                  <c:v>6.033063624683372</c:v>
                </c:pt>
                <c:pt idx="6087">
                  <c:v>5.0309266357626896</c:v>
                </c:pt>
                <c:pt idx="6088">
                  <c:v>5.1018737222010362</c:v>
                </c:pt>
                <c:pt idx="6089">
                  <c:v>4.9760115600419121</c:v>
                </c:pt>
                <c:pt idx="6090">
                  <c:v>6.0590316173160605</c:v>
                </c:pt>
                <c:pt idx="6091">
                  <c:v>6.0939062796360215</c:v>
                </c:pt>
                <c:pt idx="6092">
                  <c:v>6.1015699743182807</c:v>
                </c:pt>
                <c:pt idx="6093">
                  <c:v>6.0627833770671673</c:v>
                </c:pt>
                <c:pt idx="6094">
                  <c:v>5.0500406649985337</c:v>
                </c:pt>
                <c:pt idx="6095">
                  <c:v>6.027946823737838</c:v>
                </c:pt>
                <c:pt idx="6096">
                  <c:v>4.7975317204533336</c:v>
                </c:pt>
                <c:pt idx="6097">
                  <c:v>5.0440446393471907</c:v>
                </c:pt>
                <c:pt idx="6098">
                  <c:v>5.8849520845780807</c:v>
                </c:pt>
                <c:pt idx="6099">
                  <c:v>6.1158029259058511</c:v>
                </c:pt>
                <c:pt idx="6100">
                  <c:v>5.9094299502614911</c:v>
                </c:pt>
                <c:pt idx="6101">
                  <c:v>4.8677487962849133</c:v>
                </c:pt>
                <c:pt idx="6102">
                  <c:v>4.9023967738560996</c:v>
                </c:pt>
                <c:pt idx="6103">
                  <c:v>5.0571592799239697</c:v>
                </c:pt>
                <c:pt idx="6104">
                  <c:v>4.8937814616281763</c:v>
                </c:pt>
                <c:pt idx="6105">
                  <c:v>6.0150231981307831</c:v>
                </c:pt>
                <c:pt idx="6106">
                  <c:v>4.958756003494261</c:v>
                </c:pt>
                <c:pt idx="6107">
                  <c:v>5.2225878254533882</c:v>
                </c:pt>
                <c:pt idx="6108">
                  <c:v>5.9213468340242388</c:v>
                </c:pt>
                <c:pt idx="6109">
                  <c:v>5.019513383033936</c:v>
                </c:pt>
                <c:pt idx="6110">
                  <c:v>5.1268229150228821</c:v>
                </c:pt>
                <c:pt idx="6111">
                  <c:v>5.1902272164136471</c:v>
                </c:pt>
                <c:pt idx="6112">
                  <c:v>5.9678419773520242</c:v>
                </c:pt>
                <c:pt idx="6113">
                  <c:v>4.9256789095060132</c:v>
                </c:pt>
                <c:pt idx="6114">
                  <c:v>5.9388586291694443</c:v>
                </c:pt>
                <c:pt idx="6115">
                  <c:v>7.063469774529513</c:v>
                </c:pt>
                <c:pt idx="6116">
                  <c:v>4.1330655998994814</c:v>
                </c:pt>
                <c:pt idx="6117">
                  <c:v>7.0570242458860211</c:v>
                </c:pt>
                <c:pt idx="6118">
                  <c:v>5.0519260853673744</c:v>
                </c:pt>
                <c:pt idx="6119">
                  <c:v>5.0976715984517602</c:v>
                </c:pt>
                <c:pt idx="6120">
                  <c:v>3.8801931557204341</c:v>
                </c:pt>
                <c:pt idx="6121">
                  <c:v>6.0998515661512753</c:v>
                </c:pt>
                <c:pt idx="6122">
                  <c:v>5.9517136443524663</c:v>
                </c:pt>
                <c:pt idx="6123">
                  <c:v>6.0498629130028876</c:v>
                </c:pt>
                <c:pt idx="6124">
                  <c:v>6.0251462019258044</c:v>
                </c:pt>
                <c:pt idx="6125">
                  <c:v>4.8477601103379815</c:v>
                </c:pt>
                <c:pt idx="6126">
                  <c:v>5.8668448712404553</c:v>
                </c:pt>
                <c:pt idx="6127">
                  <c:v>6.9330624459163177</c:v>
                </c:pt>
                <c:pt idx="6128">
                  <c:v>6.1955260239602916</c:v>
                </c:pt>
                <c:pt idx="6129">
                  <c:v>4.8017220494071697</c:v>
                </c:pt>
                <c:pt idx="6130">
                  <c:v>5.1283207453322817</c:v>
                </c:pt>
                <c:pt idx="6131">
                  <c:v>5.0328578843084504</c:v>
                </c:pt>
                <c:pt idx="6132">
                  <c:v>5.0509626149509383</c:v>
                </c:pt>
                <c:pt idx="6133">
                  <c:v>6.129889311717152</c:v>
                </c:pt>
                <c:pt idx="6134">
                  <c:v>5.115828614923009</c:v>
                </c:pt>
                <c:pt idx="6135">
                  <c:v>5.637432873390833</c:v>
                </c:pt>
                <c:pt idx="6136">
                  <c:v>4.9222861580085491</c:v>
                </c:pt>
                <c:pt idx="6137">
                  <c:v>5.9845863438070772</c:v>
                </c:pt>
                <c:pt idx="6138">
                  <c:v>5.0271198621907214</c:v>
                </c:pt>
                <c:pt idx="6139">
                  <c:v>4.9997248662482789</c:v>
                </c:pt>
                <c:pt idx="6140">
                  <c:v>5.1726490988273435</c:v>
                </c:pt>
                <c:pt idx="6141">
                  <c:v>4.9747943394275875</c:v>
                </c:pt>
                <c:pt idx="6142">
                  <c:v>4.8284373546013795</c:v>
                </c:pt>
                <c:pt idx="6143">
                  <c:v>5.0632626440735775</c:v>
                </c:pt>
                <c:pt idx="6144">
                  <c:v>5.8670608009145919</c:v>
                </c:pt>
                <c:pt idx="6145">
                  <c:v>5.1164520957690938</c:v>
                </c:pt>
                <c:pt idx="6146">
                  <c:v>5.9106434707223672</c:v>
                </c:pt>
                <c:pt idx="6147">
                  <c:v>5.0101301906734061</c:v>
                </c:pt>
                <c:pt idx="6148">
                  <c:v>5.9178082905911404</c:v>
                </c:pt>
                <c:pt idx="6149">
                  <c:v>5.9058236732681024</c:v>
                </c:pt>
                <c:pt idx="6150">
                  <c:v>6.9806321190926521</c:v>
                </c:pt>
                <c:pt idx="6151">
                  <c:v>5.891207553417102</c:v>
                </c:pt>
                <c:pt idx="6152">
                  <c:v>4.9002998532633173</c:v>
                </c:pt>
                <c:pt idx="6153">
                  <c:v>6.1126936979425563</c:v>
                </c:pt>
                <c:pt idx="6154">
                  <c:v>4.7952804640587532</c:v>
                </c:pt>
                <c:pt idx="6155">
                  <c:v>5.0421114953191841</c:v>
                </c:pt>
                <c:pt idx="6156">
                  <c:v>4.9495358645740302</c:v>
                </c:pt>
                <c:pt idx="6157">
                  <c:v>6.1440586699671789</c:v>
                </c:pt>
                <c:pt idx="6158">
                  <c:v>4.9676560771964065</c:v>
                </c:pt>
                <c:pt idx="6159">
                  <c:v>6.1159412329321716</c:v>
                </c:pt>
                <c:pt idx="6160">
                  <c:v>6.1012931909430428</c:v>
                </c:pt>
                <c:pt idx="6161">
                  <c:v>6.0030860517061662</c:v>
                </c:pt>
                <c:pt idx="6162">
                  <c:v>3.8684681056490473</c:v>
                </c:pt>
                <c:pt idx="6163">
                  <c:v>4.2073736056571498</c:v>
                </c:pt>
                <c:pt idx="6164">
                  <c:v>4.026706650340107</c:v>
                </c:pt>
                <c:pt idx="6165">
                  <c:v>3.9989636245729021</c:v>
                </c:pt>
                <c:pt idx="6166">
                  <c:v>4.2226648534822919</c:v>
                </c:pt>
                <c:pt idx="6167">
                  <c:v>3.9609821432971355</c:v>
                </c:pt>
                <c:pt idx="6168">
                  <c:v>4.0653711930672563</c:v>
                </c:pt>
                <c:pt idx="6169">
                  <c:v>4.0206366658446715</c:v>
                </c:pt>
                <c:pt idx="6170">
                  <c:v>4.0337487074522391</c:v>
                </c:pt>
                <c:pt idx="6171">
                  <c:v>5.9195759637923482</c:v>
                </c:pt>
                <c:pt idx="6172">
                  <c:v>4.9842248725485039</c:v>
                </c:pt>
                <c:pt idx="6173">
                  <c:v>4.9072332771557097</c:v>
                </c:pt>
                <c:pt idx="6174">
                  <c:v>6.1334527708271445</c:v>
                </c:pt>
                <c:pt idx="6175">
                  <c:v>4.9088073559503398</c:v>
                </c:pt>
                <c:pt idx="6176">
                  <c:v>5.9991818040221556</c:v>
                </c:pt>
                <c:pt idx="6177">
                  <c:v>6.012449658511791</c:v>
                </c:pt>
                <c:pt idx="6178">
                  <c:v>4.9054879187363589</c:v>
                </c:pt>
                <c:pt idx="6179">
                  <c:v>6.0233488046755017</c:v>
                </c:pt>
                <c:pt idx="6180">
                  <c:v>5.1015781567893139</c:v>
                </c:pt>
                <c:pt idx="6181">
                  <c:v>5.024396127190931</c:v>
                </c:pt>
                <c:pt idx="6182">
                  <c:v>4.9897254367728179</c:v>
                </c:pt>
                <c:pt idx="6183">
                  <c:v>4.0373280336677846</c:v>
                </c:pt>
                <c:pt idx="6184">
                  <c:v>7.2118648804306122</c:v>
                </c:pt>
                <c:pt idx="6185">
                  <c:v>5.1262274491286437</c:v>
                </c:pt>
                <c:pt idx="6186">
                  <c:v>3.7630555150273999</c:v>
                </c:pt>
                <c:pt idx="6187">
                  <c:v>5.0639770095021088</c:v>
                </c:pt>
                <c:pt idx="6188">
                  <c:v>5.0721177668812043</c:v>
                </c:pt>
                <c:pt idx="6189">
                  <c:v>6.9714242936424275</c:v>
                </c:pt>
                <c:pt idx="6190">
                  <c:v>4.9417988565292843</c:v>
                </c:pt>
                <c:pt idx="6191">
                  <c:v>5.0233958269208561</c:v>
                </c:pt>
                <c:pt idx="6192">
                  <c:v>4.9735033556275043</c:v>
                </c:pt>
                <c:pt idx="6193">
                  <c:v>4.815114257663117</c:v>
                </c:pt>
                <c:pt idx="6194">
                  <c:v>6.2000642552965415</c:v>
                </c:pt>
                <c:pt idx="6195">
                  <c:v>5.9251334147330015</c:v>
                </c:pt>
                <c:pt idx="6196">
                  <c:v>5.0145591127983478</c:v>
                </c:pt>
                <c:pt idx="6197">
                  <c:v>4.9249686244417452</c:v>
                </c:pt>
                <c:pt idx="6198">
                  <c:v>5.9895786518323364</c:v>
                </c:pt>
                <c:pt idx="6199">
                  <c:v>4.1532441317745095</c:v>
                </c:pt>
                <c:pt idx="6200">
                  <c:v>3.8530346076440432</c:v>
                </c:pt>
                <c:pt idx="6201">
                  <c:v>3.9677200535033874</c:v>
                </c:pt>
                <c:pt idx="6202">
                  <c:v>4.1956043817936406</c:v>
                </c:pt>
                <c:pt idx="6203">
                  <c:v>4.0816965191788688</c:v>
                </c:pt>
                <c:pt idx="6204">
                  <c:v>3.9751327219900201</c:v>
                </c:pt>
                <c:pt idx="6205">
                  <c:v>4.0420592606378758</c:v>
                </c:pt>
                <c:pt idx="6206">
                  <c:v>5.8351784829907229</c:v>
                </c:pt>
                <c:pt idx="6207">
                  <c:v>5.9442536724144315</c:v>
                </c:pt>
                <c:pt idx="6208">
                  <c:v>5.9337154887282306</c:v>
                </c:pt>
                <c:pt idx="6209">
                  <c:v>6.0943324425833003</c:v>
                </c:pt>
                <c:pt idx="6210">
                  <c:v>5.9345899848778751</c:v>
                </c:pt>
                <c:pt idx="6211">
                  <c:v>6.0244108457448382</c:v>
                </c:pt>
                <c:pt idx="6212">
                  <c:v>5.1258775370467635</c:v>
                </c:pt>
                <c:pt idx="6213">
                  <c:v>5.8433057570516986</c:v>
                </c:pt>
                <c:pt idx="6214">
                  <c:v>6.0901633133173672</c:v>
                </c:pt>
                <c:pt idx="6215">
                  <c:v>6.0539569159292217</c:v>
                </c:pt>
                <c:pt idx="6216">
                  <c:v>5.9888748063304504</c:v>
                </c:pt>
                <c:pt idx="6217">
                  <c:v>6.025882876837132</c:v>
                </c:pt>
                <c:pt idx="6218">
                  <c:v>5.9494208452629085</c:v>
                </c:pt>
                <c:pt idx="6219">
                  <c:v>4.0825141458911309</c:v>
                </c:pt>
                <c:pt idx="6220">
                  <c:v>5.9902725392759493</c:v>
                </c:pt>
                <c:pt idx="6221">
                  <c:v>5.9067642436875252</c:v>
                </c:pt>
                <c:pt idx="6222">
                  <c:v>4.9509101892153469</c:v>
                </c:pt>
                <c:pt idx="6223">
                  <c:v>4.9539368347233141</c:v>
                </c:pt>
                <c:pt idx="6224">
                  <c:v>4.0758542121907135</c:v>
                </c:pt>
                <c:pt idx="6225">
                  <c:v>5.9889076556776555</c:v>
                </c:pt>
                <c:pt idx="6226">
                  <c:v>4.9586505913114927</c:v>
                </c:pt>
                <c:pt idx="6227">
                  <c:v>6.016570111875378</c:v>
                </c:pt>
                <c:pt idx="6228">
                  <c:v>5.0567317311069573</c:v>
                </c:pt>
                <c:pt idx="6229">
                  <c:v>4.9903860912148268</c:v>
                </c:pt>
                <c:pt idx="6230">
                  <c:v>4.9294910793510587</c:v>
                </c:pt>
                <c:pt idx="6231">
                  <c:v>5.1068116195582913</c:v>
                </c:pt>
                <c:pt idx="6232">
                  <c:v>5.0214717180432631</c:v>
                </c:pt>
                <c:pt idx="6233">
                  <c:v>5.8663181298587963</c:v>
                </c:pt>
                <c:pt idx="6234">
                  <c:v>5.1004966606993234</c:v>
                </c:pt>
                <c:pt idx="6235">
                  <c:v>6.0115571848997664</c:v>
                </c:pt>
                <c:pt idx="6236">
                  <c:v>4.9536221177897035</c:v>
                </c:pt>
                <c:pt idx="6237">
                  <c:v>3.9821179527077342</c:v>
                </c:pt>
                <c:pt idx="6238">
                  <c:v>6.1225676967549703</c:v>
                </c:pt>
                <c:pt idx="6239">
                  <c:v>5.023716232334853</c:v>
                </c:pt>
                <c:pt idx="6240">
                  <c:v>4.9704841984303023</c:v>
                </c:pt>
                <c:pt idx="6241">
                  <c:v>6.0646643980102422</c:v>
                </c:pt>
                <c:pt idx="6242">
                  <c:v>5.0193555838656687</c:v>
                </c:pt>
                <c:pt idx="6243">
                  <c:v>4.9631017763417109</c:v>
                </c:pt>
                <c:pt idx="6244">
                  <c:v>4.9768688624224309</c:v>
                </c:pt>
                <c:pt idx="6245">
                  <c:v>4.8724347940980257</c:v>
                </c:pt>
                <c:pt idx="6246">
                  <c:v>5.8146674762285242</c:v>
                </c:pt>
                <c:pt idx="6247">
                  <c:v>6.1861407186380148</c:v>
                </c:pt>
                <c:pt idx="6248">
                  <c:v>4.7589744117221802</c:v>
                </c:pt>
                <c:pt idx="6249">
                  <c:v>4.988116723388198</c:v>
                </c:pt>
                <c:pt idx="6250">
                  <c:v>6.0434215889929259</c:v>
                </c:pt>
                <c:pt idx="6251">
                  <c:v>6.0429095453125967</c:v>
                </c:pt>
                <c:pt idx="6252">
                  <c:v>6.1521561978657546</c:v>
                </c:pt>
                <c:pt idx="6253">
                  <c:v>6.1538636084769571</c:v>
                </c:pt>
                <c:pt idx="6254">
                  <c:v>5.1552035330164365</c:v>
                </c:pt>
                <c:pt idx="6255">
                  <c:v>6.0171408116906493</c:v>
                </c:pt>
                <c:pt idx="6256">
                  <c:v>4.942561604545558</c:v>
                </c:pt>
                <c:pt idx="6257">
                  <c:v>5.9730620032351789</c:v>
                </c:pt>
                <c:pt idx="6258">
                  <c:v>5.8885261540559233</c:v>
                </c:pt>
                <c:pt idx="6259">
                  <c:v>5.9357504204321172</c:v>
                </c:pt>
                <c:pt idx="6260">
                  <c:v>4.804909926247853</c:v>
                </c:pt>
                <c:pt idx="6261">
                  <c:v>6.0094682184802526</c:v>
                </c:pt>
                <c:pt idx="6262">
                  <c:v>4.1083747777319255</c:v>
                </c:pt>
                <c:pt idx="6263">
                  <c:v>5.9336776837688294</c:v>
                </c:pt>
                <c:pt idx="6264">
                  <c:v>5.1637640024605442</c:v>
                </c:pt>
                <c:pt idx="6265">
                  <c:v>4.8161927955338832</c:v>
                </c:pt>
                <c:pt idx="6266">
                  <c:v>5.8455126638836763</c:v>
                </c:pt>
                <c:pt idx="6267">
                  <c:v>5.9538416618554324</c:v>
                </c:pt>
                <c:pt idx="6268">
                  <c:v>5.8649039614616587</c:v>
                </c:pt>
                <c:pt idx="6269">
                  <c:v>5.0120025972537521</c:v>
                </c:pt>
                <c:pt idx="6270">
                  <c:v>5.0867706036999945</c:v>
                </c:pt>
                <c:pt idx="6271">
                  <c:v>5.9384247682287477</c:v>
                </c:pt>
                <c:pt idx="6272">
                  <c:v>4.8266638471172385</c:v>
                </c:pt>
                <c:pt idx="6273">
                  <c:v>5.0595826311868688</c:v>
                </c:pt>
                <c:pt idx="6274">
                  <c:v>5.1280749700481225</c:v>
                </c:pt>
                <c:pt idx="6275">
                  <c:v>4.9662181795458062</c:v>
                </c:pt>
                <c:pt idx="6276">
                  <c:v>4.9002261012617501</c:v>
                </c:pt>
                <c:pt idx="6277">
                  <c:v>6.072456466011027</c:v>
                </c:pt>
                <c:pt idx="6278">
                  <c:v>5.9635710179896293</c:v>
                </c:pt>
                <c:pt idx="6279">
                  <c:v>6.0076814703479657</c:v>
                </c:pt>
                <c:pt idx="6280">
                  <c:v>5.8720119408371927</c:v>
                </c:pt>
                <c:pt idx="6281">
                  <c:v>5.9890697192480271</c:v>
                </c:pt>
                <c:pt idx="6282">
                  <c:v>5.8436496618763218</c:v>
                </c:pt>
                <c:pt idx="6283">
                  <c:v>5.9397960750669361</c:v>
                </c:pt>
                <c:pt idx="6284">
                  <c:v>6.0063838255138862</c:v>
                </c:pt>
                <c:pt idx="6285">
                  <c:v>6.0286610544700352</c:v>
                </c:pt>
                <c:pt idx="6286">
                  <c:v>6.0791215300974706</c:v>
                </c:pt>
                <c:pt idx="6287">
                  <c:v>5.8032901667697363</c:v>
                </c:pt>
                <c:pt idx="6288">
                  <c:v>5.9024758757551981</c:v>
                </c:pt>
                <c:pt idx="6289">
                  <c:v>6.0374555936240055</c:v>
                </c:pt>
                <c:pt idx="6290">
                  <c:v>6.0162278703420933</c:v>
                </c:pt>
                <c:pt idx="6291">
                  <c:v>5.9057246794966565</c:v>
                </c:pt>
                <c:pt idx="6292">
                  <c:v>6.8537226166537364</c:v>
                </c:pt>
                <c:pt idx="6293">
                  <c:v>5.9726659860971063</c:v>
                </c:pt>
                <c:pt idx="6294">
                  <c:v>5.9500511069713529</c:v>
                </c:pt>
                <c:pt idx="6295">
                  <c:v>4.0707245657932516</c:v>
                </c:pt>
                <c:pt idx="6296">
                  <c:v>4.018900031692116</c:v>
                </c:pt>
                <c:pt idx="6297">
                  <c:v>6.0820211291771393</c:v>
                </c:pt>
                <c:pt idx="6298">
                  <c:v>2.915693626310325</c:v>
                </c:pt>
                <c:pt idx="6299">
                  <c:v>6.0811680854894279</c:v>
                </c:pt>
                <c:pt idx="6300">
                  <c:v>5.9973394341795352</c:v>
                </c:pt>
                <c:pt idx="6301">
                  <c:v>4.9507154780239206</c:v>
                </c:pt>
                <c:pt idx="6302">
                  <c:v>5.9555607135623356</c:v>
                </c:pt>
                <c:pt idx="6303">
                  <c:v>6.0232418751220269</c:v>
                </c:pt>
                <c:pt idx="6304">
                  <c:v>4.9902701726696019</c:v>
                </c:pt>
                <c:pt idx="6305">
                  <c:v>2.7875662036916244</c:v>
                </c:pt>
                <c:pt idx="6306">
                  <c:v>6.0094458783516211</c:v>
                </c:pt>
                <c:pt idx="6307">
                  <c:v>6.232765298937756</c:v>
                </c:pt>
                <c:pt idx="6308">
                  <c:v>5.8652166244760586</c:v>
                </c:pt>
                <c:pt idx="6309">
                  <c:v>5.0537414483582284</c:v>
                </c:pt>
                <c:pt idx="6310">
                  <c:v>3.9907606551608468</c:v>
                </c:pt>
                <c:pt idx="6311">
                  <c:v>3.9445165453331472</c:v>
                </c:pt>
                <c:pt idx="6312">
                  <c:v>4.7595373010130722</c:v>
                </c:pt>
                <c:pt idx="6313">
                  <c:v>5.0942095757205124</c:v>
                </c:pt>
                <c:pt idx="6314">
                  <c:v>6.044465828148291</c:v>
                </c:pt>
                <c:pt idx="6315">
                  <c:v>6.06557789072499</c:v>
                </c:pt>
                <c:pt idx="6316">
                  <c:v>5.0857624471502803</c:v>
                </c:pt>
                <c:pt idx="6317">
                  <c:v>5.8604307574205139</c:v>
                </c:pt>
                <c:pt idx="6318">
                  <c:v>4.9741823875498019</c:v>
                </c:pt>
                <c:pt idx="6319">
                  <c:v>5.9615828976721126</c:v>
                </c:pt>
                <c:pt idx="6320">
                  <c:v>6.2220482108339219</c:v>
                </c:pt>
                <c:pt idx="6321">
                  <c:v>4.9530644929405803</c:v>
                </c:pt>
                <c:pt idx="6322">
                  <c:v>6.0582144657558503</c:v>
                </c:pt>
                <c:pt idx="6323">
                  <c:v>5.9354038764369168</c:v>
                </c:pt>
                <c:pt idx="6324">
                  <c:v>5.9702236159750646</c:v>
                </c:pt>
                <c:pt idx="6325">
                  <c:v>5.1012031828995141</c:v>
                </c:pt>
                <c:pt idx="6326">
                  <c:v>6.0846877590157264</c:v>
                </c:pt>
                <c:pt idx="6327">
                  <c:v>6.1682022743617662</c:v>
                </c:pt>
                <c:pt idx="6328">
                  <c:v>7.0468937331368542</c:v>
                </c:pt>
                <c:pt idx="6329">
                  <c:v>7.0054500586577122</c:v>
                </c:pt>
                <c:pt idx="6330">
                  <c:v>6.0066833339357855</c:v>
                </c:pt>
                <c:pt idx="6331">
                  <c:v>5.9958465455666268</c:v>
                </c:pt>
                <c:pt idx="6332">
                  <c:v>5.7868946821432763</c:v>
                </c:pt>
                <c:pt idx="6333">
                  <c:v>5.8451833239321047</c:v>
                </c:pt>
                <c:pt idx="6334">
                  <c:v>6.0850836021391048</c:v>
                </c:pt>
                <c:pt idx="6335">
                  <c:v>5.0769091371051545</c:v>
                </c:pt>
                <c:pt idx="6336">
                  <c:v>6.0087835187363092</c:v>
                </c:pt>
                <c:pt idx="6337">
                  <c:v>6.1100574963464025</c:v>
                </c:pt>
                <c:pt idx="6338">
                  <c:v>6.0769712699578537</c:v>
                </c:pt>
                <c:pt idx="6339">
                  <c:v>5.8716145283201104</c:v>
                </c:pt>
                <c:pt idx="6340">
                  <c:v>4.0050373541383237</c:v>
                </c:pt>
                <c:pt idx="6341">
                  <c:v>4.2008691106502072</c:v>
                </c:pt>
                <c:pt idx="6342">
                  <c:v>4.1618209934058124</c:v>
                </c:pt>
                <c:pt idx="6343">
                  <c:v>5.9817327476748492</c:v>
                </c:pt>
                <c:pt idx="6344">
                  <c:v>4.0188699745915466</c:v>
                </c:pt>
                <c:pt idx="6345">
                  <c:v>4.9117500175183251</c:v>
                </c:pt>
                <c:pt idx="6346">
                  <c:v>5.9851527815536443</c:v>
                </c:pt>
                <c:pt idx="6347">
                  <c:v>5.8444132140364902</c:v>
                </c:pt>
                <c:pt idx="6348">
                  <c:v>4.9701824444892715</c:v>
                </c:pt>
                <c:pt idx="6349">
                  <c:v>6.2092060043164707</c:v>
                </c:pt>
                <c:pt idx="6350">
                  <c:v>5.8808823122231777</c:v>
                </c:pt>
                <c:pt idx="6351">
                  <c:v>4.9583635434027737</c:v>
                </c:pt>
                <c:pt idx="6352">
                  <c:v>4.9868634656943778</c:v>
                </c:pt>
                <c:pt idx="6353">
                  <c:v>5.9422976301454487</c:v>
                </c:pt>
                <c:pt idx="6354">
                  <c:v>4.9980530798328555</c:v>
                </c:pt>
                <c:pt idx="6355">
                  <c:v>6.0839720353025903</c:v>
                </c:pt>
                <c:pt idx="6356">
                  <c:v>4.8791270914138503</c:v>
                </c:pt>
                <c:pt idx="6357">
                  <c:v>6.0080064458950435</c:v>
                </c:pt>
                <c:pt idx="6358">
                  <c:v>5.9640710755186106</c:v>
                </c:pt>
                <c:pt idx="6359">
                  <c:v>4.9243736147793351</c:v>
                </c:pt>
                <c:pt idx="6360">
                  <c:v>6.0777840121321933</c:v>
                </c:pt>
                <c:pt idx="6361">
                  <c:v>4.886345855807865</c:v>
                </c:pt>
                <c:pt idx="6362">
                  <c:v>5.1168096522460456</c:v>
                </c:pt>
                <c:pt idx="6363">
                  <c:v>5.0838962622546946</c:v>
                </c:pt>
                <c:pt idx="6364">
                  <c:v>4.9376553820125872</c:v>
                </c:pt>
                <c:pt idx="6365">
                  <c:v>4.9798137335741011</c:v>
                </c:pt>
                <c:pt idx="6366">
                  <c:v>4.9305624292534347</c:v>
                </c:pt>
                <c:pt idx="6367">
                  <c:v>5.9780163149726837</c:v>
                </c:pt>
                <c:pt idx="6368">
                  <c:v>5.7525670887336791</c:v>
                </c:pt>
                <c:pt idx="6369">
                  <c:v>4.053844564658732</c:v>
                </c:pt>
                <c:pt idx="6370">
                  <c:v>5.9913785549634158</c:v>
                </c:pt>
                <c:pt idx="6371">
                  <c:v>4.8223944398997025</c:v>
                </c:pt>
                <c:pt idx="6372">
                  <c:v>5.9684014316287888</c:v>
                </c:pt>
                <c:pt idx="6373">
                  <c:v>5.9117975034769144</c:v>
                </c:pt>
                <c:pt idx="6374">
                  <c:v>5.018732581930883</c:v>
                </c:pt>
                <c:pt idx="6375">
                  <c:v>6.1183793126396067</c:v>
                </c:pt>
                <c:pt idx="6376">
                  <c:v>6.9839873562745023</c:v>
                </c:pt>
                <c:pt idx="6377">
                  <c:v>6.0050868714428249</c:v>
                </c:pt>
                <c:pt idx="6378">
                  <c:v>5.1111507800720943</c:v>
                </c:pt>
                <c:pt idx="6379">
                  <c:v>6.166806345095714</c:v>
                </c:pt>
                <c:pt idx="6380">
                  <c:v>5.9051291557606405</c:v>
                </c:pt>
                <c:pt idx="6381">
                  <c:v>4.9098430649534777</c:v>
                </c:pt>
                <c:pt idx="6382">
                  <c:v>5.0203316918471153</c:v>
                </c:pt>
                <c:pt idx="6383">
                  <c:v>6.0815224554338769</c:v>
                </c:pt>
                <c:pt idx="6384">
                  <c:v>5.1170259256104131</c:v>
                </c:pt>
                <c:pt idx="6385">
                  <c:v>4.9618237678444892</c:v>
                </c:pt>
                <c:pt idx="6386">
                  <c:v>6.0747333178732656</c:v>
                </c:pt>
                <c:pt idx="6387">
                  <c:v>5.0396376555741034</c:v>
                </c:pt>
                <c:pt idx="6388">
                  <c:v>6.0376121224614376</c:v>
                </c:pt>
                <c:pt idx="6389">
                  <c:v>4.8958197090036331</c:v>
                </c:pt>
                <c:pt idx="6390">
                  <c:v>6.0010663375524533</c:v>
                </c:pt>
                <c:pt idx="6391">
                  <c:v>4.744648548829522</c:v>
                </c:pt>
                <c:pt idx="6392">
                  <c:v>4.9441478263800098</c:v>
                </c:pt>
                <c:pt idx="6393">
                  <c:v>6.0112337836545819</c:v>
                </c:pt>
                <c:pt idx="6394">
                  <c:v>4.860108834106331</c:v>
                </c:pt>
                <c:pt idx="6395">
                  <c:v>5.1852357715037733</c:v>
                </c:pt>
                <c:pt idx="6396">
                  <c:v>4.9813457088954864</c:v>
                </c:pt>
                <c:pt idx="6397">
                  <c:v>5.91896169903145</c:v>
                </c:pt>
                <c:pt idx="6398">
                  <c:v>5.0198224754858751</c:v>
                </c:pt>
                <c:pt idx="6399">
                  <c:v>5.0310069146053467</c:v>
                </c:pt>
                <c:pt idx="6400">
                  <c:v>5.9837422345888722</c:v>
                </c:pt>
                <c:pt idx="6401">
                  <c:v>5.9780304104196977</c:v>
                </c:pt>
                <c:pt idx="6402">
                  <c:v>6.0536111494359295</c:v>
                </c:pt>
                <c:pt idx="6403">
                  <c:v>5.0453378897128731</c:v>
                </c:pt>
                <c:pt idx="6404">
                  <c:v>4.9431444974109588</c:v>
                </c:pt>
                <c:pt idx="6405">
                  <c:v>4.9794205624868537</c:v>
                </c:pt>
                <c:pt idx="6406">
                  <c:v>6.1447658272447772</c:v>
                </c:pt>
                <c:pt idx="6407">
                  <c:v>5.8974603796936087</c:v>
                </c:pt>
                <c:pt idx="6408">
                  <c:v>5.8073023923528879</c:v>
                </c:pt>
                <c:pt idx="6409">
                  <c:v>5.9975904974883951</c:v>
                </c:pt>
                <c:pt idx="6410">
                  <c:v>6.0355829228541245</c:v>
                </c:pt>
                <c:pt idx="6411">
                  <c:v>6.1112563649264029</c:v>
                </c:pt>
                <c:pt idx="6412">
                  <c:v>5.0369467480516761</c:v>
                </c:pt>
                <c:pt idx="6413">
                  <c:v>5.0407612068964163</c:v>
                </c:pt>
                <c:pt idx="6414">
                  <c:v>4.9390966017618592</c:v>
                </c:pt>
                <c:pt idx="6415">
                  <c:v>6.099227759585875</c:v>
                </c:pt>
                <c:pt idx="6416">
                  <c:v>5.040872298021136</c:v>
                </c:pt>
                <c:pt idx="6417">
                  <c:v>4.941601264378467</c:v>
                </c:pt>
                <c:pt idx="6418">
                  <c:v>5.1447560191530579</c:v>
                </c:pt>
                <c:pt idx="6419">
                  <c:v>4.8883451599533725</c:v>
                </c:pt>
                <c:pt idx="6420">
                  <c:v>6.2719283664692451</c:v>
                </c:pt>
                <c:pt idx="6421">
                  <c:v>4.8766210711971807</c:v>
                </c:pt>
                <c:pt idx="6422">
                  <c:v>6.1236870993154255</c:v>
                </c:pt>
                <c:pt idx="6423">
                  <c:v>6.0323572778596741</c:v>
                </c:pt>
                <c:pt idx="6424">
                  <c:v>5.8989952825310095</c:v>
                </c:pt>
                <c:pt idx="6425">
                  <c:v>5.8170912983932936</c:v>
                </c:pt>
                <c:pt idx="6426">
                  <c:v>5.8668493913411446</c:v>
                </c:pt>
                <c:pt idx="6427">
                  <c:v>6.0267934081670136</c:v>
                </c:pt>
                <c:pt idx="6428">
                  <c:v>4.9430253311886752</c:v>
                </c:pt>
                <c:pt idx="6429">
                  <c:v>4.9424805398166596</c:v>
                </c:pt>
                <c:pt idx="6430">
                  <c:v>5.0909778062505602</c:v>
                </c:pt>
                <c:pt idx="6431">
                  <c:v>5.0369523742966331</c:v>
                </c:pt>
                <c:pt idx="6432">
                  <c:v>5.0704295508668373</c:v>
                </c:pt>
                <c:pt idx="6433">
                  <c:v>5.9677307653624698</c:v>
                </c:pt>
                <c:pt idx="6434">
                  <c:v>4.9155806918593656</c:v>
                </c:pt>
                <c:pt idx="6435">
                  <c:v>5.0126609649789566</c:v>
                </c:pt>
                <c:pt idx="6436">
                  <c:v>4.9727315006460202</c:v>
                </c:pt>
                <c:pt idx="6437">
                  <c:v>6.1002185482235118</c:v>
                </c:pt>
                <c:pt idx="6438">
                  <c:v>6.171819998149938</c:v>
                </c:pt>
                <c:pt idx="6439">
                  <c:v>4.8267760149512169</c:v>
                </c:pt>
                <c:pt idx="6440">
                  <c:v>4.9497720524952511</c:v>
                </c:pt>
                <c:pt idx="6441">
                  <c:v>5.9431874743960167</c:v>
                </c:pt>
                <c:pt idx="6442">
                  <c:v>6.0538052802799998</c:v>
                </c:pt>
                <c:pt idx="6443">
                  <c:v>5.1104550010650476</c:v>
                </c:pt>
                <c:pt idx="6444">
                  <c:v>5.06440718325047</c:v>
                </c:pt>
                <c:pt idx="6445">
                  <c:v>6.0247443221635795</c:v>
                </c:pt>
                <c:pt idx="6446">
                  <c:v>4.8147668992536907</c:v>
                </c:pt>
                <c:pt idx="6447">
                  <c:v>5.9191753379182961</c:v>
                </c:pt>
                <c:pt idx="6448">
                  <c:v>6.0453819854556121</c:v>
                </c:pt>
                <c:pt idx="6449">
                  <c:v>5.1586703078914606</c:v>
                </c:pt>
                <c:pt idx="6450">
                  <c:v>4.8696812678818846</c:v>
                </c:pt>
                <c:pt idx="6451">
                  <c:v>6.0157089141491333</c:v>
                </c:pt>
                <c:pt idx="6452">
                  <c:v>4.7882898444979034</c:v>
                </c:pt>
                <c:pt idx="6453">
                  <c:v>5.7080180870990764</c:v>
                </c:pt>
                <c:pt idx="6454">
                  <c:v>5.1678936182027151</c:v>
                </c:pt>
                <c:pt idx="6455">
                  <c:v>5.0673839812020098</c:v>
                </c:pt>
                <c:pt idx="6456">
                  <c:v>4.9579690717037019</c:v>
                </c:pt>
                <c:pt idx="6457">
                  <c:v>5.9172897645891682</c:v>
                </c:pt>
                <c:pt idx="6458">
                  <c:v>5.1287296769898951</c:v>
                </c:pt>
                <c:pt idx="6459">
                  <c:v>5.0411358073423145</c:v>
                </c:pt>
                <c:pt idx="6460">
                  <c:v>4.8594282667973827</c:v>
                </c:pt>
                <c:pt idx="6461">
                  <c:v>5.0049999238075387</c:v>
                </c:pt>
                <c:pt idx="6462">
                  <c:v>5.0894375229033253</c:v>
                </c:pt>
                <c:pt idx="6463">
                  <c:v>5.0461868343865746</c:v>
                </c:pt>
                <c:pt idx="6464">
                  <c:v>5.9392123878494738</c:v>
                </c:pt>
                <c:pt idx="6465">
                  <c:v>5.0363500236833554</c:v>
                </c:pt>
                <c:pt idx="6466">
                  <c:v>5.1022960283207777</c:v>
                </c:pt>
                <c:pt idx="6467">
                  <c:v>6.0308308094914613</c:v>
                </c:pt>
                <c:pt idx="6468">
                  <c:v>4.8752396384310765</c:v>
                </c:pt>
                <c:pt idx="6469">
                  <c:v>4.8787232497269644</c:v>
                </c:pt>
                <c:pt idx="6470">
                  <c:v>6.1155955503793535</c:v>
                </c:pt>
                <c:pt idx="6471">
                  <c:v>5.0294605059905191</c:v>
                </c:pt>
                <c:pt idx="6472">
                  <c:v>4.9050040975237668</c:v>
                </c:pt>
                <c:pt idx="6473">
                  <c:v>4.9067787172015134</c:v>
                </c:pt>
                <c:pt idx="6474">
                  <c:v>5.929261602113157</c:v>
                </c:pt>
                <c:pt idx="6475">
                  <c:v>6.9388593667392229</c:v>
                </c:pt>
                <c:pt idx="6476">
                  <c:v>7.1198251710421605</c:v>
                </c:pt>
                <c:pt idx="6477">
                  <c:v>5.8729750631081385</c:v>
                </c:pt>
                <c:pt idx="6478">
                  <c:v>6.0408368146100413</c:v>
                </c:pt>
                <c:pt idx="6479">
                  <c:v>4.9502486700657045</c:v>
                </c:pt>
                <c:pt idx="6480">
                  <c:v>6.9269531439357337</c:v>
                </c:pt>
                <c:pt idx="6481">
                  <c:v>6.8229402751348465</c:v>
                </c:pt>
                <c:pt idx="6482">
                  <c:v>5.9489658006602113</c:v>
                </c:pt>
                <c:pt idx="6483">
                  <c:v>6.1591153564608847</c:v>
                </c:pt>
                <c:pt idx="6484">
                  <c:v>5.0676382834491358</c:v>
                </c:pt>
                <c:pt idx="6485">
                  <c:v>4.9140884110133447</c:v>
                </c:pt>
                <c:pt idx="6486">
                  <c:v>6.168970021724963</c:v>
                </c:pt>
                <c:pt idx="6487">
                  <c:v>4.8993162526923451</c:v>
                </c:pt>
                <c:pt idx="6488">
                  <c:v>6.0007410712318974</c:v>
                </c:pt>
                <c:pt idx="6489">
                  <c:v>6.1023218188925519</c:v>
                </c:pt>
                <c:pt idx="6490">
                  <c:v>6.118399238105523</c:v>
                </c:pt>
                <c:pt idx="6491">
                  <c:v>5.9422356452669058</c:v>
                </c:pt>
                <c:pt idx="6492">
                  <c:v>4.9512964557234271</c:v>
                </c:pt>
                <c:pt idx="6493">
                  <c:v>5.851301559405778</c:v>
                </c:pt>
                <c:pt idx="6494">
                  <c:v>6.9962566500827323</c:v>
                </c:pt>
                <c:pt idx="6495">
                  <c:v>6.0252492005469982</c:v>
                </c:pt>
                <c:pt idx="6496">
                  <c:v>6.0187985872866783</c:v>
                </c:pt>
                <c:pt idx="6497">
                  <c:v>6.0397632815687201</c:v>
                </c:pt>
                <c:pt idx="6498">
                  <c:v>5.9166217583007246</c:v>
                </c:pt>
                <c:pt idx="6499">
                  <c:v>5.0768042320398417</c:v>
                </c:pt>
                <c:pt idx="6500">
                  <c:v>5.0338539252514272</c:v>
                </c:pt>
                <c:pt idx="6501">
                  <c:v>5.7135527938423438</c:v>
                </c:pt>
                <c:pt idx="6502">
                  <c:v>5.8427393398825203</c:v>
                </c:pt>
                <c:pt idx="6503">
                  <c:v>5.0152090328098309</c:v>
                </c:pt>
                <c:pt idx="6504">
                  <c:v>6.0480944685380411</c:v>
                </c:pt>
                <c:pt idx="6505">
                  <c:v>4.9437798079366617</c:v>
                </c:pt>
                <c:pt idx="6506">
                  <c:v>5.9670316631475639</c:v>
                </c:pt>
                <c:pt idx="6507">
                  <c:v>5.9153549598562076</c:v>
                </c:pt>
                <c:pt idx="6508">
                  <c:v>4.9415055845628233</c:v>
                </c:pt>
                <c:pt idx="6509">
                  <c:v>5.0437420271046687</c:v>
                </c:pt>
                <c:pt idx="6510">
                  <c:v>4.9657027729761918</c:v>
                </c:pt>
                <c:pt idx="6511">
                  <c:v>5.0951955842702796</c:v>
                </c:pt>
                <c:pt idx="6512">
                  <c:v>5.1404527074338597</c:v>
                </c:pt>
                <c:pt idx="6513">
                  <c:v>6.0125652459915697</c:v>
                </c:pt>
                <c:pt idx="6514">
                  <c:v>6.1301930535855931</c:v>
                </c:pt>
                <c:pt idx="6515">
                  <c:v>4.9476410608390955</c:v>
                </c:pt>
                <c:pt idx="6516">
                  <c:v>5.0127411425974602</c:v>
                </c:pt>
                <c:pt idx="6517">
                  <c:v>5.9734287463995113</c:v>
                </c:pt>
                <c:pt idx="6518">
                  <c:v>5.0502583161943422</c:v>
                </c:pt>
                <c:pt idx="6519">
                  <c:v>5.9464980647775354</c:v>
                </c:pt>
                <c:pt idx="6520">
                  <c:v>6.1570878958358666</c:v>
                </c:pt>
                <c:pt idx="6521">
                  <c:v>6.0476559278305748</c:v>
                </c:pt>
                <c:pt idx="6522">
                  <c:v>4.9547645835935743</c:v>
                </c:pt>
                <c:pt idx="6523">
                  <c:v>5.8809407457209293</c:v>
                </c:pt>
                <c:pt idx="6524">
                  <c:v>5.0294666690049503</c:v>
                </c:pt>
                <c:pt idx="6525">
                  <c:v>4.8998264578079631</c:v>
                </c:pt>
                <c:pt idx="6526">
                  <c:v>4.9904776733413421</c:v>
                </c:pt>
                <c:pt idx="6527">
                  <c:v>4.9471333091332168</c:v>
                </c:pt>
                <c:pt idx="6528">
                  <c:v>4.9932955506888064</c:v>
                </c:pt>
                <c:pt idx="6529">
                  <c:v>6.1145416177304828</c:v>
                </c:pt>
                <c:pt idx="6530">
                  <c:v>5.9673738976555155</c:v>
                </c:pt>
                <c:pt idx="6531">
                  <c:v>6.0506082183972918</c:v>
                </c:pt>
                <c:pt idx="6532">
                  <c:v>5.9857916385338958</c:v>
                </c:pt>
                <c:pt idx="6533">
                  <c:v>5.8857317697371059</c:v>
                </c:pt>
                <c:pt idx="6534">
                  <c:v>6.0965464612462315</c:v>
                </c:pt>
                <c:pt idx="6535">
                  <c:v>6.0089905595452784</c:v>
                </c:pt>
                <c:pt idx="6536">
                  <c:v>6.0895781537241556</c:v>
                </c:pt>
                <c:pt idx="6537">
                  <c:v>6.1293763698208599</c:v>
                </c:pt>
                <c:pt idx="6538">
                  <c:v>6.0530184939674712</c:v>
                </c:pt>
                <c:pt idx="6539">
                  <c:v>5.1133236467161076</c:v>
                </c:pt>
                <c:pt idx="6540">
                  <c:v>4.8148281094384178</c:v>
                </c:pt>
                <c:pt idx="6541">
                  <c:v>1.9958085607967389</c:v>
                </c:pt>
                <c:pt idx="6542">
                  <c:v>6.0443938200552481</c:v>
                </c:pt>
                <c:pt idx="6543">
                  <c:v>4.9444721409393182</c:v>
                </c:pt>
                <c:pt idx="6544">
                  <c:v>5.1324413704598602</c:v>
                </c:pt>
                <c:pt idx="6545">
                  <c:v>4.8682546791432912</c:v>
                </c:pt>
                <c:pt idx="6546">
                  <c:v>4.884980095293785</c:v>
                </c:pt>
                <c:pt idx="6547">
                  <c:v>5.0640324862388644</c:v>
                </c:pt>
                <c:pt idx="6548">
                  <c:v>4.9744527915673666</c:v>
                </c:pt>
                <c:pt idx="6549">
                  <c:v>5.0478771783450442</c:v>
                </c:pt>
                <c:pt idx="6550">
                  <c:v>5.9304782608756152</c:v>
                </c:pt>
                <c:pt idx="6551">
                  <c:v>4.8712738616494073</c:v>
                </c:pt>
                <c:pt idx="6552">
                  <c:v>6.0620832971289804</c:v>
                </c:pt>
                <c:pt idx="6553">
                  <c:v>6.0068059050906291</c:v>
                </c:pt>
                <c:pt idx="6554">
                  <c:v>6.1184542320748143</c:v>
                </c:pt>
                <c:pt idx="6555">
                  <c:v>4.8806680940803204</c:v>
                </c:pt>
                <c:pt idx="6556">
                  <c:v>6.0547635808049645</c:v>
                </c:pt>
                <c:pt idx="6557">
                  <c:v>5.0134097990649567</c:v>
                </c:pt>
                <c:pt idx="6558">
                  <c:v>5.0235535498307344</c:v>
                </c:pt>
                <c:pt idx="6559">
                  <c:v>4.7956626525019459</c:v>
                </c:pt>
                <c:pt idx="6560">
                  <c:v>6.0339388089685384</c:v>
                </c:pt>
                <c:pt idx="6561">
                  <c:v>5.8123555238286855</c:v>
                </c:pt>
                <c:pt idx="6562">
                  <c:v>6.1386834685090159</c:v>
                </c:pt>
                <c:pt idx="6563">
                  <c:v>4.9835622276889477</c:v>
                </c:pt>
                <c:pt idx="6564">
                  <c:v>5.0651956248151899</c:v>
                </c:pt>
                <c:pt idx="6565">
                  <c:v>5.0918341911753568</c:v>
                </c:pt>
                <c:pt idx="6566">
                  <c:v>4.9467148179184752</c:v>
                </c:pt>
                <c:pt idx="6567">
                  <c:v>5.159364330404653</c:v>
                </c:pt>
                <c:pt idx="6568">
                  <c:v>4.8626386143857063</c:v>
                </c:pt>
                <c:pt idx="6569">
                  <c:v>5.9081200066605382</c:v>
                </c:pt>
                <c:pt idx="6570">
                  <c:v>5.966630468749532</c:v>
                </c:pt>
                <c:pt idx="6571">
                  <c:v>4.9891409220143261</c:v>
                </c:pt>
                <c:pt idx="6572">
                  <c:v>4.8889154034140168</c:v>
                </c:pt>
                <c:pt idx="6573">
                  <c:v>5.846836110803066</c:v>
                </c:pt>
                <c:pt idx="6574">
                  <c:v>6.22938241427065</c:v>
                </c:pt>
                <c:pt idx="6575">
                  <c:v>5.9420649381572632</c:v>
                </c:pt>
                <c:pt idx="6576">
                  <c:v>5.993721814467535</c:v>
                </c:pt>
                <c:pt idx="6577">
                  <c:v>5.0589145097342909</c:v>
                </c:pt>
                <c:pt idx="6578">
                  <c:v>4.9813306636681851</c:v>
                </c:pt>
                <c:pt idx="6579">
                  <c:v>6.8852109073235059</c:v>
                </c:pt>
                <c:pt idx="6580">
                  <c:v>5.8380266544721042</c:v>
                </c:pt>
                <c:pt idx="6581">
                  <c:v>5.939274818954611</c:v>
                </c:pt>
                <c:pt idx="6582">
                  <c:v>4.8882486844166735</c:v>
                </c:pt>
                <c:pt idx="6583">
                  <c:v>5.1320585217637182</c:v>
                </c:pt>
                <c:pt idx="6584">
                  <c:v>6.0168046803528608</c:v>
                </c:pt>
                <c:pt idx="6585">
                  <c:v>5.0940746122721592</c:v>
                </c:pt>
                <c:pt idx="6586">
                  <c:v>5.1593387550880649</c:v>
                </c:pt>
                <c:pt idx="6587">
                  <c:v>6.8473032899083304</c:v>
                </c:pt>
                <c:pt idx="6588">
                  <c:v>6.8206137585727253</c:v>
                </c:pt>
                <c:pt idx="6589">
                  <c:v>5.9086784453649042</c:v>
                </c:pt>
                <c:pt idx="6590">
                  <c:v>3.9796925903691336</c:v>
                </c:pt>
                <c:pt idx="6591">
                  <c:v>5.0680327605886708</c:v>
                </c:pt>
                <c:pt idx="6592">
                  <c:v>6.0377413422192161</c:v>
                </c:pt>
                <c:pt idx="6593">
                  <c:v>4.8910375940696893</c:v>
                </c:pt>
                <c:pt idx="6594">
                  <c:v>5.9486634995755248</c:v>
                </c:pt>
                <c:pt idx="6595">
                  <c:v>4.8805354174257678</c:v>
                </c:pt>
                <c:pt idx="6596">
                  <c:v>5.0019519211877448</c:v>
                </c:pt>
                <c:pt idx="6597">
                  <c:v>5.0636168720052988</c:v>
                </c:pt>
                <c:pt idx="6598">
                  <c:v>5.0074216754367304</c:v>
                </c:pt>
                <c:pt idx="6599">
                  <c:v>4.8705473713325418</c:v>
                </c:pt>
                <c:pt idx="6600">
                  <c:v>7.0368484998723888</c:v>
                </c:pt>
                <c:pt idx="6601">
                  <c:v>5.8609473765569762</c:v>
                </c:pt>
                <c:pt idx="6602">
                  <c:v>5.1189008027829628</c:v>
                </c:pt>
                <c:pt idx="6603">
                  <c:v>6.1511010416788166</c:v>
                </c:pt>
                <c:pt idx="6604">
                  <c:v>4.9652750272050632</c:v>
                </c:pt>
                <c:pt idx="6605">
                  <c:v>5.9530086830674822</c:v>
                </c:pt>
                <c:pt idx="6606">
                  <c:v>4.9340306250771606</c:v>
                </c:pt>
                <c:pt idx="6607">
                  <c:v>5.0942818388345907</c:v>
                </c:pt>
                <c:pt idx="6608">
                  <c:v>4.8361062603200393</c:v>
                </c:pt>
                <c:pt idx="6609">
                  <c:v>5.1035079245938384</c:v>
                </c:pt>
                <c:pt idx="6610">
                  <c:v>5.7580782351050361</c:v>
                </c:pt>
                <c:pt idx="6611">
                  <c:v>5.015366658526581</c:v>
                </c:pt>
                <c:pt idx="6612">
                  <c:v>5.9402011438188582</c:v>
                </c:pt>
                <c:pt idx="6613">
                  <c:v>5.9443314199959207</c:v>
                </c:pt>
                <c:pt idx="6614">
                  <c:v>6.0306767288174967</c:v>
                </c:pt>
                <c:pt idx="6615">
                  <c:v>5.9891600443094317</c:v>
                </c:pt>
                <c:pt idx="6616">
                  <c:v>4.7592063007647045</c:v>
                </c:pt>
                <c:pt idx="6617">
                  <c:v>4.9459566279430849</c:v>
                </c:pt>
                <c:pt idx="6618">
                  <c:v>4.965493496310887</c:v>
                </c:pt>
                <c:pt idx="6619">
                  <c:v>5.0395618602556205</c:v>
                </c:pt>
                <c:pt idx="6620">
                  <c:v>6.0607441747263557</c:v>
                </c:pt>
                <c:pt idx="6621">
                  <c:v>4.8339959906189094</c:v>
                </c:pt>
                <c:pt idx="6622">
                  <c:v>5.9357609227921362</c:v>
                </c:pt>
                <c:pt idx="6623">
                  <c:v>5.9457072405764677</c:v>
                </c:pt>
                <c:pt idx="6624">
                  <c:v>4.8223713761667284</c:v>
                </c:pt>
                <c:pt idx="6625">
                  <c:v>5.0990935210529518</c:v>
                </c:pt>
                <c:pt idx="6626">
                  <c:v>7.0513723975431173</c:v>
                </c:pt>
                <c:pt idx="6627">
                  <c:v>5.9667728022942264</c:v>
                </c:pt>
                <c:pt idx="6628">
                  <c:v>5.8407871255230983</c:v>
                </c:pt>
                <c:pt idx="6629">
                  <c:v>5.0245162615554433</c:v>
                </c:pt>
                <c:pt idx="6630">
                  <c:v>5.2519942617544126</c:v>
                </c:pt>
                <c:pt idx="6631">
                  <c:v>6.0131678996554383</c:v>
                </c:pt>
                <c:pt idx="6632">
                  <c:v>5.9878739372862713</c:v>
                </c:pt>
                <c:pt idx="6633">
                  <c:v>7.0223614170562696</c:v>
                </c:pt>
                <c:pt idx="6634">
                  <c:v>4.9726660242186389</c:v>
                </c:pt>
                <c:pt idx="6635">
                  <c:v>5.9258982179161084</c:v>
                </c:pt>
                <c:pt idx="6636">
                  <c:v>3.9773787382832801</c:v>
                </c:pt>
                <c:pt idx="6637">
                  <c:v>6.0375886699846566</c:v>
                </c:pt>
                <c:pt idx="6638">
                  <c:v>6.1062005431804049</c:v>
                </c:pt>
                <c:pt idx="6639">
                  <c:v>5.0663580228257459</c:v>
                </c:pt>
                <c:pt idx="6640">
                  <c:v>5.0295930769941268</c:v>
                </c:pt>
                <c:pt idx="6641">
                  <c:v>6.0742223664043706</c:v>
                </c:pt>
                <c:pt idx="6642">
                  <c:v>6.0071552386170337</c:v>
                </c:pt>
                <c:pt idx="6643">
                  <c:v>6.0647081144690587</c:v>
                </c:pt>
                <c:pt idx="6644">
                  <c:v>7.2110902422445813</c:v>
                </c:pt>
                <c:pt idx="6645">
                  <c:v>6.1583325512989227</c:v>
                </c:pt>
                <c:pt idx="6646">
                  <c:v>5.9511876649527258</c:v>
                </c:pt>
                <c:pt idx="6647">
                  <c:v>4.8363226138281243</c:v>
                </c:pt>
                <c:pt idx="6648">
                  <c:v>4.9632028541910307</c:v>
                </c:pt>
                <c:pt idx="6649">
                  <c:v>5.9678485019091347</c:v>
                </c:pt>
                <c:pt idx="6650">
                  <c:v>5.1430415409894259</c:v>
                </c:pt>
                <c:pt idx="6651">
                  <c:v>6.0319186435290097</c:v>
                </c:pt>
                <c:pt idx="6652">
                  <c:v>5.8787460093953472</c:v>
                </c:pt>
                <c:pt idx="6653">
                  <c:v>4.9687659802847746</c:v>
                </c:pt>
                <c:pt idx="6654">
                  <c:v>4.9860543729895923</c:v>
                </c:pt>
                <c:pt idx="6655">
                  <c:v>5.9273652031841078</c:v>
                </c:pt>
                <c:pt idx="6656">
                  <c:v>5.0749432088833704</c:v>
                </c:pt>
                <c:pt idx="6657">
                  <c:v>4.9823748905810694</c:v>
                </c:pt>
                <c:pt idx="6658">
                  <c:v>5.9047449047128202</c:v>
                </c:pt>
                <c:pt idx="6659">
                  <c:v>5.9251539664878399</c:v>
                </c:pt>
                <c:pt idx="6660">
                  <c:v>5.9707190296358013</c:v>
                </c:pt>
                <c:pt idx="6661">
                  <c:v>7.0230090818938846</c:v>
                </c:pt>
                <c:pt idx="6662">
                  <c:v>8.898524100268725</c:v>
                </c:pt>
                <c:pt idx="6663">
                  <c:v>5.9845440782214689</c:v>
                </c:pt>
                <c:pt idx="6664">
                  <c:v>4.7806833404053304</c:v>
                </c:pt>
                <c:pt idx="6665">
                  <c:v>4.9982760398234936</c:v>
                </c:pt>
                <c:pt idx="6666">
                  <c:v>6.0842935611680398</c:v>
                </c:pt>
                <c:pt idx="6667">
                  <c:v>5.9776374655443538</c:v>
                </c:pt>
                <c:pt idx="6668">
                  <c:v>6.1070999786454481</c:v>
                </c:pt>
                <c:pt idx="6669">
                  <c:v>5.8841610173891494</c:v>
                </c:pt>
                <c:pt idx="6670">
                  <c:v>6.0706094567947346</c:v>
                </c:pt>
                <c:pt idx="6671">
                  <c:v>6.078375634466588</c:v>
                </c:pt>
                <c:pt idx="6672">
                  <c:v>5.8953740150956904</c:v>
                </c:pt>
                <c:pt idx="6673">
                  <c:v>4.8846115071910781</c:v>
                </c:pt>
                <c:pt idx="6674">
                  <c:v>5.8286371339088223</c:v>
                </c:pt>
                <c:pt idx="6675">
                  <c:v>5.8777633690777824</c:v>
                </c:pt>
                <c:pt idx="6676">
                  <c:v>5.8416161424964557</c:v>
                </c:pt>
                <c:pt idx="6677">
                  <c:v>4.9790118435975135</c:v>
                </c:pt>
                <c:pt idx="6678">
                  <c:v>3.8730405925483256</c:v>
                </c:pt>
                <c:pt idx="6679">
                  <c:v>6.0135040196458478</c:v>
                </c:pt>
                <c:pt idx="6680">
                  <c:v>5.2228277420126883</c:v>
                </c:pt>
                <c:pt idx="6681">
                  <c:v>6.1047259021786671</c:v>
                </c:pt>
                <c:pt idx="6682">
                  <c:v>5.1201952764953562</c:v>
                </c:pt>
                <c:pt idx="6683">
                  <c:v>5.0470775795696365</c:v>
                </c:pt>
                <c:pt idx="6684">
                  <c:v>4.8570584518881983</c:v>
                </c:pt>
                <c:pt idx="6685">
                  <c:v>6.1506712664730703</c:v>
                </c:pt>
                <c:pt idx="6686">
                  <c:v>5.9101748532239933</c:v>
                </c:pt>
                <c:pt idx="6687">
                  <c:v>4.9507252243310731</c:v>
                </c:pt>
                <c:pt idx="6688">
                  <c:v>6.157427147690786</c:v>
                </c:pt>
                <c:pt idx="6689">
                  <c:v>4.882875953661042</c:v>
                </c:pt>
                <c:pt idx="6690">
                  <c:v>4.8969966188790561</c:v>
                </c:pt>
                <c:pt idx="6691">
                  <c:v>4.8439968707308418</c:v>
                </c:pt>
                <c:pt idx="6692">
                  <c:v>5.9602037980659848</c:v>
                </c:pt>
                <c:pt idx="6693">
                  <c:v>5.9675960227628302</c:v>
                </c:pt>
                <c:pt idx="6694">
                  <c:v>6.0955380514020581</c:v>
                </c:pt>
                <c:pt idx="6695">
                  <c:v>6.0276709193532083</c:v>
                </c:pt>
                <c:pt idx="6696">
                  <c:v>5.0299121789210028</c:v>
                </c:pt>
                <c:pt idx="6697">
                  <c:v>5.0298738784295889</c:v>
                </c:pt>
                <c:pt idx="6698">
                  <c:v>5.0272067323040526</c:v>
                </c:pt>
                <c:pt idx="6699">
                  <c:v>4.920808142432687</c:v>
                </c:pt>
                <c:pt idx="6700">
                  <c:v>5.9633162009978538</c:v>
                </c:pt>
                <c:pt idx="6701">
                  <c:v>5.0828685820006427</c:v>
                </c:pt>
                <c:pt idx="6702">
                  <c:v>5.1426702581243919</c:v>
                </c:pt>
                <c:pt idx="6703">
                  <c:v>5.0592935951208666</c:v>
                </c:pt>
                <c:pt idx="6704">
                  <c:v>5.0997137988561141</c:v>
                </c:pt>
                <c:pt idx="6705">
                  <c:v>6.2110408720401491</c:v>
                </c:pt>
                <c:pt idx="6706">
                  <c:v>4.8505810288190734</c:v>
                </c:pt>
                <c:pt idx="6707">
                  <c:v>5.0106120720260678</c:v>
                </c:pt>
                <c:pt idx="6708">
                  <c:v>4.963809359524368</c:v>
                </c:pt>
                <c:pt idx="6709">
                  <c:v>4.7545731090775645</c:v>
                </c:pt>
                <c:pt idx="6710">
                  <c:v>6.0605954516950034</c:v>
                </c:pt>
                <c:pt idx="6711">
                  <c:v>6.066116813182008</c:v>
                </c:pt>
                <c:pt idx="6712">
                  <c:v>5.077012696551737</c:v>
                </c:pt>
                <c:pt idx="6713">
                  <c:v>5.0243341946068796</c:v>
                </c:pt>
                <c:pt idx="6714">
                  <c:v>4.9555763607224517</c:v>
                </c:pt>
                <c:pt idx="6715">
                  <c:v>4.9699894537116416</c:v>
                </c:pt>
                <c:pt idx="6716">
                  <c:v>5.0747437409443314</c:v>
                </c:pt>
                <c:pt idx="6717">
                  <c:v>5.8593770501547633</c:v>
                </c:pt>
                <c:pt idx="6718">
                  <c:v>5.9640184257500488</c:v>
                </c:pt>
                <c:pt idx="6719">
                  <c:v>7.0391966174293019</c:v>
                </c:pt>
                <c:pt idx="6720">
                  <c:v>5.9810152843539219</c:v>
                </c:pt>
                <c:pt idx="6721">
                  <c:v>5.9828149123098902</c:v>
                </c:pt>
                <c:pt idx="6722">
                  <c:v>4.956029453743124</c:v>
                </c:pt>
                <c:pt idx="6723">
                  <c:v>5.8295826043444787</c:v>
                </c:pt>
                <c:pt idx="6724">
                  <c:v>6.1074669538993103</c:v>
                </c:pt>
                <c:pt idx="6725">
                  <c:v>6.0213083604898294</c:v>
                </c:pt>
                <c:pt idx="6726">
                  <c:v>5.9697349712987577</c:v>
                </c:pt>
                <c:pt idx="6727">
                  <c:v>5.8505236820482063</c:v>
                </c:pt>
                <c:pt idx="6728">
                  <c:v>5.9326183244131157</c:v>
                </c:pt>
                <c:pt idx="6729">
                  <c:v>5.9228884978569507</c:v>
                </c:pt>
                <c:pt idx="6730">
                  <c:v>6.0089743796231163</c:v>
                </c:pt>
                <c:pt idx="6731">
                  <c:v>5.8841119245937987</c:v>
                </c:pt>
                <c:pt idx="6732">
                  <c:v>6.1112332058864993</c:v>
                </c:pt>
                <c:pt idx="6733">
                  <c:v>7.0356342895613917</c:v>
                </c:pt>
                <c:pt idx="6734">
                  <c:v>5.8524213124533784</c:v>
                </c:pt>
                <c:pt idx="6735">
                  <c:v>5.1051057218055185</c:v>
                </c:pt>
                <c:pt idx="6736">
                  <c:v>6.9473516626096634</c:v>
                </c:pt>
                <c:pt idx="6737">
                  <c:v>5.8787838169845736</c:v>
                </c:pt>
                <c:pt idx="6738">
                  <c:v>5.8637580402602625</c:v>
                </c:pt>
                <c:pt idx="6739">
                  <c:v>6.2533692537818384</c:v>
                </c:pt>
                <c:pt idx="6740">
                  <c:v>5.9995556603865134</c:v>
                </c:pt>
                <c:pt idx="6741">
                  <c:v>5.8352034410682689</c:v>
                </c:pt>
                <c:pt idx="6742">
                  <c:v>6.8901220862810781</c:v>
                </c:pt>
                <c:pt idx="6743">
                  <c:v>6.8932533131689055</c:v>
                </c:pt>
                <c:pt idx="6744">
                  <c:v>7.1108696817555543</c:v>
                </c:pt>
                <c:pt idx="6745">
                  <c:v>5.0952915676541375</c:v>
                </c:pt>
                <c:pt idx="6746">
                  <c:v>5.9475548453448983</c:v>
                </c:pt>
                <c:pt idx="6747">
                  <c:v>6.0680786957822281</c:v>
                </c:pt>
                <c:pt idx="6748">
                  <c:v>6.1566259802548347</c:v>
                </c:pt>
                <c:pt idx="6749">
                  <c:v>4.970481831929547</c:v>
                </c:pt>
                <c:pt idx="6750">
                  <c:v>4.9178789724683671</c:v>
                </c:pt>
                <c:pt idx="6751">
                  <c:v>6.056096012153561</c:v>
                </c:pt>
                <c:pt idx="6752">
                  <c:v>6.0431590904055525</c:v>
                </c:pt>
                <c:pt idx="6753">
                  <c:v>7.0720119132502113</c:v>
                </c:pt>
                <c:pt idx="6754">
                  <c:v>5.9810773507062933</c:v>
                </c:pt>
                <c:pt idx="6755">
                  <c:v>5.9497671440362456</c:v>
                </c:pt>
                <c:pt idx="6756">
                  <c:v>6.8305840761204264</c:v>
                </c:pt>
                <c:pt idx="6757">
                  <c:v>5.0296802850319029</c:v>
                </c:pt>
                <c:pt idx="6758">
                  <c:v>6.8549328967040468</c:v>
                </c:pt>
                <c:pt idx="6759">
                  <c:v>5.8931336440363458</c:v>
                </c:pt>
                <c:pt idx="6760">
                  <c:v>5.9902472500666288</c:v>
                </c:pt>
                <c:pt idx="6761">
                  <c:v>6.0869111708169656</c:v>
                </c:pt>
                <c:pt idx="6762">
                  <c:v>4.7981047175742964</c:v>
                </c:pt>
                <c:pt idx="6763">
                  <c:v>5.0075989294520076</c:v>
                </c:pt>
                <c:pt idx="6764">
                  <c:v>7.0209892465280888</c:v>
                </c:pt>
                <c:pt idx="6765">
                  <c:v>5.9870271594577282</c:v>
                </c:pt>
                <c:pt idx="6766">
                  <c:v>5.3175540759253881</c:v>
                </c:pt>
                <c:pt idx="6767">
                  <c:v>6.0950474619552644</c:v>
                </c:pt>
                <c:pt idx="6768">
                  <c:v>7.0937098220344401</c:v>
                </c:pt>
                <c:pt idx="6769">
                  <c:v>4.9003592530387641</c:v>
                </c:pt>
                <c:pt idx="6770">
                  <c:v>4.9888255590065693</c:v>
                </c:pt>
                <c:pt idx="6771">
                  <c:v>4.855062413246908</c:v>
                </c:pt>
                <c:pt idx="6772">
                  <c:v>4.9447176552909422</c:v>
                </c:pt>
                <c:pt idx="6773">
                  <c:v>4.8999203726746234</c:v>
                </c:pt>
                <c:pt idx="6774">
                  <c:v>4.8707732314772807</c:v>
                </c:pt>
                <c:pt idx="6775">
                  <c:v>5.9183973728850399</c:v>
                </c:pt>
                <c:pt idx="6776">
                  <c:v>4.8332563226818017</c:v>
                </c:pt>
                <c:pt idx="6777">
                  <c:v>4.8131249445064235</c:v>
                </c:pt>
                <c:pt idx="6778">
                  <c:v>5.9315191466869051</c:v>
                </c:pt>
                <c:pt idx="6779">
                  <c:v>6.9744784826003547</c:v>
                </c:pt>
                <c:pt idx="6780">
                  <c:v>4.8867435297148472</c:v>
                </c:pt>
                <c:pt idx="6781">
                  <c:v>5.0503954471298176</c:v>
                </c:pt>
                <c:pt idx="6782">
                  <c:v>6.1584212713337649</c:v>
                </c:pt>
                <c:pt idx="6783">
                  <c:v>4.9620695900387179</c:v>
                </c:pt>
                <c:pt idx="6784">
                  <c:v>4.9158999143243172</c:v>
                </c:pt>
                <c:pt idx="6785">
                  <c:v>4.91534346792122</c:v>
                </c:pt>
                <c:pt idx="6786">
                  <c:v>5.1840251277278711</c:v>
                </c:pt>
                <c:pt idx="6787">
                  <c:v>6.018297407948447</c:v>
                </c:pt>
                <c:pt idx="6788">
                  <c:v>5.0319596672658395</c:v>
                </c:pt>
                <c:pt idx="6789">
                  <c:v>5.0245935596723292</c:v>
                </c:pt>
                <c:pt idx="6790">
                  <c:v>5.1927329369215514</c:v>
                </c:pt>
                <c:pt idx="6791">
                  <c:v>6.031953080721566</c:v>
                </c:pt>
                <c:pt idx="6792">
                  <c:v>6.0320991690592436</c:v>
                </c:pt>
                <c:pt idx="6793">
                  <c:v>7.0844150844251459</c:v>
                </c:pt>
                <c:pt idx="6794">
                  <c:v>5.233030510155654</c:v>
                </c:pt>
                <c:pt idx="6795">
                  <c:v>5.9492054762171627</c:v>
                </c:pt>
                <c:pt idx="6796">
                  <c:v>5.0497561198979808</c:v>
                </c:pt>
                <c:pt idx="6797">
                  <c:v>5.9483390241036371</c:v>
                </c:pt>
                <c:pt idx="6798">
                  <c:v>6.1869081606317922</c:v>
                </c:pt>
                <c:pt idx="6799">
                  <c:v>6.0198840047762872</c:v>
                </c:pt>
                <c:pt idx="6800">
                  <c:v>6.038900049025326</c:v>
                </c:pt>
                <c:pt idx="6801">
                  <c:v>4.9559304407455302</c:v>
                </c:pt>
                <c:pt idx="6802">
                  <c:v>4.990559975021359</c:v>
                </c:pt>
                <c:pt idx="6803">
                  <c:v>5.9220762926997743</c:v>
                </c:pt>
                <c:pt idx="6804">
                  <c:v>5.0161868995691643</c:v>
                </c:pt>
                <c:pt idx="6805">
                  <c:v>4.9099958476027954</c:v>
                </c:pt>
                <c:pt idx="6806">
                  <c:v>6.2216863553008395</c:v>
                </c:pt>
                <c:pt idx="6807">
                  <c:v>5.9665950147335289</c:v>
                </c:pt>
                <c:pt idx="6808">
                  <c:v>6.0781934803167594</c:v>
                </c:pt>
                <c:pt idx="6809">
                  <c:v>6.9616986362954902</c:v>
                </c:pt>
                <c:pt idx="6810">
                  <c:v>5.9934214970051709</c:v>
                </c:pt>
                <c:pt idx="6811">
                  <c:v>5.1122205766889079</c:v>
                </c:pt>
                <c:pt idx="6812">
                  <c:v>4.933250564367202</c:v>
                </c:pt>
                <c:pt idx="6813">
                  <c:v>5.1664554508573692</c:v>
                </c:pt>
                <c:pt idx="6814">
                  <c:v>5.8426192812968258</c:v>
                </c:pt>
                <c:pt idx="6815">
                  <c:v>4.185691685592813</c:v>
                </c:pt>
                <c:pt idx="6816">
                  <c:v>5.1435360396348049</c:v>
                </c:pt>
                <c:pt idx="6817">
                  <c:v>4.9926781324324496</c:v>
                </c:pt>
                <c:pt idx="6818">
                  <c:v>4.8628037704852245</c:v>
                </c:pt>
                <c:pt idx="6819">
                  <c:v>4.8861782091126367</c:v>
                </c:pt>
                <c:pt idx="6820">
                  <c:v>6.0360127843720379</c:v>
                </c:pt>
                <c:pt idx="6821">
                  <c:v>5.0484905874749408</c:v>
                </c:pt>
                <c:pt idx="6822">
                  <c:v>5.1461606466388705</c:v>
                </c:pt>
                <c:pt idx="6823">
                  <c:v>5.1135479667273724</c:v>
                </c:pt>
                <c:pt idx="6824">
                  <c:v>6.111373906589578</c:v>
                </c:pt>
                <c:pt idx="6825">
                  <c:v>7.1480052994243</c:v>
                </c:pt>
                <c:pt idx="6826">
                  <c:v>5.1106251928571851</c:v>
                </c:pt>
                <c:pt idx="6827">
                  <c:v>5.0191017591632967</c:v>
                </c:pt>
                <c:pt idx="6828">
                  <c:v>7.0626132248137869</c:v>
                </c:pt>
                <c:pt idx="6829">
                  <c:v>5.9407685717724812</c:v>
                </c:pt>
                <c:pt idx="6830">
                  <c:v>5.1457978866633542</c:v>
                </c:pt>
                <c:pt idx="6831">
                  <c:v>6.1261127328142067</c:v>
                </c:pt>
                <c:pt idx="6832">
                  <c:v>6.1347237099876004</c:v>
                </c:pt>
                <c:pt idx="6833">
                  <c:v>4.9199225175237302</c:v>
                </c:pt>
                <c:pt idx="6834">
                  <c:v>5.0403114392315587</c:v>
                </c:pt>
                <c:pt idx="6835">
                  <c:v>6.0053206796871654</c:v>
                </c:pt>
                <c:pt idx="6836">
                  <c:v>6.0458091083437147</c:v>
                </c:pt>
                <c:pt idx="6837">
                  <c:v>6.1671593026878284</c:v>
                </c:pt>
                <c:pt idx="6838">
                  <c:v>5.1284827199106804</c:v>
                </c:pt>
                <c:pt idx="6839">
                  <c:v>4.9095260299039705</c:v>
                </c:pt>
                <c:pt idx="6840">
                  <c:v>4.8786526982685459</c:v>
                </c:pt>
                <c:pt idx="6841">
                  <c:v>4.9144256106634208</c:v>
                </c:pt>
                <c:pt idx="6842">
                  <c:v>6.1248408605964046</c:v>
                </c:pt>
                <c:pt idx="6843">
                  <c:v>4.7809113118848767</c:v>
                </c:pt>
                <c:pt idx="6844">
                  <c:v>5.0023128902777385</c:v>
                </c:pt>
                <c:pt idx="6845">
                  <c:v>6.8483766717986816</c:v>
                </c:pt>
                <c:pt idx="6846">
                  <c:v>6.0021620223097045</c:v>
                </c:pt>
                <c:pt idx="6847">
                  <c:v>5.0083530393267433</c:v>
                </c:pt>
                <c:pt idx="6848">
                  <c:v>4.8675850006360353</c:v>
                </c:pt>
                <c:pt idx="6849">
                  <c:v>5.0707442914879515</c:v>
                </c:pt>
                <c:pt idx="6850">
                  <c:v>5.9483922866659524</c:v>
                </c:pt>
                <c:pt idx="6851">
                  <c:v>6.0015190503524813</c:v>
                </c:pt>
                <c:pt idx="6852">
                  <c:v>6.0249399785238476</c:v>
                </c:pt>
                <c:pt idx="6853">
                  <c:v>6.0051979302415841</c:v>
                </c:pt>
                <c:pt idx="6854">
                  <c:v>4.9565750729091125</c:v>
                </c:pt>
                <c:pt idx="6855">
                  <c:v>4.8543583857689061</c:v>
                </c:pt>
                <c:pt idx="6856">
                  <c:v>5.9679396933368167</c:v>
                </c:pt>
                <c:pt idx="6857">
                  <c:v>6.9368382410995713</c:v>
                </c:pt>
                <c:pt idx="6858">
                  <c:v>5.9364690849420487</c:v>
                </c:pt>
                <c:pt idx="6859">
                  <c:v>6.0288174344651448</c:v>
                </c:pt>
                <c:pt idx="6860">
                  <c:v>5.9498270669234472</c:v>
                </c:pt>
                <c:pt idx="6861">
                  <c:v>5.0585324177576192</c:v>
                </c:pt>
                <c:pt idx="6862">
                  <c:v>4.9586085605219221</c:v>
                </c:pt>
                <c:pt idx="6863">
                  <c:v>5.9432180277915139</c:v>
                </c:pt>
                <c:pt idx="6864">
                  <c:v>6.0564275350388357</c:v>
                </c:pt>
                <c:pt idx="6865">
                  <c:v>5.9945448529601455</c:v>
                </c:pt>
                <c:pt idx="6866">
                  <c:v>5.0985412005492705</c:v>
                </c:pt>
                <c:pt idx="6867">
                  <c:v>5.053112140880196</c:v>
                </c:pt>
                <c:pt idx="6868">
                  <c:v>5.8727382922108227</c:v>
                </c:pt>
                <c:pt idx="6869">
                  <c:v>5.8782671956289425</c:v>
                </c:pt>
                <c:pt idx="6870">
                  <c:v>5.0488703518826687</c:v>
                </c:pt>
                <c:pt idx="6871">
                  <c:v>5.0447649785582831</c:v>
                </c:pt>
                <c:pt idx="6872">
                  <c:v>5.0496932932469258</c:v>
                </c:pt>
                <c:pt idx="6873">
                  <c:v>5.0207341984799259</c:v>
                </c:pt>
                <c:pt idx="6874">
                  <c:v>7.1029830264928311</c:v>
                </c:pt>
                <c:pt idx="6875">
                  <c:v>7.1507158904775538</c:v>
                </c:pt>
                <c:pt idx="6876">
                  <c:v>7.0524510210958553</c:v>
                </c:pt>
                <c:pt idx="6877">
                  <c:v>6.074639551378552</c:v>
                </c:pt>
                <c:pt idx="6878">
                  <c:v>4.9027090991899271</c:v>
                </c:pt>
                <c:pt idx="6879">
                  <c:v>4.8329135933532088</c:v>
                </c:pt>
                <c:pt idx="6880">
                  <c:v>5.1514935733856131</c:v>
                </c:pt>
                <c:pt idx="6881">
                  <c:v>6.0143372280259575</c:v>
                </c:pt>
                <c:pt idx="6882">
                  <c:v>5.8245252020494931</c:v>
                </c:pt>
                <c:pt idx="6883">
                  <c:v>6.9807070577274892</c:v>
                </c:pt>
                <c:pt idx="6884">
                  <c:v>4.9298103574654135</c:v>
                </c:pt>
                <c:pt idx="6885">
                  <c:v>6.8728518245639689</c:v>
                </c:pt>
                <c:pt idx="6886">
                  <c:v>4.9580426741732904</c:v>
                </c:pt>
                <c:pt idx="6887">
                  <c:v>6.0579184249701488</c:v>
                </c:pt>
                <c:pt idx="6888">
                  <c:v>5.1896422062345602</c:v>
                </c:pt>
                <c:pt idx="6889">
                  <c:v>5.9085275216369855</c:v>
                </c:pt>
                <c:pt idx="6890">
                  <c:v>6.0244266446879227</c:v>
                </c:pt>
                <c:pt idx="6891">
                  <c:v>6.08060728253965</c:v>
                </c:pt>
                <c:pt idx="6892">
                  <c:v>6.0101580760619209</c:v>
                </c:pt>
                <c:pt idx="6893">
                  <c:v>5.8527176058207635</c:v>
                </c:pt>
                <c:pt idx="6894">
                  <c:v>4.989858411486777</c:v>
                </c:pt>
                <c:pt idx="6895">
                  <c:v>5.1214449705628944</c:v>
                </c:pt>
                <c:pt idx="6896">
                  <c:v>6.023976408020439</c:v>
                </c:pt>
                <c:pt idx="6897">
                  <c:v>4.8651592238422161</c:v>
                </c:pt>
                <c:pt idx="6898">
                  <c:v>5.9813648101793877</c:v>
                </c:pt>
                <c:pt idx="6899">
                  <c:v>5.0833123369349407</c:v>
                </c:pt>
                <c:pt idx="6900">
                  <c:v>5.9551327553632856</c:v>
                </c:pt>
                <c:pt idx="6901">
                  <c:v>4.9068642652547156</c:v>
                </c:pt>
                <c:pt idx="6902">
                  <c:v>5.9533734616742038</c:v>
                </c:pt>
                <c:pt idx="6903">
                  <c:v>4.8382839997234726</c:v>
                </c:pt>
                <c:pt idx="6904">
                  <c:v>6.0092128019368731</c:v>
                </c:pt>
                <c:pt idx="6905">
                  <c:v>7.0779161510090987</c:v>
                </c:pt>
                <c:pt idx="6906">
                  <c:v>5.9745303368865406</c:v>
                </c:pt>
                <c:pt idx="6907">
                  <c:v>4.8819638943758932</c:v>
                </c:pt>
                <c:pt idx="6908">
                  <c:v>4.93547651518102</c:v>
                </c:pt>
                <c:pt idx="6909">
                  <c:v>5.1263066537160507</c:v>
                </c:pt>
                <c:pt idx="6910">
                  <c:v>6.1411738738956618</c:v>
                </c:pt>
                <c:pt idx="6911">
                  <c:v>5.0825128259723913</c:v>
                </c:pt>
                <c:pt idx="6912">
                  <c:v>4.9134428330458393</c:v>
                </c:pt>
                <c:pt idx="6913">
                  <c:v>5.9840005467926813</c:v>
                </c:pt>
                <c:pt idx="6914">
                  <c:v>6.179264687020674</c:v>
                </c:pt>
                <c:pt idx="6915">
                  <c:v>4.8879360048594025</c:v>
                </c:pt>
                <c:pt idx="6916">
                  <c:v>4.9165747382444271</c:v>
                </c:pt>
                <c:pt idx="6917">
                  <c:v>5.1383257665924456</c:v>
                </c:pt>
                <c:pt idx="6918">
                  <c:v>5.0481715121686701</c:v>
                </c:pt>
                <c:pt idx="6919">
                  <c:v>4.8848733664071773</c:v>
                </c:pt>
                <c:pt idx="6920">
                  <c:v>7.1560735061949767</c:v>
                </c:pt>
                <c:pt idx="6921">
                  <c:v>5.0192373099850807</c:v>
                </c:pt>
                <c:pt idx="6922">
                  <c:v>5.1810265051991129</c:v>
                </c:pt>
                <c:pt idx="6923">
                  <c:v>6.0034799162590682</c:v>
                </c:pt>
                <c:pt idx="6924">
                  <c:v>4.9356955667487235</c:v>
                </c:pt>
                <c:pt idx="6925">
                  <c:v>5.8972596024491866</c:v>
                </c:pt>
                <c:pt idx="6926">
                  <c:v>5.1279369406524973</c:v>
                </c:pt>
                <c:pt idx="6927">
                  <c:v>6.9972316119365781</c:v>
                </c:pt>
                <c:pt idx="6928">
                  <c:v>3.8433539455957595</c:v>
                </c:pt>
                <c:pt idx="6929">
                  <c:v>4.9972326642235316</c:v>
                </c:pt>
                <c:pt idx="6930">
                  <c:v>6.8952349181472439</c:v>
                </c:pt>
                <c:pt idx="6931">
                  <c:v>7.0126664993686916</c:v>
                </c:pt>
                <c:pt idx="6932">
                  <c:v>4.9696573628129528</c:v>
                </c:pt>
                <c:pt idx="6933">
                  <c:v>5.0326309855606368</c:v>
                </c:pt>
                <c:pt idx="6934">
                  <c:v>5.212833279049045</c:v>
                </c:pt>
                <c:pt idx="6935">
                  <c:v>4.972491409295265</c:v>
                </c:pt>
                <c:pt idx="6936">
                  <c:v>5.8658296863034138</c:v>
                </c:pt>
                <c:pt idx="6937">
                  <c:v>5.955368306635628</c:v>
                </c:pt>
                <c:pt idx="6938">
                  <c:v>5.034637157248306</c:v>
                </c:pt>
                <c:pt idx="6939">
                  <c:v>5.9591549151099317</c:v>
                </c:pt>
                <c:pt idx="6940">
                  <c:v>5.1148970513713188</c:v>
                </c:pt>
                <c:pt idx="6941">
                  <c:v>5.7805015348976001</c:v>
                </c:pt>
                <c:pt idx="6942">
                  <c:v>5.0457274842802278</c:v>
                </c:pt>
                <c:pt idx="6943">
                  <c:v>6.2549838287270623</c:v>
                </c:pt>
                <c:pt idx="6944">
                  <c:v>5.9619666199824932</c:v>
                </c:pt>
                <c:pt idx="6945">
                  <c:v>4.9186735019999581</c:v>
                </c:pt>
                <c:pt idx="6946">
                  <c:v>5.9066068650340044</c:v>
                </c:pt>
                <c:pt idx="6947">
                  <c:v>5.086850226291908</c:v>
                </c:pt>
                <c:pt idx="6948">
                  <c:v>5.9999185958601249</c:v>
                </c:pt>
                <c:pt idx="6949">
                  <c:v>4.9774552844511604</c:v>
                </c:pt>
                <c:pt idx="6950">
                  <c:v>5.9628391239928709</c:v>
                </c:pt>
                <c:pt idx="6951">
                  <c:v>4.9730835034771559</c:v>
                </c:pt>
                <c:pt idx="6952">
                  <c:v>4.9709859121475635</c:v>
                </c:pt>
                <c:pt idx="6953">
                  <c:v>4.9855866613192088</c:v>
                </c:pt>
                <c:pt idx="6954">
                  <c:v>4.8039916025189955</c:v>
                </c:pt>
                <c:pt idx="6955">
                  <c:v>5.894894046365863</c:v>
                </c:pt>
                <c:pt idx="6956">
                  <c:v>4.9229343806819639</c:v>
                </c:pt>
                <c:pt idx="6957">
                  <c:v>6.0503109493585985</c:v>
                </c:pt>
                <c:pt idx="6958">
                  <c:v>5.0075618525094185</c:v>
                </c:pt>
                <c:pt idx="6959">
                  <c:v>5.051139833908711</c:v>
                </c:pt>
                <c:pt idx="6960">
                  <c:v>6.1032082770429525</c:v>
                </c:pt>
                <c:pt idx="6961">
                  <c:v>6.0662516695164292</c:v>
                </c:pt>
                <c:pt idx="6962">
                  <c:v>4.8402266864972079</c:v>
                </c:pt>
                <c:pt idx="6963">
                  <c:v>5.8824277507078291</c:v>
                </c:pt>
                <c:pt idx="6964">
                  <c:v>5.8786395589879543</c:v>
                </c:pt>
                <c:pt idx="6965">
                  <c:v>5.9976051791158858</c:v>
                </c:pt>
                <c:pt idx="6966">
                  <c:v>6.2171287124122676</c:v>
                </c:pt>
                <c:pt idx="6967">
                  <c:v>5.04638988143072</c:v>
                </c:pt>
                <c:pt idx="6968">
                  <c:v>5.0606876626605262</c:v>
                </c:pt>
                <c:pt idx="6969">
                  <c:v>5.0797441594048216</c:v>
                </c:pt>
                <c:pt idx="6970">
                  <c:v>5.1203986547011802</c:v>
                </c:pt>
                <c:pt idx="6971">
                  <c:v>5.889911683434371</c:v>
                </c:pt>
                <c:pt idx="6972">
                  <c:v>4.8542289341993392</c:v>
                </c:pt>
                <c:pt idx="6973">
                  <c:v>4.7797798014772477</c:v>
                </c:pt>
                <c:pt idx="6974">
                  <c:v>5.131146854177552</c:v>
                </c:pt>
                <c:pt idx="6975">
                  <c:v>6.099873593910667</c:v>
                </c:pt>
                <c:pt idx="6976">
                  <c:v>5.0769482626972806</c:v>
                </c:pt>
                <c:pt idx="6977">
                  <c:v>5.14624466126849</c:v>
                </c:pt>
                <c:pt idx="6978">
                  <c:v>6.0957823505121862</c:v>
                </c:pt>
                <c:pt idx="6979">
                  <c:v>5.0018312637575058</c:v>
                </c:pt>
                <c:pt idx="6980">
                  <c:v>5.1450655270876355</c:v>
                </c:pt>
                <c:pt idx="6981">
                  <c:v>5.9711795754217407</c:v>
                </c:pt>
                <c:pt idx="6982">
                  <c:v>5.093665817826369</c:v>
                </c:pt>
                <c:pt idx="6983">
                  <c:v>5.0461378159522301</c:v>
                </c:pt>
                <c:pt idx="6984">
                  <c:v>6.0783777897337767</c:v>
                </c:pt>
                <c:pt idx="6985">
                  <c:v>4.8866922141564393</c:v>
                </c:pt>
                <c:pt idx="6986">
                  <c:v>6.0335807689082808</c:v>
                </c:pt>
                <c:pt idx="6987">
                  <c:v>7.1136925929440018</c:v>
                </c:pt>
                <c:pt idx="6988">
                  <c:v>4.9657408919383981</c:v>
                </c:pt>
                <c:pt idx="6989">
                  <c:v>4.9367589673153285</c:v>
                </c:pt>
                <c:pt idx="6990">
                  <c:v>4.9647361137116661</c:v>
                </c:pt>
                <c:pt idx="6991">
                  <c:v>4.8166203891265074</c:v>
                </c:pt>
                <c:pt idx="6992">
                  <c:v>6.2448718105539509</c:v>
                </c:pt>
                <c:pt idx="6993">
                  <c:v>5.169462378960147</c:v>
                </c:pt>
                <c:pt idx="6994">
                  <c:v>6.05375912052655</c:v>
                </c:pt>
                <c:pt idx="6995">
                  <c:v>5.9021266071587766</c:v>
                </c:pt>
                <c:pt idx="6996">
                  <c:v>6.0285159116563909</c:v>
                </c:pt>
                <c:pt idx="6997">
                  <c:v>5.8204116732949718</c:v>
                </c:pt>
                <c:pt idx="6998">
                  <c:v>5.0875975405963461</c:v>
                </c:pt>
                <c:pt idx="6999">
                  <c:v>5.8467471632763717</c:v>
                </c:pt>
                <c:pt idx="7000">
                  <c:v>5.1305958600261059</c:v>
                </c:pt>
                <c:pt idx="7001">
                  <c:v>5.0566425953527849</c:v>
                </c:pt>
                <c:pt idx="7002">
                  <c:v>6.1244155082368419</c:v>
                </c:pt>
                <c:pt idx="7003">
                  <c:v>6.0856811185534676</c:v>
                </c:pt>
                <c:pt idx="7004">
                  <c:v>6.0663583420365672</c:v>
                </c:pt>
                <c:pt idx="7005">
                  <c:v>5.8955592802533188</c:v>
                </c:pt>
                <c:pt idx="7006">
                  <c:v>5.9855985220442731</c:v>
                </c:pt>
                <c:pt idx="7007">
                  <c:v>5.9903098279848157</c:v>
                </c:pt>
                <c:pt idx="7008">
                  <c:v>5.9783584180310729</c:v>
                </c:pt>
                <c:pt idx="7009">
                  <c:v>4.9942399155096169</c:v>
                </c:pt>
                <c:pt idx="7010">
                  <c:v>4.9943124438988002</c:v>
                </c:pt>
                <c:pt idx="7011">
                  <c:v>5.0560216765398902</c:v>
                </c:pt>
                <c:pt idx="7012">
                  <c:v>4.9660698558073788</c:v>
                </c:pt>
                <c:pt idx="7013">
                  <c:v>5.7772765428091226</c:v>
                </c:pt>
                <c:pt idx="7014">
                  <c:v>6.1007976288438295</c:v>
                </c:pt>
                <c:pt idx="7015">
                  <c:v>6.0767047594900907</c:v>
                </c:pt>
                <c:pt idx="7016">
                  <c:v>6.0081555492431553</c:v>
                </c:pt>
                <c:pt idx="7017">
                  <c:v>4.9147222471292418</c:v>
                </c:pt>
                <c:pt idx="7018">
                  <c:v>4.8500888538130758</c:v>
                </c:pt>
                <c:pt idx="7019">
                  <c:v>5.0284902293957749</c:v>
                </c:pt>
                <c:pt idx="7020">
                  <c:v>5.0293377956478631</c:v>
                </c:pt>
                <c:pt idx="7021">
                  <c:v>5.9282207102835232</c:v>
                </c:pt>
                <c:pt idx="7022">
                  <c:v>6.0810765322991154</c:v>
                </c:pt>
                <c:pt idx="7023">
                  <c:v>4.8776815526985944</c:v>
                </c:pt>
                <c:pt idx="7024">
                  <c:v>5.0740216560617917</c:v>
                </c:pt>
                <c:pt idx="7025">
                  <c:v>5.95614295606733</c:v>
                </c:pt>
                <c:pt idx="7026">
                  <c:v>4.9835485857344128</c:v>
                </c:pt>
                <c:pt idx="7027">
                  <c:v>5.8778590117694955</c:v>
                </c:pt>
                <c:pt idx="7028">
                  <c:v>5.2771692601589741</c:v>
                </c:pt>
                <c:pt idx="7029">
                  <c:v>4.8574014932543088</c:v>
                </c:pt>
                <c:pt idx="7030">
                  <c:v>5.1386152339795776</c:v>
                </c:pt>
                <c:pt idx="7031">
                  <c:v>4.894977930022999</c:v>
                </c:pt>
                <c:pt idx="7032">
                  <c:v>5.9891444551319335</c:v>
                </c:pt>
                <c:pt idx="7033">
                  <c:v>5.973473461733434</c:v>
                </c:pt>
                <c:pt idx="7034">
                  <c:v>5.085328894891429</c:v>
                </c:pt>
                <c:pt idx="7035">
                  <c:v>5.9408257973220602</c:v>
                </c:pt>
                <c:pt idx="7036">
                  <c:v>6.9722861146436221</c:v>
                </c:pt>
                <c:pt idx="7037">
                  <c:v>4.988115455112287</c:v>
                </c:pt>
                <c:pt idx="7038">
                  <c:v>7.2484905792327261</c:v>
                </c:pt>
                <c:pt idx="7039">
                  <c:v>5.9268463660323718</c:v>
                </c:pt>
                <c:pt idx="7040">
                  <c:v>4.9703552751990738</c:v>
                </c:pt>
                <c:pt idx="7041">
                  <c:v>6.1027870584139299</c:v>
                </c:pt>
                <c:pt idx="7042">
                  <c:v>6.1777394092369056</c:v>
                </c:pt>
                <c:pt idx="7043">
                  <c:v>5.0046163155544043</c:v>
                </c:pt>
                <c:pt idx="7044">
                  <c:v>4.8816833982664285</c:v>
                </c:pt>
                <c:pt idx="7045">
                  <c:v>5.0049530323905946</c:v>
                </c:pt>
                <c:pt idx="7046">
                  <c:v>5.1033364808933177</c:v>
                </c:pt>
                <c:pt idx="7047">
                  <c:v>5.1509830013613884</c:v>
                </c:pt>
                <c:pt idx="7048">
                  <c:v>6.0606722243344429</c:v>
                </c:pt>
                <c:pt idx="7049">
                  <c:v>5.9973722447154776</c:v>
                </c:pt>
                <c:pt idx="7050">
                  <c:v>4.9904034327482032</c:v>
                </c:pt>
                <c:pt idx="7051">
                  <c:v>6.0324100447937061</c:v>
                </c:pt>
                <c:pt idx="7052">
                  <c:v>5.1351184515012216</c:v>
                </c:pt>
                <c:pt idx="7053">
                  <c:v>6.0761950688644122</c:v>
                </c:pt>
                <c:pt idx="7054">
                  <c:v>6.9862973005092597</c:v>
                </c:pt>
                <c:pt idx="7055">
                  <c:v>4.7606812128419467</c:v>
                </c:pt>
                <c:pt idx="7056">
                  <c:v>4.1215275396002324</c:v>
                </c:pt>
                <c:pt idx="7057">
                  <c:v>4.9290953692158359</c:v>
                </c:pt>
                <c:pt idx="7058">
                  <c:v>4.7133279422711896</c:v>
                </c:pt>
                <c:pt idx="7059">
                  <c:v>5.0490938879955811</c:v>
                </c:pt>
                <c:pt idx="7060">
                  <c:v>5.9789701823947787</c:v>
                </c:pt>
                <c:pt idx="7061">
                  <c:v>6.2093945347740247</c:v>
                </c:pt>
                <c:pt idx="7062">
                  <c:v>5.9553512136804709</c:v>
                </c:pt>
                <c:pt idx="7063">
                  <c:v>5.8560288051636542</c:v>
                </c:pt>
                <c:pt idx="7064">
                  <c:v>5.8559350594151995</c:v>
                </c:pt>
                <c:pt idx="7065">
                  <c:v>5.0295741234177989</c:v>
                </c:pt>
                <c:pt idx="7066">
                  <c:v>4.8460852900082054</c:v>
                </c:pt>
                <c:pt idx="7067">
                  <c:v>5.8955818992861957</c:v>
                </c:pt>
                <c:pt idx="7068">
                  <c:v>5.015952055079838</c:v>
                </c:pt>
                <c:pt idx="7069">
                  <c:v>5.0094267355835882</c:v>
                </c:pt>
                <c:pt idx="7070">
                  <c:v>5.8857649596113717</c:v>
                </c:pt>
                <c:pt idx="7071">
                  <c:v>5.1314730284102392</c:v>
                </c:pt>
                <c:pt idx="7072">
                  <c:v>5.0335291218235367</c:v>
                </c:pt>
                <c:pt idx="7073">
                  <c:v>4.9206170130846516</c:v>
                </c:pt>
                <c:pt idx="7074">
                  <c:v>5.8806341103125339</c:v>
                </c:pt>
                <c:pt idx="7075">
                  <c:v>4.9835609778582306</c:v>
                </c:pt>
                <c:pt idx="7076">
                  <c:v>6.148330771196524</c:v>
                </c:pt>
                <c:pt idx="7077">
                  <c:v>6.0308064441778599</c:v>
                </c:pt>
                <c:pt idx="7078">
                  <c:v>4.8985747387945162</c:v>
                </c:pt>
                <c:pt idx="7079">
                  <c:v>5.0115409417723953</c:v>
                </c:pt>
                <c:pt idx="7080">
                  <c:v>6.0340073887388739</c:v>
                </c:pt>
                <c:pt idx="7081">
                  <c:v>5.1487150408125277</c:v>
                </c:pt>
                <c:pt idx="7082">
                  <c:v>6.1296940752034521</c:v>
                </c:pt>
                <c:pt idx="7083">
                  <c:v>5.0876781890413785</c:v>
                </c:pt>
                <c:pt idx="7084">
                  <c:v>4.8938628797090038</c:v>
                </c:pt>
                <c:pt idx="7085">
                  <c:v>5.1693315481755446</c:v>
                </c:pt>
                <c:pt idx="7086">
                  <c:v>6.0140782508640154</c:v>
                </c:pt>
                <c:pt idx="7087">
                  <c:v>5.9730853836491544</c:v>
                </c:pt>
                <c:pt idx="7088">
                  <c:v>6.9663740161814953</c:v>
                </c:pt>
                <c:pt idx="7089">
                  <c:v>4.9248453212176173</c:v>
                </c:pt>
                <c:pt idx="7090">
                  <c:v>4.9810261192129808</c:v>
                </c:pt>
                <c:pt idx="7091">
                  <c:v>6.1071808313340723</c:v>
                </c:pt>
                <c:pt idx="7092">
                  <c:v>5.1229076964471378</c:v>
                </c:pt>
                <c:pt idx="7093">
                  <c:v>4.8332281876182552</c:v>
                </c:pt>
                <c:pt idx="7094">
                  <c:v>5.9740617237886529</c:v>
                </c:pt>
                <c:pt idx="7095">
                  <c:v>5.9573912397522193</c:v>
                </c:pt>
                <c:pt idx="7096">
                  <c:v>4.957567622275703</c:v>
                </c:pt>
                <c:pt idx="7097">
                  <c:v>6.0200801228264238</c:v>
                </c:pt>
                <c:pt idx="7098">
                  <c:v>6.0852588266106302</c:v>
                </c:pt>
                <c:pt idx="7099">
                  <c:v>6.1760057692913515</c:v>
                </c:pt>
                <c:pt idx="7100">
                  <c:v>4.9314637585488228</c:v>
                </c:pt>
                <c:pt idx="7101">
                  <c:v>5.7924399916087683</c:v>
                </c:pt>
                <c:pt idx="7102">
                  <c:v>5.1294670841874721</c:v>
                </c:pt>
                <c:pt idx="7103">
                  <c:v>4.8623779153843083</c:v>
                </c:pt>
                <c:pt idx="7104">
                  <c:v>5.9898160055304173</c:v>
                </c:pt>
                <c:pt idx="7105">
                  <c:v>5.198779459035797</c:v>
                </c:pt>
                <c:pt idx="7106">
                  <c:v>7.1816652446321845</c:v>
                </c:pt>
                <c:pt idx="7107">
                  <c:v>6.0987214077506611</c:v>
                </c:pt>
                <c:pt idx="7108">
                  <c:v>4.8489833457172642</c:v>
                </c:pt>
                <c:pt idx="7109">
                  <c:v>5.9414076950754495</c:v>
                </c:pt>
                <c:pt idx="7110">
                  <c:v>5.0869112239183414</c:v>
                </c:pt>
                <c:pt idx="7111">
                  <c:v>5.8926731621515724</c:v>
                </c:pt>
                <c:pt idx="7112">
                  <c:v>6.0019414107951246</c:v>
                </c:pt>
                <c:pt idx="7113">
                  <c:v>5.0133837319245309</c:v>
                </c:pt>
                <c:pt idx="7114">
                  <c:v>5.980495999092545</c:v>
                </c:pt>
                <c:pt idx="7115">
                  <c:v>4.888379120108028</c:v>
                </c:pt>
                <c:pt idx="7116">
                  <c:v>5.2502127117492909</c:v>
                </c:pt>
                <c:pt idx="7117">
                  <c:v>5.136976235179552</c:v>
                </c:pt>
                <c:pt idx="7118">
                  <c:v>6.1777907129740282</c:v>
                </c:pt>
                <c:pt idx="7119">
                  <c:v>5.9333630655325527</c:v>
                </c:pt>
                <c:pt idx="7120">
                  <c:v>4.9782295212706744</c:v>
                </c:pt>
                <c:pt idx="7121">
                  <c:v>5.9706003680023043</c:v>
                </c:pt>
                <c:pt idx="7122">
                  <c:v>4.8827923735318537</c:v>
                </c:pt>
                <c:pt idx="7123">
                  <c:v>5.9745520383327584</c:v>
                </c:pt>
                <c:pt idx="7124">
                  <c:v>5.1147193760289396</c:v>
                </c:pt>
                <c:pt idx="7125">
                  <c:v>4.7684561826809633</c:v>
                </c:pt>
                <c:pt idx="7126">
                  <c:v>4.8707458218867457</c:v>
                </c:pt>
                <c:pt idx="7127">
                  <c:v>4.8834263594244263</c:v>
                </c:pt>
                <c:pt idx="7128">
                  <c:v>4.9439623715838099</c:v>
                </c:pt>
                <c:pt idx="7129">
                  <c:v>5.1029806536957674</c:v>
                </c:pt>
                <c:pt idx="7130">
                  <c:v>5.1209675424406509</c:v>
                </c:pt>
                <c:pt idx="7131">
                  <c:v>5.937849727465327</c:v>
                </c:pt>
                <c:pt idx="7132">
                  <c:v>5.0479915493838767</c:v>
                </c:pt>
                <c:pt idx="7133">
                  <c:v>5.179825446677758</c:v>
                </c:pt>
                <c:pt idx="7134">
                  <c:v>4.9374517925551968</c:v>
                </c:pt>
                <c:pt idx="7135">
                  <c:v>6.1060830962473212</c:v>
                </c:pt>
                <c:pt idx="7136">
                  <c:v>5.9035952568519896</c:v>
                </c:pt>
                <c:pt idx="7137">
                  <c:v>5.0549204663938907</c:v>
                </c:pt>
                <c:pt idx="7138">
                  <c:v>5.9892935446079374</c:v>
                </c:pt>
                <c:pt idx="7139">
                  <c:v>6.0164889533350703</c:v>
                </c:pt>
                <c:pt idx="7140">
                  <c:v>6.0643114131572062</c:v>
                </c:pt>
                <c:pt idx="7141">
                  <c:v>6.0158981490805647</c:v>
                </c:pt>
                <c:pt idx="7142">
                  <c:v>5.0184827709394488</c:v>
                </c:pt>
                <c:pt idx="7143">
                  <c:v>5.0942921077013654</c:v>
                </c:pt>
                <c:pt idx="7144">
                  <c:v>5.9466741242332359</c:v>
                </c:pt>
                <c:pt idx="7145">
                  <c:v>6.0533851547884066</c:v>
                </c:pt>
                <c:pt idx="7146">
                  <c:v>5.9855942901029229</c:v>
                </c:pt>
                <c:pt idx="7147">
                  <c:v>4.8156036729096492</c:v>
                </c:pt>
                <c:pt idx="7148">
                  <c:v>5.1689517591036171</c:v>
                </c:pt>
                <c:pt idx="7149">
                  <c:v>6.0385581973813647</c:v>
                </c:pt>
                <c:pt idx="7150">
                  <c:v>6.0271091982815337</c:v>
                </c:pt>
                <c:pt idx="7151">
                  <c:v>5.021277698408614</c:v>
                </c:pt>
                <c:pt idx="7152">
                  <c:v>6.0455721286493116</c:v>
                </c:pt>
                <c:pt idx="7153">
                  <c:v>6.0394689786261084</c:v>
                </c:pt>
                <c:pt idx="7154">
                  <c:v>5.8704729636719808</c:v>
                </c:pt>
                <c:pt idx="7155">
                  <c:v>6.0162111221512671</c:v>
                </c:pt>
                <c:pt idx="7156">
                  <c:v>5.9808688955217235</c:v>
                </c:pt>
                <c:pt idx="7157">
                  <c:v>5.0081708056654897</c:v>
                </c:pt>
                <c:pt idx="7158">
                  <c:v>5.9522633757510555</c:v>
                </c:pt>
                <c:pt idx="7159">
                  <c:v>5.8866180123174354</c:v>
                </c:pt>
                <c:pt idx="7160">
                  <c:v>5.897895194230375</c:v>
                </c:pt>
                <c:pt idx="7161">
                  <c:v>5.067192426149445</c:v>
                </c:pt>
                <c:pt idx="7162">
                  <c:v>6.030011702619408</c:v>
                </c:pt>
                <c:pt idx="7163">
                  <c:v>6.0713207346789293</c:v>
                </c:pt>
                <c:pt idx="7164">
                  <c:v>5.1145373996129795</c:v>
                </c:pt>
                <c:pt idx="7165">
                  <c:v>5.1466710515666181</c:v>
                </c:pt>
                <c:pt idx="7166">
                  <c:v>4.9412508893516121</c:v>
                </c:pt>
                <c:pt idx="7167">
                  <c:v>5.0379520425363618</c:v>
                </c:pt>
                <c:pt idx="7168">
                  <c:v>5.0868141050110847</c:v>
                </c:pt>
                <c:pt idx="7169">
                  <c:v>6.1566529625535837</c:v>
                </c:pt>
                <c:pt idx="7170">
                  <c:v>5.1115976036177182</c:v>
                </c:pt>
                <c:pt idx="7171">
                  <c:v>4.9739569486408675</c:v>
                </c:pt>
                <c:pt idx="7172">
                  <c:v>6.1334070742309947</c:v>
                </c:pt>
                <c:pt idx="7173">
                  <c:v>5.9602650552129273</c:v>
                </c:pt>
                <c:pt idx="7174">
                  <c:v>6.1602035922723184</c:v>
                </c:pt>
                <c:pt idx="7175">
                  <c:v>6.2303508402984802</c:v>
                </c:pt>
                <c:pt idx="7176">
                  <c:v>5.9286559366907028</c:v>
                </c:pt>
                <c:pt idx="7177">
                  <c:v>5.9309375380439375</c:v>
                </c:pt>
                <c:pt idx="7178">
                  <c:v>6.1860930100198441</c:v>
                </c:pt>
                <c:pt idx="7179">
                  <c:v>6.0582835573147928</c:v>
                </c:pt>
                <c:pt idx="7180">
                  <c:v>6.0662927606220443</c:v>
                </c:pt>
                <c:pt idx="7181">
                  <c:v>5.97273497864406</c:v>
                </c:pt>
                <c:pt idx="7182">
                  <c:v>5.9177562792795158</c:v>
                </c:pt>
                <c:pt idx="7183">
                  <c:v>5.9803227464161184</c:v>
                </c:pt>
                <c:pt idx="7184">
                  <c:v>5.918893044401405</c:v>
                </c:pt>
                <c:pt idx="7185">
                  <c:v>5.8491641256844975</c:v>
                </c:pt>
                <c:pt idx="7186">
                  <c:v>6.0676728416292951</c:v>
                </c:pt>
                <c:pt idx="7187">
                  <c:v>6.0019783326266261</c:v>
                </c:pt>
                <c:pt idx="7188">
                  <c:v>6.0010239751324672</c:v>
                </c:pt>
                <c:pt idx="7189">
                  <c:v>6.1188205726204519</c:v>
                </c:pt>
                <c:pt idx="7190">
                  <c:v>6.0373385112678193</c:v>
                </c:pt>
                <c:pt idx="7191">
                  <c:v>5.8692256672763481</c:v>
                </c:pt>
                <c:pt idx="7192">
                  <c:v>5.995630953602098</c:v>
                </c:pt>
                <c:pt idx="7193">
                  <c:v>5.8505704604930493</c:v>
                </c:pt>
                <c:pt idx="7194">
                  <c:v>6.0298473115953746</c:v>
                </c:pt>
                <c:pt idx="7195">
                  <c:v>5.0958545115780307</c:v>
                </c:pt>
                <c:pt idx="7196">
                  <c:v>5.0600046832350829</c:v>
                </c:pt>
                <c:pt idx="7197">
                  <c:v>6.027141424929197</c:v>
                </c:pt>
                <c:pt idx="7198">
                  <c:v>6.0485960304782056</c:v>
                </c:pt>
                <c:pt idx="7199">
                  <c:v>4.8434122080291111</c:v>
                </c:pt>
                <c:pt idx="7200">
                  <c:v>6.0497886598347064</c:v>
                </c:pt>
                <c:pt idx="7201">
                  <c:v>4.8618487381520898</c:v>
                </c:pt>
                <c:pt idx="7202">
                  <c:v>4.9875713046419046</c:v>
                </c:pt>
                <c:pt idx="7203">
                  <c:v>4.9214073240911125</c:v>
                </c:pt>
                <c:pt idx="7204">
                  <c:v>4.923807586701197</c:v>
                </c:pt>
                <c:pt idx="7205">
                  <c:v>6.070074761189078</c:v>
                </c:pt>
                <c:pt idx="7206">
                  <c:v>5.0014519953775975</c:v>
                </c:pt>
                <c:pt idx="7207">
                  <c:v>4.9881849686132727</c:v>
                </c:pt>
                <c:pt idx="7208">
                  <c:v>6.0123809527299432</c:v>
                </c:pt>
                <c:pt idx="7209">
                  <c:v>5.0203472950136216</c:v>
                </c:pt>
                <c:pt idx="7210">
                  <c:v>4.9945606766219521</c:v>
                </c:pt>
                <c:pt idx="7211">
                  <c:v>6.1212912595085704</c:v>
                </c:pt>
                <c:pt idx="7212">
                  <c:v>6.2284057806197382</c:v>
                </c:pt>
                <c:pt idx="7213">
                  <c:v>4.9740766525256204</c:v>
                </c:pt>
                <c:pt idx="7214">
                  <c:v>4.9932610789627612</c:v>
                </c:pt>
                <c:pt idx="7215">
                  <c:v>6.0843059683672944</c:v>
                </c:pt>
                <c:pt idx="7216">
                  <c:v>5.0712945857359095</c:v>
                </c:pt>
                <c:pt idx="7217">
                  <c:v>6.0552554400189456</c:v>
                </c:pt>
                <c:pt idx="7218">
                  <c:v>6.1421805091260282</c:v>
                </c:pt>
                <c:pt idx="7219">
                  <c:v>5.0340677421397446</c:v>
                </c:pt>
                <c:pt idx="7220">
                  <c:v>5.8820215485065779</c:v>
                </c:pt>
                <c:pt idx="7221">
                  <c:v>5.0109046147729686</c:v>
                </c:pt>
                <c:pt idx="7222">
                  <c:v>4.9217503218272798</c:v>
                </c:pt>
                <c:pt idx="7223">
                  <c:v>4.8618595198231533</c:v>
                </c:pt>
                <c:pt idx="7224">
                  <c:v>4.9248109578833787</c:v>
                </c:pt>
                <c:pt idx="7225">
                  <c:v>6.0577212667650988</c:v>
                </c:pt>
                <c:pt idx="7226">
                  <c:v>6.0496215495019969</c:v>
                </c:pt>
                <c:pt idx="7227">
                  <c:v>4.9189420472543475</c:v>
                </c:pt>
                <c:pt idx="7228">
                  <c:v>5.1207755895429488</c:v>
                </c:pt>
                <c:pt idx="7229">
                  <c:v>5.9478317008333699</c:v>
                </c:pt>
                <c:pt idx="7230">
                  <c:v>6.0291519523486379</c:v>
                </c:pt>
                <c:pt idx="7231">
                  <c:v>4.9495874628689078</c:v>
                </c:pt>
                <c:pt idx="7232">
                  <c:v>6.0743648778023402</c:v>
                </c:pt>
                <c:pt idx="7233">
                  <c:v>5.0729403710891372</c:v>
                </c:pt>
                <c:pt idx="7234">
                  <c:v>5.1950787375571359</c:v>
                </c:pt>
                <c:pt idx="7235">
                  <c:v>4.8962805038627</c:v>
                </c:pt>
                <c:pt idx="7236">
                  <c:v>5.0941070903497883</c:v>
                </c:pt>
                <c:pt idx="7237">
                  <c:v>5.015721395891517</c:v>
                </c:pt>
                <c:pt idx="7238">
                  <c:v>5.9549696147353748</c:v>
                </c:pt>
                <c:pt idx="7239">
                  <c:v>5.9831103771846799</c:v>
                </c:pt>
                <c:pt idx="7240">
                  <c:v>5.0011135790459136</c:v>
                </c:pt>
                <c:pt idx="7241">
                  <c:v>4.8974976741593794</c:v>
                </c:pt>
                <c:pt idx="7242">
                  <c:v>5.993875066740082</c:v>
                </c:pt>
                <c:pt idx="7243">
                  <c:v>4.8996146515696575</c:v>
                </c:pt>
                <c:pt idx="7244">
                  <c:v>6.0674423451217399</c:v>
                </c:pt>
                <c:pt idx="7245">
                  <c:v>5.8295572895129091</c:v>
                </c:pt>
                <c:pt idx="7246">
                  <c:v>5.0142615925393352</c:v>
                </c:pt>
                <c:pt idx="7247">
                  <c:v>6.0091571716009629</c:v>
                </c:pt>
                <c:pt idx="7248">
                  <c:v>5.0156424421172527</c:v>
                </c:pt>
                <c:pt idx="7249">
                  <c:v>6.0870777301809547</c:v>
                </c:pt>
                <c:pt idx="7250">
                  <c:v>6.0818434568359194</c:v>
                </c:pt>
                <c:pt idx="7251">
                  <c:v>5.0679237835085891</c:v>
                </c:pt>
                <c:pt idx="7252">
                  <c:v>5.0401310691946613</c:v>
                </c:pt>
                <c:pt idx="7253">
                  <c:v>6.136368304586048</c:v>
                </c:pt>
                <c:pt idx="7254">
                  <c:v>6.0678936158953585</c:v>
                </c:pt>
                <c:pt idx="7255">
                  <c:v>4.9968063373614857</c:v>
                </c:pt>
                <c:pt idx="7256">
                  <c:v>4.9183007134223864</c:v>
                </c:pt>
                <c:pt idx="7257">
                  <c:v>4.9555186538315938</c:v>
                </c:pt>
                <c:pt idx="7258">
                  <c:v>4.9212725479080159</c:v>
                </c:pt>
                <c:pt idx="7259">
                  <c:v>4.9148386259936228</c:v>
                </c:pt>
                <c:pt idx="7260">
                  <c:v>5.134906053062072</c:v>
                </c:pt>
                <c:pt idx="7261">
                  <c:v>4.0913579774224571</c:v>
                </c:pt>
                <c:pt idx="7262">
                  <c:v>5.9741322260985212</c:v>
                </c:pt>
                <c:pt idx="7263">
                  <c:v>3.095693915263499</c:v>
                </c:pt>
                <c:pt idx="7264">
                  <c:v>6.0601862890570395</c:v>
                </c:pt>
                <c:pt idx="7265">
                  <c:v>4.9812999943946492</c:v>
                </c:pt>
                <c:pt idx="7266">
                  <c:v>5.8296871604660936</c:v>
                </c:pt>
                <c:pt idx="7267">
                  <c:v>4.909225884171736</c:v>
                </c:pt>
                <c:pt idx="7268">
                  <c:v>6.1736794574905112</c:v>
                </c:pt>
                <c:pt idx="7269">
                  <c:v>5.9014744674417479</c:v>
                </c:pt>
                <c:pt idx="7270">
                  <c:v>5.9157028687940301</c:v>
                </c:pt>
                <c:pt idx="7271">
                  <c:v>5.8890867649760104</c:v>
                </c:pt>
                <c:pt idx="7272">
                  <c:v>5.1235857540777152</c:v>
                </c:pt>
                <c:pt idx="7273">
                  <c:v>4.9863820141965505</c:v>
                </c:pt>
                <c:pt idx="7274">
                  <c:v>6.0476851209007565</c:v>
                </c:pt>
                <c:pt idx="7275">
                  <c:v>5.0796628075517587</c:v>
                </c:pt>
                <c:pt idx="7276">
                  <c:v>6.0493874829561864</c:v>
                </c:pt>
                <c:pt idx="7277">
                  <c:v>5.9342835158154204</c:v>
                </c:pt>
                <c:pt idx="7278">
                  <c:v>6.0600089325187563</c:v>
                </c:pt>
                <c:pt idx="7279">
                  <c:v>6.1193779347290089</c:v>
                </c:pt>
                <c:pt idx="7280">
                  <c:v>4.9758862584746595</c:v>
                </c:pt>
                <c:pt idx="7281">
                  <c:v>6.9200085541005425</c:v>
                </c:pt>
                <c:pt idx="7282">
                  <c:v>4.8276014155224614</c:v>
                </c:pt>
                <c:pt idx="7283">
                  <c:v>6.074042607177975</c:v>
                </c:pt>
                <c:pt idx="7284">
                  <c:v>4.9339881799255298</c:v>
                </c:pt>
                <c:pt idx="7285">
                  <c:v>6.1021627676570169</c:v>
                </c:pt>
                <c:pt idx="7286">
                  <c:v>6.039369070479653</c:v>
                </c:pt>
                <c:pt idx="7287">
                  <c:v>6.0262694358343492</c:v>
                </c:pt>
                <c:pt idx="7288">
                  <c:v>4.9644315145173197</c:v>
                </c:pt>
                <c:pt idx="7289">
                  <c:v>6.2166131910407962</c:v>
                </c:pt>
                <c:pt idx="7290">
                  <c:v>4.9836609094052502</c:v>
                </c:pt>
                <c:pt idx="7291">
                  <c:v>4.9181149285374932</c:v>
                </c:pt>
                <c:pt idx="7292">
                  <c:v>7.0771656673236185</c:v>
                </c:pt>
                <c:pt idx="7293">
                  <c:v>5.1168338916499465</c:v>
                </c:pt>
                <c:pt idx="7294">
                  <c:v>5.8641466881263788</c:v>
                </c:pt>
                <c:pt idx="7295">
                  <c:v>3.8692542376245123</c:v>
                </c:pt>
                <c:pt idx="7296">
                  <c:v>5.0465756566017062</c:v>
                </c:pt>
                <c:pt idx="7297">
                  <c:v>4.9164821221432931</c:v>
                </c:pt>
                <c:pt idx="7298">
                  <c:v>7.0211597424129621</c:v>
                </c:pt>
                <c:pt idx="7299">
                  <c:v>5.9361870832047128</c:v>
                </c:pt>
                <c:pt idx="7300">
                  <c:v>6.1107532888482625</c:v>
                </c:pt>
                <c:pt idx="7301">
                  <c:v>6.9657023209743816</c:v>
                </c:pt>
                <c:pt idx="7302">
                  <c:v>5.1053040901290361</c:v>
                </c:pt>
                <c:pt idx="7303">
                  <c:v>4.9574622108923183</c:v>
                </c:pt>
                <c:pt idx="7304">
                  <c:v>4.9913872837834132</c:v>
                </c:pt>
                <c:pt idx="7305">
                  <c:v>5.994472046680416</c:v>
                </c:pt>
                <c:pt idx="7306">
                  <c:v>5.9824531788305899</c:v>
                </c:pt>
                <c:pt idx="7307">
                  <c:v>4.9233780872965811</c:v>
                </c:pt>
                <c:pt idx="7308">
                  <c:v>6.0818058568405364</c:v>
                </c:pt>
                <c:pt idx="7309">
                  <c:v>5.0492915285109872</c:v>
                </c:pt>
                <c:pt idx="7310">
                  <c:v>5.0288217418957259</c:v>
                </c:pt>
                <c:pt idx="7311">
                  <c:v>4.7718408965745382</c:v>
                </c:pt>
                <c:pt idx="7312">
                  <c:v>5.8312786546495241</c:v>
                </c:pt>
                <c:pt idx="7313">
                  <c:v>5.001780403611928</c:v>
                </c:pt>
                <c:pt idx="7314">
                  <c:v>5.9138084161832829</c:v>
                </c:pt>
                <c:pt idx="7315">
                  <c:v>5.1441142713725041</c:v>
                </c:pt>
                <c:pt idx="7316">
                  <c:v>4.9953524059960781</c:v>
                </c:pt>
                <c:pt idx="7317">
                  <c:v>5.0550382743794788</c:v>
                </c:pt>
                <c:pt idx="7318">
                  <c:v>4.9929001910774682</c:v>
                </c:pt>
                <c:pt idx="7319">
                  <c:v>6.1683846170288055</c:v>
                </c:pt>
                <c:pt idx="7320">
                  <c:v>4.9381534430970264</c:v>
                </c:pt>
                <c:pt idx="7321">
                  <c:v>6.0167572625193104</c:v>
                </c:pt>
                <c:pt idx="7322">
                  <c:v>4.946154483835957</c:v>
                </c:pt>
                <c:pt idx="7323">
                  <c:v>5.8817727031777611</c:v>
                </c:pt>
                <c:pt idx="7324">
                  <c:v>6.0918346349848775</c:v>
                </c:pt>
                <c:pt idx="7325">
                  <c:v>5.1178212374890615</c:v>
                </c:pt>
                <c:pt idx="7326">
                  <c:v>5.1228323241071108</c:v>
                </c:pt>
                <c:pt idx="7327">
                  <c:v>5.9339979272349161</c:v>
                </c:pt>
                <c:pt idx="7328">
                  <c:v>6.0929622789569295</c:v>
                </c:pt>
                <c:pt idx="7329">
                  <c:v>4.9193906868449657</c:v>
                </c:pt>
                <c:pt idx="7330">
                  <c:v>6.0296291443654741</c:v>
                </c:pt>
                <c:pt idx="7331">
                  <c:v>6.1172401267177712</c:v>
                </c:pt>
                <c:pt idx="7332">
                  <c:v>6.1549091846020243</c:v>
                </c:pt>
                <c:pt idx="7333">
                  <c:v>5.1533724443572417</c:v>
                </c:pt>
                <c:pt idx="7334">
                  <c:v>4.92025726708283</c:v>
                </c:pt>
                <c:pt idx="7335">
                  <c:v>5.0919920394960059</c:v>
                </c:pt>
                <c:pt idx="7336">
                  <c:v>6.0323380736579209</c:v>
                </c:pt>
                <c:pt idx="7337">
                  <c:v>5.0307890212343924</c:v>
                </c:pt>
                <c:pt idx="7338">
                  <c:v>5.1081982142017797</c:v>
                </c:pt>
                <c:pt idx="7339">
                  <c:v>5.1581039994997679</c:v>
                </c:pt>
                <c:pt idx="7340">
                  <c:v>7.2101357975094906</c:v>
                </c:pt>
                <c:pt idx="7341">
                  <c:v>6.0286055852284726</c:v>
                </c:pt>
                <c:pt idx="7342">
                  <c:v>5.9339546246833494</c:v>
                </c:pt>
                <c:pt idx="7343">
                  <c:v>6.0347579708064911</c:v>
                </c:pt>
                <c:pt idx="7344">
                  <c:v>5.9822118922691825</c:v>
                </c:pt>
                <c:pt idx="7345">
                  <c:v>5.0467560538943461</c:v>
                </c:pt>
                <c:pt idx="7346">
                  <c:v>6.0750189477432706</c:v>
                </c:pt>
                <c:pt idx="7347">
                  <c:v>5.0852233723562428</c:v>
                </c:pt>
                <c:pt idx="7348">
                  <c:v>5.0628959008927978</c:v>
                </c:pt>
                <c:pt idx="7349">
                  <c:v>5.0024932416812362</c:v>
                </c:pt>
                <c:pt idx="7350">
                  <c:v>5.1048056654315879</c:v>
                </c:pt>
                <c:pt idx="7351">
                  <c:v>6.1075094568733546</c:v>
                </c:pt>
                <c:pt idx="7352">
                  <c:v>5.9998020867031938</c:v>
                </c:pt>
                <c:pt idx="7353">
                  <c:v>6.0535373666530523</c:v>
                </c:pt>
                <c:pt idx="7354">
                  <c:v>6.095176491684497</c:v>
                </c:pt>
                <c:pt idx="7355">
                  <c:v>5.0633274205422181</c:v>
                </c:pt>
                <c:pt idx="7356">
                  <c:v>5.9131151468944756</c:v>
                </c:pt>
                <c:pt idx="7357">
                  <c:v>4.8643633929700494</c:v>
                </c:pt>
                <c:pt idx="7358">
                  <c:v>6.0055981615132481</c:v>
                </c:pt>
                <c:pt idx="7359">
                  <c:v>4.9486083491206383</c:v>
                </c:pt>
                <c:pt idx="7360">
                  <c:v>5.9778121861159814</c:v>
                </c:pt>
                <c:pt idx="7361">
                  <c:v>5.0968987928285516</c:v>
                </c:pt>
                <c:pt idx="7362">
                  <c:v>4.9269958747698119</c:v>
                </c:pt>
                <c:pt idx="7363">
                  <c:v>6.0387068671629258</c:v>
                </c:pt>
                <c:pt idx="7364">
                  <c:v>4.9630098100906315</c:v>
                </c:pt>
                <c:pt idx="7365">
                  <c:v>4.9449746447384726</c:v>
                </c:pt>
                <c:pt idx="7366">
                  <c:v>5.9601408178277815</c:v>
                </c:pt>
                <c:pt idx="7367">
                  <c:v>5.8901101897090058</c:v>
                </c:pt>
                <c:pt idx="7368">
                  <c:v>5.000444262786961</c:v>
                </c:pt>
                <c:pt idx="7369">
                  <c:v>5.947754863799612</c:v>
                </c:pt>
                <c:pt idx="7370">
                  <c:v>5.900116999755161</c:v>
                </c:pt>
                <c:pt idx="7371">
                  <c:v>4.9368362155366112</c:v>
                </c:pt>
                <c:pt idx="7372">
                  <c:v>5.0208079847773828</c:v>
                </c:pt>
                <c:pt idx="7373">
                  <c:v>5.0749333453542667</c:v>
                </c:pt>
                <c:pt idx="7374">
                  <c:v>5.1386669578439292</c:v>
                </c:pt>
                <c:pt idx="7375">
                  <c:v>6.0756114030651753</c:v>
                </c:pt>
                <c:pt idx="7376">
                  <c:v>6.8450199469774047</c:v>
                </c:pt>
                <c:pt idx="7377">
                  <c:v>6.9456970250331382</c:v>
                </c:pt>
                <c:pt idx="7378">
                  <c:v>4.9785956885910316</c:v>
                </c:pt>
                <c:pt idx="7379">
                  <c:v>5.9906120395325582</c:v>
                </c:pt>
                <c:pt idx="7380">
                  <c:v>5.0099174426401207</c:v>
                </c:pt>
                <c:pt idx="7381">
                  <c:v>5.8650922522522748</c:v>
                </c:pt>
                <c:pt idx="7382">
                  <c:v>5.9838204068668741</c:v>
                </c:pt>
                <c:pt idx="7383">
                  <c:v>5.9017332299604135</c:v>
                </c:pt>
                <c:pt idx="7384">
                  <c:v>6.0552996912917338</c:v>
                </c:pt>
                <c:pt idx="7385">
                  <c:v>5.0514096618252031</c:v>
                </c:pt>
                <c:pt idx="7386">
                  <c:v>5.0734539641920673</c:v>
                </c:pt>
                <c:pt idx="7387">
                  <c:v>5.978819526896312</c:v>
                </c:pt>
                <c:pt idx="7388">
                  <c:v>7.0902673749241067</c:v>
                </c:pt>
                <c:pt idx="7389">
                  <c:v>7.036526800805996</c:v>
                </c:pt>
                <c:pt idx="7390">
                  <c:v>6.9858749049596094</c:v>
                </c:pt>
                <c:pt idx="7391">
                  <c:v>5.9492557193225171</c:v>
                </c:pt>
                <c:pt idx="7392">
                  <c:v>5.9681168482184201</c:v>
                </c:pt>
                <c:pt idx="7393">
                  <c:v>4.9416743583626443</c:v>
                </c:pt>
                <c:pt idx="7394">
                  <c:v>5.917945416979669</c:v>
                </c:pt>
                <c:pt idx="7395">
                  <c:v>5.0089787502965279</c:v>
                </c:pt>
                <c:pt idx="7396">
                  <c:v>5.9527701089469085</c:v>
                </c:pt>
                <c:pt idx="7397">
                  <c:v>6.1411088098446101</c:v>
                </c:pt>
                <c:pt idx="7398">
                  <c:v>5.8950702419383587</c:v>
                </c:pt>
                <c:pt idx="7399">
                  <c:v>5.883532839950254</c:v>
                </c:pt>
                <c:pt idx="7400">
                  <c:v>6.0386405162026247</c:v>
                </c:pt>
                <c:pt idx="7401">
                  <c:v>4.9644363667351747</c:v>
                </c:pt>
                <c:pt idx="7402">
                  <c:v>2.0148752027307926</c:v>
                </c:pt>
                <c:pt idx="7403">
                  <c:v>2.14393111083462</c:v>
                </c:pt>
                <c:pt idx="7404">
                  <c:v>6.0791219100464335</c:v>
                </c:pt>
                <c:pt idx="7405">
                  <c:v>5.1606749513478727</c:v>
                </c:pt>
                <c:pt idx="7406">
                  <c:v>5.0511916402700265</c:v>
                </c:pt>
                <c:pt idx="7407">
                  <c:v>4.9857821898441026</c:v>
                </c:pt>
                <c:pt idx="7408">
                  <c:v>6.1051026837728868</c:v>
                </c:pt>
                <c:pt idx="7409">
                  <c:v>5.1522197040911966</c:v>
                </c:pt>
                <c:pt idx="7410">
                  <c:v>4.8053347445549166</c:v>
                </c:pt>
                <c:pt idx="7411">
                  <c:v>5.0230164265245643</c:v>
                </c:pt>
                <c:pt idx="7412">
                  <c:v>5.9078241439070469</c:v>
                </c:pt>
                <c:pt idx="7413">
                  <c:v>6.868591304121515</c:v>
                </c:pt>
                <c:pt idx="7414">
                  <c:v>6.0478221110939954</c:v>
                </c:pt>
                <c:pt idx="7415">
                  <c:v>4.9431207697951294</c:v>
                </c:pt>
                <c:pt idx="7416">
                  <c:v>5.1337827509012275</c:v>
                </c:pt>
                <c:pt idx="7417">
                  <c:v>4.964205136656596</c:v>
                </c:pt>
                <c:pt idx="7418">
                  <c:v>5.1358095642854433</c:v>
                </c:pt>
                <c:pt idx="7419">
                  <c:v>4.9998990185192431</c:v>
                </c:pt>
                <c:pt idx="7420">
                  <c:v>6.0000983103135246</c:v>
                </c:pt>
                <c:pt idx="7421">
                  <c:v>4.9693878927523665</c:v>
                </c:pt>
                <c:pt idx="7422">
                  <c:v>5.9165762401400723</c:v>
                </c:pt>
                <c:pt idx="7423">
                  <c:v>5.1340974239070132</c:v>
                </c:pt>
                <c:pt idx="7424">
                  <c:v>4.942790138362672</c:v>
                </c:pt>
                <c:pt idx="7425">
                  <c:v>6.086133242280658</c:v>
                </c:pt>
                <c:pt idx="7426">
                  <c:v>6.0127965537790811</c:v>
                </c:pt>
                <c:pt idx="7427">
                  <c:v>6.9778932366066346</c:v>
                </c:pt>
                <c:pt idx="7428">
                  <c:v>5.9114794296437392</c:v>
                </c:pt>
                <c:pt idx="7429">
                  <c:v>5.8803641465250758</c:v>
                </c:pt>
                <c:pt idx="7430">
                  <c:v>1.8615805769193043</c:v>
                </c:pt>
                <c:pt idx="7431">
                  <c:v>4.0636306949692091</c:v>
                </c:pt>
                <c:pt idx="7432">
                  <c:v>4.9728594175456671</c:v>
                </c:pt>
                <c:pt idx="7433">
                  <c:v>4.8624564303098579</c:v>
                </c:pt>
                <c:pt idx="7434">
                  <c:v>6.1721734416767813</c:v>
                </c:pt>
                <c:pt idx="7435">
                  <c:v>4.9750411612200338</c:v>
                </c:pt>
                <c:pt idx="7436">
                  <c:v>5.8859841522441778</c:v>
                </c:pt>
                <c:pt idx="7437">
                  <c:v>5.9449072785481292</c:v>
                </c:pt>
                <c:pt idx="7438">
                  <c:v>6.0792748694407415</c:v>
                </c:pt>
                <c:pt idx="7439">
                  <c:v>6.0124927986042831</c:v>
                </c:pt>
                <c:pt idx="7440">
                  <c:v>5.0520219255325571</c:v>
                </c:pt>
                <c:pt idx="7441">
                  <c:v>5.0015098513399394</c:v>
                </c:pt>
                <c:pt idx="7442">
                  <c:v>4.8724468714060611</c:v>
                </c:pt>
                <c:pt idx="7443">
                  <c:v>5.9695124437441356</c:v>
                </c:pt>
                <c:pt idx="7444">
                  <c:v>5.7896921277709685</c:v>
                </c:pt>
                <c:pt idx="7445">
                  <c:v>5.0699282858586443</c:v>
                </c:pt>
                <c:pt idx="7446">
                  <c:v>5.9706295883426028</c:v>
                </c:pt>
                <c:pt idx="7447">
                  <c:v>5.8981436179345774</c:v>
                </c:pt>
                <c:pt idx="7448">
                  <c:v>5.0593646429652219</c:v>
                </c:pt>
                <c:pt idx="7449">
                  <c:v>5.1101652442102861</c:v>
                </c:pt>
                <c:pt idx="7450">
                  <c:v>5.1721650585511378</c:v>
                </c:pt>
                <c:pt idx="7451">
                  <c:v>5.0839708327622333</c:v>
                </c:pt>
                <c:pt idx="7452">
                  <c:v>6.0186499742773449</c:v>
                </c:pt>
                <c:pt idx="7453">
                  <c:v>4.9899898758749073</c:v>
                </c:pt>
                <c:pt idx="7454">
                  <c:v>6.0495041048969318</c:v>
                </c:pt>
                <c:pt idx="7455">
                  <c:v>5.9279253102874634</c:v>
                </c:pt>
                <c:pt idx="7456">
                  <c:v>4.9404360757922134</c:v>
                </c:pt>
                <c:pt idx="7457">
                  <c:v>4.7780764406999188</c:v>
                </c:pt>
                <c:pt idx="7458">
                  <c:v>5.0531968522333308</c:v>
                </c:pt>
                <c:pt idx="7459">
                  <c:v>5.1191084668217721</c:v>
                </c:pt>
                <c:pt idx="7460">
                  <c:v>5.0607068992203033</c:v>
                </c:pt>
                <c:pt idx="7461">
                  <c:v>5.014082662380015</c:v>
                </c:pt>
                <c:pt idx="7462">
                  <c:v>4.9591733070436348</c:v>
                </c:pt>
                <c:pt idx="7463">
                  <c:v>5.9903422425930763</c:v>
                </c:pt>
                <c:pt idx="7464">
                  <c:v>4.934327361169494</c:v>
                </c:pt>
                <c:pt idx="7465">
                  <c:v>3.9942240670242852</c:v>
                </c:pt>
                <c:pt idx="7466">
                  <c:v>4.1051835998653496</c:v>
                </c:pt>
                <c:pt idx="7467">
                  <c:v>3.9810780813122975</c:v>
                </c:pt>
                <c:pt idx="7468">
                  <c:v>4.9455292098689521</c:v>
                </c:pt>
                <c:pt idx="7469">
                  <c:v>5.1409692006815284</c:v>
                </c:pt>
                <c:pt idx="7470">
                  <c:v>5.9101421705226702</c:v>
                </c:pt>
                <c:pt idx="7471">
                  <c:v>6.129808018127231</c:v>
                </c:pt>
                <c:pt idx="7472">
                  <c:v>5.9965909729323537</c:v>
                </c:pt>
                <c:pt idx="7473">
                  <c:v>5.1295878795957162</c:v>
                </c:pt>
                <c:pt idx="7474">
                  <c:v>5.019612843700954</c:v>
                </c:pt>
                <c:pt idx="7475">
                  <c:v>6.0906230790191662</c:v>
                </c:pt>
                <c:pt idx="7476">
                  <c:v>6.0961506116085795</c:v>
                </c:pt>
                <c:pt idx="7477">
                  <c:v>6.0475157323457172</c:v>
                </c:pt>
                <c:pt idx="7478">
                  <c:v>4.9132942681767346</c:v>
                </c:pt>
                <c:pt idx="7479">
                  <c:v>5.9496304296085318</c:v>
                </c:pt>
                <c:pt idx="7480">
                  <c:v>4.9127059402164868</c:v>
                </c:pt>
                <c:pt idx="7481">
                  <c:v>6.8786094409070468</c:v>
                </c:pt>
                <c:pt idx="7482">
                  <c:v>4.0317422642313971</c:v>
                </c:pt>
                <c:pt idx="7483">
                  <c:v>6.0400921645591836</c:v>
                </c:pt>
                <c:pt idx="7484">
                  <c:v>5.9272342960087361</c:v>
                </c:pt>
                <c:pt idx="7485">
                  <c:v>4.9638001906715354</c:v>
                </c:pt>
                <c:pt idx="7486">
                  <c:v>5.0315494646580952</c:v>
                </c:pt>
                <c:pt idx="7487">
                  <c:v>4.8766738937505298</c:v>
                </c:pt>
                <c:pt idx="7488">
                  <c:v>4.7522004505824391</c:v>
                </c:pt>
                <c:pt idx="7489">
                  <c:v>6.0647668415688054</c:v>
                </c:pt>
                <c:pt idx="7490">
                  <c:v>4.1379582575138638</c:v>
                </c:pt>
                <c:pt idx="7491">
                  <c:v>1.998186738753071</c:v>
                </c:pt>
                <c:pt idx="7492">
                  <c:v>5.9697319800787927</c:v>
                </c:pt>
                <c:pt idx="7493">
                  <c:v>6.0736586643482511</c:v>
                </c:pt>
                <c:pt idx="7494">
                  <c:v>4.9738408169689823</c:v>
                </c:pt>
                <c:pt idx="7495">
                  <c:v>4.8933577795235319</c:v>
                </c:pt>
                <c:pt idx="7496">
                  <c:v>6.0800686126216537</c:v>
                </c:pt>
                <c:pt idx="7497">
                  <c:v>4.8021571169750441</c:v>
                </c:pt>
                <c:pt idx="7498">
                  <c:v>4.9459944544630279</c:v>
                </c:pt>
                <c:pt idx="7499">
                  <c:v>6.0214002705591465</c:v>
                </c:pt>
                <c:pt idx="7500">
                  <c:v>6.808107513680735</c:v>
                </c:pt>
                <c:pt idx="7501">
                  <c:v>5.9837908854131419</c:v>
                </c:pt>
                <c:pt idx="7502">
                  <c:v>4.9348636547531193</c:v>
                </c:pt>
                <c:pt idx="7503">
                  <c:v>5.0545116907831833</c:v>
                </c:pt>
                <c:pt idx="7504">
                  <c:v>6.1188361564370046</c:v>
                </c:pt>
                <c:pt idx="7505">
                  <c:v>5.8671917252632575</c:v>
                </c:pt>
                <c:pt idx="7506">
                  <c:v>6.1213341984496354</c:v>
                </c:pt>
                <c:pt idx="7507">
                  <c:v>5.9515766397076115</c:v>
                </c:pt>
                <c:pt idx="7508">
                  <c:v>6.1162437146025477</c:v>
                </c:pt>
                <c:pt idx="7509">
                  <c:v>5.7405611833695565</c:v>
                </c:pt>
                <c:pt idx="7510">
                  <c:v>5.0023363802823759</c:v>
                </c:pt>
                <c:pt idx="7511">
                  <c:v>5.0444970814132439</c:v>
                </c:pt>
                <c:pt idx="7512">
                  <c:v>5.8537630143240298</c:v>
                </c:pt>
                <c:pt idx="7513">
                  <c:v>6.0636807356758649</c:v>
                </c:pt>
                <c:pt idx="7514">
                  <c:v>5.0558049968333574</c:v>
                </c:pt>
                <c:pt idx="7515">
                  <c:v>6.9556835483741697</c:v>
                </c:pt>
                <c:pt idx="7516">
                  <c:v>6.0452176752808029</c:v>
                </c:pt>
                <c:pt idx="7517">
                  <c:v>5.9383304848969347</c:v>
                </c:pt>
                <c:pt idx="7518">
                  <c:v>4.9392443777526616</c:v>
                </c:pt>
                <c:pt idx="7519">
                  <c:v>6.0629583303506989</c:v>
                </c:pt>
                <c:pt idx="7520">
                  <c:v>5.0325979575963391</c:v>
                </c:pt>
                <c:pt idx="7521">
                  <c:v>4.993521620349533</c:v>
                </c:pt>
                <c:pt idx="7522">
                  <c:v>5.9944769717017294</c:v>
                </c:pt>
                <c:pt idx="7523">
                  <c:v>4.8606033801894855</c:v>
                </c:pt>
                <c:pt idx="7524">
                  <c:v>6.0365828399543089</c:v>
                </c:pt>
                <c:pt idx="7525">
                  <c:v>5.8225686653217634</c:v>
                </c:pt>
                <c:pt idx="7526">
                  <c:v>6.2121047703901331</c:v>
                </c:pt>
                <c:pt idx="7527">
                  <c:v>5.9040033562247549</c:v>
                </c:pt>
                <c:pt idx="7528">
                  <c:v>4.958316490037542</c:v>
                </c:pt>
                <c:pt idx="7529">
                  <c:v>6.0234871935169414</c:v>
                </c:pt>
                <c:pt idx="7530">
                  <c:v>6.1321111646063056</c:v>
                </c:pt>
                <c:pt idx="7531">
                  <c:v>5.9280891334073624</c:v>
                </c:pt>
                <c:pt idx="7532">
                  <c:v>6.1317816465051811</c:v>
                </c:pt>
                <c:pt idx="7533">
                  <c:v>5.9089517168201926</c:v>
                </c:pt>
                <c:pt idx="7534">
                  <c:v>4.9893931835240313</c:v>
                </c:pt>
                <c:pt idx="7535">
                  <c:v>7.079774785724636</c:v>
                </c:pt>
                <c:pt idx="7536">
                  <c:v>6.1237041580271745</c:v>
                </c:pt>
                <c:pt idx="7537">
                  <c:v>5.9062307462128683</c:v>
                </c:pt>
                <c:pt idx="7538">
                  <c:v>6.967992450628846</c:v>
                </c:pt>
                <c:pt idx="7539">
                  <c:v>6.0532798294657235</c:v>
                </c:pt>
                <c:pt idx="7540">
                  <c:v>5.1356110424983328</c:v>
                </c:pt>
                <c:pt idx="7541">
                  <c:v>5.9682524585422234</c:v>
                </c:pt>
                <c:pt idx="7542">
                  <c:v>6.0430605218905162</c:v>
                </c:pt>
                <c:pt idx="7543">
                  <c:v>4.8621479794151172</c:v>
                </c:pt>
                <c:pt idx="7544">
                  <c:v>5.0885558417599226</c:v>
                </c:pt>
                <c:pt idx="7545">
                  <c:v>5.8814780525836978</c:v>
                </c:pt>
                <c:pt idx="7546">
                  <c:v>6.0140287004211279</c:v>
                </c:pt>
                <c:pt idx="7547">
                  <c:v>6.0166904299423907</c:v>
                </c:pt>
                <c:pt idx="7548">
                  <c:v>5.7184363840463632</c:v>
                </c:pt>
                <c:pt idx="7549">
                  <c:v>5.0224318817378348</c:v>
                </c:pt>
                <c:pt idx="7550">
                  <c:v>5.8332467053390573</c:v>
                </c:pt>
                <c:pt idx="7551">
                  <c:v>6.0877638563220255</c:v>
                </c:pt>
                <c:pt idx="7552">
                  <c:v>4.9601188906130806</c:v>
                </c:pt>
                <c:pt idx="7553">
                  <c:v>6.0107199818438639</c:v>
                </c:pt>
                <c:pt idx="7554">
                  <c:v>5.9495077795859288</c:v>
                </c:pt>
                <c:pt idx="7555">
                  <c:v>5.7554710846768771</c:v>
                </c:pt>
                <c:pt idx="7556">
                  <c:v>5.1529356771549164</c:v>
                </c:pt>
                <c:pt idx="7557">
                  <c:v>5.9148267263634882</c:v>
                </c:pt>
                <c:pt idx="7558">
                  <c:v>5.9880694392785667</c:v>
                </c:pt>
                <c:pt idx="7559">
                  <c:v>6.258950275942853</c:v>
                </c:pt>
                <c:pt idx="7560">
                  <c:v>4.9689658990842611</c:v>
                </c:pt>
                <c:pt idx="7561">
                  <c:v>6.090019935435885</c:v>
                </c:pt>
                <c:pt idx="7562">
                  <c:v>6.0046524223514064</c:v>
                </c:pt>
                <c:pt idx="7563">
                  <c:v>6.0154667285839238</c:v>
                </c:pt>
                <c:pt idx="7564">
                  <c:v>5.8520159575547019</c:v>
                </c:pt>
                <c:pt idx="7565">
                  <c:v>6.1387188055662438</c:v>
                </c:pt>
                <c:pt idx="7566">
                  <c:v>5.9377632039964929</c:v>
                </c:pt>
                <c:pt idx="7567">
                  <c:v>5.9503832090209743</c:v>
                </c:pt>
                <c:pt idx="7568">
                  <c:v>6.0092212615647895</c:v>
                </c:pt>
                <c:pt idx="7569">
                  <c:v>4.9447470082188216</c:v>
                </c:pt>
                <c:pt idx="7570">
                  <c:v>6.8407532292554052</c:v>
                </c:pt>
                <c:pt idx="7571">
                  <c:v>7.1778729970879214</c:v>
                </c:pt>
                <c:pt idx="7572">
                  <c:v>7.0291022813246329</c:v>
                </c:pt>
                <c:pt idx="7573">
                  <c:v>7.0443756879439761</c:v>
                </c:pt>
                <c:pt idx="7574">
                  <c:v>5.0929859656827769</c:v>
                </c:pt>
                <c:pt idx="7575">
                  <c:v>6.142457910557547</c:v>
                </c:pt>
                <c:pt idx="7576">
                  <c:v>7.0017184778799084</c:v>
                </c:pt>
                <c:pt idx="7577">
                  <c:v>7.2167170928440711</c:v>
                </c:pt>
                <c:pt idx="7578">
                  <c:v>3.8744471043825546</c:v>
                </c:pt>
                <c:pt idx="7579">
                  <c:v>4.031733832378114</c:v>
                </c:pt>
                <c:pt idx="7580">
                  <c:v>4.927928596337285</c:v>
                </c:pt>
                <c:pt idx="7581">
                  <c:v>5.9024035686092651</c:v>
                </c:pt>
                <c:pt idx="7582">
                  <c:v>6.1096575925290137</c:v>
                </c:pt>
                <c:pt idx="7583">
                  <c:v>4.8744314725103841</c:v>
                </c:pt>
                <c:pt idx="7584">
                  <c:v>5.0073598871690708</c:v>
                </c:pt>
                <c:pt idx="7585">
                  <c:v>5.0483899009176989</c:v>
                </c:pt>
                <c:pt idx="7586">
                  <c:v>5.0717588329933783</c:v>
                </c:pt>
                <c:pt idx="7587">
                  <c:v>5.8247674504263749</c:v>
                </c:pt>
                <c:pt idx="7588">
                  <c:v>5.9820568185261145</c:v>
                </c:pt>
                <c:pt idx="7589">
                  <c:v>5.9552197487427359</c:v>
                </c:pt>
                <c:pt idx="7590">
                  <c:v>4.2409352529791615</c:v>
                </c:pt>
                <c:pt idx="7591">
                  <c:v>6.0509909427366386</c:v>
                </c:pt>
                <c:pt idx="7592">
                  <c:v>6.0959775144521666</c:v>
                </c:pt>
                <c:pt idx="7593">
                  <c:v>5.0079979960109791</c:v>
                </c:pt>
                <c:pt idx="7594">
                  <c:v>6.0114683014371018</c:v>
                </c:pt>
                <c:pt idx="7595">
                  <c:v>5.9692562579624031</c:v>
                </c:pt>
                <c:pt idx="7596">
                  <c:v>6.1345175451145453</c:v>
                </c:pt>
                <c:pt idx="7597">
                  <c:v>5.0488893867475708</c:v>
                </c:pt>
                <c:pt idx="7598">
                  <c:v>4.9912908388905448</c:v>
                </c:pt>
                <c:pt idx="7599">
                  <c:v>4.9048449185067913</c:v>
                </c:pt>
                <c:pt idx="7600">
                  <c:v>4.9568226917940912</c:v>
                </c:pt>
                <c:pt idx="7601">
                  <c:v>5.9501097126971745</c:v>
                </c:pt>
                <c:pt idx="7602">
                  <c:v>5.9671726236193692</c:v>
                </c:pt>
                <c:pt idx="7603">
                  <c:v>5.9323877917393446</c:v>
                </c:pt>
                <c:pt idx="7604">
                  <c:v>6.0133871436159438</c:v>
                </c:pt>
                <c:pt idx="7605">
                  <c:v>4.9706641314868154</c:v>
                </c:pt>
                <c:pt idx="7606">
                  <c:v>7.1139000152181522</c:v>
                </c:pt>
                <c:pt idx="7607">
                  <c:v>5.0950936179011332</c:v>
                </c:pt>
                <c:pt idx="7608">
                  <c:v>4.0264488075431162</c:v>
                </c:pt>
                <c:pt idx="7609">
                  <c:v>5.1839244094961572</c:v>
                </c:pt>
                <c:pt idx="7610">
                  <c:v>5.9701478604985505</c:v>
                </c:pt>
                <c:pt idx="7611">
                  <c:v>5.8385556860112269</c:v>
                </c:pt>
                <c:pt idx="7612">
                  <c:v>4.872927762075296</c:v>
                </c:pt>
                <c:pt idx="7613">
                  <c:v>5.0725087984838622</c:v>
                </c:pt>
                <c:pt idx="7614">
                  <c:v>5.8530386294352548</c:v>
                </c:pt>
                <c:pt idx="7615">
                  <c:v>4.8700820252239128</c:v>
                </c:pt>
                <c:pt idx="7616">
                  <c:v>4.8784323736538484</c:v>
                </c:pt>
                <c:pt idx="7617">
                  <c:v>4.9397682003642283</c:v>
                </c:pt>
                <c:pt idx="7618">
                  <c:v>7.0854798200889579</c:v>
                </c:pt>
                <c:pt idx="7619">
                  <c:v>5.8139662846841897</c:v>
                </c:pt>
                <c:pt idx="7620">
                  <c:v>6.1332356783381288</c:v>
                </c:pt>
                <c:pt idx="7621">
                  <c:v>5.9264275706862319</c:v>
                </c:pt>
                <c:pt idx="7622">
                  <c:v>5.8571924540066762</c:v>
                </c:pt>
                <c:pt idx="7623">
                  <c:v>6.0653503373584075</c:v>
                </c:pt>
                <c:pt idx="7624">
                  <c:v>5.8812415804293927</c:v>
                </c:pt>
                <c:pt idx="7625">
                  <c:v>5.0956795377021411</c:v>
                </c:pt>
                <c:pt idx="7626">
                  <c:v>5.0005567411010876</c:v>
                </c:pt>
                <c:pt idx="7627">
                  <c:v>6.0937375413660462</c:v>
                </c:pt>
                <c:pt idx="7628">
                  <c:v>4.9504586408807834</c:v>
                </c:pt>
                <c:pt idx="7629">
                  <c:v>5.7537544295744771</c:v>
                </c:pt>
                <c:pt idx="7630">
                  <c:v>6.201592533537025</c:v>
                </c:pt>
                <c:pt idx="7631">
                  <c:v>4.9208834100033867</c:v>
                </c:pt>
                <c:pt idx="7632">
                  <c:v>6.2418936662112179</c:v>
                </c:pt>
                <c:pt idx="7633">
                  <c:v>4.0259722270059939</c:v>
                </c:pt>
                <c:pt idx="7634">
                  <c:v>5.9175837142475567</c:v>
                </c:pt>
                <c:pt idx="7635">
                  <c:v>4.8415565440687125</c:v>
                </c:pt>
                <c:pt idx="7636">
                  <c:v>4.8655678043236499</c:v>
                </c:pt>
                <c:pt idx="7637">
                  <c:v>5.0204952811006915</c:v>
                </c:pt>
                <c:pt idx="7638">
                  <c:v>6.8170683144558399</c:v>
                </c:pt>
                <c:pt idx="7639">
                  <c:v>5.045429876704068</c:v>
                </c:pt>
                <c:pt idx="7640">
                  <c:v>5.095437059292478</c:v>
                </c:pt>
                <c:pt idx="7641">
                  <c:v>5.0073634255440291</c:v>
                </c:pt>
                <c:pt idx="7642">
                  <c:v>4.889116131977608</c:v>
                </c:pt>
                <c:pt idx="7643">
                  <c:v>3.984121395515035</c:v>
                </c:pt>
                <c:pt idx="7644">
                  <c:v>5.8918512329753243</c:v>
                </c:pt>
                <c:pt idx="7645">
                  <c:v>5.095784195585102</c:v>
                </c:pt>
                <c:pt idx="7646">
                  <c:v>4.8771020737221704</c:v>
                </c:pt>
                <c:pt idx="7647">
                  <c:v>5.9111927249770622</c:v>
                </c:pt>
                <c:pt idx="7648">
                  <c:v>5.9058177669267469</c:v>
                </c:pt>
                <c:pt idx="7649">
                  <c:v>3.9799012856611116</c:v>
                </c:pt>
                <c:pt idx="7650">
                  <c:v>5.1095289811819198</c:v>
                </c:pt>
                <c:pt idx="7651">
                  <c:v>6.0162750346345995</c:v>
                </c:pt>
                <c:pt idx="7652">
                  <c:v>5.9084918114648985</c:v>
                </c:pt>
                <c:pt idx="7653">
                  <c:v>4.986671908534734</c:v>
                </c:pt>
                <c:pt idx="7654">
                  <c:v>5.0658110590709162</c:v>
                </c:pt>
                <c:pt idx="7655">
                  <c:v>5.9094683984112049</c:v>
                </c:pt>
                <c:pt idx="7656">
                  <c:v>5.9016025635879013</c:v>
                </c:pt>
                <c:pt idx="7657">
                  <c:v>5.0491521429391364</c:v>
                </c:pt>
                <c:pt idx="7658">
                  <c:v>5.9709256117346303</c:v>
                </c:pt>
                <c:pt idx="7659">
                  <c:v>5.9552741825024622</c:v>
                </c:pt>
                <c:pt idx="7660">
                  <c:v>4.9287368269922807</c:v>
                </c:pt>
                <c:pt idx="7661">
                  <c:v>4.9003491986871808</c:v>
                </c:pt>
                <c:pt idx="7662">
                  <c:v>6.1326410222710477</c:v>
                </c:pt>
                <c:pt idx="7663">
                  <c:v>5.9644426178357577</c:v>
                </c:pt>
                <c:pt idx="7664">
                  <c:v>5.8914003572917881</c:v>
                </c:pt>
                <c:pt idx="7665">
                  <c:v>7.0688711474688892</c:v>
                </c:pt>
                <c:pt idx="7666">
                  <c:v>5.0277440333380961</c:v>
                </c:pt>
                <c:pt idx="7667">
                  <c:v>6.0284379217207427</c:v>
                </c:pt>
                <c:pt idx="7668">
                  <c:v>5.1367129335952075</c:v>
                </c:pt>
                <c:pt idx="7669">
                  <c:v>5.040873461297676</c:v>
                </c:pt>
                <c:pt idx="7670">
                  <c:v>5.8805781255790901</c:v>
                </c:pt>
                <c:pt idx="7671">
                  <c:v>4.9510561802192523</c:v>
                </c:pt>
                <c:pt idx="7672">
                  <c:v>6.1132744141376909</c:v>
                </c:pt>
                <c:pt idx="7673">
                  <c:v>4.9532585222829173</c:v>
                </c:pt>
                <c:pt idx="7674">
                  <c:v>4.9724727469356393</c:v>
                </c:pt>
                <c:pt idx="7675">
                  <c:v>6.207434071971047</c:v>
                </c:pt>
                <c:pt idx="7676">
                  <c:v>5.8828999526872803</c:v>
                </c:pt>
                <c:pt idx="7677">
                  <c:v>4.8058724154559425</c:v>
                </c:pt>
                <c:pt idx="7678">
                  <c:v>5.8572691906917305</c:v>
                </c:pt>
                <c:pt idx="7679">
                  <c:v>5.9114118378539313</c:v>
                </c:pt>
                <c:pt idx="7680">
                  <c:v>5.1154618736484716</c:v>
                </c:pt>
                <c:pt idx="7681">
                  <c:v>5.0764939715171504</c:v>
                </c:pt>
                <c:pt idx="7682">
                  <c:v>4.9916859672064433</c:v>
                </c:pt>
                <c:pt idx="7683">
                  <c:v>5.0980027853408805</c:v>
                </c:pt>
                <c:pt idx="7684">
                  <c:v>5.9870755349780822</c:v>
                </c:pt>
                <c:pt idx="7685">
                  <c:v>4.9847901826355967</c:v>
                </c:pt>
                <c:pt idx="7686">
                  <c:v>4.9252001102591079</c:v>
                </c:pt>
                <c:pt idx="7687">
                  <c:v>5.9980928780484799</c:v>
                </c:pt>
                <c:pt idx="7688">
                  <c:v>5.8609999306578713</c:v>
                </c:pt>
                <c:pt idx="7689">
                  <c:v>5.0252775560478335</c:v>
                </c:pt>
                <c:pt idx="7690">
                  <c:v>5.7889421455534791</c:v>
                </c:pt>
                <c:pt idx="7691">
                  <c:v>6.009664870398332</c:v>
                </c:pt>
                <c:pt idx="7692">
                  <c:v>4.8518983626533236</c:v>
                </c:pt>
                <c:pt idx="7693">
                  <c:v>5.074930337834628</c:v>
                </c:pt>
                <c:pt idx="7694">
                  <c:v>6.0565001970398997</c:v>
                </c:pt>
                <c:pt idx="7695">
                  <c:v>5.2724064266918766</c:v>
                </c:pt>
                <c:pt idx="7696">
                  <c:v>5.0208689330399388</c:v>
                </c:pt>
                <c:pt idx="7697">
                  <c:v>6.003667421494038</c:v>
                </c:pt>
                <c:pt idx="7698">
                  <c:v>5.228893189030333</c:v>
                </c:pt>
                <c:pt idx="7699">
                  <c:v>5.0333637353126868</c:v>
                </c:pt>
                <c:pt idx="7700">
                  <c:v>4.9852477179748975</c:v>
                </c:pt>
                <c:pt idx="7701">
                  <c:v>5.947464319075741</c:v>
                </c:pt>
                <c:pt idx="7702">
                  <c:v>4.9495270947472543</c:v>
                </c:pt>
                <c:pt idx="7703">
                  <c:v>4.9700726039326097</c:v>
                </c:pt>
                <c:pt idx="7704">
                  <c:v>6.041817282685086</c:v>
                </c:pt>
                <c:pt idx="7705">
                  <c:v>5.8523406952182286</c:v>
                </c:pt>
                <c:pt idx="7706">
                  <c:v>6.0064373713881203</c:v>
                </c:pt>
                <c:pt idx="7707">
                  <c:v>5.068888692279705</c:v>
                </c:pt>
                <c:pt idx="7708">
                  <c:v>6.0768915222117217</c:v>
                </c:pt>
                <c:pt idx="7709">
                  <c:v>5.0353373596156628</c:v>
                </c:pt>
                <c:pt idx="7710">
                  <c:v>4.8884925442222711</c:v>
                </c:pt>
                <c:pt idx="7711">
                  <c:v>5.8292339688850561</c:v>
                </c:pt>
                <c:pt idx="7712">
                  <c:v>6.0092405970066771</c:v>
                </c:pt>
                <c:pt idx="7713">
                  <c:v>5.027337961259188</c:v>
                </c:pt>
                <c:pt idx="7714">
                  <c:v>5.9883073979551931</c:v>
                </c:pt>
                <c:pt idx="7715">
                  <c:v>7.0760141818243651</c:v>
                </c:pt>
                <c:pt idx="7716">
                  <c:v>6.0601086005655365</c:v>
                </c:pt>
                <c:pt idx="7717">
                  <c:v>5.9364489501344009</c:v>
                </c:pt>
                <c:pt idx="7718">
                  <c:v>4.8040448752016021</c:v>
                </c:pt>
                <c:pt idx="7719">
                  <c:v>5.9076107834656097</c:v>
                </c:pt>
                <c:pt idx="7720">
                  <c:v>5.9440167328679712</c:v>
                </c:pt>
                <c:pt idx="7721">
                  <c:v>6.0164139301768502</c:v>
                </c:pt>
                <c:pt idx="7722">
                  <c:v>7.0390169683434642</c:v>
                </c:pt>
                <c:pt idx="7723">
                  <c:v>6.1285871668803358</c:v>
                </c:pt>
                <c:pt idx="7724">
                  <c:v>5.1463853361031084</c:v>
                </c:pt>
                <c:pt idx="7725">
                  <c:v>6.0113633168728899</c:v>
                </c:pt>
                <c:pt idx="7726">
                  <c:v>6.9766748319780394</c:v>
                </c:pt>
                <c:pt idx="7727">
                  <c:v>5.8436685139524851</c:v>
                </c:pt>
                <c:pt idx="7728">
                  <c:v>4.93224627272782</c:v>
                </c:pt>
                <c:pt idx="7729">
                  <c:v>6.1598839880522984</c:v>
                </c:pt>
                <c:pt idx="7730">
                  <c:v>6.0003756680603946</c:v>
                </c:pt>
                <c:pt idx="7731">
                  <c:v>4.1626373459756065</c:v>
                </c:pt>
                <c:pt idx="7732">
                  <c:v>7.0771092325505922</c:v>
                </c:pt>
                <c:pt idx="7733">
                  <c:v>3.8513860785924487</c:v>
                </c:pt>
                <c:pt idx="7734">
                  <c:v>3.9424707300451032</c:v>
                </c:pt>
                <c:pt idx="7735">
                  <c:v>5.0759831083047731</c:v>
                </c:pt>
                <c:pt idx="7736">
                  <c:v>5.1566390159296134</c:v>
                </c:pt>
                <c:pt idx="7737">
                  <c:v>4.9933370509196342</c:v>
                </c:pt>
                <c:pt idx="7738">
                  <c:v>5.0464382679218387</c:v>
                </c:pt>
                <c:pt idx="7739">
                  <c:v>6.0016678825908656</c:v>
                </c:pt>
                <c:pt idx="7740">
                  <c:v>6.028552408725905</c:v>
                </c:pt>
                <c:pt idx="7741">
                  <c:v>5.9264919484079117</c:v>
                </c:pt>
                <c:pt idx="7742">
                  <c:v>5.0729624896661498</c:v>
                </c:pt>
                <c:pt idx="7743">
                  <c:v>5.9943340357045631</c:v>
                </c:pt>
                <c:pt idx="7744">
                  <c:v>5.1156865405315397</c:v>
                </c:pt>
                <c:pt idx="7745">
                  <c:v>4.9164265578950035</c:v>
                </c:pt>
                <c:pt idx="7746">
                  <c:v>4.8575792187971887</c:v>
                </c:pt>
                <c:pt idx="7747">
                  <c:v>6.0013620633284797</c:v>
                </c:pt>
                <c:pt idx="7748">
                  <c:v>5.901115252837636</c:v>
                </c:pt>
                <c:pt idx="7749">
                  <c:v>5.8639806037469677</c:v>
                </c:pt>
                <c:pt idx="7750">
                  <c:v>4.9688870275928698</c:v>
                </c:pt>
                <c:pt idx="7751">
                  <c:v>5.8931925854263429</c:v>
                </c:pt>
                <c:pt idx="7752">
                  <c:v>5.9122812120514245</c:v>
                </c:pt>
                <c:pt idx="7753">
                  <c:v>5.9114671008525121</c:v>
                </c:pt>
                <c:pt idx="7754">
                  <c:v>6.1288248083715056</c:v>
                </c:pt>
                <c:pt idx="7755">
                  <c:v>4.1661232976625051</c:v>
                </c:pt>
                <c:pt idx="7756">
                  <c:v>6.0028460469137279</c:v>
                </c:pt>
                <c:pt idx="7757">
                  <c:v>4.890097596198907</c:v>
                </c:pt>
                <c:pt idx="7758">
                  <c:v>5.9611207614895587</c:v>
                </c:pt>
                <c:pt idx="7759">
                  <c:v>5.1414333111731061</c:v>
                </c:pt>
                <c:pt idx="7760">
                  <c:v>6.1083191310473115</c:v>
                </c:pt>
                <c:pt idx="7761">
                  <c:v>6.9947498963362644</c:v>
                </c:pt>
                <c:pt idx="7762">
                  <c:v>6.1078805427850833</c:v>
                </c:pt>
                <c:pt idx="7763">
                  <c:v>5.8108457281659236</c:v>
                </c:pt>
                <c:pt idx="7764">
                  <c:v>5.901250539409939</c:v>
                </c:pt>
                <c:pt idx="7765">
                  <c:v>4.9363439581039206</c:v>
                </c:pt>
                <c:pt idx="7766">
                  <c:v>6.0341060897604653</c:v>
                </c:pt>
                <c:pt idx="7767">
                  <c:v>5.9093974327132859</c:v>
                </c:pt>
                <c:pt idx="7768">
                  <c:v>5.0225449208220683</c:v>
                </c:pt>
                <c:pt idx="7769">
                  <c:v>4.987795878228547</c:v>
                </c:pt>
                <c:pt idx="7770">
                  <c:v>4.97900211204011</c:v>
                </c:pt>
                <c:pt idx="7771">
                  <c:v>4.95580505534934</c:v>
                </c:pt>
                <c:pt idx="7772">
                  <c:v>4.9225488558429769</c:v>
                </c:pt>
                <c:pt idx="7773">
                  <c:v>6.0446472038721195</c:v>
                </c:pt>
                <c:pt idx="7774">
                  <c:v>5.0489638973687017</c:v>
                </c:pt>
                <c:pt idx="7775">
                  <c:v>4.9001027147389662</c:v>
                </c:pt>
                <c:pt idx="7776">
                  <c:v>6.0100651634736071</c:v>
                </c:pt>
                <c:pt idx="7777">
                  <c:v>4.9177473576618658</c:v>
                </c:pt>
                <c:pt idx="7778">
                  <c:v>5.044808341576414</c:v>
                </c:pt>
                <c:pt idx="7779">
                  <c:v>5.1405423297199313</c:v>
                </c:pt>
                <c:pt idx="7780">
                  <c:v>5.1122316944996058</c:v>
                </c:pt>
                <c:pt idx="7781">
                  <c:v>4.8913334740236838</c:v>
                </c:pt>
                <c:pt idx="7782">
                  <c:v>5.972136279906989</c:v>
                </c:pt>
                <c:pt idx="7783">
                  <c:v>5.9996083573464292</c:v>
                </c:pt>
                <c:pt idx="7784">
                  <c:v>6.0501643251374277</c:v>
                </c:pt>
                <c:pt idx="7785">
                  <c:v>5.8603167793422628</c:v>
                </c:pt>
                <c:pt idx="7786">
                  <c:v>6.0617909931963911</c:v>
                </c:pt>
                <c:pt idx="7787">
                  <c:v>4.9166196073287347</c:v>
                </c:pt>
                <c:pt idx="7788">
                  <c:v>4.8623954219276238</c:v>
                </c:pt>
                <c:pt idx="7789">
                  <c:v>5.8514970968055815</c:v>
                </c:pt>
                <c:pt idx="7790">
                  <c:v>4.9901840544092071</c:v>
                </c:pt>
                <c:pt idx="7791">
                  <c:v>4.9064871054627819</c:v>
                </c:pt>
                <c:pt idx="7792">
                  <c:v>4.9613782586000452</c:v>
                </c:pt>
                <c:pt idx="7793">
                  <c:v>4.9860615150056926</c:v>
                </c:pt>
                <c:pt idx="7794">
                  <c:v>5.9755851644263966</c:v>
                </c:pt>
                <c:pt idx="7795">
                  <c:v>6.057699538676971</c:v>
                </c:pt>
                <c:pt idx="7796">
                  <c:v>5.0662985922086081</c:v>
                </c:pt>
                <c:pt idx="7797">
                  <c:v>5.0695179282497538</c:v>
                </c:pt>
                <c:pt idx="7798">
                  <c:v>5.9809374506957935</c:v>
                </c:pt>
                <c:pt idx="7799">
                  <c:v>4.944020527600741</c:v>
                </c:pt>
                <c:pt idx="7800">
                  <c:v>6.0122536926212824</c:v>
                </c:pt>
                <c:pt idx="7801">
                  <c:v>5.0159297901997189</c:v>
                </c:pt>
                <c:pt idx="7802">
                  <c:v>5.0894239709553686</c:v>
                </c:pt>
                <c:pt idx="7803">
                  <c:v>5.1000807958882888</c:v>
                </c:pt>
                <c:pt idx="7804">
                  <c:v>4.9788714458178047</c:v>
                </c:pt>
                <c:pt idx="7805">
                  <c:v>4.9700785902754365</c:v>
                </c:pt>
                <c:pt idx="7806">
                  <c:v>6.0606346727049454</c:v>
                </c:pt>
                <c:pt idx="7807">
                  <c:v>5.0893339774629975</c:v>
                </c:pt>
                <c:pt idx="7808">
                  <c:v>6.0917755720071751</c:v>
                </c:pt>
                <c:pt idx="7809">
                  <c:v>5.0536762029887567</c:v>
                </c:pt>
                <c:pt idx="7810">
                  <c:v>2.1887949865674656</c:v>
                </c:pt>
                <c:pt idx="7811">
                  <c:v>2.02648953155034</c:v>
                </c:pt>
                <c:pt idx="7812">
                  <c:v>5.0660094507316131</c:v>
                </c:pt>
                <c:pt idx="7813">
                  <c:v>6.0709491469659911</c:v>
                </c:pt>
                <c:pt idx="7814">
                  <c:v>6.0043794128538455</c:v>
                </c:pt>
                <c:pt idx="7815">
                  <c:v>5.0530668462587176</c:v>
                </c:pt>
                <c:pt idx="7816">
                  <c:v>7.0924914339178962</c:v>
                </c:pt>
                <c:pt idx="7817">
                  <c:v>4.9658265942900472</c:v>
                </c:pt>
                <c:pt idx="7818">
                  <c:v>3.946919024102518</c:v>
                </c:pt>
                <c:pt idx="7819">
                  <c:v>6.7200833989037072</c:v>
                </c:pt>
                <c:pt idx="7820">
                  <c:v>4.994200089831474</c:v>
                </c:pt>
                <c:pt idx="7821">
                  <c:v>5.0984864295849865</c:v>
                </c:pt>
                <c:pt idx="7822">
                  <c:v>6.039208474008511</c:v>
                </c:pt>
                <c:pt idx="7823">
                  <c:v>5.9318813587270585</c:v>
                </c:pt>
                <c:pt idx="7824">
                  <c:v>5.0575303790284867</c:v>
                </c:pt>
                <c:pt idx="7825">
                  <c:v>4.876621119547127</c:v>
                </c:pt>
                <c:pt idx="7826">
                  <c:v>6.1124507731648716</c:v>
                </c:pt>
                <c:pt idx="7827">
                  <c:v>6.0528804817148831</c:v>
                </c:pt>
                <c:pt idx="7828">
                  <c:v>5.0196286747548573</c:v>
                </c:pt>
                <c:pt idx="7829">
                  <c:v>4.8659147783225913</c:v>
                </c:pt>
                <c:pt idx="7830">
                  <c:v>6.0229136764550351</c:v>
                </c:pt>
                <c:pt idx="7831">
                  <c:v>5.0263751543857849</c:v>
                </c:pt>
                <c:pt idx="7832">
                  <c:v>6.1438727054426243</c:v>
                </c:pt>
                <c:pt idx="7833">
                  <c:v>5.0698984521867079</c:v>
                </c:pt>
                <c:pt idx="7834">
                  <c:v>5.9220181551029132</c:v>
                </c:pt>
                <c:pt idx="7835">
                  <c:v>5.9105493365181161</c:v>
                </c:pt>
                <c:pt idx="7836">
                  <c:v>5.8803211077693796</c:v>
                </c:pt>
                <c:pt idx="7837">
                  <c:v>6.0350432822772389</c:v>
                </c:pt>
                <c:pt idx="7838">
                  <c:v>5.9392435763297158</c:v>
                </c:pt>
                <c:pt idx="7839">
                  <c:v>5.9326056091804293</c:v>
                </c:pt>
                <c:pt idx="7840">
                  <c:v>6.0659573417088914</c:v>
                </c:pt>
                <c:pt idx="7841">
                  <c:v>6.0469811346501823</c:v>
                </c:pt>
                <c:pt idx="7842">
                  <c:v>5.8940859946372157</c:v>
                </c:pt>
                <c:pt idx="7843">
                  <c:v>5.9754602734928568</c:v>
                </c:pt>
                <c:pt idx="7844">
                  <c:v>5.2474674818829596</c:v>
                </c:pt>
                <c:pt idx="7845">
                  <c:v>5.1205288380963747</c:v>
                </c:pt>
                <c:pt idx="7846">
                  <c:v>6.0891392587765401</c:v>
                </c:pt>
                <c:pt idx="7847">
                  <c:v>5.0503084206452904</c:v>
                </c:pt>
                <c:pt idx="7848">
                  <c:v>5.9688329988891846</c:v>
                </c:pt>
                <c:pt idx="7849">
                  <c:v>5.0324535917543054</c:v>
                </c:pt>
                <c:pt idx="7850">
                  <c:v>6.0309324952205801</c:v>
                </c:pt>
                <c:pt idx="7851">
                  <c:v>4.9797749569351666</c:v>
                </c:pt>
                <c:pt idx="7852">
                  <c:v>5.9355681215368614</c:v>
                </c:pt>
                <c:pt idx="7853">
                  <c:v>5.9769262981736357</c:v>
                </c:pt>
                <c:pt idx="7854">
                  <c:v>5.0266203109251117</c:v>
                </c:pt>
                <c:pt idx="7855">
                  <c:v>6.031282735654778</c:v>
                </c:pt>
                <c:pt idx="7856">
                  <c:v>6.0866874406090874</c:v>
                </c:pt>
                <c:pt idx="7857">
                  <c:v>5.017219335378666</c:v>
                </c:pt>
                <c:pt idx="7858">
                  <c:v>4.9729332866859401</c:v>
                </c:pt>
                <c:pt idx="7859">
                  <c:v>6.0337190106332876</c:v>
                </c:pt>
                <c:pt idx="7860">
                  <c:v>4.9553291549970746</c:v>
                </c:pt>
                <c:pt idx="7861">
                  <c:v>4.955416502063982</c:v>
                </c:pt>
                <c:pt idx="7862">
                  <c:v>5.0328001698674418</c:v>
                </c:pt>
                <c:pt idx="7863">
                  <c:v>5.0392011960883609</c:v>
                </c:pt>
                <c:pt idx="7864">
                  <c:v>5.8895169112062495</c:v>
                </c:pt>
                <c:pt idx="7865">
                  <c:v>5.1504729233244317</c:v>
                </c:pt>
                <c:pt idx="7866">
                  <c:v>4.9575218435058694</c:v>
                </c:pt>
                <c:pt idx="7867">
                  <c:v>5.0301642638777162</c:v>
                </c:pt>
                <c:pt idx="7868">
                  <c:v>5.8931425022263388</c:v>
                </c:pt>
                <c:pt idx="7869">
                  <c:v>4.8729136394364509</c:v>
                </c:pt>
                <c:pt idx="7870">
                  <c:v>5.0031886042273346</c:v>
                </c:pt>
                <c:pt idx="7871">
                  <c:v>6.0094728331347067</c:v>
                </c:pt>
                <c:pt idx="7872">
                  <c:v>5.8234410332366906</c:v>
                </c:pt>
                <c:pt idx="7873">
                  <c:v>5.9546749409832724</c:v>
                </c:pt>
                <c:pt idx="7874">
                  <c:v>6.1532467053381259</c:v>
                </c:pt>
                <c:pt idx="7875">
                  <c:v>5.9376951505512796</c:v>
                </c:pt>
                <c:pt idx="7876">
                  <c:v>5.0157088254717479</c:v>
                </c:pt>
                <c:pt idx="7877">
                  <c:v>7.2070802371702785</c:v>
                </c:pt>
                <c:pt idx="7878">
                  <c:v>6.0064579491480439</c:v>
                </c:pt>
                <c:pt idx="7879">
                  <c:v>4.8918511927941948</c:v>
                </c:pt>
                <c:pt idx="7880">
                  <c:v>6.1852909536184608</c:v>
                </c:pt>
                <c:pt idx="7881">
                  <c:v>5.0787311301863136</c:v>
                </c:pt>
                <c:pt idx="7882">
                  <c:v>4.3025892268431774</c:v>
                </c:pt>
                <c:pt idx="7883">
                  <c:v>6.0792011422963057</c:v>
                </c:pt>
                <c:pt idx="7884">
                  <c:v>4.9267250537889158</c:v>
                </c:pt>
                <c:pt idx="7885">
                  <c:v>6.046229748999127</c:v>
                </c:pt>
                <c:pt idx="7886">
                  <c:v>4.8522047802192336</c:v>
                </c:pt>
                <c:pt idx="7887">
                  <c:v>5.931988743212675</c:v>
                </c:pt>
                <c:pt idx="7888">
                  <c:v>6.0525668052441128</c:v>
                </c:pt>
                <c:pt idx="7889">
                  <c:v>6.1641192784839998</c:v>
                </c:pt>
                <c:pt idx="7890">
                  <c:v>5.0668354728955398</c:v>
                </c:pt>
                <c:pt idx="7891">
                  <c:v>4.82255501078187</c:v>
                </c:pt>
                <c:pt idx="7892">
                  <c:v>5.9196802040371548</c:v>
                </c:pt>
                <c:pt idx="7893">
                  <c:v>6.9997622155394659</c:v>
                </c:pt>
                <c:pt idx="7894">
                  <c:v>6.0920121772449445</c:v>
                </c:pt>
                <c:pt idx="7895">
                  <c:v>6.1578136188712183</c:v>
                </c:pt>
                <c:pt idx="7896">
                  <c:v>4.8239476505692416</c:v>
                </c:pt>
                <c:pt idx="7897">
                  <c:v>6.2010051872697307</c:v>
                </c:pt>
                <c:pt idx="7898">
                  <c:v>5.0307604834223643</c:v>
                </c:pt>
                <c:pt idx="7899">
                  <c:v>5.9122386557064877</c:v>
                </c:pt>
                <c:pt idx="7900">
                  <c:v>5.9240212093870275</c:v>
                </c:pt>
                <c:pt idx="7901">
                  <c:v>6.1219165239397366</c:v>
                </c:pt>
                <c:pt idx="7902">
                  <c:v>4.9253642739561556</c:v>
                </c:pt>
                <c:pt idx="7903">
                  <c:v>6.0561085044643583</c:v>
                </c:pt>
                <c:pt idx="7904">
                  <c:v>5.1839217575013086</c:v>
                </c:pt>
                <c:pt idx="7905">
                  <c:v>5.9353125938197646</c:v>
                </c:pt>
                <c:pt idx="7906">
                  <c:v>5.8908894693835911</c:v>
                </c:pt>
                <c:pt idx="7907">
                  <c:v>5.8658826338157786</c:v>
                </c:pt>
                <c:pt idx="7908">
                  <c:v>5.9141595836505996</c:v>
                </c:pt>
                <c:pt idx="7909">
                  <c:v>5.0514275707983707</c:v>
                </c:pt>
                <c:pt idx="7910">
                  <c:v>4.7526147056469341</c:v>
                </c:pt>
                <c:pt idx="7911">
                  <c:v>5.0930196939406391</c:v>
                </c:pt>
                <c:pt idx="7912">
                  <c:v>5.0972533707469578</c:v>
                </c:pt>
                <c:pt idx="7913">
                  <c:v>6.0305641211513308</c:v>
                </c:pt>
                <c:pt idx="7914">
                  <c:v>6.0084712967257241</c:v>
                </c:pt>
                <c:pt idx="7915">
                  <c:v>6.0954197614983539</c:v>
                </c:pt>
                <c:pt idx="7916">
                  <c:v>4.9236710711547804</c:v>
                </c:pt>
                <c:pt idx="7917">
                  <c:v>5.1262994990666009</c:v>
                </c:pt>
                <c:pt idx="7918">
                  <c:v>5.984417692461018</c:v>
                </c:pt>
                <c:pt idx="7919">
                  <c:v>6.009866205307862</c:v>
                </c:pt>
                <c:pt idx="7920">
                  <c:v>6.0678361988988296</c:v>
                </c:pt>
                <c:pt idx="7921">
                  <c:v>5.9948440024179606</c:v>
                </c:pt>
                <c:pt idx="7922">
                  <c:v>6.002667132740247</c:v>
                </c:pt>
                <c:pt idx="7923">
                  <c:v>5.0235236937576762</c:v>
                </c:pt>
                <c:pt idx="7924">
                  <c:v>5.9465567859366546</c:v>
                </c:pt>
                <c:pt idx="7925">
                  <c:v>5.1001798209270346</c:v>
                </c:pt>
                <c:pt idx="7926">
                  <c:v>5.8541835300262415</c:v>
                </c:pt>
                <c:pt idx="7927">
                  <c:v>6.0279416119347911</c:v>
                </c:pt>
                <c:pt idx="7928">
                  <c:v>5.9296745270702944</c:v>
                </c:pt>
                <c:pt idx="7929">
                  <c:v>5.8901513896809838</c:v>
                </c:pt>
                <c:pt idx="7930">
                  <c:v>4.994591818501088</c:v>
                </c:pt>
                <c:pt idx="7931">
                  <c:v>5.0868617348172318</c:v>
                </c:pt>
                <c:pt idx="7932">
                  <c:v>5.9786987748692884</c:v>
                </c:pt>
                <c:pt idx="7933">
                  <c:v>5.021526870870165</c:v>
                </c:pt>
                <c:pt idx="7934">
                  <c:v>6.0336358970588568</c:v>
                </c:pt>
                <c:pt idx="7935">
                  <c:v>5.8905031478424217</c:v>
                </c:pt>
                <c:pt idx="7936">
                  <c:v>5.0721383351487068</c:v>
                </c:pt>
                <c:pt idx="7937">
                  <c:v>5.9664763844255386</c:v>
                </c:pt>
                <c:pt idx="7938">
                  <c:v>5.1211768335781551</c:v>
                </c:pt>
                <c:pt idx="7939">
                  <c:v>5.8259894686571077</c:v>
                </c:pt>
                <c:pt idx="7940">
                  <c:v>3.9917334237292441</c:v>
                </c:pt>
                <c:pt idx="7941">
                  <c:v>7.0483358839324239</c:v>
                </c:pt>
                <c:pt idx="7942">
                  <c:v>5.8656890086288147</c:v>
                </c:pt>
                <c:pt idx="7943">
                  <c:v>5.9375951932068789</c:v>
                </c:pt>
                <c:pt idx="7944">
                  <c:v>4.9824617394696213</c:v>
                </c:pt>
                <c:pt idx="7945">
                  <c:v>6.1733865199471758</c:v>
                </c:pt>
                <c:pt idx="7946">
                  <c:v>4.9934238778666842</c:v>
                </c:pt>
                <c:pt idx="7947">
                  <c:v>6.086120663145107</c:v>
                </c:pt>
                <c:pt idx="7948">
                  <c:v>5.8956445426312349</c:v>
                </c:pt>
                <c:pt idx="7949">
                  <c:v>5.0815225312706032</c:v>
                </c:pt>
                <c:pt idx="7950">
                  <c:v>4.8751372687247807</c:v>
                </c:pt>
                <c:pt idx="7951">
                  <c:v>6.1220457340021204</c:v>
                </c:pt>
                <c:pt idx="7952">
                  <c:v>4.9294038025915352</c:v>
                </c:pt>
                <c:pt idx="7953">
                  <c:v>5.1244096518005566</c:v>
                </c:pt>
                <c:pt idx="7954">
                  <c:v>5.9968579264865705</c:v>
                </c:pt>
                <c:pt idx="7955">
                  <c:v>6.0846849777218548</c:v>
                </c:pt>
                <c:pt idx="7956">
                  <c:v>5.9393444613072548</c:v>
                </c:pt>
                <c:pt idx="7957">
                  <c:v>5.9046493601658696</c:v>
                </c:pt>
                <c:pt idx="7958">
                  <c:v>5.9898027667718328</c:v>
                </c:pt>
                <c:pt idx="7959">
                  <c:v>6.055856930172415</c:v>
                </c:pt>
                <c:pt idx="7960">
                  <c:v>5.9956939484517546</c:v>
                </c:pt>
                <c:pt idx="7961">
                  <c:v>6.066821159055177</c:v>
                </c:pt>
                <c:pt idx="7962">
                  <c:v>5.0829316774933551</c:v>
                </c:pt>
                <c:pt idx="7963">
                  <c:v>5.9356556622815333</c:v>
                </c:pt>
                <c:pt idx="7964">
                  <c:v>4.9246902618746295</c:v>
                </c:pt>
                <c:pt idx="7965">
                  <c:v>5.8881295358624941</c:v>
                </c:pt>
                <c:pt idx="7966">
                  <c:v>5.9200455075118645</c:v>
                </c:pt>
                <c:pt idx="7967">
                  <c:v>5.8452011647928614</c:v>
                </c:pt>
                <c:pt idx="7968">
                  <c:v>6.021930646150917</c:v>
                </c:pt>
                <c:pt idx="7969">
                  <c:v>5.0233710389508754</c:v>
                </c:pt>
                <c:pt idx="7970">
                  <c:v>5.0225014407359136</c:v>
                </c:pt>
                <c:pt idx="7971">
                  <c:v>4.8868859567002927</c:v>
                </c:pt>
                <c:pt idx="7972">
                  <c:v>5.0235708758732098</c:v>
                </c:pt>
                <c:pt idx="7973">
                  <c:v>4.9718081304605084</c:v>
                </c:pt>
                <c:pt idx="7974">
                  <c:v>6.0016820866808338</c:v>
                </c:pt>
                <c:pt idx="7975">
                  <c:v>5.8061418420198265</c:v>
                </c:pt>
                <c:pt idx="7976">
                  <c:v>5.017812658895501</c:v>
                </c:pt>
                <c:pt idx="7977">
                  <c:v>6.0197395707629031</c:v>
                </c:pt>
                <c:pt idx="7978">
                  <c:v>5.8137140871631825</c:v>
                </c:pt>
                <c:pt idx="7979">
                  <c:v>5.0570378265327509</c:v>
                </c:pt>
                <c:pt idx="7980">
                  <c:v>4.8970479437452896</c:v>
                </c:pt>
                <c:pt idx="7981">
                  <c:v>4.9382452563340795</c:v>
                </c:pt>
                <c:pt idx="7982">
                  <c:v>4.9061342007580153</c:v>
                </c:pt>
                <c:pt idx="7983">
                  <c:v>4.9099168389694583</c:v>
                </c:pt>
                <c:pt idx="7984">
                  <c:v>5.9532334360248731</c:v>
                </c:pt>
                <c:pt idx="7985">
                  <c:v>6.0351679973722376</c:v>
                </c:pt>
                <c:pt idx="7986">
                  <c:v>6.0114420407913105</c:v>
                </c:pt>
                <c:pt idx="7987">
                  <c:v>5.862964588296002</c:v>
                </c:pt>
                <c:pt idx="7988">
                  <c:v>5.1579531002086991</c:v>
                </c:pt>
                <c:pt idx="7989">
                  <c:v>6.8696869870450685</c:v>
                </c:pt>
                <c:pt idx="7990">
                  <c:v>6.0323187624523333</c:v>
                </c:pt>
                <c:pt idx="7991">
                  <c:v>4.9705162384714887</c:v>
                </c:pt>
                <c:pt idx="7992">
                  <c:v>5.1080290167979507</c:v>
                </c:pt>
                <c:pt idx="7993">
                  <c:v>6.0125484162848304</c:v>
                </c:pt>
                <c:pt idx="7994">
                  <c:v>5.9920175289599573</c:v>
                </c:pt>
                <c:pt idx="7995">
                  <c:v>4.961480067409819</c:v>
                </c:pt>
                <c:pt idx="7996">
                  <c:v>4.7516068699934983</c:v>
                </c:pt>
                <c:pt idx="7997">
                  <c:v>5.0346298374668503</c:v>
                </c:pt>
                <c:pt idx="7998">
                  <c:v>4.7800294441976776</c:v>
                </c:pt>
                <c:pt idx="7999">
                  <c:v>5.024756249230844</c:v>
                </c:pt>
                <c:pt idx="8000">
                  <c:v>6.1316276751035748</c:v>
                </c:pt>
                <c:pt idx="8001">
                  <c:v>6.1268966424937146</c:v>
                </c:pt>
                <c:pt idx="8002">
                  <c:v>6.0078557544548117</c:v>
                </c:pt>
                <c:pt idx="8003">
                  <c:v>5.9652726944625138</c:v>
                </c:pt>
                <c:pt idx="8004">
                  <c:v>5.9651469522149601</c:v>
                </c:pt>
                <c:pt idx="8005">
                  <c:v>6.1002362830672308</c:v>
                </c:pt>
                <c:pt idx="8006">
                  <c:v>4.9769249589397022</c:v>
                </c:pt>
                <c:pt idx="8007">
                  <c:v>5.1848074867902403</c:v>
                </c:pt>
                <c:pt idx="8008">
                  <c:v>4.8501860619148376</c:v>
                </c:pt>
                <c:pt idx="8009">
                  <c:v>6.0850449181532253</c:v>
                </c:pt>
                <c:pt idx="8010">
                  <c:v>5.8354167816580365</c:v>
                </c:pt>
                <c:pt idx="8011">
                  <c:v>5.7632133302665798</c:v>
                </c:pt>
                <c:pt idx="8012">
                  <c:v>7.0039449396856348</c:v>
                </c:pt>
                <c:pt idx="8013">
                  <c:v>6.084332069437103</c:v>
                </c:pt>
                <c:pt idx="8014">
                  <c:v>5.103079844865146</c:v>
                </c:pt>
                <c:pt idx="8015">
                  <c:v>5.0584267144275152</c:v>
                </c:pt>
                <c:pt idx="8016">
                  <c:v>5.9692234350089697</c:v>
                </c:pt>
                <c:pt idx="8017">
                  <c:v>6.0716418965534151</c:v>
                </c:pt>
                <c:pt idx="8018">
                  <c:v>6.1083118590034067</c:v>
                </c:pt>
                <c:pt idx="8019">
                  <c:v>4.8828580073796299</c:v>
                </c:pt>
                <c:pt idx="8020">
                  <c:v>6.0646372463743283</c:v>
                </c:pt>
                <c:pt idx="8021">
                  <c:v>4.8413885241858736</c:v>
                </c:pt>
                <c:pt idx="8022">
                  <c:v>5.0843819039669986</c:v>
                </c:pt>
                <c:pt idx="8023">
                  <c:v>6.911538352173614</c:v>
                </c:pt>
                <c:pt idx="8024">
                  <c:v>6.0559805385839445</c:v>
                </c:pt>
                <c:pt idx="8025">
                  <c:v>5.091388213873687</c:v>
                </c:pt>
                <c:pt idx="8026">
                  <c:v>4.9864954751274322</c:v>
                </c:pt>
                <c:pt idx="8027">
                  <c:v>4.8562324768585974</c:v>
                </c:pt>
                <c:pt idx="8028">
                  <c:v>5.981932531698603</c:v>
                </c:pt>
                <c:pt idx="8029">
                  <c:v>5.7625797394375802</c:v>
                </c:pt>
                <c:pt idx="8030">
                  <c:v>6.056845064679365</c:v>
                </c:pt>
                <c:pt idx="8031">
                  <c:v>5.0874121237491217</c:v>
                </c:pt>
                <c:pt idx="8032">
                  <c:v>6.0551988651474904</c:v>
                </c:pt>
                <c:pt idx="8033">
                  <c:v>5.9390900191893419</c:v>
                </c:pt>
                <c:pt idx="8034">
                  <c:v>5.0698016868831735</c:v>
                </c:pt>
                <c:pt idx="8035">
                  <c:v>5.8731415040170774</c:v>
                </c:pt>
                <c:pt idx="8036">
                  <c:v>6.0805403078172064</c:v>
                </c:pt>
                <c:pt idx="8037">
                  <c:v>4.9802781187714489</c:v>
                </c:pt>
                <c:pt idx="8038">
                  <c:v>6.0736922617109022</c:v>
                </c:pt>
                <c:pt idx="8039">
                  <c:v>5.8981549232038279</c:v>
                </c:pt>
                <c:pt idx="8040">
                  <c:v>5.0662177212583401</c:v>
                </c:pt>
                <c:pt idx="8041">
                  <c:v>5.9006229044531846</c:v>
                </c:pt>
                <c:pt idx="8042">
                  <c:v>4.9476364149060439</c:v>
                </c:pt>
                <c:pt idx="8043">
                  <c:v>5.785019123785462</c:v>
                </c:pt>
                <c:pt idx="8044">
                  <c:v>6.1104813208576827</c:v>
                </c:pt>
                <c:pt idx="8045">
                  <c:v>5.1811687193346927</c:v>
                </c:pt>
                <c:pt idx="8046">
                  <c:v>5.9510789460950502</c:v>
                </c:pt>
                <c:pt idx="8047">
                  <c:v>5.873995963423841</c:v>
                </c:pt>
                <c:pt idx="8048">
                  <c:v>5.9433055650780426</c:v>
                </c:pt>
                <c:pt idx="8049">
                  <c:v>4.9790931170013097</c:v>
                </c:pt>
                <c:pt idx="8050">
                  <c:v>4.9627291955421855</c:v>
                </c:pt>
                <c:pt idx="8051">
                  <c:v>4.9290979969623505</c:v>
                </c:pt>
                <c:pt idx="8052">
                  <c:v>6.1829462956778309</c:v>
                </c:pt>
                <c:pt idx="8053">
                  <c:v>4.9970079259859643</c:v>
                </c:pt>
                <c:pt idx="8054">
                  <c:v>5.1736804121794115</c:v>
                </c:pt>
                <c:pt idx="8055">
                  <c:v>5.1653552512760621</c:v>
                </c:pt>
                <c:pt idx="8056">
                  <c:v>5.0697763168164593</c:v>
                </c:pt>
                <c:pt idx="8057">
                  <c:v>5.9525683683929387</c:v>
                </c:pt>
                <c:pt idx="8058">
                  <c:v>6.8900974337558321</c:v>
                </c:pt>
                <c:pt idx="8059">
                  <c:v>5.9306299168225127</c:v>
                </c:pt>
                <c:pt idx="8060">
                  <c:v>6.0526223510515109</c:v>
                </c:pt>
                <c:pt idx="8061">
                  <c:v>5.0174303364502268</c:v>
                </c:pt>
                <c:pt idx="8062">
                  <c:v>5.0440988715577628</c:v>
                </c:pt>
                <c:pt idx="8063">
                  <c:v>6.0561735986028076</c:v>
                </c:pt>
                <c:pt idx="8064">
                  <c:v>4.8686501780878499</c:v>
                </c:pt>
                <c:pt idx="8065">
                  <c:v>4.9210230170246323</c:v>
                </c:pt>
                <c:pt idx="8066">
                  <c:v>5.0262890985785553</c:v>
                </c:pt>
                <c:pt idx="8067">
                  <c:v>6.0231903296519489</c:v>
                </c:pt>
                <c:pt idx="8068">
                  <c:v>4.9869320468067855</c:v>
                </c:pt>
                <c:pt idx="8069">
                  <c:v>5.943971605678338</c:v>
                </c:pt>
                <c:pt idx="8070">
                  <c:v>5.0277701680220721</c:v>
                </c:pt>
                <c:pt idx="8071">
                  <c:v>4.7482727571163865</c:v>
                </c:pt>
                <c:pt idx="8072">
                  <c:v>5.7929895867802008</c:v>
                </c:pt>
                <c:pt idx="8073">
                  <c:v>5.0366173458810257</c:v>
                </c:pt>
                <c:pt idx="8074">
                  <c:v>4.9879780130788332</c:v>
                </c:pt>
                <c:pt idx="8075">
                  <c:v>4.9225597203933047</c:v>
                </c:pt>
                <c:pt idx="8076">
                  <c:v>5.0693232082882007</c:v>
                </c:pt>
                <c:pt idx="8077">
                  <c:v>6.1740943276171745</c:v>
                </c:pt>
                <c:pt idx="8078">
                  <c:v>5.1261202531162562</c:v>
                </c:pt>
                <c:pt idx="8079">
                  <c:v>5.901836035806034</c:v>
                </c:pt>
                <c:pt idx="8080">
                  <c:v>6.0774966254836089</c:v>
                </c:pt>
                <c:pt idx="8081">
                  <c:v>7.0074786639644238</c:v>
                </c:pt>
                <c:pt idx="8082">
                  <c:v>7.0583725781668569</c:v>
                </c:pt>
                <c:pt idx="8083">
                  <c:v>6.169812463768177</c:v>
                </c:pt>
                <c:pt idx="8084">
                  <c:v>6.1004739527649212</c:v>
                </c:pt>
                <c:pt idx="8085">
                  <c:v>6.0120122759066259</c:v>
                </c:pt>
                <c:pt idx="8086">
                  <c:v>6.1080845340961174</c:v>
                </c:pt>
                <c:pt idx="8087">
                  <c:v>6.0753458747503393</c:v>
                </c:pt>
                <c:pt idx="8088">
                  <c:v>5.0471592797503106</c:v>
                </c:pt>
                <c:pt idx="8089">
                  <c:v>4.9485833335980987</c:v>
                </c:pt>
                <c:pt idx="8090">
                  <c:v>6.1456700509337896</c:v>
                </c:pt>
                <c:pt idx="8091">
                  <c:v>5.925162598222478</c:v>
                </c:pt>
                <c:pt idx="8092">
                  <c:v>5.9316546185297101</c:v>
                </c:pt>
                <c:pt idx="8093">
                  <c:v>6.1246443613558803</c:v>
                </c:pt>
                <c:pt idx="8094">
                  <c:v>4.9722992757868631</c:v>
                </c:pt>
                <c:pt idx="8095">
                  <c:v>5.9608353315988598</c:v>
                </c:pt>
                <c:pt idx="8096">
                  <c:v>5.0365366517412395</c:v>
                </c:pt>
                <c:pt idx="8097">
                  <c:v>6.1253411966496216</c:v>
                </c:pt>
                <c:pt idx="8098">
                  <c:v>5.9890675002965006</c:v>
                </c:pt>
                <c:pt idx="8099">
                  <c:v>4.9615628225583102</c:v>
                </c:pt>
                <c:pt idx="8100">
                  <c:v>4.9465637586108366</c:v>
                </c:pt>
                <c:pt idx="8101">
                  <c:v>5.9877696698738587</c:v>
                </c:pt>
                <c:pt idx="8102">
                  <c:v>4.9851130597323419</c:v>
                </c:pt>
                <c:pt idx="8103">
                  <c:v>6.0620584887312523</c:v>
                </c:pt>
                <c:pt idx="8104">
                  <c:v>5.051013576053041</c:v>
                </c:pt>
                <c:pt idx="8105">
                  <c:v>5.7126026906509777</c:v>
                </c:pt>
                <c:pt idx="8106">
                  <c:v>5.0473035426048467</c:v>
                </c:pt>
                <c:pt idx="8107">
                  <c:v>6.9535113071973429</c:v>
                </c:pt>
                <c:pt idx="8108">
                  <c:v>5.9995186564980854</c:v>
                </c:pt>
                <c:pt idx="8109">
                  <c:v>5.1486394820688721</c:v>
                </c:pt>
                <c:pt idx="8110">
                  <c:v>6.004047427206995</c:v>
                </c:pt>
                <c:pt idx="8111">
                  <c:v>6.138553871564012</c:v>
                </c:pt>
                <c:pt idx="8112">
                  <c:v>6.0289678916492031</c:v>
                </c:pt>
                <c:pt idx="8113">
                  <c:v>4.9288858408629643</c:v>
                </c:pt>
                <c:pt idx="8114">
                  <c:v>6.0855949328983225</c:v>
                </c:pt>
                <c:pt idx="8115">
                  <c:v>6.1485486165247742</c:v>
                </c:pt>
                <c:pt idx="8116">
                  <c:v>6.0264656834752728</c:v>
                </c:pt>
                <c:pt idx="8117">
                  <c:v>6.0393311458646552</c:v>
                </c:pt>
                <c:pt idx="8118">
                  <c:v>5.8392683459424273</c:v>
                </c:pt>
                <c:pt idx="8119">
                  <c:v>4.9894650299025329</c:v>
                </c:pt>
                <c:pt idx="8120">
                  <c:v>6.1845316694779253</c:v>
                </c:pt>
                <c:pt idx="8121">
                  <c:v>6.014181155220359</c:v>
                </c:pt>
                <c:pt idx="8122">
                  <c:v>5.9595810692921987</c:v>
                </c:pt>
                <c:pt idx="8123">
                  <c:v>6.0508560676038146</c:v>
                </c:pt>
                <c:pt idx="8124">
                  <c:v>4.895732420216957</c:v>
                </c:pt>
                <c:pt idx="8125">
                  <c:v>5.9485453219604487</c:v>
                </c:pt>
                <c:pt idx="8126">
                  <c:v>4.9438978128928657</c:v>
                </c:pt>
                <c:pt idx="8127">
                  <c:v>5.9921581484006454</c:v>
                </c:pt>
                <c:pt idx="8128">
                  <c:v>5.8881775272504653</c:v>
                </c:pt>
                <c:pt idx="8129">
                  <c:v>5.7565987517722279</c:v>
                </c:pt>
                <c:pt idx="8130">
                  <c:v>5.9687435914089386</c:v>
                </c:pt>
                <c:pt idx="8131">
                  <c:v>6.0718310053774518</c:v>
                </c:pt>
                <c:pt idx="8132">
                  <c:v>6.1280884696196347</c:v>
                </c:pt>
                <c:pt idx="8133">
                  <c:v>6.1263775885283565</c:v>
                </c:pt>
                <c:pt idx="8134">
                  <c:v>6.0703187879096872</c:v>
                </c:pt>
                <c:pt idx="8135">
                  <c:v>6.1093937425442348</c:v>
                </c:pt>
                <c:pt idx="8136">
                  <c:v>6.9956888426024015</c:v>
                </c:pt>
                <c:pt idx="8137">
                  <c:v>4.9430146136187716</c:v>
                </c:pt>
                <c:pt idx="8138">
                  <c:v>5.9198378514994099</c:v>
                </c:pt>
                <c:pt idx="8139">
                  <c:v>4.8348883280200896</c:v>
                </c:pt>
                <c:pt idx="8140">
                  <c:v>4.9186771936798532</c:v>
                </c:pt>
                <c:pt idx="8141">
                  <c:v>5.9067330835475831</c:v>
                </c:pt>
                <c:pt idx="8142">
                  <c:v>5.9049656070770986</c:v>
                </c:pt>
                <c:pt idx="8143">
                  <c:v>6.106505499174844</c:v>
                </c:pt>
                <c:pt idx="8144">
                  <c:v>6.0992517848939922</c:v>
                </c:pt>
                <c:pt idx="8145">
                  <c:v>6.0061718248136833</c:v>
                </c:pt>
                <c:pt idx="8146">
                  <c:v>5.9786157391724197</c:v>
                </c:pt>
                <c:pt idx="8147">
                  <c:v>5.9906645249681132</c:v>
                </c:pt>
                <c:pt idx="8148">
                  <c:v>5.0460826980643931</c:v>
                </c:pt>
                <c:pt idx="8149">
                  <c:v>6.0829030847923917</c:v>
                </c:pt>
                <c:pt idx="8150">
                  <c:v>5.0006710585377512</c:v>
                </c:pt>
                <c:pt idx="8151">
                  <c:v>4.8269524801647874</c:v>
                </c:pt>
                <c:pt idx="8152">
                  <c:v>6.0321329107615291</c:v>
                </c:pt>
                <c:pt idx="8153">
                  <c:v>5.7547946016476033</c:v>
                </c:pt>
                <c:pt idx="8154">
                  <c:v>5.9598777331451753</c:v>
                </c:pt>
                <c:pt idx="8155">
                  <c:v>6.0083822047915083</c:v>
                </c:pt>
                <c:pt idx="8156">
                  <c:v>5.910227215066044</c:v>
                </c:pt>
                <c:pt idx="8157">
                  <c:v>6.0454450471810981</c:v>
                </c:pt>
                <c:pt idx="8158">
                  <c:v>5.9603582364644749</c:v>
                </c:pt>
                <c:pt idx="8159">
                  <c:v>5.0569843804955763</c:v>
                </c:pt>
                <c:pt idx="8160">
                  <c:v>5.9530248636761849</c:v>
                </c:pt>
                <c:pt idx="8161">
                  <c:v>5.9720746868879102</c:v>
                </c:pt>
                <c:pt idx="8162">
                  <c:v>5.8698050804659259</c:v>
                </c:pt>
                <c:pt idx="8163">
                  <c:v>6.0597227678078989</c:v>
                </c:pt>
                <c:pt idx="8164">
                  <c:v>5.8153738915140876</c:v>
                </c:pt>
                <c:pt idx="8165">
                  <c:v>4.9397735425159697</c:v>
                </c:pt>
                <c:pt idx="8166">
                  <c:v>4.8878707166319018</c:v>
                </c:pt>
                <c:pt idx="8167">
                  <c:v>6.2405933162851728</c:v>
                </c:pt>
                <c:pt idx="8168">
                  <c:v>5.9981596022624011</c:v>
                </c:pt>
                <c:pt idx="8169">
                  <c:v>4.8685066696453614</c:v>
                </c:pt>
                <c:pt idx="8170">
                  <c:v>6.0942565976855088</c:v>
                </c:pt>
                <c:pt idx="8171">
                  <c:v>5.8792153205149038</c:v>
                </c:pt>
                <c:pt idx="8172">
                  <c:v>4.9146353842264476</c:v>
                </c:pt>
                <c:pt idx="8173">
                  <c:v>5.9448421448270805</c:v>
                </c:pt>
                <c:pt idx="8174">
                  <c:v>5.8030432408994015</c:v>
                </c:pt>
                <c:pt idx="8175">
                  <c:v>5.032682683394512</c:v>
                </c:pt>
                <c:pt idx="8176">
                  <c:v>5.9124389741512688</c:v>
                </c:pt>
                <c:pt idx="8177">
                  <c:v>5.9391811530197938</c:v>
                </c:pt>
                <c:pt idx="8178">
                  <c:v>5.0860693967635848</c:v>
                </c:pt>
                <c:pt idx="8179">
                  <c:v>6.0398992304898655</c:v>
                </c:pt>
                <c:pt idx="8180">
                  <c:v>4.904608129289473</c:v>
                </c:pt>
                <c:pt idx="8181">
                  <c:v>4.764256673428318</c:v>
                </c:pt>
                <c:pt idx="8182">
                  <c:v>5.9100961959753597</c:v>
                </c:pt>
                <c:pt idx="8183">
                  <c:v>5.1220194517134949</c:v>
                </c:pt>
                <c:pt idx="8184">
                  <c:v>4.9909965544247381</c:v>
                </c:pt>
                <c:pt idx="8185">
                  <c:v>4.9295633798305065</c:v>
                </c:pt>
                <c:pt idx="8186">
                  <c:v>4.9907820531071216</c:v>
                </c:pt>
                <c:pt idx="8187">
                  <c:v>6.0325880747518177</c:v>
                </c:pt>
                <c:pt idx="8188">
                  <c:v>7.2179486944092215</c:v>
                </c:pt>
                <c:pt idx="8189">
                  <c:v>4.9740249075810459</c:v>
                </c:pt>
                <c:pt idx="8190">
                  <c:v>4.9662682628268273</c:v>
                </c:pt>
                <c:pt idx="8191">
                  <c:v>6.0098869349748911</c:v>
                </c:pt>
                <c:pt idx="8192">
                  <c:v>4.9865627725461943</c:v>
                </c:pt>
                <c:pt idx="8193">
                  <c:v>6.0467166554666933</c:v>
                </c:pt>
                <c:pt idx="8194">
                  <c:v>5.8968680098165107</c:v>
                </c:pt>
                <c:pt idx="8195">
                  <c:v>5.040402956007517</c:v>
                </c:pt>
                <c:pt idx="8196">
                  <c:v>6.0192905753027039</c:v>
                </c:pt>
                <c:pt idx="8197">
                  <c:v>5.097263537664479</c:v>
                </c:pt>
                <c:pt idx="8198">
                  <c:v>6.0690630351618378</c:v>
                </c:pt>
                <c:pt idx="8199">
                  <c:v>5.9812481415622161</c:v>
                </c:pt>
                <c:pt idx="8200">
                  <c:v>5.0781770557585011</c:v>
                </c:pt>
                <c:pt idx="8201">
                  <c:v>5.0495737649288062</c:v>
                </c:pt>
                <c:pt idx="8202">
                  <c:v>4.9907449616405017</c:v>
                </c:pt>
                <c:pt idx="8203">
                  <c:v>5.1507110521358399</c:v>
                </c:pt>
                <c:pt idx="8204">
                  <c:v>6.054537375681349</c:v>
                </c:pt>
                <c:pt idx="8205">
                  <c:v>5.9476702267007298</c:v>
                </c:pt>
                <c:pt idx="8206">
                  <c:v>5.100329931350597</c:v>
                </c:pt>
                <c:pt idx="8207">
                  <c:v>6.2328641441076353</c:v>
                </c:pt>
                <c:pt idx="8208">
                  <c:v>6.1263379078968789</c:v>
                </c:pt>
                <c:pt idx="8209">
                  <c:v>6.094725728786889</c:v>
                </c:pt>
                <c:pt idx="8210">
                  <c:v>6.0360472190682586</c:v>
                </c:pt>
                <c:pt idx="8211">
                  <c:v>5.0157754672527686</c:v>
                </c:pt>
                <c:pt idx="8212">
                  <c:v>5.9463681327948015</c:v>
                </c:pt>
                <c:pt idx="8213">
                  <c:v>6.1156956673155527</c:v>
                </c:pt>
                <c:pt idx="8214">
                  <c:v>5.1944726725525836</c:v>
                </c:pt>
                <c:pt idx="8215">
                  <c:v>5.0790797571933295</c:v>
                </c:pt>
                <c:pt idx="8216">
                  <c:v>4.9293368945884648</c:v>
                </c:pt>
                <c:pt idx="8217">
                  <c:v>5.9311707622414858</c:v>
                </c:pt>
                <c:pt idx="8218">
                  <c:v>5.0188787923512894</c:v>
                </c:pt>
                <c:pt idx="8219">
                  <c:v>6.0461678928232114</c:v>
                </c:pt>
                <c:pt idx="8220">
                  <c:v>5.9901284844169727</c:v>
                </c:pt>
                <c:pt idx="8221">
                  <c:v>4.9284237696646835</c:v>
                </c:pt>
                <c:pt idx="8222">
                  <c:v>6.0946572272494857</c:v>
                </c:pt>
                <c:pt idx="8223">
                  <c:v>6.0483821877249273</c:v>
                </c:pt>
                <c:pt idx="8224">
                  <c:v>5.9851741826499669</c:v>
                </c:pt>
                <c:pt idx="8225">
                  <c:v>5.9165015326469836</c:v>
                </c:pt>
                <c:pt idx="8226">
                  <c:v>6.0842123598315778</c:v>
                </c:pt>
                <c:pt idx="8227">
                  <c:v>6.0430405886248142</c:v>
                </c:pt>
                <c:pt idx="8228">
                  <c:v>4.911026440026629</c:v>
                </c:pt>
                <c:pt idx="8229">
                  <c:v>5.958895627314539</c:v>
                </c:pt>
                <c:pt idx="8230">
                  <c:v>5.1864645820328432</c:v>
                </c:pt>
                <c:pt idx="8231">
                  <c:v>6.0034487497914242</c:v>
                </c:pt>
                <c:pt idx="8232">
                  <c:v>6.0631553408018233</c:v>
                </c:pt>
                <c:pt idx="8233">
                  <c:v>5.8628831277313846</c:v>
                </c:pt>
                <c:pt idx="8234">
                  <c:v>5.0634113707084918</c:v>
                </c:pt>
                <c:pt idx="8235">
                  <c:v>5.0310102038034374</c:v>
                </c:pt>
                <c:pt idx="8236">
                  <c:v>6.1918128142829723</c:v>
                </c:pt>
                <c:pt idx="8237">
                  <c:v>4.8917310659648106</c:v>
                </c:pt>
                <c:pt idx="8238">
                  <c:v>6.0480474972863894</c:v>
                </c:pt>
                <c:pt idx="8239">
                  <c:v>5.946405341835467</c:v>
                </c:pt>
                <c:pt idx="8240">
                  <c:v>5.876500525274535</c:v>
                </c:pt>
                <c:pt idx="8241">
                  <c:v>5.9201680616259686</c:v>
                </c:pt>
                <c:pt idx="8242">
                  <c:v>5.0488812257157107</c:v>
                </c:pt>
                <c:pt idx="8243">
                  <c:v>4.7266201043418139</c:v>
                </c:pt>
                <c:pt idx="8244">
                  <c:v>5.8111155664205008</c:v>
                </c:pt>
                <c:pt idx="8245">
                  <c:v>4.1482514212975055</c:v>
                </c:pt>
                <c:pt idx="8246">
                  <c:v>4.0122261433336641</c:v>
                </c:pt>
                <c:pt idx="8247">
                  <c:v>6.003148236492355</c:v>
                </c:pt>
                <c:pt idx="8248">
                  <c:v>5.9691457972555533</c:v>
                </c:pt>
                <c:pt idx="8249">
                  <c:v>5.0501641303270093</c:v>
                </c:pt>
                <c:pt idx="8250">
                  <c:v>5.9520158963642986</c:v>
                </c:pt>
                <c:pt idx="8251">
                  <c:v>5.1849790241906062</c:v>
                </c:pt>
                <c:pt idx="8252">
                  <c:v>5.0115783071063618</c:v>
                </c:pt>
                <c:pt idx="8253">
                  <c:v>5.8678694281858039</c:v>
                </c:pt>
                <c:pt idx="8254">
                  <c:v>5.8720064276839814</c:v>
                </c:pt>
                <c:pt idx="8255">
                  <c:v>5.2137908156677826</c:v>
                </c:pt>
                <c:pt idx="8256">
                  <c:v>5.0350829384199942</c:v>
                </c:pt>
                <c:pt idx="8257">
                  <c:v>5.8636652601549653</c:v>
                </c:pt>
                <c:pt idx="8258">
                  <c:v>5.818695341745574</c:v>
                </c:pt>
                <c:pt idx="8259">
                  <c:v>4.9033782786807736</c:v>
                </c:pt>
                <c:pt idx="8260">
                  <c:v>4.0393971943777967</c:v>
                </c:pt>
                <c:pt idx="8261">
                  <c:v>6.0644225132040379</c:v>
                </c:pt>
                <c:pt idx="8262">
                  <c:v>6.1438933647748222</c:v>
                </c:pt>
                <c:pt idx="8263">
                  <c:v>6.0463823725751267</c:v>
                </c:pt>
                <c:pt idx="8264">
                  <c:v>5.8830659571901966</c:v>
                </c:pt>
                <c:pt idx="8265">
                  <c:v>5.8410328924676325</c:v>
                </c:pt>
                <c:pt idx="8266">
                  <c:v>5.96130281973526</c:v>
                </c:pt>
                <c:pt idx="8267">
                  <c:v>5.0415619082817633</c:v>
                </c:pt>
                <c:pt idx="8268">
                  <c:v>6.0494498827466971</c:v>
                </c:pt>
                <c:pt idx="8269">
                  <c:v>6.1677685535614559</c:v>
                </c:pt>
                <c:pt idx="8270">
                  <c:v>5.8535702375880794</c:v>
                </c:pt>
                <c:pt idx="8271">
                  <c:v>4.9673988421211019</c:v>
                </c:pt>
                <c:pt idx="8272">
                  <c:v>4.97133233384295</c:v>
                </c:pt>
                <c:pt idx="8273">
                  <c:v>6.1002739073194894</c:v>
                </c:pt>
                <c:pt idx="8274">
                  <c:v>5.0316711268377787</c:v>
                </c:pt>
                <c:pt idx="8275">
                  <c:v>6.1068385069814548</c:v>
                </c:pt>
                <c:pt idx="8276">
                  <c:v>5.9848925757840039</c:v>
                </c:pt>
                <c:pt idx="8277">
                  <c:v>5.0135651355036224</c:v>
                </c:pt>
                <c:pt idx="8278">
                  <c:v>5.024766194592841</c:v>
                </c:pt>
                <c:pt idx="8279">
                  <c:v>5.1050734958804513</c:v>
                </c:pt>
                <c:pt idx="8280">
                  <c:v>5.1609417593945359</c:v>
                </c:pt>
                <c:pt idx="8281">
                  <c:v>6.1166310828816224</c:v>
                </c:pt>
                <c:pt idx="8282">
                  <c:v>4.8626522355762463</c:v>
                </c:pt>
                <c:pt idx="8283">
                  <c:v>5.0715067121670909</c:v>
                </c:pt>
                <c:pt idx="8284">
                  <c:v>5.7789965030666961</c:v>
                </c:pt>
                <c:pt idx="8285">
                  <c:v>5.0989052283168448</c:v>
                </c:pt>
                <c:pt idx="8286">
                  <c:v>4.9170142902864304</c:v>
                </c:pt>
                <c:pt idx="8287">
                  <c:v>4.9577807065437698</c:v>
                </c:pt>
                <c:pt idx="8288">
                  <c:v>5.0242006413757743</c:v>
                </c:pt>
                <c:pt idx="8289">
                  <c:v>6.0213224184235425</c:v>
                </c:pt>
                <c:pt idx="8290">
                  <c:v>4.8825302067582372</c:v>
                </c:pt>
                <c:pt idx="8291">
                  <c:v>5.9030545433257684</c:v>
                </c:pt>
                <c:pt idx="8292">
                  <c:v>6.1234618066004822</c:v>
                </c:pt>
                <c:pt idx="8293">
                  <c:v>5.1799468447858414</c:v>
                </c:pt>
                <c:pt idx="8294">
                  <c:v>5.9844061091931913</c:v>
                </c:pt>
                <c:pt idx="8295">
                  <c:v>5.9582434234595372</c:v>
                </c:pt>
                <c:pt idx="8296">
                  <c:v>6.0015556070329552</c:v>
                </c:pt>
                <c:pt idx="8297">
                  <c:v>5.051658498888445</c:v>
                </c:pt>
                <c:pt idx="8298">
                  <c:v>6.0551983495171227</c:v>
                </c:pt>
                <c:pt idx="8299">
                  <c:v>5.9084901086752044</c:v>
                </c:pt>
                <c:pt idx="8300">
                  <c:v>6.013264889790146</c:v>
                </c:pt>
                <c:pt idx="8301">
                  <c:v>4.9672084245554924</c:v>
                </c:pt>
                <c:pt idx="8302">
                  <c:v>6.105318656117185</c:v>
                </c:pt>
                <c:pt idx="8303">
                  <c:v>4.8299799287929819</c:v>
                </c:pt>
                <c:pt idx="8304">
                  <c:v>5.9539672335043923</c:v>
                </c:pt>
                <c:pt idx="8305">
                  <c:v>5.9407180713997771</c:v>
                </c:pt>
                <c:pt idx="8306">
                  <c:v>5.967362267512474</c:v>
                </c:pt>
                <c:pt idx="8307">
                  <c:v>6.1073168377391482</c:v>
                </c:pt>
                <c:pt idx="8308">
                  <c:v>6.0439293800480671</c:v>
                </c:pt>
                <c:pt idx="8309">
                  <c:v>5.0856822302436955</c:v>
                </c:pt>
                <c:pt idx="8310">
                  <c:v>6.117597844525787</c:v>
                </c:pt>
                <c:pt idx="8311">
                  <c:v>6.0164310011198632</c:v>
                </c:pt>
                <c:pt idx="8312">
                  <c:v>5.8508676929645187</c:v>
                </c:pt>
                <c:pt idx="8313">
                  <c:v>5.8022920076577478</c:v>
                </c:pt>
                <c:pt idx="8314">
                  <c:v>5.931631699864389</c:v>
                </c:pt>
                <c:pt idx="8315">
                  <c:v>5.949405970956259</c:v>
                </c:pt>
                <c:pt idx="8316">
                  <c:v>5.9088711276544839</c:v>
                </c:pt>
                <c:pt idx="8317">
                  <c:v>6.0890816909857994</c:v>
                </c:pt>
                <c:pt idx="8318">
                  <c:v>5.9191895994764208</c:v>
                </c:pt>
                <c:pt idx="8319">
                  <c:v>6.0360569296687689</c:v>
                </c:pt>
                <c:pt idx="8320">
                  <c:v>5.1274816528701637</c:v>
                </c:pt>
                <c:pt idx="8321">
                  <c:v>6.1150311934382913</c:v>
                </c:pt>
                <c:pt idx="8322">
                  <c:v>5.9721212366262506</c:v>
                </c:pt>
                <c:pt idx="8323">
                  <c:v>6.0057748080642686</c:v>
                </c:pt>
                <c:pt idx="8324">
                  <c:v>4.9975830533018764</c:v>
                </c:pt>
                <c:pt idx="8325">
                  <c:v>6.0439514867112818</c:v>
                </c:pt>
                <c:pt idx="8326">
                  <c:v>5.0254827994075741</c:v>
                </c:pt>
                <c:pt idx="8327">
                  <c:v>4.956823509775349</c:v>
                </c:pt>
                <c:pt idx="8328">
                  <c:v>6.0628524548768352</c:v>
                </c:pt>
                <c:pt idx="8329">
                  <c:v>6.0775040631188748</c:v>
                </c:pt>
                <c:pt idx="8330">
                  <c:v>5.9807209211017591</c:v>
                </c:pt>
                <c:pt idx="8331">
                  <c:v>5.9421818775043906</c:v>
                </c:pt>
                <c:pt idx="8332">
                  <c:v>5.0383285633740353</c:v>
                </c:pt>
                <c:pt idx="8333">
                  <c:v>6.0695997423545762</c:v>
                </c:pt>
                <c:pt idx="8334">
                  <c:v>4.8745859031639442</c:v>
                </c:pt>
                <c:pt idx="8335">
                  <c:v>6.0604479351890008</c:v>
                </c:pt>
                <c:pt idx="8336">
                  <c:v>5.9977071601793321</c:v>
                </c:pt>
                <c:pt idx="8337">
                  <c:v>5.9722255779114812</c:v>
                </c:pt>
                <c:pt idx="8338">
                  <c:v>6.9024080080011263</c:v>
                </c:pt>
                <c:pt idx="8339">
                  <c:v>6.9969282137367692</c:v>
                </c:pt>
                <c:pt idx="8340">
                  <c:v>5.0854687191025079</c:v>
                </c:pt>
                <c:pt idx="8341">
                  <c:v>5.0836999098375966</c:v>
                </c:pt>
                <c:pt idx="8342">
                  <c:v>4.969528669710396</c:v>
                </c:pt>
                <c:pt idx="8343">
                  <c:v>6.0352003377394166</c:v>
                </c:pt>
                <c:pt idx="8344">
                  <c:v>6.0824570544468948</c:v>
                </c:pt>
                <c:pt idx="8345">
                  <c:v>5.8829840238564213</c:v>
                </c:pt>
                <c:pt idx="8346">
                  <c:v>4.9574405744097474</c:v>
                </c:pt>
                <c:pt idx="8347">
                  <c:v>5.0755658515817936</c:v>
                </c:pt>
                <c:pt idx="8348">
                  <c:v>4.855259562307503</c:v>
                </c:pt>
                <c:pt idx="8349">
                  <c:v>6.0217987549128207</c:v>
                </c:pt>
                <c:pt idx="8350">
                  <c:v>5.9988297856030526</c:v>
                </c:pt>
                <c:pt idx="8351">
                  <c:v>5.1563048799378297</c:v>
                </c:pt>
                <c:pt idx="8352">
                  <c:v>5.9433938649393978</c:v>
                </c:pt>
                <c:pt idx="8353">
                  <c:v>6.9076510770513284</c:v>
                </c:pt>
                <c:pt idx="8354">
                  <c:v>5.8075171840040998</c:v>
                </c:pt>
                <c:pt idx="8355">
                  <c:v>6.0315544958587406</c:v>
                </c:pt>
                <c:pt idx="8356">
                  <c:v>5.0145011329794205</c:v>
                </c:pt>
                <c:pt idx="8357">
                  <c:v>6.9039166881478806</c:v>
                </c:pt>
                <c:pt idx="8358">
                  <c:v>6.0250203006964869</c:v>
                </c:pt>
                <c:pt idx="8359">
                  <c:v>8.0161164405713379</c:v>
                </c:pt>
                <c:pt idx="8360">
                  <c:v>6.0818031036852167</c:v>
                </c:pt>
                <c:pt idx="8361">
                  <c:v>4.887499664302025</c:v>
                </c:pt>
                <c:pt idx="8362">
                  <c:v>6.9313795523005615</c:v>
                </c:pt>
                <c:pt idx="8363">
                  <c:v>6.0170371838727208</c:v>
                </c:pt>
                <c:pt idx="8364">
                  <c:v>7.0802126012999738</c:v>
                </c:pt>
                <c:pt idx="8365">
                  <c:v>6.9951577281652995</c:v>
                </c:pt>
                <c:pt idx="8366">
                  <c:v>6.071619013429034</c:v>
                </c:pt>
                <c:pt idx="8367">
                  <c:v>4.9997021008144129</c:v>
                </c:pt>
                <c:pt idx="8368">
                  <c:v>4.9358564833773855</c:v>
                </c:pt>
                <c:pt idx="8369">
                  <c:v>5.0085878066907243</c:v>
                </c:pt>
                <c:pt idx="8370">
                  <c:v>6.0573320435501712</c:v>
                </c:pt>
                <c:pt idx="8371">
                  <c:v>7.1684966737004334</c:v>
                </c:pt>
                <c:pt idx="8372">
                  <c:v>5.0361709448734029</c:v>
                </c:pt>
                <c:pt idx="8373">
                  <c:v>4.9571715278883284</c:v>
                </c:pt>
                <c:pt idx="8374">
                  <c:v>5.1010918992442944</c:v>
                </c:pt>
                <c:pt idx="8375">
                  <c:v>6.0700602808607513</c:v>
                </c:pt>
                <c:pt idx="8376">
                  <c:v>4.9655565332498925</c:v>
                </c:pt>
                <c:pt idx="8377">
                  <c:v>6.0193835910008016</c:v>
                </c:pt>
                <c:pt idx="8378">
                  <c:v>5.0684851902165144</c:v>
                </c:pt>
                <c:pt idx="8379">
                  <c:v>4.8966370182114938</c:v>
                </c:pt>
                <c:pt idx="8380">
                  <c:v>6.0697033374230216</c:v>
                </c:pt>
                <c:pt idx="8381">
                  <c:v>5.0883686542445483</c:v>
                </c:pt>
                <c:pt idx="8382">
                  <c:v>6.1399870846551057</c:v>
                </c:pt>
                <c:pt idx="8383">
                  <c:v>6.1251094145456584</c:v>
                </c:pt>
                <c:pt idx="8384">
                  <c:v>4.9048432884000013</c:v>
                </c:pt>
                <c:pt idx="8385">
                  <c:v>4.8555876780388694</c:v>
                </c:pt>
                <c:pt idx="8386">
                  <c:v>4.9647016245847926</c:v>
                </c:pt>
                <c:pt idx="8387">
                  <c:v>5.9248180438453373</c:v>
                </c:pt>
                <c:pt idx="8388">
                  <c:v>6.0888091189287605</c:v>
                </c:pt>
                <c:pt idx="8389">
                  <c:v>5.0133356290977638</c:v>
                </c:pt>
                <c:pt idx="8390">
                  <c:v>6.9417349596007876</c:v>
                </c:pt>
                <c:pt idx="8391">
                  <c:v>4.8515676300715755</c:v>
                </c:pt>
                <c:pt idx="8392">
                  <c:v>5.9272430818461261</c:v>
                </c:pt>
                <c:pt idx="8393">
                  <c:v>6.168473760751513</c:v>
                </c:pt>
                <c:pt idx="8394">
                  <c:v>6.0719374331200013</c:v>
                </c:pt>
                <c:pt idx="8395">
                  <c:v>4.8745712287886676</c:v>
                </c:pt>
                <c:pt idx="8396">
                  <c:v>6.0519987591805231</c:v>
                </c:pt>
                <c:pt idx="8397">
                  <c:v>5.8966476579568363</c:v>
                </c:pt>
                <c:pt idx="8398">
                  <c:v>5.0537601494910449</c:v>
                </c:pt>
                <c:pt idx="8399">
                  <c:v>5.869660044806853</c:v>
                </c:pt>
                <c:pt idx="8400">
                  <c:v>5.0476927604804533</c:v>
                </c:pt>
                <c:pt idx="8401">
                  <c:v>4.8925944082996526</c:v>
                </c:pt>
                <c:pt idx="8402">
                  <c:v>5.0608333113695778</c:v>
                </c:pt>
                <c:pt idx="8403">
                  <c:v>5.0720184712918002</c:v>
                </c:pt>
                <c:pt idx="8404">
                  <c:v>5.135206977691154</c:v>
                </c:pt>
                <c:pt idx="8405">
                  <c:v>4.8679321091712149</c:v>
                </c:pt>
                <c:pt idx="8406">
                  <c:v>5.9523994092156709</c:v>
                </c:pt>
                <c:pt idx="8407">
                  <c:v>6.9399706974514688</c:v>
                </c:pt>
                <c:pt idx="8408">
                  <c:v>4.8810406388235243</c:v>
                </c:pt>
                <c:pt idx="8409">
                  <c:v>4.0835238100977529</c:v>
                </c:pt>
                <c:pt idx="8410">
                  <c:v>6.1266137160839236</c:v>
                </c:pt>
                <c:pt idx="8411">
                  <c:v>4.8689226380245181</c:v>
                </c:pt>
                <c:pt idx="8412">
                  <c:v>5.1828659883277526</c:v>
                </c:pt>
                <c:pt idx="8413">
                  <c:v>6.0145644683084649</c:v>
                </c:pt>
                <c:pt idx="8414">
                  <c:v>4.950551457549258</c:v>
                </c:pt>
                <c:pt idx="8415">
                  <c:v>6.1397933507809963</c:v>
                </c:pt>
                <c:pt idx="8416">
                  <c:v>6.2964407290617856</c:v>
                </c:pt>
                <c:pt idx="8417">
                  <c:v>4.7992066709613272</c:v>
                </c:pt>
                <c:pt idx="8418">
                  <c:v>3.8900535100390088</c:v>
                </c:pt>
                <c:pt idx="8419">
                  <c:v>6.0262754214102596</c:v>
                </c:pt>
                <c:pt idx="8420">
                  <c:v>5.1181390666565934</c:v>
                </c:pt>
                <c:pt idx="8421">
                  <c:v>7.0463807044342603</c:v>
                </c:pt>
                <c:pt idx="8422">
                  <c:v>5.7584213857241373</c:v>
                </c:pt>
                <c:pt idx="8423">
                  <c:v>6.1694250196514204</c:v>
                </c:pt>
                <c:pt idx="8424">
                  <c:v>4.8148200524877822</c:v>
                </c:pt>
                <c:pt idx="8425">
                  <c:v>6.1179431868459977</c:v>
                </c:pt>
                <c:pt idx="8426">
                  <c:v>5.9915284794755772</c:v>
                </c:pt>
                <c:pt idx="8427">
                  <c:v>5.0375538454487296</c:v>
                </c:pt>
                <c:pt idx="8428">
                  <c:v>5.9969964335425425</c:v>
                </c:pt>
                <c:pt idx="8429">
                  <c:v>5.0200375829902484</c:v>
                </c:pt>
                <c:pt idx="8430">
                  <c:v>4.8271393110258751</c:v>
                </c:pt>
                <c:pt idx="8431">
                  <c:v>5.9000294575267445</c:v>
                </c:pt>
                <c:pt idx="8432">
                  <c:v>6.7260455885067945</c:v>
                </c:pt>
                <c:pt idx="8433">
                  <c:v>5.8692210628372976</c:v>
                </c:pt>
                <c:pt idx="8434">
                  <c:v>5.8629277314924177</c:v>
                </c:pt>
                <c:pt idx="8435">
                  <c:v>5.0863783258574067</c:v>
                </c:pt>
                <c:pt idx="8436">
                  <c:v>5.1573212273245135</c:v>
                </c:pt>
                <c:pt idx="8437">
                  <c:v>4.9844936186214701</c:v>
                </c:pt>
                <c:pt idx="8438">
                  <c:v>4.7816578483354952</c:v>
                </c:pt>
                <c:pt idx="8439">
                  <c:v>5.9539730228955516</c:v>
                </c:pt>
                <c:pt idx="8440">
                  <c:v>7.0280855185936204</c:v>
                </c:pt>
                <c:pt idx="8441">
                  <c:v>5.0759769188738488</c:v>
                </c:pt>
                <c:pt idx="8442">
                  <c:v>4.947753908883727</c:v>
                </c:pt>
                <c:pt idx="8443">
                  <c:v>5.9164175743795191</c:v>
                </c:pt>
                <c:pt idx="8444">
                  <c:v>7.199007151072661</c:v>
                </c:pt>
                <c:pt idx="8445">
                  <c:v>6.1028715367883128</c:v>
                </c:pt>
                <c:pt idx="8446">
                  <c:v>4.9955977220519605</c:v>
                </c:pt>
                <c:pt idx="8447">
                  <c:v>5.0222017825431138</c:v>
                </c:pt>
                <c:pt idx="8448">
                  <c:v>4.9746747784339789</c:v>
                </c:pt>
                <c:pt idx="8449">
                  <c:v>6.8755659079461298</c:v>
                </c:pt>
                <c:pt idx="8450">
                  <c:v>4.9794241876066163</c:v>
                </c:pt>
                <c:pt idx="8451">
                  <c:v>4.9478154039826565</c:v>
                </c:pt>
                <c:pt idx="8452">
                  <c:v>6.0380318387086884</c:v>
                </c:pt>
                <c:pt idx="8453">
                  <c:v>5.9862745519037572</c:v>
                </c:pt>
                <c:pt idx="8454">
                  <c:v>4.9972658301704822</c:v>
                </c:pt>
                <c:pt idx="8455">
                  <c:v>7.089927392172056</c:v>
                </c:pt>
                <c:pt idx="8456">
                  <c:v>6.0247190277757534</c:v>
                </c:pt>
                <c:pt idx="8457">
                  <c:v>4.9986548256221939</c:v>
                </c:pt>
                <c:pt idx="8458">
                  <c:v>4.8390491097120689</c:v>
                </c:pt>
                <c:pt idx="8459">
                  <c:v>6.035716122251011</c:v>
                </c:pt>
                <c:pt idx="8460">
                  <c:v>5.0861412904923373</c:v>
                </c:pt>
                <c:pt idx="8461">
                  <c:v>5.9174921500095747</c:v>
                </c:pt>
                <c:pt idx="8462">
                  <c:v>5.9056484856872711</c:v>
                </c:pt>
                <c:pt idx="8463">
                  <c:v>5.0112023051003574</c:v>
                </c:pt>
                <c:pt idx="8464">
                  <c:v>5.9220935369785703</c:v>
                </c:pt>
                <c:pt idx="8465">
                  <c:v>5.9411351653439173</c:v>
                </c:pt>
                <c:pt idx="8466">
                  <c:v>6.0728718591076642</c:v>
                </c:pt>
                <c:pt idx="8467">
                  <c:v>6.0901143526020851</c:v>
                </c:pt>
                <c:pt idx="8468">
                  <c:v>4.99477461420806</c:v>
                </c:pt>
                <c:pt idx="8469">
                  <c:v>6.9704571303990672</c:v>
                </c:pt>
                <c:pt idx="8470">
                  <c:v>4.8916165522427457</c:v>
                </c:pt>
                <c:pt idx="8471">
                  <c:v>5.957532193915867</c:v>
                </c:pt>
                <c:pt idx="8472">
                  <c:v>5.0945851061254164</c:v>
                </c:pt>
                <c:pt idx="8473">
                  <c:v>4.8957330816301399</c:v>
                </c:pt>
                <c:pt idx="8474">
                  <c:v>7.2480247429899567</c:v>
                </c:pt>
                <c:pt idx="8475">
                  <c:v>5.0032820114672205</c:v>
                </c:pt>
                <c:pt idx="8476">
                  <c:v>5.1760114915091036</c:v>
                </c:pt>
                <c:pt idx="8477">
                  <c:v>4.8531420505292697</c:v>
                </c:pt>
                <c:pt idx="8478">
                  <c:v>5.9059235605526563</c:v>
                </c:pt>
                <c:pt idx="8479">
                  <c:v>6.8915612739229202</c:v>
                </c:pt>
                <c:pt idx="8480">
                  <c:v>6.057426405132956</c:v>
                </c:pt>
                <c:pt idx="8481">
                  <c:v>5.9952644698700759</c:v>
                </c:pt>
                <c:pt idx="8482">
                  <c:v>6.0542105534794421</c:v>
                </c:pt>
                <c:pt idx="8483">
                  <c:v>5.0348997772733091</c:v>
                </c:pt>
                <c:pt idx="8484">
                  <c:v>5.0052852567145969</c:v>
                </c:pt>
                <c:pt idx="8485">
                  <c:v>4.955046867032725</c:v>
                </c:pt>
                <c:pt idx="8486">
                  <c:v>5.1044850954708707</c:v>
                </c:pt>
                <c:pt idx="8487">
                  <c:v>7.0354745272928536</c:v>
                </c:pt>
                <c:pt idx="8488">
                  <c:v>4.9882410729916522</c:v>
                </c:pt>
                <c:pt idx="8489">
                  <c:v>6.1301897235737721</c:v>
                </c:pt>
                <c:pt idx="8490">
                  <c:v>6.1321000812719682</c:v>
                </c:pt>
                <c:pt idx="8491">
                  <c:v>7.0631491197493759</c:v>
                </c:pt>
                <c:pt idx="8492">
                  <c:v>5.0071907716956581</c:v>
                </c:pt>
                <c:pt idx="8493">
                  <c:v>6.9550331322446617</c:v>
                </c:pt>
                <c:pt idx="8494">
                  <c:v>5.9509086869235883</c:v>
                </c:pt>
                <c:pt idx="8495">
                  <c:v>6.0276186071042925</c:v>
                </c:pt>
                <c:pt idx="8496">
                  <c:v>4.8626922835793449</c:v>
                </c:pt>
                <c:pt idx="8497">
                  <c:v>4.9196893040611211</c:v>
                </c:pt>
                <c:pt idx="8498">
                  <c:v>5.869682086466713</c:v>
                </c:pt>
                <c:pt idx="8499">
                  <c:v>5.8621610564127682</c:v>
                </c:pt>
                <c:pt idx="8500">
                  <c:v>6.065741953203756</c:v>
                </c:pt>
                <c:pt idx="8501">
                  <c:v>5.0894101952771997</c:v>
                </c:pt>
                <c:pt idx="8502">
                  <c:v>6.0100293631448665</c:v>
                </c:pt>
                <c:pt idx="8503">
                  <c:v>5.9338840230283223</c:v>
                </c:pt>
                <c:pt idx="8504">
                  <c:v>5.9480451451567413</c:v>
                </c:pt>
                <c:pt idx="8505">
                  <c:v>5.0253019955808664</c:v>
                </c:pt>
                <c:pt idx="8506">
                  <c:v>6.0494572754017053</c:v>
                </c:pt>
                <c:pt idx="8507">
                  <c:v>7.1222097946486871</c:v>
                </c:pt>
                <c:pt idx="8508">
                  <c:v>5.9829561160198166</c:v>
                </c:pt>
                <c:pt idx="8509">
                  <c:v>5.1580939563460904</c:v>
                </c:pt>
                <c:pt idx="8510">
                  <c:v>5.9887823372651461</c:v>
                </c:pt>
                <c:pt idx="8511">
                  <c:v>4.8725516509146294</c:v>
                </c:pt>
                <c:pt idx="8512">
                  <c:v>4.9569866934828175</c:v>
                </c:pt>
                <c:pt idx="8513">
                  <c:v>5.1396920501312273</c:v>
                </c:pt>
                <c:pt idx="8514">
                  <c:v>5.7491350238568799</c:v>
                </c:pt>
                <c:pt idx="8515">
                  <c:v>5.8316753543084872</c:v>
                </c:pt>
                <c:pt idx="8516">
                  <c:v>5.0139568398412244</c:v>
                </c:pt>
                <c:pt idx="8517">
                  <c:v>5.9483319156801349</c:v>
                </c:pt>
                <c:pt idx="8518">
                  <c:v>5.0520403027584102</c:v>
                </c:pt>
                <c:pt idx="8519">
                  <c:v>5.9394605026246916</c:v>
                </c:pt>
                <c:pt idx="8520">
                  <c:v>5.8122286082138315</c:v>
                </c:pt>
                <c:pt idx="8521">
                  <c:v>5.1053903529855784</c:v>
                </c:pt>
                <c:pt idx="8522">
                  <c:v>5.88093680910346</c:v>
                </c:pt>
                <c:pt idx="8523">
                  <c:v>5.9436708520492232</c:v>
                </c:pt>
                <c:pt idx="8524">
                  <c:v>5.0166028619299121</c:v>
                </c:pt>
                <c:pt idx="8525">
                  <c:v>6.0750062573110943</c:v>
                </c:pt>
                <c:pt idx="8526">
                  <c:v>6.2196592686157999</c:v>
                </c:pt>
                <c:pt idx="8527">
                  <c:v>4.9125818249519391</c:v>
                </c:pt>
                <c:pt idx="8528">
                  <c:v>5.7757698626418783</c:v>
                </c:pt>
                <c:pt idx="8529">
                  <c:v>6.0608404896367079</c:v>
                </c:pt>
                <c:pt idx="8530">
                  <c:v>4.7927533100535715</c:v>
                </c:pt>
                <c:pt idx="8531">
                  <c:v>5.9031604303762384</c:v>
                </c:pt>
                <c:pt idx="8532">
                  <c:v>5.9574479208324247</c:v>
                </c:pt>
                <c:pt idx="8533">
                  <c:v>6.1574503379014285</c:v>
                </c:pt>
                <c:pt idx="8534">
                  <c:v>6.0606048711841209</c:v>
                </c:pt>
                <c:pt idx="8535">
                  <c:v>4.9533925321028613</c:v>
                </c:pt>
                <c:pt idx="8536">
                  <c:v>6.1022201325218486</c:v>
                </c:pt>
                <c:pt idx="8537">
                  <c:v>5.9449770259181278</c:v>
                </c:pt>
                <c:pt idx="8538">
                  <c:v>5.9560696057632425</c:v>
                </c:pt>
                <c:pt idx="8539">
                  <c:v>6.0123837565117757</c:v>
                </c:pt>
                <c:pt idx="8540">
                  <c:v>6.0404503470295925</c:v>
                </c:pt>
                <c:pt idx="8541">
                  <c:v>5.0311850150327979</c:v>
                </c:pt>
                <c:pt idx="8542">
                  <c:v>4.8491887394080715</c:v>
                </c:pt>
                <c:pt idx="8543">
                  <c:v>4.8641093543547393</c:v>
                </c:pt>
                <c:pt idx="8544">
                  <c:v>5.0680399102313398</c:v>
                </c:pt>
                <c:pt idx="8545">
                  <c:v>5.0205058813279742</c:v>
                </c:pt>
                <c:pt idx="8546">
                  <c:v>5.1412044160518153</c:v>
                </c:pt>
                <c:pt idx="8547">
                  <c:v>6.9891059872612127</c:v>
                </c:pt>
                <c:pt idx="8548">
                  <c:v>4.7801500537714041</c:v>
                </c:pt>
                <c:pt idx="8549">
                  <c:v>5.9210586381306953</c:v>
                </c:pt>
                <c:pt idx="8550">
                  <c:v>4.8638144609490226</c:v>
                </c:pt>
                <c:pt idx="8551">
                  <c:v>6.0002482985687422</c:v>
                </c:pt>
                <c:pt idx="8552">
                  <c:v>4.8210883674399492</c:v>
                </c:pt>
                <c:pt idx="8553">
                  <c:v>5.9901104151713014</c:v>
                </c:pt>
                <c:pt idx="8554">
                  <c:v>5.9613952605016634</c:v>
                </c:pt>
                <c:pt idx="8555">
                  <c:v>5.9388808969937132</c:v>
                </c:pt>
                <c:pt idx="8556">
                  <c:v>6.0982607688891086</c:v>
                </c:pt>
                <c:pt idx="8557">
                  <c:v>5.0449442335643857</c:v>
                </c:pt>
                <c:pt idx="8558">
                  <c:v>6.0180041620698255</c:v>
                </c:pt>
                <c:pt idx="8559">
                  <c:v>6.929556398547299</c:v>
                </c:pt>
                <c:pt idx="8560">
                  <c:v>6.8875017197644999</c:v>
                </c:pt>
                <c:pt idx="8561">
                  <c:v>5.9047900510768034</c:v>
                </c:pt>
                <c:pt idx="8562">
                  <c:v>5.9487223407979677</c:v>
                </c:pt>
                <c:pt idx="8563">
                  <c:v>5.7826124510860231</c:v>
                </c:pt>
                <c:pt idx="8564">
                  <c:v>6.0989019644425948</c:v>
                </c:pt>
                <c:pt idx="8565">
                  <c:v>5.7743466377492929</c:v>
                </c:pt>
                <c:pt idx="8566">
                  <c:v>5.1585015571284378</c:v>
                </c:pt>
                <c:pt idx="8567">
                  <c:v>7.0375009328504845</c:v>
                </c:pt>
                <c:pt idx="8568">
                  <c:v>6.0289355628872823</c:v>
                </c:pt>
                <c:pt idx="8569">
                  <c:v>5.017452815858797</c:v>
                </c:pt>
                <c:pt idx="8570">
                  <c:v>6.9290530411709792</c:v>
                </c:pt>
                <c:pt idx="8571">
                  <c:v>5.8184739555928324</c:v>
                </c:pt>
                <c:pt idx="8572">
                  <c:v>5.9809417238868141</c:v>
                </c:pt>
                <c:pt idx="8573">
                  <c:v>6.992131138200353</c:v>
                </c:pt>
                <c:pt idx="8574">
                  <c:v>6.9407033552503181</c:v>
                </c:pt>
                <c:pt idx="8575">
                  <c:v>4.8624676122513586</c:v>
                </c:pt>
                <c:pt idx="8576">
                  <c:v>5.9378672015740301</c:v>
                </c:pt>
                <c:pt idx="8577">
                  <c:v>4.9511479679543617</c:v>
                </c:pt>
                <c:pt idx="8578">
                  <c:v>5.9286127924321299</c:v>
                </c:pt>
                <c:pt idx="8579">
                  <c:v>5.9710268131083311</c:v>
                </c:pt>
                <c:pt idx="8580">
                  <c:v>6.0184441062303442</c:v>
                </c:pt>
                <c:pt idx="8581">
                  <c:v>4.9185985105511421</c:v>
                </c:pt>
                <c:pt idx="8582">
                  <c:v>5.0014592926313179</c:v>
                </c:pt>
                <c:pt idx="8583">
                  <c:v>5.9964212121604978</c:v>
                </c:pt>
                <c:pt idx="8584">
                  <c:v>5.1077308589513892</c:v>
                </c:pt>
                <c:pt idx="8585">
                  <c:v>4.900700139080798</c:v>
                </c:pt>
                <c:pt idx="8586">
                  <c:v>5.9230946453366222</c:v>
                </c:pt>
                <c:pt idx="8587">
                  <c:v>4.9326291169248186</c:v>
                </c:pt>
                <c:pt idx="8588">
                  <c:v>5.9503585484285137</c:v>
                </c:pt>
                <c:pt idx="8589">
                  <c:v>4.9339476640000699</c:v>
                </c:pt>
                <c:pt idx="8590">
                  <c:v>4.8793195426325209</c:v>
                </c:pt>
                <c:pt idx="8591">
                  <c:v>4.8313362975865504</c:v>
                </c:pt>
                <c:pt idx="8592">
                  <c:v>6.0233387591728356</c:v>
                </c:pt>
                <c:pt idx="8593">
                  <c:v>5.9771513796506435</c:v>
                </c:pt>
                <c:pt idx="8594">
                  <c:v>6.1422134121900349</c:v>
                </c:pt>
                <c:pt idx="8595">
                  <c:v>6.0671391626813991</c:v>
                </c:pt>
                <c:pt idx="8596">
                  <c:v>5.8238988564443597</c:v>
                </c:pt>
                <c:pt idx="8597">
                  <c:v>5.9535872782915407</c:v>
                </c:pt>
                <c:pt idx="8598">
                  <c:v>4.8916242614744094</c:v>
                </c:pt>
                <c:pt idx="8599">
                  <c:v>5.0683839218903897</c:v>
                </c:pt>
                <c:pt idx="8600">
                  <c:v>5.0886610095048415</c:v>
                </c:pt>
                <c:pt idx="8601">
                  <c:v>5.868133008005251</c:v>
                </c:pt>
                <c:pt idx="8602">
                  <c:v>4.8752089656322797</c:v>
                </c:pt>
                <c:pt idx="8603">
                  <c:v>4.9801703881267514</c:v>
                </c:pt>
                <c:pt idx="8604">
                  <c:v>5.047379651504845</c:v>
                </c:pt>
                <c:pt idx="8605">
                  <c:v>5.9541885259007961</c:v>
                </c:pt>
                <c:pt idx="8606">
                  <c:v>6.0847925033940298</c:v>
                </c:pt>
                <c:pt idx="8607">
                  <c:v>6.1556174026480823</c:v>
                </c:pt>
                <c:pt idx="8608">
                  <c:v>5.9962602955619992</c:v>
                </c:pt>
                <c:pt idx="8609">
                  <c:v>4.7409337947665042</c:v>
                </c:pt>
                <c:pt idx="8610">
                  <c:v>5.0173343509421207</c:v>
                </c:pt>
                <c:pt idx="8611">
                  <c:v>5.9509534591893782</c:v>
                </c:pt>
                <c:pt idx="8612">
                  <c:v>6.0307781490331331</c:v>
                </c:pt>
                <c:pt idx="8613">
                  <c:v>6.1385520830172489</c:v>
                </c:pt>
                <c:pt idx="8614">
                  <c:v>6.0843995555632828</c:v>
                </c:pt>
                <c:pt idx="8615">
                  <c:v>4.9893033416304355</c:v>
                </c:pt>
                <c:pt idx="8616">
                  <c:v>5.993210090426266</c:v>
                </c:pt>
                <c:pt idx="8617">
                  <c:v>5.8275630116927291</c:v>
                </c:pt>
                <c:pt idx="8618">
                  <c:v>6.0822023407569867</c:v>
                </c:pt>
                <c:pt idx="8619">
                  <c:v>6.2093786217615614</c:v>
                </c:pt>
                <c:pt idx="8620">
                  <c:v>6.0873942007253579</c:v>
                </c:pt>
                <c:pt idx="8621">
                  <c:v>5.958363090853493</c:v>
                </c:pt>
                <c:pt idx="8622">
                  <c:v>6.1819297956984451</c:v>
                </c:pt>
                <c:pt idx="8623">
                  <c:v>5.1545246526787514</c:v>
                </c:pt>
                <c:pt idx="8624">
                  <c:v>6.1228947717505156</c:v>
                </c:pt>
                <c:pt idx="8625">
                  <c:v>3.8705533601701667</c:v>
                </c:pt>
                <c:pt idx="8626">
                  <c:v>5.8907487949490349</c:v>
                </c:pt>
                <c:pt idx="8627">
                  <c:v>3.9581518476929074</c:v>
                </c:pt>
                <c:pt idx="8628">
                  <c:v>4.9973305855970596</c:v>
                </c:pt>
                <c:pt idx="8629">
                  <c:v>4.8562839530065007</c:v>
                </c:pt>
                <c:pt idx="8630">
                  <c:v>6.0342497392589376</c:v>
                </c:pt>
                <c:pt idx="8631">
                  <c:v>5.1444344364263968</c:v>
                </c:pt>
                <c:pt idx="8632">
                  <c:v>5.0135507553576337</c:v>
                </c:pt>
                <c:pt idx="8633">
                  <c:v>5.0184820779842703</c:v>
                </c:pt>
                <c:pt idx="8634">
                  <c:v>5.95528005533897</c:v>
                </c:pt>
                <c:pt idx="8635">
                  <c:v>5.1872344375186108</c:v>
                </c:pt>
                <c:pt idx="8636">
                  <c:v>5.95584709534839</c:v>
                </c:pt>
                <c:pt idx="8637">
                  <c:v>5.9773375249643577</c:v>
                </c:pt>
                <c:pt idx="8638">
                  <c:v>4.9987895675907552</c:v>
                </c:pt>
                <c:pt idx="8639">
                  <c:v>5.0554859135195276</c:v>
                </c:pt>
                <c:pt idx="8640">
                  <c:v>5.1284486106839378</c:v>
                </c:pt>
                <c:pt idx="8641">
                  <c:v>5.9187635528354097</c:v>
                </c:pt>
                <c:pt idx="8642">
                  <c:v>6.0401102575647414</c:v>
                </c:pt>
                <c:pt idx="8643">
                  <c:v>6.2382700098573434</c:v>
                </c:pt>
                <c:pt idx="8644">
                  <c:v>5.9483781355933045</c:v>
                </c:pt>
                <c:pt idx="8645">
                  <c:v>5.92315099886223</c:v>
                </c:pt>
                <c:pt idx="8646">
                  <c:v>6.0536298071858869</c:v>
                </c:pt>
                <c:pt idx="8647">
                  <c:v>4.925184013996037</c:v>
                </c:pt>
                <c:pt idx="8648">
                  <c:v>6.1382335739421396</c:v>
                </c:pt>
                <c:pt idx="8649">
                  <c:v>5.9769882454314143</c:v>
                </c:pt>
                <c:pt idx="8650">
                  <c:v>5.2120347337745265</c:v>
                </c:pt>
                <c:pt idx="8651">
                  <c:v>5.7997625271751474</c:v>
                </c:pt>
                <c:pt idx="8652">
                  <c:v>6.1054279427430345</c:v>
                </c:pt>
                <c:pt idx="8653">
                  <c:v>5.9907758332111962</c:v>
                </c:pt>
                <c:pt idx="8654">
                  <c:v>5.019051008754766</c:v>
                </c:pt>
                <c:pt idx="8655">
                  <c:v>5.0440730930592315</c:v>
                </c:pt>
                <c:pt idx="8656">
                  <c:v>4.9065353737814483</c:v>
                </c:pt>
                <c:pt idx="8657">
                  <c:v>6.0416410880671947</c:v>
                </c:pt>
                <c:pt idx="8658">
                  <c:v>6.0350703922922149</c:v>
                </c:pt>
                <c:pt idx="8659">
                  <c:v>4.9333776203696651</c:v>
                </c:pt>
                <c:pt idx="8660">
                  <c:v>6.2218547562967386</c:v>
                </c:pt>
                <c:pt idx="8661">
                  <c:v>6.0414465260995218</c:v>
                </c:pt>
                <c:pt idx="8662">
                  <c:v>6.0488575517084575</c:v>
                </c:pt>
                <c:pt idx="8663">
                  <c:v>6.0075321424498371</c:v>
                </c:pt>
                <c:pt idx="8664">
                  <c:v>4.9850299860935241</c:v>
                </c:pt>
                <c:pt idx="8665">
                  <c:v>7.07876628249217</c:v>
                </c:pt>
                <c:pt idx="8666">
                  <c:v>5.8820148425571208</c:v>
                </c:pt>
                <c:pt idx="8667">
                  <c:v>6.0431323023552652</c:v>
                </c:pt>
                <c:pt idx="8668">
                  <c:v>5.9143244638126538</c:v>
                </c:pt>
                <c:pt idx="8669">
                  <c:v>6.9478175409705658</c:v>
                </c:pt>
                <c:pt idx="8670">
                  <c:v>6.0543076176858506</c:v>
                </c:pt>
                <c:pt idx="8671">
                  <c:v>5.8653789420236375</c:v>
                </c:pt>
                <c:pt idx="8672">
                  <c:v>5.0893853893104053</c:v>
                </c:pt>
                <c:pt idx="8673">
                  <c:v>5.9073699102402371</c:v>
                </c:pt>
                <c:pt idx="8674">
                  <c:v>4.953087101344833</c:v>
                </c:pt>
                <c:pt idx="8675">
                  <c:v>5.8887192381777806</c:v>
                </c:pt>
                <c:pt idx="8676">
                  <c:v>5.8742626206037682</c:v>
                </c:pt>
                <c:pt idx="8677">
                  <c:v>6.0596234434833969</c:v>
                </c:pt>
                <c:pt idx="8678">
                  <c:v>6.0926463908066228</c:v>
                </c:pt>
                <c:pt idx="8679">
                  <c:v>4.9139183759319272</c:v>
                </c:pt>
                <c:pt idx="8680">
                  <c:v>4.8092725837128043</c:v>
                </c:pt>
                <c:pt idx="8681">
                  <c:v>5.9250031964894827</c:v>
                </c:pt>
                <c:pt idx="8682">
                  <c:v>7.2536942339240156</c:v>
                </c:pt>
                <c:pt idx="8683">
                  <c:v>5.8946551710303803</c:v>
                </c:pt>
                <c:pt idx="8684">
                  <c:v>6.0057955267584582</c:v>
                </c:pt>
                <c:pt idx="8685">
                  <c:v>6.0374484794512151</c:v>
                </c:pt>
                <c:pt idx="8686">
                  <c:v>5.0164125271849951</c:v>
                </c:pt>
                <c:pt idx="8687">
                  <c:v>4.8747725650489082</c:v>
                </c:pt>
                <c:pt idx="8688">
                  <c:v>5.0111548548642428</c:v>
                </c:pt>
                <c:pt idx="8689">
                  <c:v>6.0677613747007477</c:v>
                </c:pt>
                <c:pt idx="8690">
                  <c:v>6.0849809899102691</c:v>
                </c:pt>
                <c:pt idx="8691">
                  <c:v>6.0138145481798766</c:v>
                </c:pt>
                <c:pt idx="8692">
                  <c:v>5.0262065874220339</c:v>
                </c:pt>
                <c:pt idx="8693">
                  <c:v>6.0483182215904439</c:v>
                </c:pt>
                <c:pt idx="8694">
                  <c:v>5.8648152414103825</c:v>
                </c:pt>
                <c:pt idx="8695">
                  <c:v>6.0426848768789707</c:v>
                </c:pt>
                <c:pt idx="8696">
                  <c:v>5.9911409596000977</c:v>
                </c:pt>
                <c:pt idx="8697">
                  <c:v>4.8909034080435969</c:v>
                </c:pt>
                <c:pt idx="8698">
                  <c:v>5.9474943011356602</c:v>
                </c:pt>
                <c:pt idx="8699">
                  <c:v>4.9930257470703516</c:v>
                </c:pt>
                <c:pt idx="8700">
                  <c:v>6.0156267277643183</c:v>
                </c:pt>
                <c:pt idx="8701">
                  <c:v>4.8875072912373918</c:v>
                </c:pt>
                <c:pt idx="8702">
                  <c:v>5.9779436582639915</c:v>
                </c:pt>
                <c:pt idx="8703">
                  <c:v>5.8418072274701096</c:v>
                </c:pt>
                <c:pt idx="8704">
                  <c:v>5.0669583857191967</c:v>
                </c:pt>
                <c:pt idx="8705">
                  <c:v>4.9924745732745981</c:v>
                </c:pt>
                <c:pt idx="8706">
                  <c:v>6.0969154508043495</c:v>
                </c:pt>
                <c:pt idx="8707">
                  <c:v>5.0988492490616215</c:v>
                </c:pt>
                <c:pt idx="8708">
                  <c:v>5.8918431829983273</c:v>
                </c:pt>
                <c:pt idx="8709">
                  <c:v>5.8337357658711886</c:v>
                </c:pt>
                <c:pt idx="8710">
                  <c:v>5.9424382532099731</c:v>
                </c:pt>
                <c:pt idx="8711">
                  <c:v>5.8910263641353255</c:v>
                </c:pt>
                <c:pt idx="8712">
                  <c:v>6.8254504818670556</c:v>
                </c:pt>
                <c:pt idx="8713">
                  <c:v>7.0788322979188747</c:v>
                </c:pt>
                <c:pt idx="8714">
                  <c:v>4.8840959805100219</c:v>
                </c:pt>
                <c:pt idx="8715">
                  <c:v>4.8771433669937148</c:v>
                </c:pt>
                <c:pt idx="8716">
                  <c:v>5.1111986753938536</c:v>
                </c:pt>
                <c:pt idx="8717">
                  <c:v>4.8296682959213983</c:v>
                </c:pt>
                <c:pt idx="8718">
                  <c:v>5.019887631716152</c:v>
                </c:pt>
                <c:pt idx="8719">
                  <c:v>5.862446686844585</c:v>
                </c:pt>
                <c:pt idx="8720">
                  <c:v>5.2247968901342245</c:v>
                </c:pt>
                <c:pt idx="8721">
                  <c:v>5.9803025499358462</c:v>
                </c:pt>
                <c:pt idx="8722">
                  <c:v>5.9979240286093365</c:v>
                </c:pt>
                <c:pt idx="8723">
                  <c:v>5.0025799080902074</c:v>
                </c:pt>
                <c:pt idx="8724">
                  <c:v>5.0287215180118991</c:v>
                </c:pt>
                <c:pt idx="8725">
                  <c:v>6.0740758187940278</c:v>
                </c:pt>
                <c:pt idx="8726">
                  <c:v>5.9899739486462433</c:v>
                </c:pt>
                <c:pt idx="8727">
                  <c:v>6.0811982517110525</c:v>
                </c:pt>
                <c:pt idx="8728">
                  <c:v>6.0828060194702402</c:v>
                </c:pt>
                <c:pt idx="8729">
                  <c:v>4.9520715600068401</c:v>
                </c:pt>
                <c:pt idx="8730">
                  <c:v>5.0866395580895656</c:v>
                </c:pt>
                <c:pt idx="8731">
                  <c:v>4.7938340760952682</c:v>
                </c:pt>
                <c:pt idx="8732">
                  <c:v>5.2833510162991093</c:v>
                </c:pt>
                <c:pt idx="8733">
                  <c:v>4.9470115734526239</c:v>
                </c:pt>
                <c:pt idx="8734">
                  <c:v>6.7908593530327686</c:v>
                </c:pt>
                <c:pt idx="8735">
                  <c:v>5.9405080109278892</c:v>
                </c:pt>
                <c:pt idx="8736">
                  <c:v>5.089007320914579</c:v>
                </c:pt>
                <c:pt idx="8737">
                  <c:v>6.0019491325629222</c:v>
                </c:pt>
                <c:pt idx="8738">
                  <c:v>4.989596858800553</c:v>
                </c:pt>
                <c:pt idx="8739">
                  <c:v>5.0301678715493656</c:v>
                </c:pt>
                <c:pt idx="8740">
                  <c:v>4.9767511993538145</c:v>
                </c:pt>
                <c:pt idx="8741">
                  <c:v>6.0474088616342714</c:v>
                </c:pt>
                <c:pt idx="8742">
                  <c:v>6.042191388702947</c:v>
                </c:pt>
                <c:pt idx="8743">
                  <c:v>5.9217643426612669</c:v>
                </c:pt>
                <c:pt idx="8744">
                  <c:v>6.1419457391407812</c:v>
                </c:pt>
                <c:pt idx="8745">
                  <c:v>5.0444963002974266</c:v>
                </c:pt>
                <c:pt idx="8746">
                  <c:v>5.9306631129215663</c:v>
                </c:pt>
                <c:pt idx="8747">
                  <c:v>5.9132623569798906</c:v>
                </c:pt>
                <c:pt idx="8748">
                  <c:v>4.9852756042166204</c:v>
                </c:pt>
                <c:pt idx="8749">
                  <c:v>5.8714622415564017</c:v>
                </c:pt>
                <c:pt idx="8750">
                  <c:v>6.2289211797650363</c:v>
                </c:pt>
                <c:pt idx="8751">
                  <c:v>5.9844654473586605</c:v>
                </c:pt>
                <c:pt idx="8752">
                  <c:v>5.9291255170167769</c:v>
                </c:pt>
                <c:pt idx="8753">
                  <c:v>5.8813900876621865</c:v>
                </c:pt>
                <c:pt idx="8754">
                  <c:v>5.1219609232308816</c:v>
                </c:pt>
                <c:pt idx="8755">
                  <c:v>4.9453285543364212</c:v>
                </c:pt>
                <c:pt idx="8756">
                  <c:v>6.0189080672336663</c:v>
                </c:pt>
                <c:pt idx="8757">
                  <c:v>5.9421789078271683</c:v>
                </c:pt>
                <c:pt idx="8758">
                  <c:v>4.8970356979421732</c:v>
                </c:pt>
                <c:pt idx="8759">
                  <c:v>6.8773255983059194</c:v>
                </c:pt>
                <c:pt idx="8760">
                  <c:v>5.9695040710112135</c:v>
                </c:pt>
                <c:pt idx="8761">
                  <c:v>6.14962817211428</c:v>
                </c:pt>
                <c:pt idx="8762">
                  <c:v>4.9819399076926256</c:v>
                </c:pt>
                <c:pt idx="8763">
                  <c:v>5.9652062325366852</c:v>
                </c:pt>
                <c:pt idx="8764">
                  <c:v>5.1624853106710216</c:v>
                </c:pt>
                <c:pt idx="8765">
                  <c:v>4.8096400088246662</c:v>
                </c:pt>
                <c:pt idx="8766">
                  <c:v>3.9514521768821487</c:v>
                </c:pt>
                <c:pt idx="8767">
                  <c:v>5.9764553667764062</c:v>
                </c:pt>
                <c:pt idx="8768">
                  <c:v>4.8735824614327798</c:v>
                </c:pt>
                <c:pt idx="8769">
                  <c:v>4.9811409956019279</c:v>
                </c:pt>
                <c:pt idx="8770">
                  <c:v>6.1105470334615504</c:v>
                </c:pt>
                <c:pt idx="8771">
                  <c:v>3.9865194874625054</c:v>
                </c:pt>
                <c:pt idx="8772">
                  <c:v>6.0771009281107959</c:v>
                </c:pt>
                <c:pt idx="8773">
                  <c:v>5.9516119829768446</c:v>
                </c:pt>
                <c:pt idx="8774">
                  <c:v>5.9055736914106527</c:v>
                </c:pt>
                <c:pt idx="8775">
                  <c:v>4.8780950864683756</c:v>
                </c:pt>
                <c:pt idx="8776">
                  <c:v>5.9083301562604822</c:v>
                </c:pt>
                <c:pt idx="8777">
                  <c:v>4.9785285323346633</c:v>
                </c:pt>
                <c:pt idx="8778">
                  <c:v>6.0024123375132055</c:v>
                </c:pt>
                <c:pt idx="8779">
                  <c:v>5.0007987432760297</c:v>
                </c:pt>
                <c:pt idx="8780">
                  <c:v>5.0235542967704463</c:v>
                </c:pt>
                <c:pt idx="8781">
                  <c:v>5.0163850502131515</c:v>
                </c:pt>
                <c:pt idx="8782">
                  <c:v>4.9655277212367244</c:v>
                </c:pt>
                <c:pt idx="8783">
                  <c:v>4.9767737484589576</c:v>
                </c:pt>
                <c:pt idx="8784">
                  <c:v>5.0433075986582923</c:v>
                </c:pt>
                <c:pt idx="8785">
                  <c:v>5.8762778967960312</c:v>
                </c:pt>
                <c:pt idx="8786">
                  <c:v>5.9488403023061478</c:v>
                </c:pt>
                <c:pt idx="8787">
                  <c:v>5.9338354125328818</c:v>
                </c:pt>
                <c:pt idx="8788">
                  <c:v>4.8764244429576964</c:v>
                </c:pt>
                <c:pt idx="8789">
                  <c:v>6.0174951945037423</c:v>
                </c:pt>
                <c:pt idx="8790">
                  <c:v>5.0000816012209848</c:v>
                </c:pt>
                <c:pt idx="8791">
                  <c:v>4.9472260941439004</c:v>
                </c:pt>
                <c:pt idx="8792">
                  <c:v>4.9847135017627426</c:v>
                </c:pt>
                <c:pt idx="8793">
                  <c:v>5.9794540487672752</c:v>
                </c:pt>
                <c:pt idx="8794">
                  <c:v>4.9555663833733785</c:v>
                </c:pt>
                <c:pt idx="8795">
                  <c:v>5.1570674385942503</c:v>
                </c:pt>
                <c:pt idx="8796">
                  <c:v>5.9055361495689134</c:v>
                </c:pt>
                <c:pt idx="8797">
                  <c:v>5.9442846102463056</c:v>
                </c:pt>
                <c:pt idx="8798">
                  <c:v>6.9097718034336326</c:v>
                </c:pt>
                <c:pt idx="8799">
                  <c:v>4.9738850458537387</c:v>
                </c:pt>
                <c:pt idx="8800">
                  <c:v>7.1488123260203196</c:v>
                </c:pt>
                <c:pt idx="8801">
                  <c:v>5.0148110286032859</c:v>
                </c:pt>
                <c:pt idx="8802">
                  <c:v>4.7627589891861382</c:v>
                </c:pt>
                <c:pt idx="8803">
                  <c:v>5.9389342226757691</c:v>
                </c:pt>
                <c:pt idx="8804">
                  <c:v>4.8427389233569231</c:v>
                </c:pt>
                <c:pt idx="8805">
                  <c:v>4.9874695707112124</c:v>
                </c:pt>
                <c:pt idx="8806">
                  <c:v>5.9324702887995802</c:v>
                </c:pt>
                <c:pt idx="8807">
                  <c:v>5.0338899394662651</c:v>
                </c:pt>
                <c:pt idx="8808">
                  <c:v>5.9986535814607365</c:v>
                </c:pt>
                <c:pt idx="8809">
                  <c:v>6.1318777859512812</c:v>
                </c:pt>
                <c:pt idx="8810">
                  <c:v>5.9113853998333861</c:v>
                </c:pt>
                <c:pt idx="8811">
                  <c:v>5.9756755897666007</c:v>
                </c:pt>
                <c:pt idx="8812">
                  <c:v>5.0792780832426736</c:v>
                </c:pt>
                <c:pt idx="8813">
                  <c:v>6.0417599916649998</c:v>
                </c:pt>
                <c:pt idx="8814">
                  <c:v>5.9030703183784317</c:v>
                </c:pt>
                <c:pt idx="8815">
                  <c:v>5.9503422492765594</c:v>
                </c:pt>
                <c:pt idx="8816">
                  <c:v>5.9384910991733841</c:v>
                </c:pt>
                <c:pt idx="8817">
                  <c:v>5.9851732681532752</c:v>
                </c:pt>
                <c:pt idx="8818">
                  <c:v>5.8637308186117476</c:v>
                </c:pt>
                <c:pt idx="8819">
                  <c:v>4.922462289270964</c:v>
                </c:pt>
                <c:pt idx="8820">
                  <c:v>5.9461232716342538</c:v>
                </c:pt>
                <c:pt idx="8821">
                  <c:v>5.9451500578962282</c:v>
                </c:pt>
                <c:pt idx="8822">
                  <c:v>5.7756854112952611</c:v>
                </c:pt>
                <c:pt idx="8823">
                  <c:v>6.0291624010067375</c:v>
                </c:pt>
                <c:pt idx="8824">
                  <c:v>4.9488761957890652</c:v>
                </c:pt>
                <c:pt idx="8825">
                  <c:v>5.0855262493617781</c:v>
                </c:pt>
                <c:pt idx="8826">
                  <c:v>5.0451390423789997</c:v>
                </c:pt>
                <c:pt idx="8827">
                  <c:v>6.0047467570540194</c:v>
                </c:pt>
                <c:pt idx="8828">
                  <c:v>6.9903749377734536</c:v>
                </c:pt>
                <c:pt idx="8829">
                  <c:v>5.8148885545374212</c:v>
                </c:pt>
                <c:pt idx="8830">
                  <c:v>6.0845163487578064</c:v>
                </c:pt>
                <c:pt idx="8831">
                  <c:v>7.1001252439315081</c:v>
                </c:pt>
                <c:pt idx="8832">
                  <c:v>6.0516677752430432</c:v>
                </c:pt>
                <c:pt idx="8833">
                  <c:v>6.1290077042783286</c:v>
                </c:pt>
                <c:pt idx="8834">
                  <c:v>4.9170744596975871</c:v>
                </c:pt>
                <c:pt idx="8835">
                  <c:v>6.9003431249069545</c:v>
                </c:pt>
                <c:pt idx="8836">
                  <c:v>6.1169456663574486</c:v>
                </c:pt>
                <c:pt idx="8837">
                  <c:v>6.1249253306071383</c:v>
                </c:pt>
                <c:pt idx="8838">
                  <c:v>7.0413649460190939</c:v>
                </c:pt>
                <c:pt idx="8839">
                  <c:v>5.9176359818301174</c:v>
                </c:pt>
                <c:pt idx="8840">
                  <c:v>6.089222413825742</c:v>
                </c:pt>
                <c:pt idx="8841">
                  <c:v>5.8516917490334928</c:v>
                </c:pt>
                <c:pt idx="8842">
                  <c:v>6.0952017437767987</c:v>
                </c:pt>
                <c:pt idx="8843">
                  <c:v>5.1423333258721833</c:v>
                </c:pt>
                <c:pt idx="8844">
                  <c:v>5.8512696556928345</c:v>
                </c:pt>
                <c:pt idx="8845">
                  <c:v>5.882040853108915</c:v>
                </c:pt>
                <c:pt idx="8846">
                  <c:v>6.0113743019529791</c:v>
                </c:pt>
                <c:pt idx="8847">
                  <c:v>7.1677972693278003</c:v>
                </c:pt>
                <c:pt idx="8848">
                  <c:v>6.0858193514792021</c:v>
                </c:pt>
                <c:pt idx="8849">
                  <c:v>5.9959371319028687</c:v>
                </c:pt>
                <c:pt idx="8850">
                  <c:v>6.1362992403759202</c:v>
                </c:pt>
                <c:pt idx="8851">
                  <c:v>6.0727792889163057</c:v>
                </c:pt>
                <c:pt idx="8852">
                  <c:v>6.0340127166132822</c:v>
                </c:pt>
                <c:pt idx="8853">
                  <c:v>5.0145953690920022</c:v>
                </c:pt>
                <c:pt idx="8854">
                  <c:v>5.9196259243851905</c:v>
                </c:pt>
                <c:pt idx="8855">
                  <c:v>6.0544734907731277</c:v>
                </c:pt>
                <c:pt idx="8856">
                  <c:v>5.124451745858984</c:v>
                </c:pt>
                <c:pt idx="8857">
                  <c:v>6.014734416683674</c:v>
                </c:pt>
                <c:pt idx="8858">
                  <c:v>4.9173580279498914</c:v>
                </c:pt>
                <c:pt idx="8859">
                  <c:v>6.0415012241262946</c:v>
                </c:pt>
                <c:pt idx="8860">
                  <c:v>4.9768691952928492</c:v>
                </c:pt>
                <c:pt idx="8861">
                  <c:v>7.1094124461742298</c:v>
                </c:pt>
                <c:pt idx="8862">
                  <c:v>6.0115464950537891</c:v>
                </c:pt>
                <c:pt idx="8863">
                  <c:v>5.9488530065759528</c:v>
                </c:pt>
                <c:pt idx="8864">
                  <c:v>5.9719063917193056</c:v>
                </c:pt>
                <c:pt idx="8865">
                  <c:v>6.0007478693205263</c:v>
                </c:pt>
                <c:pt idx="8866">
                  <c:v>6.0748896904432792</c:v>
                </c:pt>
                <c:pt idx="8867">
                  <c:v>5.0222456969876017</c:v>
                </c:pt>
                <c:pt idx="8868">
                  <c:v>6.8259541991913437</c:v>
                </c:pt>
                <c:pt idx="8869">
                  <c:v>6.0773187723593116</c:v>
                </c:pt>
                <c:pt idx="8870">
                  <c:v>4.9841907464099071</c:v>
                </c:pt>
                <c:pt idx="8871">
                  <c:v>6.0557252123173209</c:v>
                </c:pt>
                <c:pt idx="8872">
                  <c:v>6.1143733224437753</c:v>
                </c:pt>
                <c:pt idx="8873">
                  <c:v>4.8852015096540535</c:v>
                </c:pt>
                <c:pt idx="8874">
                  <c:v>4.9744113984696527</c:v>
                </c:pt>
                <c:pt idx="8875">
                  <c:v>5.0247380749300392</c:v>
                </c:pt>
                <c:pt idx="8876">
                  <c:v>5.9536660448212482</c:v>
                </c:pt>
                <c:pt idx="8877">
                  <c:v>3.7731593052021335</c:v>
                </c:pt>
                <c:pt idx="8878">
                  <c:v>4.9492856658062232</c:v>
                </c:pt>
                <c:pt idx="8879">
                  <c:v>5.884511727460505</c:v>
                </c:pt>
                <c:pt idx="8880">
                  <c:v>4.7732695634732556</c:v>
                </c:pt>
                <c:pt idx="8881">
                  <c:v>4.9495460049118289</c:v>
                </c:pt>
                <c:pt idx="8882">
                  <c:v>5.814169670771097</c:v>
                </c:pt>
                <c:pt idx="8883">
                  <c:v>5.9851635269746177</c:v>
                </c:pt>
                <c:pt idx="8884">
                  <c:v>4.970005070806347</c:v>
                </c:pt>
                <c:pt idx="8885">
                  <c:v>5.9119887568425469</c:v>
                </c:pt>
                <c:pt idx="8886">
                  <c:v>4.9879619844308252</c:v>
                </c:pt>
                <c:pt idx="8887">
                  <c:v>6.0527584674740016</c:v>
                </c:pt>
                <c:pt idx="8888">
                  <c:v>4.9205074383091683</c:v>
                </c:pt>
                <c:pt idx="8889">
                  <c:v>4.9759109246056052</c:v>
                </c:pt>
                <c:pt idx="8890">
                  <c:v>5.8594945212769058</c:v>
                </c:pt>
                <c:pt idx="8891">
                  <c:v>5.9117052231665994</c:v>
                </c:pt>
                <c:pt idx="8892">
                  <c:v>5.2553529260331162</c:v>
                </c:pt>
                <c:pt idx="8893">
                  <c:v>4.9295466371667898</c:v>
                </c:pt>
                <c:pt idx="8894">
                  <c:v>5.9730704102502115</c:v>
                </c:pt>
                <c:pt idx="8895">
                  <c:v>5.9826044478001572</c:v>
                </c:pt>
                <c:pt idx="8896">
                  <c:v>5.9517455366520293</c:v>
                </c:pt>
                <c:pt idx="8897">
                  <c:v>4.925274551524085</c:v>
                </c:pt>
                <c:pt idx="8898">
                  <c:v>4.9215410302816576</c:v>
                </c:pt>
                <c:pt idx="8899">
                  <c:v>4.9782052922835902</c:v>
                </c:pt>
                <c:pt idx="8900">
                  <c:v>4.9896483017292157</c:v>
                </c:pt>
                <c:pt idx="8901">
                  <c:v>5.9592144528115885</c:v>
                </c:pt>
                <c:pt idx="8902">
                  <c:v>6.035931663320584</c:v>
                </c:pt>
                <c:pt idx="8903">
                  <c:v>5.0228795905736101</c:v>
                </c:pt>
                <c:pt idx="8904">
                  <c:v>5.8966881716815447</c:v>
                </c:pt>
                <c:pt idx="8905">
                  <c:v>5.0178998583234646</c:v>
                </c:pt>
                <c:pt idx="8906">
                  <c:v>5.0627986192284027</c:v>
                </c:pt>
                <c:pt idx="8907">
                  <c:v>5.1012396160681384</c:v>
                </c:pt>
                <c:pt idx="8908">
                  <c:v>5.0463285239472269</c:v>
                </c:pt>
                <c:pt idx="8909">
                  <c:v>5.0445349397702639</c:v>
                </c:pt>
                <c:pt idx="8910">
                  <c:v>5.8944307538211484</c:v>
                </c:pt>
                <c:pt idx="8911">
                  <c:v>6.1581320380736431</c:v>
                </c:pt>
                <c:pt idx="8912">
                  <c:v>5.2511537652572819</c:v>
                </c:pt>
                <c:pt idx="8913">
                  <c:v>4.8242575522521296</c:v>
                </c:pt>
                <c:pt idx="8914">
                  <c:v>5.8844403282262912</c:v>
                </c:pt>
                <c:pt idx="8915">
                  <c:v>6.0948884255675333</c:v>
                </c:pt>
                <c:pt idx="8916">
                  <c:v>5.7591658185665198</c:v>
                </c:pt>
                <c:pt idx="8917">
                  <c:v>4.8849090525621168</c:v>
                </c:pt>
                <c:pt idx="8918">
                  <c:v>3.0417316075435705</c:v>
                </c:pt>
                <c:pt idx="8919">
                  <c:v>5.9155937964026037</c:v>
                </c:pt>
                <c:pt idx="8920">
                  <c:v>7.0560297629184454</c:v>
                </c:pt>
                <c:pt idx="8921">
                  <c:v>6.006894109819461</c:v>
                </c:pt>
                <c:pt idx="8922">
                  <c:v>5.9991079180186855</c:v>
                </c:pt>
                <c:pt idx="8923">
                  <c:v>6.8546107272963903</c:v>
                </c:pt>
                <c:pt idx="8924">
                  <c:v>5.9567277552288882</c:v>
                </c:pt>
                <c:pt idx="8925">
                  <c:v>4.9636753677941634</c:v>
                </c:pt>
                <c:pt idx="8926">
                  <c:v>4.953499612636624</c:v>
                </c:pt>
                <c:pt idx="8927">
                  <c:v>4.9335018957274865</c:v>
                </c:pt>
                <c:pt idx="8928">
                  <c:v>5.0489298055190321</c:v>
                </c:pt>
                <c:pt idx="8929">
                  <c:v>5.9308697973986915</c:v>
                </c:pt>
                <c:pt idx="8930">
                  <c:v>5.0141776845996597</c:v>
                </c:pt>
                <c:pt idx="8931">
                  <c:v>4.8832758697018877</c:v>
                </c:pt>
                <c:pt idx="8932">
                  <c:v>5.9573317958476819</c:v>
                </c:pt>
                <c:pt idx="8933">
                  <c:v>5.0916821519332673</c:v>
                </c:pt>
                <c:pt idx="8934">
                  <c:v>6.077790826378223</c:v>
                </c:pt>
                <c:pt idx="8935">
                  <c:v>6.088469353147727</c:v>
                </c:pt>
                <c:pt idx="8936">
                  <c:v>5.1312443981569595</c:v>
                </c:pt>
                <c:pt idx="8937">
                  <c:v>6.908360984075931</c:v>
                </c:pt>
                <c:pt idx="8938">
                  <c:v>6.9531523397983506</c:v>
                </c:pt>
                <c:pt idx="8939">
                  <c:v>7.031109680654378</c:v>
                </c:pt>
                <c:pt idx="8940">
                  <c:v>4.970705741918235</c:v>
                </c:pt>
                <c:pt idx="8941">
                  <c:v>5.925304502303673</c:v>
                </c:pt>
                <c:pt idx="8942">
                  <c:v>7.1378900332705477</c:v>
                </c:pt>
                <c:pt idx="8943">
                  <c:v>4.871879160956599</c:v>
                </c:pt>
                <c:pt idx="8944">
                  <c:v>5.7625875140566398</c:v>
                </c:pt>
                <c:pt idx="8945">
                  <c:v>5.0070813390570255</c:v>
                </c:pt>
                <c:pt idx="8946">
                  <c:v>6.0725648131232042</c:v>
                </c:pt>
                <c:pt idx="8947">
                  <c:v>6.1183700265981154</c:v>
                </c:pt>
                <c:pt idx="8948">
                  <c:v>5.9322675028883234</c:v>
                </c:pt>
                <c:pt idx="8949">
                  <c:v>4.9907387755483468</c:v>
                </c:pt>
                <c:pt idx="8950">
                  <c:v>4.9770265191051344</c:v>
                </c:pt>
                <c:pt idx="8951">
                  <c:v>4.9599199481932157</c:v>
                </c:pt>
                <c:pt idx="8952">
                  <c:v>6.0781585824865072</c:v>
                </c:pt>
                <c:pt idx="8953">
                  <c:v>5.9886525263207773</c:v>
                </c:pt>
                <c:pt idx="8954">
                  <c:v>5.0054920277589812</c:v>
                </c:pt>
                <c:pt idx="8955">
                  <c:v>4.9281136613426462</c:v>
                </c:pt>
                <c:pt idx="8956">
                  <c:v>7.0821504197658163</c:v>
                </c:pt>
                <c:pt idx="8957">
                  <c:v>4.966216283814199</c:v>
                </c:pt>
                <c:pt idx="8958">
                  <c:v>6.0128557944968781</c:v>
                </c:pt>
                <c:pt idx="8959">
                  <c:v>6.0674141852877455</c:v>
                </c:pt>
                <c:pt idx="8960">
                  <c:v>6.0513251425568271</c:v>
                </c:pt>
                <c:pt idx="8961">
                  <c:v>4.8671015293472628</c:v>
                </c:pt>
                <c:pt idx="8962">
                  <c:v>5.9464276931719198</c:v>
                </c:pt>
                <c:pt idx="8963">
                  <c:v>6.0368601487682714</c:v>
                </c:pt>
                <c:pt idx="8964">
                  <c:v>6.8832039055174983</c:v>
                </c:pt>
                <c:pt idx="8965">
                  <c:v>6.0159543404029563</c:v>
                </c:pt>
                <c:pt idx="8966">
                  <c:v>6.0140475133775464</c:v>
                </c:pt>
                <c:pt idx="8967">
                  <c:v>5.9888633133187623</c:v>
                </c:pt>
                <c:pt idx="8968">
                  <c:v>5.0715904250828094</c:v>
                </c:pt>
                <c:pt idx="8969">
                  <c:v>4.7838591717886541</c:v>
                </c:pt>
                <c:pt idx="8970">
                  <c:v>4.9851545340666847</c:v>
                </c:pt>
                <c:pt idx="8971">
                  <c:v>6.1115158433812891</c:v>
                </c:pt>
                <c:pt idx="8972">
                  <c:v>4.9679927744243342</c:v>
                </c:pt>
                <c:pt idx="8973">
                  <c:v>5.0658166108632496</c:v>
                </c:pt>
                <c:pt idx="8974">
                  <c:v>6.0549210265657107</c:v>
                </c:pt>
                <c:pt idx="8975">
                  <c:v>5.2183820477416072</c:v>
                </c:pt>
                <c:pt idx="8976">
                  <c:v>4.9688148387822553</c:v>
                </c:pt>
                <c:pt idx="8977">
                  <c:v>5.0146088687342187</c:v>
                </c:pt>
                <c:pt idx="8978">
                  <c:v>4.9268473372481898</c:v>
                </c:pt>
                <c:pt idx="8979">
                  <c:v>5.1842334780188404</c:v>
                </c:pt>
                <c:pt idx="8980">
                  <c:v>5.1669405561357902</c:v>
                </c:pt>
                <c:pt idx="8981">
                  <c:v>5.9047229703102442</c:v>
                </c:pt>
                <c:pt idx="8982">
                  <c:v>5.0368588159101018</c:v>
                </c:pt>
                <c:pt idx="8983">
                  <c:v>4.866310833770715</c:v>
                </c:pt>
                <c:pt idx="8984">
                  <c:v>4.9372099392479072</c:v>
                </c:pt>
                <c:pt idx="8985">
                  <c:v>5.9365202584549257</c:v>
                </c:pt>
                <c:pt idx="8986">
                  <c:v>4.9714217584653326</c:v>
                </c:pt>
                <c:pt idx="8987">
                  <c:v>5.8505629590717536</c:v>
                </c:pt>
                <c:pt idx="8988">
                  <c:v>5.7993490591359187</c:v>
                </c:pt>
                <c:pt idx="8989">
                  <c:v>5.0344144154934822</c:v>
                </c:pt>
                <c:pt idx="8990">
                  <c:v>5.1957573503055823</c:v>
                </c:pt>
                <c:pt idx="8991">
                  <c:v>4.9399661670928481</c:v>
                </c:pt>
                <c:pt idx="8992">
                  <c:v>4.8953702538380561</c:v>
                </c:pt>
                <c:pt idx="8993">
                  <c:v>4.6775585619286071</c:v>
                </c:pt>
                <c:pt idx="8994">
                  <c:v>4.9320172951500529</c:v>
                </c:pt>
                <c:pt idx="8995">
                  <c:v>4.802303891449915</c:v>
                </c:pt>
                <c:pt idx="8996">
                  <c:v>6.8009559177307848</c:v>
                </c:pt>
                <c:pt idx="8997">
                  <c:v>5.0163778197024298</c:v>
                </c:pt>
                <c:pt idx="8998">
                  <c:v>5.1460270807241573</c:v>
                </c:pt>
                <c:pt idx="8999">
                  <c:v>5.0056660372278987</c:v>
                </c:pt>
                <c:pt idx="9000">
                  <c:v>4.9334224068064279</c:v>
                </c:pt>
                <c:pt idx="9001">
                  <c:v>6.0135375786594389</c:v>
                </c:pt>
                <c:pt idx="9002">
                  <c:v>5.1038324170688378</c:v>
                </c:pt>
                <c:pt idx="9003">
                  <c:v>5.843749744533242</c:v>
                </c:pt>
                <c:pt idx="9004">
                  <c:v>5.0593684138652772</c:v>
                </c:pt>
                <c:pt idx="9005">
                  <c:v>5.0138448025433684</c:v>
                </c:pt>
                <c:pt idx="9006">
                  <c:v>5.0222467990364361</c:v>
                </c:pt>
                <c:pt idx="9007">
                  <c:v>5.0278446683251401</c:v>
                </c:pt>
                <c:pt idx="9008">
                  <c:v>4.8642642547152368</c:v>
                </c:pt>
                <c:pt idx="9009">
                  <c:v>5.126455350658973</c:v>
                </c:pt>
                <c:pt idx="9010">
                  <c:v>6.1348318419311143</c:v>
                </c:pt>
                <c:pt idx="9011">
                  <c:v>4.9308025172380754</c:v>
                </c:pt>
                <c:pt idx="9012">
                  <c:v>6.8756577081345363</c:v>
                </c:pt>
                <c:pt idx="9013">
                  <c:v>5.1872827418810195</c:v>
                </c:pt>
                <c:pt idx="9014">
                  <c:v>6.0149443642299003</c:v>
                </c:pt>
                <c:pt idx="9015">
                  <c:v>5.0438475982134987</c:v>
                </c:pt>
                <c:pt idx="9016">
                  <c:v>5.0538219235693722</c:v>
                </c:pt>
                <c:pt idx="9017">
                  <c:v>4.972951820749242</c:v>
                </c:pt>
                <c:pt idx="9018">
                  <c:v>5.0531168595450948</c:v>
                </c:pt>
                <c:pt idx="9019">
                  <c:v>5.113972343779519</c:v>
                </c:pt>
                <c:pt idx="9020">
                  <c:v>4.9418308381639724</c:v>
                </c:pt>
                <c:pt idx="9021">
                  <c:v>5.0444206134694003</c:v>
                </c:pt>
                <c:pt idx="9022">
                  <c:v>5.2286875612549863</c:v>
                </c:pt>
                <c:pt idx="9023">
                  <c:v>4.9662796145772559</c:v>
                </c:pt>
                <c:pt idx="9024">
                  <c:v>5.0700505712137804</c:v>
                </c:pt>
                <c:pt idx="9025">
                  <c:v>5.0740813838675054</c:v>
                </c:pt>
                <c:pt idx="9026">
                  <c:v>5.9120551457661854</c:v>
                </c:pt>
                <c:pt idx="9027">
                  <c:v>5.0125742331782179</c:v>
                </c:pt>
                <c:pt idx="9028">
                  <c:v>4.7846506853315818</c:v>
                </c:pt>
                <c:pt idx="9029">
                  <c:v>4.9877166534443615</c:v>
                </c:pt>
                <c:pt idx="9030">
                  <c:v>4.995518972837405</c:v>
                </c:pt>
                <c:pt idx="9031">
                  <c:v>4.8762032765782557</c:v>
                </c:pt>
                <c:pt idx="9032">
                  <c:v>5.985164294584882</c:v>
                </c:pt>
                <c:pt idx="9033">
                  <c:v>5.0062172228331763</c:v>
                </c:pt>
                <c:pt idx="9034">
                  <c:v>5.0913322377432761</c:v>
                </c:pt>
                <c:pt idx="9035">
                  <c:v>6.2546835679391179</c:v>
                </c:pt>
                <c:pt idx="9036">
                  <c:v>6.1320827950556671</c:v>
                </c:pt>
                <c:pt idx="9037">
                  <c:v>6.0648055256201712</c:v>
                </c:pt>
                <c:pt idx="9038">
                  <c:v>5.0011358926228304</c:v>
                </c:pt>
                <c:pt idx="9039">
                  <c:v>5.090930156361698</c:v>
                </c:pt>
                <c:pt idx="9040">
                  <c:v>5.8141814271804275</c:v>
                </c:pt>
                <c:pt idx="9041">
                  <c:v>5.9627561989716709</c:v>
                </c:pt>
                <c:pt idx="9042">
                  <c:v>4.9434419848715896</c:v>
                </c:pt>
                <c:pt idx="9043">
                  <c:v>4.9494354692197566</c:v>
                </c:pt>
                <c:pt idx="9044">
                  <c:v>5.1122014574526817</c:v>
                </c:pt>
                <c:pt idx="9045">
                  <c:v>4.8444645521952658</c:v>
                </c:pt>
                <c:pt idx="9046">
                  <c:v>4.82308773173565</c:v>
                </c:pt>
                <c:pt idx="9047">
                  <c:v>5.1114208028368591</c:v>
                </c:pt>
                <c:pt idx="9048">
                  <c:v>4.9512571886083059</c:v>
                </c:pt>
                <c:pt idx="9049">
                  <c:v>4.9708532253387991</c:v>
                </c:pt>
                <c:pt idx="9050">
                  <c:v>4.9186155783103587</c:v>
                </c:pt>
                <c:pt idx="9051">
                  <c:v>5.0621793921328049</c:v>
                </c:pt>
                <c:pt idx="9052">
                  <c:v>4.8449230744175598</c:v>
                </c:pt>
                <c:pt idx="9053">
                  <c:v>6.9863987734773056</c:v>
                </c:pt>
                <c:pt idx="9054">
                  <c:v>5.9107260202850815</c:v>
                </c:pt>
                <c:pt idx="9055">
                  <c:v>5.0504381579523514</c:v>
                </c:pt>
                <c:pt idx="9056">
                  <c:v>5.9370638802187283</c:v>
                </c:pt>
                <c:pt idx="9057">
                  <c:v>5.8175574540674493</c:v>
                </c:pt>
                <c:pt idx="9058">
                  <c:v>5.056170894139048</c:v>
                </c:pt>
                <c:pt idx="9059">
                  <c:v>6.1520483186118753</c:v>
                </c:pt>
                <c:pt idx="9060">
                  <c:v>4.952193307054638</c:v>
                </c:pt>
                <c:pt idx="9061">
                  <c:v>5.0775135616007798</c:v>
                </c:pt>
                <c:pt idx="9062">
                  <c:v>4.9708561112120249</c:v>
                </c:pt>
                <c:pt idx="9063">
                  <c:v>6.0553434519526981</c:v>
                </c:pt>
                <c:pt idx="9064">
                  <c:v>5.1421498147087759</c:v>
                </c:pt>
                <c:pt idx="9065">
                  <c:v>6.0127188651160184</c:v>
                </c:pt>
                <c:pt idx="9066">
                  <c:v>5.0310793888232412</c:v>
                </c:pt>
                <c:pt idx="9067">
                  <c:v>4.8932323340180996</c:v>
                </c:pt>
                <c:pt idx="9068">
                  <c:v>5.0085968412863613</c:v>
                </c:pt>
                <c:pt idx="9069">
                  <c:v>5.9812771971881453</c:v>
                </c:pt>
                <c:pt idx="9070">
                  <c:v>4.9923524632232805</c:v>
                </c:pt>
                <c:pt idx="9071">
                  <c:v>4.96072218856634</c:v>
                </c:pt>
                <c:pt idx="9072">
                  <c:v>4.914160248334797</c:v>
                </c:pt>
                <c:pt idx="9073">
                  <c:v>4.9534865665024173</c:v>
                </c:pt>
                <c:pt idx="9074">
                  <c:v>5.8048641592293695</c:v>
                </c:pt>
                <c:pt idx="9075">
                  <c:v>5.0309259672310791</c:v>
                </c:pt>
                <c:pt idx="9076">
                  <c:v>4.9833753179317908</c:v>
                </c:pt>
                <c:pt idx="9077">
                  <c:v>5.0799698937812723</c:v>
                </c:pt>
                <c:pt idx="9078">
                  <c:v>5.0734148681805431</c:v>
                </c:pt>
                <c:pt idx="9079">
                  <c:v>6.0132168659631438</c:v>
                </c:pt>
                <c:pt idx="9080">
                  <c:v>6.1210316809146574</c:v>
                </c:pt>
                <c:pt idx="9081">
                  <c:v>5.0015280122231136</c:v>
                </c:pt>
                <c:pt idx="9082">
                  <c:v>5.0506538132393546</c:v>
                </c:pt>
                <c:pt idx="9083">
                  <c:v>5.1641262276463573</c:v>
                </c:pt>
                <c:pt idx="9084">
                  <c:v>5.8292945680320836</c:v>
                </c:pt>
                <c:pt idx="9085">
                  <c:v>5.1780246043882894</c:v>
                </c:pt>
                <c:pt idx="9086">
                  <c:v>5.8533717881315726</c:v>
                </c:pt>
                <c:pt idx="9087">
                  <c:v>5.0902328997372397</c:v>
                </c:pt>
                <c:pt idx="9088">
                  <c:v>5.0045804096432009</c:v>
                </c:pt>
                <c:pt idx="9089">
                  <c:v>4.935289204451224</c:v>
                </c:pt>
                <c:pt idx="9090">
                  <c:v>5.0846843161435427</c:v>
                </c:pt>
                <c:pt idx="9091">
                  <c:v>4.8942804559051369</c:v>
                </c:pt>
                <c:pt idx="9092">
                  <c:v>7.0327068253092602</c:v>
                </c:pt>
                <c:pt idx="9093">
                  <c:v>4.7734727163345019</c:v>
                </c:pt>
                <c:pt idx="9094">
                  <c:v>5.0604883374296028</c:v>
                </c:pt>
                <c:pt idx="9095">
                  <c:v>5.0574523655353607</c:v>
                </c:pt>
                <c:pt idx="9096">
                  <c:v>4.9990918877053447</c:v>
                </c:pt>
                <c:pt idx="9097">
                  <c:v>6.0894869564088951</c:v>
                </c:pt>
                <c:pt idx="9098">
                  <c:v>4.9707311072177269</c:v>
                </c:pt>
                <c:pt idx="9099">
                  <c:v>5.0884044981790906</c:v>
                </c:pt>
                <c:pt idx="9100">
                  <c:v>5.0013721861734464</c:v>
                </c:pt>
                <c:pt idx="9101">
                  <c:v>4.9359515392109792</c:v>
                </c:pt>
                <c:pt idx="9102">
                  <c:v>4.9602377567926519</c:v>
                </c:pt>
                <c:pt idx="9103">
                  <c:v>1.9652324905492513</c:v>
                </c:pt>
                <c:pt idx="9104">
                  <c:v>5.1492463928666972</c:v>
                </c:pt>
                <c:pt idx="9105">
                  <c:v>4.8965504043605268</c:v>
                </c:pt>
                <c:pt idx="9106">
                  <c:v>4.841921163900305</c:v>
                </c:pt>
                <c:pt idx="9107">
                  <c:v>5.0523765311961881</c:v>
                </c:pt>
                <c:pt idx="9108">
                  <c:v>6.0069974876502883</c:v>
                </c:pt>
                <c:pt idx="9109">
                  <c:v>6.0897969628800865</c:v>
                </c:pt>
                <c:pt idx="9110">
                  <c:v>4.8954345403447048</c:v>
                </c:pt>
                <c:pt idx="9111">
                  <c:v>5.0281560771016212</c:v>
                </c:pt>
                <c:pt idx="9112">
                  <c:v>4.9753767388466228</c:v>
                </c:pt>
                <c:pt idx="9113">
                  <c:v>4.9207892369803767</c:v>
                </c:pt>
                <c:pt idx="9114">
                  <c:v>5.074798942273909</c:v>
                </c:pt>
                <c:pt idx="9115">
                  <c:v>5.0060972133688209</c:v>
                </c:pt>
                <c:pt idx="9116">
                  <c:v>6.977639197093449</c:v>
                </c:pt>
                <c:pt idx="9117">
                  <c:v>4.8575126087877631</c:v>
                </c:pt>
                <c:pt idx="9118">
                  <c:v>4.9052867594186056</c:v>
                </c:pt>
                <c:pt idx="9119">
                  <c:v>5.1983405559553111</c:v>
                </c:pt>
                <c:pt idx="9120">
                  <c:v>6.0502863015253983</c:v>
                </c:pt>
                <c:pt idx="9121">
                  <c:v>5.944601635701793</c:v>
                </c:pt>
                <c:pt idx="9122">
                  <c:v>5.0579272497359469</c:v>
                </c:pt>
                <c:pt idx="9123">
                  <c:v>5.0933023876333516</c:v>
                </c:pt>
                <c:pt idx="9124">
                  <c:v>5.8157698364019668</c:v>
                </c:pt>
                <c:pt idx="9125">
                  <c:v>5.8673176689382176</c:v>
                </c:pt>
                <c:pt idx="9126">
                  <c:v>6.0654129035411515</c:v>
                </c:pt>
                <c:pt idx="9127">
                  <c:v>4.9413663250039912</c:v>
                </c:pt>
                <c:pt idx="9128">
                  <c:v>5.760665379055796</c:v>
                </c:pt>
                <c:pt idx="9129">
                  <c:v>5.1137298849021207</c:v>
                </c:pt>
                <c:pt idx="9130">
                  <c:v>5.0264623851151002</c:v>
                </c:pt>
                <c:pt idx="9131">
                  <c:v>4.8083903968351889</c:v>
                </c:pt>
                <c:pt idx="9132">
                  <c:v>4.8286850546943674</c:v>
                </c:pt>
                <c:pt idx="9133">
                  <c:v>5.1116872800569535</c:v>
                </c:pt>
                <c:pt idx="9134">
                  <c:v>5.1846179459948738</c:v>
                </c:pt>
                <c:pt idx="9135">
                  <c:v>4.979039547728477</c:v>
                </c:pt>
                <c:pt idx="9136">
                  <c:v>5.0463275338221729</c:v>
                </c:pt>
                <c:pt idx="9137">
                  <c:v>4.8864945143453342</c:v>
                </c:pt>
                <c:pt idx="9138">
                  <c:v>4.9197428142090409</c:v>
                </c:pt>
                <c:pt idx="9139">
                  <c:v>4.907203483343678</c:v>
                </c:pt>
                <c:pt idx="9140">
                  <c:v>5.92474083414454</c:v>
                </c:pt>
                <c:pt idx="9141">
                  <c:v>4.8827660657244225</c:v>
                </c:pt>
                <c:pt idx="9142">
                  <c:v>5.0257380647780865</c:v>
                </c:pt>
                <c:pt idx="9143">
                  <c:v>5.0543116663814445</c:v>
                </c:pt>
                <c:pt idx="9144">
                  <c:v>4.9336444719230128</c:v>
                </c:pt>
                <c:pt idx="9145">
                  <c:v>5.0409888858238041</c:v>
                </c:pt>
                <c:pt idx="9146">
                  <c:v>5.0181683811498603</c:v>
                </c:pt>
                <c:pt idx="9147">
                  <c:v>4.9881011456871169</c:v>
                </c:pt>
                <c:pt idx="9148">
                  <c:v>5.84338472061917</c:v>
                </c:pt>
                <c:pt idx="9149">
                  <c:v>6.9053624408949004</c:v>
                </c:pt>
                <c:pt idx="9150">
                  <c:v>5.1521105505146565</c:v>
                </c:pt>
                <c:pt idx="9151">
                  <c:v>4.9743464365385472</c:v>
                </c:pt>
                <c:pt idx="9152">
                  <c:v>5.1758905144281577</c:v>
                </c:pt>
                <c:pt idx="9153">
                  <c:v>5.8768191125167961</c:v>
                </c:pt>
                <c:pt idx="9154">
                  <c:v>5.0629539412248885</c:v>
                </c:pt>
                <c:pt idx="9155">
                  <c:v>5.9201216911733523</c:v>
                </c:pt>
                <c:pt idx="9156">
                  <c:v>4.8696771751663874</c:v>
                </c:pt>
                <c:pt idx="9157">
                  <c:v>5.0352212334509927</c:v>
                </c:pt>
                <c:pt idx="9158">
                  <c:v>5.0132644302007563</c:v>
                </c:pt>
                <c:pt idx="9159">
                  <c:v>6.1984064753421535</c:v>
                </c:pt>
                <c:pt idx="9160">
                  <c:v>4.879153099411818</c:v>
                </c:pt>
                <c:pt idx="9161">
                  <c:v>6.0035390011039631</c:v>
                </c:pt>
                <c:pt idx="9162">
                  <c:v>4.9515427052223551</c:v>
                </c:pt>
                <c:pt idx="9163">
                  <c:v>5.9990862108375849</c:v>
                </c:pt>
                <c:pt idx="9164">
                  <c:v>5.2007991399967572</c:v>
                </c:pt>
                <c:pt idx="9165">
                  <c:v>5.9074067937875636</c:v>
                </c:pt>
                <c:pt idx="9166">
                  <c:v>4.9851560298913205</c:v>
                </c:pt>
                <c:pt idx="9167">
                  <c:v>4.94726079576317</c:v>
                </c:pt>
                <c:pt idx="9168">
                  <c:v>4.8950929397927521</c:v>
                </c:pt>
                <c:pt idx="9169">
                  <c:v>6.1149383055710604</c:v>
                </c:pt>
                <c:pt idx="9170">
                  <c:v>4.8913588059881867</c:v>
                </c:pt>
                <c:pt idx="9171">
                  <c:v>6.1748124125736359</c:v>
                </c:pt>
                <c:pt idx="9172">
                  <c:v>6.062689892108188</c:v>
                </c:pt>
                <c:pt idx="9173">
                  <c:v>5.0114209979104647</c:v>
                </c:pt>
                <c:pt idx="9174">
                  <c:v>5.0704786609995338</c:v>
                </c:pt>
                <c:pt idx="9175">
                  <c:v>4.9060871799719221</c:v>
                </c:pt>
                <c:pt idx="9176">
                  <c:v>5.9384727398874571</c:v>
                </c:pt>
                <c:pt idx="9177">
                  <c:v>5.0754239647808594</c:v>
                </c:pt>
                <c:pt idx="9178">
                  <c:v>5.0243823576799782</c:v>
                </c:pt>
                <c:pt idx="9179">
                  <c:v>6.0346073214375675</c:v>
                </c:pt>
                <c:pt idx="9180">
                  <c:v>4.7615624388540461</c:v>
                </c:pt>
                <c:pt idx="9181">
                  <c:v>5.0290265160631789</c:v>
                </c:pt>
                <c:pt idx="9182">
                  <c:v>5.1339793659797808</c:v>
                </c:pt>
                <c:pt idx="9183">
                  <c:v>4.7651943548694424</c:v>
                </c:pt>
                <c:pt idx="9184">
                  <c:v>5.1022664215451599</c:v>
                </c:pt>
                <c:pt idx="9185">
                  <c:v>4.9982969107851432</c:v>
                </c:pt>
                <c:pt idx="9186">
                  <c:v>4.9312089789805604</c:v>
                </c:pt>
                <c:pt idx="9187">
                  <c:v>4.9830559722730587</c:v>
                </c:pt>
                <c:pt idx="9188">
                  <c:v>5.9744943196736946</c:v>
                </c:pt>
                <c:pt idx="9189">
                  <c:v>5.0559170998016745</c:v>
                </c:pt>
                <c:pt idx="9190">
                  <c:v>5.0421694339940926</c:v>
                </c:pt>
                <c:pt idx="9191">
                  <c:v>5.9317977086735452</c:v>
                </c:pt>
                <c:pt idx="9192">
                  <c:v>5.126891680598761</c:v>
                </c:pt>
                <c:pt idx="9193">
                  <c:v>4.9558255811045244</c:v>
                </c:pt>
                <c:pt idx="9194">
                  <c:v>4.9534695957059149</c:v>
                </c:pt>
                <c:pt idx="9195">
                  <c:v>5.113319833569463</c:v>
                </c:pt>
                <c:pt idx="9196">
                  <c:v>5.0095782607350348</c:v>
                </c:pt>
                <c:pt idx="9197">
                  <c:v>5.1512414851574073</c:v>
                </c:pt>
                <c:pt idx="9198">
                  <c:v>5.8936674514187635</c:v>
                </c:pt>
                <c:pt idx="9199">
                  <c:v>4.8226268317207035</c:v>
                </c:pt>
                <c:pt idx="9200">
                  <c:v>6.0877862815040764</c:v>
                </c:pt>
                <c:pt idx="9201">
                  <c:v>5.0267086265376433</c:v>
                </c:pt>
                <c:pt idx="9202">
                  <c:v>5.9003344195845431</c:v>
                </c:pt>
                <c:pt idx="9203">
                  <c:v>5.1518422722197244</c:v>
                </c:pt>
                <c:pt idx="9204">
                  <c:v>4.9044825743566056</c:v>
                </c:pt>
                <c:pt idx="9205">
                  <c:v>5.0534883502141996</c:v>
                </c:pt>
                <c:pt idx="9206">
                  <c:v>4.9952376099281137</c:v>
                </c:pt>
                <c:pt idx="9207">
                  <c:v>4.8278242128620139</c:v>
                </c:pt>
                <c:pt idx="9208">
                  <c:v>5.9904413116034423</c:v>
                </c:pt>
                <c:pt idx="9209">
                  <c:v>5.9523237396859416</c:v>
                </c:pt>
                <c:pt idx="9210">
                  <c:v>4.9202484952031851</c:v>
                </c:pt>
                <c:pt idx="9211">
                  <c:v>4.9098074214841532</c:v>
                </c:pt>
                <c:pt idx="9212">
                  <c:v>4.995320640586951</c:v>
                </c:pt>
                <c:pt idx="9213">
                  <c:v>5.1953761932819473</c:v>
                </c:pt>
                <c:pt idx="9214">
                  <c:v>4.9551814937108647</c:v>
                </c:pt>
                <c:pt idx="9215">
                  <c:v>6.0959400523193095</c:v>
                </c:pt>
                <c:pt idx="9216">
                  <c:v>5.0505126156424298</c:v>
                </c:pt>
                <c:pt idx="9217">
                  <c:v>6.7982535747578767</c:v>
                </c:pt>
                <c:pt idx="9218">
                  <c:v>4.936130507289489</c:v>
                </c:pt>
                <c:pt idx="9219">
                  <c:v>4.9711533956331424</c:v>
                </c:pt>
                <c:pt idx="9220">
                  <c:v>5.8913825521629635</c:v>
                </c:pt>
                <c:pt idx="9221">
                  <c:v>6.123990644657197</c:v>
                </c:pt>
                <c:pt idx="9222">
                  <c:v>5.9430967567856507</c:v>
                </c:pt>
                <c:pt idx="9223">
                  <c:v>4.9159177774891889</c:v>
                </c:pt>
                <c:pt idx="9224">
                  <c:v>6.9783491697306932</c:v>
                </c:pt>
                <c:pt idx="9225">
                  <c:v>6.819923528556636</c:v>
                </c:pt>
                <c:pt idx="9226">
                  <c:v>7.0264837542498224</c:v>
                </c:pt>
                <c:pt idx="9227">
                  <c:v>7.2212306922641485</c:v>
                </c:pt>
                <c:pt idx="9228">
                  <c:v>7.1322964877669977</c:v>
                </c:pt>
                <c:pt idx="9229">
                  <c:v>4.8988286640818606</c:v>
                </c:pt>
                <c:pt idx="9230">
                  <c:v>5.965990876840519</c:v>
                </c:pt>
                <c:pt idx="9231">
                  <c:v>6.0824284241729822</c:v>
                </c:pt>
                <c:pt idx="9232">
                  <c:v>5.9609466760512833</c:v>
                </c:pt>
                <c:pt idx="9233">
                  <c:v>4.9358463559301686</c:v>
                </c:pt>
                <c:pt idx="9234">
                  <c:v>4.9217866956964205</c:v>
                </c:pt>
                <c:pt idx="9235">
                  <c:v>4.9910345686094129</c:v>
                </c:pt>
                <c:pt idx="9236">
                  <c:v>4.9351293307671256</c:v>
                </c:pt>
                <c:pt idx="9237">
                  <c:v>6.0525613689525581</c:v>
                </c:pt>
                <c:pt idx="9238">
                  <c:v>5.013396047052562</c:v>
                </c:pt>
                <c:pt idx="9239">
                  <c:v>5.9534417781258133</c:v>
                </c:pt>
                <c:pt idx="9240">
                  <c:v>6.0782418826407891</c:v>
                </c:pt>
                <c:pt idx="9241">
                  <c:v>7.0098061898427888</c:v>
                </c:pt>
                <c:pt idx="9242">
                  <c:v>5.0931413774104639</c:v>
                </c:pt>
                <c:pt idx="9243">
                  <c:v>5.9916275678218067</c:v>
                </c:pt>
                <c:pt idx="9244">
                  <c:v>5.8558648692676467</c:v>
                </c:pt>
                <c:pt idx="9245">
                  <c:v>6.9118542929523468</c:v>
                </c:pt>
                <c:pt idx="9246">
                  <c:v>6.9151547689088293</c:v>
                </c:pt>
                <c:pt idx="9247">
                  <c:v>5.9070295668716364</c:v>
                </c:pt>
                <c:pt idx="9248">
                  <c:v>5.0124381250185097</c:v>
                </c:pt>
                <c:pt idx="9249">
                  <c:v>4.9680217720442208</c:v>
                </c:pt>
                <c:pt idx="9250">
                  <c:v>6.0253115372761048</c:v>
                </c:pt>
                <c:pt idx="9251">
                  <c:v>4.8629252302789272</c:v>
                </c:pt>
                <c:pt idx="9252">
                  <c:v>6.0356097553294363</c:v>
                </c:pt>
                <c:pt idx="9253">
                  <c:v>5.0908928267038069</c:v>
                </c:pt>
                <c:pt idx="9254">
                  <c:v>6.072088852437366</c:v>
                </c:pt>
                <c:pt idx="9255">
                  <c:v>5.9960255142441632</c:v>
                </c:pt>
                <c:pt idx="9256">
                  <c:v>5.0631769648584868</c:v>
                </c:pt>
                <c:pt idx="9257">
                  <c:v>5.9947852361991023</c:v>
                </c:pt>
                <c:pt idx="9258">
                  <c:v>4.963343986983217</c:v>
                </c:pt>
                <c:pt idx="9259">
                  <c:v>5.9781614497780691</c:v>
                </c:pt>
                <c:pt idx="9260">
                  <c:v>5.9599792322023806</c:v>
                </c:pt>
                <c:pt idx="9261">
                  <c:v>5.0916873136110246</c:v>
                </c:pt>
                <c:pt idx="9262">
                  <c:v>6.0592801844267186</c:v>
                </c:pt>
                <c:pt idx="9263">
                  <c:v>4.9795048786606344</c:v>
                </c:pt>
                <c:pt idx="9264">
                  <c:v>4.936060745339506</c:v>
                </c:pt>
                <c:pt idx="9265">
                  <c:v>5.9842640098709321</c:v>
                </c:pt>
                <c:pt idx="9266">
                  <c:v>4.9561866085004649</c:v>
                </c:pt>
                <c:pt idx="9267">
                  <c:v>5.0068345151649769</c:v>
                </c:pt>
                <c:pt idx="9268">
                  <c:v>5.0698343379115398</c:v>
                </c:pt>
                <c:pt idx="9269">
                  <c:v>6.0475735499901253</c:v>
                </c:pt>
                <c:pt idx="9270">
                  <c:v>5.9195521539601765</c:v>
                </c:pt>
                <c:pt idx="9271">
                  <c:v>6.0678515603030245</c:v>
                </c:pt>
                <c:pt idx="9272">
                  <c:v>5.9659507944502748</c:v>
                </c:pt>
                <c:pt idx="9273">
                  <c:v>5.8113259909408503</c:v>
                </c:pt>
                <c:pt idx="9274">
                  <c:v>6.16223996310001</c:v>
                </c:pt>
                <c:pt idx="9275">
                  <c:v>6.1303773471199818</c:v>
                </c:pt>
                <c:pt idx="9276">
                  <c:v>4.8988540399343492</c:v>
                </c:pt>
                <c:pt idx="9277">
                  <c:v>6.0126380948792963</c:v>
                </c:pt>
                <c:pt idx="9278">
                  <c:v>5.9775322815971892</c:v>
                </c:pt>
                <c:pt idx="9279">
                  <c:v>6.0189517776498791</c:v>
                </c:pt>
                <c:pt idx="9280">
                  <c:v>6.0001003367741044</c:v>
                </c:pt>
                <c:pt idx="9281">
                  <c:v>6.091878978186763</c:v>
                </c:pt>
                <c:pt idx="9282">
                  <c:v>5.966725334998773</c:v>
                </c:pt>
                <c:pt idx="9283">
                  <c:v>5.8922503633546492</c:v>
                </c:pt>
                <c:pt idx="9284">
                  <c:v>5.1142940431340733</c:v>
                </c:pt>
                <c:pt idx="9285">
                  <c:v>5.9708040850066677</c:v>
                </c:pt>
                <c:pt idx="9286">
                  <c:v>5.932390177549383</c:v>
                </c:pt>
                <c:pt idx="9287">
                  <c:v>5.0478620677842221</c:v>
                </c:pt>
                <c:pt idx="9288">
                  <c:v>4.911727142565633</c:v>
                </c:pt>
                <c:pt idx="9289">
                  <c:v>4.7877877261274264</c:v>
                </c:pt>
                <c:pt idx="9290">
                  <c:v>3.0443314972664393</c:v>
                </c:pt>
                <c:pt idx="9291">
                  <c:v>4.9588591502023647</c:v>
                </c:pt>
                <c:pt idx="9292">
                  <c:v>6.0835641850051818</c:v>
                </c:pt>
                <c:pt idx="9293">
                  <c:v>6.0096906112777724</c:v>
                </c:pt>
                <c:pt idx="9294">
                  <c:v>5.0121563897600403</c:v>
                </c:pt>
                <c:pt idx="9295">
                  <c:v>5.0145371174536519</c:v>
                </c:pt>
                <c:pt idx="9296">
                  <c:v>4.9699383488170223</c:v>
                </c:pt>
                <c:pt idx="9297">
                  <c:v>5.9919446152186477</c:v>
                </c:pt>
                <c:pt idx="9298">
                  <c:v>5.0206349491492386</c:v>
                </c:pt>
                <c:pt idx="9299">
                  <c:v>6.16518012835727</c:v>
                </c:pt>
                <c:pt idx="9300">
                  <c:v>5.0438277438935604</c:v>
                </c:pt>
                <c:pt idx="9301">
                  <c:v>6.0467713359918793</c:v>
                </c:pt>
                <c:pt idx="9302">
                  <c:v>5.9937724442437128</c:v>
                </c:pt>
                <c:pt idx="9303">
                  <c:v>6.1409783950244954</c:v>
                </c:pt>
                <c:pt idx="9304">
                  <c:v>5.6491192386771996</c:v>
                </c:pt>
                <c:pt idx="9305">
                  <c:v>4.9796963064816291</c:v>
                </c:pt>
                <c:pt idx="9306">
                  <c:v>4.9712182293008924</c:v>
                </c:pt>
                <c:pt idx="9307">
                  <c:v>6.1097622266031415</c:v>
                </c:pt>
                <c:pt idx="9308">
                  <c:v>4.9880672713242848</c:v>
                </c:pt>
                <c:pt idx="9309">
                  <c:v>6.066688142145618</c:v>
                </c:pt>
                <c:pt idx="9310">
                  <c:v>6.0155734585662097</c:v>
                </c:pt>
                <c:pt idx="9311">
                  <c:v>4.974341323964528</c:v>
                </c:pt>
                <c:pt idx="9312">
                  <c:v>5.1110488558643299</c:v>
                </c:pt>
                <c:pt idx="9313">
                  <c:v>5.8734960506337037</c:v>
                </c:pt>
                <c:pt idx="9314">
                  <c:v>6.0590733059181536</c:v>
                </c:pt>
                <c:pt idx="9315">
                  <c:v>5.8781416755201166</c:v>
                </c:pt>
                <c:pt idx="9316">
                  <c:v>6.0775595411943337</c:v>
                </c:pt>
                <c:pt idx="9317">
                  <c:v>4.9817427254534259</c:v>
                </c:pt>
                <c:pt idx="9318">
                  <c:v>6.0850642948938019</c:v>
                </c:pt>
                <c:pt idx="9319">
                  <c:v>6.0222462006700068</c:v>
                </c:pt>
                <c:pt idx="9320">
                  <c:v>7.1687699124276172</c:v>
                </c:pt>
                <c:pt idx="9321">
                  <c:v>5.0180026259660941</c:v>
                </c:pt>
                <c:pt idx="9322">
                  <c:v>5.8997947166241573</c:v>
                </c:pt>
                <c:pt idx="9323">
                  <c:v>5.1592475641045077</c:v>
                </c:pt>
                <c:pt idx="9324">
                  <c:v>5.727322212867838</c:v>
                </c:pt>
                <c:pt idx="9325">
                  <c:v>5.8266527225218541</c:v>
                </c:pt>
                <c:pt idx="9326">
                  <c:v>5.962107935359402</c:v>
                </c:pt>
                <c:pt idx="9327">
                  <c:v>6.0301380242274298</c:v>
                </c:pt>
                <c:pt idx="9328">
                  <c:v>5.0383019303533771</c:v>
                </c:pt>
                <c:pt idx="9329">
                  <c:v>6.0006152040786045</c:v>
                </c:pt>
                <c:pt idx="9330">
                  <c:v>5.1640539197581772</c:v>
                </c:pt>
                <c:pt idx="9331">
                  <c:v>6.1230434043385014</c:v>
                </c:pt>
                <c:pt idx="9332">
                  <c:v>4.859172498576819</c:v>
                </c:pt>
                <c:pt idx="9333">
                  <c:v>5.043285583949638</c:v>
                </c:pt>
                <c:pt idx="9334">
                  <c:v>5.0609657403461457</c:v>
                </c:pt>
                <c:pt idx="9335">
                  <c:v>6.0029110910060881</c:v>
                </c:pt>
                <c:pt idx="9336">
                  <c:v>6.0484794124253849</c:v>
                </c:pt>
                <c:pt idx="9337">
                  <c:v>5.0251730416899161</c:v>
                </c:pt>
                <c:pt idx="9338">
                  <c:v>6.1497489374420784</c:v>
                </c:pt>
                <c:pt idx="9339">
                  <c:v>4.9762685987647854</c:v>
                </c:pt>
                <c:pt idx="9340">
                  <c:v>5.0460297381213683</c:v>
                </c:pt>
                <c:pt idx="9341">
                  <c:v>4.8542853845834495</c:v>
                </c:pt>
                <c:pt idx="9342">
                  <c:v>5.9186971137192748</c:v>
                </c:pt>
                <c:pt idx="9343">
                  <c:v>7.1483610124072907</c:v>
                </c:pt>
                <c:pt idx="9344">
                  <c:v>5.017957366621749</c:v>
                </c:pt>
                <c:pt idx="9345">
                  <c:v>4.7582987384084054</c:v>
                </c:pt>
                <c:pt idx="9346">
                  <c:v>6.0295654235924658</c:v>
                </c:pt>
                <c:pt idx="9347">
                  <c:v>5.7924074729920614</c:v>
                </c:pt>
                <c:pt idx="9348">
                  <c:v>5.9927749906925296</c:v>
                </c:pt>
                <c:pt idx="9349">
                  <c:v>5.8865165230790906</c:v>
                </c:pt>
                <c:pt idx="9350">
                  <c:v>4.94992660829468</c:v>
                </c:pt>
                <c:pt idx="9351">
                  <c:v>5.1197853878263286</c:v>
                </c:pt>
                <c:pt idx="9352">
                  <c:v>4.998841033835248</c:v>
                </c:pt>
                <c:pt idx="9353">
                  <c:v>5.0086743802374549</c:v>
                </c:pt>
                <c:pt idx="9354">
                  <c:v>6.1244157789363234</c:v>
                </c:pt>
                <c:pt idx="9355">
                  <c:v>5.1619185383863364</c:v>
                </c:pt>
                <c:pt idx="9356">
                  <c:v>5.9748696037015314</c:v>
                </c:pt>
                <c:pt idx="9357">
                  <c:v>4.8319114053278902</c:v>
                </c:pt>
                <c:pt idx="9358">
                  <c:v>5.9032899980647784</c:v>
                </c:pt>
                <c:pt idx="9359">
                  <c:v>5.8093534641060636</c:v>
                </c:pt>
                <c:pt idx="9360">
                  <c:v>4.944420542490926</c:v>
                </c:pt>
                <c:pt idx="9361">
                  <c:v>4.974677621236741</c:v>
                </c:pt>
                <c:pt idx="9362">
                  <c:v>4.8860908503037326</c:v>
                </c:pt>
                <c:pt idx="9363">
                  <c:v>6.0462331014621133</c:v>
                </c:pt>
                <c:pt idx="9364">
                  <c:v>5.0131079295283403</c:v>
                </c:pt>
                <c:pt idx="9365">
                  <c:v>6.0472718834396648</c:v>
                </c:pt>
                <c:pt idx="9366">
                  <c:v>6.0178916151250714</c:v>
                </c:pt>
                <c:pt idx="9367">
                  <c:v>6.0985532431870997</c:v>
                </c:pt>
                <c:pt idx="9368">
                  <c:v>4.8497371364222293</c:v>
                </c:pt>
                <c:pt idx="9369">
                  <c:v>6.0306701118930741</c:v>
                </c:pt>
                <c:pt idx="9370">
                  <c:v>5.9628739728676772</c:v>
                </c:pt>
                <c:pt idx="9371">
                  <c:v>6.0866893236125019</c:v>
                </c:pt>
                <c:pt idx="9372">
                  <c:v>5.9849181822143542</c:v>
                </c:pt>
                <c:pt idx="9373">
                  <c:v>4.9432408516162099</c:v>
                </c:pt>
                <c:pt idx="9374">
                  <c:v>6.0073377403504562</c:v>
                </c:pt>
                <c:pt idx="9375">
                  <c:v>6.0795396587704325</c:v>
                </c:pt>
                <c:pt idx="9376">
                  <c:v>6.1988770399375381</c:v>
                </c:pt>
                <c:pt idx="9377">
                  <c:v>6.0936963421642165</c:v>
                </c:pt>
                <c:pt idx="9378">
                  <c:v>4.8766912464783259</c:v>
                </c:pt>
                <c:pt idx="9379">
                  <c:v>5.9210685562259293</c:v>
                </c:pt>
                <c:pt idx="9380">
                  <c:v>5.1468580075658856</c:v>
                </c:pt>
                <c:pt idx="9381">
                  <c:v>5.965437065317408</c:v>
                </c:pt>
                <c:pt idx="9382">
                  <c:v>5.8618327808661093</c:v>
                </c:pt>
                <c:pt idx="9383">
                  <c:v>6.0497089474108074</c:v>
                </c:pt>
                <c:pt idx="9384">
                  <c:v>5.8650465033693004</c:v>
                </c:pt>
                <c:pt idx="9385">
                  <c:v>4.9683421827614431</c:v>
                </c:pt>
                <c:pt idx="9386">
                  <c:v>6.0728867447576418</c:v>
                </c:pt>
                <c:pt idx="9387">
                  <c:v>5.9356576243735297</c:v>
                </c:pt>
                <c:pt idx="9388">
                  <c:v>5.892678259132917</c:v>
                </c:pt>
                <c:pt idx="9389">
                  <c:v>5.8870703990364346</c:v>
                </c:pt>
                <c:pt idx="9390">
                  <c:v>5.9812977516656813</c:v>
                </c:pt>
                <c:pt idx="9391">
                  <c:v>5.901371914502092</c:v>
                </c:pt>
                <c:pt idx="9392">
                  <c:v>5.9681184937314509</c:v>
                </c:pt>
                <c:pt idx="9393">
                  <c:v>5.1186195165358841</c:v>
                </c:pt>
                <c:pt idx="9394">
                  <c:v>6.13898026270373</c:v>
                </c:pt>
                <c:pt idx="9395">
                  <c:v>4.7873028217763958</c:v>
                </c:pt>
                <c:pt idx="9396">
                  <c:v>6.2240051873877942</c:v>
                </c:pt>
                <c:pt idx="9397">
                  <c:v>5.8730968818372613</c:v>
                </c:pt>
                <c:pt idx="9398">
                  <c:v>5.0951585610164836</c:v>
                </c:pt>
                <c:pt idx="9399">
                  <c:v>5.8445149400155625</c:v>
                </c:pt>
                <c:pt idx="9400">
                  <c:v>6.0672876701054239</c:v>
                </c:pt>
                <c:pt idx="9401">
                  <c:v>5.0025126943448619</c:v>
                </c:pt>
                <c:pt idx="9402">
                  <c:v>4.9275183963600995</c:v>
                </c:pt>
                <c:pt idx="9403">
                  <c:v>4.8414837230563572</c:v>
                </c:pt>
                <c:pt idx="9404">
                  <c:v>6.0354399938147134</c:v>
                </c:pt>
                <c:pt idx="9405">
                  <c:v>4.9242730873797687</c:v>
                </c:pt>
                <c:pt idx="9406">
                  <c:v>5.9692869501716102</c:v>
                </c:pt>
                <c:pt idx="9407">
                  <c:v>5.9081937323020357</c:v>
                </c:pt>
                <c:pt idx="9408">
                  <c:v>5.9881026818480887</c:v>
                </c:pt>
                <c:pt idx="9409">
                  <c:v>5.8626028930436629</c:v>
                </c:pt>
                <c:pt idx="9410">
                  <c:v>6.0726634212009776</c:v>
                </c:pt>
                <c:pt idx="9411">
                  <c:v>6.1008279470899494</c:v>
                </c:pt>
                <c:pt idx="9412">
                  <c:v>4.0983157321662453</c:v>
                </c:pt>
                <c:pt idx="9413">
                  <c:v>5.9241351602033134</c:v>
                </c:pt>
                <c:pt idx="9414">
                  <c:v>5.8522406191495548</c:v>
                </c:pt>
                <c:pt idx="9415">
                  <c:v>5.9292274945862697</c:v>
                </c:pt>
                <c:pt idx="9416">
                  <c:v>6.02459365493156</c:v>
                </c:pt>
                <c:pt idx="9417">
                  <c:v>4.9998318882748789</c:v>
                </c:pt>
                <c:pt idx="9418">
                  <c:v>5.9548801623229517</c:v>
                </c:pt>
                <c:pt idx="9419">
                  <c:v>5.0523177803060886</c:v>
                </c:pt>
                <c:pt idx="9420">
                  <c:v>5.9862928999208602</c:v>
                </c:pt>
                <c:pt idx="9421">
                  <c:v>6.1331476221448185</c:v>
                </c:pt>
                <c:pt idx="9422">
                  <c:v>6.1735851685575733</c:v>
                </c:pt>
                <c:pt idx="9423">
                  <c:v>6.0271286245625406</c:v>
                </c:pt>
                <c:pt idx="9424">
                  <c:v>6.0155762882011059</c:v>
                </c:pt>
                <c:pt idx="9425">
                  <c:v>6.1017216095410927</c:v>
                </c:pt>
                <c:pt idx="9426">
                  <c:v>6.188951324438662</c:v>
                </c:pt>
                <c:pt idx="9427">
                  <c:v>6.0239966096851738</c:v>
                </c:pt>
                <c:pt idx="9428">
                  <c:v>5.9555689637590232</c:v>
                </c:pt>
                <c:pt idx="9429">
                  <c:v>5.8562496868889387</c:v>
                </c:pt>
                <c:pt idx="9430">
                  <c:v>6.0483466838639339</c:v>
                </c:pt>
                <c:pt idx="9431">
                  <c:v>6.0192772795212939</c:v>
                </c:pt>
                <c:pt idx="9432">
                  <c:v>4.9777883743836515</c:v>
                </c:pt>
                <c:pt idx="9433">
                  <c:v>5.9586354891367979</c:v>
                </c:pt>
                <c:pt idx="9434">
                  <c:v>4.8361223390696884</c:v>
                </c:pt>
                <c:pt idx="9435">
                  <c:v>6.084970608438236</c:v>
                </c:pt>
                <c:pt idx="9436">
                  <c:v>5.8865146361122456</c:v>
                </c:pt>
                <c:pt idx="9437">
                  <c:v>6.1051929144906421</c:v>
                </c:pt>
                <c:pt idx="9438">
                  <c:v>5.9919165395456293</c:v>
                </c:pt>
                <c:pt idx="9439">
                  <c:v>4.9418020001555263</c:v>
                </c:pt>
                <c:pt idx="9440">
                  <c:v>4.9934960320644031</c:v>
                </c:pt>
                <c:pt idx="9441">
                  <c:v>4.8294048293705547</c:v>
                </c:pt>
                <c:pt idx="9442">
                  <c:v>5.9986397389417094</c:v>
                </c:pt>
                <c:pt idx="9443">
                  <c:v>4.9224710384517003</c:v>
                </c:pt>
                <c:pt idx="9444">
                  <c:v>4.983526642317563</c:v>
                </c:pt>
                <c:pt idx="9445">
                  <c:v>5.9023068263653631</c:v>
                </c:pt>
                <c:pt idx="9446">
                  <c:v>4.9509595686726096</c:v>
                </c:pt>
                <c:pt idx="9447">
                  <c:v>5.0406878847988121</c:v>
                </c:pt>
                <c:pt idx="9448">
                  <c:v>3.944428474241636</c:v>
                </c:pt>
                <c:pt idx="9449">
                  <c:v>4.8772675652542263</c:v>
                </c:pt>
                <c:pt idx="9450">
                  <c:v>5.0295985202303886</c:v>
                </c:pt>
                <c:pt idx="9451">
                  <c:v>5.991222960522026</c:v>
                </c:pt>
                <c:pt idx="9452">
                  <c:v>5.0238572087070175</c:v>
                </c:pt>
                <c:pt idx="9453">
                  <c:v>5.0039022052323521</c:v>
                </c:pt>
                <c:pt idx="9454">
                  <c:v>4.9105575625197364</c:v>
                </c:pt>
                <c:pt idx="9455">
                  <c:v>5.8844446975979068</c:v>
                </c:pt>
                <c:pt idx="9456">
                  <c:v>4.8682911275439258</c:v>
                </c:pt>
                <c:pt idx="9457">
                  <c:v>5.9168272364416641</c:v>
                </c:pt>
                <c:pt idx="9458">
                  <c:v>4.9781474785323772</c:v>
                </c:pt>
                <c:pt idx="9459">
                  <c:v>5.9187901304447603</c:v>
                </c:pt>
                <c:pt idx="9460">
                  <c:v>6.0824664752011763</c:v>
                </c:pt>
                <c:pt idx="9461">
                  <c:v>5.9701615462900461</c:v>
                </c:pt>
                <c:pt idx="9462">
                  <c:v>5.0633526791567514</c:v>
                </c:pt>
                <c:pt idx="9463">
                  <c:v>5.9859817763603003</c:v>
                </c:pt>
                <c:pt idx="9464">
                  <c:v>5.9327644301687847</c:v>
                </c:pt>
                <c:pt idx="9465">
                  <c:v>6.0193959178871701</c:v>
                </c:pt>
                <c:pt idx="9466">
                  <c:v>6.0480152408495238</c:v>
                </c:pt>
                <c:pt idx="9467">
                  <c:v>5.892620758566526</c:v>
                </c:pt>
                <c:pt idx="9468">
                  <c:v>4.9593261160462561</c:v>
                </c:pt>
                <c:pt idx="9469">
                  <c:v>5.0339024383377788</c:v>
                </c:pt>
                <c:pt idx="9470">
                  <c:v>6.9747470096034236</c:v>
                </c:pt>
                <c:pt idx="9471">
                  <c:v>6.1797834135758647</c:v>
                </c:pt>
                <c:pt idx="9472">
                  <c:v>6.055744862128547</c:v>
                </c:pt>
                <c:pt idx="9473">
                  <c:v>6.0702325482102601</c:v>
                </c:pt>
                <c:pt idx="9474">
                  <c:v>5.8720201799542799</c:v>
                </c:pt>
                <c:pt idx="9475">
                  <c:v>4.9212887463236585</c:v>
                </c:pt>
                <c:pt idx="9476">
                  <c:v>6.017745833084013</c:v>
                </c:pt>
                <c:pt idx="9477">
                  <c:v>5.8728716965703809</c:v>
                </c:pt>
                <c:pt idx="9478">
                  <c:v>4.9279353180752077</c:v>
                </c:pt>
                <c:pt idx="9479">
                  <c:v>5.896823810916457</c:v>
                </c:pt>
                <c:pt idx="9480">
                  <c:v>6.0209592050873892</c:v>
                </c:pt>
                <c:pt idx="9481">
                  <c:v>5.9425130241092994</c:v>
                </c:pt>
                <c:pt idx="9482">
                  <c:v>5.9970219417556097</c:v>
                </c:pt>
                <c:pt idx="9483">
                  <c:v>5.902975406976962</c:v>
                </c:pt>
                <c:pt idx="9484">
                  <c:v>6.0990103927841703</c:v>
                </c:pt>
                <c:pt idx="9485">
                  <c:v>5.9441090785823079</c:v>
                </c:pt>
                <c:pt idx="9486">
                  <c:v>4.8407165206106928</c:v>
                </c:pt>
                <c:pt idx="9487">
                  <c:v>5.8464847263406474</c:v>
                </c:pt>
                <c:pt idx="9488">
                  <c:v>6.0594434816779108</c:v>
                </c:pt>
                <c:pt idx="9489">
                  <c:v>5.8783215463549947</c:v>
                </c:pt>
                <c:pt idx="9490">
                  <c:v>4.8961706261176055</c:v>
                </c:pt>
                <c:pt idx="9491">
                  <c:v>5.9057774491675739</c:v>
                </c:pt>
                <c:pt idx="9492">
                  <c:v>4.8025896814363724</c:v>
                </c:pt>
                <c:pt idx="9493">
                  <c:v>4.9605271352716533</c:v>
                </c:pt>
                <c:pt idx="9494">
                  <c:v>5.0511146312201767</c:v>
                </c:pt>
                <c:pt idx="9495">
                  <c:v>4.9346550413121095</c:v>
                </c:pt>
                <c:pt idx="9496">
                  <c:v>4.9327605489555388</c:v>
                </c:pt>
                <c:pt idx="9497">
                  <c:v>5.995718074989469</c:v>
                </c:pt>
                <c:pt idx="9498">
                  <c:v>4.8849067093701732</c:v>
                </c:pt>
                <c:pt idx="9499">
                  <c:v>6.0365754923650128</c:v>
                </c:pt>
                <c:pt idx="9500">
                  <c:v>6.036800925990633</c:v>
                </c:pt>
                <c:pt idx="9501">
                  <c:v>4.8747267807066983</c:v>
                </c:pt>
                <c:pt idx="9502">
                  <c:v>4.9687127977523851</c:v>
                </c:pt>
                <c:pt idx="9503">
                  <c:v>5.0656815788410166</c:v>
                </c:pt>
                <c:pt idx="9504">
                  <c:v>6.0707220437024736</c:v>
                </c:pt>
                <c:pt idx="9505">
                  <c:v>5.9145971954181391</c:v>
                </c:pt>
                <c:pt idx="9506">
                  <c:v>5.0557517526136913</c:v>
                </c:pt>
                <c:pt idx="9507">
                  <c:v>5.959431969825232</c:v>
                </c:pt>
                <c:pt idx="9508">
                  <c:v>6.1848700086664126</c:v>
                </c:pt>
                <c:pt idx="9509">
                  <c:v>5.8667082503699151</c:v>
                </c:pt>
                <c:pt idx="9510">
                  <c:v>5.9181852003688293</c:v>
                </c:pt>
                <c:pt idx="9511">
                  <c:v>6.029076446819098</c:v>
                </c:pt>
                <c:pt idx="9512">
                  <c:v>6.1525325908279527</c:v>
                </c:pt>
                <c:pt idx="9513">
                  <c:v>5.8120550246068374</c:v>
                </c:pt>
                <c:pt idx="9514">
                  <c:v>4.8883970020390972</c:v>
                </c:pt>
                <c:pt idx="9515">
                  <c:v>6.0520354051160901</c:v>
                </c:pt>
                <c:pt idx="9516">
                  <c:v>4.9525113715187654</c:v>
                </c:pt>
                <c:pt idx="9517">
                  <c:v>6.0195973518185513</c:v>
                </c:pt>
                <c:pt idx="9518">
                  <c:v>5.9278846115272668</c:v>
                </c:pt>
                <c:pt idx="9519">
                  <c:v>5.1073301320138889</c:v>
                </c:pt>
                <c:pt idx="9520">
                  <c:v>4.9514607373193558</c:v>
                </c:pt>
                <c:pt idx="9521">
                  <c:v>5.7958484302220246</c:v>
                </c:pt>
                <c:pt idx="9522">
                  <c:v>5.045074540983264</c:v>
                </c:pt>
                <c:pt idx="9523">
                  <c:v>5.9652220770019806</c:v>
                </c:pt>
                <c:pt idx="9524">
                  <c:v>6.8501535741504789</c:v>
                </c:pt>
                <c:pt idx="9525">
                  <c:v>4.9898074275078157</c:v>
                </c:pt>
                <c:pt idx="9526">
                  <c:v>5.7628364470026261</c:v>
                </c:pt>
                <c:pt idx="9527">
                  <c:v>6.1535345874946374</c:v>
                </c:pt>
                <c:pt idx="9528">
                  <c:v>6.0573829297901893</c:v>
                </c:pt>
                <c:pt idx="9529">
                  <c:v>4.9881826378371406</c:v>
                </c:pt>
                <c:pt idx="9530">
                  <c:v>5.8905518022422259</c:v>
                </c:pt>
                <c:pt idx="9531">
                  <c:v>5.0367077371156883</c:v>
                </c:pt>
                <c:pt idx="9532">
                  <c:v>7.0388162323667567</c:v>
                </c:pt>
                <c:pt idx="9533">
                  <c:v>5.0281821866617369</c:v>
                </c:pt>
                <c:pt idx="9534">
                  <c:v>5.9448166602648591</c:v>
                </c:pt>
                <c:pt idx="9535">
                  <c:v>5.9798737756582199</c:v>
                </c:pt>
                <c:pt idx="9536">
                  <c:v>5.9033784679259913</c:v>
                </c:pt>
                <c:pt idx="9537">
                  <c:v>5.096351254112875</c:v>
                </c:pt>
                <c:pt idx="9538">
                  <c:v>6.0933889978036397</c:v>
                </c:pt>
                <c:pt idx="9539">
                  <c:v>6.0084276076294509</c:v>
                </c:pt>
                <c:pt idx="9540">
                  <c:v>6.1027717353372566</c:v>
                </c:pt>
                <c:pt idx="9541">
                  <c:v>5.9182599619453331</c:v>
                </c:pt>
                <c:pt idx="9542">
                  <c:v>6.0926164225820596</c:v>
                </c:pt>
                <c:pt idx="9543">
                  <c:v>6.0553965528202784</c:v>
                </c:pt>
                <c:pt idx="9544">
                  <c:v>4.9478018430459301</c:v>
                </c:pt>
                <c:pt idx="9545">
                  <c:v>4.958013815038858</c:v>
                </c:pt>
                <c:pt idx="9546">
                  <c:v>6.0062655402069467</c:v>
                </c:pt>
                <c:pt idx="9547">
                  <c:v>5.0830315078096611</c:v>
                </c:pt>
                <c:pt idx="9548">
                  <c:v>5.0241491775903544</c:v>
                </c:pt>
                <c:pt idx="9549">
                  <c:v>5.1764396542500366</c:v>
                </c:pt>
                <c:pt idx="9550">
                  <c:v>4.9761973238424728</c:v>
                </c:pt>
                <c:pt idx="9551">
                  <c:v>5.9069100976152944</c:v>
                </c:pt>
                <c:pt idx="9552">
                  <c:v>5.9872119891897846</c:v>
                </c:pt>
                <c:pt idx="9553">
                  <c:v>5.9545142207918174</c:v>
                </c:pt>
                <c:pt idx="9554">
                  <c:v>4.9129931260762216</c:v>
                </c:pt>
                <c:pt idx="9555">
                  <c:v>6.1074368603974589</c:v>
                </c:pt>
                <c:pt idx="9556">
                  <c:v>5.9868174790355839</c:v>
                </c:pt>
                <c:pt idx="9557">
                  <c:v>5.0625852847246193</c:v>
                </c:pt>
                <c:pt idx="9558">
                  <c:v>5.7997029589732678</c:v>
                </c:pt>
                <c:pt idx="9559">
                  <c:v>6.2164413936191032</c:v>
                </c:pt>
                <c:pt idx="9560">
                  <c:v>5.9769658218791397</c:v>
                </c:pt>
                <c:pt idx="9561">
                  <c:v>5.9307619361838153</c:v>
                </c:pt>
                <c:pt idx="9562">
                  <c:v>4.9730491138721389</c:v>
                </c:pt>
                <c:pt idx="9563">
                  <c:v>4.9367022279817441</c:v>
                </c:pt>
                <c:pt idx="9564">
                  <c:v>5.0604217405147311</c:v>
                </c:pt>
                <c:pt idx="9565">
                  <c:v>5.0752902489179421</c:v>
                </c:pt>
                <c:pt idx="9566">
                  <c:v>5.1079800478202282</c:v>
                </c:pt>
                <c:pt idx="9567">
                  <c:v>5.89585502920177</c:v>
                </c:pt>
                <c:pt idx="9568">
                  <c:v>5.9695042476128801</c:v>
                </c:pt>
                <c:pt idx="9569">
                  <c:v>4.8964764606295352</c:v>
                </c:pt>
                <c:pt idx="9570">
                  <c:v>5.8916186481867463</c:v>
                </c:pt>
                <c:pt idx="9571">
                  <c:v>5.1131915397386347</c:v>
                </c:pt>
                <c:pt idx="9572">
                  <c:v>7.2229033074165399</c:v>
                </c:pt>
                <c:pt idx="9573">
                  <c:v>4.9106854274989482</c:v>
                </c:pt>
                <c:pt idx="9574">
                  <c:v>5.959324814907494</c:v>
                </c:pt>
                <c:pt idx="9575">
                  <c:v>4.9173301765921025</c:v>
                </c:pt>
                <c:pt idx="9576">
                  <c:v>4.9281158798215232</c:v>
                </c:pt>
                <c:pt idx="9577">
                  <c:v>4.909810509952</c:v>
                </c:pt>
                <c:pt idx="9578">
                  <c:v>7.0499919844381411</c:v>
                </c:pt>
                <c:pt idx="9579">
                  <c:v>5.0346564740789335</c:v>
                </c:pt>
                <c:pt idx="9580">
                  <c:v>6.1680101060219474</c:v>
                </c:pt>
                <c:pt idx="9581">
                  <c:v>5.9869562134549374</c:v>
                </c:pt>
                <c:pt idx="9582">
                  <c:v>6.0944634497838654</c:v>
                </c:pt>
                <c:pt idx="9583">
                  <c:v>6.9416236674722462</c:v>
                </c:pt>
                <c:pt idx="9584">
                  <c:v>4.97809365948733</c:v>
                </c:pt>
                <c:pt idx="9585">
                  <c:v>6.0954520406739379</c:v>
                </c:pt>
                <c:pt idx="9586">
                  <c:v>5.1100323107031294</c:v>
                </c:pt>
                <c:pt idx="9587">
                  <c:v>4.875755286559782</c:v>
                </c:pt>
                <c:pt idx="9588">
                  <c:v>5.8645507332857765</c:v>
                </c:pt>
                <c:pt idx="9589">
                  <c:v>5.01134876832859</c:v>
                </c:pt>
                <c:pt idx="9590">
                  <c:v>4.9742169755061223</c:v>
                </c:pt>
                <c:pt idx="9591">
                  <c:v>4.9620506980466565</c:v>
                </c:pt>
                <c:pt idx="9592">
                  <c:v>4.8840745922839881</c:v>
                </c:pt>
                <c:pt idx="9593">
                  <c:v>4.8623253758850637</c:v>
                </c:pt>
                <c:pt idx="9594">
                  <c:v>5.9833208523981991</c:v>
                </c:pt>
                <c:pt idx="9595">
                  <c:v>4.8695541658142636</c:v>
                </c:pt>
                <c:pt idx="9596">
                  <c:v>4.9914489563769466</c:v>
                </c:pt>
                <c:pt idx="9597">
                  <c:v>5.9811449277498223</c:v>
                </c:pt>
                <c:pt idx="9598">
                  <c:v>5.9081567296161142</c:v>
                </c:pt>
                <c:pt idx="9599">
                  <c:v>6.0175823616327779</c:v>
                </c:pt>
                <c:pt idx="9600">
                  <c:v>5.198288968779508</c:v>
                </c:pt>
                <c:pt idx="9601">
                  <c:v>5.9712063654737317</c:v>
                </c:pt>
                <c:pt idx="9602">
                  <c:v>4.874666919640207</c:v>
                </c:pt>
                <c:pt idx="9603">
                  <c:v>5.0032475080935175</c:v>
                </c:pt>
                <c:pt idx="9604">
                  <c:v>5.191302973350588</c:v>
                </c:pt>
                <c:pt idx="9605">
                  <c:v>5.0671235851823093</c:v>
                </c:pt>
                <c:pt idx="9606">
                  <c:v>4.9608257349717055</c:v>
                </c:pt>
                <c:pt idx="9607">
                  <c:v>5.0771694301651884</c:v>
                </c:pt>
                <c:pt idx="9608">
                  <c:v>4.8773849698088254</c:v>
                </c:pt>
                <c:pt idx="9609">
                  <c:v>4.9341681318047375</c:v>
                </c:pt>
                <c:pt idx="9610">
                  <c:v>5.0470357347558075</c:v>
                </c:pt>
                <c:pt idx="9611">
                  <c:v>4.8803171246007571</c:v>
                </c:pt>
                <c:pt idx="9612">
                  <c:v>5.112508657072194</c:v>
                </c:pt>
                <c:pt idx="9613">
                  <c:v>6.0291298731421072</c:v>
                </c:pt>
                <c:pt idx="9614">
                  <c:v>6.0241011098763098</c:v>
                </c:pt>
                <c:pt idx="9615">
                  <c:v>4.8495104004409519</c:v>
                </c:pt>
                <c:pt idx="9616">
                  <c:v>4.8871614835024308</c:v>
                </c:pt>
                <c:pt idx="9617">
                  <c:v>5.1776936437651377</c:v>
                </c:pt>
                <c:pt idx="9618">
                  <c:v>6.037606003225978</c:v>
                </c:pt>
                <c:pt idx="9619">
                  <c:v>4.8898458086883165</c:v>
                </c:pt>
                <c:pt idx="9620">
                  <c:v>4.9679402881939128</c:v>
                </c:pt>
                <c:pt idx="9621">
                  <c:v>5.0942904879141482</c:v>
                </c:pt>
                <c:pt idx="9622">
                  <c:v>4.9860132981996319</c:v>
                </c:pt>
                <c:pt idx="9623">
                  <c:v>5.0565758450491884</c:v>
                </c:pt>
                <c:pt idx="9624">
                  <c:v>6.1440686774613367</c:v>
                </c:pt>
                <c:pt idx="9625">
                  <c:v>5.1052179101774673</c:v>
                </c:pt>
                <c:pt idx="9626">
                  <c:v>5.0491589518300533</c:v>
                </c:pt>
                <c:pt idx="9627">
                  <c:v>6.0123750036703036</c:v>
                </c:pt>
                <c:pt idx="9628">
                  <c:v>5.9902753861395981</c:v>
                </c:pt>
                <c:pt idx="9629">
                  <c:v>5.0886321256411993</c:v>
                </c:pt>
                <c:pt idx="9630">
                  <c:v>5.0313347782381364</c:v>
                </c:pt>
                <c:pt idx="9631">
                  <c:v>4.9124803058950981</c:v>
                </c:pt>
                <c:pt idx="9632">
                  <c:v>5.8976866242423487</c:v>
                </c:pt>
                <c:pt idx="9633">
                  <c:v>4.84761627809341</c:v>
                </c:pt>
                <c:pt idx="9634">
                  <c:v>4.8368340005499189</c:v>
                </c:pt>
                <c:pt idx="9635">
                  <c:v>5.984731997634622</c:v>
                </c:pt>
                <c:pt idx="9636">
                  <c:v>5.027724739599571</c:v>
                </c:pt>
                <c:pt idx="9637">
                  <c:v>4.1744310563943348</c:v>
                </c:pt>
                <c:pt idx="9638">
                  <c:v>3.9577292662010719</c:v>
                </c:pt>
                <c:pt idx="9639">
                  <c:v>6.0538970922257382</c:v>
                </c:pt>
                <c:pt idx="9640">
                  <c:v>4.903450830490339</c:v>
                </c:pt>
                <c:pt idx="9641">
                  <c:v>4.994189037171644</c:v>
                </c:pt>
                <c:pt idx="9642">
                  <c:v>5.0419981816805945</c:v>
                </c:pt>
                <c:pt idx="9643">
                  <c:v>6.0184929020275142</c:v>
                </c:pt>
                <c:pt idx="9644">
                  <c:v>6.0637274459309394</c:v>
                </c:pt>
                <c:pt idx="9645">
                  <c:v>5.0896405031641239</c:v>
                </c:pt>
                <c:pt idx="9646">
                  <c:v>6.0233967340870986</c:v>
                </c:pt>
                <c:pt idx="9647">
                  <c:v>5.1479324297306404</c:v>
                </c:pt>
                <c:pt idx="9648">
                  <c:v>4.9212749323737688</c:v>
                </c:pt>
                <c:pt idx="9649">
                  <c:v>4.9469616738614901</c:v>
                </c:pt>
                <c:pt idx="9650">
                  <c:v>4.9782707544500981</c:v>
                </c:pt>
                <c:pt idx="9651">
                  <c:v>5.2141645271826125</c:v>
                </c:pt>
                <c:pt idx="9652">
                  <c:v>6.9150795760375052</c:v>
                </c:pt>
                <c:pt idx="9653">
                  <c:v>5.9233506948836965</c:v>
                </c:pt>
                <c:pt idx="9654">
                  <c:v>4.8308054961409264</c:v>
                </c:pt>
                <c:pt idx="9655">
                  <c:v>6.112296889014071</c:v>
                </c:pt>
                <c:pt idx="9656">
                  <c:v>5.1404447643174871</c:v>
                </c:pt>
                <c:pt idx="9657">
                  <c:v>5.9721518245532135</c:v>
                </c:pt>
                <c:pt idx="9658">
                  <c:v>6.0877577865688375</c:v>
                </c:pt>
                <c:pt idx="9659">
                  <c:v>4.9153412271179153</c:v>
                </c:pt>
                <c:pt idx="9660">
                  <c:v>5.9907629328919318</c:v>
                </c:pt>
                <c:pt idx="9661">
                  <c:v>6.1488159384079548</c:v>
                </c:pt>
                <c:pt idx="9662">
                  <c:v>5.1659263377292293</c:v>
                </c:pt>
                <c:pt idx="9663">
                  <c:v>6.0667229014591664</c:v>
                </c:pt>
                <c:pt idx="9664">
                  <c:v>6.0836614166439951</c:v>
                </c:pt>
                <c:pt idx="9665">
                  <c:v>4.9253316826150408</c:v>
                </c:pt>
                <c:pt idx="9666">
                  <c:v>5.0768624288872024</c:v>
                </c:pt>
                <c:pt idx="9667">
                  <c:v>5.0346494847623173</c:v>
                </c:pt>
                <c:pt idx="9668">
                  <c:v>5.9704368783994832</c:v>
                </c:pt>
                <c:pt idx="9669">
                  <c:v>4.8174365782958191</c:v>
                </c:pt>
                <c:pt idx="9670">
                  <c:v>5.212637437375089</c:v>
                </c:pt>
                <c:pt idx="9671">
                  <c:v>5.9046818436135906</c:v>
                </c:pt>
                <c:pt idx="9672">
                  <c:v>4.9884676219646504</c:v>
                </c:pt>
                <c:pt idx="9673">
                  <c:v>6.0268604177681304</c:v>
                </c:pt>
                <c:pt idx="9674">
                  <c:v>5.8700013399919868</c:v>
                </c:pt>
                <c:pt idx="9675">
                  <c:v>6.1494510769544801</c:v>
                </c:pt>
                <c:pt idx="9676">
                  <c:v>6.0549535218244337</c:v>
                </c:pt>
                <c:pt idx="9677">
                  <c:v>5.9608687769394839</c:v>
                </c:pt>
                <c:pt idx="9678">
                  <c:v>5.948865511527166</c:v>
                </c:pt>
                <c:pt idx="9679">
                  <c:v>6.0563991640296857</c:v>
                </c:pt>
                <c:pt idx="9680">
                  <c:v>5.0618195095464946</c:v>
                </c:pt>
                <c:pt idx="9681">
                  <c:v>5.895462981265621</c:v>
                </c:pt>
                <c:pt idx="9682">
                  <c:v>4.0023356133864905</c:v>
                </c:pt>
                <c:pt idx="9683">
                  <c:v>4.0195888370899899</c:v>
                </c:pt>
                <c:pt idx="9684">
                  <c:v>6.8932439663567182</c:v>
                </c:pt>
                <c:pt idx="9685">
                  <c:v>5.9319840812289222</c:v>
                </c:pt>
                <c:pt idx="9686">
                  <c:v>6.0106733027640455</c:v>
                </c:pt>
                <c:pt idx="9687">
                  <c:v>5.9732357913415415</c:v>
                </c:pt>
                <c:pt idx="9688">
                  <c:v>6.1314103404013949</c:v>
                </c:pt>
                <c:pt idx="9689">
                  <c:v>5.9153728966973906</c:v>
                </c:pt>
                <c:pt idx="9690">
                  <c:v>6.2025711188714698</c:v>
                </c:pt>
                <c:pt idx="9691">
                  <c:v>5.8519443906149879</c:v>
                </c:pt>
                <c:pt idx="9692">
                  <c:v>6.1657510797163253</c:v>
                </c:pt>
                <c:pt idx="9693">
                  <c:v>5.1447120220490348</c:v>
                </c:pt>
                <c:pt idx="9694">
                  <c:v>5.0017707735617076</c:v>
                </c:pt>
                <c:pt idx="9695">
                  <c:v>5.1266142085281796</c:v>
                </c:pt>
                <c:pt idx="9696">
                  <c:v>4.9671457049824514</c:v>
                </c:pt>
                <c:pt idx="9697">
                  <c:v>5.0594448625168651</c:v>
                </c:pt>
                <c:pt idx="9698">
                  <c:v>4.8632927151421601</c:v>
                </c:pt>
                <c:pt idx="9699">
                  <c:v>5.9010825379645961</c:v>
                </c:pt>
                <c:pt idx="9700">
                  <c:v>5.001750966358073</c:v>
                </c:pt>
                <c:pt idx="9701">
                  <c:v>6.0402284179155439</c:v>
                </c:pt>
                <c:pt idx="9702">
                  <c:v>5.9830160766646543</c:v>
                </c:pt>
                <c:pt idx="9703">
                  <c:v>5.8424753190606129</c:v>
                </c:pt>
                <c:pt idx="9704">
                  <c:v>6.069950807879736</c:v>
                </c:pt>
                <c:pt idx="9705">
                  <c:v>6.0391263157196171</c:v>
                </c:pt>
                <c:pt idx="9706">
                  <c:v>6.0564201690562127</c:v>
                </c:pt>
                <c:pt idx="9707">
                  <c:v>5.0321259255561213</c:v>
                </c:pt>
                <c:pt idx="9708">
                  <c:v>4.0307375105215568</c:v>
                </c:pt>
                <c:pt idx="9709">
                  <c:v>4.8137673704146149</c:v>
                </c:pt>
                <c:pt idx="9710">
                  <c:v>5.9062480380493172</c:v>
                </c:pt>
                <c:pt idx="9711">
                  <c:v>5.1590251931376132</c:v>
                </c:pt>
                <c:pt idx="9712">
                  <c:v>5.9915768043177611</c:v>
                </c:pt>
                <c:pt idx="9713">
                  <c:v>5.9535546918861106</c:v>
                </c:pt>
                <c:pt idx="9714">
                  <c:v>5.9741507033697818</c:v>
                </c:pt>
                <c:pt idx="9715">
                  <c:v>6.0071455592914047</c:v>
                </c:pt>
                <c:pt idx="9716">
                  <c:v>2.910928797674746</c:v>
                </c:pt>
                <c:pt idx="9717">
                  <c:v>5.8545744685034675</c:v>
                </c:pt>
                <c:pt idx="9718">
                  <c:v>5.9939939577005674</c:v>
                </c:pt>
                <c:pt idx="9719">
                  <c:v>2.9094285139093632</c:v>
                </c:pt>
                <c:pt idx="9720">
                  <c:v>5.1022514293502459</c:v>
                </c:pt>
                <c:pt idx="9721">
                  <c:v>2.9703911315938614</c:v>
                </c:pt>
                <c:pt idx="9722">
                  <c:v>5.0450301965538467</c:v>
                </c:pt>
                <c:pt idx="9723">
                  <c:v>5.9875685542552928</c:v>
                </c:pt>
                <c:pt idx="9724">
                  <c:v>5.9322766514047212</c:v>
                </c:pt>
                <c:pt idx="9725">
                  <c:v>5.9382197137468946</c:v>
                </c:pt>
                <c:pt idx="9726">
                  <c:v>4.9375824157219146</c:v>
                </c:pt>
                <c:pt idx="9727">
                  <c:v>4.8856599388567332</c:v>
                </c:pt>
                <c:pt idx="9728">
                  <c:v>5.9735814021808373</c:v>
                </c:pt>
                <c:pt idx="9729">
                  <c:v>6.0663845087494552</c:v>
                </c:pt>
                <c:pt idx="9730">
                  <c:v>6.9092863659930241</c:v>
                </c:pt>
                <c:pt idx="9731">
                  <c:v>5.9505231250166597</c:v>
                </c:pt>
                <c:pt idx="9732">
                  <c:v>5.9630228614957552</c:v>
                </c:pt>
                <c:pt idx="9733">
                  <c:v>4.9484497463167596</c:v>
                </c:pt>
                <c:pt idx="9734">
                  <c:v>5.1166721484342945</c:v>
                </c:pt>
                <c:pt idx="9735">
                  <c:v>6.24630205695372</c:v>
                </c:pt>
                <c:pt idx="9736">
                  <c:v>4.9571740434828504</c:v>
                </c:pt>
                <c:pt idx="9737">
                  <c:v>5.9670102431938732</c:v>
                </c:pt>
                <c:pt idx="9738">
                  <c:v>6.0629113960026375</c:v>
                </c:pt>
                <c:pt idx="9739">
                  <c:v>6.0154910043138257</c:v>
                </c:pt>
                <c:pt idx="9740">
                  <c:v>6.0621850351185094</c:v>
                </c:pt>
                <c:pt idx="9741">
                  <c:v>5.9293206374421992</c:v>
                </c:pt>
                <c:pt idx="9742">
                  <c:v>5.9942309630383832</c:v>
                </c:pt>
                <c:pt idx="9743">
                  <c:v>6.8795675695445606</c:v>
                </c:pt>
                <c:pt idx="9744">
                  <c:v>6.0254596542420078</c:v>
                </c:pt>
                <c:pt idx="9745">
                  <c:v>6.0277643444637219</c:v>
                </c:pt>
                <c:pt idx="9746">
                  <c:v>5.9505226522633841</c:v>
                </c:pt>
                <c:pt idx="9747">
                  <c:v>6.0401224733741383</c:v>
                </c:pt>
                <c:pt idx="9748">
                  <c:v>5.0256835848171102</c:v>
                </c:pt>
                <c:pt idx="9749">
                  <c:v>4.9072874591944631</c:v>
                </c:pt>
                <c:pt idx="9750">
                  <c:v>4.8281322478726798</c:v>
                </c:pt>
                <c:pt idx="9751">
                  <c:v>6.1047456188203046</c:v>
                </c:pt>
                <c:pt idx="9752">
                  <c:v>5.0662739683800462</c:v>
                </c:pt>
                <c:pt idx="9753">
                  <c:v>5.087634730296803</c:v>
                </c:pt>
                <c:pt idx="9754">
                  <c:v>1.9318062446772142</c:v>
                </c:pt>
                <c:pt idx="9755">
                  <c:v>1.9606230070228625</c:v>
                </c:pt>
                <c:pt idx="9756">
                  <c:v>6.0218019749832177</c:v>
                </c:pt>
                <c:pt idx="9757">
                  <c:v>5.0144398548965166</c:v>
                </c:pt>
                <c:pt idx="9758">
                  <c:v>5.0871416233646904</c:v>
                </c:pt>
                <c:pt idx="9759">
                  <c:v>5.0024939107788811</c:v>
                </c:pt>
                <c:pt idx="9760">
                  <c:v>5.0325478315521313</c:v>
                </c:pt>
                <c:pt idx="9761">
                  <c:v>6.1428066109479307</c:v>
                </c:pt>
                <c:pt idx="9762">
                  <c:v>5.8764656030808284</c:v>
                </c:pt>
                <c:pt idx="9763">
                  <c:v>4.8256747870335932</c:v>
                </c:pt>
                <c:pt idx="9764">
                  <c:v>5.8732703808195392</c:v>
                </c:pt>
                <c:pt idx="9765">
                  <c:v>6.0765664350321851</c:v>
                </c:pt>
                <c:pt idx="9766">
                  <c:v>6.9280002187633194</c:v>
                </c:pt>
                <c:pt idx="9767">
                  <c:v>5.9583949927576425</c:v>
                </c:pt>
                <c:pt idx="9768">
                  <c:v>5.0469478070828515</c:v>
                </c:pt>
                <c:pt idx="9769">
                  <c:v>6.0455423603405762</c:v>
                </c:pt>
                <c:pt idx="9770">
                  <c:v>5.931844452027188</c:v>
                </c:pt>
                <c:pt idx="9771">
                  <c:v>6.0635631804431753</c:v>
                </c:pt>
                <c:pt idx="9772">
                  <c:v>6.0921419761633739</c:v>
                </c:pt>
                <c:pt idx="9773">
                  <c:v>5.9314542139130557</c:v>
                </c:pt>
                <c:pt idx="9774">
                  <c:v>6.0511470707270858</c:v>
                </c:pt>
                <c:pt idx="9775">
                  <c:v>5.980303433427606</c:v>
                </c:pt>
                <c:pt idx="9776">
                  <c:v>6.2146487476230359</c:v>
                </c:pt>
                <c:pt idx="9777">
                  <c:v>5.9994325056539299</c:v>
                </c:pt>
                <c:pt idx="9778">
                  <c:v>4.8369598595527599</c:v>
                </c:pt>
                <c:pt idx="9779">
                  <c:v>3.0798320571685172</c:v>
                </c:pt>
                <c:pt idx="9780">
                  <c:v>6.1223342654138149</c:v>
                </c:pt>
                <c:pt idx="9781">
                  <c:v>6.0319020264165752</c:v>
                </c:pt>
                <c:pt idx="9782">
                  <c:v>5.9828905367394878</c:v>
                </c:pt>
                <c:pt idx="9783">
                  <c:v>5.0001101872250047</c:v>
                </c:pt>
                <c:pt idx="9784">
                  <c:v>5.023035920134828</c:v>
                </c:pt>
                <c:pt idx="9785">
                  <c:v>5.9090265810320286</c:v>
                </c:pt>
                <c:pt idx="9786">
                  <c:v>6.1523296822791345</c:v>
                </c:pt>
                <c:pt idx="9787">
                  <c:v>6.0188021656956554</c:v>
                </c:pt>
                <c:pt idx="9788">
                  <c:v>5.9596734903953781</c:v>
                </c:pt>
                <c:pt idx="9789">
                  <c:v>5.8996267807317402</c:v>
                </c:pt>
                <c:pt idx="9790">
                  <c:v>5.1008272776409074</c:v>
                </c:pt>
                <c:pt idx="9791">
                  <c:v>5.9922937094435316</c:v>
                </c:pt>
                <c:pt idx="9792">
                  <c:v>5.9749488014842767</c:v>
                </c:pt>
                <c:pt idx="9793">
                  <c:v>5.6959144752045718</c:v>
                </c:pt>
                <c:pt idx="9794">
                  <c:v>5.8755152082816249</c:v>
                </c:pt>
                <c:pt idx="9795">
                  <c:v>6.1311238247973012</c:v>
                </c:pt>
                <c:pt idx="9796">
                  <c:v>6.1733875071755699</c:v>
                </c:pt>
                <c:pt idx="9797">
                  <c:v>6.0888786413494458</c:v>
                </c:pt>
                <c:pt idx="9798">
                  <c:v>5.9360178171359212</c:v>
                </c:pt>
                <c:pt idx="9799">
                  <c:v>5.9857854339549865</c:v>
                </c:pt>
                <c:pt idx="9800">
                  <c:v>5.8215118859532851</c:v>
                </c:pt>
                <c:pt idx="9801">
                  <c:v>4.8976600751388748</c:v>
                </c:pt>
                <c:pt idx="9802">
                  <c:v>6.0775666525805008</c:v>
                </c:pt>
                <c:pt idx="9803">
                  <c:v>5.8794327093285021</c:v>
                </c:pt>
                <c:pt idx="9804">
                  <c:v>6.1230797876485319</c:v>
                </c:pt>
                <c:pt idx="9805">
                  <c:v>6.0898244579866381</c:v>
                </c:pt>
                <c:pt idx="9806">
                  <c:v>6.1292865334461153</c:v>
                </c:pt>
                <c:pt idx="9807">
                  <c:v>6.8912665204084602</c:v>
                </c:pt>
                <c:pt idx="9808">
                  <c:v>4.9953563705557782</c:v>
                </c:pt>
                <c:pt idx="9809">
                  <c:v>6.1182209975938511</c:v>
                </c:pt>
                <c:pt idx="9810">
                  <c:v>4.9081860045229933</c:v>
                </c:pt>
                <c:pt idx="9811">
                  <c:v>5.9255479884870734</c:v>
                </c:pt>
                <c:pt idx="9812">
                  <c:v>6.1390118427808602</c:v>
                </c:pt>
                <c:pt idx="9813">
                  <c:v>2.9826318074555243</c:v>
                </c:pt>
                <c:pt idx="9814">
                  <c:v>6.0547081412299466</c:v>
                </c:pt>
                <c:pt idx="9815">
                  <c:v>4.9572762579147689</c:v>
                </c:pt>
                <c:pt idx="9816">
                  <c:v>5.9239390985265521</c:v>
                </c:pt>
                <c:pt idx="9817">
                  <c:v>5.7519619650314375</c:v>
                </c:pt>
                <c:pt idx="9818">
                  <c:v>6.2028820949355854</c:v>
                </c:pt>
                <c:pt idx="9819">
                  <c:v>5.0341353079234468</c:v>
                </c:pt>
                <c:pt idx="9820">
                  <c:v>6.1165638239583835</c:v>
                </c:pt>
                <c:pt idx="9821">
                  <c:v>5.9158527929723279</c:v>
                </c:pt>
                <c:pt idx="9822">
                  <c:v>5.1532778430541644</c:v>
                </c:pt>
                <c:pt idx="9823">
                  <c:v>5.9132037800151194</c:v>
                </c:pt>
                <c:pt idx="9824">
                  <c:v>6.0577015148612752</c:v>
                </c:pt>
                <c:pt idx="9825">
                  <c:v>6.1453218422314411</c:v>
                </c:pt>
                <c:pt idx="9826">
                  <c:v>5.8780441119279692</c:v>
                </c:pt>
                <c:pt idx="9827">
                  <c:v>5.0898211600746697</c:v>
                </c:pt>
                <c:pt idx="9828">
                  <c:v>4.7578697175007987</c:v>
                </c:pt>
                <c:pt idx="9829">
                  <c:v>5.8773914584027871</c:v>
                </c:pt>
                <c:pt idx="9830">
                  <c:v>4.9777544546879096</c:v>
                </c:pt>
                <c:pt idx="9831">
                  <c:v>7.0603775218910076</c:v>
                </c:pt>
                <c:pt idx="9832">
                  <c:v>4.9617571172863748</c:v>
                </c:pt>
                <c:pt idx="9833">
                  <c:v>4.7690818886301356</c:v>
                </c:pt>
                <c:pt idx="9834">
                  <c:v>5.0639666662545793</c:v>
                </c:pt>
                <c:pt idx="9835">
                  <c:v>5.9103073297297062</c:v>
                </c:pt>
                <c:pt idx="9836">
                  <c:v>4.901511774064395</c:v>
                </c:pt>
                <c:pt idx="9837">
                  <c:v>7.0478195845428226</c:v>
                </c:pt>
                <c:pt idx="9838">
                  <c:v>4.930654162940038</c:v>
                </c:pt>
                <c:pt idx="9839">
                  <c:v>6.0668582663435471</c:v>
                </c:pt>
                <c:pt idx="9840">
                  <c:v>5.1105253233302355</c:v>
                </c:pt>
                <c:pt idx="9841">
                  <c:v>4.886845324659534</c:v>
                </c:pt>
                <c:pt idx="9842">
                  <c:v>6.0761143650216303</c:v>
                </c:pt>
                <c:pt idx="9843">
                  <c:v>5.0043806633124257</c:v>
                </c:pt>
                <c:pt idx="9844">
                  <c:v>5.9221493277888788</c:v>
                </c:pt>
                <c:pt idx="9845">
                  <c:v>6.0307008428962954</c:v>
                </c:pt>
                <c:pt idx="9846">
                  <c:v>5.8562687437954972</c:v>
                </c:pt>
                <c:pt idx="9847">
                  <c:v>6.0480594746899259</c:v>
                </c:pt>
                <c:pt idx="9848">
                  <c:v>4.9466330381816705</c:v>
                </c:pt>
                <c:pt idx="9849">
                  <c:v>4.9796149380853851</c:v>
                </c:pt>
                <c:pt idx="9850">
                  <c:v>7.1569132313230632</c:v>
                </c:pt>
                <c:pt idx="9851">
                  <c:v>6.1128923051166444</c:v>
                </c:pt>
                <c:pt idx="9852">
                  <c:v>5.9502125667408468</c:v>
                </c:pt>
                <c:pt idx="9853">
                  <c:v>6.9157423045193456</c:v>
                </c:pt>
                <c:pt idx="9854">
                  <c:v>6.9264494554276048</c:v>
                </c:pt>
                <c:pt idx="9855">
                  <c:v>6.9091649133176594</c:v>
                </c:pt>
                <c:pt idx="9856">
                  <c:v>6.9731635292180085</c:v>
                </c:pt>
                <c:pt idx="9857">
                  <c:v>5.9602560536960709</c:v>
                </c:pt>
                <c:pt idx="9858">
                  <c:v>5.8376070096843327</c:v>
                </c:pt>
                <c:pt idx="9859">
                  <c:v>5.8861478829984346</c:v>
                </c:pt>
                <c:pt idx="9860">
                  <c:v>5.0835980224713211</c:v>
                </c:pt>
                <c:pt idx="9861">
                  <c:v>5.1322022267834848</c:v>
                </c:pt>
                <c:pt idx="9862">
                  <c:v>6.0010725437122074</c:v>
                </c:pt>
                <c:pt idx="9863">
                  <c:v>5.9783307431523101</c:v>
                </c:pt>
                <c:pt idx="9864">
                  <c:v>5.9980960179940821</c:v>
                </c:pt>
                <c:pt idx="9865">
                  <c:v>4.9468422950320692</c:v>
                </c:pt>
                <c:pt idx="9866">
                  <c:v>6.0147770726931267</c:v>
                </c:pt>
                <c:pt idx="9867">
                  <c:v>4.9097460768546517</c:v>
                </c:pt>
                <c:pt idx="9868">
                  <c:v>5.9039257171991046</c:v>
                </c:pt>
                <c:pt idx="9869">
                  <c:v>4.9909912885026273</c:v>
                </c:pt>
                <c:pt idx="9870">
                  <c:v>5.0146535424597509</c:v>
                </c:pt>
                <c:pt idx="9871">
                  <c:v>4.8131717474255886</c:v>
                </c:pt>
                <c:pt idx="9872">
                  <c:v>4.9633790287625539</c:v>
                </c:pt>
                <c:pt idx="9873">
                  <c:v>6.1142431012842033</c:v>
                </c:pt>
                <c:pt idx="9874">
                  <c:v>5.8763244752015567</c:v>
                </c:pt>
                <c:pt idx="9875">
                  <c:v>5.8388364499165624</c:v>
                </c:pt>
                <c:pt idx="9876">
                  <c:v>7.1046301498941418</c:v>
                </c:pt>
                <c:pt idx="9877">
                  <c:v>5.972548886359677</c:v>
                </c:pt>
                <c:pt idx="9878">
                  <c:v>6.048342722955474</c:v>
                </c:pt>
                <c:pt idx="9879">
                  <c:v>4.952522066866865</c:v>
                </c:pt>
                <c:pt idx="9880">
                  <c:v>4.9826683350540755</c:v>
                </c:pt>
                <c:pt idx="9881">
                  <c:v>5.9652673508392766</c:v>
                </c:pt>
                <c:pt idx="9882">
                  <c:v>5.9038698168317065</c:v>
                </c:pt>
                <c:pt idx="9883">
                  <c:v>6.1661174485551102</c:v>
                </c:pt>
                <c:pt idx="9884">
                  <c:v>5.8415401171338734</c:v>
                </c:pt>
                <c:pt idx="9885">
                  <c:v>5.189513837903946</c:v>
                </c:pt>
                <c:pt idx="9886">
                  <c:v>4.9751596529537609</c:v>
                </c:pt>
                <c:pt idx="9887">
                  <c:v>4.9729990429220194</c:v>
                </c:pt>
                <c:pt idx="9888">
                  <c:v>6.033076171140495</c:v>
                </c:pt>
                <c:pt idx="9889">
                  <c:v>5.1867645153668782</c:v>
                </c:pt>
                <c:pt idx="9890">
                  <c:v>6.0933615467137585</c:v>
                </c:pt>
                <c:pt idx="9891">
                  <c:v>6.9854275616051389</c:v>
                </c:pt>
                <c:pt idx="9892">
                  <c:v>4.9292678848736813</c:v>
                </c:pt>
                <c:pt idx="9893">
                  <c:v>5.0570349784204716</c:v>
                </c:pt>
                <c:pt idx="9894">
                  <c:v>5.0815593482239043</c:v>
                </c:pt>
                <c:pt idx="9895">
                  <c:v>4.9745899041734241</c:v>
                </c:pt>
                <c:pt idx="9896">
                  <c:v>5.8484542620734272</c:v>
                </c:pt>
                <c:pt idx="9897">
                  <c:v>5.0704523026256743</c:v>
                </c:pt>
                <c:pt idx="9898">
                  <c:v>5.8501077406930158</c:v>
                </c:pt>
                <c:pt idx="9899">
                  <c:v>5.94381934475597</c:v>
                </c:pt>
                <c:pt idx="9900">
                  <c:v>5.8401427567092767</c:v>
                </c:pt>
                <c:pt idx="9901">
                  <c:v>5.9379981793782184</c:v>
                </c:pt>
                <c:pt idx="9902">
                  <c:v>5.0708863194891443</c:v>
                </c:pt>
                <c:pt idx="9903">
                  <c:v>7.0468587245942826</c:v>
                </c:pt>
                <c:pt idx="9904">
                  <c:v>6.1204474927619978</c:v>
                </c:pt>
                <c:pt idx="9905">
                  <c:v>5.1401935672982422</c:v>
                </c:pt>
                <c:pt idx="9906">
                  <c:v>6.0195897854286899</c:v>
                </c:pt>
                <c:pt idx="9907">
                  <c:v>6.1245479774535339</c:v>
                </c:pt>
                <c:pt idx="9908">
                  <c:v>6.0486172548601651</c:v>
                </c:pt>
                <c:pt idx="9909">
                  <c:v>5.9802819735128514</c:v>
                </c:pt>
                <c:pt idx="9910">
                  <c:v>5.9876721478100725</c:v>
                </c:pt>
                <c:pt idx="9911">
                  <c:v>5.1201448859329064</c:v>
                </c:pt>
                <c:pt idx="9912">
                  <c:v>6.0198362413420554</c:v>
                </c:pt>
                <c:pt idx="9913">
                  <c:v>4.8232398819467361</c:v>
                </c:pt>
                <c:pt idx="9914">
                  <c:v>5.1415626600558548</c:v>
                </c:pt>
                <c:pt idx="9915">
                  <c:v>5.9887194735764631</c:v>
                </c:pt>
                <c:pt idx="9916">
                  <c:v>6.0792648328848351</c:v>
                </c:pt>
                <c:pt idx="9917">
                  <c:v>5.0925233680534925</c:v>
                </c:pt>
                <c:pt idx="9918">
                  <c:v>6.0702390286045373</c:v>
                </c:pt>
                <c:pt idx="9919">
                  <c:v>5.091668885905074</c:v>
                </c:pt>
                <c:pt idx="9920">
                  <c:v>5.0533998866209799</c:v>
                </c:pt>
                <c:pt idx="9921">
                  <c:v>4.9228771326102292</c:v>
                </c:pt>
                <c:pt idx="9922">
                  <c:v>5.0348827184673581</c:v>
                </c:pt>
                <c:pt idx="9923">
                  <c:v>5.2065220017705176</c:v>
                </c:pt>
                <c:pt idx="9924">
                  <c:v>5.9837435915548545</c:v>
                </c:pt>
                <c:pt idx="9925">
                  <c:v>5.9591819017650929</c:v>
                </c:pt>
                <c:pt idx="9926">
                  <c:v>4.9813898059429418</c:v>
                </c:pt>
                <c:pt idx="9927">
                  <c:v>6.7686933016470752</c:v>
                </c:pt>
                <c:pt idx="9928">
                  <c:v>5.9704769121431402</c:v>
                </c:pt>
                <c:pt idx="9929">
                  <c:v>5.9113674201641144</c:v>
                </c:pt>
                <c:pt idx="9930">
                  <c:v>7.009221592286897</c:v>
                </c:pt>
                <c:pt idx="9931">
                  <c:v>5.9280901741758036</c:v>
                </c:pt>
                <c:pt idx="9932">
                  <c:v>5.9184490170138151</c:v>
                </c:pt>
                <c:pt idx="9933">
                  <c:v>2.9649255073497107</c:v>
                </c:pt>
                <c:pt idx="9934">
                  <c:v>4.8453341003813684</c:v>
                </c:pt>
                <c:pt idx="9935">
                  <c:v>7.0495626251881349</c:v>
                </c:pt>
                <c:pt idx="9936">
                  <c:v>6.0988111205618063</c:v>
                </c:pt>
                <c:pt idx="9937">
                  <c:v>5.0043633950320174</c:v>
                </c:pt>
                <c:pt idx="9938">
                  <c:v>6.0134680903197468</c:v>
                </c:pt>
                <c:pt idx="9939">
                  <c:v>6.06222635590371</c:v>
                </c:pt>
                <c:pt idx="9940">
                  <c:v>7.0287566569185556</c:v>
                </c:pt>
                <c:pt idx="9941">
                  <c:v>7.008107956215107</c:v>
                </c:pt>
                <c:pt idx="9942">
                  <c:v>6.0892440918914774</c:v>
                </c:pt>
                <c:pt idx="9943">
                  <c:v>6.9323446248942471</c:v>
                </c:pt>
                <c:pt idx="9944">
                  <c:v>7.0769539138889535</c:v>
                </c:pt>
                <c:pt idx="9945">
                  <c:v>7.0606503132671667</c:v>
                </c:pt>
                <c:pt idx="9946">
                  <c:v>5.8694864719419364</c:v>
                </c:pt>
                <c:pt idx="9947">
                  <c:v>7.0689149509979643</c:v>
                </c:pt>
                <c:pt idx="9948">
                  <c:v>5.9187280736941243</c:v>
                </c:pt>
                <c:pt idx="9949">
                  <c:v>6.2195795508622815</c:v>
                </c:pt>
                <c:pt idx="9950">
                  <c:v>6.1140034589582468</c:v>
                </c:pt>
                <c:pt idx="9951">
                  <c:v>5.9860451192893969</c:v>
                </c:pt>
                <c:pt idx="9952">
                  <c:v>7.2148351896278271</c:v>
                </c:pt>
                <c:pt idx="9953">
                  <c:v>5.9346359860952269</c:v>
                </c:pt>
                <c:pt idx="9954">
                  <c:v>6.0775195380544247</c:v>
                </c:pt>
                <c:pt idx="9955">
                  <c:v>6.0817824321797413</c:v>
                </c:pt>
                <c:pt idx="9956">
                  <c:v>4.985405455999615</c:v>
                </c:pt>
                <c:pt idx="9957">
                  <c:v>6.0558110974774078</c:v>
                </c:pt>
                <c:pt idx="9958">
                  <c:v>6.0640618032481148</c:v>
                </c:pt>
                <c:pt idx="9959">
                  <c:v>5.0327922233456084</c:v>
                </c:pt>
                <c:pt idx="9960">
                  <c:v>4.8799047712171983</c:v>
                </c:pt>
                <c:pt idx="9961">
                  <c:v>5.8827142839585873</c:v>
                </c:pt>
                <c:pt idx="9962">
                  <c:v>7.1667314834160321</c:v>
                </c:pt>
                <c:pt idx="9963">
                  <c:v>6.0379292017036938</c:v>
                </c:pt>
                <c:pt idx="9964">
                  <c:v>3.9866178189481358</c:v>
                </c:pt>
                <c:pt idx="9965">
                  <c:v>6.017945931698522</c:v>
                </c:pt>
                <c:pt idx="9966">
                  <c:v>4.7930521464638041</c:v>
                </c:pt>
                <c:pt idx="9967">
                  <c:v>5.0280860640985532</c:v>
                </c:pt>
                <c:pt idx="9968">
                  <c:v>5.9107031771321301</c:v>
                </c:pt>
                <c:pt idx="9969">
                  <c:v>5.8619317161076561</c:v>
                </c:pt>
                <c:pt idx="9970">
                  <c:v>5.9057238368453744</c:v>
                </c:pt>
                <c:pt idx="9971">
                  <c:v>5.0448960433264762</c:v>
                </c:pt>
                <c:pt idx="9972">
                  <c:v>5.9203921558111841</c:v>
                </c:pt>
                <c:pt idx="9973">
                  <c:v>5.0609740598687054</c:v>
                </c:pt>
                <c:pt idx="9974">
                  <c:v>4.8062870700343794</c:v>
                </c:pt>
                <c:pt idx="9975">
                  <c:v>6.1836530558304617</c:v>
                </c:pt>
                <c:pt idx="9976">
                  <c:v>5.945332464714471</c:v>
                </c:pt>
                <c:pt idx="9977">
                  <c:v>5.9826591401860973</c:v>
                </c:pt>
                <c:pt idx="9978">
                  <c:v>5.8208818503719391</c:v>
                </c:pt>
                <c:pt idx="9979">
                  <c:v>4.7935964672882463</c:v>
                </c:pt>
                <c:pt idx="9980">
                  <c:v>5.0166442628072607</c:v>
                </c:pt>
                <c:pt idx="9981">
                  <c:v>7.1083400936942862</c:v>
                </c:pt>
                <c:pt idx="9982">
                  <c:v>6.0119678026741337</c:v>
                </c:pt>
                <c:pt idx="9983">
                  <c:v>4.9376097970428035</c:v>
                </c:pt>
                <c:pt idx="9984">
                  <c:v>6.0155524599628301</c:v>
                </c:pt>
                <c:pt idx="9985">
                  <c:v>4.8479288065266495</c:v>
                </c:pt>
                <c:pt idx="9986">
                  <c:v>5.8362538804783473</c:v>
                </c:pt>
                <c:pt idx="9987">
                  <c:v>5.0259264632241303</c:v>
                </c:pt>
                <c:pt idx="9988">
                  <c:v>4.799564993284565</c:v>
                </c:pt>
                <c:pt idx="9989">
                  <c:v>6.1198152819650558</c:v>
                </c:pt>
                <c:pt idx="9990">
                  <c:v>5.6169416928589255</c:v>
                </c:pt>
                <c:pt idx="9991">
                  <c:v>5.8898736550241617</c:v>
                </c:pt>
                <c:pt idx="9992">
                  <c:v>6.0667497014022107</c:v>
                </c:pt>
                <c:pt idx="9993">
                  <c:v>6.1337927630409501</c:v>
                </c:pt>
                <c:pt idx="9994">
                  <c:v>6.0855696743894558</c:v>
                </c:pt>
                <c:pt idx="9995">
                  <c:v>3.1908145412575264</c:v>
                </c:pt>
                <c:pt idx="9996">
                  <c:v>6.1772623401370668</c:v>
                </c:pt>
                <c:pt idx="9997">
                  <c:v>5.0780316735745474</c:v>
                </c:pt>
                <c:pt idx="9998">
                  <c:v>5.8781182371865794</c:v>
                </c:pt>
                <c:pt idx="9999">
                  <c:v>5.9363665325225909</c:v>
                </c:pt>
                <c:pt idx="10000">
                  <c:v>5.0808584126229865</c:v>
                </c:pt>
                <c:pt idx="10001">
                  <c:v>7.0900745858192069</c:v>
                </c:pt>
                <c:pt idx="10002">
                  <c:v>5.0909051977990867</c:v>
                </c:pt>
                <c:pt idx="10003">
                  <c:v>4.9664969742296794</c:v>
                </c:pt>
                <c:pt idx="10004">
                  <c:v>4.9657386890544712</c:v>
                </c:pt>
                <c:pt idx="10005">
                  <c:v>5.8663040370734132</c:v>
                </c:pt>
                <c:pt idx="10006">
                  <c:v>5.967652696996316</c:v>
                </c:pt>
                <c:pt idx="10007">
                  <c:v>5.9048239936226539</c:v>
                </c:pt>
                <c:pt idx="10008">
                  <c:v>6.0021809300005247</c:v>
                </c:pt>
                <c:pt idx="10009">
                  <c:v>6.2491629465409284</c:v>
                </c:pt>
                <c:pt idx="10010">
                  <c:v>6.0481894575655071</c:v>
                </c:pt>
                <c:pt idx="10011">
                  <c:v>7.0462024036923241</c:v>
                </c:pt>
                <c:pt idx="10012">
                  <c:v>7.0801742120688074</c:v>
                </c:pt>
                <c:pt idx="10013">
                  <c:v>6.0418515068407137</c:v>
                </c:pt>
                <c:pt idx="10014">
                  <c:v>6.1603466346300229</c:v>
                </c:pt>
                <c:pt idx="10015">
                  <c:v>4.0371857045636466</c:v>
                </c:pt>
                <c:pt idx="10016">
                  <c:v>5.8747183908183418</c:v>
                </c:pt>
                <c:pt idx="10017">
                  <c:v>4.9976802208051305</c:v>
                </c:pt>
                <c:pt idx="10018">
                  <c:v>5.9745786101329825</c:v>
                </c:pt>
                <c:pt idx="10019">
                  <c:v>4.8849136884146462</c:v>
                </c:pt>
                <c:pt idx="10020">
                  <c:v>6.041522988335509</c:v>
                </c:pt>
                <c:pt idx="10021">
                  <c:v>4.9939188175227835</c:v>
                </c:pt>
                <c:pt idx="10022">
                  <c:v>5.9699367689240805</c:v>
                </c:pt>
                <c:pt idx="10023">
                  <c:v>6.1068128676914766</c:v>
                </c:pt>
                <c:pt idx="10024">
                  <c:v>4.9611362718870051</c:v>
                </c:pt>
                <c:pt idx="10025">
                  <c:v>5.9475661868546883</c:v>
                </c:pt>
                <c:pt idx="10026">
                  <c:v>5.0025560353984222</c:v>
                </c:pt>
                <c:pt idx="10027">
                  <c:v>4.9797826387936368</c:v>
                </c:pt>
                <c:pt idx="10028">
                  <c:v>4.8500792269550654</c:v>
                </c:pt>
                <c:pt idx="10029">
                  <c:v>4.9446624622398501</c:v>
                </c:pt>
                <c:pt idx="10030">
                  <c:v>4.961190834764067</c:v>
                </c:pt>
                <c:pt idx="10031">
                  <c:v>4.6982688529750058</c:v>
                </c:pt>
                <c:pt idx="10032">
                  <c:v>5.9288851994724237</c:v>
                </c:pt>
                <c:pt idx="10033">
                  <c:v>6.0346426285074468</c:v>
                </c:pt>
                <c:pt idx="10034">
                  <c:v>5.0123750830661731</c:v>
                </c:pt>
                <c:pt idx="10035">
                  <c:v>6.1360767193862875</c:v>
                </c:pt>
                <c:pt idx="10036">
                  <c:v>5.9108655702214152</c:v>
                </c:pt>
                <c:pt idx="10037">
                  <c:v>4.9299398154828804</c:v>
                </c:pt>
                <c:pt idx="10038">
                  <c:v>5.9767216348388761</c:v>
                </c:pt>
                <c:pt idx="10039">
                  <c:v>6.0568485612141965</c:v>
                </c:pt>
                <c:pt idx="10040">
                  <c:v>4.9968929148418235</c:v>
                </c:pt>
                <c:pt idx="10041">
                  <c:v>6.0298734770212725</c:v>
                </c:pt>
                <c:pt idx="10042">
                  <c:v>4.8902672578702955</c:v>
                </c:pt>
                <c:pt idx="10043">
                  <c:v>5.1149758862392227</c:v>
                </c:pt>
                <c:pt idx="10044">
                  <c:v>4.928225006967268</c:v>
                </c:pt>
                <c:pt idx="10045">
                  <c:v>6.0209236698992861</c:v>
                </c:pt>
                <c:pt idx="10046">
                  <c:v>5.9379944133785063</c:v>
                </c:pt>
                <c:pt idx="10047">
                  <c:v>6.0365841943326988</c:v>
                </c:pt>
                <c:pt idx="10048">
                  <c:v>5.9186748343334967</c:v>
                </c:pt>
                <c:pt idx="10049">
                  <c:v>5.9848749391547598</c:v>
                </c:pt>
                <c:pt idx="10050">
                  <c:v>5.9885297924196284</c:v>
                </c:pt>
                <c:pt idx="10051">
                  <c:v>6.1148583681292115</c:v>
                </c:pt>
                <c:pt idx="10052">
                  <c:v>6.0693591964010558</c:v>
                </c:pt>
                <c:pt idx="10053">
                  <c:v>5.9006643505720788</c:v>
                </c:pt>
                <c:pt idx="10054">
                  <c:v>3.9259055474764768</c:v>
                </c:pt>
                <c:pt idx="10055">
                  <c:v>4.0689298915164231</c:v>
                </c:pt>
                <c:pt idx="10056">
                  <c:v>6.0532288863690455</c:v>
                </c:pt>
                <c:pt idx="10057">
                  <c:v>6.1332404679317154</c:v>
                </c:pt>
                <c:pt idx="10058">
                  <c:v>6.1199311509648346</c:v>
                </c:pt>
                <c:pt idx="10059">
                  <c:v>5.0423651701493473</c:v>
                </c:pt>
                <c:pt idx="10060">
                  <c:v>6.07597657436785</c:v>
                </c:pt>
                <c:pt idx="10061">
                  <c:v>5.0668468002964602</c:v>
                </c:pt>
                <c:pt idx="10062">
                  <c:v>4.9140837931016765</c:v>
                </c:pt>
                <c:pt idx="10063">
                  <c:v>5.9787283185719673</c:v>
                </c:pt>
                <c:pt idx="10064">
                  <c:v>5.0919810068831968</c:v>
                </c:pt>
                <c:pt idx="10065">
                  <c:v>4.9348380251385979</c:v>
                </c:pt>
                <c:pt idx="10066">
                  <c:v>6.0543779076096076</c:v>
                </c:pt>
                <c:pt idx="10067">
                  <c:v>4.972040098009578</c:v>
                </c:pt>
                <c:pt idx="10068">
                  <c:v>5.9207265090099046</c:v>
                </c:pt>
                <c:pt idx="10069">
                  <c:v>5.027879570092721</c:v>
                </c:pt>
                <c:pt idx="10070">
                  <c:v>4.8971491212648326</c:v>
                </c:pt>
                <c:pt idx="10071">
                  <c:v>6.1660673677659013</c:v>
                </c:pt>
                <c:pt idx="10072">
                  <c:v>5.9350071483226206</c:v>
                </c:pt>
                <c:pt idx="10073">
                  <c:v>5.1052442974725931</c:v>
                </c:pt>
                <c:pt idx="10074">
                  <c:v>5.0441848900684052</c:v>
                </c:pt>
                <c:pt idx="10075">
                  <c:v>6.1432107087445393</c:v>
                </c:pt>
                <c:pt idx="10076">
                  <c:v>5.9421360488959971</c:v>
                </c:pt>
                <c:pt idx="10077">
                  <c:v>5.8787387936503563</c:v>
                </c:pt>
                <c:pt idx="10078">
                  <c:v>5.0446123925194097</c:v>
                </c:pt>
                <c:pt idx="10079">
                  <c:v>6.1027135646240289</c:v>
                </c:pt>
                <c:pt idx="10080">
                  <c:v>5.8795420982884261</c:v>
                </c:pt>
                <c:pt idx="10081">
                  <c:v>5.9998690137810424</c:v>
                </c:pt>
                <c:pt idx="10082">
                  <c:v>4.9835528313246042</c:v>
                </c:pt>
                <c:pt idx="10083">
                  <c:v>5.0209097646377066</c:v>
                </c:pt>
                <c:pt idx="10084">
                  <c:v>6.0757183237323691</c:v>
                </c:pt>
                <c:pt idx="10085">
                  <c:v>6.0739533209631151</c:v>
                </c:pt>
                <c:pt idx="10086">
                  <c:v>5.868763212145014</c:v>
                </c:pt>
                <c:pt idx="10087">
                  <c:v>5.068972030697136</c:v>
                </c:pt>
                <c:pt idx="10088">
                  <c:v>5.9211916022915592</c:v>
                </c:pt>
                <c:pt idx="10089">
                  <c:v>6.0761859552141582</c:v>
                </c:pt>
                <c:pt idx="10090">
                  <c:v>4.9992367477290607</c:v>
                </c:pt>
                <c:pt idx="10091">
                  <c:v>5.8278888914487386</c:v>
                </c:pt>
                <c:pt idx="10092">
                  <c:v>6.064147588857784</c:v>
                </c:pt>
                <c:pt idx="10093">
                  <c:v>6.1422954407554373</c:v>
                </c:pt>
                <c:pt idx="10094">
                  <c:v>5.9055344609716274</c:v>
                </c:pt>
                <c:pt idx="10095">
                  <c:v>6.0443335972853784</c:v>
                </c:pt>
                <c:pt idx="10096">
                  <c:v>6.0401693990254843</c:v>
                </c:pt>
                <c:pt idx="10097">
                  <c:v>6.0853397652750223</c:v>
                </c:pt>
                <c:pt idx="10098">
                  <c:v>5.1155617224670502</c:v>
                </c:pt>
                <c:pt idx="10099">
                  <c:v>4.9993178925560438</c:v>
                </c:pt>
                <c:pt idx="10100">
                  <c:v>5.9418381998127954</c:v>
                </c:pt>
                <c:pt idx="10101">
                  <c:v>4.8691569055930559</c:v>
                </c:pt>
                <c:pt idx="10102">
                  <c:v>5.9849547322042573</c:v>
                </c:pt>
                <c:pt idx="10103">
                  <c:v>6.1386142353364708</c:v>
                </c:pt>
                <c:pt idx="10104">
                  <c:v>4.8836180784508985</c:v>
                </c:pt>
                <c:pt idx="10105">
                  <c:v>4.0327561585699545</c:v>
                </c:pt>
                <c:pt idx="10106">
                  <c:v>4.9880608409691618</c:v>
                </c:pt>
                <c:pt idx="10107">
                  <c:v>5.9180698912400933</c:v>
                </c:pt>
                <c:pt idx="10108">
                  <c:v>4.8309438264072773</c:v>
                </c:pt>
                <c:pt idx="10109">
                  <c:v>5.0990927205565812</c:v>
                </c:pt>
                <c:pt idx="10110">
                  <c:v>6.0442465670798686</c:v>
                </c:pt>
                <c:pt idx="10111">
                  <c:v>4.9995841539464516</c:v>
                </c:pt>
                <c:pt idx="10112">
                  <c:v>5.210368752037418</c:v>
                </c:pt>
                <c:pt idx="10113">
                  <c:v>5.6384333350631746</c:v>
                </c:pt>
                <c:pt idx="10114">
                  <c:v>4.8888773609341794</c:v>
                </c:pt>
                <c:pt idx="10115">
                  <c:v>6.0995576478429356</c:v>
                </c:pt>
                <c:pt idx="10116">
                  <c:v>5.9060808610781255</c:v>
                </c:pt>
                <c:pt idx="10117">
                  <c:v>5.8934394399043137</c:v>
                </c:pt>
                <c:pt idx="10118">
                  <c:v>5.0488683989552054</c:v>
                </c:pt>
                <c:pt idx="10119">
                  <c:v>5.2658874384098553</c:v>
                </c:pt>
                <c:pt idx="10120">
                  <c:v>4.9979114000040701</c:v>
                </c:pt>
                <c:pt idx="10121">
                  <c:v>5.9441523592555745</c:v>
                </c:pt>
                <c:pt idx="10122">
                  <c:v>6.1440352572387873</c:v>
                </c:pt>
                <c:pt idx="10123">
                  <c:v>6.1165539147622203</c:v>
                </c:pt>
                <c:pt idx="10124">
                  <c:v>4.941962220291769</c:v>
                </c:pt>
                <c:pt idx="10125">
                  <c:v>6.3244007163582605</c:v>
                </c:pt>
                <c:pt idx="10126">
                  <c:v>5.0215981489326031</c:v>
                </c:pt>
                <c:pt idx="10127">
                  <c:v>6.1224859035968215</c:v>
                </c:pt>
                <c:pt idx="10128">
                  <c:v>5.9802940002695903</c:v>
                </c:pt>
                <c:pt idx="10129">
                  <c:v>5.8014143173258965</c:v>
                </c:pt>
                <c:pt idx="10130">
                  <c:v>5.0256106887663821</c:v>
                </c:pt>
                <c:pt idx="10131">
                  <c:v>6.0531735302495662</c:v>
                </c:pt>
                <c:pt idx="10132">
                  <c:v>5.9158917686411119</c:v>
                </c:pt>
                <c:pt idx="10133">
                  <c:v>6.1337849553678456</c:v>
                </c:pt>
                <c:pt idx="10134">
                  <c:v>5.8935300330179485</c:v>
                </c:pt>
                <c:pt idx="10135">
                  <c:v>5.1160238185528222</c:v>
                </c:pt>
                <c:pt idx="10136">
                  <c:v>5.962045090774347</c:v>
                </c:pt>
                <c:pt idx="10137">
                  <c:v>5.9295622471551344</c:v>
                </c:pt>
                <c:pt idx="10138">
                  <c:v>6.2111500737390859</c:v>
                </c:pt>
                <c:pt idx="10139">
                  <c:v>6.0773862602345901</c:v>
                </c:pt>
                <c:pt idx="10140">
                  <c:v>5.918305641261064</c:v>
                </c:pt>
                <c:pt idx="10141">
                  <c:v>4.8957833020101127</c:v>
                </c:pt>
                <c:pt idx="10142">
                  <c:v>5.958013805071559</c:v>
                </c:pt>
                <c:pt idx="10143">
                  <c:v>5.9620225815309231</c:v>
                </c:pt>
                <c:pt idx="10144">
                  <c:v>5.9054683282802483</c:v>
                </c:pt>
                <c:pt idx="10145">
                  <c:v>6.0652546616665948</c:v>
                </c:pt>
                <c:pt idx="10146">
                  <c:v>5.8996698600809889</c:v>
                </c:pt>
                <c:pt idx="10147">
                  <c:v>6.1212827265745622</c:v>
                </c:pt>
                <c:pt idx="10148">
                  <c:v>6.0562038288241222</c:v>
                </c:pt>
                <c:pt idx="10149">
                  <c:v>4.9659465362898603</c:v>
                </c:pt>
                <c:pt idx="10150">
                  <c:v>6.0496821983571287</c:v>
                </c:pt>
                <c:pt idx="10151">
                  <c:v>5.9385423671956099</c:v>
                </c:pt>
                <c:pt idx="10152">
                  <c:v>6.1573795976789469</c:v>
                </c:pt>
                <c:pt idx="10153">
                  <c:v>6.1445682376186443</c:v>
                </c:pt>
                <c:pt idx="10154">
                  <c:v>6.0002716569403365</c:v>
                </c:pt>
                <c:pt idx="10155">
                  <c:v>4.9710853291414727</c:v>
                </c:pt>
                <c:pt idx="10156">
                  <c:v>5.9314610847512066</c:v>
                </c:pt>
                <c:pt idx="10157">
                  <c:v>5.0184346583364823</c:v>
                </c:pt>
                <c:pt idx="10158">
                  <c:v>5.0987078992085619</c:v>
                </c:pt>
                <c:pt idx="10159">
                  <c:v>5.055862778961604</c:v>
                </c:pt>
                <c:pt idx="10160">
                  <c:v>6.1607777842427041</c:v>
                </c:pt>
                <c:pt idx="10161">
                  <c:v>5.8680124266265432</c:v>
                </c:pt>
                <c:pt idx="10162">
                  <c:v>6.1398683069933506</c:v>
                </c:pt>
                <c:pt idx="10163">
                  <c:v>5.1662092366552326</c:v>
                </c:pt>
                <c:pt idx="10164">
                  <c:v>5.0448941388171278</c:v>
                </c:pt>
                <c:pt idx="10165">
                  <c:v>5.0006592271257686</c:v>
                </c:pt>
                <c:pt idx="10166">
                  <c:v>6.0301260396347667</c:v>
                </c:pt>
                <c:pt idx="10167">
                  <c:v>5.9371318332332343</c:v>
                </c:pt>
                <c:pt idx="10168">
                  <c:v>5.9717171263116224</c:v>
                </c:pt>
                <c:pt idx="10169">
                  <c:v>5.0274691511528751</c:v>
                </c:pt>
                <c:pt idx="10170">
                  <c:v>5.9920671864962847</c:v>
                </c:pt>
                <c:pt idx="10171">
                  <c:v>4.9904828522559992</c:v>
                </c:pt>
                <c:pt idx="10172">
                  <c:v>5.8034074563484399</c:v>
                </c:pt>
                <c:pt idx="10173">
                  <c:v>5.1101708808010295</c:v>
                </c:pt>
                <c:pt idx="10174">
                  <c:v>5.9963627233780326</c:v>
                </c:pt>
                <c:pt idx="10175">
                  <c:v>5.9837595050144659</c:v>
                </c:pt>
                <c:pt idx="10176">
                  <c:v>6.0811610516497208</c:v>
                </c:pt>
                <c:pt idx="10177">
                  <c:v>4.8565088772922387</c:v>
                </c:pt>
                <c:pt idx="10178">
                  <c:v>6.0274145697273065</c:v>
                </c:pt>
                <c:pt idx="10179">
                  <c:v>5.0804442514435308</c:v>
                </c:pt>
                <c:pt idx="10180">
                  <c:v>5.935654983413218</c:v>
                </c:pt>
                <c:pt idx="10181">
                  <c:v>5.7941874828588205</c:v>
                </c:pt>
                <c:pt idx="10182">
                  <c:v>7.0698192426026507</c:v>
                </c:pt>
                <c:pt idx="10183">
                  <c:v>4.8154297932175938</c:v>
                </c:pt>
                <c:pt idx="10184">
                  <c:v>4.6961537118565984</c:v>
                </c:pt>
                <c:pt idx="10185">
                  <c:v>5.9248970021510452</c:v>
                </c:pt>
                <c:pt idx="10186">
                  <c:v>5.9236159621185136</c:v>
                </c:pt>
                <c:pt idx="10187">
                  <c:v>6.9097689617105305</c:v>
                </c:pt>
                <c:pt idx="10188">
                  <c:v>5.0774166238954495</c:v>
                </c:pt>
                <c:pt idx="10189">
                  <c:v>4.9977516506772783</c:v>
                </c:pt>
                <c:pt idx="10190">
                  <c:v>4.0103290929034134</c:v>
                </c:pt>
                <c:pt idx="10191">
                  <c:v>4.9746239165967756</c:v>
                </c:pt>
                <c:pt idx="10192">
                  <c:v>6.0662959307254365</c:v>
                </c:pt>
                <c:pt idx="10193">
                  <c:v>5.8478957258113029</c:v>
                </c:pt>
                <c:pt idx="10194">
                  <c:v>5.9010153404709023</c:v>
                </c:pt>
                <c:pt idx="10195">
                  <c:v>6.1207589262258155</c:v>
                </c:pt>
                <c:pt idx="10196">
                  <c:v>5.1374095274086651</c:v>
                </c:pt>
                <c:pt idx="10197">
                  <c:v>4.989471163755371</c:v>
                </c:pt>
                <c:pt idx="10198">
                  <c:v>6.0688812213537027</c:v>
                </c:pt>
                <c:pt idx="10199">
                  <c:v>5.0056524415571788</c:v>
                </c:pt>
                <c:pt idx="10200">
                  <c:v>5.9124834718967065</c:v>
                </c:pt>
                <c:pt idx="10201">
                  <c:v>4.8900015606792362</c:v>
                </c:pt>
                <c:pt idx="10202">
                  <c:v>5.976890317386947</c:v>
                </c:pt>
                <c:pt idx="10203">
                  <c:v>6.1130804645550674</c:v>
                </c:pt>
                <c:pt idx="10204">
                  <c:v>4.9657748506795372</c:v>
                </c:pt>
                <c:pt idx="10205">
                  <c:v>7.2008410679181223</c:v>
                </c:pt>
                <c:pt idx="10206">
                  <c:v>6.0339271992630508</c:v>
                </c:pt>
                <c:pt idx="10207">
                  <c:v>5.972515874447172</c:v>
                </c:pt>
                <c:pt idx="10208">
                  <c:v>6.187744962276561</c:v>
                </c:pt>
                <c:pt idx="10209">
                  <c:v>6.0271015822479121</c:v>
                </c:pt>
                <c:pt idx="10210">
                  <c:v>6.0463246662702597</c:v>
                </c:pt>
                <c:pt idx="10211">
                  <c:v>6.1458864633291936</c:v>
                </c:pt>
                <c:pt idx="10212">
                  <c:v>5.8023135512237074</c:v>
                </c:pt>
                <c:pt idx="10213">
                  <c:v>6.8707561496933387</c:v>
                </c:pt>
                <c:pt idx="10214">
                  <c:v>5.8397852631015557</c:v>
                </c:pt>
                <c:pt idx="10215">
                  <c:v>6.1349234434746274</c:v>
                </c:pt>
                <c:pt idx="10216">
                  <c:v>6.0187351435097174</c:v>
                </c:pt>
                <c:pt idx="10217">
                  <c:v>5.9110382573539413</c:v>
                </c:pt>
                <c:pt idx="10218">
                  <c:v>3.9827345155077634</c:v>
                </c:pt>
                <c:pt idx="10219">
                  <c:v>6.0054334487267411</c:v>
                </c:pt>
                <c:pt idx="10220">
                  <c:v>6.1070330454806854</c:v>
                </c:pt>
                <c:pt idx="10221">
                  <c:v>5.100749438150368</c:v>
                </c:pt>
                <c:pt idx="10222">
                  <c:v>6.9520114975030625</c:v>
                </c:pt>
                <c:pt idx="10223">
                  <c:v>5.9349986737564393</c:v>
                </c:pt>
                <c:pt idx="10224">
                  <c:v>4.9190802430513445</c:v>
                </c:pt>
                <c:pt idx="10225">
                  <c:v>5.9067757198227655</c:v>
                </c:pt>
                <c:pt idx="10226">
                  <c:v>4.9843450339489825</c:v>
                </c:pt>
                <c:pt idx="10227">
                  <c:v>5.9656274310523125</c:v>
                </c:pt>
                <c:pt idx="10228">
                  <c:v>4.9560425719428967</c:v>
                </c:pt>
                <c:pt idx="10229">
                  <c:v>5.9001390221489149</c:v>
                </c:pt>
                <c:pt idx="10230">
                  <c:v>6.0743573840674516</c:v>
                </c:pt>
                <c:pt idx="10231">
                  <c:v>4.997530314975295</c:v>
                </c:pt>
                <c:pt idx="10232">
                  <c:v>5.9008974804770862</c:v>
                </c:pt>
                <c:pt idx="10233">
                  <c:v>6.1989648477635688</c:v>
                </c:pt>
                <c:pt idx="10234">
                  <c:v>6.0591067211941185</c:v>
                </c:pt>
                <c:pt idx="10235">
                  <c:v>5.9332150254692122</c:v>
                </c:pt>
                <c:pt idx="10236">
                  <c:v>5.0861583237969308</c:v>
                </c:pt>
                <c:pt idx="10237">
                  <c:v>6.1284148883493499</c:v>
                </c:pt>
                <c:pt idx="10238">
                  <c:v>5.9330006567828706</c:v>
                </c:pt>
                <c:pt idx="10239">
                  <c:v>5.9500876516607955</c:v>
                </c:pt>
                <c:pt idx="10240">
                  <c:v>6.2873966502633749</c:v>
                </c:pt>
                <c:pt idx="10241">
                  <c:v>5.9432188613967067</c:v>
                </c:pt>
                <c:pt idx="10242">
                  <c:v>5.0266931197963949</c:v>
                </c:pt>
                <c:pt idx="10243">
                  <c:v>4.8834563549532115</c:v>
                </c:pt>
                <c:pt idx="10244">
                  <c:v>4.7720821696258335</c:v>
                </c:pt>
                <c:pt idx="10245">
                  <c:v>5.1087683900230703</c:v>
                </c:pt>
                <c:pt idx="10246">
                  <c:v>4.9724908887291974</c:v>
                </c:pt>
                <c:pt idx="10247">
                  <c:v>6.0316392069841918</c:v>
                </c:pt>
                <c:pt idx="10248">
                  <c:v>3.9859885773260171</c:v>
                </c:pt>
                <c:pt idx="10249">
                  <c:v>4.8780335806028985</c:v>
                </c:pt>
                <c:pt idx="10250">
                  <c:v>5.0660218222585289</c:v>
                </c:pt>
                <c:pt idx="10251">
                  <c:v>4.8981850802972788</c:v>
                </c:pt>
                <c:pt idx="10252">
                  <c:v>4.8833192969767598</c:v>
                </c:pt>
                <c:pt idx="10253">
                  <c:v>6.1217062249262639</c:v>
                </c:pt>
                <c:pt idx="10254">
                  <c:v>6.0586600883995798</c:v>
                </c:pt>
                <c:pt idx="10255">
                  <c:v>5.0540770129965535</c:v>
                </c:pt>
                <c:pt idx="10256">
                  <c:v>6.0226821743643848</c:v>
                </c:pt>
                <c:pt idx="10257">
                  <c:v>5.9837071891710645</c:v>
                </c:pt>
                <c:pt idx="10258">
                  <c:v>5.1078209702364381</c:v>
                </c:pt>
                <c:pt idx="10259">
                  <c:v>4.9962298029263472</c:v>
                </c:pt>
                <c:pt idx="10260">
                  <c:v>5.191400169893166</c:v>
                </c:pt>
                <c:pt idx="10261">
                  <c:v>7.0790732509587819</c:v>
                </c:pt>
                <c:pt idx="10262">
                  <c:v>6.1102951788814854</c:v>
                </c:pt>
                <c:pt idx="10263">
                  <c:v>6.3954622226750875</c:v>
                </c:pt>
                <c:pt idx="10264">
                  <c:v>5.9531627988705349</c:v>
                </c:pt>
                <c:pt idx="10265">
                  <c:v>4.9467246990184988</c:v>
                </c:pt>
                <c:pt idx="10266">
                  <c:v>4.8799653476445988</c:v>
                </c:pt>
                <c:pt idx="10267">
                  <c:v>4.9291799526117659</c:v>
                </c:pt>
                <c:pt idx="10268">
                  <c:v>4.935932715168005</c:v>
                </c:pt>
                <c:pt idx="10269">
                  <c:v>5.8851293763287309</c:v>
                </c:pt>
                <c:pt idx="10270">
                  <c:v>5.8881206191932733</c:v>
                </c:pt>
                <c:pt idx="10271">
                  <c:v>5.9853142163323954</c:v>
                </c:pt>
                <c:pt idx="10272">
                  <c:v>5.7949774213656031</c:v>
                </c:pt>
                <c:pt idx="10273">
                  <c:v>4.7938095140872958</c:v>
                </c:pt>
                <c:pt idx="10274">
                  <c:v>5.9016606672974108</c:v>
                </c:pt>
                <c:pt idx="10275">
                  <c:v>5.9181984325331687</c:v>
                </c:pt>
                <c:pt idx="10276">
                  <c:v>4.9541132836946611</c:v>
                </c:pt>
                <c:pt idx="10277">
                  <c:v>6.0410258815867488</c:v>
                </c:pt>
                <c:pt idx="10278">
                  <c:v>5.9153518122289555</c:v>
                </c:pt>
                <c:pt idx="10279">
                  <c:v>4.9741759102324936</c:v>
                </c:pt>
                <c:pt idx="10280">
                  <c:v>6.0357100736744682</c:v>
                </c:pt>
                <c:pt idx="10281">
                  <c:v>4.9476387868517957</c:v>
                </c:pt>
                <c:pt idx="10282">
                  <c:v>6.0323671252489435</c:v>
                </c:pt>
                <c:pt idx="10283">
                  <c:v>6.2213664307074206</c:v>
                </c:pt>
                <c:pt idx="10284">
                  <c:v>6.0958851446290083</c:v>
                </c:pt>
                <c:pt idx="10285">
                  <c:v>4.9887258036987392</c:v>
                </c:pt>
                <c:pt idx="10286">
                  <c:v>5.0855812098252891</c:v>
                </c:pt>
                <c:pt idx="10287">
                  <c:v>5.8816302887148844</c:v>
                </c:pt>
                <c:pt idx="10288">
                  <c:v>6.1219798455851642</c:v>
                </c:pt>
                <c:pt idx="10289">
                  <c:v>5.9638185104442671</c:v>
                </c:pt>
                <c:pt idx="10290">
                  <c:v>5.9080682932627884</c:v>
                </c:pt>
                <c:pt idx="10291">
                  <c:v>5.9680892295626942</c:v>
                </c:pt>
                <c:pt idx="10292">
                  <c:v>6.0138838878138019</c:v>
                </c:pt>
                <c:pt idx="10293">
                  <c:v>6.1428684006904417</c:v>
                </c:pt>
                <c:pt idx="10294">
                  <c:v>5.162718629816557</c:v>
                </c:pt>
                <c:pt idx="10295">
                  <c:v>6.082718812890902</c:v>
                </c:pt>
                <c:pt idx="10296">
                  <c:v>5.8829541276069941</c:v>
                </c:pt>
                <c:pt idx="10297">
                  <c:v>5.8666787338890574</c:v>
                </c:pt>
                <c:pt idx="10298">
                  <c:v>5.9887133337436413</c:v>
                </c:pt>
                <c:pt idx="10299">
                  <c:v>3.9708677954420137</c:v>
                </c:pt>
                <c:pt idx="10300">
                  <c:v>6.2409091505132093</c:v>
                </c:pt>
                <c:pt idx="10301">
                  <c:v>5.1909569067847539</c:v>
                </c:pt>
                <c:pt idx="10302">
                  <c:v>6.2880587353844319</c:v>
                </c:pt>
                <c:pt idx="10303">
                  <c:v>6.0400835960273431</c:v>
                </c:pt>
                <c:pt idx="10304">
                  <c:v>5.240898387532007</c:v>
                </c:pt>
                <c:pt idx="10305">
                  <c:v>5.0723751917454498</c:v>
                </c:pt>
                <c:pt idx="10306">
                  <c:v>4.9549087509496497</c:v>
                </c:pt>
                <c:pt idx="10307">
                  <c:v>6.0376964473713466</c:v>
                </c:pt>
                <c:pt idx="10308">
                  <c:v>4.9174513116330019</c:v>
                </c:pt>
                <c:pt idx="10309">
                  <c:v>5.9927882625194293</c:v>
                </c:pt>
                <c:pt idx="10310">
                  <c:v>5.9029027005469787</c:v>
                </c:pt>
                <c:pt idx="10311">
                  <c:v>5.0333448146088315</c:v>
                </c:pt>
                <c:pt idx="10312">
                  <c:v>5.8580084062297209</c:v>
                </c:pt>
                <c:pt idx="10313">
                  <c:v>6.0476240976564739</c:v>
                </c:pt>
                <c:pt idx="10314">
                  <c:v>5.8037952513060107</c:v>
                </c:pt>
                <c:pt idx="10315">
                  <c:v>3.1546531519755061</c:v>
                </c:pt>
                <c:pt idx="10316">
                  <c:v>3.0351372820323337</c:v>
                </c:pt>
                <c:pt idx="10317">
                  <c:v>5.9226737381753258</c:v>
                </c:pt>
                <c:pt idx="10318">
                  <c:v>2.967362238667314</c:v>
                </c:pt>
                <c:pt idx="10319">
                  <c:v>5.0530407340766734</c:v>
                </c:pt>
                <c:pt idx="10320">
                  <c:v>6.0405243773451724</c:v>
                </c:pt>
                <c:pt idx="10321">
                  <c:v>5.8980060144327195</c:v>
                </c:pt>
                <c:pt idx="10322">
                  <c:v>5.1357037191077115</c:v>
                </c:pt>
                <c:pt idx="10323">
                  <c:v>5.9773694703227411</c:v>
                </c:pt>
                <c:pt idx="10324">
                  <c:v>5.9839124862007722</c:v>
                </c:pt>
                <c:pt idx="10325">
                  <c:v>5.0489099198447818</c:v>
                </c:pt>
                <c:pt idx="10326">
                  <c:v>5.2192411853559966</c:v>
                </c:pt>
                <c:pt idx="10327">
                  <c:v>6.0499306038010126</c:v>
                </c:pt>
                <c:pt idx="10328">
                  <c:v>4.8498894376021919</c:v>
                </c:pt>
                <c:pt idx="10329">
                  <c:v>6.0957230187688829</c:v>
                </c:pt>
                <c:pt idx="10330">
                  <c:v>5.0622099033798733</c:v>
                </c:pt>
                <c:pt idx="10331">
                  <c:v>6.1154997518210061</c:v>
                </c:pt>
                <c:pt idx="10332">
                  <c:v>4.8571360421238818</c:v>
                </c:pt>
                <c:pt idx="10333">
                  <c:v>6.061045308305772</c:v>
                </c:pt>
                <c:pt idx="10334">
                  <c:v>6.1046707198439538</c:v>
                </c:pt>
                <c:pt idx="10335">
                  <c:v>6.1212828163103943</c:v>
                </c:pt>
                <c:pt idx="10336">
                  <c:v>5.075525307130123</c:v>
                </c:pt>
                <c:pt idx="10337">
                  <c:v>5.9070618535995632</c:v>
                </c:pt>
                <c:pt idx="10338">
                  <c:v>6.0937857379971563</c:v>
                </c:pt>
                <c:pt idx="10339">
                  <c:v>6.0701715123424602</c:v>
                </c:pt>
                <c:pt idx="10340">
                  <c:v>5.0893662971787439</c:v>
                </c:pt>
                <c:pt idx="10341">
                  <c:v>5.9901094851620993</c:v>
                </c:pt>
                <c:pt idx="10342">
                  <c:v>6.0545141364044941</c:v>
                </c:pt>
                <c:pt idx="10343">
                  <c:v>5.1920198596009763</c:v>
                </c:pt>
                <c:pt idx="10344">
                  <c:v>7.0699668935731861</c:v>
                </c:pt>
                <c:pt idx="10345">
                  <c:v>6.0262435478944392</c:v>
                </c:pt>
                <c:pt idx="10346">
                  <c:v>5.1308710542319345</c:v>
                </c:pt>
                <c:pt idx="10347">
                  <c:v>6.0018498002672267</c:v>
                </c:pt>
                <c:pt idx="10348">
                  <c:v>5.8544450814474613</c:v>
                </c:pt>
                <c:pt idx="10349">
                  <c:v>5.8636207572472996</c:v>
                </c:pt>
                <c:pt idx="10350">
                  <c:v>4.9858334720357158</c:v>
                </c:pt>
                <c:pt idx="10351">
                  <c:v>5.8619951874377199</c:v>
                </c:pt>
                <c:pt idx="10352">
                  <c:v>5.9067425901521329</c:v>
                </c:pt>
                <c:pt idx="10353">
                  <c:v>5.9433196794317027</c:v>
                </c:pt>
                <c:pt idx="10354">
                  <c:v>5.0093759730883081</c:v>
                </c:pt>
                <c:pt idx="10355">
                  <c:v>5.1170243619942806</c:v>
                </c:pt>
                <c:pt idx="10356">
                  <c:v>4.9519673574964207</c:v>
                </c:pt>
                <c:pt idx="10357">
                  <c:v>5.0428550588664809</c:v>
                </c:pt>
                <c:pt idx="10358">
                  <c:v>4.9764087715981518</c:v>
                </c:pt>
                <c:pt idx="10359">
                  <c:v>5.9614120534340032</c:v>
                </c:pt>
                <c:pt idx="10360">
                  <c:v>6.1363401392809713</c:v>
                </c:pt>
                <c:pt idx="10361">
                  <c:v>5.039232219175859</c:v>
                </c:pt>
                <c:pt idx="10362">
                  <c:v>7.1273820349781305</c:v>
                </c:pt>
                <c:pt idx="10363">
                  <c:v>5.0419055118160028</c:v>
                </c:pt>
                <c:pt idx="10364">
                  <c:v>4.8835320305985697</c:v>
                </c:pt>
                <c:pt idx="10365">
                  <c:v>6.0146435112399734</c:v>
                </c:pt>
                <c:pt idx="10366">
                  <c:v>7.1185472701633872</c:v>
                </c:pt>
                <c:pt idx="10367">
                  <c:v>4.9362379962183258</c:v>
                </c:pt>
                <c:pt idx="10368">
                  <c:v>6.0007888897492521</c:v>
                </c:pt>
                <c:pt idx="10369">
                  <c:v>6.1459060866363346</c:v>
                </c:pt>
                <c:pt idx="10370">
                  <c:v>6.0027647283859888</c:v>
                </c:pt>
                <c:pt idx="10371">
                  <c:v>3.9709692327323411</c:v>
                </c:pt>
                <c:pt idx="10372">
                  <c:v>4.001013342853839</c:v>
                </c:pt>
                <c:pt idx="10373">
                  <c:v>6.0452652708686569</c:v>
                </c:pt>
                <c:pt idx="10374">
                  <c:v>3.9174531511422188</c:v>
                </c:pt>
                <c:pt idx="10375">
                  <c:v>3.9726893817722528</c:v>
                </c:pt>
                <c:pt idx="10376">
                  <c:v>6.0635948011433296</c:v>
                </c:pt>
                <c:pt idx="10377">
                  <c:v>1.842097849600475</c:v>
                </c:pt>
                <c:pt idx="10378">
                  <c:v>6.01660735341967</c:v>
                </c:pt>
                <c:pt idx="10379">
                  <c:v>5.0869538039743309</c:v>
                </c:pt>
                <c:pt idx="10380">
                  <c:v>5.8969081777342662</c:v>
                </c:pt>
                <c:pt idx="10381">
                  <c:v>5.9943126800354971</c:v>
                </c:pt>
                <c:pt idx="10382">
                  <c:v>5.9564540208805816</c:v>
                </c:pt>
                <c:pt idx="10383">
                  <c:v>6.0240988302220044</c:v>
                </c:pt>
                <c:pt idx="10384">
                  <c:v>5.9789537190207618</c:v>
                </c:pt>
                <c:pt idx="10385">
                  <c:v>6.0011748841059909</c:v>
                </c:pt>
                <c:pt idx="10386">
                  <c:v>5.8569775198447669</c:v>
                </c:pt>
                <c:pt idx="10387">
                  <c:v>5.9273445014036268</c:v>
                </c:pt>
                <c:pt idx="10388">
                  <c:v>6.1239295791616861</c:v>
                </c:pt>
                <c:pt idx="10389">
                  <c:v>6.0837354918123721</c:v>
                </c:pt>
                <c:pt idx="10390">
                  <c:v>6.0623275508491172</c:v>
                </c:pt>
                <c:pt idx="10391">
                  <c:v>5.0351862301228092</c:v>
                </c:pt>
                <c:pt idx="10392">
                  <c:v>6.1276653953185365</c:v>
                </c:pt>
                <c:pt idx="10393">
                  <c:v>5.9362326729284041</c:v>
                </c:pt>
                <c:pt idx="10394">
                  <c:v>5.833532680553577</c:v>
                </c:pt>
                <c:pt idx="10395">
                  <c:v>5.8579446020835668</c:v>
                </c:pt>
                <c:pt idx="10396">
                  <c:v>5.0878474814776382</c:v>
                </c:pt>
                <c:pt idx="10397">
                  <c:v>6.044309815165243</c:v>
                </c:pt>
                <c:pt idx="10398">
                  <c:v>5.0012245636681065</c:v>
                </c:pt>
                <c:pt idx="10399">
                  <c:v>6.2841551130861895</c:v>
                </c:pt>
                <c:pt idx="10400">
                  <c:v>4.1623970912685557</c:v>
                </c:pt>
                <c:pt idx="10401">
                  <c:v>4.8937368108405668</c:v>
                </c:pt>
                <c:pt idx="10402">
                  <c:v>5.9968883674721249</c:v>
                </c:pt>
                <c:pt idx="10403">
                  <c:v>5.9409044013180434</c:v>
                </c:pt>
                <c:pt idx="10404">
                  <c:v>6.0137768762197874</c:v>
                </c:pt>
                <c:pt idx="10405">
                  <c:v>6.1554093404325414</c:v>
                </c:pt>
                <c:pt idx="10406">
                  <c:v>4.9826231293081173</c:v>
                </c:pt>
                <c:pt idx="10407">
                  <c:v>6.1315476540262166</c:v>
                </c:pt>
                <c:pt idx="10408">
                  <c:v>5.9175436894700075</c:v>
                </c:pt>
                <c:pt idx="10409">
                  <c:v>5.1068629789442967</c:v>
                </c:pt>
                <c:pt idx="10410">
                  <c:v>4.8154953910282963</c:v>
                </c:pt>
                <c:pt idx="10411">
                  <c:v>6.1155766177682054</c:v>
                </c:pt>
                <c:pt idx="10412">
                  <c:v>5.0264130601178403</c:v>
                </c:pt>
                <c:pt idx="10413">
                  <c:v>4.8138835441840211</c:v>
                </c:pt>
                <c:pt idx="10414">
                  <c:v>7.0748699597417328</c:v>
                </c:pt>
                <c:pt idx="10415">
                  <c:v>5.9589303811137659</c:v>
                </c:pt>
                <c:pt idx="10416">
                  <c:v>6.0584521781097793</c:v>
                </c:pt>
                <c:pt idx="10417">
                  <c:v>5.879940937127742</c:v>
                </c:pt>
                <c:pt idx="10418">
                  <c:v>5.9916511302686679</c:v>
                </c:pt>
                <c:pt idx="10419">
                  <c:v>6.9800062156431384</c:v>
                </c:pt>
                <c:pt idx="10420">
                  <c:v>6.0606402541913038</c:v>
                </c:pt>
                <c:pt idx="10421">
                  <c:v>5.0167566407244149</c:v>
                </c:pt>
                <c:pt idx="10422">
                  <c:v>4.9208530453408468</c:v>
                </c:pt>
                <c:pt idx="10423">
                  <c:v>6.1244537712042675</c:v>
                </c:pt>
                <c:pt idx="10424">
                  <c:v>5.9830188475384549</c:v>
                </c:pt>
                <c:pt idx="10425">
                  <c:v>4.9981413832262218</c:v>
                </c:pt>
                <c:pt idx="10426">
                  <c:v>5.9057373913458049</c:v>
                </c:pt>
                <c:pt idx="10427">
                  <c:v>6.0545796941393926</c:v>
                </c:pt>
                <c:pt idx="10428">
                  <c:v>5.9871777896163758</c:v>
                </c:pt>
                <c:pt idx="10429">
                  <c:v>6.1557562796657788</c:v>
                </c:pt>
                <c:pt idx="10430">
                  <c:v>6.0600198642240448</c:v>
                </c:pt>
                <c:pt idx="10431">
                  <c:v>6.1657451158973435</c:v>
                </c:pt>
                <c:pt idx="10432">
                  <c:v>6.0758782496498513</c:v>
                </c:pt>
                <c:pt idx="10433">
                  <c:v>5.0458071426033486</c:v>
                </c:pt>
                <c:pt idx="10434">
                  <c:v>6.1388181314009556</c:v>
                </c:pt>
                <c:pt idx="10435">
                  <c:v>5.9982160012644705</c:v>
                </c:pt>
                <c:pt idx="10436">
                  <c:v>5.9673610634824827</c:v>
                </c:pt>
                <c:pt idx="10437">
                  <c:v>6.0380606496511797</c:v>
                </c:pt>
                <c:pt idx="10438">
                  <c:v>5.1687925990355188</c:v>
                </c:pt>
                <c:pt idx="10439">
                  <c:v>5.9371132218123641</c:v>
                </c:pt>
                <c:pt idx="10440">
                  <c:v>6.0341072702099874</c:v>
                </c:pt>
                <c:pt idx="10441">
                  <c:v>6.9715420035289801</c:v>
                </c:pt>
                <c:pt idx="10442">
                  <c:v>4.9441062351032157</c:v>
                </c:pt>
                <c:pt idx="10443">
                  <c:v>5.9699874995167495</c:v>
                </c:pt>
                <c:pt idx="10444">
                  <c:v>5.1118498316878496</c:v>
                </c:pt>
                <c:pt idx="10445">
                  <c:v>5.0627730450827775</c:v>
                </c:pt>
                <c:pt idx="10446">
                  <c:v>4.961430605831568</c:v>
                </c:pt>
                <c:pt idx="10447">
                  <c:v>5.9976146631836675</c:v>
                </c:pt>
                <c:pt idx="10448">
                  <c:v>5.1352967443579889</c:v>
                </c:pt>
                <c:pt idx="10449">
                  <c:v>4.9331684072082931</c:v>
                </c:pt>
                <c:pt idx="10450">
                  <c:v>5.9196532502632477</c:v>
                </c:pt>
                <c:pt idx="10451">
                  <c:v>5.9881577925013802</c:v>
                </c:pt>
                <c:pt idx="10452">
                  <c:v>6.0197026145514334</c:v>
                </c:pt>
                <c:pt idx="10453">
                  <c:v>6.0566867849388668</c:v>
                </c:pt>
                <c:pt idx="10454">
                  <c:v>6.1230150582598313</c:v>
                </c:pt>
                <c:pt idx="10455">
                  <c:v>5.7555061661725437</c:v>
                </c:pt>
                <c:pt idx="10456">
                  <c:v>5.8687350514542453</c:v>
                </c:pt>
                <c:pt idx="10457">
                  <c:v>6.0132195811463811</c:v>
                </c:pt>
                <c:pt idx="10458">
                  <c:v>6.14248124701958</c:v>
                </c:pt>
                <c:pt idx="10459">
                  <c:v>5.9335615748880528</c:v>
                </c:pt>
                <c:pt idx="10460">
                  <c:v>5.9835357379734733</c:v>
                </c:pt>
                <c:pt idx="10461">
                  <c:v>5.9397542344662035</c:v>
                </c:pt>
                <c:pt idx="10462">
                  <c:v>6.0842756688598216</c:v>
                </c:pt>
                <c:pt idx="10463">
                  <c:v>5.9418391957177503</c:v>
                </c:pt>
                <c:pt idx="10464">
                  <c:v>5.9425444049818328</c:v>
                </c:pt>
                <c:pt idx="10465">
                  <c:v>4.8405389236858722</c:v>
                </c:pt>
                <c:pt idx="10466">
                  <c:v>7.1172580942021595</c:v>
                </c:pt>
                <c:pt idx="10467">
                  <c:v>6.0377211951503993</c:v>
                </c:pt>
                <c:pt idx="10468">
                  <c:v>4.8913321674274464</c:v>
                </c:pt>
                <c:pt idx="10469">
                  <c:v>6.0605966049688975</c:v>
                </c:pt>
                <c:pt idx="10470">
                  <c:v>5.868088443735461</c:v>
                </c:pt>
                <c:pt idx="10471">
                  <c:v>5.9573609283677804</c:v>
                </c:pt>
                <c:pt idx="10472">
                  <c:v>6.0885296219444669</c:v>
                </c:pt>
                <c:pt idx="10473">
                  <c:v>4.9221647789902478</c:v>
                </c:pt>
                <c:pt idx="10474">
                  <c:v>5.0248245523645938</c:v>
                </c:pt>
                <c:pt idx="10475">
                  <c:v>5.0886698329027311</c:v>
                </c:pt>
                <c:pt idx="10476">
                  <c:v>5.8736787931586996</c:v>
                </c:pt>
                <c:pt idx="10477">
                  <c:v>5.0379793810276698</c:v>
                </c:pt>
                <c:pt idx="10478">
                  <c:v>4.7865114781506808</c:v>
                </c:pt>
                <c:pt idx="10479">
                  <c:v>6.0428671056341212</c:v>
                </c:pt>
                <c:pt idx="10480">
                  <c:v>6.0232290726488449</c:v>
                </c:pt>
                <c:pt idx="10481">
                  <c:v>5.9085983373306119</c:v>
                </c:pt>
                <c:pt idx="10482">
                  <c:v>6.0723773496339284</c:v>
                </c:pt>
                <c:pt idx="10483">
                  <c:v>4.9363162968127794</c:v>
                </c:pt>
                <c:pt idx="10484">
                  <c:v>3.9486216246861336</c:v>
                </c:pt>
                <c:pt idx="10485">
                  <c:v>5.0247283716999345</c:v>
                </c:pt>
                <c:pt idx="10486">
                  <c:v>4.9045690172325651</c:v>
                </c:pt>
                <c:pt idx="10487">
                  <c:v>5.0453042186816388</c:v>
                </c:pt>
                <c:pt idx="10488">
                  <c:v>5.0424143137690685</c:v>
                </c:pt>
                <c:pt idx="10489">
                  <c:v>4.9151774897354992</c:v>
                </c:pt>
                <c:pt idx="10490">
                  <c:v>4.8839588260613835</c:v>
                </c:pt>
                <c:pt idx="10491">
                  <c:v>5.0880837680087598</c:v>
                </c:pt>
                <c:pt idx="10492">
                  <c:v>7.0485085728763961</c:v>
                </c:pt>
                <c:pt idx="10493">
                  <c:v>4.9380640632176895</c:v>
                </c:pt>
                <c:pt idx="10494">
                  <c:v>6.0739724150234062</c:v>
                </c:pt>
                <c:pt idx="10495">
                  <c:v>7.1225605232732594</c:v>
                </c:pt>
                <c:pt idx="10496">
                  <c:v>5.9189252846860283</c:v>
                </c:pt>
                <c:pt idx="10497">
                  <c:v>6.105613542937002</c:v>
                </c:pt>
                <c:pt idx="10498">
                  <c:v>6.0411243894897311</c:v>
                </c:pt>
                <c:pt idx="10499">
                  <c:v>5.006579423397608</c:v>
                </c:pt>
                <c:pt idx="10500">
                  <c:v>6.090556504607247</c:v>
                </c:pt>
                <c:pt idx="10501">
                  <c:v>4.9989661059783197</c:v>
                </c:pt>
                <c:pt idx="10502">
                  <c:v>6.0476052829754687</c:v>
                </c:pt>
                <c:pt idx="10503">
                  <c:v>5.2354110287026092</c:v>
                </c:pt>
                <c:pt idx="10504">
                  <c:v>5.9240705663199043</c:v>
                </c:pt>
                <c:pt idx="10505">
                  <c:v>5.1648896374110658</c:v>
                </c:pt>
                <c:pt idx="10506">
                  <c:v>6.0325985072084345</c:v>
                </c:pt>
                <c:pt idx="10507">
                  <c:v>6.0043534683325701</c:v>
                </c:pt>
                <c:pt idx="10508">
                  <c:v>6.2104388222473501</c:v>
                </c:pt>
                <c:pt idx="10509">
                  <c:v>5.0108983205983382</c:v>
                </c:pt>
                <c:pt idx="10510">
                  <c:v>4.9983798257494536</c:v>
                </c:pt>
                <c:pt idx="10511">
                  <c:v>6.1870594589888883</c:v>
                </c:pt>
                <c:pt idx="10512">
                  <c:v>5.2162317996041647</c:v>
                </c:pt>
                <c:pt idx="10513">
                  <c:v>5.9401254859045958</c:v>
                </c:pt>
                <c:pt idx="10514">
                  <c:v>5.0965983740880869</c:v>
                </c:pt>
                <c:pt idx="10515">
                  <c:v>4.9777972615748629</c:v>
                </c:pt>
                <c:pt idx="10516">
                  <c:v>5.1725324921697133</c:v>
                </c:pt>
                <c:pt idx="10517">
                  <c:v>5.953501933995093</c:v>
                </c:pt>
                <c:pt idx="10518">
                  <c:v>6.1042508864131229</c:v>
                </c:pt>
                <c:pt idx="10519">
                  <c:v>6.0479356275100589</c:v>
                </c:pt>
                <c:pt idx="10520">
                  <c:v>5.0426393803464586</c:v>
                </c:pt>
                <c:pt idx="10521">
                  <c:v>7.0699582207617189</c:v>
                </c:pt>
                <c:pt idx="10522">
                  <c:v>6.1123787846071922</c:v>
                </c:pt>
                <c:pt idx="10523">
                  <c:v>6.999536478317375</c:v>
                </c:pt>
                <c:pt idx="10524">
                  <c:v>4.9914616353629624</c:v>
                </c:pt>
                <c:pt idx="10525">
                  <c:v>6.0542949573861931</c:v>
                </c:pt>
                <c:pt idx="10526">
                  <c:v>5.9473189744689767</c:v>
                </c:pt>
                <c:pt idx="10527">
                  <c:v>6.0355550799329833</c:v>
                </c:pt>
                <c:pt idx="10528">
                  <c:v>6.1757598625156289</c:v>
                </c:pt>
                <c:pt idx="10529">
                  <c:v>5.8216658372869112</c:v>
                </c:pt>
                <c:pt idx="10530">
                  <c:v>6.0762564912353625</c:v>
                </c:pt>
                <c:pt idx="10531">
                  <c:v>6.1377156812982978</c:v>
                </c:pt>
                <c:pt idx="10532">
                  <c:v>6.1334315276681464</c:v>
                </c:pt>
                <c:pt idx="10533">
                  <c:v>5.9312051217140374</c:v>
                </c:pt>
                <c:pt idx="10534">
                  <c:v>5.9533003704130349</c:v>
                </c:pt>
                <c:pt idx="10535">
                  <c:v>6.0403646923084811</c:v>
                </c:pt>
                <c:pt idx="10536">
                  <c:v>5.9797093373598695</c:v>
                </c:pt>
                <c:pt idx="10537">
                  <c:v>5.9278799964221749</c:v>
                </c:pt>
                <c:pt idx="10538">
                  <c:v>6.1834191782905723</c:v>
                </c:pt>
                <c:pt idx="10539">
                  <c:v>6.2800139844826335</c:v>
                </c:pt>
                <c:pt idx="10540">
                  <c:v>4.9520013769325093</c:v>
                </c:pt>
                <c:pt idx="10541">
                  <c:v>7.1951437630022737</c:v>
                </c:pt>
                <c:pt idx="10542">
                  <c:v>6.1434192626576056</c:v>
                </c:pt>
                <c:pt idx="10543">
                  <c:v>5.0124907540432577</c:v>
                </c:pt>
                <c:pt idx="10544">
                  <c:v>5.0426252741863244</c:v>
                </c:pt>
                <c:pt idx="10545">
                  <c:v>6.065348819854556</c:v>
                </c:pt>
                <c:pt idx="10546">
                  <c:v>4.9572871274091455</c:v>
                </c:pt>
                <c:pt idx="10547">
                  <c:v>4.9986117991357162</c:v>
                </c:pt>
                <c:pt idx="10548">
                  <c:v>4.0947362339139142</c:v>
                </c:pt>
                <c:pt idx="10549">
                  <c:v>4.961102736520437</c:v>
                </c:pt>
                <c:pt idx="10550">
                  <c:v>6.0556784731047646</c:v>
                </c:pt>
                <c:pt idx="10551">
                  <c:v>5.0717918998425331</c:v>
                </c:pt>
                <c:pt idx="10552">
                  <c:v>4.90162616563632</c:v>
                </c:pt>
                <c:pt idx="10553">
                  <c:v>5.9969062147209975</c:v>
                </c:pt>
                <c:pt idx="10554">
                  <c:v>5.946511469856409</c:v>
                </c:pt>
                <c:pt idx="10555">
                  <c:v>5.1084301556876044</c:v>
                </c:pt>
                <c:pt idx="10556">
                  <c:v>5.9210134029018331</c:v>
                </c:pt>
                <c:pt idx="10557">
                  <c:v>6.1070958270494344</c:v>
                </c:pt>
                <c:pt idx="10558">
                  <c:v>6.9613427760838729</c:v>
                </c:pt>
                <c:pt idx="10559">
                  <c:v>6.0490099518472551</c:v>
                </c:pt>
                <c:pt idx="10560">
                  <c:v>4.9509839665998427</c:v>
                </c:pt>
                <c:pt idx="10561">
                  <c:v>6.0907432853277506</c:v>
                </c:pt>
                <c:pt idx="10562">
                  <c:v>5.9272298051246439</c:v>
                </c:pt>
                <c:pt idx="10563">
                  <c:v>4.9145204015084891</c:v>
                </c:pt>
                <c:pt idx="10564">
                  <c:v>5.1135484687685526</c:v>
                </c:pt>
                <c:pt idx="10565">
                  <c:v>5.9435904935021187</c:v>
                </c:pt>
                <c:pt idx="10566">
                  <c:v>5.9059843828608933</c:v>
                </c:pt>
                <c:pt idx="10567">
                  <c:v>5.1240615786628005</c:v>
                </c:pt>
                <c:pt idx="10568">
                  <c:v>4.9298641159387211</c:v>
                </c:pt>
                <c:pt idx="10569">
                  <c:v>4.9252570453359601</c:v>
                </c:pt>
                <c:pt idx="10570">
                  <c:v>5.9924077013492481</c:v>
                </c:pt>
                <c:pt idx="10571">
                  <c:v>6.9213444724072701</c:v>
                </c:pt>
                <c:pt idx="10572">
                  <c:v>6.0218611543448954</c:v>
                </c:pt>
                <c:pt idx="10573">
                  <c:v>5.9048635009007251</c:v>
                </c:pt>
                <c:pt idx="10574">
                  <c:v>5.9019222243040206</c:v>
                </c:pt>
                <c:pt idx="10575">
                  <c:v>5.9716324055296992</c:v>
                </c:pt>
                <c:pt idx="10576">
                  <c:v>5.9684481577951276</c:v>
                </c:pt>
                <c:pt idx="10577">
                  <c:v>4.9316633105260532</c:v>
                </c:pt>
                <c:pt idx="10578">
                  <c:v>6.1909350642411276</c:v>
                </c:pt>
                <c:pt idx="10579">
                  <c:v>7.0932670005970069</c:v>
                </c:pt>
                <c:pt idx="10580">
                  <c:v>6.2591697004001858</c:v>
                </c:pt>
                <c:pt idx="10581">
                  <c:v>7.0475104648861162</c:v>
                </c:pt>
                <c:pt idx="10582">
                  <c:v>6.9096807129347591</c:v>
                </c:pt>
                <c:pt idx="10583">
                  <c:v>6.1319146281729422</c:v>
                </c:pt>
                <c:pt idx="10584">
                  <c:v>6.8746522106946184</c:v>
                </c:pt>
                <c:pt idx="10585">
                  <c:v>3.8184611846911847</c:v>
                </c:pt>
                <c:pt idx="10586">
                  <c:v>6.0364890786615835</c:v>
                </c:pt>
                <c:pt idx="10587">
                  <c:v>7.210197237728635</c:v>
                </c:pt>
                <c:pt idx="10588">
                  <c:v>6.015816394061356</c:v>
                </c:pt>
                <c:pt idx="10589">
                  <c:v>5.9695549046577376</c:v>
                </c:pt>
                <c:pt idx="10590">
                  <c:v>5.0345129081093472</c:v>
                </c:pt>
                <c:pt idx="10591">
                  <c:v>5.7786856507105897</c:v>
                </c:pt>
                <c:pt idx="10592">
                  <c:v>6.1392907012419622</c:v>
                </c:pt>
                <c:pt idx="10593">
                  <c:v>4.1399151652882082</c:v>
                </c:pt>
                <c:pt idx="10594">
                  <c:v>6.1794577308838017</c:v>
                </c:pt>
                <c:pt idx="10595">
                  <c:v>5.9827460317608798</c:v>
                </c:pt>
                <c:pt idx="10596">
                  <c:v>6.043957131103892</c:v>
                </c:pt>
                <c:pt idx="10597">
                  <c:v>6.086530568717115</c:v>
                </c:pt>
                <c:pt idx="10598">
                  <c:v>6.072212751988558</c:v>
                </c:pt>
                <c:pt idx="10599">
                  <c:v>5.9887702479860945</c:v>
                </c:pt>
                <c:pt idx="10600">
                  <c:v>7.1980863359553826</c:v>
                </c:pt>
                <c:pt idx="10601">
                  <c:v>6.1228490667905859</c:v>
                </c:pt>
                <c:pt idx="10602">
                  <c:v>6.2987597345341264</c:v>
                </c:pt>
                <c:pt idx="10603">
                  <c:v>5.9229243083786596</c:v>
                </c:pt>
                <c:pt idx="10604">
                  <c:v>5.8096933745848229</c:v>
                </c:pt>
                <c:pt idx="10605">
                  <c:v>6.1192050915377809</c:v>
                </c:pt>
                <c:pt idx="10606">
                  <c:v>6.0327703881114596</c:v>
                </c:pt>
                <c:pt idx="10607">
                  <c:v>5.0222280247323825</c:v>
                </c:pt>
                <c:pt idx="10608">
                  <c:v>6.0667199583331319</c:v>
                </c:pt>
                <c:pt idx="10609">
                  <c:v>5.9428204202995767</c:v>
                </c:pt>
                <c:pt idx="10610">
                  <c:v>5.9305783289733114</c:v>
                </c:pt>
                <c:pt idx="10611">
                  <c:v>5.8334320468618444</c:v>
                </c:pt>
                <c:pt idx="10612">
                  <c:v>5.9172633756356099</c:v>
                </c:pt>
                <c:pt idx="10613">
                  <c:v>6.0119504346674919</c:v>
                </c:pt>
                <c:pt idx="10614">
                  <c:v>6.141912412121024</c:v>
                </c:pt>
                <c:pt idx="10615">
                  <c:v>5.9580289145368877</c:v>
                </c:pt>
                <c:pt idx="10616">
                  <c:v>7.0764797161909714</c:v>
                </c:pt>
                <c:pt idx="10617">
                  <c:v>4.9641455176723346</c:v>
                </c:pt>
                <c:pt idx="10618">
                  <c:v>6.1314533274194147</c:v>
                </c:pt>
                <c:pt idx="10619">
                  <c:v>6.0981719196615947</c:v>
                </c:pt>
                <c:pt idx="10620">
                  <c:v>6.1361937976411127</c:v>
                </c:pt>
                <c:pt idx="10621">
                  <c:v>5.8641912033328953</c:v>
                </c:pt>
                <c:pt idx="10622">
                  <c:v>6.112905039366094</c:v>
                </c:pt>
                <c:pt idx="10623">
                  <c:v>4.8858004036587959</c:v>
                </c:pt>
                <c:pt idx="10624">
                  <c:v>6.0071839489043555</c:v>
                </c:pt>
                <c:pt idx="10625">
                  <c:v>6.0744912100022033</c:v>
                </c:pt>
                <c:pt idx="10626">
                  <c:v>6.0353114717138663</c:v>
                </c:pt>
                <c:pt idx="10627">
                  <c:v>5.943288844279655</c:v>
                </c:pt>
                <c:pt idx="10628">
                  <c:v>5.9720031304577308</c:v>
                </c:pt>
                <c:pt idx="10629">
                  <c:v>5.9080299747713276</c:v>
                </c:pt>
                <c:pt idx="10630">
                  <c:v>5.9461737079604973</c:v>
                </c:pt>
                <c:pt idx="10631">
                  <c:v>6.1030113267924522</c:v>
                </c:pt>
                <c:pt idx="10632">
                  <c:v>6.0730477942629566</c:v>
                </c:pt>
                <c:pt idx="10633">
                  <c:v>7.0934938682185633</c:v>
                </c:pt>
                <c:pt idx="10634">
                  <c:v>4.9095724442374955</c:v>
                </c:pt>
                <c:pt idx="10635">
                  <c:v>6.1241561251015693</c:v>
                </c:pt>
                <c:pt idx="10636">
                  <c:v>5.8834161246500916</c:v>
                </c:pt>
                <c:pt idx="10637">
                  <c:v>6.0573048726692216</c:v>
                </c:pt>
                <c:pt idx="10638">
                  <c:v>5.9037643534095858</c:v>
                </c:pt>
                <c:pt idx="10639">
                  <c:v>5.9392713465030447</c:v>
                </c:pt>
                <c:pt idx="10640">
                  <c:v>6.9499185954348235</c:v>
                </c:pt>
                <c:pt idx="10641">
                  <c:v>5.8754828284694245</c:v>
                </c:pt>
                <c:pt idx="10642">
                  <c:v>5.9813044588384523</c:v>
                </c:pt>
                <c:pt idx="10643">
                  <c:v>5.959061281820607</c:v>
                </c:pt>
                <c:pt idx="10644">
                  <c:v>5.9640232455291109</c:v>
                </c:pt>
                <c:pt idx="10645">
                  <c:v>5.9331769209105545</c:v>
                </c:pt>
                <c:pt idx="10646">
                  <c:v>5.9399496807491756</c:v>
                </c:pt>
                <c:pt idx="10647">
                  <c:v>6.1434407407260681</c:v>
                </c:pt>
                <c:pt idx="10648">
                  <c:v>6.0950492792198014</c:v>
                </c:pt>
                <c:pt idx="10649">
                  <c:v>6.057108053595762</c:v>
                </c:pt>
                <c:pt idx="10650">
                  <c:v>5.0305609484533313</c:v>
                </c:pt>
                <c:pt idx="10651">
                  <c:v>6.09916028562506</c:v>
                </c:pt>
                <c:pt idx="10652">
                  <c:v>5.7980216893155179</c:v>
                </c:pt>
                <c:pt idx="10653">
                  <c:v>5.9480408428146765</c:v>
                </c:pt>
                <c:pt idx="10654">
                  <c:v>5.8940931004560868</c:v>
                </c:pt>
                <c:pt idx="10655">
                  <c:v>6.9732310927058982</c:v>
                </c:pt>
                <c:pt idx="10656">
                  <c:v>5.9585038628979383</c:v>
                </c:pt>
                <c:pt idx="10657">
                  <c:v>5.8746931589036988</c:v>
                </c:pt>
                <c:pt idx="10658">
                  <c:v>5.0678404639745507</c:v>
                </c:pt>
                <c:pt idx="10659">
                  <c:v>6.1210693009386858</c:v>
                </c:pt>
                <c:pt idx="10660">
                  <c:v>5.9490328597711812</c:v>
                </c:pt>
                <c:pt idx="10661">
                  <c:v>6.0902318727492055</c:v>
                </c:pt>
                <c:pt idx="10662">
                  <c:v>4.9658519721403138</c:v>
                </c:pt>
                <c:pt idx="10663">
                  <c:v>6.2060248896343282</c:v>
                </c:pt>
                <c:pt idx="10664">
                  <c:v>3.9826272924559514</c:v>
                </c:pt>
                <c:pt idx="10665">
                  <c:v>7.0061381111511123</c:v>
                </c:pt>
                <c:pt idx="10666">
                  <c:v>6.9660047535693437</c:v>
                </c:pt>
                <c:pt idx="10667">
                  <c:v>6.0579906081099884</c:v>
                </c:pt>
                <c:pt idx="10668">
                  <c:v>5.9678275509465335</c:v>
                </c:pt>
                <c:pt idx="10669">
                  <c:v>6.0178196411924469</c:v>
                </c:pt>
                <c:pt idx="10670">
                  <c:v>6.0793862430200285</c:v>
                </c:pt>
                <c:pt idx="10671">
                  <c:v>5.8967682214081405</c:v>
                </c:pt>
                <c:pt idx="10672">
                  <c:v>6.1505574848919782</c:v>
                </c:pt>
                <c:pt idx="10673">
                  <c:v>5.7619453734082633</c:v>
                </c:pt>
                <c:pt idx="10674">
                  <c:v>5.9778989679442756</c:v>
                </c:pt>
                <c:pt idx="10675">
                  <c:v>5.9051974222851138</c:v>
                </c:pt>
                <c:pt idx="10676">
                  <c:v>5.2044578094288756</c:v>
                </c:pt>
                <c:pt idx="10677">
                  <c:v>5.9251664963507178</c:v>
                </c:pt>
                <c:pt idx="10678">
                  <c:v>6.0214503665310337</c:v>
                </c:pt>
                <c:pt idx="10679">
                  <c:v>5.963094731619635</c:v>
                </c:pt>
                <c:pt idx="10680">
                  <c:v>5.9051404310543161</c:v>
                </c:pt>
                <c:pt idx="10681">
                  <c:v>6.1192501840841071</c:v>
                </c:pt>
                <c:pt idx="10682">
                  <c:v>6.0691075849577079</c:v>
                </c:pt>
                <c:pt idx="10683">
                  <c:v>5.8940889020076153</c:v>
                </c:pt>
                <c:pt idx="10684">
                  <c:v>5.2162913768589236</c:v>
                </c:pt>
                <c:pt idx="10685">
                  <c:v>5.9764940258823041</c:v>
                </c:pt>
                <c:pt idx="10686">
                  <c:v>6.0806766530123406</c:v>
                </c:pt>
                <c:pt idx="10687">
                  <c:v>5.9367202254450495</c:v>
                </c:pt>
                <c:pt idx="10688">
                  <c:v>5.7564363839923338</c:v>
                </c:pt>
                <c:pt idx="10689">
                  <c:v>6.1911875496259148</c:v>
                </c:pt>
                <c:pt idx="10690">
                  <c:v>5.7751930015944755</c:v>
                </c:pt>
                <c:pt idx="10691">
                  <c:v>6.0422442727265127</c:v>
                </c:pt>
                <c:pt idx="10692">
                  <c:v>5.8568248551340849</c:v>
                </c:pt>
                <c:pt idx="10693">
                  <c:v>6.0027603419108067</c:v>
                </c:pt>
                <c:pt idx="10694">
                  <c:v>6.0207294235945135</c:v>
                </c:pt>
                <c:pt idx="10695">
                  <c:v>6.0059172789479964</c:v>
                </c:pt>
                <c:pt idx="10696">
                  <c:v>5.9109199416115867</c:v>
                </c:pt>
                <c:pt idx="10697">
                  <c:v>5.9161020894620027</c:v>
                </c:pt>
                <c:pt idx="10698">
                  <c:v>5.9231171651892733</c:v>
                </c:pt>
                <c:pt idx="10699">
                  <c:v>6.1072557021270724</c:v>
                </c:pt>
                <c:pt idx="10700">
                  <c:v>5.0414440137616081</c:v>
                </c:pt>
                <c:pt idx="10701">
                  <c:v>5.911284838047294</c:v>
                </c:pt>
                <c:pt idx="10702">
                  <c:v>6.1133775921334816</c:v>
                </c:pt>
                <c:pt idx="10703">
                  <c:v>5.950883891208135</c:v>
                </c:pt>
                <c:pt idx="10704">
                  <c:v>6.0807812610818273</c:v>
                </c:pt>
                <c:pt idx="10705">
                  <c:v>4.9516644163116563</c:v>
                </c:pt>
                <c:pt idx="10706">
                  <c:v>5.9414961756580498</c:v>
                </c:pt>
                <c:pt idx="10707">
                  <c:v>5.0828192470106801</c:v>
                </c:pt>
                <c:pt idx="10708">
                  <c:v>5.1471920972558074</c:v>
                </c:pt>
                <c:pt idx="10709">
                  <c:v>5.820369093128809</c:v>
                </c:pt>
                <c:pt idx="10710">
                  <c:v>5.9743273178691947</c:v>
                </c:pt>
                <c:pt idx="10711">
                  <c:v>6.1599580851407962</c:v>
                </c:pt>
                <c:pt idx="10712">
                  <c:v>5.8762551973304742</c:v>
                </c:pt>
                <c:pt idx="10713">
                  <c:v>5.1233280782957396</c:v>
                </c:pt>
                <c:pt idx="10714">
                  <c:v>5.0904164108736927</c:v>
                </c:pt>
                <c:pt idx="10715">
                  <c:v>4.8575146434491883</c:v>
                </c:pt>
                <c:pt idx="10716">
                  <c:v>6.0315382939131181</c:v>
                </c:pt>
                <c:pt idx="10717">
                  <c:v>6.2109839730214365</c:v>
                </c:pt>
                <c:pt idx="10718">
                  <c:v>5.9516622285715481</c:v>
                </c:pt>
                <c:pt idx="10719">
                  <c:v>4.8159130177012068</c:v>
                </c:pt>
                <c:pt idx="10720">
                  <c:v>5.8948202367940166</c:v>
                </c:pt>
                <c:pt idx="10721">
                  <c:v>7.144895961794969</c:v>
                </c:pt>
                <c:pt idx="10722">
                  <c:v>5.912537525585611</c:v>
                </c:pt>
                <c:pt idx="10723">
                  <c:v>5.9449550842411636</c:v>
                </c:pt>
                <c:pt idx="10724">
                  <c:v>4.9679226191451464</c:v>
                </c:pt>
                <c:pt idx="10725">
                  <c:v>4.8192399950828388</c:v>
                </c:pt>
                <c:pt idx="10726">
                  <c:v>5.1170303524946537</c:v>
                </c:pt>
                <c:pt idx="10727">
                  <c:v>4.8427527434004833</c:v>
                </c:pt>
                <c:pt idx="10728">
                  <c:v>6.9855788294721339</c:v>
                </c:pt>
                <c:pt idx="10729">
                  <c:v>6.8943660671541904</c:v>
                </c:pt>
                <c:pt idx="10730">
                  <c:v>4.9354756758703591</c:v>
                </c:pt>
                <c:pt idx="10731">
                  <c:v>5.1359765373736899</c:v>
                </c:pt>
                <c:pt idx="10732">
                  <c:v>4.2387691433860777</c:v>
                </c:pt>
                <c:pt idx="10733">
                  <c:v>6.1887099112606592</c:v>
                </c:pt>
                <c:pt idx="10734">
                  <c:v>5.1052211297304595</c:v>
                </c:pt>
                <c:pt idx="10735">
                  <c:v>6.2141497623904716</c:v>
                </c:pt>
                <c:pt idx="10736">
                  <c:v>5.0376532054817327</c:v>
                </c:pt>
                <c:pt idx="10737">
                  <c:v>7.0924040209009585</c:v>
                </c:pt>
                <c:pt idx="10738">
                  <c:v>6.0608410806425166</c:v>
                </c:pt>
                <c:pt idx="10739">
                  <c:v>4.8983240974581967</c:v>
                </c:pt>
                <c:pt idx="10740">
                  <c:v>6.1036297156926906</c:v>
                </c:pt>
                <c:pt idx="10741">
                  <c:v>6.0128599085108112</c:v>
                </c:pt>
                <c:pt idx="10742">
                  <c:v>5.8587368857909583</c:v>
                </c:pt>
                <c:pt idx="10743">
                  <c:v>5.9554892328934894</c:v>
                </c:pt>
                <c:pt idx="10744">
                  <c:v>5.891547716903724</c:v>
                </c:pt>
                <c:pt idx="10745">
                  <c:v>5.9655465572984481</c:v>
                </c:pt>
                <c:pt idx="10746">
                  <c:v>6.1439857519175369</c:v>
                </c:pt>
                <c:pt idx="10747">
                  <c:v>4.9040896220763663</c:v>
                </c:pt>
                <c:pt idx="10748">
                  <c:v>4.9047786261943864</c:v>
                </c:pt>
                <c:pt idx="10749">
                  <c:v>6.0850422194796208</c:v>
                </c:pt>
                <c:pt idx="10750">
                  <c:v>5.8946662296475534</c:v>
                </c:pt>
                <c:pt idx="10751">
                  <c:v>5.8097268048912998</c:v>
                </c:pt>
                <c:pt idx="10752">
                  <c:v>5.2591817013474103</c:v>
                </c:pt>
                <c:pt idx="10753">
                  <c:v>5.8719481110332117</c:v>
                </c:pt>
                <c:pt idx="10754">
                  <c:v>6.1517976704977286</c:v>
                </c:pt>
                <c:pt idx="10755">
                  <c:v>3.8949335234146929</c:v>
                </c:pt>
                <c:pt idx="10756">
                  <c:v>5.9365672854001641</c:v>
                </c:pt>
                <c:pt idx="10757">
                  <c:v>5.0019171259007749</c:v>
                </c:pt>
                <c:pt idx="10758">
                  <c:v>6.0541603917199343</c:v>
                </c:pt>
                <c:pt idx="10759">
                  <c:v>4.9491173551649466</c:v>
                </c:pt>
                <c:pt idx="10760">
                  <c:v>5.0300944142030026</c:v>
                </c:pt>
                <c:pt idx="10761">
                  <c:v>6.0537337042540029</c:v>
                </c:pt>
                <c:pt idx="10762">
                  <c:v>5.9567896469839567</c:v>
                </c:pt>
                <c:pt idx="10763">
                  <c:v>5.8730185491408831</c:v>
                </c:pt>
                <c:pt idx="10764">
                  <c:v>6.1498181445179156</c:v>
                </c:pt>
                <c:pt idx="10765">
                  <c:v>6.0626402771362837</c:v>
                </c:pt>
                <c:pt idx="10766">
                  <c:v>5.1337028860644756</c:v>
                </c:pt>
                <c:pt idx="10767">
                  <c:v>5.0031115012522784</c:v>
                </c:pt>
                <c:pt idx="10768">
                  <c:v>6.1000965512804388</c:v>
                </c:pt>
                <c:pt idx="10769">
                  <c:v>4.9957638650343661</c:v>
                </c:pt>
                <c:pt idx="10770">
                  <c:v>6.0712615577121696</c:v>
                </c:pt>
                <c:pt idx="10771">
                  <c:v>4.0041919356863218</c:v>
                </c:pt>
                <c:pt idx="10772">
                  <c:v>4.1087253507865533</c:v>
                </c:pt>
                <c:pt idx="10773">
                  <c:v>4.9215676231966077</c:v>
                </c:pt>
                <c:pt idx="10774">
                  <c:v>5.8919585789779108</c:v>
                </c:pt>
                <c:pt idx="10775">
                  <c:v>6.062937512398622</c:v>
                </c:pt>
                <c:pt idx="10776">
                  <c:v>4.0665246551211922</c:v>
                </c:pt>
                <c:pt idx="10777">
                  <c:v>5.9604398087155701</c:v>
                </c:pt>
                <c:pt idx="10778">
                  <c:v>6.0715494296352359</c:v>
                </c:pt>
                <c:pt idx="10779">
                  <c:v>4.7939250422549247</c:v>
                </c:pt>
                <c:pt idx="10780">
                  <c:v>4.9749081706423066</c:v>
                </c:pt>
                <c:pt idx="10781">
                  <c:v>3.9201020046978892</c:v>
                </c:pt>
                <c:pt idx="10782">
                  <c:v>5.0775047172573222</c:v>
                </c:pt>
                <c:pt idx="10783">
                  <c:v>4.8735615442041942</c:v>
                </c:pt>
                <c:pt idx="10784">
                  <c:v>5.9852214889929707</c:v>
                </c:pt>
                <c:pt idx="10785">
                  <c:v>5.9123457370320001</c:v>
                </c:pt>
                <c:pt idx="10786">
                  <c:v>4.8274184212549072</c:v>
                </c:pt>
                <c:pt idx="10787">
                  <c:v>5.0268340188611873</c:v>
                </c:pt>
                <c:pt idx="10788">
                  <c:v>5.954347946153316</c:v>
                </c:pt>
                <c:pt idx="10789">
                  <c:v>4.843432627691894</c:v>
                </c:pt>
                <c:pt idx="10790">
                  <c:v>5.9740549664038198</c:v>
                </c:pt>
                <c:pt idx="10791">
                  <c:v>7.0918399366671263</c:v>
                </c:pt>
                <c:pt idx="10792">
                  <c:v>4.95670711263777</c:v>
                </c:pt>
                <c:pt idx="10793">
                  <c:v>7.1493092139444432</c:v>
                </c:pt>
                <c:pt idx="10794">
                  <c:v>7.076675625839921</c:v>
                </c:pt>
                <c:pt idx="10795">
                  <c:v>6.0940019864898431</c:v>
                </c:pt>
                <c:pt idx="10796">
                  <c:v>6.1224278946037405</c:v>
                </c:pt>
                <c:pt idx="10797">
                  <c:v>5.9859441093351426</c:v>
                </c:pt>
                <c:pt idx="10798">
                  <c:v>5.0972306794006057</c:v>
                </c:pt>
                <c:pt idx="10799">
                  <c:v>5.9290353552932338</c:v>
                </c:pt>
                <c:pt idx="10800">
                  <c:v>6.1042992490928611</c:v>
                </c:pt>
                <c:pt idx="10801">
                  <c:v>4.8491738005121015</c:v>
                </c:pt>
                <c:pt idx="10802">
                  <c:v>5.058477963097026</c:v>
                </c:pt>
                <c:pt idx="10803">
                  <c:v>4.8512469869335542</c:v>
                </c:pt>
                <c:pt idx="10804">
                  <c:v>5.9078080503493355</c:v>
                </c:pt>
                <c:pt idx="10805">
                  <c:v>5.961013076162013</c:v>
                </c:pt>
                <c:pt idx="10806">
                  <c:v>5.0464219700671551</c:v>
                </c:pt>
                <c:pt idx="10807">
                  <c:v>5.9101748623585335</c:v>
                </c:pt>
                <c:pt idx="10808">
                  <c:v>5.832002418792487</c:v>
                </c:pt>
                <c:pt idx="10809">
                  <c:v>5.0681394896302887</c:v>
                </c:pt>
                <c:pt idx="10810">
                  <c:v>4.8803715238401324</c:v>
                </c:pt>
                <c:pt idx="10811">
                  <c:v>5.9907289086432565</c:v>
                </c:pt>
                <c:pt idx="10812">
                  <c:v>3.9471634790893875</c:v>
                </c:pt>
                <c:pt idx="10813">
                  <c:v>5.0291510515634146</c:v>
                </c:pt>
                <c:pt idx="10814">
                  <c:v>6.1100959438094318</c:v>
                </c:pt>
                <c:pt idx="10815">
                  <c:v>5.8704908562830971</c:v>
                </c:pt>
                <c:pt idx="10816">
                  <c:v>6.8460412204095569</c:v>
                </c:pt>
                <c:pt idx="10817">
                  <c:v>5.0083143930327294</c:v>
                </c:pt>
                <c:pt idx="10818">
                  <c:v>7.0672561648723065</c:v>
                </c:pt>
                <c:pt idx="10819">
                  <c:v>4.9551955392303837</c:v>
                </c:pt>
                <c:pt idx="10820">
                  <c:v>6.0707897564560183</c:v>
                </c:pt>
                <c:pt idx="10821">
                  <c:v>5.084344049603887</c:v>
                </c:pt>
                <c:pt idx="10822">
                  <c:v>6.1074895664582014</c:v>
                </c:pt>
                <c:pt idx="10823">
                  <c:v>6.0185818257652128</c:v>
                </c:pt>
                <c:pt idx="10824">
                  <c:v>4.974412659013832</c:v>
                </c:pt>
                <c:pt idx="10825">
                  <c:v>5.0355943169983668</c:v>
                </c:pt>
                <c:pt idx="10826">
                  <c:v>5.9948966214843074</c:v>
                </c:pt>
                <c:pt idx="10827">
                  <c:v>6.9730110178379618</c:v>
                </c:pt>
                <c:pt idx="10828">
                  <c:v>5.2049435934799639</c:v>
                </c:pt>
                <c:pt idx="10829">
                  <c:v>5.0376162744865356</c:v>
                </c:pt>
                <c:pt idx="10830">
                  <c:v>4.9931294088286204</c:v>
                </c:pt>
                <c:pt idx="10831">
                  <c:v>4.8886329355568847</c:v>
                </c:pt>
                <c:pt idx="10832">
                  <c:v>6.0026455476462566</c:v>
                </c:pt>
                <c:pt idx="10833">
                  <c:v>5.1045571690279665</c:v>
                </c:pt>
                <c:pt idx="10834">
                  <c:v>5.944935334415101</c:v>
                </c:pt>
                <c:pt idx="10835">
                  <c:v>4.9002575382775895</c:v>
                </c:pt>
                <c:pt idx="10836">
                  <c:v>6.1203176930893397</c:v>
                </c:pt>
                <c:pt idx="10837">
                  <c:v>5.0002860794435735</c:v>
                </c:pt>
                <c:pt idx="10838">
                  <c:v>5.8890787467206174</c:v>
                </c:pt>
                <c:pt idx="10839">
                  <c:v>6.0697851695014782</c:v>
                </c:pt>
                <c:pt idx="10840">
                  <c:v>6.0338830805711785</c:v>
                </c:pt>
                <c:pt idx="10841">
                  <c:v>7.0875762248793972</c:v>
                </c:pt>
                <c:pt idx="10842">
                  <c:v>7.1200374769302615</c:v>
                </c:pt>
                <c:pt idx="10843">
                  <c:v>7.1196741613365662</c:v>
                </c:pt>
                <c:pt idx="10844">
                  <c:v>5.0804734034981172</c:v>
                </c:pt>
                <c:pt idx="10845">
                  <c:v>5.0956549490515695</c:v>
                </c:pt>
                <c:pt idx="10846">
                  <c:v>4.9227488875608918</c:v>
                </c:pt>
                <c:pt idx="10847">
                  <c:v>5.148601657352434</c:v>
                </c:pt>
                <c:pt idx="10848">
                  <c:v>5.0153879592108961</c:v>
                </c:pt>
                <c:pt idx="10849">
                  <c:v>4.6793480769077958</c:v>
                </c:pt>
                <c:pt idx="10850">
                  <c:v>4.8671093305779065</c:v>
                </c:pt>
                <c:pt idx="10851">
                  <c:v>5.1871442457638084</c:v>
                </c:pt>
                <c:pt idx="10852">
                  <c:v>4.9257397240820717</c:v>
                </c:pt>
                <c:pt idx="10853">
                  <c:v>5.0676171782749337</c:v>
                </c:pt>
                <c:pt idx="10854">
                  <c:v>5.9704337087680308</c:v>
                </c:pt>
                <c:pt idx="10855">
                  <c:v>4.8520649227548454</c:v>
                </c:pt>
                <c:pt idx="10856">
                  <c:v>5.0956712753843494</c:v>
                </c:pt>
                <c:pt idx="10857">
                  <c:v>6.9314248817719806</c:v>
                </c:pt>
                <c:pt idx="10858">
                  <c:v>5.9187451489613983</c:v>
                </c:pt>
                <c:pt idx="10859">
                  <c:v>4.8887271649869151</c:v>
                </c:pt>
                <c:pt idx="10860">
                  <c:v>5.0637877258467281</c:v>
                </c:pt>
                <c:pt idx="10861">
                  <c:v>5.0356347714520222</c:v>
                </c:pt>
                <c:pt idx="10862">
                  <c:v>5.9319184129052918</c:v>
                </c:pt>
                <c:pt idx="10863">
                  <c:v>4.965509422835062</c:v>
                </c:pt>
                <c:pt idx="10864">
                  <c:v>4.1579575083068141</c:v>
                </c:pt>
                <c:pt idx="10865">
                  <c:v>5.003728835153038</c:v>
                </c:pt>
                <c:pt idx="10866">
                  <c:v>6.971683125753505</c:v>
                </c:pt>
                <c:pt idx="10867">
                  <c:v>5.0772059403853262</c:v>
                </c:pt>
                <c:pt idx="10868">
                  <c:v>5.9312664308561338</c:v>
                </c:pt>
                <c:pt idx="10869">
                  <c:v>4.912967072844717</c:v>
                </c:pt>
                <c:pt idx="10870">
                  <c:v>5.9721474011569384</c:v>
                </c:pt>
                <c:pt idx="10871">
                  <c:v>4.9120142822135318</c:v>
                </c:pt>
                <c:pt idx="10872">
                  <c:v>4.8833406760582818</c:v>
                </c:pt>
                <c:pt idx="10873">
                  <c:v>4.9519081466733894</c:v>
                </c:pt>
                <c:pt idx="10874">
                  <c:v>5.8922715629527698</c:v>
                </c:pt>
                <c:pt idx="10875">
                  <c:v>5.0622854147388336</c:v>
                </c:pt>
                <c:pt idx="10876">
                  <c:v>5.1937535999523234</c:v>
                </c:pt>
                <c:pt idx="10877">
                  <c:v>4.9622265542545723</c:v>
                </c:pt>
                <c:pt idx="10878">
                  <c:v>7.0805717202273506</c:v>
                </c:pt>
                <c:pt idx="10879">
                  <c:v>5.0188270335075691</c:v>
                </c:pt>
                <c:pt idx="10880">
                  <c:v>5.0007517411429081</c:v>
                </c:pt>
                <c:pt idx="10881">
                  <c:v>6.0318518189279322</c:v>
                </c:pt>
                <c:pt idx="10882">
                  <c:v>6.0288700638380917</c:v>
                </c:pt>
                <c:pt idx="10883">
                  <c:v>6.1259923325440697</c:v>
                </c:pt>
                <c:pt idx="10884">
                  <c:v>4.9184762703544509</c:v>
                </c:pt>
                <c:pt idx="10885">
                  <c:v>5.9578388856339419</c:v>
                </c:pt>
                <c:pt idx="10886">
                  <c:v>5.9131021178346277</c:v>
                </c:pt>
                <c:pt idx="10887">
                  <c:v>4.8302998668265742</c:v>
                </c:pt>
                <c:pt idx="10888">
                  <c:v>6.1276413904201386</c:v>
                </c:pt>
                <c:pt idx="10889">
                  <c:v>4.9990398701243324</c:v>
                </c:pt>
                <c:pt idx="10890">
                  <c:v>4.8301257097097672</c:v>
                </c:pt>
                <c:pt idx="10891">
                  <c:v>5.1600957161188967</c:v>
                </c:pt>
                <c:pt idx="10892">
                  <c:v>6.0916617988251289</c:v>
                </c:pt>
                <c:pt idx="10893">
                  <c:v>6.0617802617226841</c:v>
                </c:pt>
                <c:pt idx="10894">
                  <c:v>4.9173669294420943</c:v>
                </c:pt>
                <c:pt idx="10895">
                  <c:v>6.0385062634450861</c:v>
                </c:pt>
                <c:pt idx="10896">
                  <c:v>6.1179626767254005</c:v>
                </c:pt>
                <c:pt idx="10897">
                  <c:v>5.0333886019025096</c:v>
                </c:pt>
                <c:pt idx="10898">
                  <c:v>5.8690874101068733</c:v>
                </c:pt>
                <c:pt idx="10899">
                  <c:v>5.1204963538487567</c:v>
                </c:pt>
                <c:pt idx="10900">
                  <c:v>6.0016720105286705</c:v>
                </c:pt>
                <c:pt idx="10901">
                  <c:v>5.1692737149678178</c:v>
                </c:pt>
                <c:pt idx="10902">
                  <c:v>5.9140618757220835</c:v>
                </c:pt>
                <c:pt idx="10903">
                  <c:v>5.0060739071989069</c:v>
                </c:pt>
                <c:pt idx="10904">
                  <c:v>5.9996844519911008</c:v>
                </c:pt>
                <c:pt idx="10905">
                  <c:v>5.9294421071846397</c:v>
                </c:pt>
                <c:pt idx="10906">
                  <c:v>5.9990224958337475</c:v>
                </c:pt>
                <c:pt idx="10907">
                  <c:v>6.0368175554371017</c:v>
                </c:pt>
                <c:pt idx="10908">
                  <c:v>5.9622943255450149</c:v>
                </c:pt>
                <c:pt idx="10909">
                  <c:v>4.8854890633020052</c:v>
                </c:pt>
                <c:pt idx="10910">
                  <c:v>5.0077114424402192</c:v>
                </c:pt>
                <c:pt idx="10911">
                  <c:v>5.2026563422022116</c:v>
                </c:pt>
                <c:pt idx="10912">
                  <c:v>6.0495692406507606</c:v>
                </c:pt>
                <c:pt idx="10913">
                  <c:v>6.1253513250142051</c:v>
                </c:pt>
                <c:pt idx="10914">
                  <c:v>5.9886620938858517</c:v>
                </c:pt>
                <c:pt idx="10915">
                  <c:v>6.0820557336281622</c:v>
                </c:pt>
                <c:pt idx="10916">
                  <c:v>4.8970190469725612</c:v>
                </c:pt>
                <c:pt idx="10917">
                  <c:v>5.0562363009425679</c:v>
                </c:pt>
                <c:pt idx="10918">
                  <c:v>5.9927377483311446</c:v>
                </c:pt>
                <c:pt idx="10919">
                  <c:v>5.0044687832800889</c:v>
                </c:pt>
                <c:pt idx="10920">
                  <c:v>5.1481382081015692</c:v>
                </c:pt>
                <c:pt idx="10921">
                  <c:v>6.048620691964409</c:v>
                </c:pt>
                <c:pt idx="10922">
                  <c:v>6.13930375962277</c:v>
                </c:pt>
                <c:pt idx="10923">
                  <c:v>6.0197349180876811</c:v>
                </c:pt>
                <c:pt idx="10924">
                  <c:v>5.9627874826274576</c:v>
                </c:pt>
                <c:pt idx="10925">
                  <c:v>4.9397731326441807</c:v>
                </c:pt>
                <c:pt idx="10926">
                  <c:v>5.1071277529811754</c:v>
                </c:pt>
                <c:pt idx="10927">
                  <c:v>4.8712420811380044</c:v>
                </c:pt>
                <c:pt idx="10928">
                  <c:v>5.9137146099874984</c:v>
                </c:pt>
                <c:pt idx="10929">
                  <c:v>5.9533432430520641</c:v>
                </c:pt>
                <c:pt idx="10930">
                  <c:v>5.9674589284173685</c:v>
                </c:pt>
                <c:pt idx="10931">
                  <c:v>5.0292149405233779</c:v>
                </c:pt>
                <c:pt idx="10932">
                  <c:v>5.9874158320367163</c:v>
                </c:pt>
                <c:pt idx="10933">
                  <c:v>5.1604415721099146</c:v>
                </c:pt>
                <c:pt idx="10934">
                  <c:v>5.0364999002710089</c:v>
                </c:pt>
                <c:pt idx="10935">
                  <c:v>4.9146359713584644</c:v>
                </c:pt>
                <c:pt idx="10936">
                  <c:v>5.0831010496584605</c:v>
                </c:pt>
                <c:pt idx="10937">
                  <c:v>5.8934203609390439</c:v>
                </c:pt>
                <c:pt idx="10938">
                  <c:v>6.0137331609210563</c:v>
                </c:pt>
                <c:pt idx="10939">
                  <c:v>5.0772401468211479</c:v>
                </c:pt>
                <c:pt idx="10940">
                  <c:v>4.8624419571623578</c:v>
                </c:pt>
                <c:pt idx="10941">
                  <c:v>6.0336198400639587</c:v>
                </c:pt>
                <c:pt idx="10942">
                  <c:v>5.0248651381664908</c:v>
                </c:pt>
                <c:pt idx="10943">
                  <c:v>6.1187425914971056</c:v>
                </c:pt>
                <c:pt idx="10944">
                  <c:v>5.9845830585461677</c:v>
                </c:pt>
                <c:pt idx="10945">
                  <c:v>5.0125367933133971</c:v>
                </c:pt>
                <c:pt idx="10946">
                  <c:v>5.9335537121137696</c:v>
                </c:pt>
                <c:pt idx="10947">
                  <c:v>4.9450106486557655</c:v>
                </c:pt>
                <c:pt idx="10948">
                  <c:v>6.0186693340316229</c:v>
                </c:pt>
                <c:pt idx="10949">
                  <c:v>5.8246258896823822</c:v>
                </c:pt>
                <c:pt idx="10950">
                  <c:v>6.0087160544135623</c:v>
                </c:pt>
                <c:pt idx="10951">
                  <c:v>6.0434784196568661</c:v>
                </c:pt>
                <c:pt idx="10952">
                  <c:v>5.8676247276837898</c:v>
                </c:pt>
                <c:pt idx="10953">
                  <c:v>5.9077554290511483</c:v>
                </c:pt>
                <c:pt idx="10954">
                  <c:v>5.9707107391980987</c:v>
                </c:pt>
                <c:pt idx="10955">
                  <c:v>5.0159939497665738</c:v>
                </c:pt>
                <c:pt idx="10956">
                  <c:v>6.1094446476445281</c:v>
                </c:pt>
                <c:pt idx="10957">
                  <c:v>5.8991191476686371</c:v>
                </c:pt>
                <c:pt idx="10958">
                  <c:v>3.9544182596572583</c:v>
                </c:pt>
                <c:pt idx="10959">
                  <c:v>4.9607381227519838</c:v>
                </c:pt>
                <c:pt idx="10960">
                  <c:v>5.8817780289333639</c:v>
                </c:pt>
                <c:pt idx="10961">
                  <c:v>6.0202561311380496</c:v>
                </c:pt>
                <c:pt idx="10962">
                  <c:v>4.988255505435566</c:v>
                </c:pt>
                <c:pt idx="10963">
                  <c:v>6.1677843924951157</c:v>
                </c:pt>
                <c:pt idx="10964">
                  <c:v>5.970436890028628</c:v>
                </c:pt>
                <c:pt idx="10965">
                  <c:v>2.9088993955288043</c:v>
                </c:pt>
                <c:pt idx="10966">
                  <c:v>2.9175281913896454</c:v>
                </c:pt>
                <c:pt idx="10967">
                  <c:v>3.100032174455996</c:v>
                </c:pt>
                <c:pt idx="10968">
                  <c:v>3.0073745956357976</c:v>
                </c:pt>
                <c:pt idx="10969">
                  <c:v>3.0276358807940742</c:v>
                </c:pt>
                <c:pt idx="10970">
                  <c:v>5.1295432475030687</c:v>
                </c:pt>
                <c:pt idx="10971">
                  <c:v>5.1008368079002961</c:v>
                </c:pt>
                <c:pt idx="10972">
                  <c:v>5.1060271759178324</c:v>
                </c:pt>
                <c:pt idx="10973">
                  <c:v>4.955573018375194</c:v>
                </c:pt>
                <c:pt idx="10974">
                  <c:v>4.9303325663065607</c:v>
                </c:pt>
                <c:pt idx="10975">
                  <c:v>4.9780475566909708</c:v>
                </c:pt>
                <c:pt idx="10976">
                  <c:v>5.0251498437826845</c:v>
                </c:pt>
                <c:pt idx="10977">
                  <c:v>6.0508164771304651</c:v>
                </c:pt>
                <c:pt idx="10978">
                  <c:v>5.8686304314954594</c:v>
                </c:pt>
                <c:pt idx="10979">
                  <c:v>6.0468653286490159</c:v>
                </c:pt>
                <c:pt idx="10980">
                  <c:v>6.0427664395687124</c:v>
                </c:pt>
                <c:pt idx="10981">
                  <c:v>6.944042280302904</c:v>
                </c:pt>
                <c:pt idx="10982">
                  <c:v>6.0705665961358273</c:v>
                </c:pt>
                <c:pt idx="10983">
                  <c:v>4.9979985979621047</c:v>
                </c:pt>
                <c:pt idx="10984">
                  <c:v>5.9816451017837524</c:v>
                </c:pt>
                <c:pt idx="10985">
                  <c:v>4.9599226432437034</c:v>
                </c:pt>
                <c:pt idx="10986">
                  <c:v>5.9695472649088188</c:v>
                </c:pt>
                <c:pt idx="10987">
                  <c:v>7.1261601602212057</c:v>
                </c:pt>
                <c:pt idx="10988">
                  <c:v>6.0996830791613972</c:v>
                </c:pt>
                <c:pt idx="10989">
                  <c:v>6.1563045471767959</c:v>
                </c:pt>
                <c:pt idx="10990">
                  <c:v>6.1104026590063878</c:v>
                </c:pt>
                <c:pt idx="10991">
                  <c:v>6.2257786553321459</c:v>
                </c:pt>
                <c:pt idx="10992">
                  <c:v>6.0730471065600105</c:v>
                </c:pt>
                <c:pt idx="10993">
                  <c:v>5.0655890912665118</c:v>
                </c:pt>
                <c:pt idx="10994">
                  <c:v>4.9893282559424765</c:v>
                </c:pt>
                <c:pt idx="10995">
                  <c:v>5.9542477531249514</c:v>
                </c:pt>
                <c:pt idx="10996">
                  <c:v>5.9688998564534002</c:v>
                </c:pt>
                <c:pt idx="10997">
                  <c:v>6.0426915132313175</c:v>
                </c:pt>
                <c:pt idx="10998">
                  <c:v>6.0691915527146092</c:v>
                </c:pt>
                <c:pt idx="10999">
                  <c:v>6.0248876144457784</c:v>
                </c:pt>
                <c:pt idx="11000">
                  <c:v>6.1893366206187563</c:v>
                </c:pt>
                <c:pt idx="11001">
                  <c:v>4.9265000975628848</c:v>
                </c:pt>
                <c:pt idx="11002">
                  <c:v>5.9047212940389286</c:v>
                </c:pt>
                <c:pt idx="11003">
                  <c:v>5.8184813808031262</c:v>
                </c:pt>
                <c:pt idx="11004">
                  <c:v>4.9148390959892891</c:v>
                </c:pt>
                <c:pt idx="11005">
                  <c:v>5.9410175188510532</c:v>
                </c:pt>
                <c:pt idx="11006">
                  <c:v>4.9076011422818286</c:v>
                </c:pt>
                <c:pt idx="11007">
                  <c:v>5.8915578679816258</c:v>
                </c:pt>
                <c:pt idx="11008">
                  <c:v>6.0754214640016118</c:v>
                </c:pt>
                <c:pt idx="11009">
                  <c:v>5.9887954710995341</c:v>
                </c:pt>
                <c:pt idx="11010">
                  <c:v>5.1046554277976988</c:v>
                </c:pt>
                <c:pt idx="11011">
                  <c:v>5.025191327273232</c:v>
                </c:pt>
                <c:pt idx="11012">
                  <c:v>4.9590163814434547</c:v>
                </c:pt>
                <c:pt idx="11013">
                  <c:v>6.0403457695099938</c:v>
                </c:pt>
                <c:pt idx="11014">
                  <c:v>5.0968459081941893</c:v>
                </c:pt>
                <c:pt idx="11015">
                  <c:v>5.9374790818343</c:v>
                </c:pt>
                <c:pt idx="11016">
                  <c:v>5.1239634816586657</c:v>
                </c:pt>
                <c:pt idx="11017">
                  <c:v>6.8529069821370516</c:v>
                </c:pt>
                <c:pt idx="11018">
                  <c:v>5.9935722072487616</c:v>
                </c:pt>
                <c:pt idx="11019">
                  <c:v>5.9379217648316098</c:v>
                </c:pt>
                <c:pt idx="11020">
                  <c:v>5.0879366796511896</c:v>
                </c:pt>
                <c:pt idx="11021">
                  <c:v>4.9738979430412229</c:v>
                </c:pt>
                <c:pt idx="11022">
                  <c:v>6.1479417434281212</c:v>
                </c:pt>
                <c:pt idx="11023">
                  <c:v>5.8559914358592939</c:v>
                </c:pt>
                <c:pt idx="11024">
                  <c:v>5.0344183522763579</c:v>
                </c:pt>
                <c:pt idx="11025">
                  <c:v>5.9424658817763447</c:v>
                </c:pt>
                <c:pt idx="11026">
                  <c:v>6.1245048267050217</c:v>
                </c:pt>
                <c:pt idx="11027">
                  <c:v>5.0792578039536211</c:v>
                </c:pt>
                <c:pt idx="11028">
                  <c:v>5.8825508148380292</c:v>
                </c:pt>
                <c:pt idx="11029">
                  <c:v>5.9326927754654815</c:v>
                </c:pt>
                <c:pt idx="11030">
                  <c:v>4.86680716506085</c:v>
                </c:pt>
                <c:pt idx="11031">
                  <c:v>6.0565897133526123</c:v>
                </c:pt>
                <c:pt idx="11032">
                  <c:v>6.013763171106028</c:v>
                </c:pt>
                <c:pt idx="11033">
                  <c:v>6.1618732206659388</c:v>
                </c:pt>
                <c:pt idx="11034">
                  <c:v>5.9507899631568915</c:v>
                </c:pt>
                <c:pt idx="11035">
                  <c:v>4.9710833934522114</c:v>
                </c:pt>
                <c:pt idx="11036">
                  <c:v>5.9537763173810534</c:v>
                </c:pt>
                <c:pt idx="11037">
                  <c:v>6.009927870144276</c:v>
                </c:pt>
                <c:pt idx="11038">
                  <c:v>5.9718076725246405</c:v>
                </c:pt>
                <c:pt idx="11039">
                  <c:v>6.0536620034666546</c:v>
                </c:pt>
                <c:pt idx="11040">
                  <c:v>5.9612822486270431</c:v>
                </c:pt>
                <c:pt idx="11041">
                  <c:v>5.9610728606100238</c:v>
                </c:pt>
                <c:pt idx="11042">
                  <c:v>5.9634767488744078</c:v>
                </c:pt>
                <c:pt idx="11043">
                  <c:v>5.9727003386730804</c:v>
                </c:pt>
                <c:pt idx="11044">
                  <c:v>6.015922055305496</c:v>
                </c:pt>
                <c:pt idx="11045">
                  <c:v>6.1263172989058301</c:v>
                </c:pt>
                <c:pt idx="11046">
                  <c:v>6.0516616940670547</c:v>
                </c:pt>
                <c:pt idx="11047">
                  <c:v>6.1570201813018866</c:v>
                </c:pt>
                <c:pt idx="11048">
                  <c:v>5.1470373511520044</c:v>
                </c:pt>
                <c:pt idx="11049">
                  <c:v>4.8923048131581526</c:v>
                </c:pt>
                <c:pt idx="11050">
                  <c:v>6.0248442897910151</c:v>
                </c:pt>
                <c:pt idx="11051">
                  <c:v>6.0023749231329875</c:v>
                </c:pt>
                <c:pt idx="11052">
                  <c:v>6.0222741615951403</c:v>
                </c:pt>
                <c:pt idx="11053">
                  <c:v>4.0496776296526162</c:v>
                </c:pt>
                <c:pt idx="11054">
                  <c:v>5.9378358259402884</c:v>
                </c:pt>
                <c:pt idx="11055">
                  <c:v>5.8927864775398344</c:v>
                </c:pt>
                <c:pt idx="11056">
                  <c:v>5.0188110825829977</c:v>
                </c:pt>
                <c:pt idx="11057">
                  <c:v>5.8165284627360059</c:v>
                </c:pt>
                <c:pt idx="11058">
                  <c:v>6.0502220282351038</c:v>
                </c:pt>
                <c:pt idx="11059">
                  <c:v>5.9953976499717285</c:v>
                </c:pt>
                <c:pt idx="11060">
                  <c:v>4.7403522116148578</c:v>
                </c:pt>
                <c:pt idx="11061">
                  <c:v>5.7473500847859942</c:v>
                </c:pt>
                <c:pt idx="11062">
                  <c:v>4.7279340106929899</c:v>
                </c:pt>
                <c:pt idx="11063">
                  <c:v>5.9935753710489621</c:v>
                </c:pt>
                <c:pt idx="11064">
                  <c:v>5.0709389761332693</c:v>
                </c:pt>
                <c:pt idx="11065">
                  <c:v>5.8780059055768472</c:v>
                </c:pt>
                <c:pt idx="11066">
                  <c:v>4.9503696983007472</c:v>
                </c:pt>
                <c:pt idx="11067">
                  <c:v>5.9267011600055577</c:v>
                </c:pt>
                <c:pt idx="11068">
                  <c:v>5.9011774163922226</c:v>
                </c:pt>
                <c:pt idx="11069">
                  <c:v>5.1943466541792978</c:v>
                </c:pt>
                <c:pt idx="11070">
                  <c:v>6.0313233966541233</c:v>
                </c:pt>
                <c:pt idx="11071">
                  <c:v>5.1844514553441181</c:v>
                </c:pt>
                <c:pt idx="11072">
                  <c:v>6.0618886089737627</c:v>
                </c:pt>
                <c:pt idx="11073">
                  <c:v>5.915017610184659</c:v>
                </c:pt>
                <c:pt idx="11074">
                  <c:v>5.1179126737311753</c:v>
                </c:pt>
                <c:pt idx="11075">
                  <c:v>5.8933942231650773</c:v>
                </c:pt>
                <c:pt idx="11076">
                  <c:v>5.9929363037606969</c:v>
                </c:pt>
                <c:pt idx="11077">
                  <c:v>5.7708445771730075</c:v>
                </c:pt>
                <c:pt idx="11078">
                  <c:v>4.9793121165313474</c:v>
                </c:pt>
                <c:pt idx="11079">
                  <c:v>5.9456366821758673</c:v>
                </c:pt>
                <c:pt idx="11080">
                  <c:v>6.2067846378393927</c:v>
                </c:pt>
                <c:pt idx="11081">
                  <c:v>4.8550700858805067</c:v>
                </c:pt>
                <c:pt idx="11082">
                  <c:v>5.9645746569018927</c:v>
                </c:pt>
                <c:pt idx="11083">
                  <c:v>5.1212552527145148</c:v>
                </c:pt>
                <c:pt idx="11084">
                  <c:v>6.0556227439035464</c:v>
                </c:pt>
                <c:pt idx="11085">
                  <c:v>5.9970780453026222</c:v>
                </c:pt>
                <c:pt idx="11086">
                  <c:v>5.0773194409942297</c:v>
                </c:pt>
                <c:pt idx="11087">
                  <c:v>5.8045643147175889</c:v>
                </c:pt>
                <c:pt idx="11088">
                  <c:v>5.9038807364388406</c:v>
                </c:pt>
                <c:pt idx="11089">
                  <c:v>6.0605868065617061</c:v>
                </c:pt>
                <c:pt idx="11090">
                  <c:v>5.8627191176056286</c:v>
                </c:pt>
                <c:pt idx="11091">
                  <c:v>5.9977722835774676</c:v>
                </c:pt>
                <c:pt idx="11092">
                  <c:v>6.051173382821454</c:v>
                </c:pt>
                <c:pt idx="11093">
                  <c:v>6.0488620766390779</c:v>
                </c:pt>
                <c:pt idx="11094">
                  <c:v>7.1568882657113422</c:v>
                </c:pt>
                <c:pt idx="11095">
                  <c:v>6.0046954358869238</c:v>
                </c:pt>
                <c:pt idx="11096">
                  <c:v>6.0959056032169121</c:v>
                </c:pt>
                <c:pt idx="11097">
                  <c:v>6.1506986452258925</c:v>
                </c:pt>
                <c:pt idx="11098">
                  <c:v>6.0016694023997266</c:v>
                </c:pt>
                <c:pt idx="11099">
                  <c:v>6.0444798846922483</c:v>
                </c:pt>
                <c:pt idx="11100">
                  <c:v>5.9423921405927498</c:v>
                </c:pt>
                <c:pt idx="11101">
                  <c:v>6.058687765333862</c:v>
                </c:pt>
                <c:pt idx="11102">
                  <c:v>6.1705790630748449</c:v>
                </c:pt>
                <c:pt idx="11103">
                  <c:v>6.1358548279600598</c:v>
                </c:pt>
                <c:pt idx="11104">
                  <c:v>5.8805079892220995</c:v>
                </c:pt>
                <c:pt idx="11105">
                  <c:v>6.0438623369477549</c:v>
                </c:pt>
                <c:pt idx="11106">
                  <c:v>5.880670968412165</c:v>
                </c:pt>
                <c:pt idx="11107">
                  <c:v>6.0134153392557481</c:v>
                </c:pt>
                <c:pt idx="11108">
                  <c:v>6.2519802089882743</c:v>
                </c:pt>
                <c:pt idx="11109">
                  <c:v>6.1369441793148551</c:v>
                </c:pt>
                <c:pt idx="11110">
                  <c:v>5.9297834548563202</c:v>
                </c:pt>
                <c:pt idx="11111">
                  <c:v>5.9905932928368815</c:v>
                </c:pt>
                <c:pt idx="11112">
                  <c:v>6.0582039852915059</c:v>
                </c:pt>
                <c:pt idx="11113">
                  <c:v>4.0851117410109499</c:v>
                </c:pt>
                <c:pt idx="11114">
                  <c:v>6.1190322981406489</c:v>
                </c:pt>
                <c:pt idx="11115">
                  <c:v>5.8103789934372667</c:v>
                </c:pt>
                <c:pt idx="11116">
                  <c:v>5.8894370388230577</c:v>
                </c:pt>
                <c:pt idx="11117">
                  <c:v>6.1008801749667994</c:v>
                </c:pt>
                <c:pt idx="11118">
                  <c:v>5.9700522875237976</c:v>
                </c:pt>
                <c:pt idx="11119">
                  <c:v>5.1399605698289728</c:v>
                </c:pt>
                <c:pt idx="11120">
                  <c:v>6.0250847401523151</c:v>
                </c:pt>
                <c:pt idx="11121">
                  <c:v>6.0766383969692397</c:v>
                </c:pt>
                <c:pt idx="11122">
                  <c:v>5.0937564367387367</c:v>
                </c:pt>
                <c:pt idx="11123">
                  <c:v>3.9248131211994473</c:v>
                </c:pt>
                <c:pt idx="11124">
                  <c:v>5.9357617038402486</c:v>
                </c:pt>
                <c:pt idx="11125">
                  <c:v>6.1627115224153926</c:v>
                </c:pt>
                <c:pt idx="11126">
                  <c:v>6.0806026410782499</c:v>
                </c:pt>
                <c:pt idx="11127">
                  <c:v>6.073905365544892</c:v>
                </c:pt>
                <c:pt idx="11128">
                  <c:v>5.0663337212722803</c:v>
                </c:pt>
                <c:pt idx="11129">
                  <c:v>5.9882138369100062</c:v>
                </c:pt>
                <c:pt idx="11130">
                  <c:v>6.0392941211558862</c:v>
                </c:pt>
                <c:pt idx="11131">
                  <c:v>6.9582472627432708</c:v>
                </c:pt>
                <c:pt idx="11132">
                  <c:v>6.9826008087131637</c:v>
                </c:pt>
                <c:pt idx="11133">
                  <c:v>6.2324841473118022</c:v>
                </c:pt>
                <c:pt idx="11134">
                  <c:v>5.9408962378866006</c:v>
                </c:pt>
                <c:pt idx="11135">
                  <c:v>6.0635665903695024</c:v>
                </c:pt>
                <c:pt idx="11136">
                  <c:v>6.9408243625404946</c:v>
                </c:pt>
                <c:pt idx="11137">
                  <c:v>6.0258558458307423</c:v>
                </c:pt>
                <c:pt idx="11138">
                  <c:v>1.8247528341917081</c:v>
                </c:pt>
                <c:pt idx="11139">
                  <c:v>2.0065941031787022</c:v>
                </c:pt>
                <c:pt idx="11140">
                  <c:v>6.0488690000426617</c:v>
                </c:pt>
                <c:pt idx="11141">
                  <c:v>1.897755836365451</c:v>
                </c:pt>
                <c:pt idx="11142">
                  <c:v>6.0846925134459271</c:v>
                </c:pt>
                <c:pt idx="11143">
                  <c:v>5.979802095878072</c:v>
                </c:pt>
                <c:pt idx="11144">
                  <c:v>5.9748740415616357</c:v>
                </c:pt>
                <c:pt idx="11145">
                  <c:v>5.9176444064964793</c:v>
                </c:pt>
                <c:pt idx="11146">
                  <c:v>6.0325951515336742</c:v>
                </c:pt>
                <c:pt idx="11147">
                  <c:v>5.8746829952560864</c:v>
                </c:pt>
                <c:pt idx="11148">
                  <c:v>6.2867535132379802</c:v>
                </c:pt>
                <c:pt idx="11149">
                  <c:v>6.0426905060754867</c:v>
                </c:pt>
                <c:pt idx="11150">
                  <c:v>5.9773730463430832</c:v>
                </c:pt>
                <c:pt idx="11151">
                  <c:v>5.9973797103363911</c:v>
                </c:pt>
                <c:pt idx="11152">
                  <c:v>5.95346989355492</c:v>
                </c:pt>
                <c:pt idx="11153">
                  <c:v>5.0310437499599159</c:v>
                </c:pt>
                <c:pt idx="11154">
                  <c:v>5.9432066958368761</c:v>
                </c:pt>
                <c:pt idx="11155">
                  <c:v>7.0229751048044431</c:v>
                </c:pt>
                <c:pt idx="11156">
                  <c:v>5.9869420151811781</c:v>
                </c:pt>
                <c:pt idx="11157">
                  <c:v>6.0535696406992248</c:v>
                </c:pt>
                <c:pt idx="11158">
                  <c:v>5.967825755512175</c:v>
                </c:pt>
                <c:pt idx="11159">
                  <c:v>5.9254979160878962</c:v>
                </c:pt>
                <c:pt idx="11160">
                  <c:v>4.9356012264057201</c:v>
                </c:pt>
                <c:pt idx="11161">
                  <c:v>4.8665565470430119</c:v>
                </c:pt>
                <c:pt idx="11162">
                  <c:v>6.0125073805477811</c:v>
                </c:pt>
                <c:pt idx="11163">
                  <c:v>4.9586263776176152</c:v>
                </c:pt>
                <c:pt idx="11164">
                  <c:v>6.0750828394978145</c:v>
                </c:pt>
                <c:pt idx="11165">
                  <c:v>5.8544647690106002</c:v>
                </c:pt>
                <c:pt idx="11166">
                  <c:v>5.0949828797038359</c:v>
                </c:pt>
                <c:pt idx="11167">
                  <c:v>5.8564756272642722</c:v>
                </c:pt>
                <c:pt idx="11168">
                  <c:v>6.9436191195629835</c:v>
                </c:pt>
                <c:pt idx="11169">
                  <c:v>5.8516846862828791</c:v>
                </c:pt>
                <c:pt idx="11170">
                  <c:v>5.8781760403432779</c:v>
                </c:pt>
                <c:pt idx="11171">
                  <c:v>6.0870410540308626</c:v>
                </c:pt>
                <c:pt idx="11172">
                  <c:v>6.2695637526182386</c:v>
                </c:pt>
                <c:pt idx="11173">
                  <c:v>6.2202258158513795</c:v>
                </c:pt>
                <c:pt idx="11174">
                  <c:v>6.0374835394667086</c:v>
                </c:pt>
                <c:pt idx="11175">
                  <c:v>5.85239938281783</c:v>
                </c:pt>
                <c:pt idx="11176">
                  <c:v>6.9454203728767938</c:v>
                </c:pt>
                <c:pt idx="11177">
                  <c:v>5.8608830692446201</c:v>
                </c:pt>
                <c:pt idx="11178">
                  <c:v>4.8722189594372116</c:v>
                </c:pt>
                <c:pt idx="11179">
                  <c:v>5.9918605223436741</c:v>
                </c:pt>
                <c:pt idx="11180">
                  <c:v>6.0173555856243954</c:v>
                </c:pt>
                <c:pt idx="11181">
                  <c:v>5.8554686681630548</c:v>
                </c:pt>
                <c:pt idx="11182">
                  <c:v>6.0261553117905438</c:v>
                </c:pt>
                <c:pt idx="11183">
                  <c:v>6.0899492981110201</c:v>
                </c:pt>
                <c:pt idx="11184">
                  <c:v>5.9986873561139999</c:v>
                </c:pt>
                <c:pt idx="11185">
                  <c:v>6.0454659640446646</c:v>
                </c:pt>
                <c:pt idx="11186">
                  <c:v>6.0775985832940025</c:v>
                </c:pt>
                <c:pt idx="11187">
                  <c:v>5.9169276553820662</c:v>
                </c:pt>
                <c:pt idx="11188">
                  <c:v>3.1965787535498125</c:v>
                </c:pt>
                <c:pt idx="11189">
                  <c:v>5.8592096721351856</c:v>
                </c:pt>
                <c:pt idx="11190">
                  <c:v>5.8983500432377625</c:v>
                </c:pt>
                <c:pt idx="11191">
                  <c:v>5.8580076212887118</c:v>
                </c:pt>
                <c:pt idx="11192">
                  <c:v>5.1191946003098563</c:v>
                </c:pt>
                <c:pt idx="11193">
                  <c:v>6.2328934988232065</c:v>
                </c:pt>
                <c:pt idx="11194">
                  <c:v>5.9625353361522375</c:v>
                </c:pt>
                <c:pt idx="11195">
                  <c:v>5.9509274603747233</c:v>
                </c:pt>
                <c:pt idx="11196">
                  <c:v>5.9949537933449291</c:v>
                </c:pt>
                <c:pt idx="11197">
                  <c:v>6.0459110878263704</c:v>
                </c:pt>
                <c:pt idx="11198">
                  <c:v>5.7903273600484395</c:v>
                </c:pt>
                <c:pt idx="11199">
                  <c:v>6.0234079850104179</c:v>
                </c:pt>
                <c:pt idx="11200">
                  <c:v>5.931037031608982</c:v>
                </c:pt>
                <c:pt idx="11201">
                  <c:v>5.9676379439787475</c:v>
                </c:pt>
                <c:pt idx="11202">
                  <c:v>6.222943591290111</c:v>
                </c:pt>
                <c:pt idx="11203">
                  <c:v>6.0322524279157728</c:v>
                </c:pt>
                <c:pt idx="11204">
                  <c:v>6.1327447403806135</c:v>
                </c:pt>
                <c:pt idx="11205">
                  <c:v>5.9767163441508702</c:v>
                </c:pt>
                <c:pt idx="11206">
                  <c:v>7.0169109623175414</c:v>
                </c:pt>
                <c:pt idx="11207">
                  <c:v>6.1250489856410395</c:v>
                </c:pt>
                <c:pt idx="11208">
                  <c:v>6.1288461319074035</c:v>
                </c:pt>
                <c:pt idx="11209">
                  <c:v>5.0341787941537683</c:v>
                </c:pt>
                <c:pt idx="11210">
                  <c:v>5.0279428342164403</c:v>
                </c:pt>
                <c:pt idx="11211">
                  <c:v>5.1363926632843677</c:v>
                </c:pt>
                <c:pt idx="11212">
                  <c:v>4.9836270454407572</c:v>
                </c:pt>
                <c:pt idx="11213">
                  <c:v>3.9356400033138574</c:v>
                </c:pt>
                <c:pt idx="11214">
                  <c:v>3.8727526330003634</c:v>
                </c:pt>
                <c:pt idx="11215">
                  <c:v>6.2082531715766658</c:v>
                </c:pt>
                <c:pt idx="11216">
                  <c:v>6.1352763724819139</c:v>
                </c:pt>
                <c:pt idx="11217">
                  <c:v>6.0347449144651382</c:v>
                </c:pt>
                <c:pt idx="11218">
                  <c:v>3.8534934010443673</c:v>
                </c:pt>
                <c:pt idx="11219">
                  <c:v>3.883101788286099</c:v>
                </c:pt>
                <c:pt idx="11220">
                  <c:v>4.1019260112272322</c:v>
                </c:pt>
                <c:pt idx="11221">
                  <c:v>6.00882170073357</c:v>
                </c:pt>
                <c:pt idx="11222">
                  <c:v>5.9688081158291242</c:v>
                </c:pt>
                <c:pt idx="11223">
                  <c:v>4.9799006543744273</c:v>
                </c:pt>
                <c:pt idx="11224">
                  <c:v>6.0178067468526848</c:v>
                </c:pt>
                <c:pt idx="11225">
                  <c:v>5.9916662090750501</c:v>
                </c:pt>
                <c:pt idx="11226">
                  <c:v>6.0094088695981061</c:v>
                </c:pt>
                <c:pt idx="11227">
                  <c:v>6.0389426155992574</c:v>
                </c:pt>
                <c:pt idx="11228">
                  <c:v>5.9868942136299177</c:v>
                </c:pt>
                <c:pt idx="11229">
                  <c:v>3.8580857035667533</c:v>
                </c:pt>
                <c:pt idx="11230">
                  <c:v>4.0006430429597808</c:v>
                </c:pt>
                <c:pt idx="11231">
                  <c:v>4.0026573522947064</c:v>
                </c:pt>
                <c:pt idx="11232">
                  <c:v>3.9887648554752646</c:v>
                </c:pt>
                <c:pt idx="11233">
                  <c:v>3.8925763804134448</c:v>
                </c:pt>
                <c:pt idx="11234">
                  <c:v>6.0108199747400386</c:v>
                </c:pt>
                <c:pt idx="11235">
                  <c:v>6.1688766388338099</c:v>
                </c:pt>
                <c:pt idx="11236">
                  <c:v>2.0375824134319735</c:v>
                </c:pt>
                <c:pt idx="11237">
                  <c:v>5.0609443627037027</c:v>
                </c:pt>
                <c:pt idx="11238">
                  <c:v>5.0775050080428139</c:v>
                </c:pt>
                <c:pt idx="11239">
                  <c:v>6.0324057881407347</c:v>
                </c:pt>
                <c:pt idx="11240">
                  <c:v>5.9279859585123038</c:v>
                </c:pt>
                <c:pt idx="11241">
                  <c:v>5.9233650757420113</c:v>
                </c:pt>
                <c:pt idx="11242">
                  <c:v>5.1089470933378029</c:v>
                </c:pt>
                <c:pt idx="11243">
                  <c:v>5.1423929827647097</c:v>
                </c:pt>
                <c:pt idx="11244">
                  <c:v>5.9235264552887097</c:v>
                </c:pt>
                <c:pt idx="11245">
                  <c:v>6.13231627906202</c:v>
                </c:pt>
                <c:pt idx="11246">
                  <c:v>5.9207363570648219</c:v>
                </c:pt>
                <c:pt idx="11247">
                  <c:v>6.8540074753443632</c:v>
                </c:pt>
                <c:pt idx="11248">
                  <c:v>5.9081949898126886</c:v>
                </c:pt>
                <c:pt idx="11249">
                  <c:v>5.09281754164991</c:v>
                </c:pt>
                <c:pt idx="11250">
                  <c:v>4.9894777122237954</c:v>
                </c:pt>
                <c:pt idx="11251">
                  <c:v>6.0270135475783135</c:v>
                </c:pt>
                <c:pt idx="11252">
                  <c:v>4.9297638180803949</c:v>
                </c:pt>
                <c:pt idx="11253">
                  <c:v>6.0163615908002317</c:v>
                </c:pt>
                <c:pt idx="11254">
                  <c:v>5.0713557909543647</c:v>
                </c:pt>
                <c:pt idx="11255">
                  <c:v>5.9364264983664583</c:v>
                </c:pt>
                <c:pt idx="11256">
                  <c:v>6.0068321403309826</c:v>
                </c:pt>
                <c:pt idx="11257">
                  <c:v>6.0153232298018358</c:v>
                </c:pt>
                <c:pt idx="11258">
                  <c:v>4.9612789862749951</c:v>
                </c:pt>
                <c:pt idx="11259">
                  <c:v>6.0248399411210247</c:v>
                </c:pt>
                <c:pt idx="11260">
                  <c:v>6.0138837653716948</c:v>
                </c:pt>
                <c:pt idx="11261">
                  <c:v>6.0410206460391578</c:v>
                </c:pt>
                <c:pt idx="11262">
                  <c:v>4.9104555691165404</c:v>
                </c:pt>
                <c:pt idx="11263">
                  <c:v>7.108884191419147</c:v>
                </c:pt>
                <c:pt idx="11264">
                  <c:v>5.8384128713165975</c:v>
                </c:pt>
                <c:pt idx="11265">
                  <c:v>4.9471659967916102</c:v>
                </c:pt>
                <c:pt idx="11266">
                  <c:v>5.9907807180979313</c:v>
                </c:pt>
                <c:pt idx="11267">
                  <c:v>4.8330222078268585</c:v>
                </c:pt>
                <c:pt idx="11268">
                  <c:v>5.9038585937272412</c:v>
                </c:pt>
                <c:pt idx="11269">
                  <c:v>5.9360741177339333</c:v>
                </c:pt>
                <c:pt idx="11270">
                  <c:v>6.1325806459039445</c:v>
                </c:pt>
                <c:pt idx="11271">
                  <c:v>5.8385611144080194</c:v>
                </c:pt>
                <c:pt idx="11272">
                  <c:v>5.9575576606921228</c:v>
                </c:pt>
                <c:pt idx="11273">
                  <c:v>5.0162444794377361</c:v>
                </c:pt>
                <c:pt idx="11274">
                  <c:v>5.0674212754148815</c:v>
                </c:pt>
                <c:pt idx="11275">
                  <c:v>5.0662891966861086</c:v>
                </c:pt>
                <c:pt idx="11276">
                  <c:v>4.8572613659248676</c:v>
                </c:pt>
                <c:pt idx="11277">
                  <c:v>6.0609011389087897</c:v>
                </c:pt>
                <c:pt idx="11278">
                  <c:v>4.8161206365992317</c:v>
                </c:pt>
                <c:pt idx="11279">
                  <c:v>5.7781277982619832</c:v>
                </c:pt>
                <c:pt idx="11280">
                  <c:v>6.0033071318896996</c:v>
                </c:pt>
                <c:pt idx="11281">
                  <c:v>6.1186607962474433</c:v>
                </c:pt>
                <c:pt idx="11282">
                  <c:v>5.9573837001886778</c:v>
                </c:pt>
                <c:pt idx="11283">
                  <c:v>6.0276270385645354</c:v>
                </c:pt>
                <c:pt idx="11284">
                  <c:v>6.0337131994912019</c:v>
                </c:pt>
                <c:pt idx="11285">
                  <c:v>6.0967316821726376</c:v>
                </c:pt>
                <c:pt idx="11286">
                  <c:v>4.8646265739298657</c:v>
                </c:pt>
                <c:pt idx="11287">
                  <c:v>5.1881041327507429</c:v>
                </c:pt>
                <c:pt idx="11288">
                  <c:v>5.1424424778771609</c:v>
                </c:pt>
                <c:pt idx="11289">
                  <c:v>5.9656457783207761</c:v>
                </c:pt>
                <c:pt idx="11290">
                  <c:v>4.7971288715426503</c:v>
                </c:pt>
                <c:pt idx="11291">
                  <c:v>6.0334229548921172</c:v>
                </c:pt>
                <c:pt idx="11292">
                  <c:v>6.0517016685062393</c:v>
                </c:pt>
                <c:pt idx="11293">
                  <c:v>5.9807727426684529</c:v>
                </c:pt>
                <c:pt idx="11294">
                  <c:v>5.0863721240743942</c:v>
                </c:pt>
                <c:pt idx="11295">
                  <c:v>5.9521234139243768</c:v>
                </c:pt>
                <c:pt idx="11296">
                  <c:v>6.2191274855971495</c:v>
                </c:pt>
                <c:pt idx="11297">
                  <c:v>6.004853503288933</c:v>
                </c:pt>
                <c:pt idx="11298">
                  <c:v>6.0783860133156749</c:v>
                </c:pt>
                <c:pt idx="11299">
                  <c:v>6.0151206950381733</c:v>
                </c:pt>
                <c:pt idx="11300">
                  <c:v>5.8771753823361923</c:v>
                </c:pt>
                <c:pt idx="11301">
                  <c:v>5.9290741288728119</c:v>
                </c:pt>
                <c:pt idx="11302">
                  <c:v>6.0026462735721182</c:v>
                </c:pt>
                <c:pt idx="11303">
                  <c:v>5.961697027718099</c:v>
                </c:pt>
                <c:pt idx="11304">
                  <c:v>5.008719660948028</c:v>
                </c:pt>
                <c:pt idx="11305">
                  <c:v>5.0107429139534609</c:v>
                </c:pt>
                <c:pt idx="11306">
                  <c:v>5.8952368612422097</c:v>
                </c:pt>
                <c:pt idx="11307">
                  <c:v>4.8649378453050893</c:v>
                </c:pt>
                <c:pt idx="11308">
                  <c:v>5.2267341074732236</c:v>
                </c:pt>
                <c:pt idx="11309">
                  <c:v>4.9760056777301145</c:v>
                </c:pt>
                <c:pt idx="11310">
                  <c:v>5.1330339593868226</c:v>
                </c:pt>
                <c:pt idx="11311">
                  <c:v>5.8021395231295854</c:v>
                </c:pt>
                <c:pt idx="11312">
                  <c:v>5.9189552962361782</c:v>
                </c:pt>
                <c:pt idx="11313">
                  <c:v>5.9416668529187548</c:v>
                </c:pt>
                <c:pt idx="11314">
                  <c:v>4.9941912225523124</c:v>
                </c:pt>
                <c:pt idx="11315">
                  <c:v>4.9681747733462673</c:v>
                </c:pt>
                <c:pt idx="11316">
                  <c:v>6.0253406864444932</c:v>
                </c:pt>
                <c:pt idx="11317">
                  <c:v>5.8936281460963897</c:v>
                </c:pt>
                <c:pt idx="11318">
                  <c:v>5.7931529541285265</c:v>
                </c:pt>
                <c:pt idx="11319">
                  <c:v>5.0671365179603987</c:v>
                </c:pt>
                <c:pt idx="11320">
                  <c:v>4.9414967049650329</c:v>
                </c:pt>
                <c:pt idx="11321">
                  <c:v>5.0262875813813057</c:v>
                </c:pt>
                <c:pt idx="11322">
                  <c:v>4.9866531318582457</c:v>
                </c:pt>
                <c:pt idx="11323">
                  <c:v>6.1053682958239026</c:v>
                </c:pt>
                <c:pt idx="11324">
                  <c:v>5.8179070418145731</c:v>
                </c:pt>
                <c:pt idx="11325">
                  <c:v>6.0947276630156217</c:v>
                </c:pt>
                <c:pt idx="11326">
                  <c:v>5.1363252007178399</c:v>
                </c:pt>
                <c:pt idx="11327">
                  <c:v>4.9682763596492512</c:v>
                </c:pt>
                <c:pt idx="11328">
                  <c:v>5.0471280062908015</c:v>
                </c:pt>
                <c:pt idx="11329">
                  <c:v>6.0315759703822431</c:v>
                </c:pt>
                <c:pt idx="11330">
                  <c:v>5.8926273169250116</c:v>
                </c:pt>
                <c:pt idx="11331">
                  <c:v>5.9772271971175321</c:v>
                </c:pt>
                <c:pt idx="11332">
                  <c:v>5.0917250684261903</c:v>
                </c:pt>
                <c:pt idx="11333">
                  <c:v>5.0077773920559991</c:v>
                </c:pt>
                <c:pt idx="11334">
                  <c:v>6.1061949390772012</c:v>
                </c:pt>
                <c:pt idx="11335">
                  <c:v>4.9755112495880223</c:v>
                </c:pt>
                <c:pt idx="11336">
                  <c:v>5.979652224453865</c:v>
                </c:pt>
                <c:pt idx="11337">
                  <c:v>2.85179803421281</c:v>
                </c:pt>
                <c:pt idx="11338">
                  <c:v>4.8984522458386888</c:v>
                </c:pt>
                <c:pt idx="11339">
                  <c:v>6.0610034717507384</c:v>
                </c:pt>
                <c:pt idx="11340">
                  <c:v>5.0201921776637484</c:v>
                </c:pt>
                <c:pt idx="11341">
                  <c:v>5.8505119488147246</c:v>
                </c:pt>
                <c:pt idx="11342">
                  <c:v>5.7940135438558382</c:v>
                </c:pt>
                <c:pt idx="11343">
                  <c:v>4.8993286992579836</c:v>
                </c:pt>
                <c:pt idx="11344">
                  <c:v>4.9665225010104992</c:v>
                </c:pt>
                <c:pt idx="11345">
                  <c:v>6.0906612626158028</c:v>
                </c:pt>
                <c:pt idx="11346">
                  <c:v>6.1690883361250863</c:v>
                </c:pt>
                <c:pt idx="11347">
                  <c:v>5.9033160669335984</c:v>
                </c:pt>
                <c:pt idx="11348">
                  <c:v>4.8689137872865569</c:v>
                </c:pt>
                <c:pt idx="11349">
                  <c:v>5.0918555614001191</c:v>
                </c:pt>
                <c:pt idx="11350">
                  <c:v>5.9912073556886325</c:v>
                </c:pt>
                <c:pt idx="11351">
                  <c:v>5.8295808978585431</c:v>
                </c:pt>
                <c:pt idx="11352">
                  <c:v>6.1146854320173389</c:v>
                </c:pt>
                <c:pt idx="11353">
                  <c:v>6.2277765737102015</c:v>
                </c:pt>
                <c:pt idx="11354">
                  <c:v>6.0449001478406856</c:v>
                </c:pt>
                <c:pt idx="11355">
                  <c:v>4.9850006017294239</c:v>
                </c:pt>
                <c:pt idx="11356">
                  <c:v>5.915587452957257</c:v>
                </c:pt>
                <c:pt idx="11357">
                  <c:v>5.0457567332550326</c:v>
                </c:pt>
                <c:pt idx="11358">
                  <c:v>6.1382431383586002</c:v>
                </c:pt>
                <c:pt idx="11359">
                  <c:v>6.0259662541290293</c:v>
                </c:pt>
                <c:pt idx="11360">
                  <c:v>6.1788637775147421</c:v>
                </c:pt>
                <c:pt idx="11361">
                  <c:v>3.9849819246345208</c:v>
                </c:pt>
                <c:pt idx="11362">
                  <c:v>4.0566634509001052</c:v>
                </c:pt>
                <c:pt idx="11363">
                  <c:v>4.9780747577794973</c:v>
                </c:pt>
                <c:pt idx="11364">
                  <c:v>5.8404271311878091</c:v>
                </c:pt>
                <c:pt idx="11365">
                  <c:v>6.0142255434640273</c:v>
                </c:pt>
                <c:pt idx="11366">
                  <c:v>6.1037990509460673</c:v>
                </c:pt>
                <c:pt idx="11367">
                  <c:v>5.1349878151088264</c:v>
                </c:pt>
                <c:pt idx="11368">
                  <c:v>6.0495857111385352</c:v>
                </c:pt>
                <c:pt idx="11369">
                  <c:v>6.0813537229103751</c:v>
                </c:pt>
                <c:pt idx="11370">
                  <c:v>6.0448069233767594</c:v>
                </c:pt>
                <c:pt idx="11371">
                  <c:v>6.0234391854941327</c:v>
                </c:pt>
                <c:pt idx="11372">
                  <c:v>4.8243250481615387</c:v>
                </c:pt>
                <c:pt idx="11373">
                  <c:v>5.0427691181696099</c:v>
                </c:pt>
                <c:pt idx="11374">
                  <c:v>5.9942093191773358</c:v>
                </c:pt>
                <c:pt idx="11375">
                  <c:v>6.0404423928649198</c:v>
                </c:pt>
                <c:pt idx="11376">
                  <c:v>5.8565913504114357</c:v>
                </c:pt>
                <c:pt idx="11377">
                  <c:v>6.0850442065905881</c:v>
                </c:pt>
                <c:pt idx="11378">
                  <c:v>5.7546833171635363</c:v>
                </c:pt>
                <c:pt idx="11379">
                  <c:v>6.9014195472276194</c:v>
                </c:pt>
                <c:pt idx="11380">
                  <c:v>5.1324029635427024</c:v>
                </c:pt>
                <c:pt idx="11381">
                  <c:v>6.9337104209365714</c:v>
                </c:pt>
                <c:pt idx="11382">
                  <c:v>5.7715715787923436</c:v>
                </c:pt>
                <c:pt idx="11383">
                  <c:v>6.0898920969382164</c:v>
                </c:pt>
                <c:pt idx="11384">
                  <c:v>5.8969566724229106</c:v>
                </c:pt>
                <c:pt idx="11385">
                  <c:v>5.7835374264981096</c:v>
                </c:pt>
                <c:pt idx="11386">
                  <c:v>6.9809473975315948</c:v>
                </c:pt>
                <c:pt idx="11387">
                  <c:v>6.0118867857363965</c:v>
                </c:pt>
                <c:pt idx="11388">
                  <c:v>7.0300569578226364</c:v>
                </c:pt>
                <c:pt idx="11389">
                  <c:v>7.1609822480270724</c:v>
                </c:pt>
                <c:pt idx="11390">
                  <c:v>6.1595782246967161</c:v>
                </c:pt>
                <c:pt idx="11391">
                  <c:v>5.9495210865104395</c:v>
                </c:pt>
                <c:pt idx="11392">
                  <c:v>4.862754410356616</c:v>
                </c:pt>
                <c:pt idx="11393">
                  <c:v>6.0866392360210551</c:v>
                </c:pt>
                <c:pt idx="11394">
                  <c:v>5.9956387534751316</c:v>
                </c:pt>
                <c:pt idx="11395">
                  <c:v>6.1929776947942647</c:v>
                </c:pt>
                <c:pt idx="11396">
                  <c:v>4.9601757406434261</c:v>
                </c:pt>
                <c:pt idx="11397">
                  <c:v>4.9215026394678958</c:v>
                </c:pt>
                <c:pt idx="11398">
                  <c:v>5.7550289128996166</c:v>
                </c:pt>
                <c:pt idx="11399">
                  <c:v>6.0568041675700668</c:v>
                </c:pt>
                <c:pt idx="11400">
                  <c:v>6.1542785838057839</c:v>
                </c:pt>
                <c:pt idx="11401">
                  <c:v>6.024072513822011</c:v>
                </c:pt>
                <c:pt idx="11402">
                  <c:v>5.1056471056355912</c:v>
                </c:pt>
                <c:pt idx="11403">
                  <c:v>5.8846132065346994</c:v>
                </c:pt>
                <c:pt idx="11404">
                  <c:v>6.0070042539284936</c:v>
                </c:pt>
                <c:pt idx="11405">
                  <c:v>6.0054666794517342</c:v>
                </c:pt>
                <c:pt idx="11406">
                  <c:v>5.036652471601081</c:v>
                </c:pt>
                <c:pt idx="11407">
                  <c:v>5.0575992125294604</c:v>
                </c:pt>
                <c:pt idx="11408">
                  <c:v>5.8808308752694636</c:v>
                </c:pt>
                <c:pt idx="11409">
                  <c:v>6.1062082445614116</c:v>
                </c:pt>
                <c:pt idx="11410">
                  <c:v>5.8291801395844853</c:v>
                </c:pt>
                <c:pt idx="11411">
                  <c:v>6.0246339036365102</c:v>
                </c:pt>
                <c:pt idx="11412">
                  <c:v>5.1137556780073341</c:v>
                </c:pt>
                <c:pt idx="11413">
                  <c:v>5.8460612194199593</c:v>
                </c:pt>
                <c:pt idx="11414">
                  <c:v>4.9864000605049128</c:v>
                </c:pt>
                <c:pt idx="11415">
                  <c:v>5.9643419861995639</c:v>
                </c:pt>
                <c:pt idx="11416">
                  <c:v>7.0485521729279954</c:v>
                </c:pt>
                <c:pt idx="11417">
                  <c:v>5.0618894132682</c:v>
                </c:pt>
                <c:pt idx="11418">
                  <c:v>6.1121622369719786</c:v>
                </c:pt>
                <c:pt idx="11419">
                  <c:v>5.9541570911462092</c:v>
                </c:pt>
                <c:pt idx="11420">
                  <c:v>5.9687931816030613</c:v>
                </c:pt>
                <c:pt idx="11421">
                  <c:v>6.0282191172608375</c:v>
                </c:pt>
                <c:pt idx="11422">
                  <c:v>6.1181376018041913</c:v>
                </c:pt>
                <c:pt idx="11423">
                  <c:v>5.0276177115732086</c:v>
                </c:pt>
                <c:pt idx="11424">
                  <c:v>7.1166395507755809</c:v>
                </c:pt>
                <c:pt idx="11425">
                  <c:v>5.954834887937583</c:v>
                </c:pt>
                <c:pt idx="11426">
                  <c:v>6.2386799338909631</c:v>
                </c:pt>
                <c:pt idx="11427">
                  <c:v>5.0022273852146002</c:v>
                </c:pt>
                <c:pt idx="11428">
                  <c:v>7.0364433507777058</c:v>
                </c:pt>
                <c:pt idx="11429">
                  <c:v>5.8672252692074203</c:v>
                </c:pt>
                <c:pt idx="11430">
                  <c:v>5.7510997237962584</c:v>
                </c:pt>
                <c:pt idx="11431">
                  <c:v>5.0903674194199242</c:v>
                </c:pt>
                <c:pt idx="11432">
                  <c:v>6.9557531082725443</c:v>
                </c:pt>
                <c:pt idx="11433">
                  <c:v>6.8199208317325821</c:v>
                </c:pt>
                <c:pt idx="11434">
                  <c:v>5.940961033154359</c:v>
                </c:pt>
                <c:pt idx="11435">
                  <c:v>7.2162224045766816</c:v>
                </c:pt>
                <c:pt idx="11436">
                  <c:v>7.0104314543823492</c:v>
                </c:pt>
                <c:pt idx="11437">
                  <c:v>5.0098021720874462</c:v>
                </c:pt>
                <c:pt idx="11438">
                  <c:v>5.9056875508225382</c:v>
                </c:pt>
                <c:pt idx="11439">
                  <c:v>5.8584410366061199</c:v>
                </c:pt>
                <c:pt idx="11440">
                  <c:v>5.9031425331936891</c:v>
                </c:pt>
                <c:pt idx="11441">
                  <c:v>5.9645005897390186</c:v>
                </c:pt>
                <c:pt idx="11442">
                  <c:v>5.9211840745291742</c:v>
                </c:pt>
                <c:pt idx="11443">
                  <c:v>5.8938443372735865</c:v>
                </c:pt>
                <c:pt idx="11444">
                  <c:v>5.0871222300186965</c:v>
                </c:pt>
                <c:pt idx="11445">
                  <c:v>6.081471970536672</c:v>
                </c:pt>
                <c:pt idx="11446">
                  <c:v>6.0480796175381837</c:v>
                </c:pt>
                <c:pt idx="11447">
                  <c:v>5.0824710779731594</c:v>
                </c:pt>
                <c:pt idx="11448">
                  <c:v>5.8155546264448992</c:v>
                </c:pt>
                <c:pt idx="11449">
                  <c:v>5.9554660080270683</c:v>
                </c:pt>
                <c:pt idx="11450">
                  <c:v>5.8632378750005154</c:v>
                </c:pt>
                <c:pt idx="11451">
                  <c:v>6.1085342506797957</c:v>
                </c:pt>
                <c:pt idx="11452">
                  <c:v>5.0049822425977002</c:v>
                </c:pt>
                <c:pt idx="11453">
                  <c:v>6.1083438660830129</c:v>
                </c:pt>
                <c:pt idx="11454">
                  <c:v>5.0395263797784215</c:v>
                </c:pt>
                <c:pt idx="11455">
                  <c:v>4.9713648696071964</c:v>
                </c:pt>
                <c:pt idx="11456">
                  <c:v>5.010771743962664</c:v>
                </c:pt>
                <c:pt idx="11457">
                  <c:v>5.8437609057331841</c:v>
                </c:pt>
                <c:pt idx="11458">
                  <c:v>3.8865077689159628</c:v>
                </c:pt>
                <c:pt idx="11459">
                  <c:v>3.9821982049454352</c:v>
                </c:pt>
                <c:pt idx="11460">
                  <c:v>5.9522427362332744</c:v>
                </c:pt>
                <c:pt idx="11461">
                  <c:v>6.7544310473430533</c:v>
                </c:pt>
                <c:pt idx="11462">
                  <c:v>6.8807851618339111</c:v>
                </c:pt>
                <c:pt idx="11463">
                  <c:v>6.9841653228196732</c:v>
                </c:pt>
                <c:pt idx="11464">
                  <c:v>6.0397795282492863</c:v>
                </c:pt>
                <c:pt idx="11465">
                  <c:v>5.8505572272123159</c:v>
                </c:pt>
                <c:pt idx="11466">
                  <c:v>6.0103071240481549</c:v>
                </c:pt>
                <c:pt idx="11467">
                  <c:v>6.0484968142871187</c:v>
                </c:pt>
                <c:pt idx="11468">
                  <c:v>4.9716868612648577</c:v>
                </c:pt>
                <c:pt idx="11469">
                  <c:v>5.1710274153451836</c:v>
                </c:pt>
                <c:pt idx="11470">
                  <c:v>5.88153399605239</c:v>
                </c:pt>
                <c:pt idx="11471">
                  <c:v>6.0422626770568391</c:v>
                </c:pt>
                <c:pt idx="11472">
                  <c:v>4.942307348809301</c:v>
                </c:pt>
                <c:pt idx="11473">
                  <c:v>5.9689822752993287</c:v>
                </c:pt>
                <c:pt idx="11474">
                  <c:v>4.0961652663540802</c:v>
                </c:pt>
                <c:pt idx="11475">
                  <c:v>5.9823678234371203</c:v>
                </c:pt>
                <c:pt idx="11476">
                  <c:v>5.0877351527750045</c:v>
                </c:pt>
                <c:pt idx="11477">
                  <c:v>5.9743415804383471</c:v>
                </c:pt>
                <c:pt idx="11478">
                  <c:v>5.7766832399895272</c:v>
                </c:pt>
                <c:pt idx="11479">
                  <c:v>4.9715614820466776</c:v>
                </c:pt>
                <c:pt idx="11480">
                  <c:v>6.9159454451422189</c:v>
                </c:pt>
                <c:pt idx="11481">
                  <c:v>4.903965990803794</c:v>
                </c:pt>
                <c:pt idx="11482">
                  <c:v>5.8368733981787431</c:v>
                </c:pt>
                <c:pt idx="11483">
                  <c:v>4.9469785464837095</c:v>
                </c:pt>
                <c:pt idx="11484">
                  <c:v>5.1611255610512012</c:v>
                </c:pt>
                <c:pt idx="11485">
                  <c:v>6.0979382751205105</c:v>
                </c:pt>
                <c:pt idx="11486">
                  <c:v>6.0982083164683747</c:v>
                </c:pt>
                <c:pt idx="11487">
                  <c:v>5.1186812313758958</c:v>
                </c:pt>
                <c:pt idx="11488">
                  <c:v>4.9775514791276754</c:v>
                </c:pt>
                <c:pt idx="11489">
                  <c:v>5.9714148296756084</c:v>
                </c:pt>
                <c:pt idx="11490">
                  <c:v>6.0618707532095311</c:v>
                </c:pt>
                <c:pt idx="11491">
                  <c:v>6.0919092980391794</c:v>
                </c:pt>
                <c:pt idx="11492">
                  <c:v>6.0193590945963038</c:v>
                </c:pt>
                <c:pt idx="11493">
                  <c:v>5.921766038555746</c:v>
                </c:pt>
                <c:pt idx="11494">
                  <c:v>5.987524462433135</c:v>
                </c:pt>
                <c:pt idx="11495">
                  <c:v>5.8832821103273503</c:v>
                </c:pt>
                <c:pt idx="11496">
                  <c:v>5.8428313196912107</c:v>
                </c:pt>
                <c:pt idx="11497">
                  <c:v>6.0020817798302879</c:v>
                </c:pt>
                <c:pt idx="11498">
                  <c:v>5.0024090118100268</c:v>
                </c:pt>
                <c:pt idx="11499">
                  <c:v>5.9139638411496804</c:v>
                </c:pt>
                <c:pt idx="11500">
                  <c:v>7.0450348435591117</c:v>
                </c:pt>
                <c:pt idx="11501">
                  <c:v>5.8164065305261632</c:v>
                </c:pt>
                <c:pt idx="11502">
                  <c:v>6.837134050232045</c:v>
                </c:pt>
                <c:pt idx="11503">
                  <c:v>6.0770158361078295</c:v>
                </c:pt>
                <c:pt idx="11504">
                  <c:v>4.8884400699774302</c:v>
                </c:pt>
                <c:pt idx="11505">
                  <c:v>5.9034172458415659</c:v>
                </c:pt>
                <c:pt idx="11506">
                  <c:v>4.907967367838034</c:v>
                </c:pt>
                <c:pt idx="11507">
                  <c:v>5.9032611925079079</c:v>
                </c:pt>
                <c:pt idx="11508">
                  <c:v>6.0283326453340802</c:v>
                </c:pt>
                <c:pt idx="11509">
                  <c:v>5.9665957616617531</c:v>
                </c:pt>
                <c:pt idx="11510">
                  <c:v>5.8360512629653032</c:v>
                </c:pt>
                <c:pt idx="11511">
                  <c:v>4.0551179615859629</c:v>
                </c:pt>
                <c:pt idx="11512">
                  <c:v>4.079556135186114</c:v>
                </c:pt>
                <c:pt idx="11513">
                  <c:v>5.1626137199463145</c:v>
                </c:pt>
                <c:pt idx="11514">
                  <c:v>5.9910011534032206</c:v>
                </c:pt>
                <c:pt idx="11515">
                  <c:v>5.1771000709585238</c:v>
                </c:pt>
                <c:pt idx="11516">
                  <c:v>6.0753505994591732</c:v>
                </c:pt>
                <c:pt idx="11517">
                  <c:v>4.9254909011807539</c:v>
                </c:pt>
                <c:pt idx="11518">
                  <c:v>6.1235055021924216</c:v>
                </c:pt>
                <c:pt idx="11519">
                  <c:v>6.1148654545722954</c:v>
                </c:pt>
                <c:pt idx="11520">
                  <c:v>5.9800604687100609</c:v>
                </c:pt>
                <c:pt idx="11521">
                  <c:v>5.0625568972295252</c:v>
                </c:pt>
                <c:pt idx="11522">
                  <c:v>5.0875857485413762</c:v>
                </c:pt>
                <c:pt idx="11523">
                  <c:v>5.9636362830360827</c:v>
                </c:pt>
                <c:pt idx="11524">
                  <c:v>5.9030348167345847</c:v>
                </c:pt>
                <c:pt idx="11525">
                  <c:v>6.0927203586265701</c:v>
                </c:pt>
                <c:pt idx="11526">
                  <c:v>5.9084569461267735</c:v>
                </c:pt>
                <c:pt idx="11527">
                  <c:v>5.0179915411218667</c:v>
                </c:pt>
                <c:pt idx="11528">
                  <c:v>4.8803949912643105</c:v>
                </c:pt>
                <c:pt idx="11529">
                  <c:v>5.9508678867749234</c:v>
                </c:pt>
                <c:pt idx="11530">
                  <c:v>4.9398054700682339</c:v>
                </c:pt>
                <c:pt idx="11531">
                  <c:v>6.19098811676424</c:v>
                </c:pt>
                <c:pt idx="11532">
                  <c:v>6.0121087411503433</c:v>
                </c:pt>
                <c:pt idx="11533">
                  <c:v>5.9338217457659663</c:v>
                </c:pt>
                <c:pt idx="11534">
                  <c:v>6.1099848320759778</c:v>
                </c:pt>
                <c:pt idx="11535">
                  <c:v>6.1457296238074717</c:v>
                </c:pt>
                <c:pt idx="11536">
                  <c:v>5.8466429391234822</c:v>
                </c:pt>
                <c:pt idx="11537">
                  <c:v>5.8742946187325611</c:v>
                </c:pt>
                <c:pt idx="11538">
                  <c:v>8.0671490381665212</c:v>
                </c:pt>
                <c:pt idx="11539">
                  <c:v>6.2368120651856618</c:v>
                </c:pt>
                <c:pt idx="11540">
                  <c:v>6.0024994402253595</c:v>
                </c:pt>
                <c:pt idx="11541">
                  <c:v>6.099361554944581</c:v>
                </c:pt>
                <c:pt idx="11542">
                  <c:v>6.0234575069366478</c:v>
                </c:pt>
                <c:pt idx="11543">
                  <c:v>6.1148799124800099</c:v>
                </c:pt>
                <c:pt idx="11544">
                  <c:v>5.9096101415297531</c:v>
                </c:pt>
                <c:pt idx="11545">
                  <c:v>5.0338761527177489</c:v>
                </c:pt>
                <c:pt idx="11546">
                  <c:v>5.1427598099884948</c:v>
                </c:pt>
                <c:pt idx="11547">
                  <c:v>5.9277713037250104</c:v>
                </c:pt>
                <c:pt idx="11548">
                  <c:v>6.1494391212189203</c:v>
                </c:pt>
                <c:pt idx="11549">
                  <c:v>7.1025231015718973</c:v>
                </c:pt>
                <c:pt idx="11550">
                  <c:v>6.1380291879897735</c:v>
                </c:pt>
                <c:pt idx="11551">
                  <c:v>5.9680937116729416</c:v>
                </c:pt>
                <c:pt idx="11552">
                  <c:v>5.9699899200498159</c:v>
                </c:pt>
                <c:pt idx="11553">
                  <c:v>7.0341170516461355</c:v>
                </c:pt>
                <c:pt idx="11554">
                  <c:v>4.9950314577155295</c:v>
                </c:pt>
                <c:pt idx="11555">
                  <c:v>6.9263637467098276</c:v>
                </c:pt>
                <c:pt idx="11556">
                  <c:v>4.8739156136099062</c:v>
                </c:pt>
                <c:pt idx="11557">
                  <c:v>7.0012082534932274</c:v>
                </c:pt>
                <c:pt idx="11558">
                  <c:v>6.91656437770515</c:v>
                </c:pt>
                <c:pt idx="11559">
                  <c:v>6.9333788585170826</c:v>
                </c:pt>
                <c:pt idx="11560">
                  <c:v>7.0615502123854768</c:v>
                </c:pt>
                <c:pt idx="11561">
                  <c:v>6.8606770403212884</c:v>
                </c:pt>
                <c:pt idx="11562">
                  <c:v>5.9550840568579568</c:v>
                </c:pt>
                <c:pt idx="11563">
                  <c:v>4.9705194906820145</c:v>
                </c:pt>
                <c:pt idx="11564">
                  <c:v>5.971629171657538</c:v>
                </c:pt>
                <c:pt idx="11565">
                  <c:v>4.8336488087836189</c:v>
                </c:pt>
                <c:pt idx="11566">
                  <c:v>6.2438331760521528</c:v>
                </c:pt>
                <c:pt idx="11567">
                  <c:v>6.0226480626421113</c:v>
                </c:pt>
                <c:pt idx="11568">
                  <c:v>4.871932862736128</c:v>
                </c:pt>
                <c:pt idx="11569">
                  <c:v>5.0049181335023851</c:v>
                </c:pt>
                <c:pt idx="11570">
                  <c:v>5.9938868961564022</c:v>
                </c:pt>
                <c:pt idx="11571">
                  <c:v>6.0313483334258491</c:v>
                </c:pt>
                <c:pt idx="11572">
                  <c:v>5.9290036160229347</c:v>
                </c:pt>
                <c:pt idx="11573">
                  <c:v>5.9708003314469025</c:v>
                </c:pt>
                <c:pt idx="11574">
                  <c:v>5.8425845417899742</c:v>
                </c:pt>
                <c:pt idx="11575">
                  <c:v>5.9769244397609969</c:v>
                </c:pt>
                <c:pt idx="11576">
                  <c:v>6.0526317648870958</c:v>
                </c:pt>
                <c:pt idx="11577">
                  <c:v>7.1575795978619174</c:v>
                </c:pt>
                <c:pt idx="11578">
                  <c:v>5.9043463891489498</c:v>
                </c:pt>
                <c:pt idx="11579">
                  <c:v>5.9066904910768248</c:v>
                </c:pt>
                <c:pt idx="11580">
                  <c:v>5.8470900258690035</c:v>
                </c:pt>
                <c:pt idx="11581">
                  <c:v>5.7990048890768788</c:v>
                </c:pt>
                <c:pt idx="11582">
                  <c:v>5.8081035792494671</c:v>
                </c:pt>
                <c:pt idx="11583">
                  <c:v>6.9676677131520766</c:v>
                </c:pt>
                <c:pt idx="11584">
                  <c:v>5.0322286816737298</c:v>
                </c:pt>
                <c:pt idx="11585">
                  <c:v>6.0366266249508307</c:v>
                </c:pt>
                <c:pt idx="11586">
                  <c:v>6.0034942190016798</c:v>
                </c:pt>
                <c:pt idx="11587">
                  <c:v>6.1972998760972873</c:v>
                </c:pt>
                <c:pt idx="11588">
                  <c:v>6.0107210893026366</c:v>
                </c:pt>
                <c:pt idx="11589">
                  <c:v>5.9552417459818123</c:v>
                </c:pt>
                <c:pt idx="11590">
                  <c:v>6.0169595003365144</c:v>
                </c:pt>
                <c:pt idx="11591">
                  <c:v>5.8645661876867505</c:v>
                </c:pt>
                <c:pt idx="11592">
                  <c:v>6.0404655065782986</c:v>
                </c:pt>
                <c:pt idx="11593">
                  <c:v>5.9441838570188033</c:v>
                </c:pt>
                <c:pt idx="11594">
                  <c:v>5.8816936567833684</c:v>
                </c:pt>
                <c:pt idx="11595">
                  <c:v>4.8438569123253723</c:v>
                </c:pt>
                <c:pt idx="11596">
                  <c:v>5.959397635995729</c:v>
                </c:pt>
                <c:pt idx="11597">
                  <c:v>5.9945068909918282</c:v>
                </c:pt>
                <c:pt idx="11598">
                  <c:v>4.9750725896783905</c:v>
                </c:pt>
                <c:pt idx="11599">
                  <c:v>5.2343511771446414</c:v>
                </c:pt>
                <c:pt idx="11600">
                  <c:v>5.8948964305829987</c:v>
                </c:pt>
                <c:pt idx="11601">
                  <c:v>6.0811958068306451</c:v>
                </c:pt>
                <c:pt idx="11602">
                  <c:v>6.0339110402502483</c:v>
                </c:pt>
                <c:pt idx="11603">
                  <c:v>4.9310437831026501</c:v>
                </c:pt>
                <c:pt idx="11604">
                  <c:v>6.0673699924056272</c:v>
                </c:pt>
                <c:pt idx="11605">
                  <c:v>4.7926934290176488</c:v>
                </c:pt>
                <c:pt idx="11606">
                  <c:v>5.0306991146636388</c:v>
                </c:pt>
                <c:pt idx="11607">
                  <c:v>3.9474748804788837</c:v>
                </c:pt>
                <c:pt idx="11608">
                  <c:v>4.8516605973192819</c:v>
                </c:pt>
                <c:pt idx="11609">
                  <c:v>5.9501376574829337</c:v>
                </c:pt>
                <c:pt idx="11610">
                  <c:v>5.1406797971544194</c:v>
                </c:pt>
                <c:pt idx="11611">
                  <c:v>4.9063647199576064</c:v>
                </c:pt>
                <c:pt idx="11612">
                  <c:v>5.9643473918149548</c:v>
                </c:pt>
                <c:pt idx="11613">
                  <c:v>6.0030758804715116</c:v>
                </c:pt>
                <c:pt idx="11614">
                  <c:v>6.0144188390744411</c:v>
                </c:pt>
                <c:pt idx="11615">
                  <c:v>6.0022002828743304</c:v>
                </c:pt>
                <c:pt idx="11616">
                  <c:v>5.9927345811502004</c:v>
                </c:pt>
                <c:pt idx="11617">
                  <c:v>5.8544236796879137</c:v>
                </c:pt>
                <c:pt idx="11618">
                  <c:v>4.9080374922952856</c:v>
                </c:pt>
                <c:pt idx="11619">
                  <c:v>5.9689669792204612</c:v>
                </c:pt>
                <c:pt idx="11620">
                  <c:v>6.063498431681567</c:v>
                </c:pt>
                <c:pt idx="11621">
                  <c:v>5.0746811804703915</c:v>
                </c:pt>
                <c:pt idx="11622">
                  <c:v>6.0122888106929899</c:v>
                </c:pt>
                <c:pt idx="11623">
                  <c:v>5.1411296141951901</c:v>
                </c:pt>
                <c:pt idx="11624">
                  <c:v>5.0004015473407559</c:v>
                </c:pt>
                <c:pt idx="11625">
                  <c:v>4.9265559849516487</c:v>
                </c:pt>
                <c:pt idx="11626">
                  <c:v>5.9420680778853701</c:v>
                </c:pt>
                <c:pt idx="11627">
                  <c:v>7.0488880518661947</c:v>
                </c:pt>
                <c:pt idx="11628">
                  <c:v>5.097736651582272</c:v>
                </c:pt>
                <c:pt idx="11629">
                  <c:v>5.88573920579391</c:v>
                </c:pt>
                <c:pt idx="11630">
                  <c:v>7.1177986430085003</c:v>
                </c:pt>
                <c:pt idx="11631">
                  <c:v>6.138146740079832</c:v>
                </c:pt>
                <c:pt idx="11632">
                  <c:v>5.0355497050629756</c:v>
                </c:pt>
                <c:pt idx="11633">
                  <c:v>5.0312424038456527</c:v>
                </c:pt>
                <c:pt idx="11634">
                  <c:v>6.0758603269342544</c:v>
                </c:pt>
                <c:pt idx="11635">
                  <c:v>6.1676655428018012</c:v>
                </c:pt>
                <c:pt idx="11636">
                  <c:v>6.0905933590951173</c:v>
                </c:pt>
                <c:pt idx="11637">
                  <c:v>5.8342106020437754</c:v>
                </c:pt>
                <c:pt idx="11638">
                  <c:v>5.0233023330679529</c:v>
                </c:pt>
                <c:pt idx="11639">
                  <c:v>6.0381484370849074</c:v>
                </c:pt>
                <c:pt idx="11640">
                  <c:v>6.0815932435044839</c:v>
                </c:pt>
                <c:pt idx="11641">
                  <c:v>6.0883921509660901</c:v>
                </c:pt>
                <c:pt idx="11642">
                  <c:v>5.0858741436843014</c:v>
                </c:pt>
                <c:pt idx="11643">
                  <c:v>4.9235049077960253</c:v>
                </c:pt>
                <c:pt idx="11644">
                  <c:v>6.0283244619495955</c:v>
                </c:pt>
                <c:pt idx="11645">
                  <c:v>6.1994150378681896</c:v>
                </c:pt>
                <c:pt idx="11646">
                  <c:v>5.985078265288962</c:v>
                </c:pt>
                <c:pt idx="11647">
                  <c:v>5.9132768723833466</c:v>
                </c:pt>
                <c:pt idx="11648">
                  <c:v>6.0935184699602187</c:v>
                </c:pt>
                <c:pt idx="11649">
                  <c:v>5.921979662267316</c:v>
                </c:pt>
                <c:pt idx="11650">
                  <c:v>6.0526727073340512</c:v>
                </c:pt>
                <c:pt idx="11651">
                  <c:v>5.0452731578178271</c:v>
                </c:pt>
                <c:pt idx="11652">
                  <c:v>5.9232864695637586</c:v>
                </c:pt>
                <c:pt idx="11653">
                  <c:v>5.9106933615731307</c:v>
                </c:pt>
                <c:pt idx="11654">
                  <c:v>4.6752069447082141</c:v>
                </c:pt>
                <c:pt idx="11655">
                  <c:v>5.0686532070868919</c:v>
                </c:pt>
                <c:pt idx="11656">
                  <c:v>5.918652535153047</c:v>
                </c:pt>
                <c:pt idx="11657">
                  <c:v>5.8893473577148123</c:v>
                </c:pt>
                <c:pt idx="11658">
                  <c:v>6.1067520426721513</c:v>
                </c:pt>
                <c:pt idx="11659">
                  <c:v>7.0395590517741597</c:v>
                </c:pt>
                <c:pt idx="11660">
                  <c:v>4.9110626561405395</c:v>
                </c:pt>
                <c:pt idx="11661">
                  <c:v>6.0169768319672059</c:v>
                </c:pt>
                <c:pt idx="11662">
                  <c:v>5.00540269418227</c:v>
                </c:pt>
                <c:pt idx="11663">
                  <c:v>5.132106509706575</c:v>
                </c:pt>
                <c:pt idx="11664">
                  <c:v>5.0847900268495128</c:v>
                </c:pt>
                <c:pt idx="11665">
                  <c:v>4.9311211876147567</c:v>
                </c:pt>
                <c:pt idx="11666">
                  <c:v>5.935573339763363</c:v>
                </c:pt>
                <c:pt idx="11667">
                  <c:v>6.0564185475891925</c:v>
                </c:pt>
                <c:pt idx="11668">
                  <c:v>6.0493526651155252</c:v>
                </c:pt>
                <c:pt idx="11669">
                  <c:v>4.8849135532144849</c:v>
                </c:pt>
                <c:pt idx="11670">
                  <c:v>5.8400129483729879</c:v>
                </c:pt>
                <c:pt idx="11671">
                  <c:v>6.0676669804447156</c:v>
                </c:pt>
                <c:pt idx="11672">
                  <c:v>5.0232603609186537</c:v>
                </c:pt>
                <c:pt idx="11673">
                  <c:v>5.9811532717759572</c:v>
                </c:pt>
                <c:pt idx="11674">
                  <c:v>4.8778653769156612</c:v>
                </c:pt>
                <c:pt idx="11675">
                  <c:v>5.961589805803948</c:v>
                </c:pt>
                <c:pt idx="11676">
                  <c:v>6.0387356895596485</c:v>
                </c:pt>
                <c:pt idx="11677">
                  <c:v>5.8977668681432602</c:v>
                </c:pt>
                <c:pt idx="11678">
                  <c:v>7.1029430993006102</c:v>
                </c:pt>
                <c:pt idx="11679">
                  <c:v>5.8702111653156743</c:v>
                </c:pt>
                <c:pt idx="11680">
                  <c:v>6.0009257935944929</c:v>
                </c:pt>
                <c:pt idx="11681">
                  <c:v>6.0080314039235816</c:v>
                </c:pt>
                <c:pt idx="11682">
                  <c:v>5.8103952325879487</c:v>
                </c:pt>
                <c:pt idx="11683">
                  <c:v>6.0237581537772229</c:v>
                </c:pt>
                <c:pt idx="11684">
                  <c:v>6.1004099963191445</c:v>
                </c:pt>
                <c:pt idx="11685">
                  <c:v>4.9200333981708555</c:v>
                </c:pt>
                <c:pt idx="11686">
                  <c:v>5.9333738945618695</c:v>
                </c:pt>
                <c:pt idx="11687">
                  <c:v>6.1461945536658975</c:v>
                </c:pt>
                <c:pt idx="11688">
                  <c:v>6.0534703884257626</c:v>
                </c:pt>
                <c:pt idx="11689">
                  <c:v>6.0025765543822267</c:v>
                </c:pt>
                <c:pt idx="11690">
                  <c:v>6.1323417698094662</c:v>
                </c:pt>
                <c:pt idx="11691">
                  <c:v>7.0960828972569905</c:v>
                </c:pt>
                <c:pt idx="11692">
                  <c:v>6.0609425680776434</c:v>
                </c:pt>
                <c:pt idx="11693">
                  <c:v>6.0199197485055933</c:v>
                </c:pt>
                <c:pt idx="11694">
                  <c:v>5.9640336802447891</c:v>
                </c:pt>
                <c:pt idx="11695">
                  <c:v>5.9512937421522132</c:v>
                </c:pt>
                <c:pt idx="11696">
                  <c:v>6.0539480278966877</c:v>
                </c:pt>
                <c:pt idx="11697">
                  <c:v>5.0524704350076703</c:v>
                </c:pt>
                <c:pt idx="11698">
                  <c:v>6.0169060725468864</c:v>
                </c:pt>
                <c:pt idx="11699">
                  <c:v>6.0486824858459558</c:v>
                </c:pt>
                <c:pt idx="11700">
                  <c:v>5.9939199466646675</c:v>
                </c:pt>
                <c:pt idx="11701">
                  <c:v>5.9602998537823959</c:v>
                </c:pt>
                <c:pt idx="11702">
                  <c:v>5.913195710981733</c:v>
                </c:pt>
                <c:pt idx="11703">
                  <c:v>6.0494843427374416</c:v>
                </c:pt>
                <c:pt idx="11704">
                  <c:v>4.9842264182091984</c:v>
                </c:pt>
                <c:pt idx="11705">
                  <c:v>6.0015826217702228</c:v>
                </c:pt>
                <c:pt idx="11706">
                  <c:v>5.0323755244207513</c:v>
                </c:pt>
                <c:pt idx="11707">
                  <c:v>6.0749895945802308</c:v>
                </c:pt>
                <c:pt idx="11708">
                  <c:v>6.0903450133667114</c:v>
                </c:pt>
                <c:pt idx="11709">
                  <c:v>5.8617648919937961</c:v>
                </c:pt>
                <c:pt idx="11710">
                  <c:v>6.0274757662482212</c:v>
                </c:pt>
                <c:pt idx="11711">
                  <c:v>5.8980713691989175</c:v>
                </c:pt>
                <c:pt idx="11712">
                  <c:v>4.8746140986595377</c:v>
                </c:pt>
                <c:pt idx="11713">
                  <c:v>5.9983558544930053</c:v>
                </c:pt>
                <c:pt idx="11714">
                  <c:v>5.9283092560920023</c:v>
                </c:pt>
                <c:pt idx="11715">
                  <c:v>4.8306087697629039</c:v>
                </c:pt>
                <c:pt idx="11716">
                  <c:v>5.8621898490075219</c:v>
                </c:pt>
                <c:pt idx="11717">
                  <c:v>5.8760118181436081</c:v>
                </c:pt>
                <c:pt idx="11718">
                  <c:v>6.0890355761592438</c:v>
                </c:pt>
                <c:pt idx="11719">
                  <c:v>6.0417538443130452</c:v>
                </c:pt>
                <c:pt idx="11720">
                  <c:v>6.0075811122173004</c:v>
                </c:pt>
                <c:pt idx="11721">
                  <c:v>6.1185367654822151</c:v>
                </c:pt>
                <c:pt idx="11722">
                  <c:v>5.9773407785579611</c:v>
                </c:pt>
                <c:pt idx="11723">
                  <c:v>6.1128591470766835</c:v>
                </c:pt>
                <c:pt idx="11724">
                  <c:v>5.9002899384714933</c:v>
                </c:pt>
                <c:pt idx="11725">
                  <c:v>6.03363749252585</c:v>
                </c:pt>
                <c:pt idx="11726">
                  <c:v>6.0452517991566035</c:v>
                </c:pt>
                <c:pt idx="11727">
                  <c:v>4.0369391271770514</c:v>
                </c:pt>
                <c:pt idx="11728">
                  <c:v>6.016734544393656</c:v>
                </c:pt>
                <c:pt idx="11729">
                  <c:v>6.1357075858394259</c:v>
                </c:pt>
                <c:pt idx="11730">
                  <c:v>5.0440982888165751</c:v>
                </c:pt>
                <c:pt idx="11731">
                  <c:v>5.823721945418983</c:v>
                </c:pt>
                <c:pt idx="11732">
                  <c:v>6.8225580976905551</c:v>
                </c:pt>
                <c:pt idx="11733">
                  <c:v>5.8833305512161944</c:v>
                </c:pt>
                <c:pt idx="11734">
                  <c:v>6.8293695460634307</c:v>
                </c:pt>
                <c:pt idx="11735">
                  <c:v>6.0218570331141699</c:v>
                </c:pt>
                <c:pt idx="11736">
                  <c:v>7.0940080499011353</c:v>
                </c:pt>
                <c:pt idx="11737">
                  <c:v>5.9290637184067645</c:v>
                </c:pt>
                <c:pt idx="11738">
                  <c:v>5.9635318794872436</c:v>
                </c:pt>
                <c:pt idx="11739">
                  <c:v>5.0635677462407989</c:v>
                </c:pt>
                <c:pt idx="11740">
                  <c:v>4.8492897186639388</c:v>
                </c:pt>
                <c:pt idx="11741">
                  <c:v>4.9689432225064785</c:v>
                </c:pt>
                <c:pt idx="11742">
                  <c:v>5.9877212192193792</c:v>
                </c:pt>
                <c:pt idx="11743">
                  <c:v>5.861921647785822</c:v>
                </c:pt>
                <c:pt idx="11744">
                  <c:v>5.1032814436699407</c:v>
                </c:pt>
                <c:pt idx="11745">
                  <c:v>6.9836778404395083</c:v>
                </c:pt>
                <c:pt idx="11746">
                  <c:v>7.0675159176212796</c:v>
                </c:pt>
                <c:pt idx="11747">
                  <c:v>7.0047830930425752</c:v>
                </c:pt>
                <c:pt idx="11748">
                  <c:v>6.0456282114885598</c:v>
                </c:pt>
                <c:pt idx="11749">
                  <c:v>5.9316260593122463</c:v>
                </c:pt>
                <c:pt idx="11750">
                  <c:v>5.9361498796416265</c:v>
                </c:pt>
                <c:pt idx="11751">
                  <c:v>5.9488576210378437</c:v>
                </c:pt>
                <c:pt idx="11752">
                  <c:v>5.9619289463681993</c:v>
                </c:pt>
                <c:pt idx="11753">
                  <c:v>4.9490488747344079</c:v>
                </c:pt>
                <c:pt idx="11754">
                  <c:v>7.0337467307061967</c:v>
                </c:pt>
                <c:pt idx="11755">
                  <c:v>5.9189730631435413</c:v>
                </c:pt>
                <c:pt idx="11756">
                  <c:v>5.9093732516236184</c:v>
                </c:pt>
                <c:pt idx="11757">
                  <c:v>5.933987136680118</c:v>
                </c:pt>
                <c:pt idx="11758">
                  <c:v>5.8851624877856388</c:v>
                </c:pt>
                <c:pt idx="11759">
                  <c:v>6.1013720173907968</c:v>
                </c:pt>
                <c:pt idx="11760">
                  <c:v>6.9754013882631014</c:v>
                </c:pt>
                <c:pt idx="11761">
                  <c:v>6.1048867797480399</c:v>
                </c:pt>
                <c:pt idx="11762">
                  <c:v>4.0951744828579013</c:v>
                </c:pt>
                <c:pt idx="11763">
                  <c:v>5.9858506424292957</c:v>
                </c:pt>
                <c:pt idx="11764">
                  <c:v>7.0395322628906385</c:v>
                </c:pt>
                <c:pt idx="11765">
                  <c:v>5.8832034104166135</c:v>
                </c:pt>
                <c:pt idx="11766">
                  <c:v>5.8915464328212561</c:v>
                </c:pt>
                <c:pt idx="11767">
                  <c:v>3.864761295197773</c:v>
                </c:pt>
                <c:pt idx="11768">
                  <c:v>6.0795786278703678</c:v>
                </c:pt>
                <c:pt idx="11769">
                  <c:v>5.9873840687788489</c:v>
                </c:pt>
                <c:pt idx="11770">
                  <c:v>6.0717293977340834</c:v>
                </c:pt>
                <c:pt idx="11771">
                  <c:v>3.0394526699067814</c:v>
                </c:pt>
                <c:pt idx="11772">
                  <c:v>5.8631776640274378</c:v>
                </c:pt>
                <c:pt idx="11773">
                  <c:v>6.0211326615040335</c:v>
                </c:pt>
                <c:pt idx="11774">
                  <c:v>5.9593817912284752</c:v>
                </c:pt>
                <c:pt idx="11775">
                  <c:v>5.9812355677677331</c:v>
                </c:pt>
                <c:pt idx="11776">
                  <c:v>5.943920759891081</c:v>
                </c:pt>
                <c:pt idx="11777">
                  <c:v>5.9709205104207772</c:v>
                </c:pt>
                <c:pt idx="11778">
                  <c:v>6.1801679413014181</c:v>
                </c:pt>
                <c:pt idx="11779">
                  <c:v>6.2488609942084929</c:v>
                </c:pt>
                <c:pt idx="11780">
                  <c:v>6.2288075289979528</c:v>
                </c:pt>
                <c:pt idx="11781">
                  <c:v>6.0160281738495636</c:v>
                </c:pt>
                <c:pt idx="11782">
                  <c:v>5.1380874537106429</c:v>
                </c:pt>
                <c:pt idx="11783">
                  <c:v>5.900294578149393</c:v>
                </c:pt>
                <c:pt idx="11784">
                  <c:v>4.9044963132413839</c:v>
                </c:pt>
                <c:pt idx="11785">
                  <c:v>5.8102399748891989</c:v>
                </c:pt>
                <c:pt idx="11786">
                  <c:v>5.8778650993304726</c:v>
                </c:pt>
                <c:pt idx="11787">
                  <c:v>6.9057126324550371</c:v>
                </c:pt>
                <c:pt idx="11788">
                  <c:v>5.0416648542077453</c:v>
                </c:pt>
                <c:pt idx="11789">
                  <c:v>5.0169609172649867</c:v>
                </c:pt>
                <c:pt idx="11790">
                  <c:v>4.8754765369874633</c:v>
                </c:pt>
                <c:pt idx="11791">
                  <c:v>6.0768638416031253</c:v>
                </c:pt>
                <c:pt idx="11792">
                  <c:v>6.0821766501879395</c:v>
                </c:pt>
                <c:pt idx="11793">
                  <c:v>5.8642058172550966</c:v>
                </c:pt>
                <c:pt idx="11794">
                  <c:v>6.9370818800050857</c:v>
                </c:pt>
                <c:pt idx="11795">
                  <c:v>6.1169356010702192</c:v>
                </c:pt>
                <c:pt idx="11796">
                  <c:v>5.9448735833180644</c:v>
                </c:pt>
                <c:pt idx="11797">
                  <c:v>3.9644924522792784</c:v>
                </c:pt>
                <c:pt idx="11798">
                  <c:v>4.9051491491585972</c:v>
                </c:pt>
                <c:pt idx="11799">
                  <c:v>4.9944203506390128</c:v>
                </c:pt>
                <c:pt idx="11800">
                  <c:v>3.9879414160667119</c:v>
                </c:pt>
                <c:pt idx="11801">
                  <c:v>4.0772846325811205</c:v>
                </c:pt>
                <c:pt idx="11802">
                  <c:v>6.1627804349425359</c:v>
                </c:pt>
                <c:pt idx="11803">
                  <c:v>4.9638953631423552</c:v>
                </c:pt>
                <c:pt idx="11804">
                  <c:v>6.8062294813483586</c:v>
                </c:pt>
                <c:pt idx="11805">
                  <c:v>6.1113968565130738</c:v>
                </c:pt>
                <c:pt idx="11806">
                  <c:v>6.9337891400156124</c:v>
                </c:pt>
                <c:pt idx="11807">
                  <c:v>5.1906490985326998</c:v>
                </c:pt>
                <c:pt idx="11808">
                  <c:v>4.9428238739645796</c:v>
                </c:pt>
                <c:pt idx="11809">
                  <c:v>6.1242336033744218</c:v>
                </c:pt>
                <c:pt idx="11810">
                  <c:v>5.9937534500813445</c:v>
                </c:pt>
                <c:pt idx="11811">
                  <c:v>4.9715210184430791</c:v>
                </c:pt>
                <c:pt idx="11812">
                  <c:v>5.9812122578139792</c:v>
                </c:pt>
                <c:pt idx="11813">
                  <c:v>5.9082527863359182</c:v>
                </c:pt>
                <c:pt idx="11814">
                  <c:v>6.0612433670377559</c:v>
                </c:pt>
                <c:pt idx="11815">
                  <c:v>5.9898244109300904</c:v>
                </c:pt>
                <c:pt idx="11816">
                  <c:v>5.8848106458182921</c:v>
                </c:pt>
                <c:pt idx="11817">
                  <c:v>5.9518253132866761</c:v>
                </c:pt>
                <c:pt idx="11818">
                  <c:v>5.046317311654116</c:v>
                </c:pt>
                <c:pt idx="11819">
                  <c:v>4.9731108248138067</c:v>
                </c:pt>
                <c:pt idx="11820">
                  <c:v>5.8515485327518908</c:v>
                </c:pt>
                <c:pt idx="11821">
                  <c:v>5.0892276644754739</c:v>
                </c:pt>
                <c:pt idx="11822">
                  <c:v>4.9473803099097378</c:v>
                </c:pt>
                <c:pt idx="11823">
                  <c:v>5.1458859667952046</c:v>
                </c:pt>
                <c:pt idx="11824">
                  <c:v>5.9571969195418131</c:v>
                </c:pt>
                <c:pt idx="11825">
                  <c:v>4.9887096739877768</c:v>
                </c:pt>
                <c:pt idx="11826">
                  <c:v>6.01544616709712</c:v>
                </c:pt>
                <c:pt idx="11827">
                  <c:v>5.846677430356654</c:v>
                </c:pt>
                <c:pt idx="11828">
                  <c:v>6.0447224888368023</c:v>
                </c:pt>
                <c:pt idx="11829">
                  <c:v>5.0174033313515762</c:v>
                </c:pt>
                <c:pt idx="11830">
                  <c:v>4.9246695271645118</c:v>
                </c:pt>
                <c:pt idx="11831">
                  <c:v>5.1786369717866059</c:v>
                </c:pt>
                <c:pt idx="11832">
                  <c:v>5.9403229613190014</c:v>
                </c:pt>
                <c:pt idx="11833">
                  <c:v>5.1697949703118589</c:v>
                </c:pt>
                <c:pt idx="11834">
                  <c:v>5.0592223504700566</c:v>
                </c:pt>
                <c:pt idx="11835">
                  <c:v>4.9209687970041287</c:v>
                </c:pt>
                <c:pt idx="11836">
                  <c:v>5.88294122878421</c:v>
                </c:pt>
                <c:pt idx="11837">
                  <c:v>4.8964871505008176</c:v>
                </c:pt>
                <c:pt idx="11838">
                  <c:v>6.1952984310198023</c:v>
                </c:pt>
                <c:pt idx="11839">
                  <c:v>5.1445084973261146</c:v>
                </c:pt>
                <c:pt idx="11840">
                  <c:v>5.0678663146292227</c:v>
                </c:pt>
                <c:pt idx="11841">
                  <c:v>6.09935941708709</c:v>
                </c:pt>
                <c:pt idx="11842">
                  <c:v>5.0701272483432955</c:v>
                </c:pt>
                <c:pt idx="11843">
                  <c:v>4.904073460991861</c:v>
                </c:pt>
                <c:pt idx="11844">
                  <c:v>5.0088184993115306</c:v>
                </c:pt>
                <c:pt idx="11845">
                  <c:v>4.7252032513158868</c:v>
                </c:pt>
                <c:pt idx="11846">
                  <c:v>6.8932110189089704</c:v>
                </c:pt>
                <c:pt idx="11847">
                  <c:v>6.1289584015906566</c:v>
                </c:pt>
                <c:pt idx="11848">
                  <c:v>4.9919373294005762</c:v>
                </c:pt>
                <c:pt idx="11849">
                  <c:v>5.1051916105851687</c:v>
                </c:pt>
                <c:pt idx="11850">
                  <c:v>4.9936646897755645</c:v>
                </c:pt>
                <c:pt idx="11851">
                  <c:v>4.9809082456924774</c:v>
                </c:pt>
                <c:pt idx="11852">
                  <c:v>5.0840201248744163</c:v>
                </c:pt>
                <c:pt idx="11853">
                  <c:v>5.0560125425706834</c:v>
                </c:pt>
                <c:pt idx="11854">
                  <c:v>5.0250767905360361</c:v>
                </c:pt>
                <c:pt idx="11855">
                  <c:v>5.1677609802728508</c:v>
                </c:pt>
                <c:pt idx="11856">
                  <c:v>4.7708661101847589</c:v>
                </c:pt>
                <c:pt idx="11857">
                  <c:v>5.0701873667091695</c:v>
                </c:pt>
                <c:pt idx="11858">
                  <c:v>4.8263373867640063</c:v>
                </c:pt>
                <c:pt idx="11859">
                  <c:v>6.0627246409508597</c:v>
                </c:pt>
                <c:pt idx="11860">
                  <c:v>5.2234091810808536</c:v>
                </c:pt>
                <c:pt idx="11861">
                  <c:v>5.1087605325441077</c:v>
                </c:pt>
                <c:pt idx="11862">
                  <c:v>5.0422714326529521</c:v>
                </c:pt>
                <c:pt idx="11863">
                  <c:v>5.0401049466740657</c:v>
                </c:pt>
                <c:pt idx="11864">
                  <c:v>6.0431774061634105</c:v>
                </c:pt>
                <c:pt idx="11865">
                  <c:v>5.9829632780530142</c:v>
                </c:pt>
                <c:pt idx="11866">
                  <c:v>4.9469192064528436</c:v>
                </c:pt>
                <c:pt idx="11867">
                  <c:v>4.744913409428543</c:v>
                </c:pt>
                <c:pt idx="11868">
                  <c:v>6.0266226250270218</c:v>
                </c:pt>
                <c:pt idx="11869">
                  <c:v>4.928702665841592</c:v>
                </c:pt>
                <c:pt idx="11870">
                  <c:v>5.9665215261232252</c:v>
                </c:pt>
                <c:pt idx="11871">
                  <c:v>4.9793222964663615</c:v>
                </c:pt>
                <c:pt idx="11872">
                  <c:v>3.9877048630674206</c:v>
                </c:pt>
                <c:pt idx="11873">
                  <c:v>6.8868136501610913</c:v>
                </c:pt>
                <c:pt idx="11874">
                  <c:v>6.0028824103922149</c:v>
                </c:pt>
                <c:pt idx="11875">
                  <c:v>4.9223626779284206</c:v>
                </c:pt>
                <c:pt idx="11876">
                  <c:v>5.094847024427331</c:v>
                </c:pt>
                <c:pt idx="11877">
                  <c:v>5.26715547008763</c:v>
                </c:pt>
                <c:pt idx="11878">
                  <c:v>4.9214410243181259</c:v>
                </c:pt>
                <c:pt idx="11879">
                  <c:v>4.9618157566666854</c:v>
                </c:pt>
                <c:pt idx="11880">
                  <c:v>6.0693690250935521</c:v>
                </c:pt>
                <c:pt idx="11881">
                  <c:v>5.8601634049911295</c:v>
                </c:pt>
                <c:pt idx="11882">
                  <c:v>5.8738296531210414</c:v>
                </c:pt>
                <c:pt idx="11883">
                  <c:v>5.1637537427800355</c:v>
                </c:pt>
                <c:pt idx="11884">
                  <c:v>4.9233460932104771</c:v>
                </c:pt>
                <c:pt idx="11885">
                  <c:v>5.9926525644936763</c:v>
                </c:pt>
                <c:pt idx="11886">
                  <c:v>5.0371892596210266</c:v>
                </c:pt>
                <c:pt idx="11887">
                  <c:v>6.1153115069979433</c:v>
                </c:pt>
                <c:pt idx="11888">
                  <c:v>6.0951532609762387</c:v>
                </c:pt>
                <c:pt idx="11889">
                  <c:v>6.034040314717604</c:v>
                </c:pt>
                <c:pt idx="11890">
                  <c:v>5.0226774144529163</c:v>
                </c:pt>
                <c:pt idx="11891">
                  <c:v>7.0330189980257725</c:v>
                </c:pt>
                <c:pt idx="11892">
                  <c:v>6.1439958218088089</c:v>
                </c:pt>
                <c:pt idx="11893">
                  <c:v>5.8171631695098469</c:v>
                </c:pt>
                <c:pt idx="11894">
                  <c:v>5.1183948310710097</c:v>
                </c:pt>
                <c:pt idx="11895">
                  <c:v>5.9062145185027086</c:v>
                </c:pt>
                <c:pt idx="11896">
                  <c:v>5.9829192177929755</c:v>
                </c:pt>
                <c:pt idx="11897">
                  <c:v>5.968078030054226</c:v>
                </c:pt>
                <c:pt idx="11898">
                  <c:v>5.9709161424629595</c:v>
                </c:pt>
                <c:pt idx="11899">
                  <c:v>6.1026559571691585</c:v>
                </c:pt>
                <c:pt idx="11900">
                  <c:v>4.9182654079452153</c:v>
                </c:pt>
                <c:pt idx="11901">
                  <c:v>4.9495862786819194</c:v>
                </c:pt>
                <c:pt idx="11902">
                  <c:v>6.0821164850874849</c:v>
                </c:pt>
                <c:pt idx="11903">
                  <c:v>5.0818770685303249</c:v>
                </c:pt>
                <c:pt idx="11904">
                  <c:v>5.9774122059917509</c:v>
                </c:pt>
                <c:pt idx="11905">
                  <c:v>6.9434267330297708</c:v>
                </c:pt>
                <c:pt idx="11906">
                  <c:v>6.058791506234428</c:v>
                </c:pt>
                <c:pt idx="11907">
                  <c:v>5.0910253731319939</c:v>
                </c:pt>
                <c:pt idx="11908">
                  <c:v>5.1122013242810915</c:v>
                </c:pt>
                <c:pt idx="11909">
                  <c:v>5.9544249278013703</c:v>
                </c:pt>
                <c:pt idx="11910">
                  <c:v>7.0390936968643913</c:v>
                </c:pt>
                <c:pt idx="11911">
                  <c:v>5.9992044069181478</c:v>
                </c:pt>
                <c:pt idx="11912">
                  <c:v>5.8854678112709582</c:v>
                </c:pt>
                <c:pt idx="11913">
                  <c:v>5.9464011671217385</c:v>
                </c:pt>
                <c:pt idx="11914">
                  <c:v>5.8874213045628112</c:v>
                </c:pt>
                <c:pt idx="11915">
                  <c:v>6.1269789985233256</c:v>
                </c:pt>
                <c:pt idx="11916">
                  <c:v>6.1921780394753236</c:v>
                </c:pt>
                <c:pt idx="11917">
                  <c:v>7.1007951323187743</c:v>
                </c:pt>
                <c:pt idx="11918">
                  <c:v>6.1388443722984833</c:v>
                </c:pt>
                <c:pt idx="11919">
                  <c:v>4.9946491485265634</c:v>
                </c:pt>
                <c:pt idx="11920">
                  <c:v>6.0232184549068721</c:v>
                </c:pt>
                <c:pt idx="11921">
                  <c:v>6.1222009246743294</c:v>
                </c:pt>
                <c:pt idx="11922">
                  <c:v>5.0387691724524677</c:v>
                </c:pt>
                <c:pt idx="11923">
                  <c:v>5.975378521538965</c:v>
                </c:pt>
                <c:pt idx="11924">
                  <c:v>4.9301167181864107</c:v>
                </c:pt>
                <c:pt idx="11925">
                  <c:v>6.8751539317845358</c:v>
                </c:pt>
                <c:pt idx="11926">
                  <c:v>6.0245093303076303</c:v>
                </c:pt>
                <c:pt idx="11927">
                  <c:v>7.0866984401186395</c:v>
                </c:pt>
                <c:pt idx="11928">
                  <c:v>6.9934250036907608</c:v>
                </c:pt>
                <c:pt idx="11929">
                  <c:v>5.9424825419820424</c:v>
                </c:pt>
                <c:pt idx="11930">
                  <c:v>6.0251870738451787</c:v>
                </c:pt>
                <c:pt idx="11931">
                  <c:v>6.0838994648832418</c:v>
                </c:pt>
                <c:pt idx="11932">
                  <c:v>4.981423155387156</c:v>
                </c:pt>
                <c:pt idx="11933">
                  <c:v>6.1533633242673496</c:v>
                </c:pt>
                <c:pt idx="11934">
                  <c:v>5.9608792437049569</c:v>
                </c:pt>
                <c:pt idx="11935">
                  <c:v>6.0254847284058473</c:v>
                </c:pt>
                <c:pt idx="11936">
                  <c:v>5.9764691209112009</c:v>
                </c:pt>
                <c:pt idx="11937">
                  <c:v>5.0286030249430489</c:v>
                </c:pt>
                <c:pt idx="11938">
                  <c:v>5.9547814295757542</c:v>
                </c:pt>
                <c:pt idx="11939">
                  <c:v>6.1623339247015538</c:v>
                </c:pt>
                <c:pt idx="11940">
                  <c:v>6.1838989473385526</c:v>
                </c:pt>
                <c:pt idx="11941">
                  <c:v>5.0770319307837983</c:v>
                </c:pt>
                <c:pt idx="11942">
                  <c:v>4.9196948101657298</c:v>
                </c:pt>
                <c:pt idx="11943">
                  <c:v>6.0480578845933879</c:v>
                </c:pt>
                <c:pt idx="11944">
                  <c:v>6.0234622948571159</c:v>
                </c:pt>
                <c:pt idx="11945">
                  <c:v>5.9711267094927303</c:v>
                </c:pt>
                <c:pt idx="11946">
                  <c:v>6.1783026493445696</c:v>
                </c:pt>
                <c:pt idx="11947">
                  <c:v>6.0926319320108719</c:v>
                </c:pt>
                <c:pt idx="11948">
                  <c:v>4.9221042167405464</c:v>
                </c:pt>
                <c:pt idx="11949">
                  <c:v>6.9465226428781</c:v>
                </c:pt>
                <c:pt idx="11950">
                  <c:v>5.9058796466818295</c:v>
                </c:pt>
                <c:pt idx="11951">
                  <c:v>5.9956696521193704</c:v>
                </c:pt>
                <c:pt idx="11952">
                  <c:v>5.9379686216746634</c:v>
                </c:pt>
                <c:pt idx="11953">
                  <c:v>5.9574778413855576</c:v>
                </c:pt>
                <c:pt idx="11954">
                  <c:v>6.1857731915567653</c:v>
                </c:pt>
                <c:pt idx="11955">
                  <c:v>4.8718196579695405</c:v>
                </c:pt>
                <c:pt idx="11956">
                  <c:v>5.8352806428637765</c:v>
                </c:pt>
                <c:pt idx="11957">
                  <c:v>5.9893983885304491</c:v>
                </c:pt>
                <c:pt idx="11958">
                  <c:v>6.0381073447044926</c:v>
                </c:pt>
                <c:pt idx="11959">
                  <c:v>6.0828689585788638</c:v>
                </c:pt>
                <c:pt idx="11960">
                  <c:v>5.9272371246942068</c:v>
                </c:pt>
                <c:pt idx="11961">
                  <c:v>6.0265849767184987</c:v>
                </c:pt>
                <c:pt idx="11962">
                  <c:v>5.8775676435572892</c:v>
                </c:pt>
                <c:pt idx="11963">
                  <c:v>6.1941081878993698</c:v>
                </c:pt>
                <c:pt idx="11964">
                  <c:v>5.9684391108953401</c:v>
                </c:pt>
                <c:pt idx="11965">
                  <c:v>5.9383571306051071</c:v>
                </c:pt>
                <c:pt idx="11966">
                  <c:v>6.0981326494281731</c:v>
                </c:pt>
                <c:pt idx="11967">
                  <c:v>6.0613206089880434</c:v>
                </c:pt>
                <c:pt idx="11968">
                  <c:v>5.9011820898922744</c:v>
                </c:pt>
                <c:pt idx="11969">
                  <c:v>6.1653980075441348</c:v>
                </c:pt>
                <c:pt idx="11970">
                  <c:v>5.9306624735158069</c:v>
                </c:pt>
                <c:pt idx="11971">
                  <c:v>5.6423887198257496</c:v>
                </c:pt>
                <c:pt idx="11972">
                  <c:v>6.0418629012668079</c:v>
                </c:pt>
                <c:pt idx="11973">
                  <c:v>5.0392407680635163</c:v>
                </c:pt>
                <c:pt idx="11974">
                  <c:v>5.9719820596293118</c:v>
                </c:pt>
                <c:pt idx="11975">
                  <c:v>7.1302799666098737</c:v>
                </c:pt>
                <c:pt idx="11976">
                  <c:v>4.8784414309716562</c:v>
                </c:pt>
                <c:pt idx="11977">
                  <c:v>3.2056488128511993</c:v>
                </c:pt>
                <c:pt idx="11978">
                  <c:v>7.0735102699908827</c:v>
                </c:pt>
                <c:pt idx="11979">
                  <c:v>5.0482164209719977</c:v>
                </c:pt>
                <c:pt idx="11980">
                  <c:v>6.1077738150992262</c:v>
                </c:pt>
                <c:pt idx="11981">
                  <c:v>5.920326071253581</c:v>
                </c:pt>
                <c:pt idx="11982">
                  <c:v>6.0026733374430217</c:v>
                </c:pt>
                <c:pt idx="11983">
                  <c:v>5.0821092363698401</c:v>
                </c:pt>
                <c:pt idx="11984">
                  <c:v>5.8970118798578479</c:v>
                </c:pt>
                <c:pt idx="11985">
                  <c:v>6.1388124417337453</c:v>
                </c:pt>
                <c:pt idx="11986">
                  <c:v>4.8778782694720064</c:v>
                </c:pt>
                <c:pt idx="11987">
                  <c:v>6.1720114863657427</c:v>
                </c:pt>
                <c:pt idx="11988">
                  <c:v>5.1043398995126577</c:v>
                </c:pt>
                <c:pt idx="11989">
                  <c:v>5.972300737826842</c:v>
                </c:pt>
                <c:pt idx="11990">
                  <c:v>6.0850746657490165</c:v>
                </c:pt>
                <c:pt idx="11991">
                  <c:v>6.001401721180482</c:v>
                </c:pt>
                <c:pt idx="11992">
                  <c:v>5.9100146183902629</c:v>
                </c:pt>
                <c:pt idx="11993">
                  <c:v>5.9026301804207222</c:v>
                </c:pt>
                <c:pt idx="11994">
                  <c:v>6.1157524747792067</c:v>
                </c:pt>
                <c:pt idx="11995">
                  <c:v>7.2235029835414286</c:v>
                </c:pt>
                <c:pt idx="11996">
                  <c:v>5.8981497915216172</c:v>
                </c:pt>
                <c:pt idx="11997">
                  <c:v>5.8240288641997573</c:v>
                </c:pt>
                <c:pt idx="11998">
                  <c:v>6.0071681004163535</c:v>
                </c:pt>
                <c:pt idx="11999">
                  <c:v>4.7117547192954818</c:v>
                </c:pt>
                <c:pt idx="12000">
                  <c:v>5.8237453736400688</c:v>
                </c:pt>
                <c:pt idx="12001">
                  <c:v>6.0290330549312818</c:v>
                </c:pt>
                <c:pt idx="12002">
                  <c:v>6.0968292666082773</c:v>
                </c:pt>
                <c:pt idx="12003">
                  <c:v>3.0612001731802465</c:v>
                </c:pt>
                <c:pt idx="12004">
                  <c:v>6.2388374261448796</c:v>
                </c:pt>
                <c:pt idx="12005">
                  <c:v>5.9152589825257404</c:v>
                </c:pt>
                <c:pt idx="12006">
                  <c:v>5.2108171971378434</c:v>
                </c:pt>
                <c:pt idx="12007">
                  <c:v>7.1338780613975548</c:v>
                </c:pt>
                <c:pt idx="12008">
                  <c:v>6.9338223143742717</c:v>
                </c:pt>
                <c:pt idx="12009">
                  <c:v>5.9349019445733173</c:v>
                </c:pt>
                <c:pt idx="12010">
                  <c:v>7.0563272978206859</c:v>
                </c:pt>
                <c:pt idx="12011">
                  <c:v>5.984983486760667</c:v>
                </c:pt>
                <c:pt idx="12012">
                  <c:v>7.0314776789303215</c:v>
                </c:pt>
                <c:pt idx="12013">
                  <c:v>5.9918981044529867</c:v>
                </c:pt>
                <c:pt idx="12014">
                  <c:v>5.9325666942531194</c:v>
                </c:pt>
                <c:pt idx="12015">
                  <c:v>5.9283099450392429</c:v>
                </c:pt>
                <c:pt idx="12016">
                  <c:v>5.859877163496038</c:v>
                </c:pt>
                <c:pt idx="12017">
                  <c:v>6.9684830551554366</c:v>
                </c:pt>
                <c:pt idx="12018">
                  <c:v>6.0065609868179575</c:v>
                </c:pt>
                <c:pt idx="12019">
                  <c:v>7.1049650146513121</c:v>
                </c:pt>
                <c:pt idx="12020">
                  <c:v>4.953307977356574</c:v>
                </c:pt>
                <c:pt idx="12021">
                  <c:v>5.134874223753326</c:v>
                </c:pt>
                <c:pt idx="12022">
                  <c:v>6.0572654883080643</c:v>
                </c:pt>
                <c:pt idx="12023">
                  <c:v>6.2014186741411654</c:v>
                </c:pt>
                <c:pt idx="12024">
                  <c:v>6.0719317493123546</c:v>
                </c:pt>
                <c:pt idx="12025">
                  <c:v>5.9481853530996647</c:v>
                </c:pt>
                <c:pt idx="12026">
                  <c:v>6.1018185533904203</c:v>
                </c:pt>
                <c:pt idx="12027">
                  <c:v>5.862418068814419</c:v>
                </c:pt>
                <c:pt idx="12028">
                  <c:v>5.062541742905716</c:v>
                </c:pt>
                <c:pt idx="12029">
                  <c:v>6.0936446177676249</c:v>
                </c:pt>
                <c:pt idx="12030">
                  <c:v>5.041216021333601</c:v>
                </c:pt>
                <c:pt idx="12031">
                  <c:v>5.7991153956858206</c:v>
                </c:pt>
                <c:pt idx="12032">
                  <c:v>5.9754834142788527</c:v>
                </c:pt>
                <c:pt idx="12033">
                  <c:v>6.0194474837181353</c:v>
                </c:pt>
                <c:pt idx="12034">
                  <c:v>5.9783965111405983</c:v>
                </c:pt>
                <c:pt idx="12035">
                  <c:v>5.782659177811138</c:v>
                </c:pt>
                <c:pt idx="12036">
                  <c:v>5.9680151835334074</c:v>
                </c:pt>
                <c:pt idx="12037">
                  <c:v>5.9088423430950217</c:v>
                </c:pt>
                <c:pt idx="12038">
                  <c:v>6.0337988136785627</c:v>
                </c:pt>
                <c:pt idx="12039">
                  <c:v>6.0897474676878849</c:v>
                </c:pt>
                <c:pt idx="12040">
                  <c:v>6.2358088102235465</c:v>
                </c:pt>
                <c:pt idx="12041">
                  <c:v>6.0013352194369416</c:v>
                </c:pt>
                <c:pt idx="12042">
                  <c:v>6.1722247593325648</c:v>
                </c:pt>
                <c:pt idx="12043">
                  <c:v>5.0108240608732029</c:v>
                </c:pt>
                <c:pt idx="12044">
                  <c:v>5.8477728623704941</c:v>
                </c:pt>
                <c:pt idx="12045">
                  <c:v>6.033973707887899</c:v>
                </c:pt>
                <c:pt idx="12046">
                  <c:v>5.968987610330009</c:v>
                </c:pt>
                <c:pt idx="12047">
                  <c:v>6.0943615905025679</c:v>
                </c:pt>
                <c:pt idx="12048">
                  <c:v>6.0131560593084608</c:v>
                </c:pt>
                <c:pt idx="12049">
                  <c:v>5.034520410168188</c:v>
                </c:pt>
                <c:pt idx="12050">
                  <c:v>5.1236426579655543</c:v>
                </c:pt>
                <c:pt idx="12051">
                  <c:v>4.9058884743159901</c:v>
                </c:pt>
                <c:pt idx="12052">
                  <c:v>7.0875429860371737</c:v>
                </c:pt>
                <c:pt idx="12053">
                  <c:v>5.0944119813432618</c:v>
                </c:pt>
                <c:pt idx="12054">
                  <c:v>6.0685433750809237</c:v>
                </c:pt>
                <c:pt idx="12055">
                  <c:v>4.9280869059848822</c:v>
                </c:pt>
                <c:pt idx="12056">
                  <c:v>7.0274243615303957</c:v>
                </c:pt>
                <c:pt idx="12057">
                  <c:v>6.1369904227805847</c:v>
                </c:pt>
                <c:pt idx="12058">
                  <c:v>5.8728888118351517</c:v>
                </c:pt>
                <c:pt idx="12059">
                  <c:v>5.0373496865055314</c:v>
                </c:pt>
                <c:pt idx="12060">
                  <c:v>6.9273050929930644</c:v>
                </c:pt>
                <c:pt idx="12061">
                  <c:v>5.0956083162759276</c:v>
                </c:pt>
                <c:pt idx="12062">
                  <c:v>5.9771853977931286</c:v>
                </c:pt>
                <c:pt idx="12063">
                  <c:v>5.1277845177703583</c:v>
                </c:pt>
                <c:pt idx="12064">
                  <c:v>4.9785517023397921</c:v>
                </c:pt>
                <c:pt idx="12065">
                  <c:v>5.9424137616192354</c:v>
                </c:pt>
                <c:pt idx="12066">
                  <c:v>5.1401494773193797</c:v>
                </c:pt>
                <c:pt idx="12067">
                  <c:v>5.9752120009392158</c:v>
                </c:pt>
                <c:pt idx="12068">
                  <c:v>5.9053902100213538</c:v>
                </c:pt>
                <c:pt idx="12069">
                  <c:v>6.9356591408166244</c:v>
                </c:pt>
                <c:pt idx="12070">
                  <c:v>7.0319915222511922</c:v>
                </c:pt>
                <c:pt idx="12071">
                  <c:v>6.9536920153852151</c:v>
                </c:pt>
                <c:pt idx="12072">
                  <c:v>6.1185947864887016</c:v>
                </c:pt>
                <c:pt idx="12073">
                  <c:v>5.9671223951837975</c:v>
                </c:pt>
                <c:pt idx="12074">
                  <c:v>6.0261657016969394</c:v>
                </c:pt>
                <c:pt idx="12075">
                  <c:v>6.0071066501963832</c:v>
                </c:pt>
                <c:pt idx="12076">
                  <c:v>6.060194920394756</c:v>
                </c:pt>
                <c:pt idx="12077">
                  <c:v>6.0552780411152076</c:v>
                </c:pt>
                <c:pt idx="12078">
                  <c:v>5.9259826128666422</c:v>
                </c:pt>
                <c:pt idx="12079">
                  <c:v>5.9374614455192969</c:v>
                </c:pt>
                <c:pt idx="12080">
                  <c:v>6.0261078515854676</c:v>
                </c:pt>
                <c:pt idx="12081">
                  <c:v>5.9963807248542036</c:v>
                </c:pt>
                <c:pt idx="12082">
                  <c:v>6.9220029052454226</c:v>
                </c:pt>
                <c:pt idx="12083">
                  <c:v>5.9666729831386522</c:v>
                </c:pt>
                <c:pt idx="12084">
                  <c:v>4.856821228900551</c:v>
                </c:pt>
                <c:pt idx="12085">
                  <c:v>5.1033182123943046</c:v>
                </c:pt>
                <c:pt idx="12086">
                  <c:v>5.9930364987094826</c:v>
                </c:pt>
                <c:pt idx="12087">
                  <c:v>5.9547135806765548</c:v>
                </c:pt>
                <c:pt idx="12088">
                  <c:v>5.9213347125572575</c:v>
                </c:pt>
                <c:pt idx="12089">
                  <c:v>6.1654705021909662</c:v>
                </c:pt>
                <c:pt idx="12090">
                  <c:v>6.0077268422909018</c:v>
                </c:pt>
                <c:pt idx="12091">
                  <c:v>4.9873468131750274</c:v>
                </c:pt>
                <c:pt idx="12092">
                  <c:v>5.9990060079947165</c:v>
                </c:pt>
                <c:pt idx="12093">
                  <c:v>6.0200892116655194</c:v>
                </c:pt>
                <c:pt idx="12094">
                  <c:v>6.9914388719208711</c:v>
                </c:pt>
                <c:pt idx="12095">
                  <c:v>5.9287008236703436</c:v>
                </c:pt>
                <c:pt idx="12096">
                  <c:v>5.8227754079807665</c:v>
                </c:pt>
                <c:pt idx="12097">
                  <c:v>5.9721772576576981</c:v>
                </c:pt>
                <c:pt idx="12098">
                  <c:v>6.1472192987334964</c:v>
                </c:pt>
                <c:pt idx="12099">
                  <c:v>5.1131851432621982</c:v>
                </c:pt>
                <c:pt idx="12100">
                  <c:v>6.0091487571411042</c:v>
                </c:pt>
                <c:pt idx="12101">
                  <c:v>7.0349079037341786</c:v>
                </c:pt>
                <c:pt idx="12102">
                  <c:v>5.1506686929571011</c:v>
                </c:pt>
                <c:pt idx="12103">
                  <c:v>6.1255707738025631</c:v>
                </c:pt>
                <c:pt idx="12104">
                  <c:v>7.0273533593743656</c:v>
                </c:pt>
                <c:pt idx="12105">
                  <c:v>7.1091703171752432</c:v>
                </c:pt>
                <c:pt idx="12106">
                  <c:v>4.9279437033442202</c:v>
                </c:pt>
                <c:pt idx="12107">
                  <c:v>6.0684595008856661</c:v>
                </c:pt>
                <c:pt idx="12108">
                  <c:v>6.0624748518993776</c:v>
                </c:pt>
                <c:pt idx="12109">
                  <c:v>6.0366811457622571</c:v>
                </c:pt>
                <c:pt idx="12110">
                  <c:v>4.8707610775286696</c:v>
                </c:pt>
                <c:pt idx="12111">
                  <c:v>5.9280631105982087</c:v>
                </c:pt>
                <c:pt idx="12112">
                  <c:v>5.9331301946488333</c:v>
                </c:pt>
                <c:pt idx="12113">
                  <c:v>6.0572968566455492</c:v>
                </c:pt>
                <c:pt idx="12114">
                  <c:v>6.0717429024552327</c:v>
                </c:pt>
                <c:pt idx="12115">
                  <c:v>6.0230024832961302</c:v>
                </c:pt>
                <c:pt idx="12116">
                  <c:v>7.0582311723573765</c:v>
                </c:pt>
                <c:pt idx="12117">
                  <c:v>7.1627096391531362</c:v>
                </c:pt>
                <c:pt idx="12118">
                  <c:v>7.083016924554995</c:v>
                </c:pt>
                <c:pt idx="12119">
                  <c:v>5.8584393566432382</c:v>
                </c:pt>
                <c:pt idx="12120">
                  <c:v>7.0836208245624936</c:v>
                </c:pt>
                <c:pt idx="12121">
                  <c:v>6.0598265711310439</c:v>
                </c:pt>
                <c:pt idx="12122">
                  <c:v>5.9977577619792823</c:v>
                </c:pt>
                <c:pt idx="12123">
                  <c:v>6.0416049957485276</c:v>
                </c:pt>
                <c:pt idx="12124">
                  <c:v>5.9489305738931701</c:v>
                </c:pt>
                <c:pt idx="12125">
                  <c:v>7.0818273852954938</c:v>
                </c:pt>
                <c:pt idx="12126">
                  <c:v>7.1709392438869664</c:v>
                </c:pt>
                <c:pt idx="12127">
                  <c:v>6.006271093577916</c:v>
                </c:pt>
                <c:pt idx="12128">
                  <c:v>5.8858093229324497</c:v>
                </c:pt>
                <c:pt idx="12129">
                  <c:v>5.9515586650893573</c:v>
                </c:pt>
                <c:pt idx="12130">
                  <c:v>6.9389297696731482</c:v>
                </c:pt>
                <c:pt idx="12131">
                  <c:v>7.0399650472137116</c:v>
                </c:pt>
                <c:pt idx="12132">
                  <c:v>7.0045944697896818</c:v>
                </c:pt>
                <c:pt idx="12133">
                  <c:v>4.9717533706563675</c:v>
                </c:pt>
                <c:pt idx="12134">
                  <c:v>4.8266781759010735</c:v>
                </c:pt>
                <c:pt idx="12135">
                  <c:v>6.8653263019624768</c:v>
                </c:pt>
                <c:pt idx="12136">
                  <c:v>5.9234300153551942</c:v>
                </c:pt>
                <c:pt idx="12137">
                  <c:v>7.0220160732790875</c:v>
                </c:pt>
                <c:pt idx="12138">
                  <c:v>6.9258392537881308</c:v>
                </c:pt>
                <c:pt idx="12139">
                  <c:v>5.9617096975468122</c:v>
                </c:pt>
                <c:pt idx="12140">
                  <c:v>6.007346684444105</c:v>
                </c:pt>
                <c:pt idx="12141">
                  <c:v>6.0005631270799631</c:v>
                </c:pt>
                <c:pt idx="12142">
                  <c:v>6.0703275303930679</c:v>
                </c:pt>
                <c:pt idx="12143">
                  <c:v>4.8928095342699889</c:v>
                </c:pt>
                <c:pt idx="12144">
                  <c:v>7.0545431098550395</c:v>
                </c:pt>
                <c:pt idx="12145">
                  <c:v>6.8647288847669694</c:v>
                </c:pt>
                <c:pt idx="12146">
                  <c:v>5.9072216036479723</c:v>
                </c:pt>
                <c:pt idx="12147">
                  <c:v>4.756835356098871</c:v>
                </c:pt>
                <c:pt idx="12148">
                  <c:v>6.0789303393379654</c:v>
                </c:pt>
                <c:pt idx="12149">
                  <c:v>5.8986208039834143</c:v>
                </c:pt>
                <c:pt idx="12150">
                  <c:v>5.2578150035793216</c:v>
                </c:pt>
                <c:pt idx="12151">
                  <c:v>5.9795868003761061</c:v>
                </c:pt>
                <c:pt idx="12152">
                  <c:v>5.06265289602098</c:v>
                </c:pt>
                <c:pt idx="12153">
                  <c:v>5.0802536836443073</c:v>
                </c:pt>
                <c:pt idx="12154">
                  <c:v>5.0865245572315461</c:v>
                </c:pt>
                <c:pt idx="12155">
                  <c:v>6.9649097608412323</c:v>
                </c:pt>
                <c:pt idx="12156">
                  <c:v>4.9000874973498583</c:v>
                </c:pt>
                <c:pt idx="12157">
                  <c:v>6.0663056705024712</c:v>
                </c:pt>
                <c:pt idx="12158">
                  <c:v>4.0380600015376755</c:v>
                </c:pt>
                <c:pt idx="12159">
                  <c:v>6.0301616068637998</c:v>
                </c:pt>
                <c:pt idx="12160">
                  <c:v>5.0476529779410173</c:v>
                </c:pt>
                <c:pt idx="12161">
                  <c:v>5.9805904111383157</c:v>
                </c:pt>
                <c:pt idx="12162">
                  <c:v>5.1518558981566507</c:v>
                </c:pt>
                <c:pt idx="12163">
                  <c:v>7.0464825634439947</c:v>
                </c:pt>
                <c:pt idx="12164">
                  <c:v>7.0022287306241457</c:v>
                </c:pt>
                <c:pt idx="12165">
                  <c:v>6.1544173204461998</c:v>
                </c:pt>
                <c:pt idx="12166">
                  <c:v>5.9225070891825027</c:v>
                </c:pt>
                <c:pt idx="12167">
                  <c:v>4.9719455190931408</c:v>
                </c:pt>
                <c:pt idx="12168">
                  <c:v>5.0158075896739911</c:v>
                </c:pt>
                <c:pt idx="12169">
                  <c:v>5.8457708367660777</c:v>
                </c:pt>
                <c:pt idx="12170">
                  <c:v>5.0229849062921836</c:v>
                </c:pt>
                <c:pt idx="12171">
                  <c:v>6.1658900191277652</c:v>
                </c:pt>
                <c:pt idx="12172">
                  <c:v>6.068294300377346</c:v>
                </c:pt>
                <c:pt idx="12173">
                  <c:v>5.9350513361815578</c:v>
                </c:pt>
                <c:pt idx="12174">
                  <c:v>6.06487195733704</c:v>
                </c:pt>
                <c:pt idx="12175">
                  <c:v>6.0828843662380869</c:v>
                </c:pt>
                <c:pt idx="12176">
                  <c:v>5.8558115739462924</c:v>
                </c:pt>
                <c:pt idx="12177">
                  <c:v>5.8208616558469624</c:v>
                </c:pt>
                <c:pt idx="12178">
                  <c:v>5.9887129395078817</c:v>
                </c:pt>
                <c:pt idx="12179">
                  <c:v>5.9382598813551972</c:v>
                </c:pt>
                <c:pt idx="12180">
                  <c:v>6.2735380154101579</c:v>
                </c:pt>
                <c:pt idx="12181">
                  <c:v>6.1110473898783058</c:v>
                </c:pt>
                <c:pt idx="12182">
                  <c:v>6.8547814299125802</c:v>
                </c:pt>
                <c:pt idx="12183">
                  <c:v>5.9619548887966083</c:v>
                </c:pt>
                <c:pt idx="12184">
                  <c:v>4.9590690606576926</c:v>
                </c:pt>
                <c:pt idx="12185">
                  <c:v>6.8411327959807995</c:v>
                </c:pt>
                <c:pt idx="12186">
                  <c:v>5.9651089214994073</c:v>
                </c:pt>
                <c:pt idx="12187">
                  <c:v>6.0836778017369202</c:v>
                </c:pt>
                <c:pt idx="12188">
                  <c:v>5.8298022570921733</c:v>
                </c:pt>
                <c:pt idx="12189">
                  <c:v>5.0285769389498176</c:v>
                </c:pt>
                <c:pt idx="12190">
                  <c:v>5.9445962736503812</c:v>
                </c:pt>
                <c:pt idx="12191">
                  <c:v>6.790209606505929</c:v>
                </c:pt>
                <c:pt idx="12192">
                  <c:v>5.9255813859419337</c:v>
                </c:pt>
                <c:pt idx="12193">
                  <c:v>5.9618576129097409</c:v>
                </c:pt>
                <c:pt idx="12194">
                  <c:v>4.9519507716256479</c:v>
                </c:pt>
                <c:pt idx="12195">
                  <c:v>6.8849222671967576</c:v>
                </c:pt>
                <c:pt idx="12196">
                  <c:v>7.0931838932246505</c:v>
                </c:pt>
                <c:pt idx="12197">
                  <c:v>7.1011894664230226</c:v>
                </c:pt>
                <c:pt idx="12198">
                  <c:v>7.0650566523176437</c:v>
                </c:pt>
                <c:pt idx="12199">
                  <c:v>4.9812594205417744</c:v>
                </c:pt>
                <c:pt idx="12200">
                  <c:v>6.0334350313176577</c:v>
                </c:pt>
                <c:pt idx="12201">
                  <c:v>7.1600899736422354</c:v>
                </c:pt>
                <c:pt idx="12202">
                  <c:v>6.0395099695633139</c:v>
                </c:pt>
                <c:pt idx="12203">
                  <c:v>6.8897853237426974</c:v>
                </c:pt>
                <c:pt idx="12204">
                  <c:v>5.8080294341256709</c:v>
                </c:pt>
                <c:pt idx="12205">
                  <c:v>6.0118704528749909</c:v>
                </c:pt>
                <c:pt idx="12206">
                  <c:v>7.0416620399758383</c:v>
                </c:pt>
                <c:pt idx="12207">
                  <c:v>5.9253958675578762</c:v>
                </c:pt>
                <c:pt idx="12208">
                  <c:v>5.1237255274681752</c:v>
                </c:pt>
                <c:pt idx="12209">
                  <c:v>5.8149123851302811</c:v>
                </c:pt>
                <c:pt idx="12210">
                  <c:v>5.9970127225548415</c:v>
                </c:pt>
                <c:pt idx="12211">
                  <c:v>6.0190919543447245</c:v>
                </c:pt>
                <c:pt idx="12212">
                  <c:v>6.1170856655289896</c:v>
                </c:pt>
                <c:pt idx="12213">
                  <c:v>5.0344039695338392</c:v>
                </c:pt>
                <c:pt idx="12214">
                  <c:v>6.1248631170081422</c:v>
                </c:pt>
                <c:pt idx="12215">
                  <c:v>5.973847719925093</c:v>
                </c:pt>
                <c:pt idx="12216">
                  <c:v>6.137588000459294</c:v>
                </c:pt>
                <c:pt idx="12217">
                  <c:v>5.0524407744595186</c:v>
                </c:pt>
                <c:pt idx="12218">
                  <c:v>5.9476563897725425</c:v>
                </c:pt>
                <c:pt idx="12219">
                  <c:v>5.9340087127915888</c:v>
                </c:pt>
                <c:pt idx="12220">
                  <c:v>5.8408091894548013</c:v>
                </c:pt>
                <c:pt idx="12221">
                  <c:v>7.0477661089771688</c:v>
                </c:pt>
                <c:pt idx="12222">
                  <c:v>6.8474648660088784</c:v>
                </c:pt>
                <c:pt idx="12223">
                  <c:v>6.9999192637103693</c:v>
                </c:pt>
                <c:pt idx="12224">
                  <c:v>5.8619270726835326</c:v>
                </c:pt>
                <c:pt idx="12225">
                  <c:v>6.0137603000596824</c:v>
                </c:pt>
                <c:pt idx="12226">
                  <c:v>6.0880839553415083</c:v>
                </c:pt>
                <c:pt idx="12227">
                  <c:v>5.0475194725414312</c:v>
                </c:pt>
                <c:pt idx="12228">
                  <c:v>6.0215633115545248</c:v>
                </c:pt>
                <c:pt idx="12229">
                  <c:v>5.1581631193681261</c:v>
                </c:pt>
                <c:pt idx="12230">
                  <c:v>5.9474107259923139</c:v>
                </c:pt>
                <c:pt idx="12231">
                  <c:v>5.790091181325665</c:v>
                </c:pt>
                <c:pt idx="12232">
                  <c:v>6.1969049921523851</c:v>
                </c:pt>
                <c:pt idx="12233">
                  <c:v>6.077067682413988</c:v>
                </c:pt>
                <c:pt idx="12234">
                  <c:v>6.1015485071795146</c:v>
                </c:pt>
                <c:pt idx="12235">
                  <c:v>5.143368878094587</c:v>
                </c:pt>
                <c:pt idx="12236">
                  <c:v>5.9947932967870683</c:v>
                </c:pt>
                <c:pt idx="12237">
                  <c:v>6.0061142729267365</c:v>
                </c:pt>
                <c:pt idx="12238">
                  <c:v>5.991223825983603</c:v>
                </c:pt>
                <c:pt idx="12239">
                  <c:v>5.015402848136806</c:v>
                </c:pt>
                <c:pt idx="12240">
                  <c:v>5.8041557541726903</c:v>
                </c:pt>
                <c:pt idx="12241">
                  <c:v>5.0959153502629793</c:v>
                </c:pt>
                <c:pt idx="12242">
                  <c:v>5.8039082378063647</c:v>
                </c:pt>
                <c:pt idx="12243">
                  <c:v>5.9544259196827198</c:v>
                </c:pt>
                <c:pt idx="12244">
                  <c:v>8.9697964181873981</c:v>
                </c:pt>
                <c:pt idx="12245">
                  <c:v>8.0327085564418592</c:v>
                </c:pt>
                <c:pt idx="12246">
                  <c:v>4.9344589320427339</c:v>
                </c:pt>
                <c:pt idx="12247">
                  <c:v>6.0593985968063633</c:v>
                </c:pt>
                <c:pt idx="12248">
                  <c:v>1.9369471503582578</c:v>
                </c:pt>
                <c:pt idx="12249">
                  <c:v>5.8785046067998685</c:v>
                </c:pt>
                <c:pt idx="12250">
                  <c:v>5.8559691373964373</c:v>
                </c:pt>
                <c:pt idx="12251">
                  <c:v>5.9853679929706161</c:v>
                </c:pt>
                <c:pt idx="12252">
                  <c:v>5.8321638481219917</c:v>
                </c:pt>
                <c:pt idx="12253">
                  <c:v>5.9787339113470654</c:v>
                </c:pt>
                <c:pt idx="12254">
                  <c:v>6.0571547129514069</c:v>
                </c:pt>
                <c:pt idx="12255">
                  <c:v>6.0850660221061164</c:v>
                </c:pt>
                <c:pt idx="12256">
                  <c:v>5.7494972888722629</c:v>
                </c:pt>
                <c:pt idx="12257">
                  <c:v>5.0051082241391089</c:v>
                </c:pt>
                <c:pt idx="12258">
                  <c:v>6.9878823571347368</c:v>
                </c:pt>
                <c:pt idx="12259">
                  <c:v>5.975148670319725</c:v>
                </c:pt>
                <c:pt idx="12260">
                  <c:v>6.9835031546415749</c:v>
                </c:pt>
                <c:pt idx="12261">
                  <c:v>6.1097537775329229</c:v>
                </c:pt>
                <c:pt idx="12262">
                  <c:v>3.0978333897477532</c:v>
                </c:pt>
                <c:pt idx="12263">
                  <c:v>6.0493386463201162</c:v>
                </c:pt>
                <c:pt idx="12264">
                  <c:v>5.7684594748408919</c:v>
                </c:pt>
                <c:pt idx="12265">
                  <c:v>4.8620110512472507</c:v>
                </c:pt>
                <c:pt idx="12266">
                  <c:v>6.1171974212552689</c:v>
                </c:pt>
                <c:pt idx="12267">
                  <c:v>5.958866779336863</c:v>
                </c:pt>
                <c:pt idx="12268">
                  <c:v>4.8732561734563102</c:v>
                </c:pt>
                <c:pt idx="12269">
                  <c:v>5.0612767937649661</c:v>
                </c:pt>
                <c:pt idx="12270">
                  <c:v>5.9998241432845481</c:v>
                </c:pt>
                <c:pt idx="12271">
                  <c:v>4.8625736123723309</c:v>
                </c:pt>
                <c:pt idx="12272">
                  <c:v>6.020248583097537</c:v>
                </c:pt>
                <c:pt idx="12273">
                  <c:v>5.1194927266030756</c:v>
                </c:pt>
                <c:pt idx="12274">
                  <c:v>6.219820283232778</c:v>
                </c:pt>
                <c:pt idx="12275">
                  <c:v>5.0962522731779023</c:v>
                </c:pt>
                <c:pt idx="12276">
                  <c:v>4.8870757107827867</c:v>
                </c:pt>
                <c:pt idx="12277">
                  <c:v>6.0922160434778014</c:v>
                </c:pt>
                <c:pt idx="12278">
                  <c:v>5.0228766643857705</c:v>
                </c:pt>
                <c:pt idx="12279">
                  <c:v>5.9596683633989542</c:v>
                </c:pt>
                <c:pt idx="12280">
                  <c:v>5.9391291095543375</c:v>
                </c:pt>
                <c:pt idx="12281">
                  <c:v>5.0634108391916612</c:v>
                </c:pt>
                <c:pt idx="12282">
                  <c:v>7.1116165130467053</c:v>
                </c:pt>
                <c:pt idx="12283">
                  <c:v>5.0018967508273144</c:v>
                </c:pt>
                <c:pt idx="12284">
                  <c:v>5.9711941704912741</c:v>
                </c:pt>
                <c:pt idx="12285">
                  <c:v>5.0275657494490078</c:v>
                </c:pt>
                <c:pt idx="12286">
                  <c:v>6.1757670756444565</c:v>
                </c:pt>
                <c:pt idx="12287">
                  <c:v>6.0466869087593986</c:v>
                </c:pt>
                <c:pt idx="12288">
                  <c:v>6.090300167919815</c:v>
                </c:pt>
                <c:pt idx="12289">
                  <c:v>4.9686644158087194</c:v>
                </c:pt>
                <c:pt idx="12290">
                  <c:v>5.8893347966009637</c:v>
                </c:pt>
                <c:pt idx="12291">
                  <c:v>5.9936170845282124</c:v>
                </c:pt>
                <c:pt idx="12292">
                  <c:v>6.9091013117841031</c:v>
                </c:pt>
                <c:pt idx="12293">
                  <c:v>6.7417075635927315</c:v>
                </c:pt>
                <c:pt idx="12294">
                  <c:v>6.0174852280666347</c:v>
                </c:pt>
                <c:pt idx="12295">
                  <c:v>7.1062044201979795</c:v>
                </c:pt>
                <c:pt idx="12296">
                  <c:v>5.9933992272838559</c:v>
                </c:pt>
                <c:pt idx="12297">
                  <c:v>4.777302052541021</c:v>
                </c:pt>
                <c:pt idx="12298">
                  <c:v>5.8681049069772966</c:v>
                </c:pt>
                <c:pt idx="12299">
                  <c:v>5.9673711290265965</c:v>
                </c:pt>
                <c:pt idx="12300">
                  <c:v>5.897958969271536</c:v>
                </c:pt>
                <c:pt idx="12301">
                  <c:v>5.0828388867958854</c:v>
                </c:pt>
                <c:pt idx="12302">
                  <c:v>5.9071168700511167</c:v>
                </c:pt>
                <c:pt idx="12303">
                  <c:v>6.9200953484680845</c:v>
                </c:pt>
                <c:pt idx="12304">
                  <c:v>6.9751928856479282</c:v>
                </c:pt>
                <c:pt idx="12305">
                  <c:v>4.9922789810519621</c:v>
                </c:pt>
                <c:pt idx="12306">
                  <c:v>4.9559688136118787</c:v>
                </c:pt>
                <c:pt idx="12307">
                  <c:v>7.1414785011041788</c:v>
                </c:pt>
                <c:pt idx="12308">
                  <c:v>3.8186399037625778</c:v>
                </c:pt>
                <c:pt idx="12309">
                  <c:v>6.2083630930905498</c:v>
                </c:pt>
                <c:pt idx="12310">
                  <c:v>7.0192547137384711</c:v>
                </c:pt>
                <c:pt idx="12311">
                  <c:v>6.9891707276067487</c:v>
                </c:pt>
                <c:pt idx="12312">
                  <c:v>5.8570218525886162</c:v>
                </c:pt>
                <c:pt idx="12313">
                  <c:v>5.0634564150630457</c:v>
                </c:pt>
                <c:pt idx="12314">
                  <c:v>5.8789527817448972</c:v>
                </c:pt>
                <c:pt idx="12315">
                  <c:v>5.9339788885420468</c:v>
                </c:pt>
                <c:pt idx="12316">
                  <c:v>5.0393853381827913</c:v>
                </c:pt>
                <c:pt idx="12317">
                  <c:v>5.9592633245556073</c:v>
                </c:pt>
                <c:pt idx="12318">
                  <c:v>5.1202836796287245</c:v>
                </c:pt>
                <c:pt idx="12319">
                  <c:v>6.0479919437258411</c:v>
                </c:pt>
                <c:pt idx="12320">
                  <c:v>5.0075060588772544</c:v>
                </c:pt>
                <c:pt idx="12321">
                  <c:v>5.1848955912170576</c:v>
                </c:pt>
                <c:pt idx="12322">
                  <c:v>5.0642954412111845</c:v>
                </c:pt>
                <c:pt idx="12323">
                  <c:v>6.8987887664402834</c:v>
                </c:pt>
                <c:pt idx="12324">
                  <c:v>4.9116047575540396</c:v>
                </c:pt>
                <c:pt idx="12325">
                  <c:v>5.002423110305287</c:v>
                </c:pt>
                <c:pt idx="12326">
                  <c:v>5.1399859180145739</c:v>
                </c:pt>
                <c:pt idx="12327">
                  <c:v>5.0858363155121165</c:v>
                </c:pt>
                <c:pt idx="12328">
                  <c:v>6.0135189843913812</c:v>
                </c:pt>
                <c:pt idx="12329">
                  <c:v>4.9959232005116485</c:v>
                </c:pt>
                <c:pt idx="12330">
                  <c:v>5.9280280264670973</c:v>
                </c:pt>
                <c:pt idx="12331">
                  <c:v>4.8683197736206862</c:v>
                </c:pt>
                <c:pt idx="12332">
                  <c:v>5.0242818941648153</c:v>
                </c:pt>
                <c:pt idx="12333">
                  <c:v>5.0033055123421146</c:v>
                </c:pt>
                <c:pt idx="12334">
                  <c:v>6.0268423260209758</c:v>
                </c:pt>
                <c:pt idx="12335">
                  <c:v>5.0280330247633929</c:v>
                </c:pt>
                <c:pt idx="12336">
                  <c:v>5.3183378979566474</c:v>
                </c:pt>
                <c:pt idx="12337">
                  <c:v>4.9082061476020336</c:v>
                </c:pt>
                <c:pt idx="12338">
                  <c:v>4.851402618837759</c:v>
                </c:pt>
                <c:pt idx="12339">
                  <c:v>5.8912917542920376</c:v>
                </c:pt>
                <c:pt idx="12340">
                  <c:v>4.9523704473599066</c:v>
                </c:pt>
                <c:pt idx="12341">
                  <c:v>6.0170897304388857</c:v>
                </c:pt>
                <c:pt idx="12342">
                  <c:v>4.804206151904963</c:v>
                </c:pt>
                <c:pt idx="12343">
                  <c:v>6.0129499545422478</c:v>
                </c:pt>
                <c:pt idx="12344">
                  <c:v>4.9883721754583448</c:v>
                </c:pt>
                <c:pt idx="12345">
                  <c:v>7.0996820051636913</c:v>
                </c:pt>
                <c:pt idx="12346">
                  <c:v>5.9746314472981119</c:v>
                </c:pt>
                <c:pt idx="12347">
                  <c:v>5.0017324470976279</c:v>
                </c:pt>
                <c:pt idx="12348">
                  <c:v>4.1981168016853925</c:v>
                </c:pt>
                <c:pt idx="12349">
                  <c:v>6.124653731773587</c:v>
                </c:pt>
                <c:pt idx="12350">
                  <c:v>6.0140874550958934</c:v>
                </c:pt>
                <c:pt idx="12351">
                  <c:v>5.0166976553968752</c:v>
                </c:pt>
                <c:pt idx="12352">
                  <c:v>6.0975407928351375</c:v>
                </c:pt>
                <c:pt idx="12353">
                  <c:v>5.879272019711931</c:v>
                </c:pt>
                <c:pt idx="12354">
                  <c:v>6.2479484844326443</c:v>
                </c:pt>
                <c:pt idx="12355">
                  <c:v>6.0033623575380215</c:v>
                </c:pt>
                <c:pt idx="12356">
                  <c:v>6.0974092693720481</c:v>
                </c:pt>
                <c:pt idx="12357">
                  <c:v>6.0327838525557373</c:v>
                </c:pt>
                <c:pt idx="12358">
                  <c:v>6.0225066501306985</c:v>
                </c:pt>
                <c:pt idx="12359">
                  <c:v>5.1058538524096271</c:v>
                </c:pt>
                <c:pt idx="12360">
                  <c:v>4.9208119564868031</c:v>
                </c:pt>
                <c:pt idx="12361">
                  <c:v>5.1981074837677141</c:v>
                </c:pt>
                <c:pt idx="12362">
                  <c:v>5.0199067993409399</c:v>
                </c:pt>
                <c:pt idx="12363">
                  <c:v>5.0778023718654683</c:v>
                </c:pt>
                <c:pt idx="12364">
                  <c:v>6.0024932440738095</c:v>
                </c:pt>
                <c:pt idx="12365">
                  <c:v>5.0180238004589466</c:v>
                </c:pt>
                <c:pt idx="12366">
                  <c:v>6.0431528106325212</c:v>
                </c:pt>
                <c:pt idx="12367">
                  <c:v>6.0272941587928335</c:v>
                </c:pt>
                <c:pt idx="12368">
                  <c:v>5.8850185161792385</c:v>
                </c:pt>
                <c:pt idx="12369">
                  <c:v>5.9963141522678978</c:v>
                </c:pt>
                <c:pt idx="12370">
                  <c:v>6.0386362091673176</c:v>
                </c:pt>
                <c:pt idx="12371">
                  <c:v>5.9051101448748344</c:v>
                </c:pt>
                <c:pt idx="12372">
                  <c:v>5.1526174079907516</c:v>
                </c:pt>
                <c:pt idx="12373">
                  <c:v>6.1465264522958822</c:v>
                </c:pt>
                <c:pt idx="12374">
                  <c:v>5.9603325241000116</c:v>
                </c:pt>
                <c:pt idx="12375">
                  <c:v>4.9957224428232783</c:v>
                </c:pt>
                <c:pt idx="12376">
                  <c:v>5.8482790120143004</c:v>
                </c:pt>
                <c:pt idx="12377">
                  <c:v>4.9385480652099689</c:v>
                </c:pt>
                <c:pt idx="12378">
                  <c:v>5.9763986325793859</c:v>
                </c:pt>
                <c:pt idx="12379">
                  <c:v>6.0520601196750654</c:v>
                </c:pt>
                <c:pt idx="12380">
                  <c:v>7.1069613757301626</c:v>
                </c:pt>
                <c:pt idx="12381">
                  <c:v>5.0068926707346142</c:v>
                </c:pt>
                <c:pt idx="12382">
                  <c:v>6.0263142831136882</c:v>
                </c:pt>
                <c:pt idx="12383">
                  <c:v>5.984989434329461</c:v>
                </c:pt>
                <c:pt idx="12384">
                  <c:v>6.0236589831550624</c:v>
                </c:pt>
                <c:pt idx="12385">
                  <c:v>6.0655918780057654</c:v>
                </c:pt>
                <c:pt idx="12386">
                  <c:v>6.9578662324070537</c:v>
                </c:pt>
                <c:pt idx="12387">
                  <c:v>5.9981034745063795</c:v>
                </c:pt>
                <c:pt idx="12388">
                  <c:v>6.9445883179823813</c:v>
                </c:pt>
                <c:pt idx="12389">
                  <c:v>5.8698540800718861</c:v>
                </c:pt>
                <c:pt idx="12390">
                  <c:v>6.1359989570357962</c:v>
                </c:pt>
                <c:pt idx="12391">
                  <c:v>5.9567679891124659</c:v>
                </c:pt>
                <c:pt idx="12392">
                  <c:v>4.8334318355260599</c:v>
                </c:pt>
                <c:pt idx="12393">
                  <c:v>6.8444216249541112</c:v>
                </c:pt>
                <c:pt idx="12394">
                  <c:v>6.018963244347054</c:v>
                </c:pt>
                <c:pt idx="12395">
                  <c:v>6.0380304480649389</c:v>
                </c:pt>
                <c:pt idx="12396">
                  <c:v>6.9213604863486333</c:v>
                </c:pt>
                <c:pt idx="12397">
                  <c:v>5.9584260901135968</c:v>
                </c:pt>
                <c:pt idx="12398">
                  <c:v>6.0111142396596948</c:v>
                </c:pt>
                <c:pt idx="12399">
                  <c:v>4.8435305267248392</c:v>
                </c:pt>
                <c:pt idx="12400">
                  <c:v>5.9883404000983287</c:v>
                </c:pt>
                <c:pt idx="12401">
                  <c:v>5.8247419149032584</c:v>
                </c:pt>
                <c:pt idx="12402">
                  <c:v>5.9082399799507304</c:v>
                </c:pt>
                <c:pt idx="12403">
                  <c:v>5.9660905013998855</c:v>
                </c:pt>
                <c:pt idx="12404">
                  <c:v>7.032496402379194</c:v>
                </c:pt>
                <c:pt idx="12405">
                  <c:v>5.9735864064307949</c:v>
                </c:pt>
                <c:pt idx="12406">
                  <c:v>6.9715724023164336</c:v>
                </c:pt>
                <c:pt idx="12407">
                  <c:v>6.0764756371132718</c:v>
                </c:pt>
                <c:pt idx="12408">
                  <c:v>6.0215945279159522</c:v>
                </c:pt>
                <c:pt idx="12409">
                  <c:v>4.9493748356535701</c:v>
                </c:pt>
                <c:pt idx="12410">
                  <c:v>5.8941440970709902</c:v>
                </c:pt>
                <c:pt idx="12411">
                  <c:v>6.1437097792289865</c:v>
                </c:pt>
                <c:pt idx="12412">
                  <c:v>6.1426867924105819</c:v>
                </c:pt>
                <c:pt idx="12413">
                  <c:v>6.0168249700843175</c:v>
                </c:pt>
                <c:pt idx="12414">
                  <c:v>6.0629232743246844</c:v>
                </c:pt>
                <c:pt idx="12415">
                  <c:v>6.0535033744676321</c:v>
                </c:pt>
                <c:pt idx="12416">
                  <c:v>6.0580487112256129</c:v>
                </c:pt>
                <c:pt idx="12417">
                  <c:v>5.7662145259117024</c:v>
                </c:pt>
                <c:pt idx="12418">
                  <c:v>6.131084846700622</c:v>
                </c:pt>
                <c:pt idx="12419">
                  <c:v>5.8711834840976111</c:v>
                </c:pt>
                <c:pt idx="12420">
                  <c:v>7.0677205881458347</c:v>
                </c:pt>
                <c:pt idx="12421">
                  <c:v>6.0259738804093725</c:v>
                </c:pt>
                <c:pt idx="12422">
                  <c:v>5.9094912257137695</c:v>
                </c:pt>
                <c:pt idx="12423">
                  <c:v>5.8567226232068794</c:v>
                </c:pt>
                <c:pt idx="12424">
                  <c:v>6.1275615223941138</c:v>
                </c:pt>
                <c:pt idx="12425">
                  <c:v>5.9700291983964489</c:v>
                </c:pt>
                <c:pt idx="12426">
                  <c:v>5.8757550733487349</c:v>
                </c:pt>
                <c:pt idx="12427">
                  <c:v>6.0238955785364254</c:v>
                </c:pt>
                <c:pt idx="12428">
                  <c:v>6.8593787374901227</c:v>
                </c:pt>
                <c:pt idx="12429">
                  <c:v>6.0022244570501631</c:v>
                </c:pt>
                <c:pt idx="12430">
                  <c:v>7.1869129293068728</c:v>
                </c:pt>
                <c:pt idx="12431">
                  <c:v>5.8958324824606558</c:v>
                </c:pt>
                <c:pt idx="12432">
                  <c:v>6.0741282445414519</c:v>
                </c:pt>
                <c:pt idx="12433">
                  <c:v>5.825252297726685</c:v>
                </c:pt>
                <c:pt idx="12434">
                  <c:v>5.0855530740869481</c:v>
                </c:pt>
                <c:pt idx="12435">
                  <c:v>3.8269730225027225</c:v>
                </c:pt>
                <c:pt idx="12436">
                  <c:v>6.0678095234678739</c:v>
                </c:pt>
                <c:pt idx="12437">
                  <c:v>4.1756300779893341</c:v>
                </c:pt>
                <c:pt idx="12438">
                  <c:v>5.9112141512277709</c:v>
                </c:pt>
                <c:pt idx="12439">
                  <c:v>6.0948923086311195</c:v>
                </c:pt>
                <c:pt idx="12440">
                  <c:v>5.1256538909121234</c:v>
                </c:pt>
                <c:pt idx="12441">
                  <c:v>6.0810546802003671</c:v>
                </c:pt>
                <c:pt idx="12442">
                  <c:v>4.0795317467708765</c:v>
                </c:pt>
                <c:pt idx="12443">
                  <c:v>6.050066713136248</c:v>
                </c:pt>
                <c:pt idx="12444">
                  <c:v>6.0775429022280676</c:v>
                </c:pt>
                <c:pt idx="12445">
                  <c:v>6.0220228506930287</c:v>
                </c:pt>
                <c:pt idx="12446">
                  <c:v>6.1116734405239468</c:v>
                </c:pt>
                <c:pt idx="12447">
                  <c:v>7.0359037564182092</c:v>
                </c:pt>
                <c:pt idx="12448">
                  <c:v>4.8417474555848914</c:v>
                </c:pt>
                <c:pt idx="12449">
                  <c:v>6.205809831771707</c:v>
                </c:pt>
                <c:pt idx="12450">
                  <c:v>7.0677875264616583</c:v>
                </c:pt>
                <c:pt idx="12451">
                  <c:v>5.9346433587132399</c:v>
                </c:pt>
                <c:pt idx="12452">
                  <c:v>5.018100837800926</c:v>
                </c:pt>
                <c:pt idx="12453">
                  <c:v>6.0757487553870879</c:v>
                </c:pt>
                <c:pt idx="12454">
                  <c:v>6.06170407715544</c:v>
                </c:pt>
                <c:pt idx="12455">
                  <c:v>6.0500880466007665</c:v>
                </c:pt>
                <c:pt idx="12456">
                  <c:v>5.990543945346559</c:v>
                </c:pt>
                <c:pt idx="12457">
                  <c:v>3.8404232916354863</c:v>
                </c:pt>
                <c:pt idx="12458">
                  <c:v>6.9079131313399573</c:v>
                </c:pt>
                <c:pt idx="12459">
                  <c:v>5.9970751259004258</c:v>
                </c:pt>
                <c:pt idx="12460">
                  <c:v>6.9595786925820962</c:v>
                </c:pt>
                <c:pt idx="12461">
                  <c:v>6.1267719536005405</c:v>
                </c:pt>
                <c:pt idx="12462">
                  <c:v>4.8655516512264008</c:v>
                </c:pt>
                <c:pt idx="12463">
                  <c:v>5.9854568875558831</c:v>
                </c:pt>
                <c:pt idx="12464">
                  <c:v>5.9192379401195394</c:v>
                </c:pt>
                <c:pt idx="12465">
                  <c:v>5.9642565371848901</c:v>
                </c:pt>
                <c:pt idx="12466">
                  <c:v>7.2506500577139015</c:v>
                </c:pt>
                <c:pt idx="12467">
                  <c:v>5.981351942958776</c:v>
                </c:pt>
                <c:pt idx="12468">
                  <c:v>5.0143956607034035</c:v>
                </c:pt>
                <c:pt idx="12469">
                  <c:v>6.9843231967671464</c:v>
                </c:pt>
                <c:pt idx="12470">
                  <c:v>5.0503812545813958</c:v>
                </c:pt>
                <c:pt idx="12471">
                  <c:v>4.9370131918513929</c:v>
                </c:pt>
                <c:pt idx="12472">
                  <c:v>5.9315808380246819</c:v>
                </c:pt>
                <c:pt idx="12473">
                  <c:v>5.9450560557607037</c:v>
                </c:pt>
                <c:pt idx="12474">
                  <c:v>6.9842800642512426</c:v>
                </c:pt>
                <c:pt idx="12475">
                  <c:v>6.9620292719386994</c:v>
                </c:pt>
                <c:pt idx="12476">
                  <c:v>6.0870061011120562</c:v>
                </c:pt>
                <c:pt idx="12477">
                  <c:v>4.9536406278191745</c:v>
                </c:pt>
                <c:pt idx="12478">
                  <c:v>5.9772186023648741</c:v>
                </c:pt>
                <c:pt idx="12479">
                  <c:v>6.9315125071804111</c:v>
                </c:pt>
                <c:pt idx="12480">
                  <c:v>6.0847438775694824</c:v>
                </c:pt>
                <c:pt idx="12481">
                  <c:v>5.9726849031352156</c:v>
                </c:pt>
                <c:pt idx="12482">
                  <c:v>7.0942791212587295</c:v>
                </c:pt>
                <c:pt idx="12483">
                  <c:v>6.9301045142268096</c:v>
                </c:pt>
                <c:pt idx="12484">
                  <c:v>4.9603410520520992</c:v>
                </c:pt>
                <c:pt idx="12485">
                  <c:v>5.9159489532764189</c:v>
                </c:pt>
                <c:pt idx="12486">
                  <c:v>7.0573888721046574</c:v>
                </c:pt>
                <c:pt idx="12487">
                  <c:v>5.9069732564007253</c:v>
                </c:pt>
                <c:pt idx="12488">
                  <c:v>4.9909118611068637</c:v>
                </c:pt>
                <c:pt idx="12489">
                  <c:v>4.8657084333300729</c:v>
                </c:pt>
                <c:pt idx="12490">
                  <c:v>7.1383629276669502</c:v>
                </c:pt>
                <c:pt idx="12491">
                  <c:v>5.9700854820467173</c:v>
                </c:pt>
                <c:pt idx="12492">
                  <c:v>5.9333495261469427</c:v>
                </c:pt>
                <c:pt idx="12493">
                  <c:v>6.9836965705761784</c:v>
                </c:pt>
                <c:pt idx="12494">
                  <c:v>6.0201124368195789</c:v>
                </c:pt>
                <c:pt idx="12495">
                  <c:v>7.0187883969785014</c:v>
                </c:pt>
                <c:pt idx="12496">
                  <c:v>6.1348928208380489</c:v>
                </c:pt>
                <c:pt idx="12497">
                  <c:v>5.8162807930870599</c:v>
                </c:pt>
                <c:pt idx="12498">
                  <c:v>7.0977451739077448</c:v>
                </c:pt>
                <c:pt idx="12499">
                  <c:v>6.1112436907175089</c:v>
                </c:pt>
                <c:pt idx="12500">
                  <c:v>7.0341902754338372</c:v>
                </c:pt>
                <c:pt idx="12501">
                  <c:v>7.0717192205019526</c:v>
                </c:pt>
                <c:pt idx="12502">
                  <c:v>6.9888494295636141</c:v>
                </c:pt>
                <c:pt idx="12503">
                  <c:v>5.9488457455572936</c:v>
                </c:pt>
                <c:pt idx="12504">
                  <c:v>6.8926288128118705</c:v>
                </c:pt>
                <c:pt idx="12505">
                  <c:v>6.7914553202174535</c:v>
                </c:pt>
                <c:pt idx="12506">
                  <c:v>6.9291520150946821</c:v>
                </c:pt>
                <c:pt idx="12507">
                  <c:v>5.9970985038957636</c:v>
                </c:pt>
                <c:pt idx="12508">
                  <c:v>6.1049183312270401</c:v>
                </c:pt>
                <c:pt idx="12509">
                  <c:v>3.9263915675200498</c:v>
                </c:pt>
                <c:pt idx="12510">
                  <c:v>6.0337959120350781</c:v>
                </c:pt>
                <c:pt idx="12511">
                  <c:v>6.8895703700418647</c:v>
                </c:pt>
                <c:pt idx="12512">
                  <c:v>7.1621296140667488</c:v>
                </c:pt>
                <c:pt idx="12513">
                  <c:v>6.9996457502806342</c:v>
                </c:pt>
                <c:pt idx="12514">
                  <c:v>3.0533032506038471</c:v>
                </c:pt>
                <c:pt idx="12515">
                  <c:v>6.1417582254162131</c:v>
                </c:pt>
                <c:pt idx="12516">
                  <c:v>7.0449373209042241</c:v>
                </c:pt>
                <c:pt idx="12517">
                  <c:v>6.9521504808440655</c:v>
                </c:pt>
                <c:pt idx="12518">
                  <c:v>5.0183721449420862</c:v>
                </c:pt>
                <c:pt idx="12519">
                  <c:v>6.0781998100523777</c:v>
                </c:pt>
                <c:pt idx="12520">
                  <c:v>5.951734599251929</c:v>
                </c:pt>
                <c:pt idx="12521">
                  <c:v>6.0560543707897958</c:v>
                </c:pt>
                <c:pt idx="12522">
                  <c:v>4.8561330856166993</c:v>
                </c:pt>
                <c:pt idx="12523">
                  <c:v>5.9345603951306929</c:v>
                </c:pt>
                <c:pt idx="12524">
                  <c:v>6.7978689691471468</c:v>
                </c:pt>
                <c:pt idx="12525">
                  <c:v>6.0625436628862897</c:v>
                </c:pt>
                <c:pt idx="12526">
                  <c:v>4.9827217773634604</c:v>
                </c:pt>
                <c:pt idx="12527">
                  <c:v>6.0304847131003747</c:v>
                </c:pt>
                <c:pt idx="12528">
                  <c:v>5.8650973291304567</c:v>
                </c:pt>
                <c:pt idx="12529">
                  <c:v>5.0700090580334694</c:v>
                </c:pt>
                <c:pt idx="12530">
                  <c:v>5.8726949925297216</c:v>
                </c:pt>
                <c:pt idx="12531">
                  <c:v>5.0330976817454465</c:v>
                </c:pt>
                <c:pt idx="12532">
                  <c:v>5.0407771863918605</c:v>
                </c:pt>
                <c:pt idx="12533">
                  <c:v>6.1104729271173044</c:v>
                </c:pt>
                <c:pt idx="12534">
                  <c:v>5.9106466146923822</c:v>
                </c:pt>
                <c:pt idx="12535">
                  <c:v>6.1608241847917808</c:v>
                </c:pt>
                <c:pt idx="12536">
                  <c:v>6.053590674879036</c:v>
                </c:pt>
                <c:pt idx="12537">
                  <c:v>6.9282250794592386</c:v>
                </c:pt>
                <c:pt idx="12538">
                  <c:v>6.0769938977058642</c:v>
                </c:pt>
                <c:pt idx="12539">
                  <c:v>5.8905298693693116</c:v>
                </c:pt>
                <c:pt idx="12540">
                  <c:v>6.0059675197137379</c:v>
                </c:pt>
                <c:pt idx="12541">
                  <c:v>6.0945529847674083</c:v>
                </c:pt>
                <c:pt idx="12542">
                  <c:v>1.9444771351321299</c:v>
                </c:pt>
                <c:pt idx="12543">
                  <c:v>5.8366687187289923</c:v>
                </c:pt>
                <c:pt idx="12544">
                  <c:v>6.3239402387660668</c:v>
                </c:pt>
                <c:pt idx="12545">
                  <c:v>6.9774121344182944</c:v>
                </c:pt>
                <c:pt idx="12546">
                  <c:v>5.0667000266821436</c:v>
                </c:pt>
                <c:pt idx="12547">
                  <c:v>5.9626460912327595</c:v>
                </c:pt>
                <c:pt idx="12548">
                  <c:v>7.1693857186145395</c:v>
                </c:pt>
                <c:pt idx="12549">
                  <c:v>6.0277078134265585</c:v>
                </c:pt>
                <c:pt idx="12550">
                  <c:v>6.0962296961757048</c:v>
                </c:pt>
                <c:pt idx="12551">
                  <c:v>5.8800630745036582</c:v>
                </c:pt>
                <c:pt idx="12552">
                  <c:v>6.1372102193592921</c:v>
                </c:pt>
                <c:pt idx="12553">
                  <c:v>6.8764704747095093</c:v>
                </c:pt>
                <c:pt idx="12554">
                  <c:v>2.1861048549222044</c:v>
                </c:pt>
                <c:pt idx="12555">
                  <c:v>5.9952060671323588</c:v>
                </c:pt>
                <c:pt idx="12556">
                  <c:v>6.0193470672033076</c:v>
                </c:pt>
                <c:pt idx="12557">
                  <c:v>4.9791072779773966</c:v>
                </c:pt>
                <c:pt idx="12558">
                  <c:v>5.9737174766364207</c:v>
                </c:pt>
                <c:pt idx="12559">
                  <c:v>6.1195493719708294</c:v>
                </c:pt>
                <c:pt idx="12560">
                  <c:v>5.8956641511202061</c:v>
                </c:pt>
                <c:pt idx="12561">
                  <c:v>5.8325529377932384</c:v>
                </c:pt>
                <c:pt idx="12562">
                  <c:v>6.0621872556309091</c:v>
                </c:pt>
                <c:pt idx="12563">
                  <c:v>5.8561129542094719</c:v>
                </c:pt>
                <c:pt idx="12564">
                  <c:v>6.2943603292040136</c:v>
                </c:pt>
                <c:pt idx="12565">
                  <c:v>6.0034051585482171</c:v>
                </c:pt>
                <c:pt idx="12566">
                  <c:v>6.1559974934685027</c:v>
                </c:pt>
                <c:pt idx="12567">
                  <c:v>5.8672310118208362</c:v>
                </c:pt>
                <c:pt idx="12568">
                  <c:v>5.9401591770838706</c:v>
                </c:pt>
                <c:pt idx="12569">
                  <c:v>5.963079742083278</c:v>
                </c:pt>
                <c:pt idx="12570">
                  <c:v>5.0078945950724485</c:v>
                </c:pt>
                <c:pt idx="12571">
                  <c:v>6.0177430336588911</c:v>
                </c:pt>
                <c:pt idx="12572">
                  <c:v>4.880816111180037</c:v>
                </c:pt>
                <c:pt idx="12573">
                  <c:v>6.0248796949304477</c:v>
                </c:pt>
                <c:pt idx="12574">
                  <c:v>5.0280860738682147</c:v>
                </c:pt>
                <c:pt idx="12575">
                  <c:v>6.9729959159643364</c:v>
                </c:pt>
                <c:pt idx="12576">
                  <c:v>5.9896893789371788</c:v>
                </c:pt>
                <c:pt idx="12577">
                  <c:v>6.0906777505212988</c:v>
                </c:pt>
                <c:pt idx="12578">
                  <c:v>6.7371432976861314</c:v>
                </c:pt>
                <c:pt idx="12579">
                  <c:v>5.9307173656251528</c:v>
                </c:pt>
                <c:pt idx="12580">
                  <c:v>6.1708736857354864</c:v>
                </c:pt>
                <c:pt idx="12581">
                  <c:v>5.886813209769536</c:v>
                </c:pt>
                <c:pt idx="12582">
                  <c:v>5.9363015073802483</c:v>
                </c:pt>
                <c:pt idx="12583">
                  <c:v>6.0676692180464959</c:v>
                </c:pt>
                <c:pt idx="12584">
                  <c:v>5.9195732702292894</c:v>
                </c:pt>
                <c:pt idx="12585">
                  <c:v>5.8612206181971001</c:v>
                </c:pt>
                <c:pt idx="12586">
                  <c:v>5.8386580435757454</c:v>
                </c:pt>
                <c:pt idx="12587">
                  <c:v>6.0149330780596779</c:v>
                </c:pt>
                <c:pt idx="12588">
                  <c:v>6.0162980490043898</c:v>
                </c:pt>
                <c:pt idx="12589">
                  <c:v>6.0559946862119078</c:v>
                </c:pt>
                <c:pt idx="12590">
                  <c:v>5.7993783812223958</c:v>
                </c:pt>
                <c:pt idx="12591">
                  <c:v>6.9525935120704085</c:v>
                </c:pt>
                <c:pt idx="12592">
                  <c:v>4.0752358930515822</c:v>
                </c:pt>
                <c:pt idx="12593">
                  <c:v>5.8467269325469031</c:v>
                </c:pt>
                <c:pt idx="12594">
                  <c:v>5.9021736357879888</c:v>
                </c:pt>
                <c:pt idx="12595">
                  <c:v>6.0787814333319101</c:v>
                </c:pt>
                <c:pt idx="12596">
                  <c:v>6.1103340432458522</c:v>
                </c:pt>
                <c:pt idx="12597">
                  <c:v>6.1158979986223452</c:v>
                </c:pt>
                <c:pt idx="12598">
                  <c:v>5.9546514695331938</c:v>
                </c:pt>
                <c:pt idx="12599">
                  <c:v>5.9387889620214356</c:v>
                </c:pt>
                <c:pt idx="12600">
                  <c:v>5.8591793943855697</c:v>
                </c:pt>
                <c:pt idx="12601">
                  <c:v>5.9755095795865341</c:v>
                </c:pt>
                <c:pt idx="12602">
                  <c:v>5.8776707030901427</c:v>
                </c:pt>
                <c:pt idx="12603">
                  <c:v>6.139659592453194</c:v>
                </c:pt>
                <c:pt idx="12604">
                  <c:v>6.9618562786093001</c:v>
                </c:pt>
                <c:pt idx="12605">
                  <c:v>5.9980262127018298</c:v>
                </c:pt>
                <c:pt idx="12606">
                  <c:v>6.0449834867042682</c:v>
                </c:pt>
                <c:pt idx="12607">
                  <c:v>6.9241699756238244</c:v>
                </c:pt>
                <c:pt idx="12608">
                  <c:v>6.0626676041726437</c:v>
                </c:pt>
                <c:pt idx="12609">
                  <c:v>5.8310983186727077</c:v>
                </c:pt>
                <c:pt idx="12610">
                  <c:v>5.8499801302425558</c:v>
                </c:pt>
                <c:pt idx="12611">
                  <c:v>5.8863490289588665</c:v>
                </c:pt>
                <c:pt idx="12612">
                  <c:v>6.1936783741300587</c:v>
                </c:pt>
                <c:pt idx="12613">
                  <c:v>5.9932773660295178</c:v>
                </c:pt>
                <c:pt idx="12614">
                  <c:v>6.0080804099803986</c:v>
                </c:pt>
                <c:pt idx="12615">
                  <c:v>6.0561149795766509</c:v>
                </c:pt>
                <c:pt idx="12616">
                  <c:v>6.1358861914006777</c:v>
                </c:pt>
                <c:pt idx="12617">
                  <c:v>5.8826563055667709</c:v>
                </c:pt>
                <c:pt idx="12618">
                  <c:v>6.0204089434773467</c:v>
                </c:pt>
                <c:pt idx="12619">
                  <c:v>6.1203960890602129</c:v>
                </c:pt>
                <c:pt idx="12620">
                  <c:v>6.6696032514314787</c:v>
                </c:pt>
                <c:pt idx="12621">
                  <c:v>6.0822771785007106</c:v>
                </c:pt>
                <c:pt idx="12622">
                  <c:v>6.1773772275438308</c:v>
                </c:pt>
                <c:pt idx="12623">
                  <c:v>6.7976880761366356</c:v>
                </c:pt>
                <c:pt idx="12624">
                  <c:v>3.0269737410496664</c:v>
                </c:pt>
                <c:pt idx="12625">
                  <c:v>7.0786278353117726</c:v>
                </c:pt>
                <c:pt idx="12626">
                  <c:v>6.1515952184995637</c:v>
                </c:pt>
                <c:pt idx="12627">
                  <c:v>7.0265679740663947</c:v>
                </c:pt>
                <c:pt idx="12628">
                  <c:v>5.997413032325615</c:v>
                </c:pt>
                <c:pt idx="12629">
                  <c:v>5.8477492433427978</c:v>
                </c:pt>
                <c:pt idx="12630">
                  <c:v>6.0285402314796848</c:v>
                </c:pt>
                <c:pt idx="12631">
                  <c:v>5.8869408892892601</c:v>
                </c:pt>
                <c:pt idx="12632">
                  <c:v>6.0192069697734629</c:v>
                </c:pt>
                <c:pt idx="12633">
                  <c:v>6.0950656526248608</c:v>
                </c:pt>
                <c:pt idx="12634">
                  <c:v>5.8895283755333745</c:v>
                </c:pt>
                <c:pt idx="12635">
                  <c:v>6.1067655015510747</c:v>
                </c:pt>
                <c:pt idx="12636">
                  <c:v>6.0438264812721165</c:v>
                </c:pt>
                <c:pt idx="12637">
                  <c:v>6.0919549088735314</c:v>
                </c:pt>
                <c:pt idx="12638">
                  <c:v>6.1128436437886009</c:v>
                </c:pt>
                <c:pt idx="12639">
                  <c:v>6.0371399707814559</c:v>
                </c:pt>
                <c:pt idx="12640">
                  <c:v>6.154492464412364</c:v>
                </c:pt>
                <c:pt idx="12641">
                  <c:v>5.9552051720499311</c:v>
                </c:pt>
                <c:pt idx="12642">
                  <c:v>6.0676362667105428</c:v>
                </c:pt>
                <c:pt idx="12643">
                  <c:v>5.9802761376342213</c:v>
                </c:pt>
                <c:pt idx="12644">
                  <c:v>5.0629710207567724</c:v>
                </c:pt>
                <c:pt idx="12645">
                  <c:v>6.1565268765005046</c:v>
                </c:pt>
                <c:pt idx="12646">
                  <c:v>6.0303720260529543</c:v>
                </c:pt>
                <c:pt idx="12647">
                  <c:v>6.9732326524726664</c:v>
                </c:pt>
                <c:pt idx="12648">
                  <c:v>6.9356138594164145</c:v>
                </c:pt>
                <c:pt idx="12649">
                  <c:v>5.8663647406681454</c:v>
                </c:pt>
                <c:pt idx="12650">
                  <c:v>6.1123683699984701</c:v>
                </c:pt>
                <c:pt idx="12651">
                  <c:v>5.0002850993163523</c:v>
                </c:pt>
                <c:pt idx="12652">
                  <c:v>4.017703542072744</c:v>
                </c:pt>
                <c:pt idx="12653">
                  <c:v>3.9222297218111644</c:v>
                </c:pt>
                <c:pt idx="12654">
                  <c:v>5.897116104167238</c:v>
                </c:pt>
                <c:pt idx="12655">
                  <c:v>7.1644864234994179</c:v>
                </c:pt>
                <c:pt idx="12656">
                  <c:v>5.0736765198485765</c:v>
                </c:pt>
                <c:pt idx="12657">
                  <c:v>6.0452188367573312</c:v>
                </c:pt>
                <c:pt idx="12658">
                  <c:v>6.0642173820719432</c:v>
                </c:pt>
                <c:pt idx="12659">
                  <c:v>5.004812211522875</c:v>
                </c:pt>
                <c:pt idx="12660">
                  <c:v>5.0918384348814021</c:v>
                </c:pt>
                <c:pt idx="12661">
                  <c:v>5.9177658302905156</c:v>
                </c:pt>
                <c:pt idx="12662">
                  <c:v>4.9452411259560112</c:v>
                </c:pt>
                <c:pt idx="12663">
                  <c:v>6.1157249052648259</c:v>
                </c:pt>
                <c:pt idx="12664">
                  <c:v>6.0320558279728518</c:v>
                </c:pt>
                <c:pt idx="12665">
                  <c:v>4.9386415199736415</c:v>
                </c:pt>
                <c:pt idx="12666">
                  <c:v>5.943723422475558</c:v>
                </c:pt>
                <c:pt idx="12667">
                  <c:v>7.0692576016358393</c:v>
                </c:pt>
                <c:pt idx="12668">
                  <c:v>5.9673659061460951</c:v>
                </c:pt>
                <c:pt idx="12669">
                  <c:v>6.9755155566703078</c:v>
                </c:pt>
                <c:pt idx="12670">
                  <c:v>4.872169731235295</c:v>
                </c:pt>
                <c:pt idx="12671">
                  <c:v>4.9348931735159116</c:v>
                </c:pt>
                <c:pt idx="12672">
                  <c:v>5.98026771911948</c:v>
                </c:pt>
                <c:pt idx="12673">
                  <c:v>6.0657782694687015</c:v>
                </c:pt>
                <c:pt idx="12674">
                  <c:v>5.1181897551515405</c:v>
                </c:pt>
                <c:pt idx="12675">
                  <c:v>6.0734669709654598</c:v>
                </c:pt>
                <c:pt idx="12676">
                  <c:v>6.122984246826654</c:v>
                </c:pt>
                <c:pt idx="12677">
                  <c:v>5.9095423077091827</c:v>
                </c:pt>
                <c:pt idx="12678">
                  <c:v>5.8793470802112244</c:v>
                </c:pt>
                <c:pt idx="12679">
                  <c:v>7.0437350373457059</c:v>
                </c:pt>
                <c:pt idx="12680">
                  <c:v>7.0381617188990084</c:v>
                </c:pt>
                <c:pt idx="12681">
                  <c:v>7.0991960712011331</c:v>
                </c:pt>
                <c:pt idx="12682">
                  <c:v>6.9624281280167439</c:v>
                </c:pt>
                <c:pt idx="12683">
                  <c:v>5.9278897500334917</c:v>
                </c:pt>
                <c:pt idx="12684">
                  <c:v>7.0345319739540066</c:v>
                </c:pt>
                <c:pt idx="12685">
                  <c:v>5.8477395404025527</c:v>
                </c:pt>
                <c:pt idx="12686">
                  <c:v>6.045866667913141</c:v>
                </c:pt>
                <c:pt idx="12687">
                  <c:v>6.1226534169492286</c:v>
                </c:pt>
                <c:pt idx="12688">
                  <c:v>6.0669669113346716</c:v>
                </c:pt>
                <c:pt idx="12689">
                  <c:v>6.0147184640897402</c:v>
                </c:pt>
                <c:pt idx="12690">
                  <c:v>5.9301001082011844</c:v>
                </c:pt>
                <c:pt idx="12691">
                  <c:v>4.9953426413430577</c:v>
                </c:pt>
                <c:pt idx="12692">
                  <c:v>6.0414879231445004</c:v>
                </c:pt>
                <c:pt idx="12693">
                  <c:v>5.8123329304592035</c:v>
                </c:pt>
                <c:pt idx="12694">
                  <c:v>5.8971475962533715</c:v>
                </c:pt>
                <c:pt idx="12695">
                  <c:v>6.0662297363024829</c:v>
                </c:pt>
                <c:pt idx="12696">
                  <c:v>6.1654970849832829</c:v>
                </c:pt>
                <c:pt idx="12697">
                  <c:v>5.9447833852030838</c:v>
                </c:pt>
                <c:pt idx="12698">
                  <c:v>5.8826305017787091</c:v>
                </c:pt>
                <c:pt idx="12699">
                  <c:v>6.0269533795047847</c:v>
                </c:pt>
                <c:pt idx="12700">
                  <c:v>5.0018401228886198</c:v>
                </c:pt>
                <c:pt idx="12701">
                  <c:v>5.9782955394904276</c:v>
                </c:pt>
                <c:pt idx="12702">
                  <c:v>7.0073104870721847</c:v>
                </c:pt>
                <c:pt idx="12703">
                  <c:v>5.9278119851193658</c:v>
                </c:pt>
                <c:pt idx="12704">
                  <c:v>5.9665642055665602</c:v>
                </c:pt>
                <c:pt idx="12705">
                  <c:v>4.9075114761661673</c:v>
                </c:pt>
                <c:pt idx="12706">
                  <c:v>5.909836848397406</c:v>
                </c:pt>
                <c:pt idx="12707">
                  <c:v>6.0658854310799306</c:v>
                </c:pt>
                <c:pt idx="12708">
                  <c:v>5.92431434971689</c:v>
                </c:pt>
                <c:pt idx="12709">
                  <c:v>6.9600979619186019</c:v>
                </c:pt>
                <c:pt idx="12710">
                  <c:v>6.0032700582475407</c:v>
                </c:pt>
                <c:pt idx="12711">
                  <c:v>6.0032907406223925</c:v>
                </c:pt>
                <c:pt idx="12712">
                  <c:v>5.981100064189766</c:v>
                </c:pt>
                <c:pt idx="12713">
                  <c:v>6.1168398569443081</c:v>
                </c:pt>
                <c:pt idx="12714">
                  <c:v>6.1409091196987982</c:v>
                </c:pt>
                <c:pt idx="12715">
                  <c:v>5.0956300513233641</c:v>
                </c:pt>
                <c:pt idx="12716">
                  <c:v>5.9069240284394722</c:v>
                </c:pt>
                <c:pt idx="12717">
                  <c:v>5.9178110068597336</c:v>
                </c:pt>
                <c:pt idx="12718">
                  <c:v>6.1184839803740774</c:v>
                </c:pt>
                <c:pt idx="12719">
                  <c:v>4.9602749504803603</c:v>
                </c:pt>
                <c:pt idx="12720">
                  <c:v>6.0513757172422222</c:v>
                </c:pt>
                <c:pt idx="12721">
                  <c:v>7.0095139871802559</c:v>
                </c:pt>
                <c:pt idx="12722">
                  <c:v>6.1212141911846141</c:v>
                </c:pt>
                <c:pt idx="12723">
                  <c:v>6.0434613865304279</c:v>
                </c:pt>
                <c:pt idx="12724">
                  <c:v>6.2425671952820636</c:v>
                </c:pt>
                <c:pt idx="12725">
                  <c:v>5.9933474644265274</c:v>
                </c:pt>
                <c:pt idx="12726">
                  <c:v>6.1564388002791191</c:v>
                </c:pt>
                <c:pt idx="12727">
                  <c:v>5.9765162997110437</c:v>
                </c:pt>
                <c:pt idx="12728">
                  <c:v>5.8855668449705689</c:v>
                </c:pt>
                <c:pt idx="12729">
                  <c:v>4.9642499126818933</c:v>
                </c:pt>
                <c:pt idx="12730">
                  <c:v>5.9558573667155343</c:v>
                </c:pt>
                <c:pt idx="12731">
                  <c:v>4.98092200326158</c:v>
                </c:pt>
                <c:pt idx="12732">
                  <c:v>5.966704583612791</c:v>
                </c:pt>
                <c:pt idx="12733">
                  <c:v>5.9901220799074322</c:v>
                </c:pt>
                <c:pt idx="12734">
                  <c:v>6.8212082305006057</c:v>
                </c:pt>
                <c:pt idx="12735">
                  <c:v>7.0856398215784262</c:v>
                </c:pt>
                <c:pt idx="12736">
                  <c:v>6.0785845575424737</c:v>
                </c:pt>
                <c:pt idx="12737">
                  <c:v>5.9205312248677311</c:v>
                </c:pt>
                <c:pt idx="12738">
                  <c:v>5.9144728955654369</c:v>
                </c:pt>
                <c:pt idx="12739">
                  <c:v>5.1557007073720289</c:v>
                </c:pt>
                <c:pt idx="12740">
                  <c:v>5.9381023629031215</c:v>
                </c:pt>
                <c:pt idx="12741">
                  <c:v>4.950810167906849</c:v>
                </c:pt>
                <c:pt idx="12742">
                  <c:v>5.0714360400085674</c:v>
                </c:pt>
                <c:pt idx="12743">
                  <c:v>7.0220584742693983</c:v>
                </c:pt>
                <c:pt idx="12744">
                  <c:v>6.9980034800454467</c:v>
                </c:pt>
                <c:pt idx="12745">
                  <c:v>6.02117315151611</c:v>
                </c:pt>
                <c:pt idx="12746">
                  <c:v>6.9796919597653488</c:v>
                </c:pt>
                <c:pt idx="12747">
                  <c:v>7.1336064069370462</c:v>
                </c:pt>
                <c:pt idx="12748">
                  <c:v>6.8884272099769541</c:v>
                </c:pt>
                <c:pt idx="12749">
                  <c:v>6.9515230876181731</c:v>
                </c:pt>
                <c:pt idx="12750">
                  <c:v>6.9698944480456761</c:v>
                </c:pt>
                <c:pt idx="12751">
                  <c:v>7.0686429074129187</c:v>
                </c:pt>
                <c:pt idx="12752">
                  <c:v>7.0092899210714075</c:v>
                </c:pt>
                <c:pt idx="12753">
                  <c:v>7.2744873771048759</c:v>
                </c:pt>
                <c:pt idx="12754">
                  <c:v>6.8842889263865077</c:v>
                </c:pt>
                <c:pt idx="12755">
                  <c:v>5.8529685288440945</c:v>
                </c:pt>
                <c:pt idx="12756">
                  <c:v>6.9517086587037884</c:v>
                </c:pt>
                <c:pt idx="12757">
                  <c:v>7.0469805339227705</c:v>
                </c:pt>
                <c:pt idx="12758">
                  <c:v>7.114554895741497</c:v>
                </c:pt>
                <c:pt idx="12759">
                  <c:v>5.8752798840788447</c:v>
                </c:pt>
                <c:pt idx="12760">
                  <c:v>6.0288352178063462</c:v>
                </c:pt>
                <c:pt idx="12761">
                  <c:v>5.9992018317878841</c:v>
                </c:pt>
                <c:pt idx="12762">
                  <c:v>6.0266974342793471</c:v>
                </c:pt>
                <c:pt idx="12763">
                  <c:v>5.9108510877631417</c:v>
                </c:pt>
                <c:pt idx="12764">
                  <c:v>5.9662823117987296</c:v>
                </c:pt>
                <c:pt idx="12765">
                  <c:v>6.0915908222989721</c:v>
                </c:pt>
                <c:pt idx="12766">
                  <c:v>6.9781544671389684</c:v>
                </c:pt>
                <c:pt idx="12767">
                  <c:v>6.1798004408642448</c:v>
                </c:pt>
                <c:pt idx="12768">
                  <c:v>6.0951969260187884</c:v>
                </c:pt>
                <c:pt idx="12769">
                  <c:v>7.1103645483307236</c:v>
                </c:pt>
                <c:pt idx="12770">
                  <c:v>7.0324330885037156</c:v>
                </c:pt>
                <c:pt idx="12771">
                  <c:v>7.0302636432224537</c:v>
                </c:pt>
                <c:pt idx="12772">
                  <c:v>6.0654251960924208</c:v>
                </c:pt>
                <c:pt idx="12773">
                  <c:v>6.0363187141294112</c:v>
                </c:pt>
                <c:pt idx="12774">
                  <c:v>6.1054469097795243</c:v>
                </c:pt>
                <c:pt idx="12775">
                  <c:v>6.031885339559107</c:v>
                </c:pt>
                <c:pt idx="12776">
                  <c:v>5.881049122110805</c:v>
                </c:pt>
                <c:pt idx="12777">
                  <c:v>5.8887265747529591</c:v>
                </c:pt>
                <c:pt idx="12778">
                  <c:v>6.0476084896886757</c:v>
                </c:pt>
                <c:pt idx="12779">
                  <c:v>5.8720614776830313</c:v>
                </c:pt>
                <c:pt idx="12780">
                  <c:v>5.9093272371334447</c:v>
                </c:pt>
                <c:pt idx="12781">
                  <c:v>6.1441252723004611</c:v>
                </c:pt>
                <c:pt idx="12782">
                  <c:v>6.1099758532925206</c:v>
                </c:pt>
                <c:pt idx="12783">
                  <c:v>2.0411116702457424</c:v>
                </c:pt>
                <c:pt idx="12784">
                  <c:v>6.0500886304544634</c:v>
                </c:pt>
                <c:pt idx="12785">
                  <c:v>5.1031398678356998</c:v>
                </c:pt>
                <c:pt idx="12786">
                  <c:v>5.9119358251722085</c:v>
                </c:pt>
                <c:pt idx="12787">
                  <c:v>6.1012497036310167</c:v>
                </c:pt>
                <c:pt idx="12788">
                  <c:v>6.146766909442662</c:v>
                </c:pt>
                <c:pt idx="12789">
                  <c:v>6.0630490178036327</c:v>
                </c:pt>
                <c:pt idx="12790">
                  <c:v>4.8321730625174446</c:v>
                </c:pt>
                <c:pt idx="12791">
                  <c:v>5.9218735974627235</c:v>
                </c:pt>
                <c:pt idx="12792">
                  <c:v>6.035662566220509</c:v>
                </c:pt>
                <c:pt idx="12793">
                  <c:v>6.0701931659291288</c:v>
                </c:pt>
                <c:pt idx="12794">
                  <c:v>3.848765604355096</c:v>
                </c:pt>
                <c:pt idx="12795">
                  <c:v>5.9207605191169348</c:v>
                </c:pt>
                <c:pt idx="12796">
                  <c:v>6.0903474920863312</c:v>
                </c:pt>
                <c:pt idx="12797">
                  <c:v>6.1782833384995621</c:v>
                </c:pt>
                <c:pt idx="12798">
                  <c:v>5.0775831112698349</c:v>
                </c:pt>
                <c:pt idx="12799">
                  <c:v>5.9886771101556491</c:v>
                </c:pt>
                <c:pt idx="12800">
                  <c:v>5.916032756320317</c:v>
                </c:pt>
                <c:pt idx="12801">
                  <c:v>5.8196259924563334</c:v>
                </c:pt>
                <c:pt idx="12802">
                  <c:v>4.7336306456651451</c:v>
                </c:pt>
                <c:pt idx="12803">
                  <c:v>5.0150009191970115</c:v>
                </c:pt>
                <c:pt idx="12804">
                  <c:v>6.0037259452576155</c:v>
                </c:pt>
                <c:pt idx="12805">
                  <c:v>6.0717146864960831</c:v>
                </c:pt>
                <c:pt idx="12806">
                  <c:v>6.0640871174890272</c:v>
                </c:pt>
                <c:pt idx="12807">
                  <c:v>5.9009567681430317</c:v>
                </c:pt>
                <c:pt idx="12808">
                  <c:v>6.113474328964176</c:v>
                </c:pt>
                <c:pt idx="12809">
                  <c:v>6.059356482717166</c:v>
                </c:pt>
                <c:pt idx="12810">
                  <c:v>4.9597903788854865</c:v>
                </c:pt>
                <c:pt idx="12811">
                  <c:v>7.0542394100695045</c:v>
                </c:pt>
                <c:pt idx="12812">
                  <c:v>6.9756497565842999</c:v>
                </c:pt>
                <c:pt idx="12813">
                  <c:v>5.8943201843005522</c:v>
                </c:pt>
                <c:pt idx="12814">
                  <c:v>6.1130375196960536</c:v>
                </c:pt>
                <c:pt idx="12815">
                  <c:v>5.8301192130626962</c:v>
                </c:pt>
                <c:pt idx="12816">
                  <c:v>5.9299282410733625</c:v>
                </c:pt>
                <c:pt idx="12817">
                  <c:v>5.9794995681696186</c:v>
                </c:pt>
                <c:pt idx="12818">
                  <c:v>4.9672367098364951</c:v>
                </c:pt>
                <c:pt idx="12819">
                  <c:v>4.8402973953555462</c:v>
                </c:pt>
                <c:pt idx="12820">
                  <c:v>6.9010292665158914</c:v>
                </c:pt>
                <c:pt idx="12821">
                  <c:v>7.187252563607017</c:v>
                </c:pt>
                <c:pt idx="12822">
                  <c:v>5.1838625322080354</c:v>
                </c:pt>
                <c:pt idx="12823">
                  <c:v>6.0296363449029027</c:v>
                </c:pt>
                <c:pt idx="12824">
                  <c:v>5.8895804175791104</c:v>
                </c:pt>
                <c:pt idx="12825">
                  <c:v>5.0055953629993528</c:v>
                </c:pt>
                <c:pt idx="12826">
                  <c:v>5.8522117981517594</c:v>
                </c:pt>
                <c:pt idx="12827">
                  <c:v>5.9213297481881702</c:v>
                </c:pt>
                <c:pt idx="12828">
                  <c:v>6.0800845024673125</c:v>
                </c:pt>
                <c:pt idx="12829">
                  <c:v>6.1530754789016111</c:v>
                </c:pt>
                <c:pt idx="12830">
                  <c:v>5.046865502258763</c:v>
                </c:pt>
                <c:pt idx="12831">
                  <c:v>4.8927468318458276</c:v>
                </c:pt>
                <c:pt idx="12832">
                  <c:v>5.8841455651724832</c:v>
                </c:pt>
                <c:pt idx="12833">
                  <c:v>5.9683086855502818</c:v>
                </c:pt>
                <c:pt idx="12834">
                  <c:v>4.9225428274064198</c:v>
                </c:pt>
                <c:pt idx="12835">
                  <c:v>6.9230837221116914</c:v>
                </c:pt>
                <c:pt idx="12836">
                  <c:v>6.9118515492166424</c:v>
                </c:pt>
                <c:pt idx="12837">
                  <c:v>5.011453051649486</c:v>
                </c:pt>
                <c:pt idx="12838">
                  <c:v>7.1143028644922497</c:v>
                </c:pt>
                <c:pt idx="12839">
                  <c:v>6.9710229135618507</c:v>
                </c:pt>
                <c:pt idx="12840">
                  <c:v>4.9145861357720184</c:v>
                </c:pt>
                <c:pt idx="12841">
                  <c:v>6.9803493692950926</c:v>
                </c:pt>
                <c:pt idx="12842">
                  <c:v>6.01408302337442</c:v>
                </c:pt>
                <c:pt idx="12843">
                  <c:v>6.1322008216394108</c:v>
                </c:pt>
                <c:pt idx="12844">
                  <c:v>5.0164811130104665</c:v>
                </c:pt>
                <c:pt idx="12845">
                  <c:v>7.0918289421444243</c:v>
                </c:pt>
                <c:pt idx="12846">
                  <c:v>4.9251359714067542</c:v>
                </c:pt>
                <c:pt idx="12847">
                  <c:v>5.9532978929206184</c:v>
                </c:pt>
                <c:pt idx="12848">
                  <c:v>5.9414113048041859</c:v>
                </c:pt>
                <c:pt idx="12849">
                  <c:v>5.9484167694495724</c:v>
                </c:pt>
                <c:pt idx="12850">
                  <c:v>5.8812269870491312</c:v>
                </c:pt>
                <c:pt idx="12851">
                  <c:v>5.8974517102901443</c:v>
                </c:pt>
                <c:pt idx="12852">
                  <c:v>5.9542420186868519</c:v>
                </c:pt>
                <c:pt idx="12853">
                  <c:v>6.0903906432201191</c:v>
                </c:pt>
                <c:pt idx="12854">
                  <c:v>4.0399411286139335</c:v>
                </c:pt>
                <c:pt idx="12855">
                  <c:v>2.9281401492276387</c:v>
                </c:pt>
                <c:pt idx="12856">
                  <c:v>5.8592813485686577</c:v>
                </c:pt>
                <c:pt idx="12857">
                  <c:v>5.9005240259403093</c:v>
                </c:pt>
                <c:pt idx="12858">
                  <c:v>5.0703922372214425</c:v>
                </c:pt>
                <c:pt idx="12859">
                  <c:v>5.9943096239866165</c:v>
                </c:pt>
                <c:pt idx="12860">
                  <c:v>4.848654815405018</c:v>
                </c:pt>
                <c:pt idx="12861">
                  <c:v>6.0361903690146894</c:v>
                </c:pt>
                <c:pt idx="12862">
                  <c:v>5.0569591387576889</c:v>
                </c:pt>
                <c:pt idx="12863">
                  <c:v>4.9498250788375149</c:v>
                </c:pt>
                <c:pt idx="12864">
                  <c:v>4.9537318561505641</c:v>
                </c:pt>
                <c:pt idx="12865">
                  <c:v>5.0885224554238899</c:v>
                </c:pt>
                <c:pt idx="12866">
                  <c:v>5.0121411079236875</c:v>
                </c:pt>
                <c:pt idx="12867">
                  <c:v>6.0287986045493147</c:v>
                </c:pt>
                <c:pt idx="12868">
                  <c:v>7.0615967741493613</c:v>
                </c:pt>
                <c:pt idx="12869">
                  <c:v>4.9523468243485915</c:v>
                </c:pt>
                <c:pt idx="12870">
                  <c:v>6.202174912958017</c:v>
                </c:pt>
                <c:pt idx="12871">
                  <c:v>5.9388729886422551</c:v>
                </c:pt>
                <c:pt idx="12872">
                  <c:v>5.8772094684034402</c:v>
                </c:pt>
                <c:pt idx="12873">
                  <c:v>5.0070822397337116</c:v>
                </c:pt>
                <c:pt idx="12874">
                  <c:v>5.0220208344001946</c:v>
                </c:pt>
                <c:pt idx="12875">
                  <c:v>5.0255280873532362</c:v>
                </c:pt>
                <c:pt idx="12876">
                  <c:v>5.9230622201616203</c:v>
                </c:pt>
                <c:pt idx="12877">
                  <c:v>5.0140521183150932</c:v>
                </c:pt>
                <c:pt idx="12878">
                  <c:v>5.9078344069212783</c:v>
                </c:pt>
                <c:pt idx="12879">
                  <c:v>5.869655159500315</c:v>
                </c:pt>
                <c:pt idx="12880">
                  <c:v>6.117287688056753</c:v>
                </c:pt>
                <c:pt idx="12881">
                  <c:v>9.0449240105679909</c:v>
                </c:pt>
                <c:pt idx="12882">
                  <c:v>6.0431729281061033</c:v>
                </c:pt>
                <c:pt idx="12883">
                  <c:v>3.9935901267655614</c:v>
                </c:pt>
                <c:pt idx="12884">
                  <c:v>5.7882856494349086</c:v>
                </c:pt>
                <c:pt idx="12885">
                  <c:v>7.1275211836454071</c:v>
                </c:pt>
                <c:pt idx="12886">
                  <c:v>7.0455750898627967</c:v>
                </c:pt>
                <c:pt idx="12887">
                  <c:v>5.9125098944978145</c:v>
                </c:pt>
                <c:pt idx="12888">
                  <c:v>5.8327997293939102</c:v>
                </c:pt>
                <c:pt idx="12889">
                  <c:v>4.8362247594034518</c:v>
                </c:pt>
                <c:pt idx="12890">
                  <c:v>7.0482565947881657</c:v>
                </c:pt>
                <c:pt idx="12891">
                  <c:v>6.0185297245985732</c:v>
                </c:pt>
                <c:pt idx="12892">
                  <c:v>4.9697718256937815</c:v>
                </c:pt>
                <c:pt idx="12893">
                  <c:v>5.924633671233682</c:v>
                </c:pt>
                <c:pt idx="12894">
                  <c:v>4.9982759934781011</c:v>
                </c:pt>
                <c:pt idx="12895">
                  <c:v>6.8496627549674853</c:v>
                </c:pt>
                <c:pt idx="12896">
                  <c:v>6.020840344412818</c:v>
                </c:pt>
                <c:pt idx="12897">
                  <c:v>6.0048891489217668</c:v>
                </c:pt>
                <c:pt idx="12898">
                  <c:v>5.8656442944021183</c:v>
                </c:pt>
                <c:pt idx="12899">
                  <c:v>6.169584686257358</c:v>
                </c:pt>
                <c:pt idx="12900">
                  <c:v>6.9834741262756133</c:v>
                </c:pt>
                <c:pt idx="12901">
                  <c:v>5.8570814867493066</c:v>
                </c:pt>
                <c:pt idx="12902">
                  <c:v>7.1567651859778261</c:v>
                </c:pt>
                <c:pt idx="12903">
                  <c:v>5.8355165490004328</c:v>
                </c:pt>
                <c:pt idx="12904">
                  <c:v>5.0584735644717336</c:v>
                </c:pt>
                <c:pt idx="12905">
                  <c:v>5.9972088128806931</c:v>
                </c:pt>
                <c:pt idx="12906">
                  <c:v>5.9737813719367576</c:v>
                </c:pt>
                <c:pt idx="12907">
                  <c:v>6.07639760007046</c:v>
                </c:pt>
                <c:pt idx="12908">
                  <c:v>6.024970998391491</c:v>
                </c:pt>
                <c:pt idx="12909">
                  <c:v>6.0519281752899268</c:v>
                </c:pt>
                <c:pt idx="12910">
                  <c:v>9.1281917455379293</c:v>
                </c:pt>
                <c:pt idx="12911">
                  <c:v>5.9099024977769039</c:v>
                </c:pt>
                <c:pt idx="12912">
                  <c:v>5.9806966056732351</c:v>
                </c:pt>
                <c:pt idx="12913">
                  <c:v>6.953299529223214</c:v>
                </c:pt>
                <c:pt idx="12914">
                  <c:v>4.9014291046749792</c:v>
                </c:pt>
                <c:pt idx="12915">
                  <c:v>6.9193499529556002</c:v>
                </c:pt>
                <c:pt idx="12916">
                  <c:v>3.906069628371001</c:v>
                </c:pt>
                <c:pt idx="12917">
                  <c:v>6.0784591530381773</c:v>
                </c:pt>
                <c:pt idx="12918">
                  <c:v>6.0837880070051771</c:v>
                </c:pt>
                <c:pt idx="12919">
                  <c:v>4.1652740031689621</c:v>
                </c:pt>
                <c:pt idx="12920">
                  <c:v>5.9541304270465556</c:v>
                </c:pt>
                <c:pt idx="12921">
                  <c:v>6.9595987621587616</c:v>
                </c:pt>
                <c:pt idx="12922">
                  <c:v>5.9890735066229954</c:v>
                </c:pt>
                <c:pt idx="12923">
                  <c:v>6.048981761237842</c:v>
                </c:pt>
                <c:pt idx="12924">
                  <c:v>6.1607698157626123</c:v>
                </c:pt>
                <c:pt idx="12925">
                  <c:v>6.9399283065298212</c:v>
                </c:pt>
                <c:pt idx="12926">
                  <c:v>7.0185448643518589</c:v>
                </c:pt>
                <c:pt idx="12927">
                  <c:v>6.0300636961778862</c:v>
                </c:pt>
                <c:pt idx="12928">
                  <c:v>7.8899505866676813</c:v>
                </c:pt>
                <c:pt idx="12929">
                  <c:v>4.2873586785438365</c:v>
                </c:pt>
                <c:pt idx="12930">
                  <c:v>4.065252983590228</c:v>
                </c:pt>
                <c:pt idx="12931">
                  <c:v>3.9368257098590198</c:v>
                </c:pt>
                <c:pt idx="12932">
                  <c:v>6.1627363326608551</c:v>
                </c:pt>
                <c:pt idx="12933">
                  <c:v>3.9721912786418181</c:v>
                </c:pt>
                <c:pt idx="12934">
                  <c:v>6.9655497501138912</c:v>
                </c:pt>
                <c:pt idx="12935">
                  <c:v>7.0754733171881528</c:v>
                </c:pt>
                <c:pt idx="12936">
                  <c:v>6.9442828129696146</c:v>
                </c:pt>
                <c:pt idx="12937">
                  <c:v>4.1307914303332467</c:v>
                </c:pt>
                <c:pt idx="12938">
                  <c:v>3.8769352766369987</c:v>
                </c:pt>
                <c:pt idx="12939">
                  <c:v>5.9160122312229797</c:v>
                </c:pt>
                <c:pt idx="12940">
                  <c:v>5.9684764299769837</c:v>
                </c:pt>
                <c:pt idx="12941">
                  <c:v>6.2418958711224874</c:v>
                </c:pt>
                <c:pt idx="12942">
                  <c:v>7.0363719865584304</c:v>
                </c:pt>
                <c:pt idx="12943">
                  <c:v>4.8728133585746898</c:v>
                </c:pt>
                <c:pt idx="12944">
                  <c:v>5.9983861347653802</c:v>
                </c:pt>
                <c:pt idx="12945">
                  <c:v>6.8327938134362585</c:v>
                </c:pt>
                <c:pt idx="12946">
                  <c:v>2.0604309912966232</c:v>
                </c:pt>
                <c:pt idx="12947">
                  <c:v>5.9846071204397076</c:v>
                </c:pt>
                <c:pt idx="12948">
                  <c:v>4.871791124196009</c:v>
                </c:pt>
                <c:pt idx="12949">
                  <c:v>7.0529706404731876</c:v>
                </c:pt>
                <c:pt idx="12950">
                  <c:v>4.9575750999648243</c:v>
                </c:pt>
                <c:pt idx="12951">
                  <c:v>6.8713571806149067</c:v>
                </c:pt>
                <c:pt idx="12952">
                  <c:v>4.9039528379740984</c:v>
                </c:pt>
                <c:pt idx="12953">
                  <c:v>5.9690903463969223</c:v>
                </c:pt>
                <c:pt idx="12954">
                  <c:v>6.0168537813891332</c:v>
                </c:pt>
                <c:pt idx="12955">
                  <c:v>5.155317282117899</c:v>
                </c:pt>
                <c:pt idx="12956">
                  <c:v>4.9674628114884403</c:v>
                </c:pt>
                <c:pt idx="12957">
                  <c:v>5.938870155672606</c:v>
                </c:pt>
                <c:pt idx="12958">
                  <c:v>6.112416801626793</c:v>
                </c:pt>
                <c:pt idx="12959">
                  <c:v>4.932060235210753</c:v>
                </c:pt>
                <c:pt idx="12960">
                  <c:v>5.9749051794587</c:v>
                </c:pt>
                <c:pt idx="12961">
                  <c:v>5.1197759576353947</c:v>
                </c:pt>
                <c:pt idx="12962">
                  <c:v>6.0848947055077138</c:v>
                </c:pt>
                <c:pt idx="12963">
                  <c:v>7.1480641456314853</c:v>
                </c:pt>
                <c:pt idx="12964">
                  <c:v>5.0084232931765706</c:v>
                </c:pt>
                <c:pt idx="12965">
                  <c:v>5.9531802356159442</c:v>
                </c:pt>
                <c:pt idx="12966">
                  <c:v>4.9026826210676244</c:v>
                </c:pt>
                <c:pt idx="12967">
                  <c:v>4.8775003674406792</c:v>
                </c:pt>
                <c:pt idx="12968">
                  <c:v>4.8914703400706658</c:v>
                </c:pt>
                <c:pt idx="12969">
                  <c:v>5.8352450960807056</c:v>
                </c:pt>
                <c:pt idx="12970">
                  <c:v>4.8569313905935472</c:v>
                </c:pt>
                <c:pt idx="12971">
                  <c:v>6.8667943129736058</c:v>
                </c:pt>
                <c:pt idx="12972">
                  <c:v>5.7745955707604768</c:v>
                </c:pt>
                <c:pt idx="12973">
                  <c:v>6.1451751837600934</c:v>
                </c:pt>
                <c:pt idx="12974">
                  <c:v>4.9098740438195341</c:v>
                </c:pt>
                <c:pt idx="12975">
                  <c:v>3.0422621697778602</c:v>
                </c:pt>
                <c:pt idx="12976">
                  <c:v>6.035026644441893</c:v>
                </c:pt>
                <c:pt idx="12977">
                  <c:v>6.2475244359270503</c:v>
                </c:pt>
                <c:pt idx="12978">
                  <c:v>3.9391700489101233</c:v>
                </c:pt>
                <c:pt idx="12979">
                  <c:v>5.9169982514809227</c:v>
                </c:pt>
                <c:pt idx="12980">
                  <c:v>5.0041016928918722</c:v>
                </c:pt>
                <c:pt idx="12981">
                  <c:v>6.0887817035994996</c:v>
                </c:pt>
                <c:pt idx="12982">
                  <c:v>4.0656279740641192</c:v>
                </c:pt>
                <c:pt idx="12983">
                  <c:v>6.0434743878365538</c:v>
                </c:pt>
                <c:pt idx="12984">
                  <c:v>3.9141584293681775</c:v>
                </c:pt>
                <c:pt idx="12985">
                  <c:v>6.0913195486303371</c:v>
                </c:pt>
                <c:pt idx="12986">
                  <c:v>5.0464105285868373</c:v>
                </c:pt>
                <c:pt idx="12987">
                  <c:v>4.8756253165323171</c:v>
                </c:pt>
                <c:pt idx="12988">
                  <c:v>5.0111739994273305</c:v>
                </c:pt>
                <c:pt idx="12989">
                  <c:v>4.9883825313343229</c:v>
                </c:pt>
                <c:pt idx="12990">
                  <c:v>4.9849135260101347</c:v>
                </c:pt>
                <c:pt idx="12991">
                  <c:v>5.904504475267963</c:v>
                </c:pt>
                <c:pt idx="12992">
                  <c:v>4.817727909677445</c:v>
                </c:pt>
                <c:pt idx="12993">
                  <c:v>4.0694466899976449</c:v>
                </c:pt>
                <c:pt idx="12994">
                  <c:v>5.2487266069455547</c:v>
                </c:pt>
                <c:pt idx="12995">
                  <c:v>5.9067674445390042</c:v>
                </c:pt>
                <c:pt idx="12996">
                  <c:v>5.8797901067857365</c:v>
                </c:pt>
                <c:pt idx="12997">
                  <c:v>6.9235097227302438</c:v>
                </c:pt>
                <c:pt idx="12998">
                  <c:v>6.9563374959010575</c:v>
                </c:pt>
                <c:pt idx="12999">
                  <c:v>3.1337168436135756</c:v>
                </c:pt>
                <c:pt idx="13000">
                  <c:v>4.2744983259940392</c:v>
                </c:pt>
                <c:pt idx="13001">
                  <c:v>6.9613608845628612</c:v>
                </c:pt>
                <c:pt idx="13002">
                  <c:v>3.9727720120926984</c:v>
                </c:pt>
                <c:pt idx="13003">
                  <c:v>2.9999366087733077</c:v>
                </c:pt>
                <c:pt idx="13004">
                  <c:v>6.1616665215075042</c:v>
                </c:pt>
                <c:pt idx="13005">
                  <c:v>5.0133699362281199</c:v>
                </c:pt>
                <c:pt idx="13006">
                  <c:v>6.0060055172056135</c:v>
                </c:pt>
                <c:pt idx="13007">
                  <c:v>5.9110886086289449</c:v>
                </c:pt>
                <c:pt idx="13008">
                  <c:v>7.1240769936327784</c:v>
                </c:pt>
                <c:pt idx="13009">
                  <c:v>7.0338911636757953</c:v>
                </c:pt>
                <c:pt idx="13010">
                  <c:v>5.9151217530753843</c:v>
                </c:pt>
                <c:pt idx="13011">
                  <c:v>6.9114050632545467</c:v>
                </c:pt>
                <c:pt idx="13012">
                  <c:v>5.0776697392168568</c:v>
                </c:pt>
                <c:pt idx="13013">
                  <c:v>5.954949220048487</c:v>
                </c:pt>
                <c:pt idx="13014">
                  <c:v>5.8838756240795638</c:v>
                </c:pt>
                <c:pt idx="13015">
                  <c:v>5.0233410703068042</c:v>
                </c:pt>
                <c:pt idx="13016">
                  <c:v>7.9305516023115121</c:v>
                </c:pt>
                <c:pt idx="13017">
                  <c:v>5.0346771964621535</c:v>
                </c:pt>
                <c:pt idx="13018">
                  <c:v>6.1397204856747392</c:v>
                </c:pt>
                <c:pt idx="13019">
                  <c:v>7.1035798748719383</c:v>
                </c:pt>
                <c:pt idx="13020">
                  <c:v>5.9987052763483595</c:v>
                </c:pt>
                <c:pt idx="13021">
                  <c:v>7.0356393132613197</c:v>
                </c:pt>
                <c:pt idx="13022">
                  <c:v>2.9877402415856777</c:v>
                </c:pt>
                <c:pt idx="13023">
                  <c:v>2.9927817229751934</c:v>
                </c:pt>
                <c:pt idx="13024">
                  <c:v>6.0678893115153612</c:v>
                </c:pt>
                <c:pt idx="13025">
                  <c:v>3.0311397522508257</c:v>
                </c:pt>
                <c:pt idx="13026">
                  <c:v>5.0526035713069763</c:v>
                </c:pt>
                <c:pt idx="13027">
                  <c:v>5.0592100019276334</c:v>
                </c:pt>
                <c:pt idx="13028">
                  <c:v>6.0521412545019437</c:v>
                </c:pt>
                <c:pt idx="13029">
                  <c:v>7.0359304813654333</c:v>
                </c:pt>
                <c:pt idx="13030">
                  <c:v>4.8637341774992606</c:v>
                </c:pt>
                <c:pt idx="13031">
                  <c:v>7.0173994333300627</c:v>
                </c:pt>
                <c:pt idx="13032">
                  <c:v>3.0058190361483166</c:v>
                </c:pt>
                <c:pt idx="13033">
                  <c:v>4.9257655810675098</c:v>
                </c:pt>
                <c:pt idx="13034">
                  <c:v>6.0427861907019995</c:v>
                </c:pt>
                <c:pt idx="13035">
                  <c:v>6.9478215303365358</c:v>
                </c:pt>
                <c:pt idx="13036">
                  <c:v>5.1848036842148844</c:v>
                </c:pt>
                <c:pt idx="13037">
                  <c:v>2.0297000293494101</c:v>
                </c:pt>
                <c:pt idx="13038">
                  <c:v>4.9698589347474158</c:v>
                </c:pt>
                <c:pt idx="13039">
                  <c:v>6.0272936135539048</c:v>
                </c:pt>
                <c:pt idx="13040">
                  <c:v>8.02833359353113</c:v>
                </c:pt>
                <c:pt idx="13041">
                  <c:v>8.0289330266707637</c:v>
                </c:pt>
                <c:pt idx="13042">
                  <c:v>8.096038379773308</c:v>
                </c:pt>
                <c:pt idx="13043">
                  <c:v>8.0226374381105572</c:v>
                </c:pt>
                <c:pt idx="13044">
                  <c:v>7.9791864977780858</c:v>
                </c:pt>
                <c:pt idx="13045">
                  <c:v>5.9720061969252702</c:v>
                </c:pt>
                <c:pt idx="13046">
                  <c:v>6.0786666265607812</c:v>
                </c:pt>
                <c:pt idx="13047">
                  <c:v>5.9519201935610866</c:v>
                </c:pt>
                <c:pt idx="13048">
                  <c:v>5.9159762710620978</c:v>
                </c:pt>
                <c:pt idx="13049">
                  <c:v>7.115247403510315</c:v>
                </c:pt>
                <c:pt idx="13050">
                  <c:v>6.8952952268375061</c:v>
                </c:pt>
                <c:pt idx="13051">
                  <c:v>7.0222937623964867</c:v>
                </c:pt>
                <c:pt idx="13052">
                  <c:v>6.1639082769587787</c:v>
                </c:pt>
                <c:pt idx="13053">
                  <c:v>6.8913050406479277</c:v>
                </c:pt>
                <c:pt idx="13054">
                  <c:v>7.02197325591123</c:v>
                </c:pt>
                <c:pt idx="13055">
                  <c:v>3.9967825833492965</c:v>
                </c:pt>
                <c:pt idx="13056">
                  <c:v>5.0175739963299746</c:v>
                </c:pt>
                <c:pt idx="13057">
                  <c:v>3.8771865793336775</c:v>
                </c:pt>
                <c:pt idx="13058">
                  <c:v>5.9559768048808763</c:v>
                </c:pt>
                <c:pt idx="13059">
                  <c:v>5.9036136368231276</c:v>
                </c:pt>
                <c:pt idx="13060">
                  <c:v>7.0531412311597075</c:v>
                </c:pt>
                <c:pt idx="13061">
                  <c:v>6.8906431080914992</c:v>
                </c:pt>
                <c:pt idx="13062">
                  <c:v>5.9738345966711464</c:v>
                </c:pt>
                <c:pt idx="13063">
                  <c:v>4.9417148419643429</c:v>
                </c:pt>
                <c:pt idx="13064">
                  <c:v>7.077049533041758</c:v>
                </c:pt>
                <c:pt idx="13065">
                  <c:v>3.9639264590526837</c:v>
                </c:pt>
                <c:pt idx="13066">
                  <c:v>6.9211564355071209</c:v>
                </c:pt>
                <c:pt idx="13067">
                  <c:v>4.9732353419603044</c:v>
                </c:pt>
                <c:pt idx="13068">
                  <c:v>5.0025083250848965</c:v>
                </c:pt>
                <c:pt idx="13069">
                  <c:v>7.0969143951824121</c:v>
                </c:pt>
                <c:pt idx="13070">
                  <c:v>4.8692088612812876</c:v>
                </c:pt>
                <c:pt idx="13071">
                  <c:v>5.1043530288091565</c:v>
                </c:pt>
                <c:pt idx="13072">
                  <c:v>5.0276593994277974</c:v>
                </c:pt>
                <c:pt idx="13073">
                  <c:v>6.9371997964985752</c:v>
                </c:pt>
                <c:pt idx="13074">
                  <c:v>4.9676769299709163</c:v>
                </c:pt>
                <c:pt idx="13075">
                  <c:v>7.0383912737638612</c:v>
                </c:pt>
                <c:pt idx="13076">
                  <c:v>7.0059404557840601</c:v>
                </c:pt>
                <c:pt idx="13077">
                  <c:v>3.9667851694152656</c:v>
                </c:pt>
                <c:pt idx="13078">
                  <c:v>7.9598965873155487</c:v>
                </c:pt>
                <c:pt idx="13079">
                  <c:v>6.9151993678374861</c:v>
                </c:pt>
                <c:pt idx="13080">
                  <c:v>4.0978510674826119</c:v>
                </c:pt>
              </c:numCache>
            </c:numRef>
          </c:yVal>
          <c:smooth val="0"/>
          <c:extLst>
            <c:ext xmlns:c16="http://schemas.microsoft.com/office/drawing/2014/chart" uri="{C3380CC4-5D6E-409C-BE32-E72D297353CC}">
              <c16:uniqueId val="{00000007-CB98-46CC-B7E4-0466270B0873}"/>
            </c:ext>
          </c:extLst>
        </c:ser>
        <c:ser>
          <c:idx val="4"/>
          <c:order val="8"/>
          <c:tx>
            <c:strRef>
              <c:f>'power_generator-2024-09-23T (2)'!$Q$1</c:f>
              <c:strCache>
                <c:ptCount val="1"/>
                <c:pt idx="0">
                  <c:v>Median for IA Executed Projects</c:v>
                </c:pt>
              </c:strCache>
            </c:strRef>
          </c:tx>
          <c:spPr>
            <a:ln w="25400" cap="rnd">
              <a:noFill/>
              <a:round/>
            </a:ln>
            <a:effectLst/>
          </c:spPr>
          <c:marker>
            <c:symbol val="dash"/>
            <c:size val="25"/>
            <c:spPr>
              <a:solidFill>
                <a:schemeClr val="tx1"/>
              </a:solidFill>
              <a:ln w="9525">
                <a:solidFill>
                  <a:schemeClr val="bg1"/>
                </a:solidFill>
              </a:ln>
              <a:effectLst/>
            </c:spPr>
          </c:marker>
          <c:dLbls>
            <c:dLbl>
              <c:idx val="0"/>
              <c:layout>
                <c:manualLayout>
                  <c:x val="-4.9056094401631042E-2"/>
                  <c:y val="-2.9581149025389462E-2"/>
                </c:manualLayout>
              </c:layout>
              <c:tx>
                <c:rich>
                  <a:bodyPr/>
                  <a:lstStyle/>
                  <a:p>
                    <a:r>
                      <a:rPr lang="en-US" dirty="0">
                        <a:solidFill>
                          <a:schemeClr val="tx1"/>
                        </a:solidFill>
                      </a:rPr>
                      <a:t>4.6 yrs</a:t>
                    </a: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CB98-46CC-B7E4-0466270B0873}"/>
                </c:ext>
              </c:extLst>
            </c:dLbl>
            <c:dLbl>
              <c:idx val="1"/>
              <c:layout>
                <c:manualLayout>
                  <c:x val="-5.0408059157719572E-2"/>
                  <c:y val="-3.215062554614026E-2"/>
                </c:manualLayout>
              </c:layout>
              <c:tx>
                <c:rich>
                  <a:bodyPr/>
                  <a:lstStyle/>
                  <a:p>
                    <a:r>
                      <a:rPr lang="en-US">
                        <a:solidFill>
                          <a:schemeClr val="tx1"/>
                        </a:solidFill>
                      </a:rPr>
                      <a:t>4.9 yrs</a:t>
                    </a:r>
                    <a:endParaRPr lang="en-US" dirty="0">
                      <a:solidFill>
                        <a:schemeClr val="tx1"/>
                      </a:solidFill>
                    </a:endParaRP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CB98-46CC-B7E4-0466270B0873}"/>
                </c:ext>
              </c:extLst>
            </c:dLbl>
            <c:dLbl>
              <c:idx val="2"/>
              <c:layout>
                <c:manualLayout>
                  <c:x val="-4.8792408047234934E-2"/>
                  <c:y val="-3.2150625546140212E-2"/>
                </c:manualLayout>
              </c:layout>
              <c:tx>
                <c:rich>
                  <a:bodyPr/>
                  <a:lstStyle/>
                  <a:p>
                    <a:r>
                      <a:rPr lang="en-US">
                        <a:solidFill>
                          <a:schemeClr val="tx1"/>
                        </a:solidFill>
                      </a:rPr>
                      <a:t>5.4</a:t>
                    </a:r>
                    <a:r>
                      <a:rPr lang="en-US" baseline="0">
                        <a:solidFill>
                          <a:schemeClr val="tx1"/>
                        </a:solidFill>
                      </a:rPr>
                      <a:t> yrs</a:t>
                    </a:r>
                    <a:endParaRPr lang="en-US" dirty="0">
                      <a:solidFill>
                        <a:schemeClr val="tx1"/>
                      </a:solidFill>
                    </a:endParaRP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CB98-46CC-B7E4-0466270B0873}"/>
                </c:ext>
              </c:extLst>
            </c:dLbl>
            <c:dLbl>
              <c:idx val="3"/>
              <c:layout>
                <c:manualLayout>
                  <c:x val="-4.8792408047234878E-2"/>
                  <c:y val="-3.2150625546140212E-2"/>
                </c:manualLayout>
              </c:layout>
              <c:tx>
                <c:rich>
                  <a:bodyPr/>
                  <a:lstStyle/>
                  <a:p>
                    <a:r>
                      <a:rPr lang="en-US"/>
                      <a:t>5.4 yrs</a:t>
                    </a:r>
                    <a:endParaRPr lang="en-US" dirty="0"/>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CB98-46CC-B7E4-0466270B0873}"/>
                </c:ext>
              </c:extLst>
            </c:dLbl>
            <c:dLbl>
              <c:idx val="4"/>
              <c:layout>
                <c:manualLayout>
                  <c:x val="-4.8623465679682717E-2"/>
                  <c:y val="-3.2150625546140309E-2"/>
                </c:manualLayout>
              </c:layout>
              <c:tx>
                <c:rich>
                  <a:bodyPr/>
                  <a:lstStyle/>
                  <a:p>
                    <a:r>
                      <a:rPr lang="en-US"/>
                      <a:t>5.5 yrs</a:t>
                    </a:r>
                    <a:endParaRPr lang="en-US" dirty="0"/>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CB98-46CC-B7E4-0466270B0873}"/>
                </c:ext>
              </c:extLst>
            </c:dLbl>
            <c:dLbl>
              <c:idx val="5"/>
              <c:layout>
                <c:manualLayout>
                  <c:x val="-4.7744156318636162E-2"/>
                  <c:y val="-3.1054248123624503E-2"/>
                </c:manualLayout>
              </c:layout>
              <c:tx>
                <c:rich>
                  <a:bodyPr/>
                  <a:lstStyle/>
                  <a:p>
                    <a:r>
                      <a:rPr lang="en-US" b="1">
                        <a:solidFill>
                          <a:schemeClr val="tx1"/>
                        </a:solidFill>
                      </a:rPr>
                      <a:t>6.8 yrs</a:t>
                    </a:r>
                    <a:endParaRPr lang="en-US" b="1" dirty="0">
                      <a:solidFill>
                        <a:schemeClr val="tx1"/>
                      </a:solidFill>
                    </a:endParaRP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CB98-46CC-B7E4-0466270B0873}"/>
                </c:ext>
              </c:extLst>
            </c:dLbl>
            <c:dLbl>
              <c:idx val="6"/>
              <c:layout>
                <c:manualLayout>
                  <c:x val="-4.9850347082353703E-2"/>
                  <c:y val="-2.9581149025389556E-2"/>
                </c:manualLayout>
              </c:layout>
              <c:tx>
                <c:rich>
                  <a:bodyPr/>
                  <a:lstStyle/>
                  <a:p>
                    <a:r>
                      <a:rPr lang="en-US"/>
                      <a:t>7.6 yrs</a:t>
                    </a:r>
                    <a:endParaRPr lang="en-US" dirty="0"/>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CB98-46CC-B7E4-0466270B0873}"/>
                </c:ext>
              </c:extLst>
            </c:dLbl>
            <c:dLbl>
              <c:idx val="7"/>
              <c:layout>
                <c:manualLayout>
                  <c:x val="-4.6382610709945434E-2"/>
                  <c:y val="-3.2150625546140399E-2"/>
                </c:manualLayout>
              </c:layout>
              <c:tx>
                <c:rich>
                  <a:bodyPr/>
                  <a:lstStyle/>
                  <a:p>
                    <a:r>
                      <a:rPr lang="en-US"/>
                      <a:t>8.6 yrs</a:t>
                    </a:r>
                    <a:endParaRPr lang="en-US" dirty="0"/>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CB98-46CC-B7E4-0466270B0873}"/>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effectLst>
                      <a:glow rad="127000">
                        <a:schemeClr val="bg1"/>
                      </a:glow>
                    </a:effectLst>
                    <a:latin typeface="Manrope"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power_generator-2024-09-23T (2)'!$Q$2:$Q$9</c:f>
              <c:numCache>
                <c:formatCode>0.0</c:formatCode>
                <c:ptCount val="8"/>
                <c:pt idx="0">
                  <c:v>4.5972602739726032</c:v>
                </c:pt>
                <c:pt idx="1">
                  <c:v>4.9479452054794519</c:v>
                </c:pt>
                <c:pt idx="2">
                  <c:v>5.4465753424657537</c:v>
                </c:pt>
                <c:pt idx="3">
                  <c:v>5.4328767123287669</c:v>
                </c:pt>
                <c:pt idx="4">
                  <c:v>5.4712328767123291</c:v>
                </c:pt>
                <c:pt idx="5">
                  <c:v>6.8465753424657532</c:v>
                </c:pt>
                <c:pt idx="6">
                  <c:v>7.5753424657534243</c:v>
                </c:pt>
                <c:pt idx="7">
                  <c:v>8.5684931506849313</c:v>
                </c:pt>
              </c:numCache>
            </c:numRef>
          </c:xVal>
          <c:yVal>
            <c:numRef>
              <c:f>'power_generator-2024-09-23T (2)'!$P$2:$P$9</c:f>
              <c:numCache>
                <c:formatCode>General</c:formatCode>
                <c:ptCount val="8"/>
                <c:pt idx="0">
                  <c:v>2</c:v>
                </c:pt>
                <c:pt idx="1">
                  <c:v>3</c:v>
                </c:pt>
                <c:pt idx="2">
                  <c:v>4</c:v>
                </c:pt>
                <c:pt idx="3">
                  <c:v>5</c:v>
                </c:pt>
                <c:pt idx="4">
                  <c:v>6</c:v>
                </c:pt>
                <c:pt idx="5">
                  <c:v>7</c:v>
                </c:pt>
                <c:pt idx="6">
                  <c:v>8</c:v>
                </c:pt>
                <c:pt idx="7">
                  <c:v>9</c:v>
                </c:pt>
              </c:numCache>
            </c:numRef>
          </c:yVal>
          <c:smooth val="0"/>
          <c:extLst>
            <c:ext xmlns:c16="http://schemas.microsoft.com/office/drawing/2014/chart" uri="{C3380CC4-5D6E-409C-BE32-E72D297353CC}">
              <c16:uniqueId val="{00000010-CB98-46CC-B7E4-0466270B0873}"/>
            </c:ext>
          </c:extLst>
        </c:ser>
        <c:dLbls>
          <c:showLegendKey val="0"/>
          <c:showVal val="0"/>
          <c:showCatName val="0"/>
          <c:showSerName val="0"/>
          <c:showPercent val="0"/>
          <c:showBubbleSize val="0"/>
        </c:dLbls>
        <c:axId val="1179124944"/>
        <c:axId val="1179120144"/>
      </c:scatterChart>
      <c:valAx>
        <c:axId val="1179124944"/>
        <c:scaling>
          <c:orientation val="minMax"/>
          <c:max val="16"/>
          <c:min val="0"/>
        </c:scaling>
        <c:delete val="0"/>
        <c:axPos val="t"/>
        <c:numFmt formatCode="0.00" sourceLinked="1"/>
        <c:majorTickMark val="out"/>
        <c:minorTickMark val="none"/>
        <c:tickLblPos val="low"/>
        <c:spPr>
          <a:noFill/>
          <a:ln w="9525" cap="flat" cmpd="sng" algn="ctr">
            <a:solidFill>
              <a:schemeClr val="bg1">
                <a:lumMod val="50000"/>
              </a:schemeClr>
            </a:solidFill>
            <a:round/>
          </a:ln>
          <a:effectLst/>
        </c:spPr>
        <c:txPr>
          <a:bodyPr rot="-60000000" spcFirstLastPara="1" vertOverflow="ellipsis" vert="horz" wrap="square" anchor="ctr" anchorCtr="1"/>
          <a:lstStyle/>
          <a:p>
            <a:pPr>
              <a:defRPr sz="900" b="0" i="0" u="none" strike="noStrike" kern="1200" baseline="0">
                <a:solidFill>
                  <a:schemeClr val="bg1">
                    <a:lumMod val="50000"/>
                    <a:alpha val="0"/>
                  </a:schemeClr>
                </a:solidFill>
                <a:latin typeface="Manrope" pitchFamily="2" charset="0"/>
                <a:ea typeface="+mn-ea"/>
                <a:cs typeface="+mn-cs"/>
              </a:defRPr>
            </a:pPr>
            <a:endParaRPr lang="en-US"/>
          </a:p>
        </c:txPr>
        <c:crossAx val="1179120144"/>
        <c:crosses val="autoZero"/>
        <c:crossBetween val="midCat"/>
        <c:majorUnit val="4"/>
      </c:valAx>
      <c:valAx>
        <c:axId val="1179120144"/>
        <c:scaling>
          <c:orientation val="maxMin"/>
        </c:scaling>
        <c:delete val="0"/>
        <c:axPos val="l"/>
        <c:numFmt formatCode="0" sourceLinked="0"/>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anrope" pitchFamily="2" charset="0"/>
                <a:ea typeface="+mn-ea"/>
                <a:cs typeface="+mn-cs"/>
              </a:defRPr>
            </a:pPr>
            <a:endParaRPr lang="en-US"/>
          </a:p>
        </c:txPr>
        <c:crossAx val="11791249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alpha val="80000"/>
      </a:schemeClr>
    </a:solidFill>
    <a:ln w="9525" cap="flat" cmpd="sng" algn="ctr">
      <a:noFill/>
      <a:round/>
    </a:ln>
    <a:effectLst/>
  </c:spPr>
  <c:txPr>
    <a:bodyPr/>
    <a:lstStyle/>
    <a:p>
      <a:pPr>
        <a:defRPr>
          <a:solidFill>
            <a:sysClr val="windowText" lastClr="000000"/>
          </a:solidFill>
          <a:latin typeface="Manrope" pitchFamily="2" charset="0"/>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Low Demand</c:v>
                </c:pt>
              </c:strCache>
            </c:strRef>
          </c:tx>
          <c:spPr>
            <a:ln w="28575" cap="rnd">
              <a:solidFill>
                <a:schemeClr val="accent3"/>
              </a:solidFill>
              <a:round/>
            </a:ln>
            <a:effectLst/>
          </c:spPr>
          <c:marker>
            <c:symbol val="none"/>
          </c:marker>
          <c:cat>
            <c:numRef>
              <c:f>Sheet1!$A$2:$A$17</c:f>
              <c:numCache>
                <c:formatCode>General</c:formatCode>
                <c:ptCount val="16"/>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numCache>
            </c:numRef>
          </c:cat>
          <c:val>
            <c:numRef>
              <c:f>Sheet1!$B$2:$B$17</c:f>
              <c:numCache>
                <c:formatCode>"$"#,##0</c:formatCode>
                <c:ptCount val="16"/>
                <c:pt idx="0">
                  <c:v>10.371494891726117</c:v>
                </c:pt>
                <c:pt idx="1">
                  <c:v>8.8539750085004307</c:v>
                </c:pt>
                <c:pt idx="2">
                  <c:v>8.515819455227998</c:v>
                </c:pt>
                <c:pt idx="3">
                  <c:v>6.7949375036261346</c:v>
                </c:pt>
                <c:pt idx="4">
                  <c:v>6.9471187727501018</c:v>
                </c:pt>
                <c:pt idx="5">
                  <c:v>7.6416487165850926</c:v>
                </c:pt>
                <c:pt idx="6">
                  <c:v>7.5883115653660633</c:v>
                </c:pt>
                <c:pt idx="7">
                  <c:v>6.9160336409611718</c:v>
                </c:pt>
                <c:pt idx="8">
                  <c:v>6.8198381561867762</c:v>
                </c:pt>
                <c:pt idx="9">
                  <c:v>7.2878513954791835</c:v>
                </c:pt>
                <c:pt idx="10">
                  <c:v>7.8042105196787803</c:v>
                </c:pt>
                <c:pt idx="11">
                  <c:v>7.0877190722140897</c:v>
                </c:pt>
                <c:pt idx="12">
                  <c:v>7.1205865236908972</c:v>
                </c:pt>
                <c:pt idx="13">
                  <c:v>7.7150791302849724</c:v>
                </c:pt>
                <c:pt idx="14">
                  <c:v>8.5288907699739731</c:v>
                </c:pt>
                <c:pt idx="15">
                  <c:v>7.5742229054089885</c:v>
                </c:pt>
              </c:numCache>
            </c:numRef>
          </c:val>
          <c:smooth val="0"/>
          <c:extLst>
            <c:ext xmlns:c16="http://schemas.microsoft.com/office/drawing/2014/chart" uri="{C3380CC4-5D6E-409C-BE32-E72D297353CC}">
              <c16:uniqueId val="{00000000-258A-4594-B973-E5D314115D0B}"/>
            </c:ext>
          </c:extLst>
        </c:ser>
        <c:ser>
          <c:idx val="1"/>
          <c:order val="1"/>
          <c:tx>
            <c:strRef>
              <c:f>Sheet1!$C$1</c:f>
              <c:strCache>
                <c:ptCount val="1"/>
                <c:pt idx="0">
                  <c:v>Base</c:v>
                </c:pt>
              </c:strCache>
            </c:strRef>
          </c:tx>
          <c:spPr>
            <a:ln w="28575" cap="rnd">
              <a:solidFill>
                <a:schemeClr val="accent2"/>
              </a:solidFill>
              <a:round/>
            </a:ln>
            <a:effectLst/>
          </c:spPr>
          <c:marker>
            <c:symbol val="none"/>
          </c:marker>
          <c:cat>
            <c:numRef>
              <c:f>Sheet1!$A$2:$A$17</c:f>
              <c:numCache>
                <c:formatCode>General</c:formatCode>
                <c:ptCount val="16"/>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numCache>
            </c:numRef>
          </c:cat>
          <c:val>
            <c:numRef>
              <c:f>Sheet1!$C$2:$C$17</c:f>
              <c:numCache>
                <c:formatCode>"$"#,##0</c:formatCode>
                <c:ptCount val="16"/>
                <c:pt idx="0">
                  <c:v>10.539503531309578</c:v>
                </c:pt>
                <c:pt idx="1">
                  <c:v>8.7610756892044588</c:v>
                </c:pt>
                <c:pt idx="2">
                  <c:v>9.3105969652107792</c:v>
                </c:pt>
                <c:pt idx="3">
                  <c:v>7.6385673815620025</c:v>
                </c:pt>
                <c:pt idx="4">
                  <c:v>8.0706578496209236</c:v>
                </c:pt>
                <c:pt idx="5">
                  <c:v>9.2987872788855981</c:v>
                </c:pt>
                <c:pt idx="6">
                  <c:v>8.6689035099005345</c:v>
                </c:pt>
                <c:pt idx="7">
                  <c:v>8.0518941031527298</c:v>
                </c:pt>
                <c:pt idx="8">
                  <c:v>7.4461732797513518</c:v>
                </c:pt>
                <c:pt idx="9">
                  <c:v>7.8012121023950547</c:v>
                </c:pt>
                <c:pt idx="10">
                  <c:v>7.9915868159116217</c:v>
                </c:pt>
                <c:pt idx="11">
                  <c:v>7.2031866337335417</c:v>
                </c:pt>
                <c:pt idx="12">
                  <c:v>7.250514173855044</c:v>
                </c:pt>
                <c:pt idx="13">
                  <c:v>7.5478004039541382</c:v>
                </c:pt>
                <c:pt idx="14">
                  <c:v>8.3810354340159794</c:v>
                </c:pt>
                <c:pt idx="15">
                  <c:v>7.4144953954690083</c:v>
                </c:pt>
              </c:numCache>
            </c:numRef>
          </c:val>
          <c:smooth val="0"/>
          <c:extLst>
            <c:ext xmlns:c16="http://schemas.microsoft.com/office/drawing/2014/chart" uri="{C3380CC4-5D6E-409C-BE32-E72D297353CC}">
              <c16:uniqueId val="{00000001-258A-4594-B973-E5D314115D0B}"/>
            </c:ext>
          </c:extLst>
        </c:ser>
        <c:ser>
          <c:idx val="2"/>
          <c:order val="2"/>
          <c:tx>
            <c:strRef>
              <c:f>Sheet1!$D$1</c:f>
              <c:strCache>
                <c:ptCount val="1"/>
                <c:pt idx="0">
                  <c:v>High Demand</c:v>
                </c:pt>
              </c:strCache>
            </c:strRef>
          </c:tx>
          <c:spPr>
            <a:ln w="28575" cap="rnd">
              <a:solidFill>
                <a:schemeClr val="accent1"/>
              </a:solidFill>
              <a:round/>
            </a:ln>
            <a:effectLst/>
          </c:spPr>
          <c:marker>
            <c:symbol val="none"/>
          </c:marker>
          <c:cat>
            <c:numRef>
              <c:f>Sheet1!$A$2:$A$17</c:f>
              <c:numCache>
                <c:formatCode>General</c:formatCode>
                <c:ptCount val="16"/>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numCache>
            </c:numRef>
          </c:cat>
          <c:val>
            <c:numRef>
              <c:f>Sheet1!$D$2:$D$17</c:f>
              <c:numCache>
                <c:formatCode>"$"#,##0</c:formatCode>
                <c:ptCount val="16"/>
                <c:pt idx="0">
                  <c:v>10.958938500770683</c:v>
                </c:pt>
                <c:pt idx="1">
                  <c:v>10.516963863420544</c:v>
                </c:pt>
                <c:pt idx="2">
                  <c:v>14.116138720350778</c:v>
                </c:pt>
                <c:pt idx="3">
                  <c:v>12.590660722332734</c:v>
                </c:pt>
                <c:pt idx="4">
                  <c:v>13.346371640597978</c:v>
                </c:pt>
                <c:pt idx="5">
                  <c:v>12.955273782407909</c:v>
                </c:pt>
                <c:pt idx="6">
                  <c:v>10.499795085702322</c:v>
                </c:pt>
                <c:pt idx="7">
                  <c:v>9.6742128930950653</c:v>
                </c:pt>
                <c:pt idx="8">
                  <c:v>8.6667362969895088</c:v>
                </c:pt>
                <c:pt idx="9">
                  <c:v>8.4024655851271053</c:v>
                </c:pt>
                <c:pt idx="10">
                  <c:v>8.7426604783209676</c:v>
                </c:pt>
                <c:pt idx="11">
                  <c:v>7.7868071119932152</c:v>
                </c:pt>
                <c:pt idx="12">
                  <c:v>7.8555767685598896</c:v>
                </c:pt>
                <c:pt idx="13">
                  <c:v>8.121637335473876</c:v>
                </c:pt>
                <c:pt idx="14">
                  <c:v>9.0435766240218047</c:v>
                </c:pt>
                <c:pt idx="15">
                  <c:v>7.8747223516250129</c:v>
                </c:pt>
              </c:numCache>
            </c:numRef>
          </c:val>
          <c:smooth val="0"/>
          <c:extLst>
            <c:ext xmlns:c16="http://schemas.microsoft.com/office/drawing/2014/chart" uri="{C3380CC4-5D6E-409C-BE32-E72D297353CC}">
              <c16:uniqueId val="{00000002-258A-4594-B973-E5D314115D0B}"/>
            </c:ext>
          </c:extLst>
        </c:ser>
        <c:dLbls>
          <c:showLegendKey val="0"/>
          <c:showVal val="0"/>
          <c:showCatName val="0"/>
          <c:showSerName val="0"/>
          <c:showPercent val="0"/>
          <c:showBubbleSize val="0"/>
        </c:dLbls>
        <c:smooth val="0"/>
        <c:axId val="285216399"/>
        <c:axId val="285213999"/>
      </c:lineChart>
      <c:catAx>
        <c:axId val="285216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solidFill>
                <a:latin typeface="Manrope" pitchFamily="2" charset="0"/>
                <a:ea typeface="+mn-ea"/>
                <a:cs typeface="+mn-cs"/>
              </a:defRPr>
            </a:pPr>
            <a:endParaRPr lang="en-US"/>
          </a:p>
        </c:txPr>
        <c:crossAx val="285213999"/>
        <c:crosses val="autoZero"/>
        <c:auto val="1"/>
        <c:lblAlgn val="ctr"/>
        <c:lblOffset val="100"/>
        <c:noMultiLvlLbl val="0"/>
      </c:catAx>
      <c:valAx>
        <c:axId val="285213999"/>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1" i="0" u="none" strike="noStrike" kern="1200" baseline="0">
                    <a:solidFill>
                      <a:schemeClr val="tx1"/>
                    </a:solidFill>
                    <a:latin typeface="Manrope" pitchFamily="2" charset="0"/>
                    <a:ea typeface="+mn-ea"/>
                    <a:cs typeface="+mn-cs"/>
                  </a:defRPr>
                </a:pPr>
                <a:r>
                  <a:rPr lang="en-US"/>
                  <a:t>2 Hr BESS Full-stack Revenue Forecast ($/kW-mo)</a:t>
                </a:r>
              </a:p>
            </c:rich>
          </c:tx>
          <c:overlay val="0"/>
          <c:spPr>
            <a:noFill/>
            <a:ln>
              <a:noFill/>
            </a:ln>
            <a:effectLst/>
          </c:spPr>
          <c:txPr>
            <a:bodyPr rot="-5400000" spcFirstLastPara="1" vertOverflow="ellipsis" vert="horz" wrap="square" anchor="ctr" anchorCtr="1"/>
            <a:lstStyle/>
            <a:p>
              <a:pPr>
                <a:defRPr sz="1000" b="1" i="0" u="none" strike="noStrike" kern="1200" baseline="0">
                  <a:solidFill>
                    <a:schemeClr val="tx1"/>
                  </a:solidFill>
                  <a:latin typeface="Manrope" pitchFamily="2" charset="0"/>
                  <a:ea typeface="+mn-ea"/>
                  <a:cs typeface="+mn-cs"/>
                </a:defRPr>
              </a:pPr>
              <a:endParaRPr lang="en-US"/>
            </a:p>
          </c:txPr>
        </c:title>
        <c:numFmt formatCode="&quot;$&quot;#,##0" sourceLinked="1"/>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solidFill>
                <a:latin typeface="Manrope" pitchFamily="2" charset="0"/>
                <a:ea typeface="+mn-ea"/>
                <a:cs typeface="+mn-cs"/>
              </a:defRPr>
            </a:pPr>
            <a:endParaRPr lang="en-US"/>
          </a:p>
        </c:txPr>
        <c:crossAx val="285216399"/>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1" i="0" u="none" strike="noStrike" kern="1200" baseline="0">
              <a:solidFill>
                <a:schemeClr val="tx1"/>
              </a:solidFill>
              <a:latin typeface="Manrope"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b="1">
          <a:solidFill>
            <a:schemeClr val="tx1"/>
          </a:solidFill>
          <a:latin typeface="Manrope" pitchFamily="2"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bar"/>
        <c:grouping val="percentStacked"/>
        <c:varyColors val="0"/>
        <c:ser>
          <c:idx val="0"/>
          <c:order val="0"/>
          <c:tx>
            <c:strRef>
              <c:f>'immerse-power_generators-pie-20'!$A$2</c:f>
              <c:strCache>
                <c:ptCount val="1"/>
                <c:pt idx="0">
                  <c:v>Storage</c:v>
                </c:pt>
              </c:strCache>
            </c:strRef>
          </c:tx>
          <c:spPr>
            <a:solidFill>
              <a:srgbClr val="EDE15B"/>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immerse-power_generators-pie-20'!$C$2</c:f>
              <c:numCache>
                <c:formatCode>0%</c:formatCode>
                <c:ptCount val="1"/>
                <c:pt idx="0">
                  <c:v>0.44643159032793012</c:v>
                </c:pt>
              </c:numCache>
            </c:numRef>
          </c:val>
          <c:extLst>
            <c:ext xmlns:c16="http://schemas.microsoft.com/office/drawing/2014/chart" uri="{C3380CC4-5D6E-409C-BE32-E72D297353CC}">
              <c16:uniqueId val="{00000000-AAC6-49CF-A527-8471AD49F630}"/>
            </c:ext>
          </c:extLst>
        </c:ser>
        <c:ser>
          <c:idx val="1"/>
          <c:order val="1"/>
          <c:tx>
            <c:strRef>
              <c:f>'immerse-power_generators-pie-20'!$A$3</c:f>
              <c:strCache>
                <c:ptCount val="1"/>
                <c:pt idx="0">
                  <c:v>Solar</c:v>
                </c:pt>
              </c:strCache>
            </c:strRef>
          </c:tx>
          <c:spPr>
            <a:solidFill>
              <a:srgbClr val="DB3737"/>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immerse-power_generators-pie-20'!$C$3</c:f>
              <c:numCache>
                <c:formatCode>0%</c:formatCode>
                <c:ptCount val="1"/>
                <c:pt idx="0">
                  <c:v>0.40062911239144333</c:v>
                </c:pt>
              </c:numCache>
            </c:numRef>
          </c:val>
          <c:extLst>
            <c:ext xmlns:c16="http://schemas.microsoft.com/office/drawing/2014/chart" uri="{C3380CC4-5D6E-409C-BE32-E72D297353CC}">
              <c16:uniqueId val="{00000001-AAC6-49CF-A527-8471AD49F630}"/>
            </c:ext>
          </c:extLst>
        </c:ser>
        <c:ser>
          <c:idx val="2"/>
          <c:order val="2"/>
          <c:tx>
            <c:strRef>
              <c:f>'immerse-power_generators-pie-20'!$A$4</c:f>
              <c:strCache>
                <c:ptCount val="1"/>
                <c:pt idx="0">
                  <c:v>Wind</c:v>
                </c:pt>
              </c:strCache>
            </c:strRef>
          </c:tx>
          <c:spPr>
            <a:solidFill>
              <a:srgbClr val="137CBD"/>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immerse-power_generators-pie-20'!$C$4</c:f>
              <c:numCache>
                <c:formatCode>0%</c:formatCode>
                <c:ptCount val="1"/>
                <c:pt idx="0">
                  <c:v>9.990311301832959E-2</c:v>
                </c:pt>
              </c:numCache>
            </c:numRef>
          </c:val>
          <c:extLst>
            <c:ext xmlns:c16="http://schemas.microsoft.com/office/drawing/2014/chart" uri="{C3380CC4-5D6E-409C-BE32-E72D297353CC}">
              <c16:uniqueId val="{00000002-AAC6-49CF-A527-8471AD49F630}"/>
            </c:ext>
          </c:extLst>
        </c:ser>
        <c:ser>
          <c:idx val="3"/>
          <c:order val="3"/>
          <c:tx>
            <c:strRef>
              <c:f>'immerse-power_generators-pie-20'!$A$5</c:f>
              <c:strCache>
                <c:ptCount val="1"/>
                <c:pt idx="0">
                  <c:v>Natural Gas</c:v>
                </c:pt>
              </c:strCache>
            </c:strRef>
          </c:tx>
          <c:spPr>
            <a:solidFill>
              <a:srgbClr val="F29D4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immerse-power_generators-pie-20'!$C$5</c:f>
              <c:numCache>
                <c:formatCode>0%</c:formatCode>
                <c:ptCount val="1"/>
                <c:pt idx="0">
                  <c:v>3.9338213918558858E-2</c:v>
                </c:pt>
              </c:numCache>
            </c:numRef>
          </c:val>
          <c:extLst>
            <c:ext xmlns:c16="http://schemas.microsoft.com/office/drawing/2014/chart" uri="{C3380CC4-5D6E-409C-BE32-E72D297353CC}">
              <c16:uniqueId val="{00000003-AAC6-49CF-A527-8471AD49F630}"/>
            </c:ext>
          </c:extLst>
        </c:ser>
        <c:ser>
          <c:idx val="4"/>
          <c:order val="4"/>
          <c:tx>
            <c:strRef>
              <c:f>'immerse-power_generators-pie-20'!$A$6</c:f>
              <c:strCache>
                <c:ptCount val="1"/>
                <c:pt idx="0">
                  <c:v>Other</c:v>
                </c:pt>
              </c:strCache>
            </c:strRef>
          </c:tx>
          <c:spPr>
            <a:solidFill>
              <a:schemeClr val="bg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immerse-power_generators-pie-20'!$C$6</c:f>
              <c:numCache>
                <c:formatCode>0%</c:formatCode>
                <c:ptCount val="1"/>
                <c:pt idx="0">
                  <c:v>1.3697970343738104E-2</c:v>
                </c:pt>
              </c:numCache>
            </c:numRef>
          </c:val>
          <c:extLst>
            <c:ext xmlns:c16="http://schemas.microsoft.com/office/drawing/2014/chart" uri="{C3380CC4-5D6E-409C-BE32-E72D297353CC}">
              <c16:uniqueId val="{00000004-AAC6-49CF-A527-8471AD49F630}"/>
            </c:ext>
          </c:extLst>
        </c:ser>
        <c:dLbls>
          <c:showLegendKey val="0"/>
          <c:showVal val="0"/>
          <c:showCatName val="0"/>
          <c:showSerName val="0"/>
          <c:showPercent val="0"/>
          <c:showBubbleSize val="0"/>
        </c:dLbls>
        <c:gapWidth val="50"/>
        <c:overlap val="100"/>
        <c:axId val="27686175"/>
        <c:axId val="27691935"/>
      </c:barChart>
      <c:catAx>
        <c:axId val="27686175"/>
        <c:scaling>
          <c:orientation val="minMax"/>
        </c:scaling>
        <c:delete val="1"/>
        <c:axPos val="l"/>
        <c:majorTickMark val="none"/>
        <c:minorTickMark val="none"/>
        <c:tickLblPos val="nextTo"/>
        <c:crossAx val="27691935"/>
        <c:crosses val="autoZero"/>
        <c:auto val="1"/>
        <c:lblAlgn val="ctr"/>
        <c:lblOffset val="100"/>
        <c:noMultiLvlLbl val="0"/>
      </c:catAx>
      <c:valAx>
        <c:axId val="27691935"/>
        <c:scaling>
          <c:orientation val="minMax"/>
        </c:scaling>
        <c:delete val="1"/>
        <c:axPos val="b"/>
        <c:numFmt formatCode="0%" sourceLinked="1"/>
        <c:majorTickMark val="none"/>
        <c:minorTickMark val="none"/>
        <c:tickLblPos val="nextTo"/>
        <c:crossAx val="2768617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stacked"/>
        <c:varyColors val="0"/>
        <c:ser>
          <c:idx val="0"/>
          <c:order val="0"/>
          <c:tx>
            <c:strRef>
              <c:f>charts!$V$30</c:f>
              <c:strCache>
                <c:ptCount val="1"/>
                <c:pt idx="0">
                  <c:v>CAISO</c:v>
                </c:pt>
              </c:strCache>
            </c:strRef>
          </c:tx>
          <c:spPr>
            <a:solidFill>
              <a:srgbClr val="C00000"/>
            </a:solidFill>
            <a:ln>
              <a:noFill/>
            </a:ln>
            <a:effectLst/>
          </c:spPr>
          <c:invertIfNegative val="0"/>
          <c:cat>
            <c:numRef>
              <c:f>charts!$C$31:$C$61</c:f>
              <c:numCache>
                <c:formatCode>0%;[Red]\ \ \(0%\)</c:formatCode>
                <c:ptCount val="31"/>
                <c:pt idx="0">
                  <c:v>0</c:v>
                </c:pt>
                <c:pt idx="1">
                  <c:v>0.01</c:v>
                </c:pt>
                <c:pt idx="2">
                  <c:v>0.02</c:v>
                </c:pt>
                <c:pt idx="3">
                  <c:v>0.03</c:v>
                </c:pt>
                <c:pt idx="4">
                  <c:v>0.04</c:v>
                </c:pt>
                <c:pt idx="5">
                  <c:v>0.05</c:v>
                </c:pt>
                <c:pt idx="6">
                  <c:v>6.0000000000000005E-2</c:v>
                </c:pt>
                <c:pt idx="7">
                  <c:v>7.0000000000000007E-2</c:v>
                </c:pt>
                <c:pt idx="8">
                  <c:v>0.08</c:v>
                </c:pt>
                <c:pt idx="9">
                  <c:v>0.09</c:v>
                </c:pt>
                <c:pt idx="10">
                  <c:v>9.9999999999999992E-2</c:v>
                </c:pt>
                <c:pt idx="11">
                  <c:v>0.10999999999999999</c:v>
                </c:pt>
                <c:pt idx="12">
                  <c:v>0.11999999999999998</c:v>
                </c:pt>
                <c:pt idx="13">
                  <c:v>0.12999999999999998</c:v>
                </c:pt>
                <c:pt idx="14">
                  <c:v>0.13999999999999999</c:v>
                </c:pt>
                <c:pt idx="15">
                  <c:v>0.15</c:v>
                </c:pt>
                <c:pt idx="16">
                  <c:v>0.16</c:v>
                </c:pt>
                <c:pt idx="17">
                  <c:v>0.17</c:v>
                </c:pt>
                <c:pt idx="18">
                  <c:v>0.18000000000000002</c:v>
                </c:pt>
                <c:pt idx="19">
                  <c:v>0.19000000000000003</c:v>
                </c:pt>
                <c:pt idx="20">
                  <c:v>0.20000000000000004</c:v>
                </c:pt>
                <c:pt idx="21">
                  <c:v>0.21000000000000005</c:v>
                </c:pt>
                <c:pt idx="22">
                  <c:v>0.22000000000000006</c:v>
                </c:pt>
                <c:pt idx="23">
                  <c:v>0.23000000000000007</c:v>
                </c:pt>
                <c:pt idx="24">
                  <c:v>0.24000000000000007</c:v>
                </c:pt>
                <c:pt idx="25">
                  <c:v>0.25000000000000006</c:v>
                </c:pt>
                <c:pt idx="26">
                  <c:v>0.26000000000000006</c:v>
                </c:pt>
                <c:pt idx="27">
                  <c:v>0.27000000000000007</c:v>
                </c:pt>
                <c:pt idx="28">
                  <c:v>0.28000000000000008</c:v>
                </c:pt>
                <c:pt idx="29">
                  <c:v>0.29000000000000009</c:v>
                </c:pt>
                <c:pt idx="30">
                  <c:v>0.3000000000000001</c:v>
                </c:pt>
              </c:numCache>
            </c:numRef>
          </c:cat>
          <c:val>
            <c:numRef>
              <c:f>charts!$V$31:$V$61</c:f>
              <c:numCache>
                <c:formatCode>General</c:formatCode>
                <c:ptCount val="31"/>
                <c:pt idx="0">
                  <c:v>0</c:v>
                </c:pt>
                <c:pt idx="1">
                  <c:v>0</c:v>
                </c:pt>
                <c:pt idx="2">
                  <c:v>0</c:v>
                </c:pt>
                <c:pt idx="3">
                  <c:v>0</c:v>
                </c:pt>
                <c:pt idx="4">
                  <c:v>0</c:v>
                </c:pt>
                <c:pt idx="5">
                  <c:v>0</c:v>
                </c:pt>
                <c:pt idx="6">
                  <c:v>0</c:v>
                </c:pt>
                <c:pt idx="7">
                  <c:v>0</c:v>
                </c:pt>
                <c:pt idx="8">
                  <c:v>0</c:v>
                </c:pt>
                <c:pt idx="9">
                  <c:v>0</c:v>
                </c:pt>
                <c:pt idx="10">
                  <c:v>0</c:v>
                </c:pt>
                <c:pt idx="11">
                  <c:v>2</c:v>
                </c:pt>
                <c:pt idx="12">
                  <c:v>2</c:v>
                </c:pt>
                <c:pt idx="13">
                  <c:v>13</c:v>
                </c:pt>
                <c:pt idx="14">
                  <c:v>25</c:v>
                </c:pt>
                <c:pt idx="15">
                  <c:v>45</c:v>
                </c:pt>
                <c:pt idx="16">
                  <c:v>43</c:v>
                </c:pt>
                <c:pt idx="17">
                  <c:v>31</c:v>
                </c:pt>
                <c:pt idx="18">
                  <c:v>18</c:v>
                </c:pt>
                <c:pt idx="19">
                  <c:v>24</c:v>
                </c:pt>
                <c:pt idx="20">
                  <c:v>14</c:v>
                </c:pt>
                <c:pt idx="21">
                  <c:v>4</c:v>
                </c:pt>
                <c:pt idx="22">
                  <c:v>4</c:v>
                </c:pt>
                <c:pt idx="23">
                  <c:v>1</c:v>
                </c:pt>
                <c:pt idx="24">
                  <c:v>1</c:v>
                </c:pt>
                <c:pt idx="25">
                  <c:v>0</c:v>
                </c:pt>
                <c:pt idx="26">
                  <c:v>0</c:v>
                </c:pt>
                <c:pt idx="27">
                  <c:v>0</c:v>
                </c:pt>
                <c:pt idx="28">
                  <c:v>0</c:v>
                </c:pt>
                <c:pt idx="29">
                  <c:v>0</c:v>
                </c:pt>
                <c:pt idx="30">
                  <c:v>0</c:v>
                </c:pt>
              </c:numCache>
            </c:numRef>
          </c:val>
          <c:extLst>
            <c:ext xmlns:c16="http://schemas.microsoft.com/office/drawing/2014/chart" uri="{C3380CC4-5D6E-409C-BE32-E72D297353CC}">
              <c16:uniqueId val="{00000000-483D-410A-9D5A-3F818C9ECD49}"/>
            </c:ext>
          </c:extLst>
        </c:ser>
        <c:ser>
          <c:idx val="1"/>
          <c:order val="1"/>
          <c:tx>
            <c:strRef>
              <c:f>charts!$W$30</c:f>
              <c:strCache>
                <c:ptCount val="1"/>
                <c:pt idx="0">
                  <c:v>ERCOT</c:v>
                </c:pt>
              </c:strCache>
            </c:strRef>
          </c:tx>
          <c:spPr>
            <a:solidFill>
              <a:schemeClr val="accent2"/>
            </a:solidFill>
            <a:ln>
              <a:noFill/>
            </a:ln>
            <a:effectLst/>
          </c:spPr>
          <c:invertIfNegative val="0"/>
          <c:cat>
            <c:numRef>
              <c:f>charts!$C$31:$C$61</c:f>
              <c:numCache>
                <c:formatCode>0%;[Red]\ \ \(0%\)</c:formatCode>
                <c:ptCount val="31"/>
                <c:pt idx="0">
                  <c:v>0</c:v>
                </c:pt>
                <c:pt idx="1">
                  <c:v>0.01</c:v>
                </c:pt>
                <c:pt idx="2">
                  <c:v>0.02</c:v>
                </c:pt>
                <c:pt idx="3">
                  <c:v>0.03</c:v>
                </c:pt>
                <c:pt idx="4">
                  <c:v>0.04</c:v>
                </c:pt>
                <c:pt idx="5">
                  <c:v>0.05</c:v>
                </c:pt>
                <c:pt idx="6">
                  <c:v>6.0000000000000005E-2</c:v>
                </c:pt>
                <c:pt idx="7">
                  <c:v>7.0000000000000007E-2</c:v>
                </c:pt>
                <c:pt idx="8">
                  <c:v>0.08</c:v>
                </c:pt>
                <c:pt idx="9">
                  <c:v>0.09</c:v>
                </c:pt>
                <c:pt idx="10">
                  <c:v>9.9999999999999992E-2</c:v>
                </c:pt>
                <c:pt idx="11">
                  <c:v>0.10999999999999999</c:v>
                </c:pt>
                <c:pt idx="12">
                  <c:v>0.11999999999999998</c:v>
                </c:pt>
                <c:pt idx="13">
                  <c:v>0.12999999999999998</c:v>
                </c:pt>
                <c:pt idx="14">
                  <c:v>0.13999999999999999</c:v>
                </c:pt>
                <c:pt idx="15">
                  <c:v>0.15</c:v>
                </c:pt>
                <c:pt idx="16">
                  <c:v>0.16</c:v>
                </c:pt>
                <c:pt idx="17">
                  <c:v>0.17</c:v>
                </c:pt>
                <c:pt idx="18">
                  <c:v>0.18000000000000002</c:v>
                </c:pt>
                <c:pt idx="19">
                  <c:v>0.19000000000000003</c:v>
                </c:pt>
                <c:pt idx="20">
                  <c:v>0.20000000000000004</c:v>
                </c:pt>
                <c:pt idx="21">
                  <c:v>0.21000000000000005</c:v>
                </c:pt>
                <c:pt idx="22">
                  <c:v>0.22000000000000006</c:v>
                </c:pt>
                <c:pt idx="23">
                  <c:v>0.23000000000000007</c:v>
                </c:pt>
                <c:pt idx="24">
                  <c:v>0.24000000000000007</c:v>
                </c:pt>
                <c:pt idx="25">
                  <c:v>0.25000000000000006</c:v>
                </c:pt>
                <c:pt idx="26">
                  <c:v>0.26000000000000006</c:v>
                </c:pt>
                <c:pt idx="27">
                  <c:v>0.27000000000000007</c:v>
                </c:pt>
                <c:pt idx="28">
                  <c:v>0.28000000000000008</c:v>
                </c:pt>
                <c:pt idx="29">
                  <c:v>0.29000000000000009</c:v>
                </c:pt>
                <c:pt idx="30">
                  <c:v>0.3000000000000001</c:v>
                </c:pt>
              </c:numCache>
            </c:numRef>
          </c:cat>
          <c:val>
            <c:numRef>
              <c:f>charts!$W$31:$W$61</c:f>
              <c:numCache>
                <c:formatCode>General</c:formatCode>
                <c:ptCount val="31"/>
                <c:pt idx="0">
                  <c:v>0</c:v>
                </c:pt>
                <c:pt idx="1">
                  <c:v>0</c:v>
                </c:pt>
                <c:pt idx="2">
                  <c:v>0</c:v>
                </c:pt>
                <c:pt idx="3">
                  <c:v>0</c:v>
                </c:pt>
                <c:pt idx="4">
                  <c:v>0</c:v>
                </c:pt>
                <c:pt idx="5">
                  <c:v>0</c:v>
                </c:pt>
                <c:pt idx="6">
                  <c:v>0</c:v>
                </c:pt>
                <c:pt idx="7">
                  <c:v>0</c:v>
                </c:pt>
                <c:pt idx="8">
                  <c:v>0</c:v>
                </c:pt>
                <c:pt idx="9">
                  <c:v>0</c:v>
                </c:pt>
                <c:pt idx="10">
                  <c:v>0</c:v>
                </c:pt>
                <c:pt idx="11">
                  <c:v>2</c:v>
                </c:pt>
                <c:pt idx="12">
                  <c:v>4</c:v>
                </c:pt>
                <c:pt idx="13">
                  <c:v>12</c:v>
                </c:pt>
                <c:pt idx="14">
                  <c:v>15</c:v>
                </c:pt>
                <c:pt idx="15">
                  <c:v>7</c:v>
                </c:pt>
                <c:pt idx="16">
                  <c:v>17</c:v>
                </c:pt>
                <c:pt idx="17">
                  <c:v>9</c:v>
                </c:pt>
                <c:pt idx="18">
                  <c:v>26</c:v>
                </c:pt>
                <c:pt idx="19">
                  <c:v>24</c:v>
                </c:pt>
                <c:pt idx="20">
                  <c:v>27</c:v>
                </c:pt>
                <c:pt idx="21">
                  <c:v>27</c:v>
                </c:pt>
                <c:pt idx="22">
                  <c:v>53</c:v>
                </c:pt>
                <c:pt idx="23">
                  <c:v>36</c:v>
                </c:pt>
                <c:pt idx="24">
                  <c:v>64</c:v>
                </c:pt>
                <c:pt idx="25">
                  <c:v>40</c:v>
                </c:pt>
                <c:pt idx="26">
                  <c:v>38</c:v>
                </c:pt>
                <c:pt idx="27">
                  <c:v>24</c:v>
                </c:pt>
                <c:pt idx="28">
                  <c:v>14</c:v>
                </c:pt>
                <c:pt idx="29">
                  <c:v>16</c:v>
                </c:pt>
                <c:pt idx="30">
                  <c:v>12</c:v>
                </c:pt>
              </c:numCache>
            </c:numRef>
          </c:val>
          <c:extLst>
            <c:ext xmlns:c16="http://schemas.microsoft.com/office/drawing/2014/chart" uri="{C3380CC4-5D6E-409C-BE32-E72D297353CC}">
              <c16:uniqueId val="{00000001-483D-410A-9D5A-3F818C9ECD49}"/>
            </c:ext>
          </c:extLst>
        </c:ser>
        <c:ser>
          <c:idx val="2"/>
          <c:order val="2"/>
          <c:tx>
            <c:strRef>
              <c:f>charts!$X$30</c:f>
              <c:strCache>
                <c:ptCount val="1"/>
                <c:pt idx="0">
                  <c:v>ISO-NE</c:v>
                </c:pt>
              </c:strCache>
            </c:strRef>
          </c:tx>
          <c:spPr>
            <a:solidFill>
              <a:schemeClr val="accent3"/>
            </a:solidFill>
            <a:ln>
              <a:noFill/>
            </a:ln>
            <a:effectLst/>
          </c:spPr>
          <c:invertIfNegative val="0"/>
          <c:cat>
            <c:numRef>
              <c:f>charts!$C$31:$C$61</c:f>
              <c:numCache>
                <c:formatCode>0%;[Red]\ \ \(0%\)</c:formatCode>
                <c:ptCount val="31"/>
                <c:pt idx="0">
                  <c:v>0</c:v>
                </c:pt>
                <c:pt idx="1">
                  <c:v>0.01</c:v>
                </c:pt>
                <c:pt idx="2">
                  <c:v>0.02</c:v>
                </c:pt>
                <c:pt idx="3">
                  <c:v>0.03</c:v>
                </c:pt>
                <c:pt idx="4">
                  <c:v>0.04</c:v>
                </c:pt>
                <c:pt idx="5">
                  <c:v>0.05</c:v>
                </c:pt>
                <c:pt idx="6">
                  <c:v>6.0000000000000005E-2</c:v>
                </c:pt>
                <c:pt idx="7">
                  <c:v>7.0000000000000007E-2</c:v>
                </c:pt>
                <c:pt idx="8">
                  <c:v>0.08</c:v>
                </c:pt>
                <c:pt idx="9">
                  <c:v>0.09</c:v>
                </c:pt>
                <c:pt idx="10">
                  <c:v>9.9999999999999992E-2</c:v>
                </c:pt>
                <c:pt idx="11">
                  <c:v>0.10999999999999999</c:v>
                </c:pt>
                <c:pt idx="12">
                  <c:v>0.11999999999999998</c:v>
                </c:pt>
                <c:pt idx="13">
                  <c:v>0.12999999999999998</c:v>
                </c:pt>
                <c:pt idx="14">
                  <c:v>0.13999999999999999</c:v>
                </c:pt>
                <c:pt idx="15">
                  <c:v>0.15</c:v>
                </c:pt>
                <c:pt idx="16">
                  <c:v>0.16</c:v>
                </c:pt>
                <c:pt idx="17">
                  <c:v>0.17</c:v>
                </c:pt>
                <c:pt idx="18">
                  <c:v>0.18000000000000002</c:v>
                </c:pt>
                <c:pt idx="19">
                  <c:v>0.19000000000000003</c:v>
                </c:pt>
                <c:pt idx="20">
                  <c:v>0.20000000000000004</c:v>
                </c:pt>
                <c:pt idx="21">
                  <c:v>0.21000000000000005</c:v>
                </c:pt>
                <c:pt idx="22">
                  <c:v>0.22000000000000006</c:v>
                </c:pt>
                <c:pt idx="23">
                  <c:v>0.23000000000000007</c:v>
                </c:pt>
                <c:pt idx="24">
                  <c:v>0.24000000000000007</c:v>
                </c:pt>
                <c:pt idx="25">
                  <c:v>0.25000000000000006</c:v>
                </c:pt>
                <c:pt idx="26">
                  <c:v>0.26000000000000006</c:v>
                </c:pt>
                <c:pt idx="27">
                  <c:v>0.27000000000000007</c:v>
                </c:pt>
                <c:pt idx="28">
                  <c:v>0.28000000000000008</c:v>
                </c:pt>
                <c:pt idx="29">
                  <c:v>0.29000000000000009</c:v>
                </c:pt>
                <c:pt idx="30">
                  <c:v>0.3000000000000001</c:v>
                </c:pt>
              </c:numCache>
            </c:numRef>
          </c:cat>
          <c:val>
            <c:numRef>
              <c:f>charts!$X$31:$X$61</c:f>
              <c:numCache>
                <c:formatCode>General</c:formatCode>
                <c:ptCount val="3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numCache>
            </c:numRef>
          </c:val>
          <c:extLst>
            <c:ext xmlns:c16="http://schemas.microsoft.com/office/drawing/2014/chart" uri="{C3380CC4-5D6E-409C-BE32-E72D297353CC}">
              <c16:uniqueId val="{00000002-483D-410A-9D5A-3F818C9ECD49}"/>
            </c:ext>
          </c:extLst>
        </c:ser>
        <c:ser>
          <c:idx val="3"/>
          <c:order val="3"/>
          <c:tx>
            <c:strRef>
              <c:f>charts!$Y$30</c:f>
              <c:strCache>
                <c:ptCount val="1"/>
                <c:pt idx="0">
                  <c:v>MISO</c:v>
                </c:pt>
              </c:strCache>
            </c:strRef>
          </c:tx>
          <c:spPr>
            <a:solidFill>
              <a:schemeClr val="accent4"/>
            </a:solidFill>
            <a:ln>
              <a:noFill/>
            </a:ln>
            <a:effectLst/>
          </c:spPr>
          <c:invertIfNegative val="0"/>
          <c:cat>
            <c:numRef>
              <c:f>charts!$C$31:$C$61</c:f>
              <c:numCache>
                <c:formatCode>0%;[Red]\ \ \(0%\)</c:formatCode>
                <c:ptCount val="31"/>
                <c:pt idx="0">
                  <c:v>0</c:v>
                </c:pt>
                <c:pt idx="1">
                  <c:v>0.01</c:v>
                </c:pt>
                <c:pt idx="2">
                  <c:v>0.02</c:v>
                </c:pt>
                <c:pt idx="3">
                  <c:v>0.03</c:v>
                </c:pt>
                <c:pt idx="4">
                  <c:v>0.04</c:v>
                </c:pt>
                <c:pt idx="5">
                  <c:v>0.05</c:v>
                </c:pt>
                <c:pt idx="6">
                  <c:v>6.0000000000000005E-2</c:v>
                </c:pt>
                <c:pt idx="7">
                  <c:v>7.0000000000000007E-2</c:v>
                </c:pt>
                <c:pt idx="8">
                  <c:v>0.08</c:v>
                </c:pt>
                <c:pt idx="9">
                  <c:v>0.09</c:v>
                </c:pt>
                <c:pt idx="10">
                  <c:v>9.9999999999999992E-2</c:v>
                </c:pt>
                <c:pt idx="11">
                  <c:v>0.10999999999999999</c:v>
                </c:pt>
                <c:pt idx="12">
                  <c:v>0.11999999999999998</c:v>
                </c:pt>
                <c:pt idx="13">
                  <c:v>0.12999999999999998</c:v>
                </c:pt>
                <c:pt idx="14">
                  <c:v>0.13999999999999999</c:v>
                </c:pt>
                <c:pt idx="15">
                  <c:v>0.15</c:v>
                </c:pt>
                <c:pt idx="16">
                  <c:v>0.16</c:v>
                </c:pt>
                <c:pt idx="17">
                  <c:v>0.17</c:v>
                </c:pt>
                <c:pt idx="18">
                  <c:v>0.18000000000000002</c:v>
                </c:pt>
                <c:pt idx="19">
                  <c:v>0.19000000000000003</c:v>
                </c:pt>
                <c:pt idx="20">
                  <c:v>0.20000000000000004</c:v>
                </c:pt>
                <c:pt idx="21">
                  <c:v>0.21000000000000005</c:v>
                </c:pt>
                <c:pt idx="22">
                  <c:v>0.22000000000000006</c:v>
                </c:pt>
                <c:pt idx="23">
                  <c:v>0.23000000000000007</c:v>
                </c:pt>
                <c:pt idx="24">
                  <c:v>0.24000000000000007</c:v>
                </c:pt>
                <c:pt idx="25">
                  <c:v>0.25000000000000006</c:v>
                </c:pt>
                <c:pt idx="26">
                  <c:v>0.26000000000000006</c:v>
                </c:pt>
                <c:pt idx="27">
                  <c:v>0.27000000000000007</c:v>
                </c:pt>
                <c:pt idx="28">
                  <c:v>0.28000000000000008</c:v>
                </c:pt>
                <c:pt idx="29">
                  <c:v>0.29000000000000009</c:v>
                </c:pt>
                <c:pt idx="30">
                  <c:v>0.3000000000000001</c:v>
                </c:pt>
              </c:numCache>
            </c:numRef>
          </c:cat>
          <c:val>
            <c:numRef>
              <c:f>charts!$Y$31:$Y$61</c:f>
              <c:numCache>
                <c:formatCode>General</c:formatCode>
                <c:ptCount val="31"/>
                <c:pt idx="0">
                  <c:v>0</c:v>
                </c:pt>
                <c:pt idx="1">
                  <c:v>0</c:v>
                </c:pt>
                <c:pt idx="2">
                  <c:v>0</c:v>
                </c:pt>
                <c:pt idx="3">
                  <c:v>1</c:v>
                </c:pt>
                <c:pt idx="4">
                  <c:v>5</c:v>
                </c:pt>
                <c:pt idx="5">
                  <c:v>23</c:v>
                </c:pt>
                <c:pt idx="6">
                  <c:v>30</c:v>
                </c:pt>
                <c:pt idx="7">
                  <c:v>46</c:v>
                </c:pt>
                <c:pt idx="8">
                  <c:v>25</c:v>
                </c:pt>
                <c:pt idx="9">
                  <c:v>28</c:v>
                </c:pt>
                <c:pt idx="10">
                  <c:v>18</c:v>
                </c:pt>
                <c:pt idx="11">
                  <c:v>16</c:v>
                </c:pt>
                <c:pt idx="12">
                  <c:v>7</c:v>
                </c:pt>
                <c:pt idx="13">
                  <c:v>3</c:v>
                </c:pt>
                <c:pt idx="14">
                  <c:v>2</c:v>
                </c:pt>
                <c:pt idx="15">
                  <c:v>0</c:v>
                </c:pt>
                <c:pt idx="16">
                  <c:v>0</c:v>
                </c:pt>
                <c:pt idx="17">
                  <c:v>0</c:v>
                </c:pt>
                <c:pt idx="18">
                  <c:v>1</c:v>
                </c:pt>
                <c:pt idx="19">
                  <c:v>0</c:v>
                </c:pt>
                <c:pt idx="20">
                  <c:v>0</c:v>
                </c:pt>
                <c:pt idx="21">
                  <c:v>0</c:v>
                </c:pt>
                <c:pt idx="22">
                  <c:v>0</c:v>
                </c:pt>
                <c:pt idx="23">
                  <c:v>0</c:v>
                </c:pt>
                <c:pt idx="24">
                  <c:v>0</c:v>
                </c:pt>
                <c:pt idx="25">
                  <c:v>0</c:v>
                </c:pt>
                <c:pt idx="26">
                  <c:v>0</c:v>
                </c:pt>
                <c:pt idx="27">
                  <c:v>0</c:v>
                </c:pt>
                <c:pt idx="28">
                  <c:v>0</c:v>
                </c:pt>
                <c:pt idx="29">
                  <c:v>0</c:v>
                </c:pt>
                <c:pt idx="30">
                  <c:v>0</c:v>
                </c:pt>
              </c:numCache>
            </c:numRef>
          </c:val>
          <c:extLst>
            <c:ext xmlns:c16="http://schemas.microsoft.com/office/drawing/2014/chart" uri="{C3380CC4-5D6E-409C-BE32-E72D297353CC}">
              <c16:uniqueId val="{00000003-483D-410A-9D5A-3F818C9ECD49}"/>
            </c:ext>
          </c:extLst>
        </c:ser>
        <c:ser>
          <c:idx val="4"/>
          <c:order val="4"/>
          <c:tx>
            <c:strRef>
              <c:f>charts!$Z$30</c:f>
              <c:strCache>
                <c:ptCount val="1"/>
                <c:pt idx="0">
                  <c:v>NYISO</c:v>
                </c:pt>
              </c:strCache>
            </c:strRef>
          </c:tx>
          <c:spPr>
            <a:solidFill>
              <a:schemeClr val="accent5"/>
            </a:solidFill>
            <a:ln>
              <a:noFill/>
            </a:ln>
            <a:effectLst/>
          </c:spPr>
          <c:invertIfNegative val="0"/>
          <c:cat>
            <c:numRef>
              <c:f>charts!$C$31:$C$61</c:f>
              <c:numCache>
                <c:formatCode>0%;[Red]\ \ \(0%\)</c:formatCode>
                <c:ptCount val="31"/>
                <c:pt idx="0">
                  <c:v>0</c:v>
                </c:pt>
                <c:pt idx="1">
                  <c:v>0.01</c:v>
                </c:pt>
                <c:pt idx="2">
                  <c:v>0.02</c:v>
                </c:pt>
                <c:pt idx="3">
                  <c:v>0.03</c:v>
                </c:pt>
                <c:pt idx="4">
                  <c:v>0.04</c:v>
                </c:pt>
                <c:pt idx="5">
                  <c:v>0.05</c:v>
                </c:pt>
                <c:pt idx="6">
                  <c:v>6.0000000000000005E-2</c:v>
                </c:pt>
                <c:pt idx="7">
                  <c:v>7.0000000000000007E-2</c:v>
                </c:pt>
                <c:pt idx="8">
                  <c:v>0.08</c:v>
                </c:pt>
                <c:pt idx="9">
                  <c:v>0.09</c:v>
                </c:pt>
                <c:pt idx="10">
                  <c:v>9.9999999999999992E-2</c:v>
                </c:pt>
                <c:pt idx="11">
                  <c:v>0.10999999999999999</c:v>
                </c:pt>
                <c:pt idx="12">
                  <c:v>0.11999999999999998</c:v>
                </c:pt>
                <c:pt idx="13">
                  <c:v>0.12999999999999998</c:v>
                </c:pt>
                <c:pt idx="14">
                  <c:v>0.13999999999999999</c:v>
                </c:pt>
                <c:pt idx="15">
                  <c:v>0.15</c:v>
                </c:pt>
                <c:pt idx="16">
                  <c:v>0.16</c:v>
                </c:pt>
                <c:pt idx="17">
                  <c:v>0.17</c:v>
                </c:pt>
                <c:pt idx="18">
                  <c:v>0.18000000000000002</c:v>
                </c:pt>
                <c:pt idx="19">
                  <c:v>0.19000000000000003</c:v>
                </c:pt>
                <c:pt idx="20">
                  <c:v>0.20000000000000004</c:v>
                </c:pt>
                <c:pt idx="21">
                  <c:v>0.21000000000000005</c:v>
                </c:pt>
                <c:pt idx="22">
                  <c:v>0.22000000000000006</c:v>
                </c:pt>
                <c:pt idx="23">
                  <c:v>0.23000000000000007</c:v>
                </c:pt>
                <c:pt idx="24">
                  <c:v>0.24000000000000007</c:v>
                </c:pt>
                <c:pt idx="25">
                  <c:v>0.25000000000000006</c:v>
                </c:pt>
                <c:pt idx="26">
                  <c:v>0.26000000000000006</c:v>
                </c:pt>
                <c:pt idx="27">
                  <c:v>0.27000000000000007</c:v>
                </c:pt>
                <c:pt idx="28">
                  <c:v>0.28000000000000008</c:v>
                </c:pt>
                <c:pt idx="29">
                  <c:v>0.29000000000000009</c:v>
                </c:pt>
                <c:pt idx="30">
                  <c:v>0.3000000000000001</c:v>
                </c:pt>
              </c:numCache>
            </c:numRef>
          </c:cat>
          <c:val>
            <c:numRef>
              <c:f>charts!$Z$31:$Z$61</c:f>
              <c:numCache>
                <c:formatCode>General</c:formatCode>
                <c:ptCount val="3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numCache>
            </c:numRef>
          </c:val>
          <c:extLst>
            <c:ext xmlns:c16="http://schemas.microsoft.com/office/drawing/2014/chart" uri="{C3380CC4-5D6E-409C-BE32-E72D297353CC}">
              <c16:uniqueId val="{00000004-483D-410A-9D5A-3F818C9ECD49}"/>
            </c:ext>
          </c:extLst>
        </c:ser>
        <c:ser>
          <c:idx val="5"/>
          <c:order val="5"/>
          <c:tx>
            <c:strRef>
              <c:f>charts!$AA$30</c:f>
              <c:strCache>
                <c:ptCount val="1"/>
                <c:pt idx="0">
                  <c:v>PJM</c:v>
                </c:pt>
              </c:strCache>
            </c:strRef>
          </c:tx>
          <c:spPr>
            <a:solidFill>
              <a:schemeClr val="accent1"/>
            </a:solidFill>
            <a:ln>
              <a:noFill/>
            </a:ln>
            <a:effectLst/>
          </c:spPr>
          <c:invertIfNegative val="0"/>
          <c:cat>
            <c:numRef>
              <c:f>charts!$C$31:$C$61</c:f>
              <c:numCache>
                <c:formatCode>0%;[Red]\ \ \(0%\)</c:formatCode>
                <c:ptCount val="31"/>
                <c:pt idx="0">
                  <c:v>0</c:v>
                </c:pt>
                <c:pt idx="1">
                  <c:v>0.01</c:v>
                </c:pt>
                <c:pt idx="2">
                  <c:v>0.02</c:v>
                </c:pt>
                <c:pt idx="3">
                  <c:v>0.03</c:v>
                </c:pt>
                <c:pt idx="4">
                  <c:v>0.04</c:v>
                </c:pt>
                <c:pt idx="5">
                  <c:v>0.05</c:v>
                </c:pt>
                <c:pt idx="6">
                  <c:v>6.0000000000000005E-2</c:v>
                </c:pt>
                <c:pt idx="7">
                  <c:v>7.0000000000000007E-2</c:v>
                </c:pt>
                <c:pt idx="8">
                  <c:v>0.08</c:v>
                </c:pt>
                <c:pt idx="9">
                  <c:v>0.09</c:v>
                </c:pt>
                <c:pt idx="10">
                  <c:v>9.9999999999999992E-2</c:v>
                </c:pt>
                <c:pt idx="11">
                  <c:v>0.10999999999999999</c:v>
                </c:pt>
                <c:pt idx="12">
                  <c:v>0.11999999999999998</c:v>
                </c:pt>
                <c:pt idx="13">
                  <c:v>0.12999999999999998</c:v>
                </c:pt>
                <c:pt idx="14">
                  <c:v>0.13999999999999999</c:v>
                </c:pt>
                <c:pt idx="15">
                  <c:v>0.15</c:v>
                </c:pt>
                <c:pt idx="16">
                  <c:v>0.16</c:v>
                </c:pt>
                <c:pt idx="17">
                  <c:v>0.17</c:v>
                </c:pt>
                <c:pt idx="18">
                  <c:v>0.18000000000000002</c:v>
                </c:pt>
                <c:pt idx="19">
                  <c:v>0.19000000000000003</c:v>
                </c:pt>
                <c:pt idx="20">
                  <c:v>0.20000000000000004</c:v>
                </c:pt>
                <c:pt idx="21">
                  <c:v>0.21000000000000005</c:v>
                </c:pt>
                <c:pt idx="22">
                  <c:v>0.22000000000000006</c:v>
                </c:pt>
                <c:pt idx="23">
                  <c:v>0.23000000000000007</c:v>
                </c:pt>
                <c:pt idx="24">
                  <c:v>0.24000000000000007</c:v>
                </c:pt>
                <c:pt idx="25">
                  <c:v>0.25000000000000006</c:v>
                </c:pt>
                <c:pt idx="26">
                  <c:v>0.26000000000000006</c:v>
                </c:pt>
                <c:pt idx="27">
                  <c:v>0.27000000000000007</c:v>
                </c:pt>
                <c:pt idx="28">
                  <c:v>0.28000000000000008</c:v>
                </c:pt>
                <c:pt idx="29">
                  <c:v>0.29000000000000009</c:v>
                </c:pt>
                <c:pt idx="30">
                  <c:v>0.3000000000000001</c:v>
                </c:pt>
              </c:numCache>
            </c:numRef>
          </c:cat>
          <c:val>
            <c:numRef>
              <c:f>charts!$AA$31:$AA$61</c:f>
              <c:numCache>
                <c:formatCode>General</c:formatCode>
                <c:ptCount val="31"/>
                <c:pt idx="0">
                  <c:v>0</c:v>
                </c:pt>
                <c:pt idx="1">
                  <c:v>0</c:v>
                </c:pt>
                <c:pt idx="2">
                  <c:v>0</c:v>
                </c:pt>
                <c:pt idx="3">
                  <c:v>1</c:v>
                </c:pt>
                <c:pt idx="4">
                  <c:v>9</c:v>
                </c:pt>
                <c:pt idx="5">
                  <c:v>38</c:v>
                </c:pt>
                <c:pt idx="6">
                  <c:v>119</c:v>
                </c:pt>
                <c:pt idx="7">
                  <c:v>157</c:v>
                </c:pt>
                <c:pt idx="8">
                  <c:v>90</c:v>
                </c:pt>
                <c:pt idx="9">
                  <c:v>71</c:v>
                </c:pt>
                <c:pt idx="10">
                  <c:v>27</c:v>
                </c:pt>
                <c:pt idx="11">
                  <c:v>25</c:v>
                </c:pt>
                <c:pt idx="12">
                  <c:v>6</c:v>
                </c:pt>
                <c:pt idx="13">
                  <c:v>2</c:v>
                </c:pt>
                <c:pt idx="14">
                  <c:v>1</c:v>
                </c:pt>
                <c:pt idx="15">
                  <c:v>1</c:v>
                </c:pt>
                <c:pt idx="16">
                  <c:v>1</c:v>
                </c:pt>
                <c:pt idx="17">
                  <c:v>2</c:v>
                </c:pt>
                <c:pt idx="18">
                  <c:v>1</c:v>
                </c:pt>
                <c:pt idx="19">
                  <c:v>2</c:v>
                </c:pt>
                <c:pt idx="20">
                  <c:v>1</c:v>
                </c:pt>
                <c:pt idx="21">
                  <c:v>1</c:v>
                </c:pt>
                <c:pt idx="22">
                  <c:v>3</c:v>
                </c:pt>
                <c:pt idx="23">
                  <c:v>0</c:v>
                </c:pt>
                <c:pt idx="24">
                  <c:v>0</c:v>
                </c:pt>
                <c:pt idx="25">
                  <c:v>0</c:v>
                </c:pt>
                <c:pt idx="26">
                  <c:v>0</c:v>
                </c:pt>
                <c:pt idx="27">
                  <c:v>0</c:v>
                </c:pt>
                <c:pt idx="28">
                  <c:v>0</c:v>
                </c:pt>
                <c:pt idx="29">
                  <c:v>0</c:v>
                </c:pt>
                <c:pt idx="30">
                  <c:v>0</c:v>
                </c:pt>
              </c:numCache>
            </c:numRef>
          </c:val>
          <c:extLst>
            <c:ext xmlns:c16="http://schemas.microsoft.com/office/drawing/2014/chart" uri="{C3380CC4-5D6E-409C-BE32-E72D297353CC}">
              <c16:uniqueId val="{00000005-483D-410A-9D5A-3F818C9ECD49}"/>
            </c:ext>
          </c:extLst>
        </c:ser>
        <c:ser>
          <c:idx val="6"/>
          <c:order val="6"/>
          <c:tx>
            <c:strRef>
              <c:f>charts!$AB$30</c:f>
              <c:strCache>
                <c:ptCount val="1"/>
                <c:pt idx="0">
                  <c:v>SPP</c:v>
                </c:pt>
              </c:strCache>
            </c:strRef>
          </c:tx>
          <c:spPr>
            <a:solidFill>
              <a:schemeClr val="tx1">
                <a:lumMod val="50000"/>
                <a:lumOff val="50000"/>
              </a:schemeClr>
            </a:solidFill>
            <a:ln>
              <a:noFill/>
            </a:ln>
            <a:effectLst/>
          </c:spPr>
          <c:invertIfNegative val="0"/>
          <c:cat>
            <c:numRef>
              <c:f>charts!$C$31:$C$61</c:f>
              <c:numCache>
                <c:formatCode>0%;[Red]\ \ \(0%\)</c:formatCode>
                <c:ptCount val="31"/>
                <c:pt idx="0">
                  <c:v>0</c:v>
                </c:pt>
                <c:pt idx="1">
                  <c:v>0.01</c:v>
                </c:pt>
                <c:pt idx="2">
                  <c:v>0.02</c:v>
                </c:pt>
                <c:pt idx="3">
                  <c:v>0.03</c:v>
                </c:pt>
                <c:pt idx="4">
                  <c:v>0.04</c:v>
                </c:pt>
                <c:pt idx="5">
                  <c:v>0.05</c:v>
                </c:pt>
                <c:pt idx="6">
                  <c:v>6.0000000000000005E-2</c:v>
                </c:pt>
                <c:pt idx="7">
                  <c:v>7.0000000000000007E-2</c:v>
                </c:pt>
                <c:pt idx="8">
                  <c:v>0.08</c:v>
                </c:pt>
                <c:pt idx="9">
                  <c:v>0.09</c:v>
                </c:pt>
                <c:pt idx="10">
                  <c:v>9.9999999999999992E-2</c:v>
                </c:pt>
                <c:pt idx="11">
                  <c:v>0.10999999999999999</c:v>
                </c:pt>
                <c:pt idx="12">
                  <c:v>0.11999999999999998</c:v>
                </c:pt>
                <c:pt idx="13">
                  <c:v>0.12999999999999998</c:v>
                </c:pt>
                <c:pt idx="14">
                  <c:v>0.13999999999999999</c:v>
                </c:pt>
                <c:pt idx="15">
                  <c:v>0.15</c:v>
                </c:pt>
                <c:pt idx="16">
                  <c:v>0.16</c:v>
                </c:pt>
                <c:pt idx="17">
                  <c:v>0.17</c:v>
                </c:pt>
                <c:pt idx="18">
                  <c:v>0.18000000000000002</c:v>
                </c:pt>
                <c:pt idx="19">
                  <c:v>0.19000000000000003</c:v>
                </c:pt>
                <c:pt idx="20">
                  <c:v>0.20000000000000004</c:v>
                </c:pt>
                <c:pt idx="21">
                  <c:v>0.21000000000000005</c:v>
                </c:pt>
                <c:pt idx="22">
                  <c:v>0.22000000000000006</c:v>
                </c:pt>
                <c:pt idx="23">
                  <c:v>0.23000000000000007</c:v>
                </c:pt>
                <c:pt idx="24">
                  <c:v>0.24000000000000007</c:v>
                </c:pt>
                <c:pt idx="25">
                  <c:v>0.25000000000000006</c:v>
                </c:pt>
                <c:pt idx="26">
                  <c:v>0.26000000000000006</c:v>
                </c:pt>
                <c:pt idx="27">
                  <c:v>0.27000000000000007</c:v>
                </c:pt>
                <c:pt idx="28">
                  <c:v>0.28000000000000008</c:v>
                </c:pt>
                <c:pt idx="29">
                  <c:v>0.29000000000000009</c:v>
                </c:pt>
                <c:pt idx="30">
                  <c:v>0.3000000000000001</c:v>
                </c:pt>
              </c:numCache>
            </c:numRef>
          </c:cat>
          <c:val>
            <c:numRef>
              <c:f>charts!$AB$31:$AB$61</c:f>
              <c:numCache>
                <c:formatCode>General</c:formatCode>
                <c:ptCount val="31"/>
                <c:pt idx="0">
                  <c:v>0</c:v>
                </c:pt>
                <c:pt idx="1">
                  <c:v>0</c:v>
                </c:pt>
                <c:pt idx="2">
                  <c:v>1</c:v>
                </c:pt>
                <c:pt idx="3">
                  <c:v>1</c:v>
                </c:pt>
                <c:pt idx="4">
                  <c:v>1</c:v>
                </c:pt>
                <c:pt idx="5">
                  <c:v>1</c:v>
                </c:pt>
                <c:pt idx="6">
                  <c:v>0</c:v>
                </c:pt>
                <c:pt idx="7">
                  <c:v>2</c:v>
                </c:pt>
                <c:pt idx="8">
                  <c:v>0</c:v>
                </c:pt>
                <c:pt idx="9">
                  <c:v>5</c:v>
                </c:pt>
                <c:pt idx="10">
                  <c:v>5</c:v>
                </c:pt>
                <c:pt idx="11">
                  <c:v>6</c:v>
                </c:pt>
                <c:pt idx="12">
                  <c:v>3</c:v>
                </c:pt>
                <c:pt idx="13">
                  <c:v>4</c:v>
                </c:pt>
                <c:pt idx="14">
                  <c:v>14</c:v>
                </c:pt>
                <c:pt idx="15">
                  <c:v>14</c:v>
                </c:pt>
                <c:pt idx="16">
                  <c:v>7</c:v>
                </c:pt>
                <c:pt idx="17">
                  <c:v>7</c:v>
                </c:pt>
                <c:pt idx="18">
                  <c:v>3</c:v>
                </c:pt>
                <c:pt idx="19">
                  <c:v>4</c:v>
                </c:pt>
                <c:pt idx="20">
                  <c:v>12</c:v>
                </c:pt>
                <c:pt idx="21">
                  <c:v>18</c:v>
                </c:pt>
                <c:pt idx="22">
                  <c:v>5</c:v>
                </c:pt>
                <c:pt idx="23">
                  <c:v>3</c:v>
                </c:pt>
                <c:pt idx="24">
                  <c:v>4</c:v>
                </c:pt>
                <c:pt idx="25">
                  <c:v>8</c:v>
                </c:pt>
                <c:pt idx="26">
                  <c:v>2</c:v>
                </c:pt>
                <c:pt idx="27">
                  <c:v>3</c:v>
                </c:pt>
                <c:pt idx="28">
                  <c:v>0</c:v>
                </c:pt>
                <c:pt idx="29">
                  <c:v>1</c:v>
                </c:pt>
                <c:pt idx="30">
                  <c:v>0</c:v>
                </c:pt>
              </c:numCache>
            </c:numRef>
          </c:val>
          <c:extLst>
            <c:ext xmlns:c16="http://schemas.microsoft.com/office/drawing/2014/chart" uri="{C3380CC4-5D6E-409C-BE32-E72D297353CC}">
              <c16:uniqueId val="{00000006-483D-410A-9D5A-3F818C9ECD49}"/>
            </c:ext>
          </c:extLst>
        </c:ser>
        <c:dLbls>
          <c:showLegendKey val="0"/>
          <c:showVal val="0"/>
          <c:showCatName val="0"/>
          <c:showSerName val="0"/>
          <c:showPercent val="0"/>
          <c:showBubbleSize val="0"/>
        </c:dLbls>
        <c:gapWidth val="50"/>
        <c:overlap val="100"/>
        <c:axId val="1925915791"/>
        <c:axId val="2021736303"/>
      </c:barChart>
      <c:catAx>
        <c:axId val="1925915791"/>
        <c:scaling>
          <c:orientation val="minMax"/>
        </c:scaling>
        <c:delete val="0"/>
        <c:axPos val="b"/>
        <c:numFmt formatCode="0%;[Red]\(0%\)" sourceLinked="0"/>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200" b="1" i="0" u="none" strike="noStrike" kern="1200" baseline="0">
                <a:solidFill>
                  <a:schemeClr val="accent6"/>
                </a:solidFill>
                <a:latin typeface="Manrope" pitchFamily="2" charset="0"/>
                <a:ea typeface="+mn-ea"/>
                <a:cs typeface="+mn-cs"/>
              </a:defRPr>
            </a:pPr>
            <a:endParaRPr lang="en-US"/>
          </a:p>
        </c:txPr>
        <c:crossAx val="2021736303"/>
        <c:crosses val="autoZero"/>
        <c:auto val="1"/>
        <c:lblAlgn val="ctr"/>
        <c:lblOffset val="100"/>
        <c:tickLblSkip val="2"/>
        <c:noMultiLvlLbl val="0"/>
      </c:catAx>
      <c:valAx>
        <c:axId val="2021736303"/>
        <c:scaling>
          <c:orientation val="minMax"/>
          <c:max val="200"/>
        </c:scaling>
        <c:delete val="0"/>
        <c:axPos val="l"/>
        <c:majorGridlines>
          <c:spPr>
            <a:ln w="9525" cap="flat" cmpd="sng" algn="ctr">
              <a:solidFill>
                <a:schemeClr val="bg1">
                  <a:lumMod val="95000"/>
                </a:schemeClr>
              </a:solidFill>
              <a:round/>
            </a:ln>
            <a:effectLst/>
          </c:spPr>
        </c:majorGridlines>
        <c:title>
          <c:tx>
            <c:rich>
              <a:bodyPr rot="-5400000" spcFirstLastPara="1" vertOverflow="ellipsis" vert="horz" wrap="square" anchor="ctr" anchorCtr="1"/>
              <a:lstStyle/>
              <a:p>
                <a:pPr>
                  <a:defRPr sz="1200" b="1" i="0" u="none" strike="noStrike" kern="1200" baseline="0">
                    <a:solidFill>
                      <a:schemeClr val="accent6"/>
                    </a:solidFill>
                    <a:latin typeface="Manrope" pitchFamily="2" charset="0"/>
                    <a:ea typeface="+mn-ea"/>
                    <a:cs typeface="+mn-cs"/>
                  </a:defRPr>
                </a:pPr>
                <a:r>
                  <a:rPr lang="en-US"/>
                  <a:t>Project Count</a:t>
                </a:r>
              </a:p>
            </c:rich>
          </c:tx>
          <c:overlay val="0"/>
          <c:spPr>
            <a:noFill/>
            <a:ln>
              <a:noFill/>
            </a:ln>
            <a:effectLst/>
          </c:spPr>
          <c:txPr>
            <a:bodyPr rot="-5400000" spcFirstLastPara="1" vertOverflow="ellipsis" vert="horz" wrap="square" anchor="ctr" anchorCtr="1"/>
            <a:lstStyle/>
            <a:p>
              <a:pPr>
                <a:defRPr sz="1200" b="1" i="0" u="none" strike="noStrike" kern="1200" baseline="0">
                  <a:solidFill>
                    <a:schemeClr val="accent6"/>
                  </a:solidFill>
                  <a:latin typeface="Manrope" pitchFamily="2" charset="0"/>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accent6"/>
                </a:solidFill>
                <a:latin typeface="Manrope" pitchFamily="2" charset="0"/>
                <a:ea typeface="+mn-ea"/>
                <a:cs typeface="+mn-cs"/>
              </a:defRPr>
            </a:pPr>
            <a:endParaRPr lang="en-US"/>
          </a:p>
        </c:txPr>
        <c:crossAx val="192591579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sz="1200" b="1">
          <a:solidFill>
            <a:schemeClr val="accent6"/>
          </a:solidFill>
          <a:latin typeface="Manrope" pitchFamily="2" charset="0"/>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8347053872053873E-2"/>
          <c:y val="0.11400728363237318"/>
          <c:w val="0.90989368686868688"/>
          <c:h val="0.62784334571304612"/>
        </c:manualLayout>
      </c:layout>
      <c:barChart>
        <c:barDir val="col"/>
        <c:grouping val="stacked"/>
        <c:varyColors val="0"/>
        <c:ser>
          <c:idx val="0"/>
          <c:order val="0"/>
          <c:tx>
            <c:strRef>
              <c:f>charts!$D$30</c:f>
              <c:strCache>
                <c:ptCount val="1"/>
                <c:pt idx="0">
                  <c:v>CAISO</c:v>
                </c:pt>
              </c:strCache>
            </c:strRef>
          </c:tx>
          <c:spPr>
            <a:solidFill>
              <a:srgbClr val="C00000"/>
            </a:solidFill>
            <a:ln>
              <a:noFill/>
            </a:ln>
            <a:effectLst/>
          </c:spPr>
          <c:invertIfNegative val="0"/>
          <c:cat>
            <c:numRef>
              <c:f>charts!$C$31:$C$61</c:f>
              <c:numCache>
                <c:formatCode>0%;[Red]\ \ \(0%\)</c:formatCode>
                <c:ptCount val="31"/>
                <c:pt idx="0">
                  <c:v>0</c:v>
                </c:pt>
                <c:pt idx="1">
                  <c:v>0.01</c:v>
                </c:pt>
                <c:pt idx="2">
                  <c:v>0.02</c:v>
                </c:pt>
                <c:pt idx="3">
                  <c:v>0.03</c:v>
                </c:pt>
                <c:pt idx="4">
                  <c:v>0.04</c:v>
                </c:pt>
                <c:pt idx="5">
                  <c:v>0.05</c:v>
                </c:pt>
                <c:pt idx="6">
                  <c:v>6.0000000000000005E-2</c:v>
                </c:pt>
                <c:pt idx="7">
                  <c:v>7.0000000000000007E-2</c:v>
                </c:pt>
                <c:pt idx="8">
                  <c:v>0.08</c:v>
                </c:pt>
                <c:pt idx="9">
                  <c:v>0.09</c:v>
                </c:pt>
                <c:pt idx="10">
                  <c:v>9.9999999999999992E-2</c:v>
                </c:pt>
                <c:pt idx="11">
                  <c:v>0.10999999999999999</c:v>
                </c:pt>
                <c:pt idx="12">
                  <c:v>0.11999999999999998</c:v>
                </c:pt>
                <c:pt idx="13">
                  <c:v>0.12999999999999998</c:v>
                </c:pt>
                <c:pt idx="14">
                  <c:v>0.13999999999999999</c:v>
                </c:pt>
                <c:pt idx="15">
                  <c:v>0.15</c:v>
                </c:pt>
                <c:pt idx="16">
                  <c:v>0.16</c:v>
                </c:pt>
                <c:pt idx="17">
                  <c:v>0.17</c:v>
                </c:pt>
                <c:pt idx="18">
                  <c:v>0.18000000000000002</c:v>
                </c:pt>
                <c:pt idx="19">
                  <c:v>0.19000000000000003</c:v>
                </c:pt>
                <c:pt idx="20">
                  <c:v>0.20000000000000004</c:v>
                </c:pt>
                <c:pt idx="21">
                  <c:v>0.21000000000000005</c:v>
                </c:pt>
                <c:pt idx="22">
                  <c:v>0.22000000000000006</c:v>
                </c:pt>
                <c:pt idx="23">
                  <c:v>0.23000000000000007</c:v>
                </c:pt>
                <c:pt idx="24">
                  <c:v>0.24000000000000007</c:v>
                </c:pt>
                <c:pt idx="25">
                  <c:v>0.25000000000000006</c:v>
                </c:pt>
                <c:pt idx="26">
                  <c:v>0.26000000000000006</c:v>
                </c:pt>
                <c:pt idx="27">
                  <c:v>0.27000000000000007</c:v>
                </c:pt>
                <c:pt idx="28">
                  <c:v>0.28000000000000008</c:v>
                </c:pt>
                <c:pt idx="29">
                  <c:v>0.29000000000000009</c:v>
                </c:pt>
                <c:pt idx="30">
                  <c:v>0.3000000000000001</c:v>
                </c:pt>
              </c:numCache>
            </c:numRef>
          </c:cat>
          <c:val>
            <c:numRef>
              <c:f>charts!$D$31:$D$61</c:f>
              <c:numCache>
                <c:formatCode>General</c:formatCode>
                <c:ptCount val="31"/>
                <c:pt idx="0">
                  <c:v>0</c:v>
                </c:pt>
                <c:pt idx="1">
                  <c:v>0</c:v>
                </c:pt>
                <c:pt idx="2">
                  <c:v>2</c:v>
                </c:pt>
                <c:pt idx="3">
                  <c:v>1</c:v>
                </c:pt>
                <c:pt idx="4">
                  <c:v>13</c:v>
                </c:pt>
                <c:pt idx="5">
                  <c:v>19</c:v>
                </c:pt>
                <c:pt idx="6">
                  <c:v>9</c:v>
                </c:pt>
                <c:pt idx="7">
                  <c:v>10</c:v>
                </c:pt>
                <c:pt idx="8">
                  <c:v>21</c:v>
                </c:pt>
                <c:pt idx="9">
                  <c:v>50</c:v>
                </c:pt>
                <c:pt idx="10">
                  <c:v>40</c:v>
                </c:pt>
                <c:pt idx="11">
                  <c:v>91</c:v>
                </c:pt>
                <c:pt idx="12">
                  <c:v>55</c:v>
                </c:pt>
                <c:pt idx="13">
                  <c:v>70</c:v>
                </c:pt>
                <c:pt idx="14">
                  <c:v>38</c:v>
                </c:pt>
                <c:pt idx="15">
                  <c:v>15</c:v>
                </c:pt>
                <c:pt idx="16">
                  <c:v>12</c:v>
                </c:pt>
                <c:pt idx="17">
                  <c:v>5</c:v>
                </c:pt>
                <c:pt idx="18">
                  <c:v>0</c:v>
                </c:pt>
                <c:pt idx="19">
                  <c:v>3</c:v>
                </c:pt>
                <c:pt idx="20">
                  <c:v>1</c:v>
                </c:pt>
                <c:pt idx="21">
                  <c:v>1</c:v>
                </c:pt>
                <c:pt idx="22">
                  <c:v>1</c:v>
                </c:pt>
                <c:pt idx="23">
                  <c:v>0</c:v>
                </c:pt>
                <c:pt idx="24">
                  <c:v>0</c:v>
                </c:pt>
                <c:pt idx="25">
                  <c:v>0</c:v>
                </c:pt>
                <c:pt idx="26">
                  <c:v>0</c:v>
                </c:pt>
                <c:pt idx="27">
                  <c:v>0</c:v>
                </c:pt>
                <c:pt idx="28">
                  <c:v>0</c:v>
                </c:pt>
                <c:pt idx="29">
                  <c:v>0</c:v>
                </c:pt>
                <c:pt idx="30">
                  <c:v>0</c:v>
                </c:pt>
              </c:numCache>
            </c:numRef>
          </c:val>
          <c:extLst>
            <c:ext xmlns:c16="http://schemas.microsoft.com/office/drawing/2014/chart" uri="{C3380CC4-5D6E-409C-BE32-E72D297353CC}">
              <c16:uniqueId val="{00000000-3A81-462F-AF5A-396DF3FDAD5C}"/>
            </c:ext>
          </c:extLst>
        </c:ser>
        <c:ser>
          <c:idx val="1"/>
          <c:order val="1"/>
          <c:tx>
            <c:strRef>
              <c:f>charts!$E$30</c:f>
              <c:strCache>
                <c:ptCount val="1"/>
                <c:pt idx="0">
                  <c:v>ERCOT</c:v>
                </c:pt>
              </c:strCache>
            </c:strRef>
          </c:tx>
          <c:spPr>
            <a:solidFill>
              <a:schemeClr val="accent2"/>
            </a:solidFill>
            <a:ln>
              <a:noFill/>
            </a:ln>
            <a:effectLst/>
          </c:spPr>
          <c:invertIfNegative val="0"/>
          <c:cat>
            <c:numRef>
              <c:f>charts!$C$31:$C$61</c:f>
              <c:numCache>
                <c:formatCode>0%;[Red]\ \ \(0%\)</c:formatCode>
                <c:ptCount val="31"/>
                <c:pt idx="0">
                  <c:v>0</c:v>
                </c:pt>
                <c:pt idx="1">
                  <c:v>0.01</c:v>
                </c:pt>
                <c:pt idx="2">
                  <c:v>0.02</c:v>
                </c:pt>
                <c:pt idx="3">
                  <c:v>0.03</c:v>
                </c:pt>
                <c:pt idx="4">
                  <c:v>0.04</c:v>
                </c:pt>
                <c:pt idx="5">
                  <c:v>0.05</c:v>
                </c:pt>
                <c:pt idx="6">
                  <c:v>6.0000000000000005E-2</c:v>
                </c:pt>
                <c:pt idx="7">
                  <c:v>7.0000000000000007E-2</c:v>
                </c:pt>
                <c:pt idx="8">
                  <c:v>0.08</c:v>
                </c:pt>
                <c:pt idx="9">
                  <c:v>0.09</c:v>
                </c:pt>
                <c:pt idx="10">
                  <c:v>9.9999999999999992E-2</c:v>
                </c:pt>
                <c:pt idx="11">
                  <c:v>0.10999999999999999</c:v>
                </c:pt>
                <c:pt idx="12">
                  <c:v>0.11999999999999998</c:v>
                </c:pt>
                <c:pt idx="13">
                  <c:v>0.12999999999999998</c:v>
                </c:pt>
                <c:pt idx="14">
                  <c:v>0.13999999999999999</c:v>
                </c:pt>
                <c:pt idx="15">
                  <c:v>0.15</c:v>
                </c:pt>
                <c:pt idx="16">
                  <c:v>0.16</c:v>
                </c:pt>
                <c:pt idx="17">
                  <c:v>0.17</c:v>
                </c:pt>
                <c:pt idx="18">
                  <c:v>0.18000000000000002</c:v>
                </c:pt>
                <c:pt idx="19">
                  <c:v>0.19000000000000003</c:v>
                </c:pt>
                <c:pt idx="20">
                  <c:v>0.20000000000000004</c:v>
                </c:pt>
                <c:pt idx="21">
                  <c:v>0.21000000000000005</c:v>
                </c:pt>
                <c:pt idx="22">
                  <c:v>0.22000000000000006</c:v>
                </c:pt>
                <c:pt idx="23">
                  <c:v>0.23000000000000007</c:v>
                </c:pt>
                <c:pt idx="24">
                  <c:v>0.24000000000000007</c:v>
                </c:pt>
                <c:pt idx="25">
                  <c:v>0.25000000000000006</c:v>
                </c:pt>
                <c:pt idx="26">
                  <c:v>0.26000000000000006</c:v>
                </c:pt>
                <c:pt idx="27">
                  <c:v>0.27000000000000007</c:v>
                </c:pt>
                <c:pt idx="28">
                  <c:v>0.28000000000000008</c:v>
                </c:pt>
                <c:pt idx="29">
                  <c:v>0.29000000000000009</c:v>
                </c:pt>
                <c:pt idx="30">
                  <c:v>0.3000000000000001</c:v>
                </c:pt>
              </c:numCache>
            </c:numRef>
          </c:cat>
          <c:val>
            <c:numRef>
              <c:f>charts!$E$31:$E$61</c:f>
              <c:numCache>
                <c:formatCode>General</c:formatCode>
                <c:ptCount val="31"/>
                <c:pt idx="0">
                  <c:v>0</c:v>
                </c:pt>
                <c:pt idx="1">
                  <c:v>0</c:v>
                </c:pt>
                <c:pt idx="2">
                  <c:v>0</c:v>
                </c:pt>
                <c:pt idx="3">
                  <c:v>2</c:v>
                </c:pt>
                <c:pt idx="4">
                  <c:v>0</c:v>
                </c:pt>
                <c:pt idx="5">
                  <c:v>9</c:v>
                </c:pt>
                <c:pt idx="6">
                  <c:v>5</c:v>
                </c:pt>
                <c:pt idx="7">
                  <c:v>19</c:v>
                </c:pt>
                <c:pt idx="8">
                  <c:v>61</c:v>
                </c:pt>
                <c:pt idx="9">
                  <c:v>71</c:v>
                </c:pt>
                <c:pt idx="10">
                  <c:v>149</c:v>
                </c:pt>
                <c:pt idx="11">
                  <c:v>101</c:v>
                </c:pt>
                <c:pt idx="12">
                  <c:v>61</c:v>
                </c:pt>
                <c:pt idx="13">
                  <c:v>44</c:v>
                </c:pt>
                <c:pt idx="14">
                  <c:v>8</c:v>
                </c:pt>
                <c:pt idx="15">
                  <c:v>2</c:v>
                </c:pt>
                <c:pt idx="16">
                  <c:v>1</c:v>
                </c:pt>
                <c:pt idx="17">
                  <c:v>2</c:v>
                </c:pt>
                <c:pt idx="18">
                  <c:v>1</c:v>
                </c:pt>
                <c:pt idx="19">
                  <c:v>0</c:v>
                </c:pt>
                <c:pt idx="20">
                  <c:v>0</c:v>
                </c:pt>
                <c:pt idx="21">
                  <c:v>0</c:v>
                </c:pt>
                <c:pt idx="22">
                  <c:v>0</c:v>
                </c:pt>
                <c:pt idx="23">
                  <c:v>0</c:v>
                </c:pt>
                <c:pt idx="24">
                  <c:v>1</c:v>
                </c:pt>
                <c:pt idx="25">
                  <c:v>0</c:v>
                </c:pt>
                <c:pt idx="26">
                  <c:v>0</c:v>
                </c:pt>
                <c:pt idx="27">
                  <c:v>0</c:v>
                </c:pt>
                <c:pt idx="28">
                  <c:v>0</c:v>
                </c:pt>
                <c:pt idx="29">
                  <c:v>0</c:v>
                </c:pt>
                <c:pt idx="30">
                  <c:v>0</c:v>
                </c:pt>
              </c:numCache>
            </c:numRef>
          </c:val>
          <c:extLst>
            <c:ext xmlns:c16="http://schemas.microsoft.com/office/drawing/2014/chart" uri="{C3380CC4-5D6E-409C-BE32-E72D297353CC}">
              <c16:uniqueId val="{00000001-3A81-462F-AF5A-396DF3FDAD5C}"/>
            </c:ext>
          </c:extLst>
        </c:ser>
        <c:ser>
          <c:idx val="2"/>
          <c:order val="2"/>
          <c:tx>
            <c:strRef>
              <c:f>charts!$F$30</c:f>
              <c:strCache>
                <c:ptCount val="1"/>
                <c:pt idx="0">
                  <c:v>ISO-NE</c:v>
                </c:pt>
              </c:strCache>
            </c:strRef>
          </c:tx>
          <c:spPr>
            <a:solidFill>
              <a:schemeClr val="accent3"/>
            </a:solidFill>
            <a:ln>
              <a:noFill/>
            </a:ln>
            <a:effectLst/>
          </c:spPr>
          <c:invertIfNegative val="0"/>
          <c:cat>
            <c:numRef>
              <c:f>charts!$C$31:$C$61</c:f>
              <c:numCache>
                <c:formatCode>0%;[Red]\ \ \(0%\)</c:formatCode>
                <c:ptCount val="31"/>
                <c:pt idx="0">
                  <c:v>0</c:v>
                </c:pt>
                <c:pt idx="1">
                  <c:v>0.01</c:v>
                </c:pt>
                <c:pt idx="2">
                  <c:v>0.02</c:v>
                </c:pt>
                <c:pt idx="3">
                  <c:v>0.03</c:v>
                </c:pt>
                <c:pt idx="4">
                  <c:v>0.04</c:v>
                </c:pt>
                <c:pt idx="5">
                  <c:v>0.05</c:v>
                </c:pt>
                <c:pt idx="6">
                  <c:v>6.0000000000000005E-2</c:v>
                </c:pt>
                <c:pt idx="7">
                  <c:v>7.0000000000000007E-2</c:v>
                </c:pt>
                <c:pt idx="8">
                  <c:v>0.08</c:v>
                </c:pt>
                <c:pt idx="9">
                  <c:v>0.09</c:v>
                </c:pt>
                <c:pt idx="10">
                  <c:v>9.9999999999999992E-2</c:v>
                </c:pt>
                <c:pt idx="11">
                  <c:v>0.10999999999999999</c:v>
                </c:pt>
                <c:pt idx="12">
                  <c:v>0.11999999999999998</c:v>
                </c:pt>
                <c:pt idx="13">
                  <c:v>0.12999999999999998</c:v>
                </c:pt>
                <c:pt idx="14">
                  <c:v>0.13999999999999999</c:v>
                </c:pt>
                <c:pt idx="15">
                  <c:v>0.15</c:v>
                </c:pt>
                <c:pt idx="16">
                  <c:v>0.16</c:v>
                </c:pt>
                <c:pt idx="17">
                  <c:v>0.17</c:v>
                </c:pt>
                <c:pt idx="18">
                  <c:v>0.18000000000000002</c:v>
                </c:pt>
                <c:pt idx="19">
                  <c:v>0.19000000000000003</c:v>
                </c:pt>
                <c:pt idx="20">
                  <c:v>0.20000000000000004</c:v>
                </c:pt>
                <c:pt idx="21">
                  <c:v>0.21000000000000005</c:v>
                </c:pt>
                <c:pt idx="22">
                  <c:v>0.22000000000000006</c:v>
                </c:pt>
                <c:pt idx="23">
                  <c:v>0.23000000000000007</c:v>
                </c:pt>
                <c:pt idx="24">
                  <c:v>0.24000000000000007</c:v>
                </c:pt>
                <c:pt idx="25">
                  <c:v>0.25000000000000006</c:v>
                </c:pt>
                <c:pt idx="26">
                  <c:v>0.26000000000000006</c:v>
                </c:pt>
                <c:pt idx="27">
                  <c:v>0.27000000000000007</c:v>
                </c:pt>
                <c:pt idx="28">
                  <c:v>0.28000000000000008</c:v>
                </c:pt>
                <c:pt idx="29">
                  <c:v>0.29000000000000009</c:v>
                </c:pt>
                <c:pt idx="30">
                  <c:v>0.3000000000000001</c:v>
                </c:pt>
              </c:numCache>
            </c:numRef>
          </c:cat>
          <c:val>
            <c:numRef>
              <c:f>charts!$F$31:$F$61</c:f>
              <c:numCache>
                <c:formatCode>General</c:formatCode>
                <c:ptCount val="31"/>
                <c:pt idx="0">
                  <c:v>0</c:v>
                </c:pt>
                <c:pt idx="1">
                  <c:v>5</c:v>
                </c:pt>
                <c:pt idx="2">
                  <c:v>14</c:v>
                </c:pt>
                <c:pt idx="3">
                  <c:v>42</c:v>
                </c:pt>
                <c:pt idx="4">
                  <c:v>47</c:v>
                </c:pt>
                <c:pt idx="5">
                  <c:v>55</c:v>
                </c:pt>
                <c:pt idx="6">
                  <c:v>19</c:v>
                </c:pt>
                <c:pt idx="7">
                  <c:v>49</c:v>
                </c:pt>
                <c:pt idx="8">
                  <c:v>14</c:v>
                </c:pt>
                <c:pt idx="9">
                  <c:v>7</c:v>
                </c:pt>
                <c:pt idx="10">
                  <c:v>14</c:v>
                </c:pt>
                <c:pt idx="11">
                  <c:v>2</c:v>
                </c:pt>
                <c:pt idx="12">
                  <c:v>3</c:v>
                </c:pt>
                <c:pt idx="13">
                  <c:v>0</c:v>
                </c:pt>
                <c:pt idx="14">
                  <c:v>13</c:v>
                </c:pt>
                <c:pt idx="15">
                  <c:v>0</c:v>
                </c:pt>
                <c:pt idx="16">
                  <c:v>1</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numCache>
            </c:numRef>
          </c:val>
          <c:extLst>
            <c:ext xmlns:c16="http://schemas.microsoft.com/office/drawing/2014/chart" uri="{C3380CC4-5D6E-409C-BE32-E72D297353CC}">
              <c16:uniqueId val="{00000002-3A81-462F-AF5A-396DF3FDAD5C}"/>
            </c:ext>
          </c:extLst>
        </c:ser>
        <c:ser>
          <c:idx val="3"/>
          <c:order val="3"/>
          <c:tx>
            <c:strRef>
              <c:f>charts!$G$30</c:f>
              <c:strCache>
                <c:ptCount val="1"/>
                <c:pt idx="0">
                  <c:v>MISO</c:v>
                </c:pt>
              </c:strCache>
            </c:strRef>
          </c:tx>
          <c:spPr>
            <a:solidFill>
              <a:schemeClr val="accent4"/>
            </a:solidFill>
            <a:ln>
              <a:noFill/>
            </a:ln>
            <a:effectLst/>
          </c:spPr>
          <c:invertIfNegative val="0"/>
          <c:cat>
            <c:numRef>
              <c:f>charts!$C$31:$C$61</c:f>
              <c:numCache>
                <c:formatCode>0%;[Red]\ \ \(0%\)</c:formatCode>
                <c:ptCount val="31"/>
                <c:pt idx="0">
                  <c:v>0</c:v>
                </c:pt>
                <c:pt idx="1">
                  <c:v>0.01</c:v>
                </c:pt>
                <c:pt idx="2">
                  <c:v>0.02</c:v>
                </c:pt>
                <c:pt idx="3">
                  <c:v>0.03</c:v>
                </c:pt>
                <c:pt idx="4">
                  <c:v>0.04</c:v>
                </c:pt>
                <c:pt idx="5">
                  <c:v>0.05</c:v>
                </c:pt>
                <c:pt idx="6">
                  <c:v>6.0000000000000005E-2</c:v>
                </c:pt>
                <c:pt idx="7">
                  <c:v>7.0000000000000007E-2</c:v>
                </c:pt>
                <c:pt idx="8">
                  <c:v>0.08</c:v>
                </c:pt>
                <c:pt idx="9">
                  <c:v>0.09</c:v>
                </c:pt>
                <c:pt idx="10">
                  <c:v>9.9999999999999992E-2</c:v>
                </c:pt>
                <c:pt idx="11">
                  <c:v>0.10999999999999999</c:v>
                </c:pt>
                <c:pt idx="12">
                  <c:v>0.11999999999999998</c:v>
                </c:pt>
                <c:pt idx="13">
                  <c:v>0.12999999999999998</c:v>
                </c:pt>
                <c:pt idx="14">
                  <c:v>0.13999999999999999</c:v>
                </c:pt>
                <c:pt idx="15">
                  <c:v>0.15</c:v>
                </c:pt>
                <c:pt idx="16">
                  <c:v>0.16</c:v>
                </c:pt>
                <c:pt idx="17">
                  <c:v>0.17</c:v>
                </c:pt>
                <c:pt idx="18">
                  <c:v>0.18000000000000002</c:v>
                </c:pt>
                <c:pt idx="19">
                  <c:v>0.19000000000000003</c:v>
                </c:pt>
                <c:pt idx="20">
                  <c:v>0.20000000000000004</c:v>
                </c:pt>
                <c:pt idx="21">
                  <c:v>0.21000000000000005</c:v>
                </c:pt>
                <c:pt idx="22">
                  <c:v>0.22000000000000006</c:v>
                </c:pt>
                <c:pt idx="23">
                  <c:v>0.23000000000000007</c:v>
                </c:pt>
                <c:pt idx="24">
                  <c:v>0.24000000000000007</c:v>
                </c:pt>
                <c:pt idx="25">
                  <c:v>0.25000000000000006</c:v>
                </c:pt>
                <c:pt idx="26">
                  <c:v>0.26000000000000006</c:v>
                </c:pt>
                <c:pt idx="27">
                  <c:v>0.27000000000000007</c:v>
                </c:pt>
                <c:pt idx="28">
                  <c:v>0.28000000000000008</c:v>
                </c:pt>
                <c:pt idx="29">
                  <c:v>0.29000000000000009</c:v>
                </c:pt>
                <c:pt idx="30">
                  <c:v>0.3000000000000001</c:v>
                </c:pt>
              </c:numCache>
            </c:numRef>
          </c:cat>
          <c:val>
            <c:numRef>
              <c:f>charts!$G$31:$G$61</c:f>
              <c:numCache>
                <c:formatCode>General</c:formatCode>
                <c:ptCount val="31"/>
                <c:pt idx="0">
                  <c:v>0</c:v>
                </c:pt>
                <c:pt idx="1">
                  <c:v>0</c:v>
                </c:pt>
                <c:pt idx="2">
                  <c:v>1</c:v>
                </c:pt>
                <c:pt idx="3">
                  <c:v>2</c:v>
                </c:pt>
                <c:pt idx="4">
                  <c:v>7</c:v>
                </c:pt>
                <c:pt idx="5">
                  <c:v>66</c:v>
                </c:pt>
                <c:pt idx="6">
                  <c:v>46</c:v>
                </c:pt>
                <c:pt idx="7">
                  <c:v>99</c:v>
                </c:pt>
                <c:pt idx="8">
                  <c:v>143</c:v>
                </c:pt>
                <c:pt idx="9">
                  <c:v>164</c:v>
                </c:pt>
                <c:pt idx="10">
                  <c:v>223</c:v>
                </c:pt>
                <c:pt idx="11">
                  <c:v>121</c:v>
                </c:pt>
                <c:pt idx="12">
                  <c:v>160</c:v>
                </c:pt>
                <c:pt idx="13">
                  <c:v>103</c:v>
                </c:pt>
                <c:pt idx="14">
                  <c:v>6</c:v>
                </c:pt>
                <c:pt idx="15">
                  <c:v>0</c:v>
                </c:pt>
                <c:pt idx="16">
                  <c:v>1</c:v>
                </c:pt>
                <c:pt idx="17">
                  <c:v>1</c:v>
                </c:pt>
                <c:pt idx="18">
                  <c:v>0</c:v>
                </c:pt>
                <c:pt idx="19">
                  <c:v>0</c:v>
                </c:pt>
                <c:pt idx="20">
                  <c:v>0</c:v>
                </c:pt>
                <c:pt idx="21">
                  <c:v>0</c:v>
                </c:pt>
                <c:pt idx="22">
                  <c:v>0</c:v>
                </c:pt>
                <c:pt idx="23">
                  <c:v>0</c:v>
                </c:pt>
                <c:pt idx="24">
                  <c:v>0</c:v>
                </c:pt>
                <c:pt idx="25">
                  <c:v>0</c:v>
                </c:pt>
                <c:pt idx="26">
                  <c:v>0</c:v>
                </c:pt>
                <c:pt idx="27">
                  <c:v>0</c:v>
                </c:pt>
                <c:pt idx="28">
                  <c:v>1</c:v>
                </c:pt>
                <c:pt idx="29">
                  <c:v>0</c:v>
                </c:pt>
                <c:pt idx="30">
                  <c:v>0</c:v>
                </c:pt>
              </c:numCache>
            </c:numRef>
          </c:val>
          <c:extLst>
            <c:ext xmlns:c16="http://schemas.microsoft.com/office/drawing/2014/chart" uri="{C3380CC4-5D6E-409C-BE32-E72D297353CC}">
              <c16:uniqueId val="{00000003-3A81-462F-AF5A-396DF3FDAD5C}"/>
            </c:ext>
          </c:extLst>
        </c:ser>
        <c:ser>
          <c:idx val="4"/>
          <c:order val="4"/>
          <c:tx>
            <c:strRef>
              <c:f>charts!$H$30</c:f>
              <c:strCache>
                <c:ptCount val="1"/>
                <c:pt idx="0">
                  <c:v>NYISO</c:v>
                </c:pt>
              </c:strCache>
            </c:strRef>
          </c:tx>
          <c:spPr>
            <a:solidFill>
              <a:schemeClr val="accent5"/>
            </a:solidFill>
            <a:ln>
              <a:noFill/>
            </a:ln>
            <a:effectLst/>
          </c:spPr>
          <c:invertIfNegative val="0"/>
          <c:cat>
            <c:numRef>
              <c:f>charts!$C$31:$C$61</c:f>
              <c:numCache>
                <c:formatCode>0%;[Red]\ \ \(0%\)</c:formatCode>
                <c:ptCount val="31"/>
                <c:pt idx="0">
                  <c:v>0</c:v>
                </c:pt>
                <c:pt idx="1">
                  <c:v>0.01</c:v>
                </c:pt>
                <c:pt idx="2">
                  <c:v>0.02</c:v>
                </c:pt>
                <c:pt idx="3">
                  <c:v>0.03</c:v>
                </c:pt>
                <c:pt idx="4">
                  <c:v>0.04</c:v>
                </c:pt>
                <c:pt idx="5">
                  <c:v>0.05</c:v>
                </c:pt>
                <c:pt idx="6">
                  <c:v>6.0000000000000005E-2</c:v>
                </c:pt>
                <c:pt idx="7">
                  <c:v>7.0000000000000007E-2</c:v>
                </c:pt>
                <c:pt idx="8">
                  <c:v>0.08</c:v>
                </c:pt>
                <c:pt idx="9">
                  <c:v>0.09</c:v>
                </c:pt>
                <c:pt idx="10">
                  <c:v>9.9999999999999992E-2</c:v>
                </c:pt>
                <c:pt idx="11">
                  <c:v>0.10999999999999999</c:v>
                </c:pt>
                <c:pt idx="12">
                  <c:v>0.11999999999999998</c:v>
                </c:pt>
                <c:pt idx="13">
                  <c:v>0.12999999999999998</c:v>
                </c:pt>
                <c:pt idx="14">
                  <c:v>0.13999999999999999</c:v>
                </c:pt>
                <c:pt idx="15">
                  <c:v>0.15</c:v>
                </c:pt>
                <c:pt idx="16">
                  <c:v>0.16</c:v>
                </c:pt>
                <c:pt idx="17">
                  <c:v>0.17</c:v>
                </c:pt>
                <c:pt idx="18">
                  <c:v>0.18000000000000002</c:v>
                </c:pt>
                <c:pt idx="19">
                  <c:v>0.19000000000000003</c:v>
                </c:pt>
                <c:pt idx="20">
                  <c:v>0.20000000000000004</c:v>
                </c:pt>
                <c:pt idx="21">
                  <c:v>0.21000000000000005</c:v>
                </c:pt>
                <c:pt idx="22">
                  <c:v>0.22000000000000006</c:v>
                </c:pt>
                <c:pt idx="23">
                  <c:v>0.23000000000000007</c:v>
                </c:pt>
                <c:pt idx="24">
                  <c:v>0.24000000000000007</c:v>
                </c:pt>
                <c:pt idx="25">
                  <c:v>0.25000000000000006</c:v>
                </c:pt>
                <c:pt idx="26">
                  <c:v>0.26000000000000006</c:v>
                </c:pt>
                <c:pt idx="27">
                  <c:v>0.27000000000000007</c:v>
                </c:pt>
                <c:pt idx="28">
                  <c:v>0.28000000000000008</c:v>
                </c:pt>
                <c:pt idx="29">
                  <c:v>0.29000000000000009</c:v>
                </c:pt>
                <c:pt idx="30">
                  <c:v>0.3000000000000001</c:v>
                </c:pt>
              </c:numCache>
            </c:numRef>
          </c:cat>
          <c:val>
            <c:numRef>
              <c:f>charts!$H$31:$H$61</c:f>
              <c:numCache>
                <c:formatCode>General</c:formatCode>
                <c:ptCount val="31"/>
                <c:pt idx="0">
                  <c:v>0</c:v>
                </c:pt>
                <c:pt idx="1">
                  <c:v>0</c:v>
                </c:pt>
                <c:pt idx="2">
                  <c:v>0</c:v>
                </c:pt>
                <c:pt idx="3">
                  <c:v>5</c:v>
                </c:pt>
                <c:pt idx="4">
                  <c:v>12</c:v>
                </c:pt>
                <c:pt idx="5">
                  <c:v>22</c:v>
                </c:pt>
                <c:pt idx="6">
                  <c:v>55</c:v>
                </c:pt>
                <c:pt idx="7">
                  <c:v>36</c:v>
                </c:pt>
                <c:pt idx="8">
                  <c:v>86</c:v>
                </c:pt>
                <c:pt idx="9">
                  <c:v>23</c:v>
                </c:pt>
                <c:pt idx="10">
                  <c:v>24</c:v>
                </c:pt>
                <c:pt idx="11">
                  <c:v>8</c:v>
                </c:pt>
                <c:pt idx="12">
                  <c:v>12</c:v>
                </c:pt>
                <c:pt idx="13">
                  <c:v>2</c:v>
                </c:pt>
                <c:pt idx="14">
                  <c:v>0</c:v>
                </c:pt>
                <c:pt idx="15">
                  <c:v>2</c:v>
                </c:pt>
                <c:pt idx="16">
                  <c:v>0</c:v>
                </c:pt>
                <c:pt idx="17">
                  <c:v>0</c:v>
                </c:pt>
                <c:pt idx="18">
                  <c:v>1</c:v>
                </c:pt>
                <c:pt idx="19">
                  <c:v>1</c:v>
                </c:pt>
                <c:pt idx="20">
                  <c:v>0</c:v>
                </c:pt>
                <c:pt idx="21">
                  <c:v>0</c:v>
                </c:pt>
                <c:pt idx="22">
                  <c:v>0</c:v>
                </c:pt>
                <c:pt idx="23">
                  <c:v>0</c:v>
                </c:pt>
                <c:pt idx="24">
                  <c:v>0</c:v>
                </c:pt>
                <c:pt idx="25">
                  <c:v>0</c:v>
                </c:pt>
                <c:pt idx="26">
                  <c:v>0</c:v>
                </c:pt>
                <c:pt idx="27">
                  <c:v>0</c:v>
                </c:pt>
                <c:pt idx="28">
                  <c:v>0</c:v>
                </c:pt>
                <c:pt idx="29">
                  <c:v>0</c:v>
                </c:pt>
                <c:pt idx="30">
                  <c:v>0</c:v>
                </c:pt>
              </c:numCache>
            </c:numRef>
          </c:val>
          <c:extLst>
            <c:ext xmlns:c16="http://schemas.microsoft.com/office/drawing/2014/chart" uri="{C3380CC4-5D6E-409C-BE32-E72D297353CC}">
              <c16:uniqueId val="{00000004-3A81-462F-AF5A-396DF3FDAD5C}"/>
            </c:ext>
          </c:extLst>
        </c:ser>
        <c:ser>
          <c:idx val="5"/>
          <c:order val="5"/>
          <c:tx>
            <c:strRef>
              <c:f>charts!$I$30</c:f>
              <c:strCache>
                <c:ptCount val="1"/>
                <c:pt idx="0">
                  <c:v>PJM</c:v>
                </c:pt>
              </c:strCache>
            </c:strRef>
          </c:tx>
          <c:spPr>
            <a:solidFill>
              <a:schemeClr val="accent1"/>
            </a:solidFill>
            <a:ln>
              <a:noFill/>
            </a:ln>
            <a:effectLst/>
          </c:spPr>
          <c:invertIfNegative val="0"/>
          <c:cat>
            <c:numRef>
              <c:f>charts!$C$31:$C$61</c:f>
              <c:numCache>
                <c:formatCode>0%;[Red]\ \ \(0%\)</c:formatCode>
                <c:ptCount val="31"/>
                <c:pt idx="0">
                  <c:v>0</c:v>
                </c:pt>
                <c:pt idx="1">
                  <c:v>0.01</c:v>
                </c:pt>
                <c:pt idx="2">
                  <c:v>0.02</c:v>
                </c:pt>
                <c:pt idx="3">
                  <c:v>0.03</c:v>
                </c:pt>
                <c:pt idx="4">
                  <c:v>0.04</c:v>
                </c:pt>
                <c:pt idx="5">
                  <c:v>0.05</c:v>
                </c:pt>
                <c:pt idx="6">
                  <c:v>6.0000000000000005E-2</c:v>
                </c:pt>
                <c:pt idx="7">
                  <c:v>7.0000000000000007E-2</c:v>
                </c:pt>
                <c:pt idx="8">
                  <c:v>0.08</c:v>
                </c:pt>
                <c:pt idx="9">
                  <c:v>0.09</c:v>
                </c:pt>
                <c:pt idx="10">
                  <c:v>9.9999999999999992E-2</c:v>
                </c:pt>
                <c:pt idx="11">
                  <c:v>0.10999999999999999</c:v>
                </c:pt>
                <c:pt idx="12">
                  <c:v>0.11999999999999998</c:v>
                </c:pt>
                <c:pt idx="13">
                  <c:v>0.12999999999999998</c:v>
                </c:pt>
                <c:pt idx="14">
                  <c:v>0.13999999999999999</c:v>
                </c:pt>
                <c:pt idx="15">
                  <c:v>0.15</c:v>
                </c:pt>
                <c:pt idx="16">
                  <c:v>0.16</c:v>
                </c:pt>
                <c:pt idx="17">
                  <c:v>0.17</c:v>
                </c:pt>
                <c:pt idx="18">
                  <c:v>0.18000000000000002</c:v>
                </c:pt>
                <c:pt idx="19">
                  <c:v>0.19000000000000003</c:v>
                </c:pt>
                <c:pt idx="20">
                  <c:v>0.20000000000000004</c:v>
                </c:pt>
                <c:pt idx="21">
                  <c:v>0.21000000000000005</c:v>
                </c:pt>
                <c:pt idx="22">
                  <c:v>0.22000000000000006</c:v>
                </c:pt>
                <c:pt idx="23">
                  <c:v>0.23000000000000007</c:v>
                </c:pt>
                <c:pt idx="24">
                  <c:v>0.24000000000000007</c:v>
                </c:pt>
                <c:pt idx="25">
                  <c:v>0.25000000000000006</c:v>
                </c:pt>
                <c:pt idx="26">
                  <c:v>0.26000000000000006</c:v>
                </c:pt>
                <c:pt idx="27">
                  <c:v>0.27000000000000007</c:v>
                </c:pt>
                <c:pt idx="28">
                  <c:v>0.28000000000000008</c:v>
                </c:pt>
                <c:pt idx="29">
                  <c:v>0.29000000000000009</c:v>
                </c:pt>
                <c:pt idx="30">
                  <c:v>0.3000000000000001</c:v>
                </c:pt>
              </c:numCache>
            </c:numRef>
          </c:cat>
          <c:val>
            <c:numRef>
              <c:f>charts!$I$31:$I$61</c:f>
              <c:numCache>
                <c:formatCode>General</c:formatCode>
                <c:ptCount val="31"/>
                <c:pt idx="0">
                  <c:v>2</c:v>
                </c:pt>
                <c:pt idx="1">
                  <c:v>7</c:v>
                </c:pt>
                <c:pt idx="2">
                  <c:v>5</c:v>
                </c:pt>
                <c:pt idx="3">
                  <c:v>39</c:v>
                </c:pt>
                <c:pt idx="4">
                  <c:v>74</c:v>
                </c:pt>
                <c:pt idx="5">
                  <c:v>222</c:v>
                </c:pt>
                <c:pt idx="6">
                  <c:v>138</c:v>
                </c:pt>
                <c:pt idx="7">
                  <c:v>289</c:v>
                </c:pt>
                <c:pt idx="8">
                  <c:v>359</c:v>
                </c:pt>
                <c:pt idx="9">
                  <c:v>315</c:v>
                </c:pt>
                <c:pt idx="10">
                  <c:v>270</c:v>
                </c:pt>
                <c:pt idx="11">
                  <c:v>65</c:v>
                </c:pt>
                <c:pt idx="12">
                  <c:v>12</c:v>
                </c:pt>
                <c:pt idx="13">
                  <c:v>5</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numCache>
            </c:numRef>
          </c:val>
          <c:extLst>
            <c:ext xmlns:c16="http://schemas.microsoft.com/office/drawing/2014/chart" uri="{C3380CC4-5D6E-409C-BE32-E72D297353CC}">
              <c16:uniqueId val="{00000005-3A81-462F-AF5A-396DF3FDAD5C}"/>
            </c:ext>
          </c:extLst>
        </c:ser>
        <c:ser>
          <c:idx val="6"/>
          <c:order val="6"/>
          <c:tx>
            <c:strRef>
              <c:f>charts!$J$30</c:f>
              <c:strCache>
                <c:ptCount val="1"/>
                <c:pt idx="0">
                  <c:v>SPP</c:v>
                </c:pt>
              </c:strCache>
            </c:strRef>
          </c:tx>
          <c:spPr>
            <a:solidFill>
              <a:schemeClr val="accent1">
                <a:lumMod val="50000"/>
                <a:lumOff val="50000"/>
              </a:schemeClr>
            </a:solidFill>
            <a:ln>
              <a:noFill/>
            </a:ln>
            <a:effectLst/>
          </c:spPr>
          <c:invertIfNegative val="0"/>
          <c:cat>
            <c:numRef>
              <c:f>charts!$C$31:$C$61</c:f>
              <c:numCache>
                <c:formatCode>0%;[Red]\ \ \(0%\)</c:formatCode>
                <c:ptCount val="31"/>
                <c:pt idx="0">
                  <c:v>0</c:v>
                </c:pt>
                <c:pt idx="1">
                  <c:v>0.01</c:v>
                </c:pt>
                <c:pt idx="2">
                  <c:v>0.02</c:v>
                </c:pt>
                <c:pt idx="3">
                  <c:v>0.03</c:v>
                </c:pt>
                <c:pt idx="4">
                  <c:v>0.04</c:v>
                </c:pt>
                <c:pt idx="5">
                  <c:v>0.05</c:v>
                </c:pt>
                <c:pt idx="6">
                  <c:v>6.0000000000000005E-2</c:v>
                </c:pt>
                <c:pt idx="7">
                  <c:v>7.0000000000000007E-2</c:v>
                </c:pt>
                <c:pt idx="8">
                  <c:v>0.08</c:v>
                </c:pt>
                <c:pt idx="9">
                  <c:v>0.09</c:v>
                </c:pt>
                <c:pt idx="10">
                  <c:v>9.9999999999999992E-2</c:v>
                </c:pt>
                <c:pt idx="11">
                  <c:v>0.10999999999999999</c:v>
                </c:pt>
                <c:pt idx="12">
                  <c:v>0.11999999999999998</c:v>
                </c:pt>
                <c:pt idx="13">
                  <c:v>0.12999999999999998</c:v>
                </c:pt>
                <c:pt idx="14">
                  <c:v>0.13999999999999999</c:v>
                </c:pt>
                <c:pt idx="15">
                  <c:v>0.15</c:v>
                </c:pt>
                <c:pt idx="16">
                  <c:v>0.16</c:v>
                </c:pt>
                <c:pt idx="17">
                  <c:v>0.17</c:v>
                </c:pt>
                <c:pt idx="18">
                  <c:v>0.18000000000000002</c:v>
                </c:pt>
                <c:pt idx="19">
                  <c:v>0.19000000000000003</c:v>
                </c:pt>
                <c:pt idx="20">
                  <c:v>0.20000000000000004</c:v>
                </c:pt>
                <c:pt idx="21">
                  <c:v>0.21000000000000005</c:v>
                </c:pt>
                <c:pt idx="22">
                  <c:v>0.22000000000000006</c:v>
                </c:pt>
                <c:pt idx="23">
                  <c:v>0.23000000000000007</c:v>
                </c:pt>
                <c:pt idx="24">
                  <c:v>0.24000000000000007</c:v>
                </c:pt>
                <c:pt idx="25">
                  <c:v>0.25000000000000006</c:v>
                </c:pt>
                <c:pt idx="26">
                  <c:v>0.26000000000000006</c:v>
                </c:pt>
                <c:pt idx="27">
                  <c:v>0.27000000000000007</c:v>
                </c:pt>
                <c:pt idx="28">
                  <c:v>0.28000000000000008</c:v>
                </c:pt>
                <c:pt idx="29">
                  <c:v>0.29000000000000009</c:v>
                </c:pt>
                <c:pt idx="30">
                  <c:v>0.3000000000000001</c:v>
                </c:pt>
              </c:numCache>
            </c:numRef>
          </c:cat>
          <c:val>
            <c:numRef>
              <c:f>charts!$J$31:$J$61</c:f>
              <c:numCache>
                <c:formatCode>General</c:formatCode>
                <c:ptCount val="31"/>
                <c:pt idx="0">
                  <c:v>0</c:v>
                </c:pt>
                <c:pt idx="1">
                  <c:v>8</c:v>
                </c:pt>
                <c:pt idx="2">
                  <c:v>3</c:v>
                </c:pt>
                <c:pt idx="3">
                  <c:v>11</c:v>
                </c:pt>
                <c:pt idx="4">
                  <c:v>3</c:v>
                </c:pt>
                <c:pt idx="5">
                  <c:v>27</c:v>
                </c:pt>
                <c:pt idx="6">
                  <c:v>15</c:v>
                </c:pt>
                <c:pt idx="7">
                  <c:v>29</c:v>
                </c:pt>
                <c:pt idx="8">
                  <c:v>29</c:v>
                </c:pt>
                <c:pt idx="9">
                  <c:v>32</c:v>
                </c:pt>
                <c:pt idx="10">
                  <c:v>31</c:v>
                </c:pt>
                <c:pt idx="11">
                  <c:v>24</c:v>
                </c:pt>
                <c:pt idx="12">
                  <c:v>34</c:v>
                </c:pt>
                <c:pt idx="13">
                  <c:v>22</c:v>
                </c:pt>
                <c:pt idx="14">
                  <c:v>37</c:v>
                </c:pt>
                <c:pt idx="15">
                  <c:v>7</c:v>
                </c:pt>
                <c:pt idx="16">
                  <c:v>2</c:v>
                </c:pt>
                <c:pt idx="17">
                  <c:v>2</c:v>
                </c:pt>
                <c:pt idx="18">
                  <c:v>0</c:v>
                </c:pt>
                <c:pt idx="19">
                  <c:v>0</c:v>
                </c:pt>
                <c:pt idx="20">
                  <c:v>0</c:v>
                </c:pt>
                <c:pt idx="21">
                  <c:v>0</c:v>
                </c:pt>
                <c:pt idx="22">
                  <c:v>0</c:v>
                </c:pt>
                <c:pt idx="23">
                  <c:v>0</c:v>
                </c:pt>
                <c:pt idx="24">
                  <c:v>0</c:v>
                </c:pt>
                <c:pt idx="25">
                  <c:v>0</c:v>
                </c:pt>
                <c:pt idx="26">
                  <c:v>0</c:v>
                </c:pt>
                <c:pt idx="27">
                  <c:v>0</c:v>
                </c:pt>
                <c:pt idx="28">
                  <c:v>0</c:v>
                </c:pt>
                <c:pt idx="29">
                  <c:v>0</c:v>
                </c:pt>
                <c:pt idx="30">
                  <c:v>0</c:v>
                </c:pt>
              </c:numCache>
            </c:numRef>
          </c:val>
          <c:extLst>
            <c:ext xmlns:c16="http://schemas.microsoft.com/office/drawing/2014/chart" uri="{C3380CC4-5D6E-409C-BE32-E72D297353CC}">
              <c16:uniqueId val="{00000006-3A81-462F-AF5A-396DF3FDAD5C}"/>
            </c:ext>
          </c:extLst>
        </c:ser>
        <c:dLbls>
          <c:showLegendKey val="0"/>
          <c:showVal val="0"/>
          <c:showCatName val="0"/>
          <c:showSerName val="0"/>
          <c:showPercent val="0"/>
          <c:showBubbleSize val="0"/>
        </c:dLbls>
        <c:gapWidth val="50"/>
        <c:overlap val="100"/>
        <c:axId val="1925915791"/>
        <c:axId val="2021736303"/>
      </c:barChart>
      <c:catAx>
        <c:axId val="1925915791"/>
        <c:scaling>
          <c:orientation val="minMax"/>
        </c:scaling>
        <c:delete val="0"/>
        <c:axPos val="b"/>
        <c:numFmt formatCode="0%;[Red]\(0%\)" sourceLinked="0"/>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200" b="1" i="0" u="none" strike="noStrike" kern="1200" baseline="0">
                <a:solidFill>
                  <a:schemeClr val="accent6"/>
                </a:solidFill>
                <a:latin typeface="Manrope" pitchFamily="2" charset="0"/>
                <a:ea typeface="+mn-ea"/>
                <a:cs typeface="+mn-cs"/>
              </a:defRPr>
            </a:pPr>
            <a:endParaRPr lang="en-US"/>
          </a:p>
        </c:txPr>
        <c:crossAx val="2021736303"/>
        <c:crosses val="autoZero"/>
        <c:auto val="1"/>
        <c:lblAlgn val="ctr"/>
        <c:lblOffset val="100"/>
        <c:tickLblSkip val="2"/>
        <c:noMultiLvlLbl val="0"/>
      </c:catAx>
      <c:valAx>
        <c:axId val="2021736303"/>
        <c:scaling>
          <c:orientation val="minMax"/>
        </c:scaling>
        <c:delete val="0"/>
        <c:axPos val="l"/>
        <c:majorGridlines>
          <c:spPr>
            <a:ln w="9525" cap="flat" cmpd="sng" algn="ctr">
              <a:solidFill>
                <a:schemeClr val="bg1">
                  <a:lumMod val="95000"/>
                </a:schemeClr>
              </a:solidFill>
              <a:round/>
            </a:ln>
            <a:effectLst/>
          </c:spPr>
        </c:majorGridlines>
        <c:title>
          <c:tx>
            <c:rich>
              <a:bodyPr rot="-5400000" spcFirstLastPara="1" vertOverflow="ellipsis" vert="horz" wrap="square" anchor="ctr" anchorCtr="1"/>
              <a:lstStyle/>
              <a:p>
                <a:pPr>
                  <a:defRPr sz="1200" b="1" i="0" u="none" strike="noStrike" kern="1200" baseline="0">
                    <a:solidFill>
                      <a:schemeClr val="accent6"/>
                    </a:solidFill>
                    <a:latin typeface="Manrope" pitchFamily="2" charset="0"/>
                    <a:ea typeface="+mn-ea"/>
                    <a:cs typeface="+mn-cs"/>
                  </a:defRPr>
                </a:pPr>
                <a:r>
                  <a:rPr lang="en-US"/>
                  <a:t>Project Count</a:t>
                </a:r>
              </a:p>
            </c:rich>
          </c:tx>
          <c:overlay val="0"/>
          <c:spPr>
            <a:noFill/>
            <a:ln>
              <a:noFill/>
            </a:ln>
            <a:effectLst/>
          </c:spPr>
          <c:txPr>
            <a:bodyPr rot="-5400000" spcFirstLastPara="1" vertOverflow="ellipsis" vert="horz" wrap="square" anchor="ctr" anchorCtr="1"/>
            <a:lstStyle/>
            <a:p>
              <a:pPr>
                <a:defRPr sz="1200" b="1" i="0" u="none" strike="noStrike" kern="1200" baseline="0">
                  <a:solidFill>
                    <a:schemeClr val="accent6"/>
                  </a:solidFill>
                  <a:latin typeface="Manrope" pitchFamily="2" charset="0"/>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accent6"/>
                </a:solidFill>
                <a:latin typeface="Manrope" pitchFamily="2" charset="0"/>
                <a:ea typeface="+mn-ea"/>
                <a:cs typeface="+mn-cs"/>
              </a:defRPr>
            </a:pPr>
            <a:endParaRPr lang="en-US"/>
          </a:p>
        </c:txPr>
        <c:crossAx val="192591579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sz="1200" b="1">
          <a:solidFill>
            <a:schemeClr val="accent6"/>
          </a:solidFill>
          <a:latin typeface="Manrope" pitchFamily="2" charset="0"/>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3113275333658731E-2"/>
          <c:y val="7.0256994632703698E-2"/>
          <c:w val="0.91198808443959367"/>
          <c:h val="0.43978499870565846"/>
        </c:manualLayout>
      </c:layout>
      <c:barChart>
        <c:barDir val="col"/>
        <c:grouping val="stacked"/>
        <c:varyColors val="0"/>
        <c:ser>
          <c:idx val="0"/>
          <c:order val="0"/>
          <c:tx>
            <c:strRef>
              <c:f>charts!$M$30</c:f>
              <c:strCache>
                <c:ptCount val="1"/>
                <c:pt idx="0">
                  <c:v>CAISO</c:v>
                </c:pt>
              </c:strCache>
            </c:strRef>
          </c:tx>
          <c:spPr>
            <a:solidFill>
              <a:srgbClr val="C00000"/>
            </a:solidFill>
            <a:ln>
              <a:noFill/>
            </a:ln>
            <a:effectLst/>
          </c:spPr>
          <c:invertIfNegative val="0"/>
          <c:cat>
            <c:numRef>
              <c:f>charts!$C$31:$C$61</c:f>
              <c:numCache>
                <c:formatCode>0%;[Red]\ \ \(0%\)</c:formatCode>
                <c:ptCount val="31"/>
                <c:pt idx="0">
                  <c:v>0</c:v>
                </c:pt>
                <c:pt idx="1">
                  <c:v>0.01</c:v>
                </c:pt>
                <c:pt idx="2">
                  <c:v>0.02</c:v>
                </c:pt>
                <c:pt idx="3">
                  <c:v>0.03</c:v>
                </c:pt>
                <c:pt idx="4">
                  <c:v>0.04</c:v>
                </c:pt>
                <c:pt idx="5">
                  <c:v>0.05</c:v>
                </c:pt>
                <c:pt idx="6">
                  <c:v>6.0000000000000005E-2</c:v>
                </c:pt>
                <c:pt idx="7">
                  <c:v>7.0000000000000007E-2</c:v>
                </c:pt>
                <c:pt idx="8">
                  <c:v>0.08</c:v>
                </c:pt>
                <c:pt idx="9">
                  <c:v>0.09</c:v>
                </c:pt>
                <c:pt idx="10">
                  <c:v>9.9999999999999992E-2</c:v>
                </c:pt>
                <c:pt idx="11">
                  <c:v>0.10999999999999999</c:v>
                </c:pt>
                <c:pt idx="12">
                  <c:v>0.11999999999999998</c:v>
                </c:pt>
                <c:pt idx="13">
                  <c:v>0.12999999999999998</c:v>
                </c:pt>
                <c:pt idx="14">
                  <c:v>0.13999999999999999</c:v>
                </c:pt>
                <c:pt idx="15">
                  <c:v>0.15</c:v>
                </c:pt>
                <c:pt idx="16">
                  <c:v>0.16</c:v>
                </c:pt>
                <c:pt idx="17">
                  <c:v>0.17</c:v>
                </c:pt>
                <c:pt idx="18">
                  <c:v>0.18000000000000002</c:v>
                </c:pt>
                <c:pt idx="19">
                  <c:v>0.19000000000000003</c:v>
                </c:pt>
                <c:pt idx="20">
                  <c:v>0.20000000000000004</c:v>
                </c:pt>
                <c:pt idx="21">
                  <c:v>0.21000000000000005</c:v>
                </c:pt>
                <c:pt idx="22">
                  <c:v>0.22000000000000006</c:v>
                </c:pt>
                <c:pt idx="23">
                  <c:v>0.23000000000000007</c:v>
                </c:pt>
                <c:pt idx="24">
                  <c:v>0.24000000000000007</c:v>
                </c:pt>
                <c:pt idx="25">
                  <c:v>0.25000000000000006</c:v>
                </c:pt>
                <c:pt idx="26">
                  <c:v>0.26000000000000006</c:v>
                </c:pt>
                <c:pt idx="27">
                  <c:v>0.27000000000000007</c:v>
                </c:pt>
                <c:pt idx="28">
                  <c:v>0.28000000000000008</c:v>
                </c:pt>
                <c:pt idx="29">
                  <c:v>0.29000000000000009</c:v>
                </c:pt>
                <c:pt idx="30">
                  <c:v>0.3000000000000001</c:v>
                </c:pt>
              </c:numCache>
            </c:numRef>
          </c:cat>
          <c:val>
            <c:numRef>
              <c:f>charts!$M$31:$M$61</c:f>
              <c:numCache>
                <c:formatCode>General</c:formatCode>
                <c:ptCount val="31"/>
                <c:pt idx="0">
                  <c:v>0</c:v>
                </c:pt>
                <c:pt idx="1">
                  <c:v>0</c:v>
                </c:pt>
                <c:pt idx="2">
                  <c:v>0</c:v>
                </c:pt>
                <c:pt idx="3">
                  <c:v>0</c:v>
                </c:pt>
                <c:pt idx="4">
                  <c:v>0</c:v>
                </c:pt>
                <c:pt idx="5">
                  <c:v>0</c:v>
                </c:pt>
                <c:pt idx="6">
                  <c:v>1</c:v>
                </c:pt>
                <c:pt idx="7">
                  <c:v>1</c:v>
                </c:pt>
                <c:pt idx="8">
                  <c:v>5</c:v>
                </c:pt>
                <c:pt idx="9">
                  <c:v>3</c:v>
                </c:pt>
                <c:pt idx="10">
                  <c:v>0</c:v>
                </c:pt>
                <c:pt idx="11">
                  <c:v>1</c:v>
                </c:pt>
                <c:pt idx="12">
                  <c:v>2</c:v>
                </c:pt>
                <c:pt idx="13">
                  <c:v>8</c:v>
                </c:pt>
                <c:pt idx="14">
                  <c:v>7</c:v>
                </c:pt>
                <c:pt idx="15">
                  <c:v>7</c:v>
                </c:pt>
                <c:pt idx="16">
                  <c:v>3</c:v>
                </c:pt>
                <c:pt idx="17">
                  <c:v>5</c:v>
                </c:pt>
                <c:pt idx="18">
                  <c:v>2</c:v>
                </c:pt>
                <c:pt idx="19">
                  <c:v>0</c:v>
                </c:pt>
                <c:pt idx="20">
                  <c:v>1</c:v>
                </c:pt>
                <c:pt idx="21">
                  <c:v>4</c:v>
                </c:pt>
                <c:pt idx="22">
                  <c:v>2</c:v>
                </c:pt>
                <c:pt idx="23">
                  <c:v>1</c:v>
                </c:pt>
                <c:pt idx="24">
                  <c:v>0</c:v>
                </c:pt>
                <c:pt idx="25">
                  <c:v>1</c:v>
                </c:pt>
                <c:pt idx="26">
                  <c:v>1</c:v>
                </c:pt>
                <c:pt idx="27">
                  <c:v>0</c:v>
                </c:pt>
                <c:pt idx="28">
                  <c:v>1</c:v>
                </c:pt>
                <c:pt idx="29">
                  <c:v>0</c:v>
                </c:pt>
                <c:pt idx="30">
                  <c:v>3</c:v>
                </c:pt>
              </c:numCache>
            </c:numRef>
          </c:val>
          <c:extLst>
            <c:ext xmlns:c16="http://schemas.microsoft.com/office/drawing/2014/chart" uri="{C3380CC4-5D6E-409C-BE32-E72D297353CC}">
              <c16:uniqueId val="{00000000-A6FE-4496-B031-36BB3DEC6862}"/>
            </c:ext>
          </c:extLst>
        </c:ser>
        <c:ser>
          <c:idx val="1"/>
          <c:order val="1"/>
          <c:tx>
            <c:strRef>
              <c:f>charts!$N$30</c:f>
              <c:strCache>
                <c:ptCount val="1"/>
                <c:pt idx="0">
                  <c:v>ERCOT</c:v>
                </c:pt>
              </c:strCache>
            </c:strRef>
          </c:tx>
          <c:spPr>
            <a:solidFill>
              <a:schemeClr val="accent2"/>
            </a:solidFill>
            <a:ln>
              <a:noFill/>
            </a:ln>
            <a:effectLst/>
          </c:spPr>
          <c:invertIfNegative val="0"/>
          <c:cat>
            <c:numRef>
              <c:f>charts!$C$31:$C$61</c:f>
              <c:numCache>
                <c:formatCode>0%;[Red]\ \ \(0%\)</c:formatCode>
                <c:ptCount val="31"/>
                <c:pt idx="0">
                  <c:v>0</c:v>
                </c:pt>
                <c:pt idx="1">
                  <c:v>0.01</c:v>
                </c:pt>
                <c:pt idx="2">
                  <c:v>0.02</c:v>
                </c:pt>
                <c:pt idx="3">
                  <c:v>0.03</c:v>
                </c:pt>
                <c:pt idx="4">
                  <c:v>0.04</c:v>
                </c:pt>
                <c:pt idx="5">
                  <c:v>0.05</c:v>
                </c:pt>
                <c:pt idx="6">
                  <c:v>6.0000000000000005E-2</c:v>
                </c:pt>
                <c:pt idx="7">
                  <c:v>7.0000000000000007E-2</c:v>
                </c:pt>
                <c:pt idx="8">
                  <c:v>0.08</c:v>
                </c:pt>
                <c:pt idx="9">
                  <c:v>0.09</c:v>
                </c:pt>
                <c:pt idx="10">
                  <c:v>9.9999999999999992E-2</c:v>
                </c:pt>
                <c:pt idx="11">
                  <c:v>0.10999999999999999</c:v>
                </c:pt>
                <c:pt idx="12">
                  <c:v>0.11999999999999998</c:v>
                </c:pt>
                <c:pt idx="13">
                  <c:v>0.12999999999999998</c:v>
                </c:pt>
                <c:pt idx="14">
                  <c:v>0.13999999999999999</c:v>
                </c:pt>
                <c:pt idx="15">
                  <c:v>0.15</c:v>
                </c:pt>
                <c:pt idx="16">
                  <c:v>0.16</c:v>
                </c:pt>
                <c:pt idx="17">
                  <c:v>0.17</c:v>
                </c:pt>
                <c:pt idx="18">
                  <c:v>0.18000000000000002</c:v>
                </c:pt>
                <c:pt idx="19">
                  <c:v>0.19000000000000003</c:v>
                </c:pt>
                <c:pt idx="20">
                  <c:v>0.20000000000000004</c:v>
                </c:pt>
                <c:pt idx="21">
                  <c:v>0.21000000000000005</c:v>
                </c:pt>
                <c:pt idx="22">
                  <c:v>0.22000000000000006</c:v>
                </c:pt>
                <c:pt idx="23">
                  <c:v>0.23000000000000007</c:v>
                </c:pt>
                <c:pt idx="24">
                  <c:v>0.24000000000000007</c:v>
                </c:pt>
                <c:pt idx="25">
                  <c:v>0.25000000000000006</c:v>
                </c:pt>
                <c:pt idx="26">
                  <c:v>0.26000000000000006</c:v>
                </c:pt>
                <c:pt idx="27">
                  <c:v>0.27000000000000007</c:v>
                </c:pt>
                <c:pt idx="28">
                  <c:v>0.28000000000000008</c:v>
                </c:pt>
                <c:pt idx="29">
                  <c:v>0.29000000000000009</c:v>
                </c:pt>
                <c:pt idx="30">
                  <c:v>0.3000000000000001</c:v>
                </c:pt>
              </c:numCache>
            </c:numRef>
          </c:cat>
          <c:val>
            <c:numRef>
              <c:f>charts!$N$31:$N$61</c:f>
              <c:numCache>
                <c:formatCode>General</c:formatCode>
                <c:ptCount val="31"/>
                <c:pt idx="0">
                  <c:v>0</c:v>
                </c:pt>
                <c:pt idx="1">
                  <c:v>0</c:v>
                </c:pt>
                <c:pt idx="2">
                  <c:v>0</c:v>
                </c:pt>
                <c:pt idx="3">
                  <c:v>0</c:v>
                </c:pt>
                <c:pt idx="4">
                  <c:v>1</c:v>
                </c:pt>
                <c:pt idx="5">
                  <c:v>1</c:v>
                </c:pt>
                <c:pt idx="6">
                  <c:v>1</c:v>
                </c:pt>
                <c:pt idx="7">
                  <c:v>0</c:v>
                </c:pt>
                <c:pt idx="8">
                  <c:v>6</c:v>
                </c:pt>
                <c:pt idx="9">
                  <c:v>1</c:v>
                </c:pt>
                <c:pt idx="10">
                  <c:v>3</c:v>
                </c:pt>
                <c:pt idx="11">
                  <c:v>6</c:v>
                </c:pt>
                <c:pt idx="12">
                  <c:v>10</c:v>
                </c:pt>
                <c:pt idx="13">
                  <c:v>15</c:v>
                </c:pt>
                <c:pt idx="14">
                  <c:v>9</c:v>
                </c:pt>
                <c:pt idx="15">
                  <c:v>4</c:v>
                </c:pt>
                <c:pt idx="16">
                  <c:v>11</c:v>
                </c:pt>
                <c:pt idx="17">
                  <c:v>3</c:v>
                </c:pt>
                <c:pt idx="18">
                  <c:v>0</c:v>
                </c:pt>
                <c:pt idx="19">
                  <c:v>1</c:v>
                </c:pt>
                <c:pt idx="20">
                  <c:v>0</c:v>
                </c:pt>
                <c:pt idx="21">
                  <c:v>0</c:v>
                </c:pt>
                <c:pt idx="22">
                  <c:v>0</c:v>
                </c:pt>
                <c:pt idx="23">
                  <c:v>0</c:v>
                </c:pt>
                <c:pt idx="24">
                  <c:v>0</c:v>
                </c:pt>
                <c:pt idx="25">
                  <c:v>0</c:v>
                </c:pt>
                <c:pt idx="26">
                  <c:v>0</c:v>
                </c:pt>
                <c:pt idx="27">
                  <c:v>0</c:v>
                </c:pt>
                <c:pt idx="28">
                  <c:v>0</c:v>
                </c:pt>
                <c:pt idx="29">
                  <c:v>0</c:v>
                </c:pt>
                <c:pt idx="30">
                  <c:v>0</c:v>
                </c:pt>
              </c:numCache>
            </c:numRef>
          </c:val>
          <c:extLst>
            <c:ext xmlns:c16="http://schemas.microsoft.com/office/drawing/2014/chart" uri="{C3380CC4-5D6E-409C-BE32-E72D297353CC}">
              <c16:uniqueId val="{00000001-A6FE-4496-B031-36BB3DEC6862}"/>
            </c:ext>
          </c:extLst>
        </c:ser>
        <c:ser>
          <c:idx val="2"/>
          <c:order val="2"/>
          <c:tx>
            <c:strRef>
              <c:f>charts!$O$30</c:f>
              <c:strCache>
                <c:ptCount val="1"/>
                <c:pt idx="0">
                  <c:v>ISO-NE</c:v>
                </c:pt>
              </c:strCache>
            </c:strRef>
          </c:tx>
          <c:spPr>
            <a:solidFill>
              <a:schemeClr val="accent3"/>
            </a:solidFill>
            <a:ln>
              <a:noFill/>
            </a:ln>
            <a:effectLst/>
          </c:spPr>
          <c:invertIfNegative val="0"/>
          <c:cat>
            <c:numRef>
              <c:f>charts!$C$31:$C$61</c:f>
              <c:numCache>
                <c:formatCode>0%;[Red]\ \ \(0%\)</c:formatCode>
                <c:ptCount val="31"/>
                <c:pt idx="0">
                  <c:v>0</c:v>
                </c:pt>
                <c:pt idx="1">
                  <c:v>0.01</c:v>
                </c:pt>
                <c:pt idx="2">
                  <c:v>0.02</c:v>
                </c:pt>
                <c:pt idx="3">
                  <c:v>0.03</c:v>
                </c:pt>
                <c:pt idx="4">
                  <c:v>0.04</c:v>
                </c:pt>
                <c:pt idx="5">
                  <c:v>0.05</c:v>
                </c:pt>
                <c:pt idx="6">
                  <c:v>6.0000000000000005E-2</c:v>
                </c:pt>
                <c:pt idx="7">
                  <c:v>7.0000000000000007E-2</c:v>
                </c:pt>
                <c:pt idx="8">
                  <c:v>0.08</c:v>
                </c:pt>
                <c:pt idx="9">
                  <c:v>0.09</c:v>
                </c:pt>
                <c:pt idx="10">
                  <c:v>9.9999999999999992E-2</c:v>
                </c:pt>
                <c:pt idx="11">
                  <c:v>0.10999999999999999</c:v>
                </c:pt>
                <c:pt idx="12">
                  <c:v>0.11999999999999998</c:v>
                </c:pt>
                <c:pt idx="13">
                  <c:v>0.12999999999999998</c:v>
                </c:pt>
                <c:pt idx="14">
                  <c:v>0.13999999999999999</c:v>
                </c:pt>
                <c:pt idx="15">
                  <c:v>0.15</c:v>
                </c:pt>
                <c:pt idx="16">
                  <c:v>0.16</c:v>
                </c:pt>
                <c:pt idx="17">
                  <c:v>0.17</c:v>
                </c:pt>
                <c:pt idx="18">
                  <c:v>0.18000000000000002</c:v>
                </c:pt>
                <c:pt idx="19">
                  <c:v>0.19000000000000003</c:v>
                </c:pt>
                <c:pt idx="20">
                  <c:v>0.20000000000000004</c:v>
                </c:pt>
                <c:pt idx="21">
                  <c:v>0.21000000000000005</c:v>
                </c:pt>
                <c:pt idx="22">
                  <c:v>0.22000000000000006</c:v>
                </c:pt>
                <c:pt idx="23">
                  <c:v>0.23000000000000007</c:v>
                </c:pt>
                <c:pt idx="24">
                  <c:v>0.24000000000000007</c:v>
                </c:pt>
                <c:pt idx="25">
                  <c:v>0.25000000000000006</c:v>
                </c:pt>
                <c:pt idx="26">
                  <c:v>0.26000000000000006</c:v>
                </c:pt>
                <c:pt idx="27">
                  <c:v>0.27000000000000007</c:v>
                </c:pt>
                <c:pt idx="28">
                  <c:v>0.28000000000000008</c:v>
                </c:pt>
                <c:pt idx="29">
                  <c:v>0.29000000000000009</c:v>
                </c:pt>
                <c:pt idx="30">
                  <c:v>0.3000000000000001</c:v>
                </c:pt>
              </c:numCache>
            </c:numRef>
          </c:cat>
          <c:val>
            <c:numRef>
              <c:f>charts!$O$31:$O$61</c:f>
              <c:numCache>
                <c:formatCode>General</c:formatCode>
                <c:ptCount val="31"/>
                <c:pt idx="0">
                  <c:v>1</c:v>
                </c:pt>
                <c:pt idx="1">
                  <c:v>0</c:v>
                </c:pt>
                <c:pt idx="2">
                  <c:v>0</c:v>
                </c:pt>
                <c:pt idx="3">
                  <c:v>2</c:v>
                </c:pt>
                <c:pt idx="4">
                  <c:v>0</c:v>
                </c:pt>
                <c:pt idx="5">
                  <c:v>1</c:v>
                </c:pt>
                <c:pt idx="6">
                  <c:v>1</c:v>
                </c:pt>
                <c:pt idx="7">
                  <c:v>0</c:v>
                </c:pt>
                <c:pt idx="8">
                  <c:v>3</c:v>
                </c:pt>
                <c:pt idx="9">
                  <c:v>1</c:v>
                </c:pt>
                <c:pt idx="10">
                  <c:v>2</c:v>
                </c:pt>
                <c:pt idx="11">
                  <c:v>1</c:v>
                </c:pt>
                <c:pt idx="12">
                  <c:v>0</c:v>
                </c:pt>
                <c:pt idx="13">
                  <c:v>0</c:v>
                </c:pt>
                <c:pt idx="14">
                  <c:v>2</c:v>
                </c:pt>
                <c:pt idx="15">
                  <c:v>1</c:v>
                </c:pt>
                <c:pt idx="16">
                  <c:v>0</c:v>
                </c:pt>
                <c:pt idx="17">
                  <c:v>0</c:v>
                </c:pt>
                <c:pt idx="18">
                  <c:v>0</c:v>
                </c:pt>
                <c:pt idx="19">
                  <c:v>0</c:v>
                </c:pt>
                <c:pt idx="20">
                  <c:v>0</c:v>
                </c:pt>
                <c:pt idx="21">
                  <c:v>1</c:v>
                </c:pt>
                <c:pt idx="22">
                  <c:v>0</c:v>
                </c:pt>
                <c:pt idx="23">
                  <c:v>1</c:v>
                </c:pt>
                <c:pt idx="24">
                  <c:v>0</c:v>
                </c:pt>
                <c:pt idx="25">
                  <c:v>0</c:v>
                </c:pt>
                <c:pt idx="26">
                  <c:v>0</c:v>
                </c:pt>
                <c:pt idx="27">
                  <c:v>0</c:v>
                </c:pt>
                <c:pt idx="28">
                  <c:v>0</c:v>
                </c:pt>
                <c:pt idx="29">
                  <c:v>0</c:v>
                </c:pt>
                <c:pt idx="30">
                  <c:v>0</c:v>
                </c:pt>
              </c:numCache>
            </c:numRef>
          </c:val>
          <c:extLst>
            <c:ext xmlns:c16="http://schemas.microsoft.com/office/drawing/2014/chart" uri="{C3380CC4-5D6E-409C-BE32-E72D297353CC}">
              <c16:uniqueId val="{00000002-A6FE-4496-B031-36BB3DEC6862}"/>
            </c:ext>
          </c:extLst>
        </c:ser>
        <c:ser>
          <c:idx val="3"/>
          <c:order val="3"/>
          <c:tx>
            <c:strRef>
              <c:f>charts!$P$30</c:f>
              <c:strCache>
                <c:ptCount val="1"/>
                <c:pt idx="0">
                  <c:v>MISO</c:v>
                </c:pt>
              </c:strCache>
            </c:strRef>
          </c:tx>
          <c:spPr>
            <a:solidFill>
              <a:schemeClr val="accent4"/>
            </a:solidFill>
            <a:ln>
              <a:noFill/>
            </a:ln>
            <a:effectLst/>
          </c:spPr>
          <c:invertIfNegative val="0"/>
          <c:cat>
            <c:numRef>
              <c:f>charts!$C$31:$C$61</c:f>
              <c:numCache>
                <c:formatCode>0%;[Red]\ \ \(0%\)</c:formatCode>
                <c:ptCount val="31"/>
                <c:pt idx="0">
                  <c:v>0</c:v>
                </c:pt>
                <c:pt idx="1">
                  <c:v>0.01</c:v>
                </c:pt>
                <c:pt idx="2">
                  <c:v>0.02</c:v>
                </c:pt>
                <c:pt idx="3">
                  <c:v>0.03</c:v>
                </c:pt>
                <c:pt idx="4">
                  <c:v>0.04</c:v>
                </c:pt>
                <c:pt idx="5">
                  <c:v>0.05</c:v>
                </c:pt>
                <c:pt idx="6">
                  <c:v>6.0000000000000005E-2</c:v>
                </c:pt>
                <c:pt idx="7">
                  <c:v>7.0000000000000007E-2</c:v>
                </c:pt>
                <c:pt idx="8">
                  <c:v>0.08</c:v>
                </c:pt>
                <c:pt idx="9">
                  <c:v>0.09</c:v>
                </c:pt>
                <c:pt idx="10">
                  <c:v>9.9999999999999992E-2</c:v>
                </c:pt>
                <c:pt idx="11">
                  <c:v>0.10999999999999999</c:v>
                </c:pt>
                <c:pt idx="12">
                  <c:v>0.11999999999999998</c:v>
                </c:pt>
                <c:pt idx="13">
                  <c:v>0.12999999999999998</c:v>
                </c:pt>
                <c:pt idx="14">
                  <c:v>0.13999999999999999</c:v>
                </c:pt>
                <c:pt idx="15">
                  <c:v>0.15</c:v>
                </c:pt>
                <c:pt idx="16">
                  <c:v>0.16</c:v>
                </c:pt>
                <c:pt idx="17">
                  <c:v>0.17</c:v>
                </c:pt>
                <c:pt idx="18">
                  <c:v>0.18000000000000002</c:v>
                </c:pt>
                <c:pt idx="19">
                  <c:v>0.19000000000000003</c:v>
                </c:pt>
                <c:pt idx="20">
                  <c:v>0.20000000000000004</c:v>
                </c:pt>
                <c:pt idx="21">
                  <c:v>0.21000000000000005</c:v>
                </c:pt>
                <c:pt idx="22">
                  <c:v>0.22000000000000006</c:v>
                </c:pt>
                <c:pt idx="23">
                  <c:v>0.23000000000000007</c:v>
                </c:pt>
                <c:pt idx="24">
                  <c:v>0.24000000000000007</c:v>
                </c:pt>
                <c:pt idx="25">
                  <c:v>0.25000000000000006</c:v>
                </c:pt>
                <c:pt idx="26">
                  <c:v>0.26000000000000006</c:v>
                </c:pt>
                <c:pt idx="27">
                  <c:v>0.27000000000000007</c:v>
                </c:pt>
                <c:pt idx="28">
                  <c:v>0.28000000000000008</c:v>
                </c:pt>
                <c:pt idx="29">
                  <c:v>0.29000000000000009</c:v>
                </c:pt>
                <c:pt idx="30">
                  <c:v>0.3000000000000001</c:v>
                </c:pt>
              </c:numCache>
            </c:numRef>
          </c:cat>
          <c:val>
            <c:numRef>
              <c:f>charts!$P$31:$P$61</c:f>
              <c:numCache>
                <c:formatCode>General</c:formatCode>
                <c:ptCount val="31"/>
                <c:pt idx="0">
                  <c:v>1</c:v>
                </c:pt>
                <c:pt idx="1">
                  <c:v>0</c:v>
                </c:pt>
                <c:pt idx="2">
                  <c:v>0</c:v>
                </c:pt>
                <c:pt idx="3">
                  <c:v>1</c:v>
                </c:pt>
                <c:pt idx="4">
                  <c:v>2</c:v>
                </c:pt>
                <c:pt idx="5">
                  <c:v>2</c:v>
                </c:pt>
                <c:pt idx="6">
                  <c:v>1</c:v>
                </c:pt>
                <c:pt idx="7">
                  <c:v>0</c:v>
                </c:pt>
                <c:pt idx="8">
                  <c:v>6</c:v>
                </c:pt>
                <c:pt idx="9">
                  <c:v>11</c:v>
                </c:pt>
                <c:pt idx="10">
                  <c:v>10</c:v>
                </c:pt>
                <c:pt idx="11">
                  <c:v>10</c:v>
                </c:pt>
                <c:pt idx="12">
                  <c:v>20</c:v>
                </c:pt>
                <c:pt idx="13">
                  <c:v>15</c:v>
                </c:pt>
                <c:pt idx="14">
                  <c:v>30</c:v>
                </c:pt>
                <c:pt idx="15">
                  <c:v>24</c:v>
                </c:pt>
                <c:pt idx="16">
                  <c:v>12</c:v>
                </c:pt>
                <c:pt idx="17">
                  <c:v>8</c:v>
                </c:pt>
                <c:pt idx="18">
                  <c:v>2</c:v>
                </c:pt>
                <c:pt idx="19">
                  <c:v>8</c:v>
                </c:pt>
                <c:pt idx="20">
                  <c:v>6</c:v>
                </c:pt>
                <c:pt idx="21">
                  <c:v>0</c:v>
                </c:pt>
                <c:pt idx="22">
                  <c:v>0</c:v>
                </c:pt>
                <c:pt idx="23">
                  <c:v>0</c:v>
                </c:pt>
                <c:pt idx="24">
                  <c:v>0</c:v>
                </c:pt>
                <c:pt idx="25">
                  <c:v>0</c:v>
                </c:pt>
                <c:pt idx="26">
                  <c:v>0</c:v>
                </c:pt>
                <c:pt idx="27">
                  <c:v>0</c:v>
                </c:pt>
                <c:pt idx="28">
                  <c:v>0</c:v>
                </c:pt>
                <c:pt idx="29">
                  <c:v>0</c:v>
                </c:pt>
                <c:pt idx="30">
                  <c:v>0</c:v>
                </c:pt>
              </c:numCache>
            </c:numRef>
          </c:val>
          <c:extLst>
            <c:ext xmlns:c16="http://schemas.microsoft.com/office/drawing/2014/chart" uri="{C3380CC4-5D6E-409C-BE32-E72D297353CC}">
              <c16:uniqueId val="{00000003-A6FE-4496-B031-36BB3DEC6862}"/>
            </c:ext>
          </c:extLst>
        </c:ser>
        <c:ser>
          <c:idx val="4"/>
          <c:order val="4"/>
          <c:tx>
            <c:strRef>
              <c:f>charts!$Q$30</c:f>
              <c:strCache>
                <c:ptCount val="1"/>
                <c:pt idx="0">
                  <c:v>NYISO</c:v>
                </c:pt>
              </c:strCache>
            </c:strRef>
          </c:tx>
          <c:spPr>
            <a:solidFill>
              <a:schemeClr val="accent5"/>
            </a:solidFill>
            <a:ln>
              <a:noFill/>
            </a:ln>
            <a:effectLst/>
          </c:spPr>
          <c:invertIfNegative val="0"/>
          <c:cat>
            <c:numRef>
              <c:f>charts!$C$31:$C$61</c:f>
              <c:numCache>
                <c:formatCode>0%;[Red]\ \ \(0%\)</c:formatCode>
                <c:ptCount val="31"/>
                <c:pt idx="0">
                  <c:v>0</c:v>
                </c:pt>
                <c:pt idx="1">
                  <c:v>0.01</c:v>
                </c:pt>
                <c:pt idx="2">
                  <c:v>0.02</c:v>
                </c:pt>
                <c:pt idx="3">
                  <c:v>0.03</c:v>
                </c:pt>
                <c:pt idx="4">
                  <c:v>0.04</c:v>
                </c:pt>
                <c:pt idx="5">
                  <c:v>0.05</c:v>
                </c:pt>
                <c:pt idx="6">
                  <c:v>6.0000000000000005E-2</c:v>
                </c:pt>
                <c:pt idx="7">
                  <c:v>7.0000000000000007E-2</c:v>
                </c:pt>
                <c:pt idx="8">
                  <c:v>0.08</c:v>
                </c:pt>
                <c:pt idx="9">
                  <c:v>0.09</c:v>
                </c:pt>
                <c:pt idx="10">
                  <c:v>9.9999999999999992E-2</c:v>
                </c:pt>
                <c:pt idx="11">
                  <c:v>0.10999999999999999</c:v>
                </c:pt>
                <c:pt idx="12">
                  <c:v>0.11999999999999998</c:v>
                </c:pt>
                <c:pt idx="13">
                  <c:v>0.12999999999999998</c:v>
                </c:pt>
                <c:pt idx="14">
                  <c:v>0.13999999999999999</c:v>
                </c:pt>
                <c:pt idx="15">
                  <c:v>0.15</c:v>
                </c:pt>
                <c:pt idx="16">
                  <c:v>0.16</c:v>
                </c:pt>
                <c:pt idx="17">
                  <c:v>0.17</c:v>
                </c:pt>
                <c:pt idx="18">
                  <c:v>0.18000000000000002</c:v>
                </c:pt>
                <c:pt idx="19">
                  <c:v>0.19000000000000003</c:v>
                </c:pt>
                <c:pt idx="20">
                  <c:v>0.20000000000000004</c:v>
                </c:pt>
                <c:pt idx="21">
                  <c:v>0.21000000000000005</c:v>
                </c:pt>
                <c:pt idx="22">
                  <c:v>0.22000000000000006</c:v>
                </c:pt>
                <c:pt idx="23">
                  <c:v>0.23000000000000007</c:v>
                </c:pt>
                <c:pt idx="24">
                  <c:v>0.24000000000000007</c:v>
                </c:pt>
                <c:pt idx="25">
                  <c:v>0.25000000000000006</c:v>
                </c:pt>
                <c:pt idx="26">
                  <c:v>0.26000000000000006</c:v>
                </c:pt>
                <c:pt idx="27">
                  <c:v>0.27000000000000007</c:v>
                </c:pt>
                <c:pt idx="28">
                  <c:v>0.28000000000000008</c:v>
                </c:pt>
                <c:pt idx="29">
                  <c:v>0.29000000000000009</c:v>
                </c:pt>
                <c:pt idx="30">
                  <c:v>0.3000000000000001</c:v>
                </c:pt>
              </c:numCache>
            </c:numRef>
          </c:cat>
          <c:val>
            <c:numRef>
              <c:f>charts!$Q$31:$Q$61</c:f>
              <c:numCache>
                <c:formatCode>General</c:formatCode>
                <c:ptCount val="31"/>
                <c:pt idx="0">
                  <c:v>0</c:v>
                </c:pt>
                <c:pt idx="1">
                  <c:v>0</c:v>
                </c:pt>
                <c:pt idx="2">
                  <c:v>0</c:v>
                </c:pt>
                <c:pt idx="3">
                  <c:v>0</c:v>
                </c:pt>
                <c:pt idx="4">
                  <c:v>0</c:v>
                </c:pt>
                <c:pt idx="5">
                  <c:v>0</c:v>
                </c:pt>
                <c:pt idx="6">
                  <c:v>0</c:v>
                </c:pt>
                <c:pt idx="7">
                  <c:v>0</c:v>
                </c:pt>
                <c:pt idx="8">
                  <c:v>10</c:v>
                </c:pt>
                <c:pt idx="9">
                  <c:v>5</c:v>
                </c:pt>
                <c:pt idx="10">
                  <c:v>6</c:v>
                </c:pt>
                <c:pt idx="11">
                  <c:v>4</c:v>
                </c:pt>
                <c:pt idx="12">
                  <c:v>5</c:v>
                </c:pt>
                <c:pt idx="13">
                  <c:v>3</c:v>
                </c:pt>
                <c:pt idx="14">
                  <c:v>11</c:v>
                </c:pt>
                <c:pt idx="15">
                  <c:v>1</c:v>
                </c:pt>
                <c:pt idx="16">
                  <c:v>5</c:v>
                </c:pt>
                <c:pt idx="17">
                  <c:v>4</c:v>
                </c:pt>
                <c:pt idx="18">
                  <c:v>6</c:v>
                </c:pt>
                <c:pt idx="19">
                  <c:v>0</c:v>
                </c:pt>
                <c:pt idx="20">
                  <c:v>0</c:v>
                </c:pt>
                <c:pt idx="21">
                  <c:v>2</c:v>
                </c:pt>
                <c:pt idx="22">
                  <c:v>0</c:v>
                </c:pt>
                <c:pt idx="23">
                  <c:v>0</c:v>
                </c:pt>
                <c:pt idx="24">
                  <c:v>0</c:v>
                </c:pt>
                <c:pt idx="25">
                  <c:v>0</c:v>
                </c:pt>
                <c:pt idx="26">
                  <c:v>0</c:v>
                </c:pt>
                <c:pt idx="27">
                  <c:v>0</c:v>
                </c:pt>
                <c:pt idx="28">
                  <c:v>0</c:v>
                </c:pt>
                <c:pt idx="29">
                  <c:v>0</c:v>
                </c:pt>
                <c:pt idx="30">
                  <c:v>0</c:v>
                </c:pt>
              </c:numCache>
            </c:numRef>
          </c:val>
          <c:extLst>
            <c:ext xmlns:c16="http://schemas.microsoft.com/office/drawing/2014/chart" uri="{C3380CC4-5D6E-409C-BE32-E72D297353CC}">
              <c16:uniqueId val="{00000004-A6FE-4496-B031-36BB3DEC6862}"/>
            </c:ext>
          </c:extLst>
        </c:ser>
        <c:ser>
          <c:idx val="5"/>
          <c:order val="5"/>
          <c:tx>
            <c:strRef>
              <c:f>charts!$R$30</c:f>
              <c:strCache>
                <c:ptCount val="1"/>
                <c:pt idx="0">
                  <c:v>PJM</c:v>
                </c:pt>
              </c:strCache>
            </c:strRef>
          </c:tx>
          <c:spPr>
            <a:solidFill>
              <a:schemeClr val="accent1"/>
            </a:solidFill>
            <a:ln>
              <a:noFill/>
            </a:ln>
            <a:effectLst/>
          </c:spPr>
          <c:invertIfNegative val="0"/>
          <c:cat>
            <c:numRef>
              <c:f>charts!$C$31:$C$61</c:f>
              <c:numCache>
                <c:formatCode>0%;[Red]\ \ \(0%\)</c:formatCode>
                <c:ptCount val="31"/>
                <c:pt idx="0">
                  <c:v>0</c:v>
                </c:pt>
                <c:pt idx="1">
                  <c:v>0.01</c:v>
                </c:pt>
                <c:pt idx="2">
                  <c:v>0.02</c:v>
                </c:pt>
                <c:pt idx="3">
                  <c:v>0.03</c:v>
                </c:pt>
                <c:pt idx="4">
                  <c:v>0.04</c:v>
                </c:pt>
                <c:pt idx="5">
                  <c:v>0.05</c:v>
                </c:pt>
                <c:pt idx="6">
                  <c:v>6.0000000000000005E-2</c:v>
                </c:pt>
                <c:pt idx="7">
                  <c:v>7.0000000000000007E-2</c:v>
                </c:pt>
                <c:pt idx="8">
                  <c:v>0.08</c:v>
                </c:pt>
                <c:pt idx="9">
                  <c:v>0.09</c:v>
                </c:pt>
                <c:pt idx="10">
                  <c:v>9.9999999999999992E-2</c:v>
                </c:pt>
                <c:pt idx="11">
                  <c:v>0.10999999999999999</c:v>
                </c:pt>
                <c:pt idx="12">
                  <c:v>0.11999999999999998</c:v>
                </c:pt>
                <c:pt idx="13">
                  <c:v>0.12999999999999998</c:v>
                </c:pt>
                <c:pt idx="14">
                  <c:v>0.13999999999999999</c:v>
                </c:pt>
                <c:pt idx="15">
                  <c:v>0.15</c:v>
                </c:pt>
                <c:pt idx="16">
                  <c:v>0.16</c:v>
                </c:pt>
                <c:pt idx="17">
                  <c:v>0.17</c:v>
                </c:pt>
                <c:pt idx="18">
                  <c:v>0.18000000000000002</c:v>
                </c:pt>
                <c:pt idx="19">
                  <c:v>0.19000000000000003</c:v>
                </c:pt>
                <c:pt idx="20">
                  <c:v>0.20000000000000004</c:v>
                </c:pt>
                <c:pt idx="21">
                  <c:v>0.21000000000000005</c:v>
                </c:pt>
                <c:pt idx="22">
                  <c:v>0.22000000000000006</c:v>
                </c:pt>
                <c:pt idx="23">
                  <c:v>0.23000000000000007</c:v>
                </c:pt>
                <c:pt idx="24">
                  <c:v>0.24000000000000007</c:v>
                </c:pt>
                <c:pt idx="25">
                  <c:v>0.25000000000000006</c:v>
                </c:pt>
                <c:pt idx="26">
                  <c:v>0.26000000000000006</c:v>
                </c:pt>
                <c:pt idx="27">
                  <c:v>0.27000000000000007</c:v>
                </c:pt>
                <c:pt idx="28">
                  <c:v>0.28000000000000008</c:v>
                </c:pt>
                <c:pt idx="29">
                  <c:v>0.29000000000000009</c:v>
                </c:pt>
                <c:pt idx="30">
                  <c:v>0.3000000000000001</c:v>
                </c:pt>
              </c:numCache>
            </c:numRef>
          </c:cat>
          <c:val>
            <c:numRef>
              <c:f>charts!$R$31:$R$61</c:f>
              <c:numCache>
                <c:formatCode>General</c:formatCode>
                <c:ptCount val="31"/>
                <c:pt idx="0">
                  <c:v>0</c:v>
                </c:pt>
                <c:pt idx="1">
                  <c:v>0</c:v>
                </c:pt>
                <c:pt idx="2">
                  <c:v>1</c:v>
                </c:pt>
                <c:pt idx="3">
                  <c:v>2</c:v>
                </c:pt>
                <c:pt idx="4">
                  <c:v>6</c:v>
                </c:pt>
                <c:pt idx="5">
                  <c:v>1</c:v>
                </c:pt>
                <c:pt idx="6">
                  <c:v>5</c:v>
                </c:pt>
                <c:pt idx="7">
                  <c:v>3</c:v>
                </c:pt>
                <c:pt idx="8">
                  <c:v>1</c:v>
                </c:pt>
                <c:pt idx="9">
                  <c:v>6</c:v>
                </c:pt>
                <c:pt idx="10">
                  <c:v>8</c:v>
                </c:pt>
                <c:pt idx="11">
                  <c:v>8</c:v>
                </c:pt>
                <c:pt idx="12">
                  <c:v>6</c:v>
                </c:pt>
                <c:pt idx="13">
                  <c:v>6</c:v>
                </c:pt>
                <c:pt idx="14">
                  <c:v>9</c:v>
                </c:pt>
                <c:pt idx="15">
                  <c:v>5</c:v>
                </c:pt>
                <c:pt idx="16">
                  <c:v>5</c:v>
                </c:pt>
                <c:pt idx="17">
                  <c:v>15</c:v>
                </c:pt>
                <c:pt idx="18">
                  <c:v>7</c:v>
                </c:pt>
                <c:pt idx="19">
                  <c:v>1</c:v>
                </c:pt>
                <c:pt idx="20">
                  <c:v>0</c:v>
                </c:pt>
                <c:pt idx="21">
                  <c:v>1</c:v>
                </c:pt>
                <c:pt idx="22">
                  <c:v>0</c:v>
                </c:pt>
                <c:pt idx="23">
                  <c:v>0</c:v>
                </c:pt>
                <c:pt idx="24">
                  <c:v>0</c:v>
                </c:pt>
                <c:pt idx="25">
                  <c:v>0</c:v>
                </c:pt>
                <c:pt idx="26">
                  <c:v>3</c:v>
                </c:pt>
                <c:pt idx="27">
                  <c:v>0</c:v>
                </c:pt>
                <c:pt idx="28">
                  <c:v>0</c:v>
                </c:pt>
                <c:pt idx="29">
                  <c:v>0</c:v>
                </c:pt>
                <c:pt idx="30">
                  <c:v>0</c:v>
                </c:pt>
              </c:numCache>
            </c:numRef>
          </c:val>
          <c:extLst>
            <c:ext xmlns:c16="http://schemas.microsoft.com/office/drawing/2014/chart" uri="{C3380CC4-5D6E-409C-BE32-E72D297353CC}">
              <c16:uniqueId val="{00000005-A6FE-4496-B031-36BB3DEC6862}"/>
            </c:ext>
          </c:extLst>
        </c:ser>
        <c:ser>
          <c:idx val="6"/>
          <c:order val="6"/>
          <c:tx>
            <c:strRef>
              <c:f>charts!$S$30</c:f>
              <c:strCache>
                <c:ptCount val="1"/>
                <c:pt idx="0">
                  <c:v>SPP</c:v>
                </c:pt>
              </c:strCache>
            </c:strRef>
          </c:tx>
          <c:spPr>
            <a:solidFill>
              <a:schemeClr val="accent1">
                <a:lumMod val="50000"/>
                <a:lumOff val="50000"/>
              </a:schemeClr>
            </a:solidFill>
            <a:ln>
              <a:noFill/>
            </a:ln>
            <a:effectLst/>
          </c:spPr>
          <c:invertIfNegative val="0"/>
          <c:cat>
            <c:numRef>
              <c:f>charts!$C$31:$C$61</c:f>
              <c:numCache>
                <c:formatCode>0%;[Red]\ \ \(0%\)</c:formatCode>
                <c:ptCount val="31"/>
                <c:pt idx="0">
                  <c:v>0</c:v>
                </c:pt>
                <c:pt idx="1">
                  <c:v>0.01</c:v>
                </c:pt>
                <c:pt idx="2">
                  <c:v>0.02</c:v>
                </c:pt>
                <c:pt idx="3">
                  <c:v>0.03</c:v>
                </c:pt>
                <c:pt idx="4">
                  <c:v>0.04</c:v>
                </c:pt>
                <c:pt idx="5">
                  <c:v>0.05</c:v>
                </c:pt>
                <c:pt idx="6">
                  <c:v>6.0000000000000005E-2</c:v>
                </c:pt>
                <c:pt idx="7">
                  <c:v>7.0000000000000007E-2</c:v>
                </c:pt>
                <c:pt idx="8">
                  <c:v>0.08</c:v>
                </c:pt>
                <c:pt idx="9">
                  <c:v>0.09</c:v>
                </c:pt>
                <c:pt idx="10">
                  <c:v>9.9999999999999992E-2</c:v>
                </c:pt>
                <c:pt idx="11">
                  <c:v>0.10999999999999999</c:v>
                </c:pt>
                <c:pt idx="12">
                  <c:v>0.11999999999999998</c:v>
                </c:pt>
                <c:pt idx="13">
                  <c:v>0.12999999999999998</c:v>
                </c:pt>
                <c:pt idx="14">
                  <c:v>0.13999999999999999</c:v>
                </c:pt>
                <c:pt idx="15">
                  <c:v>0.15</c:v>
                </c:pt>
                <c:pt idx="16">
                  <c:v>0.16</c:v>
                </c:pt>
                <c:pt idx="17">
                  <c:v>0.17</c:v>
                </c:pt>
                <c:pt idx="18">
                  <c:v>0.18000000000000002</c:v>
                </c:pt>
                <c:pt idx="19">
                  <c:v>0.19000000000000003</c:v>
                </c:pt>
                <c:pt idx="20">
                  <c:v>0.20000000000000004</c:v>
                </c:pt>
                <c:pt idx="21">
                  <c:v>0.21000000000000005</c:v>
                </c:pt>
                <c:pt idx="22">
                  <c:v>0.22000000000000006</c:v>
                </c:pt>
                <c:pt idx="23">
                  <c:v>0.23000000000000007</c:v>
                </c:pt>
                <c:pt idx="24">
                  <c:v>0.24000000000000007</c:v>
                </c:pt>
                <c:pt idx="25">
                  <c:v>0.25000000000000006</c:v>
                </c:pt>
                <c:pt idx="26">
                  <c:v>0.26000000000000006</c:v>
                </c:pt>
                <c:pt idx="27">
                  <c:v>0.27000000000000007</c:v>
                </c:pt>
                <c:pt idx="28">
                  <c:v>0.28000000000000008</c:v>
                </c:pt>
                <c:pt idx="29">
                  <c:v>0.29000000000000009</c:v>
                </c:pt>
                <c:pt idx="30">
                  <c:v>0.3000000000000001</c:v>
                </c:pt>
              </c:numCache>
            </c:numRef>
          </c:cat>
          <c:val>
            <c:numRef>
              <c:f>charts!$S$31:$S$61</c:f>
              <c:numCache>
                <c:formatCode>General</c:formatCode>
                <c:ptCount val="31"/>
                <c:pt idx="0">
                  <c:v>27</c:v>
                </c:pt>
                <c:pt idx="1">
                  <c:v>1</c:v>
                </c:pt>
                <c:pt idx="2">
                  <c:v>14</c:v>
                </c:pt>
                <c:pt idx="3">
                  <c:v>15</c:v>
                </c:pt>
                <c:pt idx="4">
                  <c:v>8</c:v>
                </c:pt>
                <c:pt idx="5">
                  <c:v>7</c:v>
                </c:pt>
                <c:pt idx="6">
                  <c:v>5</c:v>
                </c:pt>
                <c:pt idx="7">
                  <c:v>6</c:v>
                </c:pt>
                <c:pt idx="8">
                  <c:v>9</c:v>
                </c:pt>
                <c:pt idx="9">
                  <c:v>13</c:v>
                </c:pt>
                <c:pt idx="10">
                  <c:v>14</c:v>
                </c:pt>
                <c:pt idx="11">
                  <c:v>2</c:v>
                </c:pt>
                <c:pt idx="12">
                  <c:v>10</c:v>
                </c:pt>
                <c:pt idx="13">
                  <c:v>9</c:v>
                </c:pt>
                <c:pt idx="14">
                  <c:v>2</c:v>
                </c:pt>
                <c:pt idx="15">
                  <c:v>5</c:v>
                </c:pt>
                <c:pt idx="16">
                  <c:v>0</c:v>
                </c:pt>
                <c:pt idx="17">
                  <c:v>5</c:v>
                </c:pt>
                <c:pt idx="18">
                  <c:v>3</c:v>
                </c:pt>
                <c:pt idx="19">
                  <c:v>0</c:v>
                </c:pt>
                <c:pt idx="20">
                  <c:v>0</c:v>
                </c:pt>
                <c:pt idx="21">
                  <c:v>1</c:v>
                </c:pt>
                <c:pt idx="22">
                  <c:v>0</c:v>
                </c:pt>
                <c:pt idx="23">
                  <c:v>0</c:v>
                </c:pt>
                <c:pt idx="24">
                  <c:v>0</c:v>
                </c:pt>
                <c:pt idx="25">
                  <c:v>0</c:v>
                </c:pt>
                <c:pt idx="26">
                  <c:v>0</c:v>
                </c:pt>
                <c:pt idx="27">
                  <c:v>0</c:v>
                </c:pt>
                <c:pt idx="28">
                  <c:v>0</c:v>
                </c:pt>
                <c:pt idx="29">
                  <c:v>0</c:v>
                </c:pt>
                <c:pt idx="30">
                  <c:v>0</c:v>
                </c:pt>
              </c:numCache>
            </c:numRef>
          </c:val>
          <c:extLst>
            <c:ext xmlns:c16="http://schemas.microsoft.com/office/drawing/2014/chart" uri="{C3380CC4-5D6E-409C-BE32-E72D297353CC}">
              <c16:uniqueId val="{00000006-A6FE-4496-B031-36BB3DEC6862}"/>
            </c:ext>
          </c:extLst>
        </c:ser>
        <c:dLbls>
          <c:showLegendKey val="0"/>
          <c:showVal val="0"/>
          <c:showCatName val="0"/>
          <c:showSerName val="0"/>
          <c:showPercent val="0"/>
          <c:showBubbleSize val="0"/>
        </c:dLbls>
        <c:gapWidth val="50"/>
        <c:overlap val="100"/>
        <c:axId val="1925915791"/>
        <c:axId val="2021736303"/>
      </c:barChart>
      <c:catAx>
        <c:axId val="1925915791"/>
        <c:scaling>
          <c:orientation val="minMax"/>
        </c:scaling>
        <c:delete val="0"/>
        <c:axPos val="b"/>
        <c:title>
          <c:tx>
            <c:rich>
              <a:bodyPr rot="0" spcFirstLastPara="1" vertOverflow="ellipsis" vert="horz" wrap="square" anchor="ctr" anchorCtr="1"/>
              <a:lstStyle/>
              <a:p>
                <a:pPr>
                  <a:defRPr sz="1200" b="1" i="0" u="none" strike="noStrike" kern="1200" baseline="0">
                    <a:solidFill>
                      <a:schemeClr val="accent6"/>
                    </a:solidFill>
                    <a:latin typeface="Manrope" pitchFamily="2" charset="0"/>
                    <a:ea typeface="+mn-ea"/>
                    <a:cs typeface="+mn-cs"/>
                  </a:defRPr>
                </a:pPr>
                <a:r>
                  <a:rPr lang="en-US"/>
                  <a:t>Unlevered IRR</a:t>
                </a:r>
              </a:p>
            </c:rich>
          </c:tx>
          <c:overlay val="0"/>
          <c:spPr>
            <a:noFill/>
            <a:ln>
              <a:noFill/>
            </a:ln>
            <a:effectLst/>
          </c:spPr>
          <c:txPr>
            <a:bodyPr rot="0" spcFirstLastPara="1" vertOverflow="ellipsis" vert="horz" wrap="square" anchor="ctr" anchorCtr="1"/>
            <a:lstStyle/>
            <a:p>
              <a:pPr>
                <a:defRPr sz="1200" b="1" i="0" u="none" strike="noStrike" kern="1200" baseline="0">
                  <a:solidFill>
                    <a:schemeClr val="accent6"/>
                  </a:solidFill>
                  <a:latin typeface="Manrope" pitchFamily="2" charset="0"/>
                  <a:ea typeface="+mn-ea"/>
                  <a:cs typeface="+mn-cs"/>
                </a:defRPr>
              </a:pPr>
              <a:endParaRPr lang="en-US"/>
            </a:p>
          </c:txPr>
        </c:title>
        <c:numFmt formatCode="0%;[Red]\(0%\)" sourceLinked="0"/>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200" b="1" i="0" u="none" strike="noStrike" kern="1200" baseline="0">
                <a:solidFill>
                  <a:schemeClr val="accent6"/>
                </a:solidFill>
                <a:latin typeface="Manrope" pitchFamily="2" charset="0"/>
                <a:ea typeface="+mn-ea"/>
                <a:cs typeface="+mn-cs"/>
              </a:defRPr>
            </a:pPr>
            <a:endParaRPr lang="en-US"/>
          </a:p>
        </c:txPr>
        <c:crossAx val="2021736303"/>
        <c:crosses val="autoZero"/>
        <c:auto val="1"/>
        <c:lblAlgn val="ctr"/>
        <c:lblOffset val="100"/>
        <c:tickLblSkip val="2"/>
        <c:noMultiLvlLbl val="0"/>
      </c:catAx>
      <c:valAx>
        <c:axId val="2021736303"/>
        <c:scaling>
          <c:orientation val="minMax"/>
        </c:scaling>
        <c:delete val="0"/>
        <c:axPos val="l"/>
        <c:majorGridlines>
          <c:spPr>
            <a:ln w="9525" cap="flat" cmpd="sng" algn="ctr">
              <a:solidFill>
                <a:schemeClr val="bg1">
                  <a:lumMod val="95000"/>
                </a:schemeClr>
              </a:solidFill>
              <a:round/>
            </a:ln>
            <a:effectLst/>
          </c:spPr>
        </c:majorGridlines>
        <c:title>
          <c:tx>
            <c:rich>
              <a:bodyPr rot="-5400000" spcFirstLastPara="1" vertOverflow="ellipsis" vert="horz" wrap="square" anchor="ctr" anchorCtr="1"/>
              <a:lstStyle/>
              <a:p>
                <a:pPr>
                  <a:defRPr sz="1200" b="1" i="0" u="none" strike="noStrike" kern="1200" baseline="0">
                    <a:solidFill>
                      <a:schemeClr val="accent6"/>
                    </a:solidFill>
                    <a:latin typeface="Manrope" pitchFamily="2" charset="0"/>
                    <a:ea typeface="+mn-ea"/>
                    <a:cs typeface="+mn-cs"/>
                  </a:defRPr>
                </a:pPr>
                <a:r>
                  <a:rPr lang="en-US"/>
                  <a:t>Project Count</a:t>
                </a:r>
              </a:p>
            </c:rich>
          </c:tx>
          <c:overlay val="0"/>
          <c:spPr>
            <a:noFill/>
            <a:ln>
              <a:noFill/>
            </a:ln>
            <a:effectLst/>
          </c:spPr>
          <c:txPr>
            <a:bodyPr rot="-5400000" spcFirstLastPara="1" vertOverflow="ellipsis" vert="horz" wrap="square" anchor="ctr" anchorCtr="1"/>
            <a:lstStyle/>
            <a:p>
              <a:pPr>
                <a:defRPr sz="1200" b="1" i="0" u="none" strike="noStrike" kern="1200" baseline="0">
                  <a:solidFill>
                    <a:schemeClr val="accent6"/>
                  </a:solidFill>
                  <a:latin typeface="Manrope" pitchFamily="2" charset="0"/>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accent6"/>
                </a:solidFill>
                <a:latin typeface="Manrope" pitchFamily="2" charset="0"/>
                <a:ea typeface="+mn-ea"/>
                <a:cs typeface="+mn-cs"/>
              </a:defRPr>
            </a:pPr>
            <a:endParaRPr lang="en-US"/>
          </a:p>
        </c:txPr>
        <c:crossAx val="1925915791"/>
        <c:crosses val="autoZero"/>
        <c:crossBetween val="between"/>
      </c:valAx>
      <c:spPr>
        <a:noFill/>
        <a:ln>
          <a:noFill/>
        </a:ln>
        <a:effectLst/>
      </c:spPr>
    </c:plotArea>
    <c:legend>
      <c:legendPos val="b"/>
      <c:layout>
        <c:manualLayout>
          <c:xMode val="edge"/>
          <c:yMode val="edge"/>
          <c:x val="0.28380233744414579"/>
          <c:y val="0.79113997818199511"/>
          <c:w val="0.4281384869668321"/>
          <c:h val="0.11834297199463689"/>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accent6"/>
              </a:solidFill>
              <a:latin typeface="Manrope"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sz="1200" b="1">
          <a:solidFill>
            <a:schemeClr val="accent6"/>
          </a:solidFill>
          <a:latin typeface="Manrope" pitchFamily="2" charset="0"/>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stacked"/>
        <c:varyColors val="0"/>
        <c:ser>
          <c:idx val="0"/>
          <c:order val="0"/>
          <c:tx>
            <c:strRef>
              <c:f>'[Slide 11 - Top Storage Operators.xlsx]Chart_Simple'!$B$3</c:f>
              <c:strCache>
                <c:ptCount val="1"/>
                <c:pt idx="0">
                  <c:v>CAISO</c:v>
                </c:pt>
              </c:strCache>
            </c:strRef>
          </c:tx>
          <c:spPr>
            <a:solidFill>
              <a:srgbClr val="DB3737"/>
            </a:solidFill>
            <a:ln>
              <a:noFill/>
            </a:ln>
            <a:effectLst/>
          </c:spPr>
          <c:invertIfNegative val="0"/>
          <c:cat>
            <c:strRef>
              <c:f>[1]Chart_Simple!$A$4:$A$18</c:f>
              <c:strCache>
                <c:ptCount val="15"/>
                <c:pt idx="0">
                  <c:v>Engie</c:v>
                </c:pt>
                <c:pt idx="1">
                  <c:v>NextEra</c:v>
                </c:pt>
                <c:pt idx="2">
                  <c:v>Plus Power</c:v>
                </c:pt>
                <c:pt idx="3">
                  <c:v>Jupiter</c:v>
                </c:pt>
                <c:pt idx="4">
                  <c:v>Arevon</c:v>
                </c:pt>
                <c:pt idx="5">
                  <c:v>Invenergy</c:v>
                </c:pt>
                <c:pt idx="6">
                  <c:v>REV</c:v>
                </c:pt>
                <c:pt idx="7">
                  <c:v>Hecate Grid</c:v>
                </c:pt>
                <c:pt idx="8">
                  <c:v>Eolian</c:v>
                </c:pt>
                <c:pt idx="9">
                  <c:v>Black Mountain</c:v>
                </c:pt>
                <c:pt idx="10">
                  <c:v>UBS</c:v>
                </c:pt>
                <c:pt idx="11">
                  <c:v>Terra-Gen</c:v>
                </c:pt>
                <c:pt idx="12">
                  <c:v>RWE</c:v>
                </c:pt>
                <c:pt idx="13">
                  <c:v>KCE</c:v>
                </c:pt>
                <c:pt idx="14">
                  <c:v>Belltown</c:v>
                </c:pt>
              </c:strCache>
            </c:strRef>
          </c:cat>
          <c:val>
            <c:numRef>
              <c:f>[1]Chart_Simple!$B$4:$B$18</c:f>
              <c:numCache>
                <c:formatCode>General</c:formatCode>
                <c:ptCount val="15"/>
                <c:pt idx="0">
                  <c:v>0.1368</c:v>
                </c:pt>
                <c:pt idx="1">
                  <c:v>1.3977999999999999</c:v>
                </c:pt>
                <c:pt idx="2">
                  <c:v>0</c:v>
                </c:pt>
                <c:pt idx="3">
                  <c:v>0.01</c:v>
                </c:pt>
                <c:pt idx="4">
                  <c:v>1.5209999999999999</c:v>
                </c:pt>
                <c:pt idx="5">
                  <c:v>0</c:v>
                </c:pt>
                <c:pt idx="6">
                  <c:v>1.1962899999999999</c:v>
                </c:pt>
                <c:pt idx="7">
                  <c:v>0.42499999999999999</c:v>
                </c:pt>
                <c:pt idx="8">
                  <c:v>1.0999999999999999E-2</c:v>
                </c:pt>
                <c:pt idx="9">
                  <c:v>0</c:v>
                </c:pt>
                <c:pt idx="10">
                  <c:v>0</c:v>
                </c:pt>
                <c:pt idx="11">
                  <c:v>0.91359999999999997</c:v>
                </c:pt>
                <c:pt idx="12">
                  <c:v>0.47077400000000003</c:v>
                </c:pt>
                <c:pt idx="13">
                  <c:v>0</c:v>
                </c:pt>
                <c:pt idx="14">
                  <c:v>0</c:v>
                </c:pt>
              </c:numCache>
            </c:numRef>
          </c:val>
          <c:extLst>
            <c:ext xmlns:c16="http://schemas.microsoft.com/office/drawing/2014/chart" uri="{C3380CC4-5D6E-409C-BE32-E72D297353CC}">
              <c16:uniqueId val="{00000000-D96A-402E-9D3C-D63E68F3C214}"/>
            </c:ext>
          </c:extLst>
        </c:ser>
        <c:ser>
          <c:idx val="1"/>
          <c:order val="1"/>
          <c:tx>
            <c:strRef>
              <c:f>'[Slide 11 - Top Storage Operators.xlsx]Chart_Simple'!$C$3</c:f>
              <c:strCache>
                <c:ptCount val="1"/>
                <c:pt idx="0">
                  <c:v>ERCOT</c:v>
                </c:pt>
              </c:strCache>
            </c:strRef>
          </c:tx>
          <c:spPr>
            <a:solidFill>
              <a:srgbClr val="7030A0"/>
            </a:solidFill>
            <a:ln>
              <a:noFill/>
            </a:ln>
            <a:effectLst/>
          </c:spPr>
          <c:invertIfNegative val="0"/>
          <c:cat>
            <c:strRef>
              <c:f>[1]Chart_Simple!$A$4:$A$18</c:f>
              <c:strCache>
                <c:ptCount val="15"/>
                <c:pt idx="0">
                  <c:v>Engie</c:v>
                </c:pt>
                <c:pt idx="1">
                  <c:v>NextEra</c:v>
                </c:pt>
                <c:pt idx="2">
                  <c:v>Plus Power</c:v>
                </c:pt>
                <c:pt idx="3">
                  <c:v>Jupiter</c:v>
                </c:pt>
                <c:pt idx="4">
                  <c:v>Arevon</c:v>
                </c:pt>
                <c:pt idx="5">
                  <c:v>Invenergy</c:v>
                </c:pt>
                <c:pt idx="6">
                  <c:v>REV</c:v>
                </c:pt>
                <c:pt idx="7">
                  <c:v>Hecate Grid</c:v>
                </c:pt>
                <c:pt idx="8">
                  <c:v>Eolian</c:v>
                </c:pt>
                <c:pt idx="9">
                  <c:v>Black Mountain</c:v>
                </c:pt>
                <c:pt idx="10">
                  <c:v>UBS</c:v>
                </c:pt>
                <c:pt idx="11">
                  <c:v>Terra-Gen</c:v>
                </c:pt>
                <c:pt idx="12">
                  <c:v>RWE</c:v>
                </c:pt>
                <c:pt idx="13">
                  <c:v>KCE</c:v>
                </c:pt>
                <c:pt idx="14">
                  <c:v>Belltown</c:v>
                </c:pt>
              </c:strCache>
            </c:strRef>
          </c:cat>
          <c:val>
            <c:numRef>
              <c:f>[1]Chart_Simple!$C$4:$C$18</c:f>
              <c:numCache>
                <c:formatCode>General</c:formatCode>
                <c:ptCount val="15"/>
                <c:pt idx="0">
                  <c:v>3.1904000000000008</c:v>
                </c:pt>
                <c:pt idx="1">
                  <c:v>4.2999999999999997E-2</c:v>
                </c:pt>
                <c:pt idx="2">
                  <c:v>1.1149</c:v>
                </c:pt>
                <c:pt idx="3">
                  <c:v>1.3147</c:v>
                </c:pt>
                <c:pt idx="4">
                  <c:v>0</c:v>
                </c:pt>
                <c:pt idx="5">
                  <c:v>0</c:v>
                </c:pt>
                <c:pt idx="6">
                  <c:v>0</c:v>
                </c:pt>
                <c:pt idx="7">
                  <c:v>0.755</c:v>
                </c:pt>
                <c:pt idx="8">
                  <c:v>0.70499999999999996</c:v>
                </c:pt>
                <c:pt idx="9">
                  <c:v>1.038</c:v>
                </c:pt>
                <c:pt idx="10">
                  <c:v>0.96199999999999997</c:v>
                </c:pt>
                <c:pt idx="11">
                  <c:v>0</c:v>
                </c:pt>
                <c:pt idx="12">
                  <c:v>0.33700000000000002</c:v>
                </c:pt>
                <c:pt idx="13">
                  <c:v>0.57969999999999999</c:v>
                </c:pt>
                <c:pt idx="14">
                  <c:v>0.78200000000000003</c:v>
                </c:pt>
              </c:numCache>
            </c:numRef>
          </c:val>
          <c:extLst>
            <c:ext xmlns:c16="http://schemas.microsoft.com/office/drawing/2014/chart" uri="{C3380CC4-5D6E-409C-BE32-E72D297353CC}">
              <c16:uniqueId val="{00000001-D96A-402E-9D3C-D63E68F3C214}"/>
            </c:ext>
          </c:extLst>
        </c:ser>
        <c:ser>
          <c:idx val="2"/>
          <c:order val="2"/>
          <c:tx>
            <c:strRef>
              <c:f>'[Slide 11 - Top Storage Operators.xlsx]Chart_Simple'!$D$3</c:f>
              <c:strCache>
                <c:ptCount val="1"/>
                <c:pt idx="0">
                  <c:v>ISO-NE</c:v>
                </c:pt>
              </c:strCache>
            </c:strRef>
          </c:tx>
          <c:spPr>
            <a:solidFill>
              <a:srgbClr val="15B371"/>
            </a:solidFill>
            <a:ln>
              <a:noFill/>
            </a:ln>
            <a:effectLst/>
          </c:spPr>
          <c:invertIfNegative val="0"/>
          <c:cat>
            <c:strRef>
              <c:f>[1]Chart_Simple!$A$4:$A$18</c:f>
              <c:strCache>
                <c:ptCount val="15"/>
                <c:pt idx="0">
                  <c:v>Engie</c:v>
                </c:pt>
                <c:pt idx="1">
                  <c:v>NextEra</c:v>
                </c:pt>
                <c:pt idx="2">
                  <c:v>Plus Power</c:v>
                </c:pt>
                <c:pt idx="3">
                  <c:v>Jupiter</c:v>
                </c:pt>
                <c:pt idx="4">
                  <c:v>Arevon</c:v>
                </c:pt>
                <c:pt idx="5">
                  <c:v>Invenergy</c:v>
                </c:pt>
                <c:pt idx="6">
                  <c:v>REV</c:v>
                </c:pt>
                <c:pt idx="7">
                  <c:v>Hecate Grid</c:v>
                </c:pt>
                <c:pt idx="8">
                  <c:v>Eolian</c:v>
                </c:pt>
                <c:pt idx="9">
                  <c:v>Black Mountain</c:v>
                </c:pt>
                <c:pt idx="10">
                  <c:v>UBS</c:v>
                </c:pt>
                <c:pt idx="11">
                  <c:v>Terra-Gen</c:v>
                </c:pt>
                <c:pt idx="12">
                  <c:v>RWE</c:v>
                </c:pt>
                <c:pt idx="13">
                  <c:v>KCE</c:v>
                </c:pt>
                <c:pt idx="14">
                  <c:v>Belltown</c:v>
                </c:pt>
              </c:strCache>
            </c:strRef>
          </c:cat>
          <c:val>
            <c:numRef>
              <c:f>[1]Chart_Simple!$D$4:$D$18</c:f>
              <c:numCache>
                <c:formatCode>General</c:formatCode>
                <c:ptCount val="15"/>
                <c:pt idx="0">
                  <c:v>0</c:v>
                </c:pt>
                <c:pt idx="1">
                  <c:v>5.0000000000000001E-3</c:v>
                </c:pt>
                <c:pt idx="2">
                  <c:v>0.32500000000000001</c:v>
                </c:pt>
                <c:pt idx="3">
                  <c:v>0.50824800000000003</c:v>
                </c:pt>
                <c:pt idx="4">
                  <c:v>0</c:v>
                </c:pt>
                <c:pt idx="5">
                  <c:v>0</c:v>
                </c:pt>
                <c:pt idx="6">
                  <c:v>0</c:v>
                </c:pt>
                <c:pt idx="7">
                  <c:v>0</c:v>
                </c:pt>
                <c:pt idx="8">
                  <c:v>0.25</c:v>
                </c:pt>
                <c:pt idx="9">
                  <c:v>0</c:v>
                </c:pt>
                <c:pt idx="10">
                  <c:v>0</c:v>
                </c:pt>
                <c:pt idx="11">
                  <c:v>0</c:v>
                </c:pt>
                <c:pt idx="12">
                  <c:v>0</c:v>
                </c:pt>
                <c:pt idx="13">
                  <c:v>0</c:v>
                </c:pt>
                <c:pt idx="14">
                  <c:v>0</c:v>
                </c:pt>
              </c:numCache>
            </c:numRef>
          </c:val>
          <c:extLst>
            <c:ext xmlns:c16="http://schemas.microsoft.com/office/drawing/2014/chart" uri="{C3380CC4-5D6E-409C-BE32-E72D297353CC}">
              <c16:uniqueId val="{00000002-D96A-402E-9D3C-D63E68F3C214}"/>
            </c:ext>
          </c:extLst>
        </c:ser>
        <c:ser>
          <c:idx val="3"/>
          <c:order val="3"/>
          <c:tx>
            <c:strRef>
              <c:f>'[Slide 11 - Top Storage Operators.xlsx]Chart_Simple'!$E$3</c:f>
              <c:strCache>
                <c:ptCount val="1"/>
                <c:pt idx="0">
                  <c:v>MISO</c:v>
                </c:pt>
              </c:strCache>
            </c:strRef>
          </c:tx>
          <c:spPr>
            <a:solidFill>
              <a:srgbClr val="137CBD"/>
            </a:solidFill>
            <a:ln>
              <a:noFill/>
            </a:ln>
            <a:effectLst/>
          </c:spPr>
          <c:invertIfNegative val="0"/>
          <c:cat>
            <c:strRef>
              <c:f>[1]Chart_Simple!$A$4:$A$18</c:f>
              <c:strCache>
                <c:ptCount val="15"/>
                <c:pt idx="0">
                  <c:v>Engie</c:v>
                </c:pt>
                <c:pt idx="1">
                  <c:v>NextEra</c:v>
                </c:pt>
                <c:pt idx="2">
                  <c:v>Plus Power</c:v>
                </c:pt>
                <c:pt idx="3">
                  <c:v>Jupiter</c:v>
                </c:pt>
                <c:pt idx="4">
                  <c:v>Arevon</c:v>
                </c:pt>
                <c:pt idx="5">
                  <c:v>Invenergy</c:v>
                </c:pt>
                <c:pt idx="6">
                  <c:v>REV</c:v>
                </c:pt>
                <c:pt idx="7">
                  <c:v>Hecate Grid</c:v>
                </c:pt>
                <c:pt idx="8">
                  <c:v>Eolian</c:v>
                </c:pt>
                <c:pt idx="9">
                  <c:v>Black Mountain</c:v>
                </c:pt>
                <c:pt idx="10">
                  <c:v>UBS</c:v>
                </c:pt>
                <c:pt idx="11">
                  <c:v>Terra-Gen</c:v>
                </c:pt>
                <c:pt idx="12">
                  <c:v>RWE</c:v>
                </c:pt>
                <c:pt idx="13">
                  <c:v>KCE</c:v>
                </c:pt>
                <c:pt idx="14">
                  <c:v>Belltown</c:v>
                </c:pt>
              </c:strCache>
            </c:strRef>
          </c:cat>
          <c:val>
            <c:numRef>
              <c:f>[1]Chart_Simple!$E$4:$E$18</c:f>
              <c:numCache>
                <c:formatCode>General</c:formatCode>
                <c:ptCount val="15"/>
                <c:pt idx="0">
                  <c:v>0</c:v>
                </c:pt>
                <c:pt idx="1">
                  <c:v>3.5000000000000003E-2</c:v>
                </c:pt>
                <c:pt idx="2">
                  <c:v>0</c:v>
                </c:pt>
                <c:pt idx="3">
                  <c:v>0</c:v>
                </c:pt>
                <c:pt idx="4">
                  <c:v>0</c:v>
                </c:pt>
                <c:pt idx="5">
                  <c:v>9.5000000000000001E-2</c:v>
                </c:pt>
                <c:pt idx="6">
                  <c:v>0</c:v>
                </c:pt>
                <c:pt idx="7">
                  <c:v>0</c:v>
                </c:pt>
                <c:pt idx="8">
                  <c:v>0</c:v>
                </c:pt>
                <c:pt idx="9">
                  <c:v>0</c:v>
                </c:pt>
                <c:pt idx="10">
                  <c:v>0</c:v>
                </c:pt>
                <c:pt idx="11">
                  <c:v>0</c:v>
                </c:pt>
                <c:pt idx="12">
                  <c:v>0</c:v>
                </c:pt>
                <c:pt idx="13">
                  <c:v>0</c:v>
                </c:pt>
                <c:pt idx="14">
                  <c:v>0</c:v>
                </c:pt>
              </c:numCache>
            </c:numRef>
          </c:val>
          <c:extLst>
            <c:ext xmlns:c16="http://schemas.microsoft.com/office/drawing/2014/chart" uri="{C3380CC4-5D6E-409C-BE32-E72D297353CC}">
              <c16:uniqueId val="{00000003-D96A-402E-9D3C-D63E68F3C214}"/>
            </c:ext>
          </c:extLst>
        </c:ser>
        <c:ser>
          <c:idx val="4"/>
          <c:order val="4"/>
          <c:tx>
            <c:strRef>
              <c:f>'[Slide 11 - Top Storage Operators.xlsx]Chart_Simple'!$F$3</c:f>
              <c:strCache>
                <c:ptCount val="1"/>
                <c:pt idx="0">
                  <c:v>NYISO</c:v>
                </c:pt>
              </c:strCache>
            </c:strRef>
          </c:tx>
          <c:spPr>
            <a:solidFill>
              <a:srgbClr val="F5498B"/>
            </a:solidFill>
            <a:ln>
              <a:noFill/>
            </a:ln>
            <a:effectLst/>
          </c:spPr>
          <c:invertIfNegative val="0"/>
          <c:cat>
            <c:strRef>
              <c:f>[1]Chart_Simple!$A$4:$A$18</c:f>
              <c:strCache>
                <c:ptCount val="15"/>
                <c:pt idx="0">
                  <c:v>Engie</c:v>
                </c:pt>
                <c:pt idx="1">
                  <c:v>NextEra</c:v>
                </c:pt>
                <c:pt idx="2">
                  <c:v>Plus Power</c:v>
                </c:pt>
                <c:pt idx="3">
                  <c:v>Jupiter</c:v>
                </c:pt>
                <c:pt idx="4">
                  <c:v>Arevon</c:v>
                </c:pt>
                <c:pt idx="5">
                  <c:v>Invenergy</c:v>
                </c:pt>
                <c:pt idx="6">
                  <c:v>REV</c:v>
                </c:pt>
                <c:pt idx="7">
                  <c:v>Hecate Grid</c:v>
                </c:pt>
                <c:pt idx="8">
                  <c:v>Eolian</c:v>
                </c:pt>
                <c:pt idx="9">
                  <c:v>Black Mountain</c:v>
                </c:pt>
                <c:pt idx="10">
                  <c:v>UBS</c:v>
                </c:pt>
                <c:pt idx="11">
                  <c:v>Terra-Gen</c:v>
                </c:pt>
                <c:pt idx="12">
                  <c:v>RWE</c:v>
                </c:pt>
                <c:pt idx="13">
                  <c:v>KCE</c:v>
                </c:pt>
                <c:pt idx="14">
                  <c:v>Belltown</c:v>
                </c:pt>
              </c:strCache>
            </c:strRef>
          </c:cat>
          <c:val>
            <c:numRef>
              <c:f>[1]Chart_Simple!$F$4:$F$18</c:f>
              <c:numCache>
                <c:formatCode>General</c:formatCode>
                <c:ptCount val="15"/>
                <c:pt idx="0">
                  <c:v>0</c:v>
                </c:pt>
                <c:pt idx="1">
                  <c:v>5.0499999999999998E-3</c:v>
                </c:pt>
                <c:pt idx="2">
                  <c:v>0</c:v>
                </c:pt>
                <c:pt idx="3">
                  <c:v>0</c:v>
                </c:pt>
                <c:pt idx="4">
                  <c:v>0</c:v>
                </c:pt>
                <c:pt idx="5">
                  <c:v>0.02</c:v>
                </c:pt>
                <c:pt idx="6">
                  <c:v>0</c:v>
                </c:pt>
                <c:pt idx="7">
                  <c:v>0</c:v>
                </c:pt>
                <c:pt idx="8">
                  <c:v>0</c:v>
                </c:pt>
                <c:pt idx="9">
                  <c:v>0</c:v>
                </c:pt>
                <c:pt idx="10">
                  <c:v>0</c:v>
                </c:pt>
                <c:pt idx="11">
                  <c:v>0</c:v>
                </c:pt>
                <c:pt idx="12">
                  <c:v>0</c:v>
                </c:pt>
                <c:pt idx="13">
                  <c:v>0.21299999999999999</c:v>
                </c:pt>
                <c:pt idx="14">
                  <c:v>0</c:v>
                </c:pt>
              </c:numCache>
            </c:numRef>
          </c:val>
          <c:extLst>
            <c:ext xmlns:c16="http://schemas.microsoft.com/office/drawing/2014/chart" uri="{C3380CC4-5D6E-409C-BE32-E72D297353CC}">
              <c16:uniqueId val="{00000004-D96A-402E-9D3C-D63E68F3C214}"/>
            </c:ext>
          </c:extLst>
        </c:ser>
        <c:ser>
          <c:idx val="5"/>
          <c:order val="5"/>
          <c:tx>
            <c:strRef>
              <c:f>'[Slide 11 - Top Storage Operators.xlsx]Chart_Simple'!$G$3</c:f>
              <c:strCache>
                <c:ptCount val="1"/>
                <c:pt idx="0">
                  <c:v>PJM</c:v>
                </c:pt>
              </c:strCache>
            </c:strRef>
          </c:tx>
          <c:spPr>
            <a:solidFill>
              <a:srgbClr val="F29D49"/>
            </a:solidFill>
            <a:ln>
              <a:noFill/>
            </a:ln>
            <a:effectLst/>
          </c:spPr>
          <c:invertIfNegative val="0"/>
          <c:cat>
            <c:strRef>
              <c:f>[1]Chart_Simple!$A$4:$A$18</c:f>
              <c:strCache>
                <c:ptCount val="15"/>
                <c:pt idx="0">
                  <c:v>Engie</c:v>
                </c:pt>
                <c:pt idx="1">
                  <c:v>NextEra</c:v>
                </c:pt>
                <c:pt idx="2">
                  <c:v>Plus Power</c:v>
                </c:pt>
                <c:pt idx="3">
                  <c:v>Jupiter</c:v>
                </c:pt>
                <c:pt idx="4">
                  <c:v>Arevon</c:v>
                </c:pt>
                <c:pt idx="5">
                  <c:v>Invenergy</c:v>
                </c:pt>
                <c:pt idx="6">
                  <c:v>REV</c:v>
                </c:pt>
                <c:pt idx="7">
                  <c:v>Hecate Grid</c:v>
                </c:pt>
                <c:pt idx="8">
                  <c:v>Eolian</c:v>
                </c:pt>
                <c:pt idx="9">
                  <c:v>Black Mountain</c:v>
                </c:pt>
                <c:pt idx="10">
                  <c:v>UBS</c:v>
                </c:pt>
                <c:pt idx="11">
                  <c:v>Terra-Gen</c:v>
                </c:pt>
                <c:pt idx="12">
                  <c:v>RWE</c:v>
                </c:pt>
                <c:pt idx="13">
                  <c:v>KCE</c:v>
                </c:pt>
                <c:pt idx="14">
                  <c:v>Belltown</c:v>
                </c:pt>
              </c:strCache>
            </c:strRef>
          </c:cat>
          <c:val>
            <c:numRef>
              <c:f>[1]Chart_Simple!$G$4:$G$18</c:f>
              <c:numCache>
                <c:formatCode>General</c:formatCode>
                <c:ptCount val="15"/>
                <c:pt idx="0">
                  <c:v>0</c:v>
                </c:pt>
                <c:pt idx="1">
                  <c:v>1.04E-2</c:v>
                </c:pt>
                <c:pt idx="2">
                  <c:v>0</c:v>
                </c:pt>
                <c:pt idx="3">
                  <c:v>0.08</c:v>
                </c:pt>
                <c:pt idx="4">
                  <c:v>0</c:v>
                </c:pt>
                <c:pt idx="5">
                  <c:v>0.2145</c:v>
                </c:pt>
                <c:pt idx="6">
                  <c:v>0</c:v>
                </c:pt>
                <c:pt idx="7">
                  <c:v>0</c:v>
                </c:pt>
                <c:pt idx="8">
                  <c:v>0.2</c:v>
                </c:pt>
                <c:pt idx="9">
                  <c:v>0</c:v>
                </c:pt>
                <c:pt idx="10">
                  <c:v>0</c:v>
                </c:pt>
                <c:pt idx="11">
                  <c:v>0</c:v>
                </c:pt>
                <c:pt idx="12">
                  <c:v>0</c:v>
                </c:pt>
                <c:pt idx="13">
                  <c:v>0</c:v>
                </c:pt>
                <c:pt idx="14">
                  <c:v>0</c:v>
                </c:pt>
              </c:numCache>
            </c:numRef>
          </c:val>
          <c:extLst>
            <c:ext xmlns:c16="http://schemas.microsoft.com/office/drawing/2014/chart" uri="{C3380CC4-5D6E-409C-BE32-E72D297353CC}">
              <c16:uniqueId val="{00000005-D96A-402E-9D3C-D63E68F3C214}"/>
            </c:ext>
          </c:extLst>
        </c:ser>
        <c:ser>
          <c:idx val="6"/>
          <c:order val="6"/>
          <c:tx>
            <c:strRef>
              <c:f>'[Slide 11 - Top Storage Operators.xlsx]Chart_Simple'!$H$3</c:f>
              <c:strCache>
                <c:ptCount val="1"/>
                <c:pt idx="0">
                  <c:v>SPP</c:v>
                </c:pt>
              </c:strCache>
            </c:strRef>
          </c:tx>
          <c:spPr>
            <a:solidFill>
              <a:srgbClr val="23B6A9"/>
            </a:solidFill>
            <a:ln>
              <a:noFill/>
            </a:ln>
            <a:effectLst/>
          </c:spPr>
          <c:invertIfNegative val="0"/>
          <c:cat>
            <c:strRef>
              <c:f>[1]Chart_Simple!$A$4:$A$18</c:f>
              <c:strCache>
                <c:ptCount val="15"/>
                <c:pt idx="0">
                  <c:v>Engie</c:v>
                </c:pt>
                <c:pt idx="1">
                  <c:v>NextEra</c:v>
                </c:pt>
                <c:pt idx="2">
                  <c:v>Plus Power</c:v>
                </c:pt>
                <c:pt idx="3">
                  <c:v>Jupiter</c:v>
                </c:pt>
                <c:pt idx="4">
                  <c:v>Arevon</c:v>
                </c:pt>
                <c:pt idx="5">
                  <c:v>Invenergy</c:v>
                </c:pt>
                <c:pt idx="6">
                  <c:v>REV</c:v>
                </c:pt>
                <c:pt idx="7">
                  <c:v>Hecate Grid</c:v>
                </c:pt>
                <c:pt idx="8">
                  <c:v>Eolian</c:v>
                </c:pt>
                <c:pt idx="9">
                  <c:v>Black Mountain</c:v>
                </c:pt>
                <c:pt idx="10">
                  <c:v>UBS</c:v>
                </c:pt>
                <c:pt idx="11">
                  <c:v>Terra-Gen</c:v>
                </c:pt>
                <c:pt idx="12">
                  <c:v>RWE</c:v>
                </c:pt>
                <c:pt idx="13">
                  <c:v>KCE</c:v>
                </c:pt>
                <c:pt idx="14">
                  <c:v>Belltown</c:v>
                </c:pt>
              </c:strCache>
            </c:strRef>
          </c:cat>
          <c:val>
            <c:numRef>
              <c:f>[1]Chart_Simple!$H$4:$H$18</c:f>
              <c:numCache>
                <c:formatCode>General</c:formatCode>
                <c:ptCount val="15"/>
                <c:pt idx="0">
                  <c:v>0</c:v>
                </c:pt>
                <c:pt idx="1">
                  <c:v>0.495</c:v>
                </c:pt>
                <c:pt idx="2">
                  <c:v>0</c:v>
                </c:pt>
                <c:pt idx="3">
                  <c:v>0</c:v>
                </c:pt>
                <c:pt idx="4">
                  <c:v>0</c:v>
                </c:pt>
                <c:pt idx="5">
                  <c:v>1.1640000000000001E-2</c:v>
                </c:pt>
                <c:pt idx="6">
                  <c:v>0</c:v>
                </c:pt>
                <c:pt idx="7">
                  <c:v>0</c:v>
                </c:pt>
                <c:pt idx="8">
                  <c:v>0</c:v>
                </c:pt>
                <c:pt idx="9">
                  <c:v>0</c:v>
                </c:pt>
                <c:pt idx="10">
                  <c:v>0</c:v>
                </c:pt>
                <c:pt idx="11">
                  <c:v>0</c:v>
                </c:pt>
                <c:pt idx="12">
                  <c:v>0</c:v>
                </c:pt>
                <c:pt idx="13">
                  <c:v>0</c:v>
                </c:pt>
                <c:pt idx="14">
                  <c:v>0</c:v>
                </c:pt>
              </c:numCache>
            </c:numRef>
          </c:val>
          <c:extLst>
            <c:ext xmlns:c16="http://schemas.microsoft.com/office/drawing/2014/chart" uri="{C3380CC4-5D6E-409C-BE32-E72D297353CC}">
              <c16:uniqueId val="{00000006-D96A-402E-9D3C-D63E68F3C214}"/>
            </c:ext>
          </c:extLst>
        </c:ser>
        <c:ser>
          <c:idx val="7"/>
          <c:order val="7"/>
          <c:tx>
            <c:strRef>
              <c:f>'[Slide 11 - Top Storage Operators.xlsx]Chart_Simple'!$I$3</c:f>
              <c:strCache>
                <c:ptCount val="1"/>
                <c:pt idx="0">
                  <c:v>Non-ISO</c:v>
                </c:pt>
              </c:strCache>
            </c:strRef>
          </c:tx>
          <c:spPr>
            <a:solidFill>
              <a:srgbClr val="44546A"/>
            </a:solidFill>
            <a:ln>
              <a:noFill/>
            </a:ln>
            <a:effectLst/>
          </c:spPr>
          <c:invertIfNegative val="0"/>
          <c:cat>
            <c:strRef>
              <c:f>[1]Chart_Simple!$A$4:$A$18</c:f>
              <c:strCache>
                <c:ptCount val="15"/>
                <c:pt idx="0">
                  <c:v>Engie</c:v>
                </c:pt>
                <c:pt idx="1">
                  <c:v>NextEra</c:v>
                </c:pt>
                <c:pt idx="2">
                  <c:v>Plus Power</c:v>
                </c:pt>
                <c:pt idx="3">
                  <c:v>Jupiter</c:v>
                </c:pt>
                <c:pt idx="4">
                  <c:v>Arevon</c:v>
                </c:pt>
                <c:pt idx="5">
                  <c:v>Invenergy</c:v>
                </c:pt>
                <c:pt idx="6">
                  <c:v>REV</c:v>
                </c:pt>
                <c:pt idx="7">
                  <c:v>Hecate Grid</c:v>
                </c:pt>
                <c:pt idx="8">
                  <c:v>Eolian</c:v>
                </c:pt>
                <c:pt idx="9">
                  <c:v>Black Mountain</c:v>
                </c:pt>
                <c:pt idx="10">
                  <c:v>UBS</c:v>
                </c:pt>
                <c:pt idx="11">
                  <c:v>Terra-Gen</c:v>
                </c:pt>
                <c:pt idx="12">
                  <c:v>RWE</c:v>
                </c:pt>
                <c:pt idx="13">
                  <c:v>KCE</c:v>
                </c:pt>
                <c:pt idx="14">
                  <c:v>Belltown</c:v>
                </c:pt>
              </c:strCache>
            </c:strRef>
          </c:cat>
          <c:val>
            <c:numRef>
              <c:f>[1]Chart_Simple!$I$4:$I$18</c:f>
              <c:numCache>
                <c:formatCode>General</c:formatCode>
                <c:ptCount val="15"/>
                <c:pt idx="0">
                  <c:v>0</c:v>
                </c:pt>
                <c:pt idx="1">
                  <c:v>0.21</c:v>
                </c:pt>
                <c:pt idx="2">
                  <c:v>0.52500000000000002</c:v>
                </c:pt>
                <c:pt idx="3">
                  <c:v>0</c:v>
                </c:pt>
                <c:pt idx="4">
                  <c:v>0</c:v>
                </c:pt>
                <c:pt idx="5">
                  <c:v>0.95750000000000002</c:v>
                </c:pt>
                <c:pt idx="6">
                  <c:v>0</c:v>
                </c:pt>
                <c:pt idx="7">
                  <c:v>0</c:v>
                </c:pt>
                <c:pt idx="8">
                  <c:v>0</c:v>
                </c:pt>
                <c:pt idx="9">
                  <c:v>0</c:v>
                </c:pt>
                <c:pt idx="10">
                  <c:v>0</c:v>
                </c:pt>
                <c:pt idx="11">
                  <c:v>0</c:v>
                </c:pt>
                <c:pt idx="12">
                  <c:v>0</c:v>
                </c:pt>
                <c:pt idx="13">
                  <c:v>0</c:v>
                </c:pt>
                <c:pt idx="14">
                  <c:v>0</c:v>
                </c:pt>
              </c:numCache>
            </c:numRef>
          </c:val>
          <c:extLst>
            <c:ext xmlns:c16="http://schemas.microsoft.com/office/drawing/2014/chart" uri="{C3380CC4-5D6E-409C-BE32-E72D297353CC}">
              <c16:uniqueId val="{00000007-D96A-402E-9D3C-D63E68F3C214}"/>
            </c:ext>
          </c:extLst>
        </c:ser>
        <c:dLbls>
          <c:showLegendKey val="0"/>
          <c:showVal val="0"/>
          <c:showCatName val="0"/>
          <c:showSerName val="0"/>
          <c:showPercent val="0"/>
          <c:showBubbleSize val="0"/>
        </c:dLbls>
        <c:gapWidth val="20"/>
        <c:overlap val="100"/>
        <c:axId val="1531429456"/>
        <c:axId val="1531434736"/>
      </c:barChart>
      <c:catAx>
        <c:axId val="15314294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ysClr val="windowText" lastClr="000000"/>
                </a:solidFill>
                <a:latin typeface="Manrope" pitchFamily="2" charset="0"/>
                <a:ea typeface="+mn-ea"/>
                <a:cs typeface="+mn-cs"/>
              </a:defRPr>
            </a:pPr>
            <a:endParaRPr lang="en-US"/>
          </a:p>
        </c:txPr>
        <c:crossAx val="1531434736"/>
        <c:crosses val="autoZero"/>
        <c:auto val="1"/>
        <c:lblAlgn val="ctr"/>
        <c:lblOffset val="100"/>
        <c:noMultiLvlLbl val="0"/>
      </c:catAx>
      <c:valAx>
        <c:axId val="1531434736"/>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200" b="1" i="0" u="none" strike="noStrike" kern="1200" baseline="0">
                    <a:solidFill>
                      <a:sysClr val="windowText" lastClr="000000"/>
                    </a:solidFill>
                    <a:latin typeface="Manrope" pitchFamily="2" charset="0"/>
                    <a:ea typeface="+mn-ea"/>
                    <a:cs typeface="+mn-cs"/>
                  </a:defRPr>
                </a:pPr>
                <a:r>
                  <a:rPr lang="en-US"/>
                  <a:t>Operating &amp;</a:t>
                </a:r>
                <a:r>
                  <a:rPr lang="en-US" baseline="0"/>
                  <a:t> </a:t>
                </a:r>
                <a:r>
                  <a:rPr lang="en-US"/>
                  <a:t>Late-Stage Capacity (GW)</a:t>
                </a:r>
              </a:p>
            </c:rich>
          </c:tx>
          <c:overlay val="0"/>
          <c:spPr>
            <a:noFill/>
            <a:ln>
              <a:noFill/>
            </a:ln>
            <a:effectLst/>
          </c:spPr>
          <c:txPr>
            <a:bodyPr rot="-5400000" spcFirstLastPara="1" vertOverflow="ellipsis" vert="horz" wrap="square" anchor="ctr" anchorCtr="1"/>
            <a:lstStyle/>
            <a:p>
              <a:pPr>
                <a:defRPr sz="1200" b="1" i="0" u="none" strike="noStrike" kern="1200" baseline="0">
                  <a:solidFill>
                    <a:sysClr val="windowText" lastClr="000000"/>
                  </a:solidFill>
                  <a:latin typeface="Manrope" pitchFamily="2" charset="0"/>
                  <a:ea typeface="+mn-ea"/>
                  <a:cs typeface="+mn-cs"/>
                </a:defRPr>
              </a:pPr>
              <a:endParaRPr lang="en-US"/>
            </a:p>
          </c:txPr>
        </c:title>
        <c:numFmt formatCode="#,##0.0" sourceLinked="0"/>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ysClr val="windowText" lastClr="000000"/>
                </a:solidFill>
                <a:latin typeface="Manrope" pitchFamily="2" charset="0"/>
                <a:ea typeface="+mn-ea"/>
                <a:cs typeface="+mn-cs"/>
              </a:defRPr>
            </a:pPr>
            <a:endParaRPr lang="en-US"/>
          </a:p>
        </c:txPr>
        <c:crossAx val="153142945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1" i="0" u="none" strike="noStrike" kern="1200" baseline="0">
              <a:solidFill>
                <a:sysClr val="windowText" lastClr="000000"/>
              </a:solidFill>
              <a:latin typeface="Manrope"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ysClr val="windowText" lastClr="000000"/>
          </a:solidFill>
          <a:latin typeface="Manrope" pitchFamily="2" charset="0"/>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Average_Revenue_Through_Time_($'!$B$33</c:f>
              <c:strCache>
                <c:ptCount val="1"/>
                <c:pt idx="0">
                  <c:v>Capacity</c:v>
                </c:pt>
              </c:strCache>
            </c:strRef>
          </c:tx>
          <c:spPr>
            <a:solidFill>
              <a:schemeClr val="accent1"/>
            </a:solidFill>
            <a:ln>
              <a:noFill/>
            </a:ln>
            <a:effectLst/>
          </c:spPr>
          <c:invertIfNegative val="0"/>
          <c:cat>
            <c:numRef>
              <c:f>'Average_Revenue_Through_Time_($'!$A$34:$A$63</c:f>
              <c:numCache>
                <c:formatCode>m/d/yyyy</c:formatCode>
                <c:ptCount val="30"/>
                <c:pt idx="0">
                  <c:v>44562</c:v>
                </c:pt>
                <c:pt idx="1">
                  <c:v>44593</c:v>
                </c:pt>
                <c:pt idx="2">
                  <c:v>44621</c:v>
                </c:pt>
                <c:pt idx="3">
                  <c:v>44652</c:v>
                </c:pt>
                <c:pt idx="4">
                  <c:v>44682</c:v>
                </c:pt>
                <c:pt idx="5">
                  <c:v>44713</c:v>
                </c:pt>
                <c:pt idx="6">
                  <c:v>44743</c:v>
                </c:pt>
                <c:pt idx="7">
                  <c:v>44774</c:v>
                </c:pt>
                <c:pt idx="8">
                  <c:v>44805</c:v>
                </c:pt>
                <c:pt idx="9">
                  <c:v>44835</c:v>
                </c:pt>
                <c:pt idx="10">
                  <c:v>44866</c:v>
                </c:pt>
                <c:pt idx="11">
                  <c:v>44896</c:v>
                </c:pt>
                <c:pt idx="12">
                  <c:v>44927</c:v>
                </c:pt>
                <c:pt idx="13">
                  <c:v>44958</c:v>
                </c:pt>
                <c:pt idx="14">
                  <c:v>44986</c:v>
                </c:pt>
                <c:pt idx="15">
                  <c:v>45017</c:v>
                </c:pt>
                <c:pt idx="16">
                  <c:v>45047</c:v>
                </c:pt>
                <c:pt idx="17">
                  <c:v>45078</c:v>
                </c:pt>
                <c:pt idx="18">
                  <c:v>45108</c:v>
                </c:pt>
                <c:pt idx="19">
                  <c:v>45139</c:v>
                </c:pt>
                <c:pt idx="20">
                  <c:v>45170</c:v>
                </c:pt>
                <c:pt idx="21">
                  <c:v>45200</c:v>
                </c:pt>
                <c:pt idx="22">
                  <c:v>45231</c:v>
                </c:pt>
                <c:pt idx="23">
                  <c:v>45261</c:v>
                </c:pt>
                <c:pt idx="24">
                  <c:v>45292</c:v>
                </c:pt>
                <c:pt idx="25">
                  <c:v>45323</c:v>
                </c:pt>
                <c:pt idx="26">
                  <c:v>45352</c:v>
                </c:pt>
                <c:pt idx="27">
                  <c:v>45383</c:v>
                </c:pt>
                <c:pt idx="28">
                  <c:v>45413</c:v>
                </c:pt>
                <c:pt idx="29">
                  <c:v>45444</c:v>
                </c:pt>
              </c:numCache>
            </c:numRef>
          </c:cat>
          <c:val>
            <c:numRef>
              <c:f>'Average_Revenue_Through_Time_($'!$B$34:$B$63</c:f>
              <c:numCache>
                <c:formatCode>General</c:formatCode>
                <c:ptCount val="30"/>
                <c:pt idx="0">
                  <c:v>6.54</c:v>
                </c:pt>
                <c:pt idx="1">
                  <c:v>6.34</c:v>
                </c:pt>
                <c:pt idx="2">
                  <c:v>6.76</c:v>
                </c:pt>
                <c:pt idx="3">
                  <c:v>6.04</c:v>
                </c:pt>
                <c:pt idx="4">
                  <c:v>6.86</c:v>
                </c:pt>
                <c:pt idx="5">
                  <c:v>5.95</c:v>
                </c:pt>
                <c:pt idx="6">
                  <c:v>7.05</c:v>
                </c:pt>
                <c:pt idx="7">
                  <c:v>7.68</c:v>
                </c:pt>
                <c:pt idx="8">
                  <c:v>6.56</c:v>
                </c:pt>
                <c:pt idx="9">
                  <c:v>6.56</c:v>
                </c:pt>
                <c:pt idx="10">
                  <c:v>7.12</c:v>
                </c:pt>
                <c:pt idx="11">
                  <c:v>6.59</c:v>
                </c:pt>
                <c:pt idx="12">
                  <c:v>7.65</c:v>
                </c:pt>
                <c:pt idx="13">
                  <c:v>6.21</c:v>
                </c:pt>
                <c:pt idx="14">
                  <c:v>6.35</c:v>
                </c:pt>
                <c:pt idx="15">
                  <c:v>7.97</c:v>
                </c:pt>
                <c:pt idx="16">
                  <c:v>6.17</c:v>
                </c:pt>
                <c:pt idx="17">
                  <c:v>6.81</c:v>
                </c:pt>
                <c:pt idx="18">
                  <c:v>9.77</c:v>
                </c:pt>
                <c:pt idx="19">
                  <c:v>7.39</c:v>
                </c:pt>
                <c:pt idx="20">
                  <c:v>7.33</c:v>
                </c:pt>
                <c:pt idx="21">
                  <c:v>6.95</c:v>
                </c:pt>
                <c:pt idx="22">
                  <c:v>7.03</c:v>
                </c:pt>
                <c:pt idx="23">
                  <c:v>7.65</c:v>
                </c:pt>
                <c:pt idx="24">
                  <c:v>7.99</c:v>
                </c:pt>
                <c:pt idx="25">
                  <c:v>7.51</c:v>
                </c:pt>
                <c:pt idx="26">
                  <c:v>7.59</c:v>
                </c:pt>
                <c:pt idx="27">
                  <c:v>7.74</c:v>
                </c:pt>
                <c:pt idx="28">
                  <c:v>7.31</c:v>
                </c:pt>
                <c:pt idx="29">
                  <c:v>7.82</c:v>
                </c:pt>
              </c:numCache>
            </c:numRef>
          </c:val>
          <c:extLst>
            <c:ext xmlns:c16="http://schemas.microsoft.com/office/drawing/2014/chart" uri="{C3380CC4-5D6E-409C-BE32-E72D297353CC}">
              <c16:uniqueId val="{00000000-C096-4E42-B0C8-ADDB5FCECE87}"/>
            </c:ext>
          </c:extLst>
        </c:ser>
        <c:ser>
          <c:idx val="1"/>
          <c:order val="1"/>
          <c:tx>
            <c:strRef>
              <c:f>'Average_Revenue_Through_Time_($'!$C$33</c:f>
              <c:strCache>
                <c:ptCount val="1"/>
                <c:pt idx="0">
                  <c:v>Energy</c:v>
                </c:pt>
              </c:strCache>
            </c:strRef>
          </c:tx>
          <c:spPr>
            <a:solidFill>
              <a:schemeClr val="accent2"/>
            </a:solidFill>
            <a:ln>
              <a:noFill/>
            </a:ln>
            <a:effectLst/>
          </c:spPr>
          <c:invertIfNegative val="0"/>
          <c:cat>
            <c:numRef>
              <c:f>'Average_Revenue_Through_Time_($'!$A$34:$A$63</c:f>
              <c:numCache>
                <c:formatCode>m/d/yyyy</c:formatCode>
                <c:ptCount val="30"/>
                <c:pt idx="0">
                  <c:v>44562</c:v>
                </c:pt>
                <c:pt idx="1">
                  <c:v>44593</c:v>
                </c:pt>
                <c:pt idx="2">
                  <c:v>44621</c:v>
                </c:pt>
                <c:pt idx="3">
                  <c:v>44652</c:v>
                </c:pt>
                <c:pt idx="4">
                  <c:v>44682</c:v>
                </c:pt>
                <c:pt idx="5">
                  <c:v>44713</c:v>
                </c:pt>
                <c:pt idx="6">
                  <c:v>44743</c:v>
                </c:pt>
                <c:pt idx="7">
                  <c:v>44774</c:v>
                </c:pt>
                <c:pt idx="8">
                  <c:v>44805</c:v>
                </c:pt>
                <c:pt idx="9">
                  <c:v>44835</c:v>
                </c:pt>
                <c:pt idx="10">
                  <c:v>44866</c:v>
                </c:pt>
                <c:pt idx="11">
                  <c:v>44896</c:v>
                </c:pt>
                <c:pt idx="12">
                  <c:v>44927</c:v>
                </c:pt>
                <c:pt idx="13">
                  <c:v>44958</c:v>
                </c:pt>
                <c:pt idx="14">
                  <c:v>44986</c:v>
                </c:pt>
                <c:pt idx="15">
                  <c:v>45017</c:v>
                </c:pt>
                <c:pt idx="16">
                  <c:v>45047</c:v>
                </c:pt>
                <c:pt idx="17">
                  <c:v>45078</c:v>
                </c:pt>
                <c:pt idx="18">
                  <c:v>45108</c:v>
                </c:pt>
                <c:pt idx="19">
                  <c:v>45139</c:v>
                </c:pt>
                <c:pt idx="20">
                  <c:v>45170</c:v>
                </c:pt>
                <c:pt idx="21">
                  <c:v>45200</c:v>
                </c:pt>
                <c:pt idx="22">
                  <c:v>45231</c:v>
                </c:pt>
                <c:pt idx="23">
                  <c:v>45261</c:v>
                </c:pt>
                <c:pt idx="24">
                  <c:v>45292</c:v>
                </c:pt>
                <c:pt idx="25">
                  <c:v>45323</c:v>
                </c:pt>
                <c:pt idx="26">
                  <c:v>45352</c:v>
                </c:pt>
                <c:pt idx="27">
                  <c:v>45383</c:v>
                </c:pt>
                <c:pt idx="28">
                  <c:v>45413</c:v>
                </c:pt>
                <c:pt idx="29">
                  <c:v>45444</c:v>
                </c:pt>
              </c:numCache>
            </c:numRef>
          </c:cat>
          <c:val>
            <c:numRef>
              <c:f>'Average_Revenue_Through_Time_($'!$C$34:$C$63</c:f>
              <c:numCache>
                <c:formatCode>General</c:formatCode>
                <c:ptCount val="30"/>
                <c:pt idx="0">
                  <c:v>2.91</c:v>
                </c:pt>
                <c:pt idx="1">
                  <c:v>3.67</c:v>
                </c:pt>
                <c:pt idx="2">
                  <c:v>3.95</c:v>
                </c:pt>
                <c:pt idx="3">
                  <c:v>5.31</c:v>
                </c:pt>
                <c:pt idx="4">
                  <c:v>5.91</c:v>
                </c:pt>
                <c:pt idx="5">
                  <c:v>5.33</c:v>
                </c:pt>
                <c:pt idx="6">
                  <c:v>3.12</c:v>
                </c:pt>
                <c:pt idx="7">
                  <c:v>4.6500000000000004</c:v>
                </c:pt>
                <c:pt idx="8">
                  <c:v>7.33</c:v>
                </c:pt>
                <c:pt idx="9">
                  <c:v>2.81</c:v>
                </c:pt>
                <c:pt idx="10">
                  <c:v>4.58</c:v>
                </c:pt>
                <c:pt idx="11">
                  <c:v>9.9600000000000009</c:v>
                </c:pt>
                <c:pt idx="12">
                  <c:v>6.09</c:v>
                </c:pt>
                <c:pt idx="13">
                  <c:v>3.88</c:v>
                </c:pt>
                <c:pt idx="14">
                  <c:v>7.01</c:v>
                </c:pt>
                <c:pt idx="15">
                  <c:v>6.55</c:v>
                </c:pt>
                <c:pt idx="16">
                  <c:v>2.8</c:v>
                </c:pt>
                <c:pt idx="17">
                  <c:v>2.2000000000000002</c:v>
                </c:pt>
                <c:pt idx="18">
                  <c:v>5.33</c:v>
                </c:pt>
                <c:pt idx="19">
                  <c:v>6.73</c:v>
                </c:pt>
                <c:pt idx="20">
                  <c:v>2.38</c:v>
                </c:pt>
                <c:pt idx="21">
                  <c:v>3.94</c:v>
                </c:pt>
                <c:pt idx="22">
                  <c:v>2.76</c:v>
                </c:pt>
                <c:pt idx="23">
                  <c:v>1.75</c:v>
                </c:pt>
                <c:pt idx="24">
                  <c:v>2.93</c:v>
                </c:pt>
                <c:pt idx="25">
                  <c:v>2.57</c:v>
                </c:pt>
                <c:pt idx="26">
                  <c:v>2.84</c:v>
                </c:pt>
                <c:pt idx="27">
                  <c:v>2.5499999999999998</c:v>
                </c:pt>
                <c:pt idx="28">
                  <c:v>1.84</c:v>
                </c:pt>
                <c:pt idx="29">
                  <c:v>1.98</c:v>
                </c:pt>
              </c:numCache>
            </c:numRef>
          </c:val>
          <c:extLst>
            <c:ext xmlns:c16="http://schemas.microsoft.com/office/drawing/2014/chart" uri="{C3380CC4-5D6E-409C-BE32-E72D297353CC}">
              <c16:uniqueId val="{00000001-C096-4E42-B0C8-ADDB5FCECE87}"/>
            </c:ext>
          </c:extLst>
        </c:ser>
        <c:ser>
          <c:idx val="2"/>
          <c:order val="2"/>
          <c:tx>
            <c:strRef>
              <c:f>'Average_Revenue_Through_Time_($'!$D$33</c:f>
              <c:strCache>
                <c:ptCount val="1"/>
                <c:pt idx="0">
                  <c:v>Frequency Regulation</c:v>
                </c:pt>
              </c:strCache>
            </c:strRef>
          </c:tx>
          <c:spPr>
            <a:solidFill>
              <a:schemeClr val="accent3"/>
            </a:solidFill>
            <a:ln>
              <a:noFill/>
            </a:ln>
            <a:effectLst/>
          </c:spPr>
          <c:invertIfNegative val="0"/>
          <c:cat>
            <c:numRef>
              <c:f>'Average_Revenue_Through_Time_($'!$A$34:$A$63</c:f>
              <c:numCache>
                <c:formatCode>m/d/yyyy</c:formatCode>
                <c:ptCount val="30"/>
                <c:pt idx="0">
                  <c:v>44562</c:v>
                </c:pt>
                <c:pt idx="1">
                  <c:v>44593</c:v>
                </c:pt>
                <c:pt idx="2">
                  <c:v>44621</c:v>
                </c:pt>
                <c:pt idx="3">
                  <c:v>44652</c:v>
                </c:pt>
                <c:pt idx="4">
                  <c:v>44682</c:v>
                </c:pt>
                <c:pt idx="5">
                  <c:v>44713</c:v>
                </c:pt>
                <c:pt idx="6">
                  <c:v>44743</c:v>
                </c:pt>
                <c:pt idx="7">
                  <c:v>44774</c:v>
                </c:pt>
                <c:pt idx="8">
                  <c:v>44805</c:v>
                </c:pt>
                <c:pt idx="9">
                  <c:v>44835</c:v>
                </c:pt>
                <c:pt idx="10">
                  <c:v>44866</c:v>
                </c:pt>
                <c:pt idx="11">
                  <c:v>44896</c:v>
                </c:pt>
                <c:pt idx="12">
                  <c:v>44927</c:v>
                </c:pt>
                <c:pt idx="13">
                  <c:v>44958</c:v>
                </c:pt>
                <c:pt idx="14">
                  <c:v>44986</c:v>
                </c:pt>
                <c:pt idx="15">
                  <c:v>45017</c:v>
                </c:pt>
                <c:pt idx="16">
                  <c:v>45047</c:v>
                </c:pt>
                <c:pt idx="17">
                  <c:v>45078</c:v>
                </c:pt>
                <c:pt idx="18">
                  <c:v>45108</c:v>
                </c:pt>
                <c:pt idx="19">
                  <c:v>45139</c:v>
                </c:pt>
                <c:pt idx="20">
                  <c:v>45170</c:v>
                </c:pt>
                <c:pt idx="21">
                  <c:v>45200</c:v>
                </c:pt>
                <c:pt idx="22">
                  <c:v>45231</c:v>
                </c:pt>
                <c:pt idx="23">
                  <c:v>45261</c:v>
                </c:pt>
                <c:pt idx="24">
                  <c:v>45292</c:v>
                </c:pt>
                <c:pt idx="25">
                  <c:v>45323</c:v>
                </c:pt>
                <c:pt idx="26">
                  <c:v>45352</c:v>
                </c:pt>
                <c:pt idx="27">
                  <c:v>45383</c:v>
                </c:pt>
                <c:pt idx="28">
                  <c:v>45413</c:v>
                </c:pt>
                <c:pt idx="29">
                  <c:v>45444</c:v>
                </c:pt>
              </c:numCache>
            </c:numRef>
          </c:cat>
          <c:val>
            <c:numRef>
              <c:f>'Average_Revenue_Through_Time_($'!$D$34:$D$63</c:f>
              <c:numCache>
                <c:formatCode>General</c:formatCode>
                <c:ptCount val="30"/>
                <c:pt idx="0">
                  <c:v>1.25</c:v>
                </c:pt>
                <c:pt idx="1">
                  <c:v>1.67</c:v>
                </c:pt>
                <c:pt idx="2">
                  <c:v>2.73</c:v>
                </c:pt>
                <c:pt idx="3">
                  <c:v>1.85</c:v>
                </c:pt>
                <c:pt idx="4">
                  <c:v>1.87</c:v>
                </c:pt>
                <c:pt idx="5">
                  <c:v>1.58</c:v>
                </c:pt>
                <c:pt idx="6">
                  <c:v>1.76</c:v>
                </c:pt>
                <c:pt idx="7">
                  <c:v>2.3199999999999998</c:v>
                </c:pt>
                <c:pt idx="8">
                  <c:v>7.39</c:v>
                </c:pt>
                <c:pt idx="9">
                  <c:v>1.49</c:v>
                </c:pt>
                <c:pt idx="10">
                  <c:v>1.5</c:v>
                </c:pt>
                <c:pt idx="11">
                  <c:v>1.34</c:v>
                </c:pt>
                <c:pt idx="12">
                  <c:v>1.28</c:v>
                </c:pt>
                <c:pt idx="13">
                  <c:v>1.57</c:v>
                </c:pt>
                <c:pt idx="14">
                  <c:v>2.17</c:v>
                </c:pt>
                <c:pt idx="15">
                  <c:v>2.36</c:v>
                </c:pt>
                <c:pt idx="16">
                  <c:v>1.6</c:v>
                </c:pt>
                <c:pt idx="17">
                  <c:v>1.0900000000000001</c:v>
                </c:pt>
                <c:pt idx="18">
                  <c:v>1.57</c:v>
                </c:pt>
                <c:pt idx="19">
                  <c:v>2.04</c:v>
                </c:pt>
                <c:pt idx="20">
                  <c:v>0.54</c:v>
                </c:pt>
                <c:pt idx="21">
                  <c:v>0.67</c:v>
                </c:pt>
                <c:pt idx="22">
                  <c:v>0.5</c:v>
                </c:pt>
                <c:pt idx="23">
                  <c:v>0.4</c:v>
                </c:pt>
                <c:pt idx="24">
                  <c:v>0.48</c:v>
                </c:pt>
                <c:pt idx="25">
                  <c:v>0.38</c:v>
                </c:pt>
                <c:pt idx="26">
                  <c:v>0.57999999999999996</c:v>
                </c:pt>
                <c:pt idx="27">
                  <c:v>0.48</c:v>
                </c:pt>
                <c:pt idx="28">
                  <c:v>0.44</c:v>
                </c:pt>
                <c:pt idx="29">
                  <c:v>0.25</c:v>
                </c:pt>
              </c:numCache>
            </c:numRef>
          </c:val>
          <c:extLst>
            <c:ext xmlns:c16="http://schemas.microsoft.com/office/drawing/2014/chart" uri="{C3380CC4-5D6E-409C-BE32-E72D297353CC}">
              <c16:uniqueId val="{00000002-C096-4E42-B0C8-ADDB5FCECE87}"/>
            </c:ext>
          </c:extLst>
        </c:ser>
        <c:ser>
          <c:idx val="3"/>
          <c:order val="3"/>
          <c:tx>
            <c:strRef>
              <c:f>'Average_Revenue_Through_Time_($'!$E$33</c:f>
              <c:strCache>
                <c:ptCount val="1"/>
                <c:pt idx="0">
                  <c:v>Other</c:v>
                </c:pt>
              </c:strCache>
            </c:strRef>
          </c:tx>
          <c:spPr>
            <a:solidFill>
              <a:schemeClr val="accent4"/>
            </a:solidFill>
            <a:ln>
              <a:noFill/>
            </a:ln>
            <a:effectLst/>
          </c:spPr>
          <c:invertIfNegative val="0"/>
          <c:cat>
            <c:numRef>
              <c:f>'Average_Revenue_Through_Time_($'!$A$34:$A$63</c:f>
              <c:numCache>
                <c:formatCode>m/d/yyyy</c:formatCode>
                <c:ptCount val="30"/>
                <c:pt idx="0">
                  <c:v>44562</c:v>
                </c:pt>
                <c:pt idx="1">
                  <c:v>44593</c:v>
                </c:pt>
                <c:pt idx="2">
                  <c:v>44621</c:v>
                </c:pt>
                <c:pt idx="3">
                  <c:v>44652</c:v>
                </c:pt>
                <c:pt idx="4">
                  <c:v>44682</c:v>
                </c:pt>
                <c:pt idx="5">
                  <c:v>44713</c:v>
                </c:pt>
                <c:pt idx="6">
                  <c:v>44743</c:v>
                </c:pt>
                <c:pt idx="7">
                  <c:v>44774</c:v>
                </c:pt>
                <c:pt idx="8">
                  <c:v>44805</c:v>
                </c:pt>
                <c:pt idx="9">
                  <c:v>44835</c:v>
                </c:pt>
                <c:pt idx="10">
                  <c:v>44866</c:v>
                </c:pt>
                <c:pt idx="11">
                  <c:v>44896</c:v>
                </c:pt>
                <c:pt idx="12">
                  <c:v>44927</c:v>
                </c:pt>
                <c:pt idx="13">
                  <c:v>44958</c:v>
                </c:pt>
                <c:pt idx="14">
                  <c:v>44986</c:v>
                </c:pt>
                <c:pt idx="15">
                  <c:v>45017</c:v>
                </c:pt>
                <c:pt idx="16">
                  <c:v>45047</c:v>
                </c:pt>
                <c:pt idx="17">
                  <c:v>45078</c:v>
                </c:pt>
                <c:pt idx="18">
                  <c:v>45108</c:v>
                </c:pt>
                <c:pt idx="19">
                  <c:v>45139</c:v>
                </c:pt>
                <c:pt idx="20">
                  <c:v>45170</c:v>
                </c:pt>
                <c:pt idx="21">
                  <c:v>45200</c:v>
                </c:pt>
                <c:pt idx="22">
                  <c:v>45231</c:v>
                </c:pt>
                <c:pt idx="23">
                  <c:v>45261</c:v>
                </c:pt>
                <c:pt idx="24">
                  <c:v>45292</c:v>
                </c:pt>
                <c:pt idx="25">
                  <c:v>45323</c:v>
                </c:pt>
                <c:pt idx="26">
                  <c:v>45352</c:v>
                </c:pt>
                <c:pt idx="27">
                  <c:v>45383</c:v>
                </c:pt>
                <c:pt idx="28">
                  <c:v>45413</c:v>
                </c:pt>
                <c:pt idx="29">
                  <c:v>45444</c:v>
                </c:pt>
              </c:numCache>
            </c:numRef>
          </c:cat>
          <c:val>
            <c:numRef>
              <c:f>'Average_Revenue_Through_Time_($'!$E$34:$E$63</c:f>
              <c:numCache>
                <c:formatCode>General</c:formatCode>
                <c:ptCount val="30"/>
                <c:pt idx="0">
                  <c:v>0.52</c:v>
                </c:pt>
                <c:pt idx="1">
                  <c:v>0.69</c:v>
                </c:pt>
                <c:pt idx="2">
                  <c:v>0.99</c:v>
                </c:pt>
                <c:pt idx="3">
                  <c:v>0.13</c:v>
                </c:pt>
                <c:pt idx="4">
                  <c:v>0.3</c:v>
                </c:pt>
                <c:pt idx="5">
                  <c:v>0.34</c:v>
                </c:pt>
                <c:pt idx="6">
                  <c:v>0.63</c:v>
                </c:pt>
                <c:pt idx="7">
                  <c:v>0.72</c:v>
                </c:pt>
                <c:pt idx="8">
                  <c:v>0.97</c:v>
                </c:pt>
                <c:pt idx="9">
                  <c:v>0.34</c:v>
                </c:pt>
                <c:pt idx="10">
                  <c:v>0.5</c:v>
                </c:pt>
                <c:pt idx="11">
                  <c:v>0.45</c:v>
                </c:pt>
                <c:pt idx="12">
                  <c:v>0.19</c:v>
                </c:pt>
                <c:pt idx="13">
                  <c:v>0.25</c:v>
                </c:pt>
                <c:pt idx="14">
                  <c:v>0.6</c:v>
                </c:pt>
                <c:pt idx="15">
                  <c:v>0.51</c:v>
                </c:pt>
                <c:pt idx="16">
                  <c:v>0.13</c:v>
                </c:pt>
                <c:pt idx="17">
                  <c:v>0.27</c:v>
                </c:pt>
                <c:pt idx="18">
                  <c:v>0.24</c:v>
                </c:pt>
                <c:pt idx="19">
                  <c:v>0.43</c:v>
                </c:pt>
                <c:pt idx="20">
                  <c:v>0.43</c:v>
                </c:pt>
                <c:pt idx="21">
                  <c:v>0.19</c:v>
                </c:pt>
                <c:pt idx="22">
                  <c:v>0.21</c:v>
                </c:pt>
                <c:pt idx="23">
                  <c:v>0.1</c:v>
                </c:pt>
                <c:pt idx="24">
                  <c:v>0.08</c:v>
                </c:pt>
                <c:pt idx="25">
                  <c:v>0.08</c:v>
                </c:pt>
                <c:pt idx="26">
                  <c:v>0.03</c:v>
                </c:pt>
                <c:pt idx="27">
                  <c:v>0.11</c:v>
                </c:pt>
                <c:pt idx="28">
                  <c:v>0.01</c:v>
                </c:pt>
                <c:pt idx="29">
                  <c:v>0.01</c:v>
                </c:pt>
              </c:numCache>
            </c:numRef>
          </c:val>
          <c:extLst>
            <c:ext xmlns:c16="http://schemas.microsoft.com/office/drawing/2014/chart" uri="{C3380CC4-5D6E-409C-BE32-E72D297353CC}">
              <c16:uniqueId val="{00000003-C096-4E42-B0C8-ADDB5FCECE87}"/>
            </c:ext>
          </c:extLst>
        </c:ser>
        <c:ser>
          <c:idx val="4"/>
          <c:order val="4"/>
          <c:tx>
            <c:strRef>
              <c:f>'Average_Revenue_Through_Time_($'!$F$33</c:f>
              <c:strCache>
                <c:ptCount val="1"/>
                <c:pt idx="0">
                  <c:v>Spinning Reserves</c:v>
                </c:pt>
              </c:strCache>
            </c:strRef>
          </c:tx>
          <c:spPr>
            <a:solidFill>
              <a:schemeClr val="accent5"/>
            </a:solidFill>
            <a:ln>
              <a:noFill/>
            </a:ln>
            <a:effectLst/>
          </c:spPr>
          <c:invertIfNegative val="0"/>
          <c:cat>
            <c:numRef>
              <c:f>'Average_Revenue_Through_Time_($'!$A$34:$A$63</c:f>
              <c:numCache>
                <c:formatCode>m/d/yyyy</c:formatCode>
                <c:ptCount val="30"/>
                <c:pt idx="0">
                  <c:v>44562</c:v>
                </c:pt>
                <c:pt idx="1">
                  <c:v>44593</c:v>
                </c:pt>
                <c:pt idx="2">
                  <c:v>44621</c:v>
                </c:pt>
                <c:pt idx="3">
                  <c:v>44652</c:v>
                </c:pt>
                <c:pt idx="4">
                  <c:v>44682</c:v>
                </c:pt>
                <c:pt idx="5">
                  <c:v>44713</c:v>
                </c:pt>
                <c:pt idx="6">
                  <c:v>44743</c:v>
                </c:pt>
                <c:pt idx="7">
                  <c:v>44774</c:v>
                </c:pt>
                <c:pt idx="8">
                  <c:v>44805</c:v>
                </c:pt>
                <c:pt idx="9">
                  <c:v>44835</c:v>
                </c:pt>
                <c:pt idx="10">
                  <c:v>44866</c:v>
                </c:pt>
                <c:pt idx="11">
                  <c:v>44896</c:v>
                </c:pt>
                <c:pt idx="12">
                  <c:v>44927</c:v>
                </c:pt>
                <c:pt idx="13">
                  <c:v>44958</c:v>
                </c:pt>
                <c:pt idx="14">
                  <c:v>44986</c:v>
                </c:pt>
                <c:pt idx="15">
                  <c:v>45017</c:v>
                </c:pt>
                <c:pt idx="16">
                  <c:v>45047</c:v>
                </c:pt>
                <c:pt idx="17">
                  <c:v>45078</c:v>
                </c:pt>
                <c:pt idx="18">
                  <c:v>45108</c:v>
                </c:pt>
                <c:pt idx="19">
                  <c:v>45139</c:v>
                </c:pt>
                <c:pt idx="20">
                  <c:v>45170</c:v>
                </c:pt>
                <c:pt idx="21">
                  <c:v>45200</c:v>
                </c:pt>
                <c:pt idx="22">
                  <c:v>45231</c:v>
                </c:pt>
                <c:pt idx="23">
                  <c:v>45261</c:v>
                </c:pt>
                <c:pt idx="24">
                  <c:v>45292</c:v>
                </c:pt>
                <c:pt idx="25">
                  <c:v>45323</c:v>
                </c:pt>
                <c:pt idx="26">
                  <c:v>45352</c:v>
                </c:pt>
                <c:pt idx="27">
                  <c:v>45383</c:v>
                </c:pt>
                <c:pt idx="28">
                  <c:v>45413</c:v>
                </c:pt>
                <c:pt idx="29">
                  <c:v>45444</c:v>
                </c:pt>
              </c:numCache>
            </c:numRef>
          </c:cat>
          <c:val>
            <c:numRef>
              <c:f>'Average_Revenue_Through_Time_($'!$F$34:$F$63</c:f>
              <c:numCache>
                <c:formatCode>General</c:formatCode>
                <c:ptCount val="30"/>
                <c:pt idx="0">
                  <c:v>0.04</c:v>
                </c:pt>
                <c:pt idx="1">
                  <c:v>0.03</c:v>
                </c:pt>
                <c:pt idx="2">
                  <c:v>0.04</c:v>
                </c:pt>
                <c:pt idx="3">
                  <c:v>0.03</c:v>
                </c:pt>
                <c:pt idx="4">
                  <c:v>0.04</c:v>
                </c:pt>
                <c:pt idx="5">
                  <c:v>0.05</c:v>
                </c:pt>
                <c:pt idx="6">
                  <c:v>0.01</c:v>
                </c:pt>
                <c:pt idx="7">
                  <c:v>0.01</c:v>
                </c:pt>
                <c:pt idx="8">
                  <c:v>0.92</c:v>
                </c:pt>
                <c:pt idx="9">
                  <c:v>0.01</c:v>
                </c:pt>
                <c:pt idx="10">
                  <c:v>0</c:v>
                </c:pt>
                <c:pt idx="11">
                  <c:v>0.01</c:v>
                </c:pt>
                <c:pt idx="12">
                  <c:v>0.09</c:v>
                </c:pt>
                <c:pt idx="13">
                  <c:v>0.06</c:v>
                </c:pt>
                <c:pt idx="14">
                  <c:v>0.03</c:v>
                </c:pt>
                <c:pt idx="15">
                  <c:v>0.03</c:v>
                </c:pt>
                <c:pt idx="16">
                  <c:v>0.01</c:v>
                </c:pt>
                <c:pt idx="17">
                  <c:v>0</c:v>
                </c:pt>
                <c:pt idx="18">
                  <c:v>0.06</c:v>
                </c:pt>
                <c:pt idx="19">
                  <c:v>0.56999999999999995</c:v>
                </c:pt>
                <c:pt idx="20">
                  <c:v>0</c:v>
                </c:pt>
                <c:pt idx="21">
                  <c:v>0</c:v>
                </c:pt>
                <c:pt idx="22">
                  <c:v>0</c:v>
                </c:pt>
                <c:pt idx="23">
                  <c:v>0</c:v>
                </c:pt>
                <c:pt idx="24">
                  <c:v>0</c:v>
                </c:pt>
                <c:pt idx="25">
                  <c:v>0</c:v>
                </c:pt>
                <c:pt idx="26">
                  <c:v>0</c:v>
                </c:pt>
                <c:pt idx="27">
                  <c:v>0</c:v>
                </c:pt>
                <c:pt idx="28">
                  <c:v>0</c:v>
                </c:pt>
                <c:pt idx="29">
                  <c:v>0</c:v>
                </c:pt>
              </c:numCache>
            </c:numRef>
          </c:val>
          <c:extLst>
            <c:ext xmlns:c16="http://schemas.microsoft.com/office/drawing/2014/chart" uri="{C3380CC4-5D6E-409C-BE32-E72D297353CC}">
              <c16:uniqueId val="{00000004-C096-4E42-B0C8-ADDB5FCECE87}"/>
            </c:ext>
          </c:extLst>
        </c:ser>
        <c:dLbls>
          <c:showLegendKey val="0"/>
          <c:showVal val="0"/>
          <c:showCatName val="0"/>
          <c:showSerName val="0"/>
          <c:showPercent val="0"/>
          <c:showBubbleSize val="0"/>
        </c:dLbls>
        <c:gapWidth val="50"/>
        <c:overlap val="100"/>
        <c:axId val="21329583"/>
        <c:axId val="21327183"/>
      </c:barChart>
      <c:dateAx>
        <c:axId val="21329583"/>
        <c:scaling>
          <c:orientation val="minMax"/>
        </c:scaling>
        <c:delete val="0"/>
        <c:axPos val="b"/>
        <c:numFmt formatCode="m/d/yy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solidFill>
                <a:latin typeface="Manrope" pitchFamily="2" charset="0"/>
                <a:ea typeface="+mn-ea"/>
                <a:cs typeface="+mn-cs"/>
              </a:defRPr>
            </a:pPr>
            <a:endParaRPr lang="en-US"/>
          </a:p>
        </c:txPr>
        <c:crossAx val="21327183"/>
        <c:crosses val="autoZero"/>
        <c:auto val="1"/>
        <c:lblOffset val="100"/>
        <c:baseTimeUnit val="months"/>
        <c:majorUnit val="6"/>
        <c:majorTimeUnit val="months"/>
      </c:dateAx>
      <c:valAx>
        <c:axId val="21327183"/>
        <c:scaling>
          <c:orientation val="minMax"/>
          <c:max val="5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1" i="0" u="none" strike="noStrike" kern="1200" baseline="0">
                    <a:solidFill>
                      <a:schemeClr val="tx1"/>
                    </a:solidFill>
                    <a:latin typeface="Manrope" pitchFamily="2" charset="0"/>
                    <a:ea typeface="+mn-ea"/>
                    <a:cs typeface="+mn-cs"/>
                  </a:defRPr>
                </a:pPr>
                <a:r>
                  <a:rPr lang="en-US"/>
                  <a:t>$/kW-mo</a:t>
                </a:r>
              </a:p>
            </c:rich>
          </c:tx>
          <c:overlay val="0"/>
          <c:spPr>
            <a:noFill/>
            <a:ln>
              <a:noFill/>
            </a:ln>
            <a:effectLst/>
          </c:spPr>
          <c:txPr>
            <a:bodyPr rot="-5400000" spcFirstLastPara="1" vertOverflow="ellipsis" vert="horz" wrap="square" anchor="ctr" anchorCtr="1"/>
            <a:lstStyle/>
            <a:p>
              <a:pPr>
                <a:defRPr sz="1000" b="1" i="0" u="none" strike="noStrike" kern="1200" baseline="0">
                  <a:solidFill>
                    <a:schemeClr val="tx1"/>
                  </a:solidFill>
                  <a:latin typeface="Manrope" pitchFamily="2" charset="0"/>
                  <a:ea typeface="+mn-ea"/>
                  <a:cs typeface="+mn-cs"/>
                </a:defRPr>
              </a:pPr>
              <a:endParaRPr lang="en-US"/>
            </a:p>
          </c:txPr>
        </c:title>
        <c:numFmt formatCode="&quot;$&quot;#,##0" sourceLinked="0"/>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solidFill>
                <a:latin typeface="Manrope" pitchFamily="2" charset="0"/>
                <a:ea typeface="+mn-ea"/>
                <a:cs typeface="+mn-cs"/>
              </a:defRPr>
            </a:pPr>
            <a:endParaRPr lang="en-US"/>
          </a:p>
        </c:txPr>
        <c:crossAx val="2132958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b="1">
          <a:solidFill>
            <a:schemeClr val="tx1"/>
          </a:solidFill>
          <a:latin typeface="Manrope" pitchFamily="2" charset="0"/>
        </a:defRPr>
      </a:pPr>
      <a:endParaRPr lang="en-US"/>
    </a:p>
  </c:txPr>
  <c:externalData r:id="rId3">
    <c:autoUpdate val="0"/>
  </c:externalData>
  <c:userShapes r:id="rId4"/>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Average_Revenue_Through_Time_($'!$J$33</c:f>
              <c:strCache>
                <c:ptCount val="1"/>
                <c:pt idx="0">
                  <c:v>Capacity</c:v>
                </c:pt>
              </c:strCache>
            </c:strRef>
          </c:tx>
          <c:spPr>
            <a:solidFill>
              <a:schemeClr val="accent1"/>
            </a:solidFill>
            <a:ln>
              <a:noFill/>
            </a:ln>
            <a:effectLst/>
          </c:spPr>
          <c:invertIfNegative val="0"/>
          <c:cat>
            <c:numRef>
              <c:f>'Average_Revenue_Through_Time_($'!$A$34:$A$63</c:f>
              <c:numCache>
                <c:formatCode>m/d/yyyy</c:formatCode>
                <c:ptCount val="30"/>
                <c:pt idx="0">
                  <c:v>44562</c:v>
                </c:pt>
                <c:pt idx="1">
                  <c:v>44593</c:v>
                </c:pt>
                <c:pt idx="2">
                  <c:v>44621</c:v>
                </c:pt>
                <c:pt idx="3">
                  <c:v>44652</c:v>
                </c:pt>
                <c:pt idx="4">
                  <c:v>44682</c:v>
                </c:pt>
                <c:pt idx="5">
                  <c:v>44713</c:v>
                </c:pt>
                <c:pt idx="6">
                  <c:v>44743</c:v>
                </c:pt>
                <c:pt idx="7">
                  <c:v>44774</c:v>
                </c:pt>
                <c:pt idx="8">
                  <c:v>44805</c:v>
                </c:pt>
                <c:pt idx="9">
                  <c:v>44835</c:v>
                </c:pt>
                <c:pt idx="10">
                  <c:v>44866</c:v>
                </c:pt>
                <c:pt idx="11">
                  <c:v>44896</c:v>
                </c:pt>
                <c:pt idx="12">
                  <c:v>44927</c:v>
                </c:pt>
                <c:pt idx="13">
                  <c:v>44958</c:v>
                </c:pt>
                <c:pt idx="14">
                  <c:v>44986</c:v>
                </c:pt>
                <c:pt idx="15">
                  <c:v>45017</c:v>
                </c:pt>
                <c:pt idx="16">
                  <c:v>45047</c:v>
                </c:pt>
                <c:pt idx="17">
                  <c:v>45078</c:v>
                </c:pt>
                <c:pt idx="18">
                  <c:v>45108</c:v>
                </c:pt>
                <c:pt idx="19">
                  <c:v>45139</c:v>
                </c:pt>
                <c:pt idx="20">
                  <c:v>45170</c:v>
                </c:pt>
                <c:pt idx="21">
                  <c:v>45200</c:v>
                </c:pt>
                <c:pt idx="22">
                  <c:v>45231</c:v>
                </c:pt>
                <c:pt idx="23">
                  <c:v>45261</c:v>
                </c:pt>
                <c:pt idx="24">
                  <c:v>45292</c:v>
                </c:pt>
                <c:pt idx="25">
                  <c:v>45323</c:v>
                </c:pt>
                <c:pt idx="26">
                  <c:v>45352</c:v>
                </c:pt>
                <c:pt idx="27">
                  <c:v>45383</c:v>
                </c:pt>
                <c:pt idx="28">
                  <c:v>45413</c:v>
                </c:pt>
                <c:pt idx="29">
                  <c:v>45444</c:v>
                </c:pt>
              </c:numCache>
            </c:numRef>
          </c:cat>
          <c:val>
            <c:numRef>
              <c:f>'Average_Revenue_Through_Time_($'!$J$34:$J$63</c:f>
              <c:numCache>
                <c:formatCode>General</c:formatCode>
                <c:ptCount val="30"/>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numCache>
            </c:numRef>
          </c:val>
          <c:extLst>
            <c:ext xmlns:c16="http://schemas.microsoft.com/office/drawing/2014/chart" uri="{C3380CC4-5D6E-409C-BE32-E72D297353CC}">
              <c16:uniqueId val="{00000000-D26B-41B2-86A2-237AE501908C}"/>
            </c:ext>
          </c:extLst>
        </c:ser>
        <c:ser>
          <c:idx val="1"/>
          <c:order val="1"/>
          <c:tx>
            <c:strRef>
              <c:f>'Average_Revenue_Through_Time_($'!$K$33</c:f>
              <c:strCache>
                <c:ptCount val="1"/>
                <c:pt idx="0">
                  <c:v>Energy</c:v>
                </c:pt>
              </c:strCache>
            </c:strRef>
          </c:tx>
          <c:spPr>
            <a:solidFill>
              <a:schemeClr val="accent2"/>
            </a:solidFill>
            <a:ln>
              <a:noFill/>
            </a:ln>
            <a:effectLst/>
          </c:spPr>
          <c:invertIfNegative val="0"/>
          <c:cat>
            <c:numRef>
              <c:f>'Average_Revenue_Through_Time_($'!$A$34:$A$63</c:f>
              <c:numCache>
                <c:formatCode>m/d/yyyy</c:formatCode>
                <c:ptCount val="30"/>
                <c:pt idx="0">
                  <c:v>44562</c:v>
                </c:pt>
                <c:pt idx="1">
                  <c:v>44593</c:v>
                </c:pt>
                <c:pt idx="2">
                  <c:v>44621</c:v>
                </c:pt>
                <c:pt idx="3">
                  <c:v>44652</c:v>
                </c:pt>
                <c:pt idx="4">
                  <c:v>44682</c:v>
                </c:pt>
                <c:pt idx="5">
                  <c:v>44713</c:v>
                </c:pt>
                <c:pt idx="6">
                  <c:v>44743</c:v>
                </c:pt>
                <c:pt idx="7">
                  <c:v>44774</c:v>
                </c:pt>
                <c:pt idx="8">
                  <c:v>44805</c:v>
                </c:pt>
                <c:pt idx="9">
                  <c:v>44835</c:v>
                </c:pt>
                <c:pt idx="10">
                  <c:v>44866</c:v>
                </c:pt>
                <c:pt idx="11">
                  <c:v>44896</c:v>
                </c:pt>
                <c:pt idx="12">
                  <c:v>44927</c:v>
                </c:pt>
                <c:pt idx="13">
                  <c:v>44958</c:v>
                </c:pt>
                <c:pt idx="14">
                  <c:v>44986</c:v>
                </c:pt>
                <c:pt idx="15">
                  <c:v>45017</c:v>
                </c:pt>
                <c:pt idx="16">
                  <c:v>45047</c:v>
                </c:pt>
                <c:pt idx="17">
                  <c:v>45078</c:v>
                </c:pt>
                <c:pt idx="18">
                  <c:v>45108</c:v>
                </c:pt>
                <c:pt idx="19">
                  <c:v>45139</c:v>
                </c:pt>
                <c:pt idx="20">
                  <c:v>45170</c:v>
                </c:pt>
                <c:pt idx="21">
                  <c:v>45200</c:v>
                </c:pt>
                <c:pt idx="22">
                  <c:v>45231</c:v>
                </c:pt>
                <c:pt idx="23">
                  <c:v>45261</c:v>
                </c:pt>
                <c:pt idx="24">
                  <c:v>45292</c:v>
                </c:pt>
                <c:pt idx="25">
                  <c:v>45323</c:v>
                </c:pt>
                <c:pt idx="26">
                  <c:v>45352</c:v>
                </c:pt>
                <c:pt idx="27">
                  <c:v>45383</c:v>
                </c:pt>
                <c:pt idx="28">
                  <c:v>45413</c:v>
                </c:pt>
                <c:pt idx="29">
                  <c:v>45444</c:v>
                </c:pt>
              </c:numCache>
            </c:numRef>
          </c:cat>
          <c:val>
            <c:numRef>
              <c:f>'Average_Revenue_Through_Time_($'!$K$34:$K$63</c:f>
              <c:numCache>
                <c:formatCode>General</c:formatCode>
                <c:ptCount val="30"/>
                <c:pt idx="0">
                  <c:v>0.14000000000000001</c:v>
                </c:pt>
                <c:pt idx="1">
                  <c:v>0.14000000000000001</c:v>
                </c:pt>
                <c:pt idx="2">
                  <c:v>0.59</c:v>
                </c:pt>
                <c:pt idx="3">
                  <c:v>1.58</c:v>
                </c:pt>
                <c:pt idx="4">
                  <c:v>2.84</c:v>
                </c:pt>
                <c:pt idx="5">
                  <c:v>0.08</c:v>
                </c:pt>
                <c:pt idx="6">
                  <c:v>3.45</c:v>
                </c:pt>
                <c:pt idx="7">
                  <c:v>0.3</c:v>
                </c:pt>
                <c:pt idx="8">
                  <c:v>0.05</c:v>
                </c:pt>
                <c:pt idx="9">
                  <c:v>0.24</c:v>
                </c:pt>
                <c:pt idx="10">
                  <c:v>0.42</c:v>
                </c:pt>
                <c:pt idx="11">
                  <c:v>1.36</c:v>
                </c:pt>
                <c:pt idx="12">
                  <c:v>0.28000000000000003</c:v>
                </c:pt>
                <c:pt idx="13">
                  <c:v>0.33</c:v>
                </c:pt>
                <c:pt idx="14">
                  <c:v>1.18</c:v>
                </c:pt>
                <c:pt idx="15">
                  <c:v>1.04</c:v>
                </c:pt>
                <c:pt idx="16">
                  <c:v>0.95</c:v>
                </c:pt>
                <c:pt idx="17">
                  <c:v>3.32</c:v>
                </c:pt>
                <c:pt idx="18">
                  <c:v>1.85</c:v>
                </c:pt>
                <c:pt idx="19">
                  <c:v>13.98</c:v>
                </c:pt>
                <c:pt idx="20">
                  <c:v>5.32</c:v>
                </c:pt>
                <c:pt idx="21">
                  <c:v>0.09</c:v>
                </c:pt>
                <c:pt idx="22">
                  <c:v>0.32</c:v>
                </c:pt>
                <c:pt idx="23">
                  <c:v>0.81</c:v>
                </c:pt>
                <c:pt idx="24">
                  <c:v>0.87</c:v>
                </c:pt>
                <c:pt idx="25">
                  <c:v>0.56999999999999995</c:v>
                </c:pt>
                <c:pt idx="26">
                  <c:v>1.06</c:v>
                </c:pt>
                <c:pt idx="27">
                  <c:v>2.08</c:v>
                </c:pt>
                <c:pt idx="28">
                  <c:v>2.97</c:v>
                </c:pt>
                <c:pt idx="29">
                  <c:v>1.07</c:v>
                </c:pt>
              </c:numCache>
            </c:numRef>
          </c:val>
          <c:extLst>
            <c:ext xmlns:c16="http://schemas.microsoft.com/office/drawing/2014/chart" uri="{C3380CC4-5D6E-409C-BE32-E72D297353CC}">
              <c16:uniqueId val="{00000001-D26B-41B2-86A2-237AE501908C}"/>
            </c:ext>
          </c:extLst>
        </c:ser>
        <c:ser>
          <c:idx val="2"/>
          <c:order val="2"/>
          <c:tx>
            <c:strRef>
              <c:f>'Average_Revenue_Through_Time_($'!$L$33</c:f>
              <c:strCache>
                <c:ptCount val="1"/>
                <c:pt idx="0">
                  <c:v>Frequency Regulation</c:v>
                </c:pt>
              </c:strCache>
            </c:strRef>
          </c:tx>
          <c:spPr>
            <a:solidFill>
              <a:schemeClr val="accent3"/>
            </a:solidFill>
            <a:ln>
              <a:noFill/>
            </a:ln>
            <a:effectLst/>
          </c:spPr>
          <c:invertIfNegative val="0"/>
          <c:cat>
            <c:numRef>
              <c:f>'Average_Revenue_Through_Time_($'!$A$34:$A$63</c:f>
              <c:numCache>
                <c:formatCode>m/d/yyyy</c:formatCode>
                <c:ptCount val="30"/>
                <c:pt idx="0">
                  <c:v>44562</c:v>
                </c:pt>
                <c:pt idx="1">
                  <c:v>44593</c:v>
                </c:pt>
                <c:pt idx="2">
                  <c:v>44621</c:v>
                </c:pt>
                <c:pt idx="3">
                  <c:v>44652</c:v>
                </c:pt>
                <c:pt idx="4">
                  <c:v>44682</c:v>
                </c:pt>
                <c:pt idx="5">
                  <c:v>44713</c:v>
                </c:pt>
                <c:pt idx="6">
                  <c:v>44743</c:v>
                </c:pt>
                <c:pt idx="7">
                  <c:v>44774</c:v>
                </c:pt>
                <c:pt idx="8">
                  <c:v>44805</c:v>
                </c:pt>
                <c:pt idx="9">
                  <c:v>44835</c:v>
                </c:pt>
                <c:pt idx="10">
                  <c:v>44866</c:v>
                </c:pt>
                <c:pt idx="11">
                  <c:v>44896</c:v>
                </c:pt>
                <c:pt idx="12">
                  <c:v>44927</c:v>
                </c:pt>
                <c:pt idx="13">
                  <c:v>44958</c:v>
                </c:pt>
                <c:pt idx="14">
                  <c:v>44986</c:v>
                </c:pt>
                <c:pt idx="15">
                  <c:v>45017</c:v>
                </c:pt>
                <c:pt idx="16">
                  <c:v>45047</c:v>
                </c:pt>
                <c:pt idx="17">
                  <c:v>45078</c:v>
                </c:pt>
                <c:pt idx="18">
                  <c:v>45108</c:v>
                </c:pt>
                <c:pt idx="19">
                  <c:v>45139</c:v>
                </c:pt>
                <c:pt idx="20">
                  <c:v>45170</c:v>
                </c:pt>
                <c:pt idx="21">
                  <c:v>45200</c:v>
                </c:pt>
                <c:pt idx="22">
                  <c:v>45231</c:v>
                </c:pt>
                <c:pt idx="23">
                  <c:v>45261</c:v>
                </c:pt>
                <c:pt idx="24">
                  <c:v>45292</c:v>
                </c:pt>
                <c:pt idx="25">
                  <c:v>45323</c:v>
                </c:pt>
                <c:pt idx="26">
                  <c:v>45352</c:v>
                </c:pt>
                <c:pt idx="27">
                  <c:v>45383</c:v>
                </c:pt>
                <c:pt idx="28">
                  <c:v>45413</c:v>
                </c:pt>
                <c:pt idx="29">
                  <c:v>45444</c:v>
                </c:pt>
              </c:numCache>
            </c:numRef>
          </c:cat>
          <c:val>
            <c:numRef>
              <c:f>'Average_Revenue_Through_Time_($'!$L$34:$L$63</c:f>
              <c:numCache>
                <c:formatCode>General</c:formatCode>
                <c:ptCount val="30"/>
                <c:pt idx="0">
                  <c:v>2.17</c:v>
                </c:pt>
                <c:pt idx="1">
                  <c:v>2.82</c:v>
                </c:pt>
                <c:pt idx="2">
                  <c:v>5.45</c:v>
                </c:pt>
                <c:pt idx="3">
                  <c:v>3.84</c:v>
                </c:pt>
                <c:pt idx="4">
                  <c:v>6.9</c:v>
                </c:pt>
                <c:pt idx="5">
                  <c:v>2.81</c:v>
                </c:pt>
                <c:pt idx="6">
                  <c:v>5.07</c:v>
                </c:pt>
                <c:pt idx="7">
                  <c:v>2.12</c:v>
                </c:pt>
                <c:pt idx="8">
                  <c:v>1.73</c:v>
                </c:pt>
                <c:pt idx="9">
                  <c:v>1.35</c:v>
                </c:pt>
                <c:pt idx="10">
                  <c:v>1.18</c:v>
                </c:pt>
                <c:pt idx="11">
                  <c:v>2.35</c:v>
                </c:pt>
                <c:pt idx="12">
                  <c:v>1.24</c:v>
                </c:pt>
                <c:pt idx="13">
                  <c:v>1.83</c:v>
                </c:pt>
                <c:pt idx="14">
                  <c:v>2.34</c:v>
                </c:pt>
                <c:pt idx="15">
                  <c:v>2.2999999999999998</c:v>
                </c:pt>
                <c:pt idx="16">
                  <c:v>1.52</c:v>
                </c:pt>
                <c:pt idx="17">
                  <c:v>5.79</c:v>
                </c:pt>
                <c:pt idx="18">
                  <c:v>3.4</c:v>
                </c:pt>
                <c:pt idx="19">
                  <c:v>34.26</c:v>
                </c:pt>
                <c:pt idx="20">
                  <c:v>6.4</c:v>
                </c:pt>
                <c:pt idx="21">
                  <c:v>2.54</c:v>
                </c:pt>
                <c:pt idx="22">
                  <c:v>1.36</c:v>
                </c:pt>
                <c:pt idx="23">
                  <c:v>0.5</c:v>
                </c:pt>
                <c:pt idx="24">
                  <c:v>1.73</c:v>
                </c:pt>
                <c:pt idx="25">
                  <c:v>0.37</c:v>
                </c:pt>
                <c:pt idx="26">
                  <c:v>0.56999999999999995</c:v>
                </c:pt>
                <c:pt idx="27">
                  <c:v>0.9</c:v>
                </c:pt>
                <c:pt idx="28">
                  <c:v>1.24</c:v>
                </c:pt>
                <c:pt idx="29">
                  <c:v>0.44</c:v>
                </c:pt>
              </c:numCache>
            </c:numRef>
          </c:val>
          <c:extLst>
            <c:ext xmlns:c16="http://schemas.microsoft.com/office/drawing/2014/chart" uri="{C3380CC4-5D6E-409C-BE32-E72D297353CC}">
              <c16:uniqueId val="{00000002-D26B-41B2-86A2-237AE501908C}"/>
            </c:ext>
          </c:extLst>
        </c:ser>
        <c:ser>
          <c:idx val="3"/>
          <c:order val="3"/>
          <c:tx>
            <c:strRef>
              <c:f>'Average_Revenue_Through_Time_($'!$M$33</c:f>
              <c:strCache>
                <c:ptCount val="1"/>
                <c:pt idx="0">
                  <c:v>Other</c:v>
                </c:pt>
              </c:strCache>
            </c:strRef>
          </c:tx>
          <c:spPr>
            <a:solidFill>
              <a:schemeClr val="accent4"/>
            </a:solidFill>
            <a:ln>
              <a:noFill/>
            </a:ln>
            <a:effectLst/>
          </c:spPr>
          <c:invertIfNegative val="0"/>
          <c:cat>
            <c:numRef>
              <c:f>'Average_Revenue_Through_Time_($'!$A$34:$A$63</c:f>
              <c:numCache>
                <c:formatCode>m/d/yyyy</c:formatCode>
                <c:ptCount val="30"/>
                <c:pt idx="0">
                  <c:v>44562</c:v>
                </c:pt>
                <c:pt idx="1">
                  <c:v>44593</c:v>
                </c:pt>
                <c:pt idx="2">
                  <c:v>44621</c:v>
                </c:pt>
                <c:pt idx="3">
                  <c:v>44652</c:v>
                </c:pt>
                <c:pt idx="4">
                  <c:v>44682</c:v>
                </c:pt>
                <c:pt idx="5">
                  <c:v>44713</c:v>
                </c:pt>
                <c:pt idx="6">
                  <c:v>44743</c:v>
                </c:pt>
                <c:pt idx="7">
                  <c:v>44774</c:v>
                </c:pt>
                <c:pt idx="8">
                  <c:v>44805</c:v>
                </c:pt>
                <c:pt idx="9">
                  <c:v>44835</c:v>
                </c:pt>
                <c:pt idx="10">
                  <c:v>44866</c:v>
                </c:pt>
                <c:pt idx="11">
                  <c:v>44896</c:v>
                </c:pt>
                <c:pt idx="12">
                  <c:v>44927</c:v>
                </c:pt>
                <c:pt idx="13">
                  <c:v>44958</c:v>
                </c:pt>
                <c:pt idx="14">
                  <c:v>44986</c:v>
                </c:pt>
                <c:pt idx="15">
                  <c:v>45017</c:v>
                </c:pt>
                <c:pt idx="16">
                  <c:v>45047</c:v>
                </c:pt>
                <c:pt idx="17">
                  <c:v>45078</c:v>
                </c:pt>
                <c:pt idx="18">
                  <c:v>45108</c:v>
                </c:pt>
                <c:pt idx="19">
                  <c:v>45139</c:v>
                </c:pt>
                <c:pt idx="20">
                  <c:v>45170</c:v>
                </c:pt>
                <c:pt idx="21">
                  <c:v>45200</c:v>
                </c:pt>
                <c:pt idx="22">
                  <c:v>45231</c:v>
                </c:pt>
                <c:pt idx="23">
                  <c:v>45261</c:v>
                </c:pt>
                <c:pt idx="24">
                  <c:v>45292</c:v>
                </c:pt>
                <c:pt idx="25">
                  <c:v>45323</c:v>
                </c:pt>
                <c:pt idx="26">
                  <c:v>45352</c:v>
                </c:pt>
                <c:pt idx="27">
                  <c:v>45383</c:v>
                </c:pt>
                <c:pt idx="28">
                  <c:v>45413</c:v>
                </c:pt>
                <c:pt idx="29">
                  <c:v>45444</c:v>
                </c:pt>
              </c:numCache>
            </c:numRef>
          </c:cat>
          <c:val>
            <c:numRef>
              <c:f>'Average_Revenue_Through_Time_($'!$M$34:$M$63</c:f>
              <c:numCache>
                <c:formatCode>General</c:formatCode>
                <c:ptCount val="30"/>
                <c:pt idx="0">
                  <c:v>0.06</c:v>
                </c:pt>
                <c:pt idx="1">
                  <c:v>0.23</c:v>
                </c:pt>
                <c:pt idx="2">
                  <c:v>0.16</c:v>
                </c:pt>
                <c:pt idx="3">
                  <c:v>0.37</c:v>
                </c:pt>
                <c:pt idx="4">
                  <c:v>1.46</c:v>
                </c:pt>
                <c:pt idx="5">
                  <c:v>0.2</c:v>
                </c:pt>
                <c:pt idx="6">
                  <c:v>0.36</c:v>
                </c:pt>
                <c:pt idx="7">
                  <c:v>0.28000000000000003</c:v>
                </c:pt>
                <c:pt idx="8">
                  <c:v>0.13</c:v>
                </c:pt>
                <c:pt idx="9">
                  <c:v>0.03</c:v>
                </c:pt>
                <c:pt idx="10">
                  <c:v>0</c:v>
                </c:pt>
                <c:pt idx="11">
                  <c:v>0</c:v>
                </c:pt>
                <c:pt idx="12">
                  <c:v>0</c:v>
                </c:pt>
                <c:pt idx="13">
                  <c:v>0</c:v>
                </c:pt>
                <c:pt idx="14">
                  <c:v>0</c:v>
                </c:pt>
                <c:pt idx="15">
                  <c:v>0.02</c:v>
                </c:pt>
                <c:pt idx="16">
                  <c:v>0.13</c:v>
                </c:pt>
                <c:pt idx="17">
                  <c:v>6.93</c:v>
                </c:pt>
                <c:pt idx="18">
                  <c:v>3.82</c:v>
                </c:pt>
                <c:pt idx="19">
                  <c:v>31.43</c:v>
                </c:pt>
                <c:pt idx="20">
                  <c:v>5.45</c:v>
                </c:pt>
                <c:pt idx="21">
                  <c:v>1.24</c:v>
                </c:pt>
                <c:pt idx="22">
                  <c:v>0.83</c:v>
                </c:pt>
                <c:pt idx="23">
                  <c:v>0.14000000000000001</c:v>
                </c:pt>
                <c:pt idx="24">
                  <c:v>2.02</c:v>
                </c:pt>
                <c:pt idx="25">
                  <c:v>0.2</c:v>
                </c:pt>
                <c:pt idx="26">
                  <c:v>0.8</c:v>
                </c:pt>
                <c:pt idx="27">
                  <c:v>1.66</c:v>
                </c:pt>
                <c:pt idx="28">
                  <c:v>7.58</c:v>
                </c:pt>
                <c:pt idx="29">
                  <c:v>1.93</c:v>
                </c:pt>
              </c:numCache>
            </c:numRef>
          </c:val>
          <c:extLst>
            <c:ext xmlns:c16="http://schemas.microsoft.com/office/drawing/2014/chart" uri="{C3380CC4-5D6E-409C-BE32-E72D297353CC}">
              <c16:uniqueId val="{00000003-D26B-41B2-86A2-237AE501908C}"/>
            </c:ext>
          </c:extLst>
        </c:ser>
        <c:ser>
          <c:idx val="4"/>
          <c:order val="4"/>
          <c:tx>
            <c:strRef>
              <c:f>'Average_Revenue_Through_Time_($'!$N$33</c:f>
              <c:strCache>
                <c:ptCount val="1"/>
                <c:pt idx="0">
                  <c:v>Spinning Reserves</c:v>
                </c:pt>
              </c:strCache>
            </c:strRef>
          </c:tx>
          <c:spPr>
            <a:solidFill>
              <a:schemeClr val="accent5"/>
            </a:solidFill>
            <a:ln>
              <a:noFill/>
            </a:ln>
            <a:effectLst/>
          </c:spPr>
          <c:invertIfNegative val="0"/>
          <c:cat>
            <c:numRef>
              <c:f>'Average_Revenue_Through_Time_($'!$A$34:$A$63</c:f>
              <c:numCache>
                <c:formatCode>m/d/yyyy</c:formatCode>
                <c:ptCount val="30"/>
                <c:pt idx="0">
                  <c:v>44562</c:v>
                </c:pt>
                <c:pt idx="1">
                  <c:v>44593</c:v>
                </c:pt>
                <c:pt idx="2">
                  <c:v>44621</c:v>
                </c:pt>
                <c:pt idx="3">
                  <c:v>44652</c:v>
                </c:pt>
                <c:pt idx="4">
                  <c:v>44682</c:v>
                </c:pt>
                <c:pt idx="5">
                  <c:v>44713</c:v>
                </c:pt>
                <c:pt idx="6">
                  <c:v>44743</c:v>
                </c:pt>
                <c:pt idx="7">
                  <c:v>44774</c:v>
                </c:pt>
                <c:pt idx="8">
                  <c:v>44805</c:v>
                </c:pt>
                <c:pt idx="9">
                  <c:v>44835</c:v>
                </c:pt>
                <c:pt idx="10">
                  <c:v>44866</c:v>
                </c:pt>
                <c:pt idx="11">
                  <c:v>44896</c:v>
                </c:pt>
                <c:pt idx="12">
                  <c:v>44927</c:v>
                </c:pt>
                <c:pt idx="13">
                  <c:v>44958</c:v>
                </c:pt>
                <c:pt idx="14">
                  <c:v>44986</c:v>
                </c:pt>
                <c:pt idx="15">
                  <c:v>45017</c:v>
                </c:pt>
                <c:pt idx="16">
                  <c:v>45047</c:v>
                </c:pt>
                <c:pt idx="17">
                  <c:v>45078</c:v>
                </c:pt>
                <c:pt idx="18">
                  <c:v>45108</c:v>
                </c:pt>
                <c:pt idx="19">
                  <c:v>45139</c:v>
                </c:pt>
                <c:pt idx="20">
                  <c:v>45170</c:v>
                </c:pt>
                <c:pt idx="21">
                  <c:v>45200</c:v>
                </c:pt>
                <c:pt idx="22">
                  <c:v>45231</c:v>
                </c:pt>
                <c:pt idx="23">
                  <c:v>45261</c:v>
                </c:pt>
                <c:pt idx="24">
                  <c:v>45292</c:v>
                </c:pt>
                <c:pt idx="25">
                  <c:v>45323</c:v>
                </c:pt>
                <c:pt idx="26">
                  <c:v>45352</c:v>
                </c:pt>
                <c:pt idx="27">
                  <c:v>45383</c:v>
                </c:pt>
                <c:pt idx="28">
                  <c:v>45413</c:v>
                </c:pt>
                <c:pt idx="29">
                  <c:v>45444</c:v>
                </c:pt>
              </c:numCache>
            </c:numRef>
          </c:cat>
          <c:val>
            <c:numRef>
              <c:f>'Average_Revenue_Through_Time_($'!$N$34:$N$63</c:f>
              <c:numCache>
                <c:formatCode>General</c:formatCode>
                <c:ptCount val="30"/>
                <c:pt idx="0">
                  <c:v>3.45</c:v>
                </c:pt>
                <c:pt idx="1">
                  <c:v>4.67</c:v>
                </c:pt>
                <c:pt idx="2">
                  <c:v>6.63</c:v>
                </c:pt>
                <c:pt idx="3">
                  <c:v>6.41</c:v>
                </c:pt>
                <c:pt idx="4">
                  <c:v>11.51</c:v>
                </c:pt>
                <c:pt idx="5">
                  <c:v>7.3</c:v>
                </c:pt>
                <c:pt idx="6">
                  <c:v>23.2</c:v>
                </c:pt>
                <c:pt idx="7">
                  <c:v>5.78</c:v>
                </c:pt>
                <c:pt idx="8">
                  <c:v>2.69</c:v>
                </c:pt>
                <c:pt idx="9">
                  <c:v>1.75</c:v>
                </c:pt>
                <c:pt idx="10">
                  <c:v>1.0900000000000001</c:v>
                </c:pt>
                <c:pt idx="11">
                  <c:v>13.15</c:v>
                </c:pt>
                <c:pt idx="12">
                  <c:v>0.99</c:v>
                </c:pt>
                <c:pt idx="13">
                  <c:v>0.76</c:v>
                </c:pt>
                <c:pt idx="14">
                  <c:v>1.1299999999999999</c:v>
                </c:pt>
                <c:pt idx="15">
                  <c:v>1.04</c:v>
                </c:pt>
                <c:pt idx="16">
                  <c:v>0.81</c:v>
                </c:pt>
                <c:pt idx="17">
                  <c:v>9.34</c:v>
                </c:pt>
                <c:pt idx="18">
                  <c:v>3.61</c:v>
                </c:pt>
                <c:pt idx="19">
                  <c:v>27.94</c:v>
                </c:pt>
                <c:pt idx="20">
                  <c:v>8.81</c:v>
                </c:pt>
                <c:pt idx="21">
                  <c:v>3.03</c:v>
                </c:pt>
                <c:pt idx="22">
                  <c:v>2.14</c:v>
                </c:pt>
                <c:pt idx="23">
                  <c:v>0.51</c:v>
                </c:pt>
                <c:pt idx="24">
                  <c:v>5.31</c:v>
                </c:pt>
                <c:pt idx="25">
                  <c:v>0.27</c:v>
                </c:pt>
                <c:pt idx="26">
                  <c:v>0.75</c:v>
                </c:pt>
                <c:pt idx="27">
                  <c:v>1.06</c:v>
                </c:pt>
                <c:pt idx="28">
                  <c:v>1.74</c:v>
                </c:pt>
                <c:pt idx="29">
                  <c:v>0.36</c:v>
                </c:pt>
              </c:numCache>
            </c:numRef>
          </c:val>
          <c:extLst>
            <c:ext xmlns:c16="http://schemas.microsoft.com/office/drawing/2014/chart" uri="{C3380CC4-5D6E-409C-BE32-E72D297353CC}">
              <c16:uniqueId val="{00000004-D26B-41B2-86A2-237AE501908C}"/>
            </c:ext>
          </c:extLst>
        </c:ser>
        <c:dLbls>
          <c:showLegendKey val="0"/>
          <c:showVal val="0"/>
          <c:showCatName val="0"/>
          <c:showSerName val="0"/>
          <c:showPercent val="0"/>
          <c:showBubbleSize val="0"/>
        </c:dLbls>
        <c:gapWidth val="50"/>
        <c:overlap val="100"/>
        <c:axId val="21329583"/>
        <c:axId val="21327183"/>
      </c:barChart>
      <c:dateAx>
        <c:axId val="21329583"/>
        <c:scaling>
          <c:orientation val="minMax"/>
        </c:scaling>
        <c:delete val="0"/>
        <c:axPos val="b"/>
        <c:numFmt formatCode="m/d/yy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solidFill>
                <a:latin typeface="Manrope" pitchFamily="2" charset="0"/>
                <a:ea typeface="+mn-ea"/>
                <a:cs typeface="+mn-cs"/>
              </a:defRPr>
            </a:pPr>
            <a:endParaRPr lang="en-US"/>
          </a:p>
        </c:txPr>
        <c:crossAx val="21327183"/>
        <c:crosses val="autoZero"/>
        <c:auto val="1"/>
        <c:lblOffset val="100"/>
        <c:baseTimeUnit val="months"/>
        <c:majorUnit val="6"/>
        <c:majorTimeUnit val="months"/>
      </c:dateAx>
      <c:valAx>
        <c:axId val="21327183"/>
        <c:scaling>
          <c:orientation val="minMax"/>
          <c:max val="5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1" i="0" u="none" strike="noStrike" kern="1200" baseline="0">
                    <a:solidFill>
                      <a:schemeClr val="tx1"/>
                    </a:solidFill>
                    <a:latin typeface="Manrope" pitchFamily="2" charset="0"/>
                    <a:ea typeface="+mn-ea"/>
                    <a:cs typeface="+mn-cs"/>
                  </a:defRPr>
                </a:pPr>
                <a:r>
                  <a:rPr lang="en-US"/>
                  <a:t>$/kW-mo</a:t>
                </a:r>
              </a:p>
            </c:rich>
          </c:tx>
          <c:overlay val="0"/>
          <c:spPr>
            <a:noFill/>
            <a:ln>
              <a:noFill/>
            </a:ln>
            <a:effectLst/>
          </c:spPr>
          <c:txPr>
            <a:bodyPr rot="-5400000" spcFirstLastPara="1" vertOverflow="ellipsis" vert="horz" wrap="square" anchor="ctr" anchorCtr="1"/>
            <a:lstStyle/>
            <a:p>
              <a:pPr>
                <a:defRPr sz="1000" b="1" i="0" u="none" strike="noStrike" kern="1200" baseline="0">
                  <a:solidFill>
                    <a:schemeClr val="tx1"/>
                  </a:solidFill>
                  <a:latin typeface="Manrope" pitchFamily="2" charset="0"/>
                  <a:ea typeface="+mn-ea"/>
                  <a:cs typeface="+mn-cs"/>
                </a:defRPr>
              </a:pPr>
              <a:endParaRPr lang="en-US"/>
            </a:p>
          </c:txPr>
        </c:title>
        <c:numFmt formatCode="&quot;$&quot;#,##0" sourceLinked="0"/>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solidFill>
                <a:latin typeface="Manrope" pitchFamily="2" charset="0"/>
                <a:ea typeface="+mn-ea"/>
                <a:cs typeface="+mn-cs"/>
              </a:defRPr>
            </a:pPr>
            <a:endParaRPr lang="en-US"/>
          </a:p>
        </c:txPr>
        <c:crossAx val="2132958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b="1">
          <a:solidFill>
            <a:schemeClr val="tx1"/>
          </a:solidFill>
          <a:latin typeface="Manrope" pitchFamily="2" charset="0"/>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3505FD3-D7E6-4A31-8074-57F66C904FA7}" type="doc">
      <dgm:prSet loTypeId="urn:microsoft.com/office/officeart/2005/8/layout/pyramid1" loCatId="pyramid" qsTypeId="urn:microsoft.com/office/officeart/2005/8/quickstyle/simple1" qsCatId="simple" csTypeId="urn:microsoft.com/office/officeart/2005/8/colors/accent1_2" csCatId="accent1" phldr="1"/>
      <dgm:spPr/>
    </dgm:pt>
    <dgm:pt modelId="{3C9F9B5F-6B52-4D05-B9DE-4CC56751E67F}">
      <dgm:prSet phldrT="[Text]" custT="1"/>
      <dgm:spPr>
        <a:solidFill>
          <a:schemeClr val="accent3"/>
        </a:solidFill>
      </dgm:spPr>
      <dgm:t>
        <a:bodyPr/>
        <a:lstStyle/>
        <a:p>
          <a:r>
            <a:rPr lang="en-US" sz="2800" b="1" dirty="0">
              <a:solidFill>
                <a:schemeClr val="bg1"/>
              </a:solidFill>
            </a:rPr>
            <a:t>Price</a:t>
          </a:r>
        </a:p>
      </dgm:t>
    </dgm:pt>
    <dgm:pt modelId="{DBFE1D4C-1A89-4AAC-AC66-09B5C5C23DA6}" type="parTrans" cxnId="{0C483D3A-9971-498D-A16C-D5BB9D0D9125}">
      <dgm:prSet/>
      <dgm:spPr/>
      <dgm:t>
        <a:bodyPr/>
        <a:lstStyle/>
        <a:p>
          <a:endParaRPr lang="en-US"/>
        </a:p>
      </dgm:t>
    </dgm:pt>
    <dgm:pt modelId="{9B200C86-3BE0-4ABC-9187-1C3680090087}" type="sibTrans" cxnId="{0C483D3A-9971-498D-A16C-D5BB9D0D9125}">
      <dgm:prSet/>
      <dgm:spPr/>
      <dgm:t>
        <a:bodyPr/>
        <a:lstStyle/>
        <a:p>
          <a:endParaRPr lang="en-US"/>
        </a:p>
      </dgm:t>
    </dgm:pt>
    <dgm:pt modelId="{EF43B04E-058B-4841-8260-4157236D9BB2}">
      <dgm:prSet phldrT="[Text]" custT="1"/>
      <dgm:spPr>
        <a:solidFill>
          <a:schemeClr val="accent2"/>
        </a:solidFill>
      </dgm:spPr>
      <dgm:t>
        <a:bodyPr/>
        <a:lstStyle/>
        <a:p>
          <a:r>
            <a:rPr lang="en-US" sz="2800" b="1" dirty="0">
              <a:solidFill>
                <a:schemeClr val="bg1"/>
              </a:solidFill>
            </a:rPr>
            <a:t>Clean</a:t>
          </a:r>
        </a:p>
      </dgm:t>
    </dgm:pt>
    <dgm:pt modelId="{BA32DF90-9E52-4216-9174-D89B76E8FB46}" type="parTrans" cxnId="{30B70219-2A5C-4C97-B2BA-D584C013F10B}">
      <dgm:prSet/>
      <dgm:spPr/>
      <dgm:t>
        <a:bodyPr/>
        <a:lstStyle/>
        <a:p>
          <a:endParaRPr lang="en-US"/>
        </a:p>
      </dgm:t>
    </dgm:pt>
    <dgm:pt modelId="{6E7E5BB6-2890-4174-A9DB-3206368BF413}" type="sibTrans" cxnId="{30B70219-2A5C-4C97-B2BA-D584C013F10B}">
      <dgm:prSet/>
      <dgm:spPr/>
      <dgm:t>
        <a:bodyPr/>
        <a:lstStyle/>
        <a:p>
          <a:endParaRPr lang="en-US"/>
        </a:p>
      </dgm:t>
    </dgm:pt>
    <dgm:pt modelId="{333DBDB4-BDA5-41FA-851B-D18D24467202}">
      <dgm:prSet phldrT="[Text]" custT="1"/>
      <dgm:spPr>
        <a:solidFill>
          <a:schemeClr val="accent1"/>
        </a:solidFill>
      </dgm:spPr>
      <dgm:t>
        <a:bodyPr/>
        <a:lstStyle/>
        <a:p>
          <a:r>
            <a:rPr lang="en-US" sz="2800" b="1" dirty="0">
              <a:solidFill>
                <a:schemeClr val="bg1"/>
              </a:solidFill>
            </a:rPr>
            <a:t>Speed</a:t>
          </a:r>
        </a:p>
      </dgm:t>
    </dgm:pt>
    <dgm:pt modelId="{FF67292F-A508-470A-8D06-DA0A2898087F}" type="parTrans" cxnId="{237A7115-14B8-4878-A470-F3E891BA640F}">
      <dgm:prSet/>
      <dgm:spPr/>
      <dgm:t>
        <a:bodyPr/>
        <a:lstStyle/>
        <a:p>
          <a:endParaRPr lang="en-US"/>
        </a:p>
      </dgm:t>
    </dgm:pt>
    <dgm:pt modelId="{AA88DE9A-12DB-44DC-990A-C0D404583004}" type="sibTrans" cxnId="{237A7115-14B8-4878-A470-F3E891BA640F}">
      <dgm:prSet/>
      <dgm:spPr/>
      <dgm:t>
        <a:bodyPr/>
        <a:lstStyle/>
        <a:p>
          <a:endParaRPr lang="en-US"/>
        </a:p>
      </dgm:t>
    </dgm:pt>
    <dgm:pt modelId="{D307D252-DDDA-4339-9067-CCD497E684C8}">
      <dgm:prSet phldrT="[Text]" custT="1"/>
      <dgm:spPr>
        <a:solidFill>
          <a:schemeClr val="tx2">
            <a:lumMod val="25000"/>
            <a:lumOff val="75000"/>
          </a:schemeClr>
        </a:solidFill>
      </dgm:spPr>
      <dgm:t>
        <a:bodyPr/>
        <a:lstStyle/>
        <a:p>
          <a:r>
            <a:rPr lang="en-US" sz="2800" b="1" dirty="0">
              <a:solidFill>
                <a:schemeClr val="bg1"/>
              </a:solidFill>
            </a:rPr>
            <a:t>Reliability</a:t>
          </a:r>
        </a:p>
      </dgm:t>
    </dgm:pt>
    <dgm:pt modelId="{ED011F4B-5AB4-4AF0-BD25-DA777AC4C646}" type="parTrans" cxnId="{EA99E73E-2EBF-4C35-B797-17535B048587}">
      <dgm:prSet/>
      <dgm:spPr/>
      <dgm:t>
        <a:bodyPr/>
        <a:lstStyle/>
        <a:p>
          <a:endParaRPr lang="en-US"/>
        </a:p>
      </dgm:t>
    </dgm:pt>
    <dgm:pt modelId="{0C6F82B1-F9B1-405A-9248-E062E30182F4}" type="sibTrans" cxnId="{EA99E73E-2EBF-4C35-B797-17535B048587}">
      <dgm:prSet/>
      <dgm:spPr/>
      <dgm:t>
        <a:bodyPr/>
        <a:lstStyle/>
        <a:p>
          <a:endParaRPr lang="en-US"/>
        </a:p>
      </dgm:t>
    </dgm:pt>
    <dgm:pt modelId="{E409E6A2-747F-4CF2-9588-4A7F37CF11AD}" type="pres">
      <dgm:prSet presAssocID="{23505FD3-D7E6-4A31-8074-57F66C904FA7}" presName="Name0" presStyleCnt="0">
        <dgm:presLayoutVars>
          <dgm:dir/>
          <dgm:animLvl val="lvl"/>
          <dgm:resizeHandles val="exact"/>
        </dgm:presLayoutVars>
      </dgm:prSet>
      <dgm:spPr/>
    </dgm:pt>
    <dgm:pt modelId="{FE253375-F067-4D4E-A65A-D07F246C9BE6}" type="pres">
      <dgm:prSet presAssocID="{3C9F9B5F-6B52-4D05-B9DE-4CC56751E67F}" presName="Name8" presStyleCnt="0"/>
      <dgm:spPr/>
    </dgm:pt>
    <dgm:pt modelId="{DF67EBD1-C541-4C6D-BF5E-E7309B3C8B05}" type="pres">
      <dgm:prSet presAssocID="{3C9F9B5F-6B52-4D05-B9DE-4CC56751E67F}" presName="level" presStyleLbl="node1" presStyleIdx="0" presStyleCnt="4">
        <dgm:presLayoutVars>
          <dgm:chMax val="1"/>
          <dgm:bulletEnabled val="1"/>
        </dgm:presLayoutVars>
      </dgm:prSet>
      <dgm:spPr/>
    </dgm:pt>
    <dgm:pt modelId="{306F557D-40B8-4A08-A34B-A17083B363FB}" type="pres">
      <dgm:prSet presAssocID="{3C9F9B5F-6B52-4D05-B9DE-4CC56751E67F}" presName="levelTx" presStyleLbl="revTx" presStyleIdx="0" presStyleCnt="0">
        <dgm:presLayoutVars>
          <dgm:chMax val="1"/>
          <dgm:bulletEnabled val="1"/>
        </dgm:presLayoutVars>
      </dgm:prSet>
      <dgm:spPr/>
    </dgm:pt>
    <dgm:pt modelId="{ECE546E7-DAF1-422B-922C-9DDE9B303D8F}" type="pres">
      <dgm:prSet presAssocID="{EF43B04E-058B-4841-8260-4157236D9BB2}" presName="Name8" presStyleCnt="0"/>
      <dgm:spPr/>
    </dgm:pt>
    <dgm:pt modelId="{E7EE5BBB-6927-4B8F-979B-9B8179689B8A}" type="pres">
      <dgm:prSet presAssocID="{EF43B04E-058B-4841-8260-4157236D9BB2}" presName="level" presStyleLbl="node1" presStyleIdx="1" presStyleCnt="4">
        <dgm:presLayoutVars>
          <dgm:chMax val="1"/>
          <dgm:bulletEnabled val="1"/>
        </dgm:presLayoutVars>
      </dgm:prSet>
      <dgm:spPr/>
    </dgm:pt>
    <dgm:pt modelId="{4C84EDD5-23CE-4886-B24A-654CD61B07FC}" type="pres">
      <dgm:prSet presAssocID="{EF43B04E-058B-4841-8260-4157236D9BB2}" presName="levelTx" presStyleLbl="revTx" presStyleIdx="0" presStyleCnt="0">
        <dgm:presLayoutVars>
          <dgm:chMax val="1"/>
          <dgm:bulletEnabled val="1"/>
        </dgm:presLayoutVars>
      </dgm:prSet>
      <dgm:spPr/>
    </dgm:pt>
    <dgm:pt modelId="{9B80E3FF-FF3A-4674-87A3-2D17AEAED25F}" type="pres">
      <dgm:prSet presAssocID="{333DBDB4-BDA5-41FA-851B-D18D24467202}" presName="Name8" presStyleCnt="0"/>
      <dgm:spPr/>
    </dgm:pt>
    <dgm:pt modelId="{64EFAB0E-BAC3-48CF-8F87-FCE23852FE5A}" type="pres">
      <dgm:prSet presAssocID="{333DBDB4-BDA5-41FA-851B-D18D24467202}" presName="level" presStyleLbl="node1" presStyleIdx="2" presStyleCnt="4">
        <dgm:presLayoutVars>
          <dgm:chMax val="1"/>
          <dgm:bulletEnabled val="1"/>
        </dgm:presLayoutVars>
      </dgm:prSet>
      <dgm:spPr/>
    </dgm:pt>
    <dgm:pt modelId="{6CAB5914-E2D1-43C5-8876-1826C2A656AA}" type="pres">
      <dgm:prSet presAssocID="{333DBDB4-BDA5-41FA-851B-D18D24467202}" presName="levelTx" presStyleLbl="revTx" presStyleIdx="0" presStyleCnt="0">
        <dgm:presLayoutVars>
          <dgm:chMax val="1"/>
          <dgm:bulletEnabled val="1"/>
        </dgm:presLayoutVars>
      </dgm:prSet>
      <dgm:spPr/>
    </dgm:pt>
    <dgm:pt modelId="{8939479F-2FFF-4746-8FD4-5304A80AFEA4}" type="pres">
      <dgm:prSet presAssocID="{D307D252-DDDA-4339-9067-CCD497E684C8}" presName="Name8" presStyleCnt="0"/>
      <dgm:spPr/>
    </dgm:pt>
    <dgm:pt modelId="{4191D33F-6F7D-4B6D-9949-395CA04356D3}" type="pres">
      <dgm:prSet presAssocID="{D307D252-DDDA-4339-9067-CCD497E684C8}" presName="level" presStyleLbl="node1" presStyleIdx="3" presStyleCnt="4">
        <dgm:presLayoutVars>
          <dgm:chMax val="1"/>
          <dgm:bulletEnabled val="1"/>
        </dgm:presLayoutVars>
      </dgm:prSet>
      <dgm:spPr/>
    </dgm:pt>
    <dgm:pt modelId="{E76D1532-414A-49A0-A988-10451C9AD0C1}" type="pres">
      <dgm:prSet presAssocID="{D307D252-DDDA-4339-9067-CCD497E684C8}" presName="levelTx" presStyleLbl="revTx" presStyleIdx="0" presStyleCnt="0">
        <dgm:presLayoutVars>
          <dgm:chMax val="1"/>
          <dgm:bulletEnabled val="1"/>
        </dgm:presLayoutVars>
      </dgm:prSet>
      <dgm:spPr/>
    </dgm:pt>
  </dgm:ptLst>
  <dgm:cxnLst>
    <dgm:cxn modelId="{237A7115-14B8-4878-A470-F3E891BA640F}" srcId="{23505FD3-D7E6-4A31-8074-57F66C904FA7}" destId="{333DBDB4-BDA5-41FA-851B-D18D24467202}" srcOrd="2" destOrd="0" parTransId="{FF67292F-A508-470A-8D06-DA0A2898087F}" sibTransId="{AA88DE9A-12DB-44DC-990A-C0D404583004}"/>
    <dgm:cxn modelId="{DB32D217-6189-4183-AF95-2843E0EFE68F}" type="presOf" srcId="{EF43B04E-058B-4841-8260-4157236D9BB2}" destId="{4C84EDD5-23CE-4886-B24A-654CD61B07FC}" srcOrd="1" destOrd="0" presId="urn:microsoft.com/office/officeart/2005/8/layout/pyramid1"/>
    <dgm:cxn modelId="{30B70219-2A5C-4C97-B2BA-D584C013F10B}" srcId="{23505FD3-D7E6-4A31-8074-57F66C904FA7}" destId="{EF43B04E-058B-4841-8260-4157236D9BB2}" srcOrd="1" destOrd="0" parTransId="{BA32DF90-9E52-4216-9174-D89B76E8FB46}" sibTransId="{6E7E5BB6-2890-4174-A9DB-3206368BF413}"/>
    <dgm:cxn modelId="{7240C733-4961-4A41-8E1A-A9C290D9DAC1}" type="presOf" srcId="{D307D252-DDDA-4339-9067-CCD497E684C8}" destId="{E76D1532-414A-49A0-A988-10451C9AD0C1}" srcOrd="1" destOrd="0" presId="urn:microsoft.com/office/officeart/2005/8/layout/pyramid1"/>
    <dgm:cxn modelId="{0C483D3A-9971-498D-A16C-D5BB9D0D9125}" srcId="{23505FD3-D7E6-4A31-8074-57F66C904FA7}" destId="{3C9F9B5F-6B52-4D05-B9DE-4CC56751E67F}" srcOrd="0" destOrd="0" parTransId="{DBFE1D4C-1A89-4AAC-AC66-09B5C5C23DA6}" sibTransId="{9B200C86-3BE0-4ABC-9187-1C3680090087}"/>
    <dgm:cxn modelId="{EA99E73E-2EBF-4C35-B797-17535B048587}" srcId="{23505FD3-D7E6-4A31-8074-57F66C904FA7}" destId="{D307D252-DDDA-4339-9067-CCD497E684C8}" srcOrd="3" destOrd="0" parTransId="{ED011F4B-5AB4-4AF0-BD25-DA777AC4C646}" sibTransId="{0C6F82B1-F9B1-405A-9248-E062E30182F4}"/>
    <dgm:cxn modelId="{07A06369-A440-4C39-B5B0-0DC0D821DE4F}" type="presOf" srcId="{3C9F9B5F-6B52-4D05-B9DE-4CC56751E67F}" destId="{DF67EBD1-C541-4C6D-BF5E-E7309B3C8B05}" srcOrd="0" destOrd="0" presId="urn:microsoft.com/office/officeart/2005/8/layout/pyramid1"/>
    <dgm:cxn modelId="{165EF258-1B2B-4ABD-8BF5-26685CB3A603}" type="presOf" srcId="{333DBDB4-BDA5-41FA-851B-D18D24467202}" destId="{64EFAB0E-BAC3-48CF-8F87-FCE23852FE5A}" srcOrd="0" destOrd="0" presId="urn:microsoft.com/office/officeart/2005/8/layout/pyramid1"/>
    <dgm:cxn modelId="{120F7997-4AC3-4A59-8183-AB53C54695D0}" type="presOf" srcId="{333DBDB4-BDA5-41FA-851B-D18D24467202}" destId="{6CAB5914-E2D1-43C5-8876-1826C2A656AA}" srcOrd="1" destOrd="0" presId="urn:microsoft.com/office/officeart/2005/8/layout/pyramid1"/>
    <dgm:cxn modelId="{E9E62198-627C-4819-B519-894B706198BE}" type="presOf" srcId="{D307D252-DDDA-4339-9067-CCD497E684C8}" destId="{4191D33F-6F7D-4B6D-9949-395CA04356D3}" srcOrd="0" destOrd="0" presId="urn:microsoft.com/office/officeart/2005/8/layout/pyramid1"/>
    <dgm:cxn modelId="{C2E8D5A8-92B0-42B5-9AF5-9D826C9967FB}" type="presOf" srcId="{3C9F9B5F-6B52-4D05-B9DE-4CC56751E67F}" destId="{306F557D-40B8-4A08-A34B-A17083B363FB}" srcOrd="1" destOrd="0" presId="urn:microsoft.com/office/officeart/2005/8/layout/pyramid1"/>
    <dgm:cxn modelId="{9AA46CC3-DEE2-4806-BDF4-95E4C28D6618}" type="presOf" srcId="{23505FD3-D7E6-4A31-8074-57F66C904FA7}" destId="{E409E6A2-747F-4CF2-9588-4A7F37CF11AD}" srcOrd="0" destOrd="0" presId="urn:microsoft.com/office/officeart/2005/8/layout/pyramid1"/>
    <dgm:cxn modelId="{FD7BD6D5-9C7F-4D6C-BC4D-8C724CA4BA6B}" type="presOf" srcId="{EF43B04E-058B-4841-8260-4157236D9BB2}" destId="{E7EE5BBB-6927-4B8F-979B-9B8179689B8A}" srcOrd="0" destOrd="0" presId="urn:microsoft.com/office/officeart/2005/8/layout/pyramid1"/>
    <dgm:cxn modelId="{354D0EE3-E0B5-4B69-AF16-19E2CEFC9BEE}" type="presParOf" srcId="{E409E6A2-747F-4CF2-9588-4A7F37CF11AD}" destId="{FE253375-F067-4D4E-A65A-D07F246C9BE6}" srcOrd="0" destOrd="0" presId="urn:microsoft.com/office/officeart/2005/8/layout/pyramid1"/>
    <dgm:cxn modelId="{E6F03EF1-4E33-4658-9A65-E55F8871B0F1}" type="presParOf" srcId="{FE253375-F067-4D4E-A65A-D07F246C9BE6}" destId="{DF67EBD1-C541-4C6D-BF5E-E7309B3C8B05}" srcOrd="0" destOrd="0" presId="urn:microsoft.com/office/officeart/2005/8/layout/pyramid1"/>
    <dgm:cxn modelId="{08674F66-5CC5-427B-B123-7DEC8065F4CE}" type="presParOf" srcId="{FE253375-F067-4D4E-A65A-D07F246C9BE6}" destId="{306F557D-40B8-4A08-A34B-A17083B363FB}" srcOrd="1" destOrd="0" presId="urn:microsoft.com/office/officeart/2005/8/layout/pyramid1"/>
    <dgm:cxn modelId="{1E0158A2-BFC0-4BF9-A8D0-1B51FB23F315}" type="presParOf" srcId="{E409E6A2-747F-4CF2-9588-4A7F37CF11AD}" destId="{ECE546E7-DAF1-422B-922C-9DDE9B303D8F}" srcOrd="1" destOrd="0" presId="urn:microsoft.com/office/officeart/2005/8/layout/pyramid1"/>
    <dgm:cxn modelId="{3274CB54-178C-41C0-8BBE-DAF1C777B0A9}" type="presParOf" srcId="{ECE546E7-DAF1-422B-922C-9DDE9B303D8F}" destId="{E7EE5BBB-6927-4B8F-979B-9B8179689B8A}" srcOrd="0" destOrd="0" presId="urn:microsoft.com/office/officeart/2005/8/layout/pyramid1"/>
    <dgm:cxn modelId="{C26D8BF3-A33F-4238-9441-731ADDD5C917}" type="presParOf" srcId="{ECE546E7-DAF1-422B-922C-9DDE9B303D8F}" destId="{4C84EDD5-23CE-4886-B24A-654CD61B07FC}" srcOrd="1" destOrd="0" presId="urn:microsoft.com/office/officeart/2005/8/layout/pyramid1"/>
    <dgm:cxn modelId="{FA64ABC8-3E3E-436B-88AB-438CBA712907}" type="presParOf" srcId="{E409E6A2-747F-4CF2-9588-4A7F37CF11AD}" destId="{9B80E3FF-FF3A-4674-87A3-2D17AEAED25F}" srcOrd="2" destOrd="0" presId="urn:microsoft.com/office/officeart/2005/8/layout/pyramid1"/>
    <dgm:cxn modelId="{26124101-C0BE-42CA-93C7-0DF1A66CAEE6}" type="presParOf" srcId="{9B80E3FF-FF3A-4674-87A3-2D17AEAED25F}" destId="{64EFAB0E-BAC3-48CF-8F87-FCE23852FE5A}" srcOrd="0" destOrd="0" presId="urn:microsoft.com/office/officeart/2005/8/layout/pyramid1"/>
    <dgm:cxn modelId="{D9C04F63-E674-4B6D-99F5-00E4E24DE935}" type="presParOf" srcId="{9B80E3FF-FF3A-4674-87A3-2D17AEAED25F}" destId="{6CAB5914-E2D1-43C5-8876-1826C2A656AA}" srcOrd="1" destOrd="0" presId="urn:microsoft.com/office/officeart/2005/8/layout/pyramid1"/>
    <dgm:cxn modelId="{B467A8CE-027C-4E6E-9D54-AA7F211A2F33}" type="presParOf" srcId="{E409E6A2-747F-4CF2-9588-4A7F37CF11AD}" destId="{8939479F-2FFF-4746-8FD4-5304A80AFEA4}" srcOrd="3" destOrd="0" presId="urn:microsoft.com/office/officeart/2005/8/layout/pyramid1"/>
    <dgm:cxn modelId="{1A451752-4E2F-4DCE-BF4C-5FDE35AE751D}" type="presParOf" srcId="{8939479F-2FFF-4746-8FD4-5304A80AFEA4}" destId="{4191D33F-6F7D-4B6D-9949-395CA04356D3}" srcOrd="0" destOrd="0" presId="urn:microsoft.com/office/officeart/2005/8/layout/pyramid1"/>
    <dgm:cxn modelId="{6B5B6598-2C67-4879-B099-58E068B5A929}" type="presParOf" srcId="{8939479F-2FFF-4746-8FD4-5304A80AFEA4}" destId="{E76D1532-414A-49A0-A988-10451C9AD0C1}" srcOrd="1" destOrd="0" presId="urn:microsoft.com/office/officeart/2005/8/layout/pyramid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F67EBD1-C541-4C6D-BF5E-E7309B3C8B05}">
      <dsp:nvSpPr>
        <dsp:cNvPr id="0" name=""/>
        <dsp:cNvSpPr/>
      </dsp:nvSpPr>
      <dsp:spPr>
        <a:xfrm>
          <a:off x="3450034" y="0"/>
          <a:ext cx="2300023" cy="1415653"/>
        </a:xfrm>
        <a:prstGeom prst="trapezoid">
          <a:avLst>
            <a:gd name="adj" fmla="val 81235"/>
          </a:avLst>
        </a:prstGeom>
        <a:solidFill>
          <a:schemeClr val="accent3"/>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35560" rIns="35560" bIns="35560" numCol="1" spcCol="1270" anchor="ctr" anchorCtr="0">
          <a:noAutofit/>
        </a:bodyPr>
        <a:lstStyle/>
        <a:p>
          <a:pPr marL="0" lvl="0" indent="0" algn="ctr" defTabSz="1244600">
            <a:lnSpc>
              <a:spcPct val="90000"/>
            </a:lnSpc>
            <a:spcBef>
              <a:spcPct val="0"/>
            </a:spcBef>
            <a:spcAft>
              <a:spcPct val="35000"/>
            </a:spcAft>
            <a:buNone/>
          </a:pPr>
          <a:r>
            <a:rPr lang="en-US" sz="2800" b="1" kern="1200" dirty="0">
              <a:solidFill>
                <a:schemeClr val="bg1"/>
              </a:solidFill>
            </a:rPr>
            <a:t>Price</a:t>
          </a:r>
        </a:p>
      </dsp:txBody>
      <dsp:txXfrm>
        <a:off x="3450034" y="0"/>
        <a:ext cx="2300023" cy="1415653"/>
      </dsp:txXfrm>
    </dsp:sp>
    <dsp:sp modelId="{E7EE5BBB-6927-4B8F-979B-9B8179689B8A}">
      <dsp:nvSpPr>
        <dsp:cNvPr id="0" name=""/>
        <dsp:cNvSpPr/>
      </dsp:nvSpPr>
      <dsp:spPr>
        <a:xfrm>
          <a:off x="2300023" y="1415653"/>
          <a:ext cx="4600046" cy="1415653"/>
        </a:xfrm>
        <a:prstGeom prst="trapezoid">
          <a:avLst>
            <a:gd name="adj" fmla="val 81235"/>
          </a:avLst>
        </a:prstGeom>
        <a:solidFill>
          <a:schemeClr val="accent2"/>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35560" rIns="35560" bIns="35560" numCol="1" spcCol="1270" anchor="ctr" anchorCtr="0">
          <a:noAutofit/>
        </a:bodyPr>
        <a:lstStyle/>
        <a:p>
          <a:pPr marL="0" lvl="0" indent="0" algn="ctr" defTabSz="1244600">
            <a:lnSpc>
              <a:spcPct val="90000"/>
            </a:lnSpc>
            <a:spcBef>
              <a:spcPct val="0"/>
            </a:spcBef>
            <a:spcAft>
              <a:spcPct val="35000"/>
            </a:spcAft>
            <a:buNone/>
          </a:pPr>
          <a:r>
            <a:rPr lang="en-US" sz="2800" b="1" kern="1200" dirty="0">
              <a:solidFill>
                <a:schemeClr val="bg1"/>
              </a:solidFill>
            </a:rPr>
            <a:t>Clean</a:t>
          </a:r>
        </a:p>
      </dsp:txBody>
      <dsp:txXfrm>
        <a:off x="3105031" y="1415653"/>
        <a:ext cx="2990029" cy="1415653"/>
      </dsp:txXfrm>
    </dsp:sp>
    <dsp:sp modelId="{64EFAB0E-BAC3-48CF-8F87-FCE23852FE5A}">
      <dsp:nvSpPr>
        <dsp:cNvPr id="0" name=""/>
        <dsp:cNvSpPr/>
      </dsp:nvSpPr>
      <dsp:spPr>
        <a:xfrm>
          <a:off x="1150011" y="2831306"/>
          <a:ext cx="6900069" cy="1415653"/>
        </a:xfrm>
        <a:prstGeom prst="trapezoid">
          <a:avLst>
            <a:gd name="adj" fmla="val 81235"/>
          </a:avLst>
        </a:prstGeom>
        <a:solidFill>
          <a:schemeClr val="accent1"/>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35560" rIns="35560" bIns="35560" numCol="1" spcCol="1270" anchor="ctr" anchorCtr="0">
          <a:noAutofit/>
        </a:bodyPr>
        <a:lstStyle/>
        <a:p>
          <a:pPr marL="0" lvl="0" indent="0" algn="ctr" defTabSz="1244600">
            <a:lnSpc>
              <a:spcPct val="90000"/>
            </a:lnSpc>
            <a:spcBef>
              <a:spcPct val="0"/>
            </a:spcBef>
            <a:spcAft>
              <a:spcPct val="35000"/>
            </a:spcAft>
            <a:buNone/>
          </a:pPr>
          <a:r>
            <a:rPr lang="en-US" sz="2800" b="1" kern="1200" dirty="0">
              <a:solidFill>
                <a:schemeClr val="bg1"/>
              </a:solidFill>
            </a:rPr>
            <a:t>Speed</a:t>
          </a:r>
        </a:p>
      </dsp:txBody>
      <dsp:txXfrm>
        <a:off x="2357523" y="2831306"/>
        <a:ext cx="4485044" cy="1415653"/>
      </dsp:txXfrm>
    </dsp:sp>
    <dsp:sp modelId="{4191D33F-6F7D-4B6D-9949-395CA04356D3}">
      <dsp:nvSpPr>
        <dsp:cNvPr id="0" name=""/>
        <dsp:cNvSpPr/>
      </dsp:nvSpPr>
      <dsp:spPr>
        <a:xfrm>
          <a:off x="0" y="4246959"/>
          <a:ext cx="9200092" cy="1415653"/>
        </a:xfrm>
        <a:prstGeom prst="trapezoid">
          <a:avLst>
            <a:gd name="adj" fmla="val 81235"/>
          </a:avLst>
        </a:prstGeom>
        <a:solidFill>
          <a:schemeClr val="tx2">
            <a:lumMod val="25000"/>
            <a:lumOff val="7500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35560" rIns="35560" bIns="35560" numCol="1" spcCol="1270" anchor="ctr" anchorCtr="0">
          <a:noAutofit/>
        </a:bodyPr>
        <a:lstStyle/>
        <a:p>
          <a:pPr marL="0" lvl="0" indent="0" algn="ctr" defTabSz="1244600">
            <a:lnSpc>
              <a:spcPct val="90000"/>
            </a:lnSpc>
            <a:spcBef>
              <a:spcPct val="0"/>
            </a:spcBef>
            <a:spcAft>
              <a:spcPct val="35000"/>
            </a:spcAft>
            <a:buNone/>
          </a:pPr>
          <a:r>
            <a:rPr lang="en-US" sz="2800" b="1" kern="1200" dirty="0">
              <a:solidFill>
                <a:schemeClr val="bg1"/>
              </a:solidFill>
            </a:rPr>
            <a:t>Reliability</a:t>
          </a:r>
        </a:p>
      </dsp:txBody>
      <dsp:txXfrm>
        <a:off x="1610016" y="4246959"/>
        <a:ext cx="5980059" cy="1415653"/>
      </dsp:txXfrm>
    </dsp:sp>
  </dsp:spTree>
</dsp:drawing>
</file>

<file path=ppt/diagrams/layout1.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49587</cdr:x>
      <cdr:y>0.03329</cdr:y>
    </cdr:from>
    <cdr:to>
      <cdr:x>0.49587</cdr:x>
      <cdr:y>0.88456</cdr:y>
    </cdr:to>
    <cdr:cxnSp macro="">
      <cdr:nvCxnSpPr>
        <cdr:cNvPr id="3" name="Straight Connector 2">
          <a:extLst xmlns:a="http://schemas.openxmlformats.org/drawingml/2006/main">
            <a:ext uri="{FF2B5EF4-FFF2-40B4-BE49-F238E27FC236}">
              <a16:creationId xmlns:a16="http://schemas.microsoft.com/office/drawing/2014/main" id="{46858494-BBF3-5761-718B-37950ED3D690}"/>
            </a:ext>
          </a:extLst>
        </cdr:cNvPr>
        <cdr:cNvCxnSpPr/>
      </cdr:nvCxnSpPr>
      <cdr:spPr>
        <a:xfrm xmlns:a="http://schemas.openxmlformats.org/drawingml/2006/main">
          <a:off x="5649070" y="168650"/>
          <a:ext cx="0" cy="4312763"/>
        </a:xfrm>
        <a:prstGeom xmlns:a="http://schemas.openxmlformats.org/drawingml/2006/main" prst="line">
          <a:avLst/>
        </a:prstGeom>
        <a:ln xmlns:a="http://schemas.openxmlformats.org/drawingml/2006/main" w="38100">
          <a:solidFill>
            <a:sysClr val="windowText" lastClr="000000"/>
          </a:solidFill>
          <a:prstDash val="sys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41083</cdr:x>
      <cdr:y>0.01937</cdr:y>
    </cdr:from>
    <cdr:to>
      <cdr:x>0.48927</cdr:x>
      <cdr:y>0.09936</cdr:y>
    </cdr:to>
    <cdr:sp macro="" textlink="">
      <cdr:nvSpPr>
        <cdr:cNvPr id="2" name="TextBox 1">
          <a:extLst xmlns:a="http://schemas.openxmlformats.org/drawingml/2006/main">
            <a:ext uri="{FF2B5EF4-FFF2-40B4-BE49-F238E27FC236}">
              <a16:creationId xmlns:a16="http://schemas.microsoft.com/office/drawing/2014/main" id="{3DAB3072-D27B-9A03-6790-4E633561AF2E}"/>
            </a:ext>
          </a:extLst>
        </cdr:cNvPr>
        <cdr:cNvSpPr txBox="1"/>
      </cdr:nvSpPr>
      <cdr:spPr>
        <a:xfrm xmlns:a="http://schemas.openxmlformats.org/drawingml/2006/main">
          <a:off x="4680259" y="98142"/>
          <a:ext cx="893619" cy="405245"/>
        </a:xfrm>
        <a:prstGeom xmlns:a="http://schemas.openxmlformats.org/drawingml/2006/main" prst="rect">
          <a:avLst/>
        </a:prstGeom>
        <a:noFill xmlns:a="http://schemas.openxmlformats.org/drawingml/2006/main"/>
        <a:ln xmlns:a="http://schemas.openxmlformats.org/drawingml/2006/main">
          <a:noFill/>
        </a:ln>
      </cdr:spPr>
      <cdr:txBody>
        <a:bodyPr xmlns:a="http://schemas.openxmlformats.org/drawingml/2006/main" vertOverflow="clip" vert="horz" wrap="square" lIns="91440" tIns="91440" rIns="91440" bIns="91440" rtlCol="0" anchor="ctr">
          <a:noAutofit/>
        </a:bodyPr>
        <a:lstStyle xmlns:a="http://schemas.openxmlformats.org/drawingml/2006/main"/>
        <a:p xmlns:a="http://schemas.openxmlformats.org/drawingml/2006/main">
          <a:pPr marL="0" indent="0" algn="l">
            <a:buFont typeface="Arial" panose="020B0604020202020204" pitchFamily="34" charset="0"/>
            <a:buNone/>
          </a:pPr>
          <a:r>
            <a:rPr lang="en-CA" sz="1200" b="0" dirty="0">
              <a:solidFill>
                <a:schemeClr val="tx1"/>
              </a:solidFill>
              <a:latin typeface="Manrope SemiBold" pitchFamily="2" charset="0"/>
            </a:rPr>
            <a:t>Historical</a:t>
          </a:r>
        </a:p>
      </cdr:txBody>
    </cdr:sp>
  </cdr:relSizeAnchor>
  <cdr:relSizeAnchor xmlns:cdr="http://schemas.openxmlformats.org/drawingml/2006/chartDrawing">
    <cdr:from>
      <cdr:x>0.5</cdr:x>
      <cdr:y>0.01937</cdr:y>
    </cdr:from>
    <cdr:to>
      <cdr:x>0.57844</cdr:x>
      <cdr:y>0.09936</cdr:y>
    </cdr:to>
    <cdr:sp macro="" textlink="">
      <cdr:nvSpPr>
        <cdr:cNvPr id="4" name="TextBox 1">
          <a:extLst xmlns:a="http://schemas.openxmlformats.org/drawingml/2006/main">
            <a:ext uri="{FF2B5EF4-FFF2-40B4-BE49-F238E27FC236}">
              <a16:creationId xmlns:a16="http://schemas.microsoft.com/office/drawing/2014/main" id="{2E099EAB-17FD-E324-E1B1-F4CD6EA7308F}"/>
            </a:ext>
          </a:extLst>
        </cdr:cNvPr>
        <cdr:cNvSpPr txBox="1"/>
      </cdr:nvSpPr>
      <cdr:spPr>
        <a:xfrm xmlns:a="http://schemas.openxmlformats.org/drawingml/2006/main">
          <a:off x="5696120" y="98142"/>
          <a:ext cx="893619" cy="405245"/>
        </a:xfrm>
        <a:prstGeom xmlns:a="http://schemas.openxmlformats.org/drawingml/2006/main" prst="rect">
          <a:avLst/>
        </a:prstGeom>
        <a:noFill xmlns:a="http://schemas.openxmlformats.org/drawingml/2006/main"/>
        <a:ln xmlns:a="http://schemas.openxmlformats.org/drawingml/2006/main">
          <a:noFill/>
        </a:ln>
      </cdr:spPr>
      <cdr:txBody>
        <a:bodyPr xmlns:a="http://schemas.openxmlformats.org/drawingml/2006/main" vert="horz" wrap="square" lIns="91440" tIns="91440" rIns="91440" bIns="91440" rtlCol="0" anchor="ctr">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marL="0" indent="0" algn="l">
            <a:buFont typeface="Arial" panose="020B0604020202020204" pitchFamily="34" charset="0"/>
            <a:buNone/>
          </a:pPr>
          <a:r>
            <a:rPr lang="en-CA" sz="1200" b="0" dirty="0">
              <a:solidFill>
                <a:schemeClr val="tx1"/>
              </a:solidFill>
              <a:latin typeface="Manrope SemiBold" pitchFamily="2" charset="0"/>
            </a:rPr>
            <a:t>Forecast</a:t>
          </a:r>
        </a:p>
      </cdr:txBody>
    </cdr:sp>
  </cdr:relSizeAnchor>
</c:userShapes>
</file>

<file path=ppt/drawings/drawing10.xml><?xml version="1.0" encoding="utf-8"?>
<c:userShapes xmlns:c="http://schemas.openxmlformats.org/drawingml/2006/chart">
  <cdr:relSizeAnchor xmlns:cdr="http://schemas.openxmlformats.org/drawingml/2006/chartDrawing">
    <cdr:from>
      <cdr:x>0.32352</cdr:x>
      <cdr:y>0.91053</cdr:y>
    </cdr:from>
    <cdr:to>
      <cdr:x>0.70324</cdr:x>
      <cdr:y>0.9467</cdr:y>
    </cdr:to>
    <cdr:sp macro="" textlink="">
      <cdr:nvSpPr>
        <cdr:cNvPr id="2" name="TextBox 1">
          <a:extLst xmlns:a="http://schemas.openxmlformats.org/drawingml/2006/main">
            <a:ext uri="{FF2B5EF4-FFF2-40B4-BE49-F238E27FC236}">
              <a16:creationId xmlns:a16="http://schemas.microsoft.com/office/drawing/2014/main" id="{DF6F3FAB-87AA-BEE4-FF40-88469ABC1E65}"/>
            </a:ext>
          </a:extLst>
        </cdr:cNvPr>
        <cdr:cNvSpPr txBox="1"/>
      </cdr:nvSpPr>
      <cdr:spPr>
        <a:xfrm xmlns:a="http://schemas.openxmlformats.org/drawingml/2006/main">
          <a:off x="1921720" y="5315473"/>
          <a:ext cx="2255520" cy="211134"/>
        </a:xfrm>
        <a:prstGeom xmlns:a="http://schemas.openxmlformats.org/drawingml/2006/main" prst="rect">
          <a:avLst/>
        </a:prstGeom>
        <a:noFill xmlns:a="http://schemas.openxmlformats.org/drawingml/2006/main"/>
        <a:ln xmlns:a="http://schemas.openxmlformats.org/drawingml/2006/main">
          <a:noFill/>
        </a:ln>
      </cdr:spPr>
      <cdr:txBody>
        <a:bodyPr xmlns:a="http://schemas.openxmlformats.org/drawingml/2006/main" vertOverflow="clip" vert="horz" wrap="square" lIns="91440" tIns="91440" rIns="91440" bIns="91440" rtlCol="0" anchor="ctr">
          <a:noAutofit/>
        </a:bodyPr>
        <a:lstStyle xmlns:a="http://schemas.openxmlformats.org/drawingml/2006/main"/>
        <a:p xmlns:a="http://schemas.openxmlformats.org/drawingml/2006/main">
          <a:pPr marL="0" indent="0" algn="ctr">
            <a:buFont typeface="Arial" panose="020B0604020202020204" pitchFamily="34" charset="0"/>
            <a:buNone/>
          </a:pPr>
          <a:r>
            <a:rPr lang="en-US" b="0" dirty="0">
              <a:solidFill>
                <a:schemeClr val="tx1"/>
              </a:solidFill>
              <a:latin typeface="Manrope SemiBold" pitchFamily="2" charset="0"/>
            </a:rPr>
            <a:t>Orennia Demand Scenario</a:t>
          </a:r>
        </a:p>
      </cdr:txBody>
    </cdr:sp>
  </cdr:relSizeAnchor>
  <cdr:relSizeAnchor xmlns:cdr="http://schemas.openxmlformats.org/drawingml/2006/chartDrawing">
    <cdr:from>
      <cdr:x>0.36072</cdr:x>
      <cdr:y>0.94822</cdr:y>
    </cdr:from>
    <cdr:to>
      <cdr:x>0.66304</cdr:x>
      <cdr:y>0.95922</cdr:y>
    </cdr:to>
    <cdr:sp macro="" textlink="">
      <cdr:nvSpPr>
        <cdr:cNvPr id="3" name="Left Bracket 2">
          <a:extLst xmlns:a="http://schemas.openxmlformats.org/drawingml/2006/main">
            <a:ext uri="{FF2B5EF4-FFF2-40B4-BE49-F238E27FC236}">
              <a16:creationId xmlns:a16="http://schemas.microsoft.com/office/drawing/2014/main" id="{18B4CFCE-CD91-B0D3-1D9E-EE279147D59F}"/>
            </a:ext>
          </a:extLst>
        </cdr:cNvPr>
        <cdr:cNvSpPr/>
      </cdr:nvSpPr>
      <cdr:spPr>
        <a:xfrm xmlns:a="http://schemas.openxmlformats.org/drawingml/2006/main" rot="5400000">
          <a:off x="3008477" y="4669720"/>
          <a:ext cx="64226" cy="1795780"/>
        </a:xfrm>
        <a:prstGeom xmlns:a="http://schemas.openxmlformats.org/drawingml/2006/main" prst="leftBracket">
          <a:avLst/>
        </a:prstGeom>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txBody>
        <a:bodyPr xmlns:a="http://schemas.openxmlformats.org/drawingml/2006/main" vertOverflow="clip" rtlCol="0" anchor="ctr"/>
        <a:lstStyle xmlns:a="http://schemas.openxmlformats.org/drawingml/2006/main"/>
        <a:p xmlns:a="http://schemas.openxmlformats.org/drawingml/2006/main">
          <a:endParaRPr lang="en-US"/>
        </a:p>
      </cdr:txBody>
    </cdr:sp>
  </cdr:relSizeAnchor>
</c:userShapes>
</file>

<file path=ppt/drawings/drawing2.xml><?xml version="1.0" encoding="utf-8"?>
<c:userShapes xmlns:c="http://schemas.openxmlformats.org/drawingml/2006/chart">
  <cdr:relSizeAnchor xmlns:cdr="http://schemas.openxmlformats.org/drawingml/2006/chartDrawing">
    <cdr:from>
      <cdr:x>0.11203</cdr:x>
      <cdr:y>0.05875</cdr:y>
    </cdr:from>
    <cdr:to>
      <cdr:x>0.30582</cdr:x>
      <cdr:y>0.13177</cdr:y>
    </cdr:to>
    <cdr:sp macro="" textlink="">
      <cdr:nvSpPr>
        <cdr:cNvPr id="2" name="TextBox 1">
          <a:extLst xmlns:a="http://schemas.openxmlformats.org/drawingml/2006/main">
            <a:ext uri="{FF2B5EF4-FFF2-40B4-BE49-F238E27FC236}">
              <a16:creationId xmlns:a16="http://schemas.microsoft.com/office/drawing/2014/main" id="{9EEC05AD-90CA-260E-CC8E-8575876DBAEE}"/>
            </a:ext>
          </a:extLst>
        </cdr:cNvPr>
        <cdr:cNvSpPr txBox="1"/>
      </cdr:nvSpPr>
      <cdr:spPr>
        <a:xfrm xmlns:a="http://schemas.openxmlformats.org/drawingml/2006/main">
          <a:off x="665458" y="168312"/>
          <a:ext cx="1151083" cy="209169"/>
        </a:xfrm>
        <a:prstGeom xmlns:a="http://schemas.openxmlformats.org/drawingml/2006/main" prst="rect">
          <a:avLst/>
        </a:prstGeom>
        <a:noFill xmlns:a="http://schemas.openxmlformats.org/drawingml/2006/main"/>
        <a:ln xmlns:a="http://schemas.openxmlformats.org/drawingml/2006/main">
          <a:noFill/>
        </a:ln>
      </cdr:spPr>
      <cdr:txBody>
        <a:bodyPr xmlns:a="http://schemas.openxmlformats.org/drawingml/2006/main" vert="horz" wrap="square" lIns="91440" tIns="91440" rIns="91440" bIns="91440" rtlCol="0" anchor="ctr">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marL="0" indent="0" algn="l">
            <a:buFont typeface="Arial" panose="020B0604020202020204" pitchFamily="34" charset="0"/>
            <a:buNone/>
          </a:pPr>
          <a:r>
            <a:rPr lang="en-US" sz="1600" b="1" dirty="0">
              <a:solidFill>
                <a:schemeClr val="bg1">
                  <a:lumMod val="50000"/>
                </a:schemeClr>
              </a:solidFill>
              <a:latin typeface="Manrope SemiBold" pitchFamily="2" charset="0"/>
            </a:rPr>
            <a:t>CAISO</a:t>
          </a:r>
          <a:endParaRPr lang="en-US" sz="1200" b="1" dirty="0">
            <a:solidFill>
              <a:schemeClr val="bg1">
                <a:lumMod val="50000"/>
              </a:schemeClr>
            </a:solidFill>
            <a:latin typeface="Manrope SemiBold" pitchFamily="2" charset="0"/>
          </a:endParaRPr>
        </a:p>
      </cdr:txBody>
    </cdr:sp>
  </cdr:relSizeAnchor>
</c:userShapes>
</file>

<file path=ppt/drawings/drawing3.xml><?xml version="1.0" encoding="utf-8"?>
<c:userShapes xmlns:c="http://schemas.openxmlformats.org/drawingml/2006/chart">
  <cdr:relSizeAnchor xmlns:cdr="http://schemas.openxmlformats.org/drawingml/2006/chartDrawing">
    <cdr:from>
      <cdr:x>0.73121</cdr:x>
      <cdr:y>0.06337</cdr:y>
    </cdr:from>
    <cdr:to>
      <cdr:x>0.83598</cdr:x>
      <cdr:y>0.1304</cdr:y>
    </cdr:to>
    <cdr:sp macro="" textlink="">
      <cdr:nvSpPr>
        <cdr:cNvPr id="2" name="TextBox 1">
          <a:extLst xmlns:a="http://schemas.openxmlformats.org/drawingml/2006/main">
            <a:ext uri="{FF2B5EF4-FFF2-40B4-BE49-F238E27FC236}">
              <a16:creationId xmlns:a16="http://schemas.microsoft.com/office/drawing/2014/main" id="{614E1723-7D91-A5E1-9739-9FABCE56E33C}"/>
            </a:ext>
          </a:extLst>
        </cdr:cNvPr>
        <cdr:cNvSpPr txBox="1"/>
      </cdr:nvSpPr>
      <cdr:spPr>
        <a:xfrm xmlns:a="http://schemas.openxmlformats.org/drawingml/2006/main">
          <a:off x="4343401" y="181521"/>
          <a:ext cx="622300" cy="192024"/>
        </a:xfrm>
        <a:prstGeom xmlns:a="http://schemas.openxmlformats.org/drawingml/2006/main" prst="rect">
          <a:avLst/>
        </a:prstGeom>
        <a:noFill xmlns:a="http://schemas.openxmlformats.org/drawingml/2006/main"/>
        <a:ln xmlns:a="http://schemas.openxmlformats.org/drawingml/2006/main">
          <a:noFill/>
        </a:ln>
      </cdr:spPr>
      <cdr:txBody>
        <a:bodyPr xmlns:a="http://schemas.openxmlformats.org/drawingml/2006/main" vertOverflow="clip" vert="horz" wrap="square" lIns="91440" tIns="91440" rIns="91440" bIns="91440" rtlCol="0" anchor="ctr">
          <a:noAutofit/>
        </a:bodyPr>
        <a:lstStyle xmlns:a="http://schemas.openxmlformats.org/drawingml/2006/main"/>
        <a:p xmlns:a="http://schemas.openxmlformats.org/drawingml/2006/main">
          <a:pPr marL="0" indent="0" algn="l">
            <a:buFont typeface="Arial" panose="020B0604020202020204" pitchFamily="34" charset="0"/>
            <a:buNone/>
          </a:pPr>
          <a:r>
            <a:rPr lang="en-US" sz="1200" b="0" dirty="0">
              <a:solidFill>
                <a:schemeClr val="tx1"/>
              </a:solidFill>
              <a:latin typeface="Manrope SemiBold" pitchFamily="2" charset="0"/>
            </a:rPr>
            <a:t>$108</a:t>
          </a:r>
        </a:p>
      </cdr:txBody>
    </cdr:sp>
  </cdr:relSizeAnchor>
  <cdr:relSizeAnchor xmlns:cdr="http://schemas.openxmlformats.org/drawingml/2006/chartDrawing">
    <cdr:from>
      <cdr:x>0.70609</cdr:x>
      <cdr:y>0.05485</cdr:y>
    </cdr:from>
    <cdr:to>
      <cdr:x>0.73121</cdr:x>
      <cdr:y>0.09688</cdr:y>
    </cdr:to>
    <cdr:cxnSp macro="">
      <cdr:nvCxnSpPr>
        <cdr:cNvPr id="4" name="Connector: Elbow 3">
          <a:extLst xmlns:a="http://schemas.openxmlformats.org/drawingml/2006/main">
            <a:ext uri="{FF2B5EF4-FFF2-40B4-BE49-F238E27FC236}">
              <a16:creationId xmlns:a16="http://schemas.microsoft.com/office/drawing/2014/main" id="{38C5C71A-BAFC-493D-474A-BB0B2ABB6A3B}"/>
            </a:ext>
          </a:extLst>
        </cdr:cNvPr>
        <cdr:cNvCxnSpPr>
          <a:stCxn xmlns:a="http://schemas.openxmlformats.org/drawingml/2006/main" id="2" idx="1"/>
        </cdr:cNvCxnSpPr>
      </cdr:nvCxnSpPr>
      <cdr:spPr>
        <a:xfrm xmlns:a="http://schemas.openxmlformats.org/drawingml/2006/main" rot="10800000">
          <a:off x="4194177" y="157136"/>
          <a:ext cx="149225" cy="120397"/>
        </a:xfrm>
        <a:prstGeom xmlns:a="http://schemas.openxmlformats.org/drawingml/2006/main" prst="bentConnector3">
          <a:avLst>
            <a:gd name="adj1" fmla="val 98937"/>
          </a:avLst>
        </a:prstGeom>
        <a:ln xmlns:a="http://schemas.openxmlformats.org/drawingml/2006/main">
          <a:tailEnd type="triangle"/>
        </a:l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dr:relSizeAnchor xmlns:cdr="http://schemas.openxmlformats.org/drawingml/2006/chartDrawing">
    <cdr:from>
      <cdr:x>0.11289</cdr:x>
      <cdr:y>0.05414</cdr:y>
    </cdr:from>
    <cdr:to>
      <cdr:x>0.30667</cdr:x>
      <cdr:y>0.12716</cdr:y>
    </cdr:to>
    <cdr:sp macro="" textlink="">
      <cdr:nvSpPr>
        <cdr:cNvPr id="6" name="TextBox 1">
          <a:extLst xmlns:a="http://schemas.openxmlformats.org/drawingml/2006/main">
            <a:ext uri="{FF2B5EF4-FFF2-40B4-BE49-F238E27FC236}">
              <a16:creationId xmlns:a16="http://schemas.microsoft.com/office/drawing/2014/main" id="{35B15EC7-2723-D789-C5E6-EF6270C49F3B}"/>
            </a:ext>
          </a:extLst>
        </cdr:cNvPr>
        <cdr:cNvSpPr txBox="1"/>
      </cdr:nvSpPr>
      <cdr:spPr>
        <a:xfrm xmlns:a="http://schemas.openxmlformats.org/drawingml/2006/main">
          <a:off x="670538" y="155104"/>
          <a:ext cx="1151083" cy="209169"/>
        </a:xfrm>
        <a:prstGeom xmlns:a="http://schemas.openxmlformats.org/drawingml/2006/main" prst="rect">
          <a:avLst/>
        </a:prstGeom>
        <a:noFill xmlns:a="http://schemas.openxmlformats.org/drawingml/2006/main"/>
        <a:ln xmlns:a="http://schemas.openxmlformats.org/drawingml/2006/main">
          <a:noFill/>
        </a:ln>
      </cdr:spPr>
      <cdr:txBody>
        <a:bodyPr xmlns:a="http://schemas.openxmlformats.org/drawingml/2006/main" vert="horz" wrap="square" lIns="91440" tIns="91440" rIns="91440" bIns="91440" rtlCol="0" anchor="ctr">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marL="0" indent="0" algn="l">
            <a:buFont typeface="Arial" panose="020B0604020202020204" pitchFamily="34" charset="0"/>
            <a:buNone/>
          </a:pPr>
          <a:r>
            <a:rPr lang="en-US" sz="1600" b="1" dirty="0">
              <a:solidFill>
                <a:schemeClr val="bg1">
                  <a:lumMod val="50000"/>
                </a:schemeClr>
              </a:solidFill>
              <a:latin typeface="Manrope SemiBold" pitchFamily="2" charset="0"/>
            </a:rPr>
            <a:t>ERCOT</a:t>
          </a:r>
          <a:endParaRPr lang="en-US" sz="1200" b="1" dirty="0">
            <a:solidFill>
              <a:schemeClr val="bg1">
                <a:lumMod val="50000"/>
              </a:schemeClr>
            </a:solidFill>
            <a:latin typeface="Manrope SemiBold" pitchFamily="2" charset="0"/>
          </a:endParaRPr>
        </a:p>
      </cdr:txBody>
    </cdr:sp>
  </cdr:relSizeAnchor>
</c:userShapes>
</file>

<file path=ppt/drawings/drawing4.xml><?xml version="1.0" encoding="utf-8"?>
<c:userShapes xmlns:c="http://schemas.openxmlformats.org/drawingml/2006/chart">
  <cdr:relSizeAnchor xmlns:cdr="http://schemas.openxmlformats.org/drawingml/2006/chartDrawing">
    <cdr:from>
      <cdr:x>0.1121</cdr:x>
      <cdr:y>0.05757</cdr:y>
    </cdr:from>
    <cdr:to>
      <cdr:x>0.30589</cdr:x>
      <cdr:y>0.13065</cdr:y>
    </cdr:to>
    <cdr:sp macro="" textlink="">
      <cdr:nvSpPr>
        <cdr:cNvPr id="2" name="TextBox 1">
          <a:extLst xmlns:a="http://schemas.openxmlformats.org/drawingml/2006/main">
            <a:ext uri="{FF2B5EF4-FFF2-40B4-BE49-F238E27FC236}">
              <a16:creationId xmlns:a16="http://schemas.microsoft.com/office/drawing/2014/main" id="{4A2E7FD4-C253-5EBF-3FED-1671EC38A46E}"/>
            </a:ext>
          </a:extLst>
        </cdr:cNvPr>
        <cdr:cNvSpPr txBox="1"/>
      </cdr:nvSpPr>
      <cdr:spPr>
        <a:xfrm xmlns:a="http://schemas.openxmlformats.org/drawingml/2006/main">
          <a:off x="665886" y="164756"/>
          <a:ext cx="1151083" cy="209169"/>
        </a:xfrm>
        <a:prstGeom xmlns:a="http://schemas.openxmlformats.org/drawingml/2006/main" prst="rect">
          <a:avLst/>
        </a:prstGeom>
        <a:noFill xmlns:a="http://schemas.openxmlformats.org/drawingml/2006/main"/>
        <a:ln xmlns:a="http://schemas.openxmlformats.org/drawingml/2006/main">
          <a:noFill/>
        </a:ln>
      </cdr:spPr>
      <cdr:txBody>
        <a:bodyPr xmlns:a="http://schemas.openxmlformats.org/drawingml/2006/main" vert="horz" wrap="square" lIns="91440" tIns="91440" rIns="91440" bIns="91440" rtlCol="0" anchor="ctr">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marL="0" indent="0" algn="l">
            <a:buFont typeface="Arial" panose="020B0604020202020204" pitchFamily="34" charset="0"/>
            <a:buNone/>
          </a:pPr>
          <a:r>
            <a:rPr lang="en-US" sz="1600" b="1" dirty="0">
              <a:solidFill>
                <a:schemeClr val="bg1">
                  <a:lumMod val="50000"/>
                </a:schemeClr>
              </a:solidFill>
              <a:latin typeface="Manrope SemiBold" pitchFamily="2" charset="0"/>
            </a:rPr>
            <a:t>PJM</a:t>
          </a:r>
          <a:endParaRPr lang="en-US" sz="1200" b="1" dirty="0">
            <a:solidFill>
              <a:schemeClr val="bg1">
                <a:lumMod val="50000"/>
              </a:schemeClr>
            </a:solidFill>
            <a:latin typeface="Manrope SemiBold" pitchFamily="2" charset="0"/>
          </a:endParaRPr>
        </a:p>
      </cdr:txBody>
    </cdr:sp>
  </cdr:relSizeAnchor>
</c:userShapes>
</file>

<file path=ppt/drawings/drawing5.xml><?xml version="1.0" encoding="utf-8"?>
<c:userShapes xmlns:c="http://schemas.openxmlformats.org/drawingml/2006/chart">
  <cdr:relSizeAnchor xmlns:cdr="http://schemas.openxmlformats.org/drawingml/2006/chartDrawing">
    <cdr:from>
      <cdr:x>0.14461</cdr:x>
      <cdr:y>0.04816</cdr:y>
    </cdr:from>
    <cdr:to>
      <cdr:x>0.3384</cdr:x>
      <cdr:y>0.12124</cdr:y>
    </cdr:to>
    <cdr:sp macro="" textlink="">
      <cdr:nvSpPr>
        <cdr:cNvPr id="2" name="TextBox 1">
          <a:extLst xmlns:a="http://schemas.openxmlformats.org/drawingml/2006/main">
            <a:ext uri="{FF2B5EF4-FFF2-40B4-BE49-F238E27FC236}">
              <a16:creationId xmlns:a16="http://schemas.microsoft.com/office/drawing/2014/main" id="{9A8E663F-6040-86FF-9B50-30D8EAD0EBBD}"/>
            </a:ext>
          </a:extLst>
        </cdr:cNvPr>
        <cdr:cNvSpPr txBox="1"/>
      </cdr:nvSpPr>
      <cdr:spPr>
        <a:xfrm xmlns:a="http://schemas.openxmlformats.org/drawingml/2006/main">
          <a:off x="859006" y="137832"/>
          <a:ext cx="1151083" cy="209169"/>
        </a:xfrm>
        <a:prstGeom xmlns:a="http://schemas.openxmlformats.org/drawingml/2006/main" prst="rect">
          <a:avLst/>
        </a:prstGeom>
        <a:noFill xmlns:a="http://schemas.openxmlformats.org/drawingml/2006/main"/>
        <a:ln xmlns:a="http://schemas.openxmlformats.org/drawingml/2006/main">
          <a:noFill/>
        </a:ln>
      </cdr:spPr>
      <cdr:txBody>
        <a:bodyPr xmlns:a="http://schemas.openxmlformats.org/drawingml/2006/main" vert="horz" wrap="square" lIns="91440" tIns="91440" rIns="91440" bIns="91440" rtlCol="0" anchor="ctr">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marL="0" indent="0" algn="l">
            <a:buFont typeface="Arial" panose="020B0604020202020204" pitchFamily="34" charset="0"/>
            <a:buNone/>
          </a:pPr>
          <a:r>
            <a:rPr lang="en-US" sz="1600" b="1" dirty="0">
              <a:solidFill>
                <a:schemeClr val="bg1">
                  <a:lumMod val="50000"/>
                </a:schemeClr>
              </a:solidFill>
              <a:latin typeface="Manrope SemiBold" pitchFamily="2" charset="0"/>
            </a:rPr>
            <a:t>ISO-NE</a:t>
          </a:r>
          <a:endParaRPr lang="en-US" sz="1200" b="1" dirty="0">
            <a:solidFill>
              <a:schemeClr val="bg1">
                <a:lumMod val="50000"/>
              </a:schemeClr>
            </a:solidFill>
            <a:latin typeface="Manrope SemiBold" pitchFamily="2" charset="0"/>
          </a:endParaRPr>
        </a:p>
      </cdr:txBody>
    </cdr:sp>
  </cdr:relSizeAnchor>
</c:userShapes>
</file>

<file path=ppt/drawings/drawing6.xml><?xml version="1.0" encoding="utf-8"?>
<c:userShapes xmlns:c="http://schemas.openxmlformats.org/drawingml/2006/chart">
  <cdr:relSizeAnchor xmlns:cdr="http://schemas.openxmlformats.org/drawingml/2006/chartDrawing">
    <cdr:from>
      <cdr:x>0.09219</cdr:x>
      <cdr:y>0.09076</cdr:y>
    </cdr:from>
    <cdr:to>
      <cdr:x>0.89804</cdr:x>
      <cdr:y>0.13285</cdr:y>
    </cdr:to>
    <cdr:sp macro="" textlink="">
      <cdr:nvSpPr>
        <cdr:cNvPr id="9" name="Rectangle 8">
          <a:extLst xmlns:a="http://schemas.openxmlformats.org/drawingml/2006/main">
            <a:ext uri="{FF2B5EF4-FFF2-40B4-BE49-F238E27FC236}">
              <a16:creationId xmlns:a16="http://schemas.microsoft.com/office/drawing/2014/main" id="{2E2A2D7C-1E79-300B-F2A9-627FFBB5FF07}"/>
            </a:ext>
          </a:extLst>
        </cdr:cNvPr>
        <cdr:cNvSpPr/>
      </cdr:nvSpPr>
      <cdr:spPr>
        <a:xfrm xmlns:a="http://schemas.openxmlformats.org/drawingml/2006/main">
          <a:off x="1256358" y="698440"/>
          <a:ext cx="10981764" cy="323901"/>
        </a:xfrm>
        <a:prstGeom xmlns:a="http://schemas.openxmlformats.org/drawingml/2006/main" prst="rect">
          <a:avLst/>
        </a:prstGeom>
        <a:solidFill xmlns:a="http://schemas.openxmlformats.org/drawingml/2006/main">
          <a:schemeClr val="bg1"/>
        </a:solidFill>
        <a:ln xmlns:a="http://schemas.openxmlformats.org/drawingml/2006/main">
          <a:noFill/>
        </a:ln>
      </cdr:spPr>
      <cdr:style>
        <a:lnRef xmlns:a="http://schemas.openxmlformats.org/drawingml/2006/main" idx="2">
          <a:schemeClr val="accent1">
            <a:shade val="15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en-US"/>
        </a:p>
      </cdr:txBody>
    </cdr:sp>
  </cdr:relSizeAnchor>
  <cdr:relSizeAnchor xmlns:cdr="http://schemas.openxmlformats.org/drawingml/2006/chartDrawing">
    <cdr:from>
      <cdr:x>0</cdr:x>
      <cdr:y>0</cdr:y>
    </cdr:from>
    <cdr:to>
      <cdr:x>1</cdr:x>
      <cdr:y>0.04209</cdr:y>
    </cdr:to>
    <cdr:sp macro="" textlink="">
      <cdr:nvSpPr>
        <cdr:cNvPr id="4" name="Rectangle 3">
          <a:extLst xmlns:a="http://schemas.openxmlformats.org/drawingml/2006/main">
            <a:ext uri="{FF2B5EF4-FFF2-40B4-BE49-F238E27FC236}">
              <a16:creationId xmlns:a16="http://schemas.microsoft.com/office/drawing/2014/main" id="{81BC76C3-BADC-72A6-1912-BA5FD8ECA5EA}"/>
            </a:ext>
          </a:extLst>
        </cdr:cNvPr>
        <cdr:cNvSpPr/>
      </cdr:nvSpPr>
      <cdr:spPr>
        <a:xfrm xmlns:a="http://schemas.openxmlformats.org/drawingml/2006/main">
          <a:off x="0" y="0"/>
          <a:ext cx="7886700" cy="209550"/>
        </a:xfrm>
        <a:prstGeom xmlns:a="http://schemas.openxmlformats.org/drawingml/2006/main" prst="rect">
          <a:avLst/>
        </a:prstGeom>
        <a:solidFill xmlns:a="http://schemas.openxmlformats.org/drawingml/2006/main">
          <a:schemeClr val="bg1"/>
        </a:solidFill>
        <a:ln xmlns:a="http://schemas.openxmlformats.org/drawingml/2006/main">
          <a:noFill/>
        </a:ln>
      </cdr:spPr>
      <cdr:style>
        <a:lnRef xmlns:a="http://schemas.openxmlformats.org/drawingml/2006/main" idx="2">
          <a:schemeClr val="accent1">
            <a:shade val="15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11855</cdr:x>
      <cdr:y>0.1067</cdr:y>
    </cdr:from>
    <cdr:to>
      <cdr:x>0.87923</cdr:x>
      <cdr:y>0.13177</cdr:y>
    </cdr:to>
    <cdr:sp macro="" textlink="">
      <cdr:nvSpPr>
        <cdr:cNvPr id="3" name="Left Brace 2">
          <a:extLst xmlns:a="http://schemas.openxmlformats.org/drawingml/2006/main">
            <a:ext uri="{FF2B5EF4-FFF2-40B4-BE49-F238E27FC236}">
              <a16:creationId xmlns:a16="http://schemas.microsoft.com/office/drawing/2014/main" id="{75E68324-9AA3-5BE0-A550-A95CEDF34D10}"/>
            </a:ext>
          </a:extLst>
        </cdr:cNvPr>
        <cdr:cNvSpPr/>
      </cdr:nvSpPr>
      <cdr:spPr>
        <a:xfrm xmlns:a="http://schemas.openxmlformats.org/drawingml/2006/main" rot="5400000">
          <a:off x="3872201" y="-2406016"/>
          <a:ext cx="124809" cy="5999255"/>
        </a:xfrm>
        <a:prstGeom xmlns:a="http://schemas.openxmlformats.org/drawingml/2006/main" prst="leftBrace">
          <a:avLst/>
        </a:prstGeom>
        <a:ln xmlns:a="http://schemas.openxmlformats.org/drawingml/2006/main">
          <a:solidFill>
            <a:sysClr val="windowText" lastClr="000000"/>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39977</cdr:x>
      <cdr:y>0.10389</cdr:y>
    </cdr:from>
    <cdr:to>
      <cdr:x>0.60026</cdr:x>
      <cdr:y>0.14088</cdr:y>
    </cdr:to>
    <cdr:sp macro="" textlink="">
      <cdr:nvSpPr>
        <cdr:cNvPr id="2" name="TextBox 1">
          <a:extLst xmlns:a="http://schemas.openxmlformats.org/drawingml/2006/main">
            <a:ext uri="{FF2B5EF4-FFF2-40B4-BE49-F238E27FC236}">
              <a16:creationId xmlns:a16="http://schemas.microsoft.com/office/drawing/2014/main" id="{3D33FCD2-0A4D-C7AB-B2AF-6B4CB19C4631}"/>
            </a:ext>
          </a:extLst>
        </cdr:cNvPr>
        <cdr:cNvSpPr txBox="1"/>
      </cdr:nvSpPr>
      <cdr:spPr>
        <a:xfrm xmlns:a="http://schemas.openxmlformats.org/drawingml/2006/main">
          <a:off x="4749472" y="595864"/>
          <a:ext cx="2381906" cy="212161"/>
        </a:xfrm>
        <a:prstGeom xmlns:a="http://schemas.openxmlformats.org/drawingml/2006/main" prst="rect">
          <a:avLst/>
        </a:prstGeom>
      </cdr:spPr>
      <cdr:txBody>
        <a:bodyPr xmlns:a="http://schemas.openxmlformats.org/drawingml/2006/main" vertOverflow="clip" wrap="none" lIns="0" tIns="0" rIns="0" bIns="0" rtlCol="0"/>
        <a:lstStyle xmlns:a="http://schemas.openxmlformats.org/drawingml/2006/main"/>
        <a:p xmlns:a="http://schemas.openxmlformats.org/drawingml/2006/main">
          <a:pPr algn="ctr"/>
          <a:r>
            <a:rPr lang="en-US" sz="900" dirty="0">
              <a:solidFill>
                <a:sysClr val="windowText" lastClr="000000"/>
              </a:solidFill>
              <a:effectLst>
                <a:glow rad="190500">
                  <a:schemeClr val="bg1"/>
                </a:glow>
              </a:effectLst>
              <a:latin typeface="Manrope" pitchFamily="2" charset="0"/>
            </a:rPr>
            <a:t>Average Project Duration</a:t>
          </a:r>
        </a:p>
      </cdr:txBody>
    </cdr:sp>
  </cdr:relSizeAnchor>
  <cdr:relSizeAnchor xmlns:cdr="http://schemas.openxmlformats.org/drawingml/2006/chartDrawing">
    <cdr:from>
      <cdr:x>0.11514</cdr:x>
      <cdr:y>0.01531</cdr:y>
    </cdr:from>
    <cdr:to>
      <cdr:x>0.87582</cdr:x>
      <cdr:y>0.04038</cdr:y>
    </cdr:to>
    <cdr:sp macro="" textlink="">
      <cdr:nvSpPr>
        <cdr:cNvPr id="6" name="Left Brace 5">
          <a:extLst xmlns:a="http://schemas.openxmlformats.org/drawingml/2006/main">
            <a:ext uri="{FF2B5EF4-FFF2-40B4-BE49-F238E27FC236}">
              <a16:creationId xmlns:a16="http://schemas.microsoft.com/office/drawing/2014/main" id="{0B037252-2D77-5A82-1D76-3BC36832CF8B}"/>
            </a:ext>
          </a:extLst>
        </cdr:cNvPr>
        <cdr:cNvSpPr/>
      </cdr:nvSpPr>
      <cdr:spPr>
        <a:xfrm xmlns:a="http://schemas.openxmlformats.org/drawingml/2006/main" rot="5400000">
          <a:off x="3845273" y="-2861023"/>
          <a:ext cx="124809" cy="5999255"/>
        </a:xfrm>
        <a:prstGeom xmlns:a="http://schemas.openxmlformats.org/drawingml/2006/main" prst="leftBrace">
          <a:avLst/>
        </a:prstGeom>
        <a:ln xmlns:a="http://schemas.openxmlformats.org/drawingml/2006/main">
          <a:solidFill>
            <a:sysClr val="windowText" lastClr="000000"/>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txBody>
        <a:bodyPr xmlns:a="http://schemas.openxmlformats.org/drawingml/2006/main"/>
        <a:lstStyle xmlns:a="http://schemas.openxmlformats.org/drawingml/2006/main">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xmlns:a="http://schemas.openxmlformats.org/drawingml/2006/main">
          <a:endParaRPr lang="en-US"/>
        </a:p>
      </cdr:txBody>
    </cdr:sp>
  </cdr:relSizeAnchor>
  <cdr:relSizeAnchor xmlns:cdr="http://schemas.openxmlformats.org/drawingml/2006/chartDrawing">
    <cdr:from>
      <cdr:x>0.4052</cdr:x>
      <cdr:y>0.00893</cdr:y>
    </cdr:from>
    <cdr:to>
      <cdr:x>0.60569</cdr:x>
      <cdr:y>0.04592</cdr:y>
    </cdr:to>
    <cdr:sp macro="" textlink="">
      <cdr:nvSpPr>
        <cdr:cNvPr id="5" name="TextBox 2">
          <a:extLst xmlns:a="http://schemas.openxmlformats.org/drawingml/2006/main">
            <a:ext uri="{FF2B5EF4-FFF2-40B4-BE49-F238E27FC236}">
              <a16:creationId xmlns:a16="http://schemas.microsoft.com/office/drawing/2014/main" id="{5282DDC9-4970-764D-4FD7-DAE818AFE5E9}"/>
            </a:ext>
          </a:extLst>
        </cdr:cNvPr>
        <cdr:cNvSpPr txBox="1"/>
      </cdr:nvSpPr>
      <cdr:spPr>
        <a:xfrm xmlns:a="http://schemas.openxmlformats.org/drawingml/2006/main">
          <a:off x="3195678" y="44450"/>
          <a:ext cx="1581205" cy="184151"/>
        </a:xfrm>
        <a:prstGeom xmlns:a="http://schemas.openxmlformats.org/drawingml/2006/main" prst="rect">
          <a:avLst/>
        </a:prstGeom>
      </cdr:spPr>
      <cdr:txBody>
        <a:bodyPr xmlns:a="http://schemas.openxmlformats.org/drawingml/2006/main" wrap="none" lIns="0" tIns="0" rIns="0" bIns="0"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900">
              <a:solidFill>
                <a:sysClr val="windowText" lastClr="000000"/>
              </a:solidFill>
              <a:effectLst>
                <a:glow rad="317500">
                  <a:schemeClr val="bg1"/>
                </a:glow>
              </a:effectLst>
              <a:latin typeface="Manrope" pitchFamily="2" charset="0"/>
            </a:rPr>
            <a:t>Average Daily Cycles</a:t>
          </a:r>
        </a:p>
      </cdr:txBody>
    </cdr:sp>
  </cdr:relSizeAnchor>
  <cdr:relSizeAnchor xmlns:cdr="http://schemas.openxmlformats.org/drawingml/2006/chartDrawing">
    <cdr:from>
      <cdr:x>0.72842</cdr:x>
      <cdr:y>0.27551</cdr:y>
    </cdr:from>
    <cdr:to>
      <cdr:x>0.87818</cdr:x>
      <cdr:y>0.3125</cdr:y>
    </cdr:to>
    <cdr:sp macro="" textlink="">
      <cdr:nvSpPr>
        <cdr:cNvPr id="7" name="TextBox 1">
          <a:extLst xmlns:a="http://schemas.openxmlformats.org/drawingml/2006/main">
            <a:ext uri="{FF2B5EF4-FFF2-40B4-BE49-F238E27FC236}">
              <a16:creationId xmlns:a16="http://schemas.microsoft.com/office/drawing/2014/main" id="{13819EC1-9503-3B12-5AC7-4C6BA50D72FE}"/>
            </a:ext>
          </a:extLst>
        </cdr:cNvPr>
        <cdr:cNvSpPr txBox="1"/>
      </cdr:nvSpPr>
      <cdr:spPr>
        <a:xfrm xmlns:a="http://schemas.openxmlformats.org/drawingml/2006/main">
          <a:off x="8653971" y="1580197"/>
          <a:ext cx="1779212" cy="212161"/>
        </a:xfrm>
        <a:prstGeom xmlns:a="http://schemas.openxmlformats.org/drawingml/2006/main" prst="rect">
          <a:avLst/>
        </a:prstGeom>
      </cdr:spPr>
      <cdr:txBody>
        <a:bodyPr xmlns:a="http://schemas.openxmlformats.org/drawingml/2006/main" wrap="none" lIns="0" tIns="0" rIns="0" bIns="0"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900" dirty="0">
              <a:solidFill>
                <a:sysClr val="windowText" lastClr="000000"/>
              </a:solidFill>
              <a:effectLst>
                <a:glow rad="127000">
                  <a:schemeClr val="bg1"/>
                </a:glow>
              </a:effectLst>
              <a:latin typeface="Manrope" pitchFamily="2" charset="0"/>
            </a:rPr>
            <a:t>Optimized Revenues</a:t>
          </a:r>
        </a:p>
      </cdr:txBody>
    </cdr:sp>
  </cdr:relSizeAnchor>
  <cdr:relSizeAnchor xmlns:cdr="http://schemas.openxmlformats.org/drawingml/2006/chartDrawing">
    <cdr:from>
      <cdr:x>0.72359</cdr:x>
      <cdr:y>0.31868</cdr:y>
    </cdr:from>
    <cdr:to>
      <cdr:x>0.85967</cdr:x>
      <cdr:y>0.35185</cdr:y>
    </cdr:to>
    <cdr:sp macro="" textlink="">
      <cdr:nvSpPr>
        <cdr:cNvPr id="8" name="TextBox 1">
          <a:extLst xmlns:a="http://schemas.openxmlformats.org/drawingml/2006/main">
            <a:ext uri="{FF2B5EF4-FFF2-40B4-BE49-F238E27FC236}">
              <a16:creationId xmlns:a16="http://schemas.microsoft.com/office/drawing/2014/main" id="{89416178-9D09-5393-A25D-841890B285AE}"/>
            </a:ext>
          </a:extLst>
        </cdr:cNvPr>
        <cdr:cNvSpPr txBox="1"/>
      </cdr:nvSpPr>
      <cdr:spPr>
        <a:xfrm xmlns:a="http://schemas.openxmlformats.org/drawingml/2006/main">
          <a:off x="8596589" y="1827804"/>
          <a:ext cx="1616688" cy="190250"/>
        </a:xfrm>
        <a:prstGeom xmlns:a="http://schemas.openxmlformats.org/drawingml/2006/main" prst="rect">
          <a:avLst/>
        </a:prstGeom>
      </cdr:spPr>
      <cdr:txBody>
        <a:bodyPr xmlns:a="http://schemas.openxmlformats.org/drawingml/2006/main" wrap="none" lIns="0" tIns="0" rIns="0" bIns="0"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900" dirty="0">
              <a:solidFill>
                <a:sysClr val="windowText" lastClr="000000"/>
              </a:solidFill>
              <a:effectLst>
                <a:glow rad="127000">
                  <a:schemeClr val="bg1"/>
                </a:glow>
              </a:effectLst>
              <a:latin typeface="Manrope" pitchFamily="2" charset="0"/>
            </a:rPr>
            <a:t>Actual Revenues</a:t>
          </a:r>
        </a:p>
      </cdr:txBody>
    </cdr:sp>
  </cdr:relSizeAnchor>
  <cdr:relSizeAnchor xmlns:cdr="http://schemas.openxmlformats.org/drawingml/2006/chartDrawing">
    <cdr:from>
      <cdr:x>0.8806</cdr:x>
      <cdr:y>0.28935</cdr:y>
    </cdr:from>
    <cdr:to>
      <cdr:x>0.89187</cdr:x>
      <cdr:y>0.37991</cdr:y>
    </cdr:to>
    <cdr:cxnSp macro="">
      <cdr:nvCxnSpPr>
        <cdr:cNvPr id="10" name="Connector: Elbow 9">
          <a:extLst xmlns:a="http://schemas.openxmlformats.org/drawingml/2006/main">
            <a:ext uri="{FF2B5EF4-FFF2-40B4-BE49-F238E27FC236}">
              <a16:creationId xmlns:a16="http://schemas.microsoft.com/office/drawing/2014/main" id="{98759375-4514-1144-8CC4-B8431C396B1B}"/>
            </a:ext>
          </a:extLst>
        </cdr:cNvPr>
        <cdr:cNvCxnSpPr/>
      </cdr:nvCxnSpPr>
      <cdr:spPr>
        <a:xfrm xmlns:a="http://schemas.openxmlformats.org/drawingml/2006/main" rot="16200000" flipH="1">
          <a:off x="10269171" y="1852341"/>
          <a:ext cx="519417" cy="133892"/>
        </a:xfrm>
        <a:prstGeom xmlns:a="http://schemas.openxmlformats.org/drawingml/2006/main" prst="bentConnector3">
          <a:avLst>
            <a:gd name="adj1" fmla="val 704"/>
          </a:avLst>
        </a:prstGeom>
        <a:ln xmlns:a="http://schemas.openxmlformats.org/drawingml/2006/main">
          <a:solidFill>
            <a:sysClr val="windowText" lastClr="000000"/>
          </a:solidFill>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85966</cdr:x>
      <cdr:y>0.33291</cdr:y>
    </cdr:from>
    <cdr:to>
      <cdr:x>0.87164</cdr:x>
      <cdr:y>0.72025</cdr:y>
    </cdr:to>
    <cdr:cxnSp macro="">
      <cdr:nvCxnSpPr>
        <cdr:cNvPr id="13" name="Connector: Elbow 12">
          <a:extLst xmlns:a="http://schemas.openxmlformats.org/drawingml/2006/main">
            <a:ext uri="{FF2B5EF4-FFF2-40B4-BE49-F238E27FC236}">
              <a16:creationId xmlns:a16="http://schemas.microsoft.com/office/drawing/2014/main" id="{8D378030-98D2-1D73-182F-92AC87ABBE7A}"/>
            </a:ext>
          </a:extLst>
        </cdr:cNvPr>
        <cdr:cNvCxnSpPr/>
      </cdr:nvCxnSpPr>
      <cdr:spPr>
        <a:xfrm xmlns:a="http://schemas.openxmlformats.org/drawingml/2006/main" rot="16200000" flipH="1">
          <a:off x="9173469" y="2949111"/>
          <a:ext cx="2221676" cy="142298"/>
        </a:xfrm>
        <a:prstGeom xmlns:a="http://schemas.openxmlformats.org/drawingml/2006/main" prst="bentConnector3">
          <a:avLst>
            <a:gd name="adj1" fmla="val 199"/>
          </a:avLst>
        </a:prstGeom>
        <a:ln xmlns:a="http://schemas.openxmlformats.org/drawingml/2006/main">
          <a:solidFill>
            <a:sysClr val="windowText" lastClr="000000"/>
          </a:solidFill>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7.xml><?xml version="1.0" encoding="utf-8"?>
<c:userShapes xmlns:c="http://schemas.openxmlformats.org/drawingml/2006/chart">
  <cdr:relSizeAnchor xmlns:cdr="http://schemas.openxmlformats.org/drawingml/2006/chartDrawing">
    <cdr:from>
      <cdr:x>0.37231</cdr:x>
      <cdr:y>0.12947</cdr:y>
    </cdr:from>
    <cdr:to>
      <cdr:x>0.47408</cdr:x>
      <cdr:y>0.16634</cdr:y>
    </cdr:to>
    <cdr:sp macro="" textlink="">
      <cdr:nvSpPr>
        <cdr:cNvPr id="2" name="TextBox 1">
          <a:extLst xmlns:a="http://schemas.openxmlformats.org/drawingml/2006/main">
            <a:ext uri="{FF2B5EF4-FFF2-40B4-BE49-F238E27FC236}">
              <a16:creationId xmlns:a16="http://schemas.microsoft.com/office/drawing/2014/main" id="{6F3C8CC4-E525-E2F9-14E3-9293043EEE7C}"/>
            </a:ext>
          </a:extLst>
        </cdr:cNvPr>
        <cdr:cNvSpPr txBox="1"/>
      </cdr:nvSpPr>
      <cdr:spPr>
        <a:xfrm xmlns:a="http://schemas.openxmlformats.org/drawingml/2006/main">
          <a:off x="2211493" y="713423"/>
          <a:ext cx="604520" cy="203200"/>
        </a:xfrm>
        <a:prstGeom xmlns:a="http://schemas.openxmlformats.org/drawingml/2006/main" prst="rect">
          <a:avLst/>
        </a:prstGeom>
        <a:noFill xmlns:a="http://schemas.openxmlformats.org/drawingml/2006/main"/>
        <a:ln xmlns:a="http://schemas.openxmlformats.org/drawingml/2006/main">
          <a:noFill/>
        </a:ln>
      </cdr:spPr>
      <cdr:txBody>
        <a:bodyPr xmlns:a="http://schemas.openxmlformats.org/drawingml/2006/main" vertOverflow="clip" vert="horz" wrap="square" lIns="91440" tIns="91440" rIns="91440" bIns="91440" rtlCol="0" anchor="ctr">
          <a:noAutofit/>
        </a:bodyPr>
        <a:lstStyle xmlns:a="http://schemas.openxmlformats.org/drawingml/2006/main"/>
        <a:p xmlns:a="http://schemas.openxmlformats.org/drawingml/2006/main">
          <a:pPr marL="0" indent="0" algn="ctr">
            <a:buFont typeface="Arial" panose="020B0604020202020204" pitchFamily="34" charset="0"/>
            <a:buNone/>
          </a:pPr>
          <a:r>
            <a:rPr lang="en-US" b="0" dirty="0">
              <a:solidFill>
                <a:schemeClr val="bg1">
                  <a:lumMod val="50000"/>
                </a:schemeClr>
              </a:solidFill>
              <a:latin typeface="Manrope SemiBold" pitchFamily="2" charset="0"/>
            </a:rPr>
            <a:t>Aug</a:t>
          </a:r>
        </a:p>
      </cdr:txBody>
    </cdr:sp>
  </cdr:relSizeAnchor>
  <cdr:relSizeAnchor xmlns:cdr="http://schemas.openxmlformats.org/drawingml/2006/chartDrawing">
    <cdr:from>
      <cdr:x>0.85925</cdr:x>
      <cdr:y>0.12947</cdr:y>
    </cdr:from>
    <cdr:to>
      <cdr:x>0.96102</cdr:x>
      <cdr:y>0.16634</cdr:y>
    </cdr:to>
    <cdr:sp macro="" textlink="">
      <cdr:nvSpPr>
        <cdr:cNvPr id="3" name="TextBox 1">
          <a:extLst xmlns:a="http://schemas.openxmlformats.org/drawingml/2006/main">
            <a:ext uri="{FF2B5EF4-FFF2-40B4-BE49-F238E27FC236}">
              <a16:creationId xmlns:a16="http://schemas.microsoft.com/office/drawing/2014/main" id="{5BF6D736-3CE3-3F90-6440-C548493C58F4}"/>
            </a:ext>
          </a:extLst>
        </cdr:cNvPr>
        <cdr:cNvSpPr txBox="1"/>
      </cdr:nvSpPr>
      <cdr:spPr>
        <a:xfrm xmlns:a="http://schemas.openxmlformats.org/drawingml/2006/main">
          <a:off x="5103929" y="713423"/>
          <a:ext cx="604520" cy="203200"/>
        </a:xfrm>
        <a:prstGeom xmlns:a="http://schemas.openxmlformats.org/drawingml/2006/main" prst="rect">
          <a:avLst/>
        </a:prstGeom>
        <a:noFill xmlns:a="http://schemas.openxmlformats.org/drawingml/2006/main"/>
        <a:ln xmlns:a="http://schemas.openxmlformats.org/drawingml/2006/main">
          <a:noFill/>
        </a:ln>
      </cdr:spPr>
      <cdr:txBody>
        <a:bodyPr xmlns:a="http://schemas.openxmlformats.org/drawingml/2006/main" vert="horz" wrap="square" lIns="91440" tIns="91440" rIns="91440" bIns="91440" rtlCol="0" anchor="ctr">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marL="0" indent="0" algn="ctr">
            <a:buFont typeface="Arial" panose="020B0604020202020204" pitchFamily="34" charset="0"/>
            <a:buNone/>
          </a:pPr>
          <a:r>
            <a:rPr lang="en-US" b="0" dirty="0">
              <a:solidFill>
                <a:schemeClr val="bg1">
                  <a:lumMod val="50000"/>
                </a:schemeClr>
              </a:solidFill>
              <a:latin typeface="Manrope SemiBold" pitchFamily="2" charset="0"/>
            </a:rPr>
            <a:t>Aug</a:t>
          </a:r>
        </a:p>
      </cdr:txBody>
    </cdr:sp>
  </cdr:relSizeAnchor>
</c:userShapes>
</file>

<file path=ppt/drawings/drawing8.xml><?xml version="1.0" encoding="utf-8"?>
<c:userShapes xmlns:c="http://schemas.openxmlformats.org/drawingml/2006/chart">
  <cdr:relSizeAnchor xmlns:cdr="http://schemas.openxmlformats.org/drawingml/2006/chartDrawing">
    <cdr:from>
      <cdr:x>0.79494</cdr:x>
      <cdr:y>0.75144</cdr:y>
    </cdr:from>
    <cdr:to>
      <cdr:x>0.93824</cdr:x>
      <cdr:y>0.79547</cdr:y>
    </cdr:to>
    <cdr:sp macro="" textlink="">
      <cdr:nvSpPr>
        <cdr:cNvPr id="2" name="TextBox 6">
          <a:extLst xmlns:a="http://schemas.openxmlformats.org/drawingml/2006/main">
            <a:ext uri="{FF2B5EF4-FFF2-40B4-BE49-F238E27FC236}">
              <a16:creationId xmlns:a16="http://schemas.microsoft.com/office/drawing/2014/main" id="{E74A0F87-C8CD-3648-ED7F-0CD7AC5F5D22}"/>
            </a:ext>
          </a:extLst>
        </cdr:cNvPr>
        <cdr:cNvSpPr txBox="1"/>
      </cdr:nvSpPr>
      <cdr:spPr>
        <a:xfrm xmlns:a="http://schemas.openxmlformats.org/drawingml/2006/main">
          <a:off x="4721603" y="4249850"/>
          <a:ext cx="851112" cy="249037"/>
        </a:xfrm>
        <a:prstGeom xmlns:a="http://schemas.openxmlformats.org/drawingml/2006/main" prst="rect">
          <a:avLst/>
        </a:prstGeom>
        <a:noFill xmlns:a="http://schemas.openxmlformats.org/drawingml/2006/main"/>
        <a:ln xmlns:a="http://schemas.openxmlformats.org/drawingml/2006/main">
          <a:noFill/>
        </a:ln>
      </cdr:spPr>
      <cdr:txBody>
        <a:bodyPr xmlns:a="http://schemas.openxmlformats.org/drawingml/2006/main" vert="horz" wrap="square" lIns="91440" tIns="91440" rIns="91440" bIns="91440" rtlCol="0" anchor="ctr">
          <a:no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marL="0" indent="0" algn="ctr">
            <a:buFont typeface="Arial" panose="020B0604020202020204" pitchFamily="34" charset="0"/>
            <a:buNone/>
          </a:pPr>
          <a:r>
            <a:rPr lang="en-US" sz="1600" b="0" dirty="0">
              <a:solidFill>
                <a:srgbClr val="FFCA2A"/>
              </a:solidFill>
              <a:latin typeface="Manrope SemiBold" pitchFamily="2" charset="0"/>
            </a:rPr>
            <a:t>Solar</a:t>
          </a:r>
        </a:p>
      </cdr:txBody>
    </cdr:sp>
  </cdr:relSizeAnchor>
  <cdr:relSizeAnchor xmlns:cdr="http://schemas.openxmlformats.org/drawingml/2006/chartDrawing">
    <cdr:from>
      <cdr:x>0.65343</cdr:x>
      <cdr:y>0.39907</cdr:y>
    </cdr:from>
    <cdr:to>
      <cdr:x>0.93131</cdr:x>
      <cdr:y>0.4431</cdr:y>
    </cdr:to>
    <cdr:sp macro="" textlink="">
      <cdr:nvSpPr>
        <cdr:cNvPr id="3" name="TextBox 6">
          <a:extLst xmlns:a="http://schemas.openxmlformats.org/drawingml/2006/main">
            <a:ext uri="{FF2B5EF4-FFF2-40B4-BE49-F238E27FC236}">
              <a16:creationId xmlns:a16="http://schemas.microsoft.com/office/drawing/2014/main" id="{866378C6-D15C-E543-B2B0-6A1527FFCFAE}"/>
            </a:ext>
          </a:extLst>
        </cdr:cNvPr>
        <cdr:cNvSpPr txBox="1"/>
      </cdr:nvSpPr>
      <cdr:spPr>
        <a:xfrm xmlns:a="http://schemas.openxmlformats.org/drawingml/2006/main">
          <a:off x="3881075" y="2256966"/>
          <a:ext cx="1650492" cy="249037"/>
        </a:xfrm>
        <a:prstGeom xmlns:a="http://schemas.openxmlformats.org/drawingml/2006/main" prst="rect">
          <a:avLst/>
        </a:prstGeom>
        <a:noFill xmlns:a="http://schemas.openxmlformats.org/drawingml/2006/main"/>
        <a:ln xmlns:a="http://schemas.openxmlformats.org/drawingml/2006/main">
          <a:noFill/>
        </a:ln>
      </cdr:spPr>
      <cdr:txBody>
        <a:bodyPr xmlns:a="http://schemas.openxmlformats.org/drawingml/2006/main" vert="horz" wrap="square" lIns="91440" tIns="91440" rIns="91440" bIns="91440" rtlCol="0" anchor="ctr">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marL="0" indent="0" algn="ctr">
            <a:buFont typeface="Arial" panose="020B0604020202020204" pitchFamily="34" charset="0"/>
            <a:buNone/>
          </a:pPr>
          <a:r>
            <a:rPr lang="en-US" sz="1600" b="0" dirty="0">
              <a:solidFill>
                <a:srgbClr val="7F7F7F"/>
              </a:solidFill>
              <a:latin typeface="Manrope SemiBold" pitchFamily="2" charset="0"/>
            </a:rPr>
            <a:t>Net Demand</a:t>
          </a:r>
        </a:p>
      </cdr:txBody>
    </cdr:sp>
  </cdr:relSizeAnchor>
  <cdr:relSizeAnchor xmlns:cdr="http://schemas.openxmlformats.org/drawingml/2006/chartDrawing">
    <cdr:from>
      <cdr:x>0.72212</cdr:x>
      <cdr:y>0.11004</cdr:y>
    </cdr:from>
    <cdr:to>
      <cdr:x>1</cdr:x>
      <cdr:y>0.15407</cdr:y>
    </cdr:to>
    <cdr:sp macro="" textlink="">
      <cdr:nvSpPr>
        <cdr:cNvPr id="4" name="TextBox 6">
          <a:extLst xmlns:a="http://schemas.openxmlformats.org/drawingml/2006/main">
            <a:ext uri="{FF2B5EF4-FFF2-40B4-BE49-F238E27FC236}">
              <a16:creationId xmlns:a16="http://schemas.microsoft.com/office/drawing/2014/main" id="{BD09DBA9-92F2-EACD-717C-E7DCC6A9F67F}"/>
            </a:ext>
          </a:extLst>
        </cdr:cNvPr>
        <cdr:cNvSpPr txBox="1"/>
      </cdr:nvSpPr>
      <cdr:spPr>
        <a:xfrm xmlns:a="http://schemas.openxmlformats.org/drawingml/2006/main">
          <a:off x="4289080" y="622322"/>
          <a:ext cx="1650492" cy="249037"/>
        </a:xfrm>
        <a:prstGeom xmlns:a="http://schemas.openxmlformats.org/drawingml/2006/main" prst="rect">
          <a:avLst/>
        </a:prstGeom>
        <a:noFill xmlns:a="http://schemas.openxmlformats.org/drawingml/2006/main"/>
        <a:ln xmlns:a="http://schemas.openxmlformats.org/drawingml/2006/main">
          <a:noFill/>
        </a:ln>
      </cdr:spPr>
      <cdr:txBody>
        <a:bodyPr xmlns:a="http://schemas.openxmlformats.org/drawingml/2006/main" vert="horz" wrap="square" lIns="91440" tIns="91440" rIns="91440" bIns="91440" rtlCol="0" anchor="ctr">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marL="0" indent="0" algn="ctr">
            <a:buFont typeface="Arial" panose="020B0604020202020204" pitchFamily="34" charset="0"/>
            <a:buNone/>
          </a:pPr>
          <a:r>
            <a:rPr lang="en-US" sz="1600" b="0" dirty="0">
              <a:solidFill>
                <a:schemeClr val="tx1"/>
              </a:solidFill>
              <a:latin typeface="Manrope SemiBold" pitchFamily="2" charset="0"/>
            </a:rPr>
            <a:t>Demand</a:t>
          </a:r>
        </a:p>
      </cdr:txBody>
    </cdr:sp>
  </cdr:relSizeAnchor>
</c:userShapes>
</file>

<file path=ppt/drawings/drawing9.xml><?xml version="1.0" encoding="utf-8"?>
<c:userShapes xmlns:c="http://schemas.openxmlformats.org/drawingml/2006/chart">
  <cdr:relSizeAnchor xmlns:cdr="http://schemas.openxmlformats.org/drawingml/2006/chartDrawing">
    <cdr:from>
      <cdr:x>0.67437</cdr:x>
      <cdr:y>0.42736</cdr:y>
    </cdr:from>
    <cdr:to>
      <cdr:x>0.81766</cdr:x>
      <cdr:y>0.4714</cdr:y>
    </cdr:to>
    <cdr:sp macro="" textlink="">
      <cdr:nvSpPr>
        <cdr:cNvPr id="2" name="TextBox 6">
          <a:extLst xmlns:a="http://schemas.openxmlformats.org/drawingml/2006/main">
            <a:ext uri="{FF2B5EF4-FFF2-40B4-BE49-F238E27FC236}">
              <a16:creationId xmlns:a16="http://schemas.microsoft.com/office/drawing/2014/main" id="{7C1021AD-B54B-7DFE-0706-AA3D30D61A22}"/>
            </a:ext>
          </a:extLst>
        </cdr:cNvPr>
        <cdr:cNvSpPr txBox="1"/>
      </cdr:nvSpPr>
      <cdr:spPr>
        <a:xfrm xmlns:a="http://schemas.openxmlformats.org/drawingml/2006/main">
          <a:off x="4005767" y="2416986"/>
          <a:ext cx="851112" cy="249037"/>
        </a:xfrm>
        <a:prstGeom xmlns:a="http://schemas.openxmlformats.org/drawingml/2006/main" prst="rect">
          <a:avLst/>
        </a:prstGeom>
        <a:noFill xmlns:a="http://schemas.openxmlformats.org/drawingml/2006/main"/>
        <a:ln xmlns:a="http://schemas.openxmlformats.org/drawingml/2006/main">
          <a:noFill/>
        </a:ln>
      </cdr:spPr>
      <cdr:txBody>
        <a:bodyPr xmlns:a="http://schemas.openxmlformats.org/drawingml/2006/main" vert="horz" wrap="square" lIns="91440" tIns="91440" rIns="91440" bIns="91440" rtlCol="0" anchor="ctr">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marL="0" indent="0" algn="ctr">
            <a:buFont typeface="Arial" panose="020B0604020202020204" pitchFamily="34" charset="0"/>
            <a:buNone/>
          </a:pPr>
          <a:r>
            <a:rPr lang="en-US" sz="1600" dirty="0">
              <a:solidFill>
                <a:srgbClr val="FF7638"/>
              </a:solidFill>
              <a:latin typeface="Manrope SemiBold" pitchFamily="2" charset="0"/>
            </a:rPr>
            <a:t>BESS</a:t>
          </a:r>
          <a:endParaRPr lang="en-US" sz="1600" b="0" dirty="0">
            <a:solidFill>
              <a:srgbClr val="FF7638"/>
            </a:solidFill>
            <a:latin typeface="Manrope SemiBold" pitchFamily="2" charset="0"/>
          </a:endParaRP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CDA9839-536F-4697-83E4-41C04CA983B1}" type="datetimeFigureOut">
              <a:rPr lang="en-GB" smtClean="0"/>
              <a:t>22/10/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5B01F41-92C4-4B22-B349-8580A0AF94D1}" type="slidenum">
              <a:rPr lang="en-GB" smtClean="0"/>
              <a:t>‹#›</a:t>
            </a:fld>
            <a:endParaRPr lang="en-GB"/>
          </a:p>
        </p:txBody>
      </p:sp>
    </p:spTree>
    <p:extLst>
      <p:ext uri="{BB962C8B-B14F-4D97-AF65-F5344CB8AC3E}">
        <p14:creationId xmlns:p14="http://schemas.microsoft.com/office/powerpoint/2010/main" val="310901484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A776202D-42A8-4339-8726-4FC6C3113857}" type="slidenum">
              <a:rPr lang="en-US" smtClean="0"/>
              <a:t>23</a:t>
            </a:fld>
            <a:endParaRPr lang="en-US"/>
          </a:p>
        </p:txBody>
      </p:sp>
    </p:spTree>
    <p:extLst>
      <p:ext uri="{BB962C8B-B14F-4D97-AF65-F5344CB8AC3E}">
        <p14:creationId xmlns:p14="http://schemas.microsoft.com/office/powerpoint/2010/main" val="4794974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6250" y="508000"/>
            <a:ext cx="5835650" cy="3282950"/>
          </a:xfrm>
        </p:spPr>
      </p:sp>
      <p:sp>
        <p:nvSpPr>
          <p:cNvPr id="3" name="Notes Placeholder 2"/>
          <p:cNvSpPr>
            <a:spLocks noGrp="1"/>
          </p:cNvSpPr>
          <p:nvPr>
            <p:ph type="body" idx="1"/>
          </p:nvPr>
        </p:nvSpPr>
        <p:spPr/>
        <p:txBody>
          <a:bodyPr/>
          <a:lstStyle/>
          <a:p>
            <a:pPr>
              <a:buFont typeface="Arial" panose="020B0604020202020204" pitchFamily="34" charset="0"/>
              <a:buNone/>
            </a:pPr>
            <a:endParaRPr lang="en-US" dirty="0"/>
          </a:p>
        </p:txBody>
      </p:sp>
      <p:sp>
        <p:nvSpPr>
          <p:cNvPr id="4" name="Date Placeholder 3"/>
          <p:cNvSpPr>
            <a:spLocks noGrp="1"/>
          </p:cNvSpPr>
          <p:nvPr>
            <p:ph type="dt"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B5AFA1B2-3AFA-4B18-89E5-F0921F13DAEB}" type="datetime1">
              <a:rPr kumimoji="0" lang="de-DE" sz="8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22.10.2024</a:t>
            </a:fld>
            <a:endParaRPr kumimoji="0" lang="de-DE" sz="8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Footer Placeholder 4"/>
          <p:cNvSpPr>
            <a:spLocks noGrp="1"/>
          </p:cNvSpPr>
          <p:nvPr>
            <p:ph type="ftr" sz="quarter" idx="4"/>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de-DE" sz="8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Slide Number Placeholder 5"/>
          <p:cNvSpPr>
            <a:spLocks noGrp="1"/>
          </p:cNvSpPr>
          <p:nvPr>
            <p:ph type="sldNum" sz="quarter" idx="5"/>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9CB64AB4-7874-472E-9B88-D201B44CC3AF}" type="slidenum">
              <a:rPr kumimoji="0" lang="de-DE" sz="8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47</a:t>
            </a:fld>
            <a:endParaRPr kumimoji="0" lang="de-DE" sz="8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0429094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39750" y="520700"/>
            <a:ext cx="5997575" cy="3375025"/>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9CB64AB4-7874-472E-9B88-D201B44CC3AF}" type="slidenum">
              <a:rPr kumimoji="0" lang="en-US" sz="8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48</a:t>
            </a:fld>
            <a:endParaRPr kumimoji="0" lang="en-US" sz="8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15534603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6250" y="508000"/>
            <a:ext cx="5835650" cy="3282950"/>
          </a:xfrm>
        </p:spPr>
      </p:sp>
      <p:sp>
        <p:nvSpPr>
          <p:cNvPr id="3" name="Notes Placeholder 2"/>
          <p:cNvSpPr>
            <a:spLocks noGrp="1"/>
          </p:cNvSpPr>
          <p:nvPr>
            <p:ph type="body" idx="1"/>
          </p:nvPr>
        </p:nvSpPr>
        <p:spPr/>
        <p:txBody>
          <a:bodyPr/>
          <a:lstStyle/>
          <a:p>
            <a:pPr>
              <a:buFont typeface="Arial" panose="020B0604020202020204" pitchFamily="34" charset="0"/>
              <a:buNone/>
            </a:pPr>
            <a:endParaRPr lang="en-US" dirty="0"/>
          </a:p>
          <a:p>
            <a:endParaRPr lang="en-US" dirty="0"/>
          </a:p>
        </p:txBody>
      </p:sp>
      <p:sp>
        <p:nvSpPr>
          <p:cNvPr id="4" name="Date Placeholder 3"/>
          <p:cNvSpPr>
            <a:spLocks noGrp="1"/>
          </p:cNvSpPr>
          <p:nvPr>
            <p:ph type="dt"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B5AFA1B2-3AFA-4B18-89E5-F0921F13DAEB}" type="datetime1">
              <a:rPr kumimoji="0" lang="de-DE" sz="8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22.10.2024</a:t>
            </a:fld>
            <a:endParaRPr kumimoji="0" lang="de-DE" sz="8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Footer Placeholder 4"/>
          <p:cNvSpPr>
            <a:spLocks noGrp="1"/>
          </p:cNvSpPr>
          <p:nvPr>
            <p:ph type="ftr" sz="quarter" idx="4"/>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de-DE" sz="8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Slide Number Placeholder 5"/>
          <p:cNvSpPr>
            <a:spLocks noGrp="1"/>
          </p:cNvSpPr>
          <p:nvPr>
            <p:ph type="sldNum" sz="quarter" idx="5"/>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9CB64AB4-7874-472E-9B88-D201B44CC3AF}" type="slidenum">
              <a:rPr kumimoji="0" lang="de-DE" sz="8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49</a:t>
            </a:fld>
            <a:endParaRPr kumimoji="0" lang="de-DE" sz="8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422876131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39750" y="522288"/>
            <a:ext cx="6007100" cy="3379787"/>
          </a:xfrm>
        </p:spPr>
      </p:sp>
      <p:sp>
        <p:nvSpPr>
          <p:cNvPr id="3" name="Notizenplatzhalter 2"/>
          <p:cNvSpPr>
            <a:spLocks noGrp="1"/>
          </p:cNvSpPr>
          <p:nvPr>
            <p:ph type="body" idx="1"/>
          </p:nvPr>
        </p:nvSpPr>
        <p:spPr/>
        <p:txBody>
          <a:bodyPr/>
          <a:lstStyle/>
          <a:p>
            <a:pPr>
              <a:buFont typeface="Arial" panose="020B0604020202020204" pitchFamily="34" charset="0"/>
              <a:buNone/>
            </a:pPr>
            <a:endParaRPr lang="de-DE" dirty="0"/>
          </a:p>
        </p:txBody>
      </p:sp>
      <p:sp>
        <p:nvSpPr>
          <p:cNvPr id="4" name="Datumsplatzhalter 3"/>
          <p:cNvSpPr>
            <a:spLocks noGrp="1"/>
          </p:cNvSpPr>
          <p:nvPr>
            <p:ph type="dt" idx="10"/>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4FDEDB2B-B5B7-4375-B823-31FBE2B0029B}" type="datetime1">
              <a:rPr kumimoji="0" lang="de-DE" sz="8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22.10.2024</a:t>
            </a:fld>
            <a:endParaRPr kumimoji="0" lang="de-DE" sz="8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Fußzeilenplatzhalter 4"/>
          <p:cNvSpPr>
            <a:spLocks noGrp="1"/>
          </p:cNvSpPr>
          <p:nvPr>
            <p:ph type="ftr" sz="quarter" idx="1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de-DE" sz="8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Foliennummernplatzhalter 5"/>
          <p:cNvSpPr>
            <a:spLocks noGrp="1"/>
          </p:cNvSpPr>
          <p:nvPr>
            <p:ph type="sldNum" sz="quarter" idx="12"/>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9CB64AB4-7874-472E-9B88-D201B44CC3AF}" type="slidenum">
              <a:rPr kumimoji="0" lang="de-DE" sz="8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50</a:t>
            </a:fld>
            <a:endParaRPr kumimoji="0" lang="de-DE" sz="8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61740314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6250" y="508000"/>
            <a:ext cx="5835650" cy="3282950"/>
          </a:xfrm>
        </p:spPr>
      </p:sp>
      <p:sp>
        <p:nvSpPr>
          <p:cNvPr id="3" name="Notes Placeholder 2"/>
          <p:cNvSpPr>
            <a:spLocks noGrp="1"/>
          </p:cNvSpPr>
          <p:nvPr>
            <p:ph type="body" idx="1"/>
          </p:nvPr>
        </p:nvSpPr>
        <p:spPr/>
        <p:txBody>
          <a:bodyPr/>
          <a:lstStyle/>
          <a:p>
            <a:pPr>
              <a:buFont typeface="Arial" panose="020B0604020202020204" pitchFamily="34" charset="0"/>
              <a:buChar char="•"/>
            </a:pPr>
            <a:endParaRPr lang="en-US" i="1" dirty="0"/>
          </a:p>
          <a:p>
            <a:pPr marL="0" marR="0" lvl="0" indent="0" algn="l" defTabSz="1219170" rtl="0" eaLnBrk="1" fontAlgn="auto" latinLnBrk="0" hangingPunct="1">
              <a:lnSpc>
                <a:spcPct val="100000"/>
              </a:lnSpc>
              <a:spcBef>
                <a:spcPts val="0"/>
              </a:spcBef>
              <a:spcAft>
                <a:spcPts val="600"/>
              </a:spcAft>
              <a:buClr>
                <a:srgbClr val="0071B9"/>
              </a:buClr>
              <a:buSzTx/>
              <a:buFont typeface="Wingdings" panose="05000000000000000000" pitchFamily="2" charset="2"/>
              <a:buNone/>
              <a:tabLst/>
              <a:defRPr/>
            </a:pPr>
            <a:endParaRPr lang="en-US" sz="1200" b="1" i="0" u="none" baseline="0" dirty="0">
              <a:solidFill>
                <a:srgbClr val="000000"/>
              </a:solidFill>
              <a:latin typeface="Arial"/>
            </a:endParaRPr>
          </a:p>
          <a:p>
            <a:endParaRPr lang="en-US" dirty="0"/>
          </a:p>
        </p:txBody>
      </p:sp>
      <p:sp>
        <p:nvSpPr>
          <p:cNvPr id="4" name="Date Placeholder 3"/>
          <p:cNvSpPr>
            <a:spLocks noGrp="1"/>
          </p:cNvSpPr>
          <p:nvPr>
            <p:ph type="dt"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B5AFA1B2-3AFA-4B18-89E5-F0921F13DAEB}" type="datetime1">
              <a:rPr kumimoji="0" lang="de-DE" sz="8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22.10.2024</a:t>
            </a:fld>
            <a:endParaRPr kumimoji="0" lang="de-DE" sz="8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Footer Placeholder 4"/>
          <p:cNvSpPr>
            <a:spLocks noGrp="1"/>
          </p:cNvSpPr>
          <p:nvPr>
            <p:ph type="ftr" sz="quarter" idx="4"/>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de-DE" sz="8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Slide Number Placeholder 5"/>
          <p:cNvSpPr>
            <a:spLocks noGrp="1"/>
          </p:cNvSpPr>
          <p:nvPr>
            <p:ph type="sldNum" sz="quarter" idx="5"/>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9CB64AB4-7874-472E-9B88-D201B44CC3AF}" type="slidenum">
              <a:rPr kumimoji="0" lang="de-DE" sz="8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51</a:t>
            </a:fld>
            <a:endParaRPr kumimoji="0" lang="de-DE" sz="8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409848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6250" y="508000"/>
            <a:ext cx="5835650" cy="3282950"/>
          </a:xfrm>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B5AFA1B2-3AFA-4B18-89E5-F0921F13DAEB}" type="datetime1">
              <a:rPr kumimoji="0" lang="de-DE" sz="8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22.10.2024</a:t>
            </a:fld>
            <a:endParaRPr kumimoji="0" lang="de-DE" sz="8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Footer Placeholder 4"/>
          <p:cNvSpPr>
            <a:spLocks noGrp="1"/>
          </p:cNvSpPr>
          <p:nvPr>
            <p:ph type="ftr" sz="quarter" idx="4"/>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de-DE" sz="8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Slide Number Placeholder 5"/>
          <p:cNvSpPr>
            <a:spLocks noGrp="1"/>
          </p:cNvSpPr>
          <p:nvPr>
            <p:ph type="sldNum" sz="quarter" idx="5"/>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9CB64AB4-7874-472E-9B88-D201B44CC3AF}" type="slidenum">
              <a:rPr kumimoji="0" lang="de-DE" sz="8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52</a:t>
            </a:fld>
            <a:endParaRPr kumimoji="0" lang="de-DE" sz="8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16505460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6250" y="508000"/>
            <a:ext cx="5835650" cy="3282950"/>
          </a:xfrm>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B5AFA1B2-3AFA-4B18-89E5-F0921F13DAEB}" type="datetime1">
              <a:rPr kumimoji="0" lang="de-DE" sz="8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22.10.2024</a:t>
            </a:fld>
            <a:endParaRPr kumimoji="0" lang="de-DE" sz="8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Footer Placeholder 4"/>
          <p:cNvSpPr>
            <a:spLocks noGrp="1"/>
          </p:cNvSpPr>
          <p:nvPr>
            <p:ph type="ftr" sz="quarter" idx="4"/>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de-DE" sz="8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Slide Number Placeholder 5"/>
          <p:cNvSpPr>
            <a:spLocks noGrp="1"/>
          </p:cNvSpPr>
          <p:nvPr>
            <p:ph type="sldNum" sz="quarter" idx="5"/>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9CB64AB4-7874-472E-9B88-D201B44CC3AF}" type="slidenum">
              <a:rPr kumimoji="0" lang="de-DE" sz="8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53</a:t>
            </a:fld>
            <a:endParaRPr kumimoji="0" lang="de-DE" sz="8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55665155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39750" y="522288"/>
            <a:ext cx="6007100" cy="33797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9CB64AB4-7874-472E-9B88-D201B44CC3AF}" type="slidenum">
              <a:rPr kumimoji="0" lang="de-DE" sz="8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54</a:t>
            </a:fld>
            <a:endParaRPr kumimoji="0" lang="de-DE" sz="8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03992672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B5AFA1B2-3AFA-4B18-89E5-F0921F13DAEB}" type="datetime1">
              <a:rPr kumimoji="0" lang="de-DE" sz="8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22.10.2024</a:t>
            </a:fld>
            <a:endParaRPr kumimoji="0" lang="de-DE" sz="8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Footer Placeholder 4"/>
          <p:cNvSpPr>
            <a:spLocks noGrp="1"/>
          </p:cNvSpPr>
          <p:nvPr>
            <p:ph type="ftr" sz="quarter" idx="4"/>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de-DE" sz="8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Slide Number Placeholder 5"/>
          <p:cNvSpPr>
            <a:spLocks noGrp="1"/>
          </p:cNvSpPr>
          <p:nvPr>
            <p:ph type="sldNum" sz="quarter" idx="5"/>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9CB64AB4-7874-472E-9B88-D201B44CC3AF}" type="slidenum">
              <a:rPr kumimoji="0" lang="de-DE" sz="8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58</a:t>
            </a:fld>
            <a:endParaRPr kumimoji="0" lang="de-DE" sz="8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15584271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39750" y="522288"/>
            <a:ext cx="6007100" cy="3379787"/>
          </a:xfrm>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8E38296A-48C7-46A2-838A-AA70314FA911}" type="datetime1">
              <a:rPr kumimoji="0" lang="de-DE" sz="8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22.10.2024</a:t>
            </a:fld>
            <a:endParaRPr kumimoji="0" lang="de-DE" sz="8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Footer Placeholder 4"/>
          <p:cNvSpPr>
            <a:spLocks noGrp="1"/>
          </p:cNvSpPr>
          <p:nvPr>
            <p:ph type="ftr" sz="quarter" idx="1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de-DE" sz="8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Slide Number Placeholder 5"/>
          <p:cNvSpPr>
            <a:spLocks noGrp="1"/>
          </p:cNvSpPr>
          <p:nvPr>
            <p:ph type="sldNum" sz="quarter" idx="12"/>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9CB64AB4-7874-472E-9B88-D201B44CC3AF}" type="slidenum">
              <a:rPr kumimoji="0" lang="de-DE" sz="8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59</a:t>
            </a:fld>
            <a:endParaRPr kumimoji="0" lang="de-DE" sz="8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3741735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A776202D-42A8-4339-8726-4FC6C3113857}" type="slidenum">
              <a:rPr lang="en-US" smtClean="0"/>
              <a:t>30</a:t>
            </a:fld>
            <a:endParaRPr lang="en-US"/>
          </a:p>
        </p:txBody>
      </p:sp>
    </p:spTree>
    <p:extLst>
      <p:ext uri="{BB962C8B-B14F-4D97-AF65-F5344CB8AC3E}">
        <p14:creationId xmlns:p14="http://schemas.microsoft.com/office/powerpoint/2010/main" val="56106747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6250" y="508000"/>
            <a:ext cx="5835650" cy="3282950"/>
          </a:xfrm>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B5AFA1B2-3AFA-4B18-89E5-F0921F13DAEB}" type="datetime1">
              <a:rPr kumimoji="0" lang="de-DE" sz="8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22.10.2024</a:t>
            </a:fld>
            <a:endParaRPr kumimoji="0" lang="de-DE" sz="8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Footer Placeholder 4"/>
          <p:cNvSpPr>
            <a:spLocks noGrp="1"/>
          </p:cNvSpPr>
          <p:nvPr>
            <p:ph type="ftr" sz="quarter" idx="4"/>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de-DE" sz="8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Slide Number Placeholder 5"/>
          <p:cNvSpPr>
            <a:spLocks noGrp="1"/>
          </p:cNvSpPr>
          <p:nvPr>
            <p:ph type="sldNum" sz="quarter" idx="5"/>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9CB64AB4-7874-472E-9B88-D201B44CC3AF}" type="slidenum">
              <a:rPr kumimoji="0" lang="de-DE" sz="8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60</a:t>
            </a:fld>
            <a:endParaRPr kumimoji="0" lang="de-DE" sz="8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21899805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39750" y="522288"/>
            <a:ext cx="6007100" cy="3379787"/>
          </a:xfrm>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2FA7BDDF-DB9F-49D8-A426-AC1F83ADFF1E}" type="datetime1">
              <a:rPr kumimoji="0" lang="de-DE" sz="8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22.10.2024</a:t>
            </a:fld>
            <a:endParaRPr kumimoji="0" lang="de-DE" sz="8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Footer Placeholder 4"/>
          <p:cNvSpPr>
            <a:spLocks noGrp="1"/>
          </p:cNvSpPr>
          <p:nvPr>
            <p:ph type="ftr" sz="quarter" idx="1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de-DE" sz="8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Slide Number Placeholder 5"/>
          <p:cNvSpPr>
            <a:spLocks noGrp="1"/>
          </p:cNvSpPr>
          <p:nvPr>
            <p:ph type="sldNum" sz="quarter" idx="12"/>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9CB64AB4-7874-472E-9B88-D201B44CC3AF}" type="slidenum">
              <a:rPr kumimoji="0" lang="de-DE" sz="8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61</a:t>
            </a:fld>
            <a:endParaRPr kumimoji="0" lang="de-DE" sz="8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41825398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39750" y="522288"/>
            <a:ext cx="6007100" cy="3379787"/>
          </a:xfrm>
        </p:spPr>
      </p:sp>
      <p:sp>
        <p:nvSpPr>
          <p:cNvPr id="3" name="Notes Placeholder 2"/>
          <p:cNvSpPr>
            <a:spLocks noGrp="1"/>
          </p:cNvSpPr>
          <p:nvPr>
            <p:ph type="body" idx="1"/>
          </p:nvPr>
        </p:nvSpPr>
        <p:spPr/>
        <p:txBody>
          <a:bodyPr/>
          <a:lstStyle/>
          <a:p>
            <a:r>
              <a:rPr lang="en-US" dirty="0"/>
              <a:t>.</a:t>
            </a:r>
          </a:p>
        </p:txBody>
      </p:sp>
      <p:sp>
        <p:nvSpPr>
          <p:cNvPr id="4" name="Date Placeholder 3"/>
          <p:cNvSpPr>
            <a:spLocks noGrp="1"/>
          </p:cNvSpPr>
          <p:nvPr>
            <p:ph type="dt" idx="10"/>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6204B6B1-C63E-4C11-A835-9DEEF1F95705}" type="datetime1">
              <a:rPr kumimoji="0" lang="de-DE" sz="8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22.10.2024</a:t>
            </a:fld>
            <a:endParaRPr kumimoji="0" lang="de-DE" sz="8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Footer Placeholder 4"/>
          <p:cNvSpPr>
            <a:spLocks noGrp="1"/>
          </p:cNvSpPr>
          <p:nvPr>
            <p:ph type="ftr" sz="quarter" idx="1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de-DE" sz="8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Slide Number Placeholder 5"/>
          <p:cNvSpPr>
            <a:spLocks noGrp="1"/>
          </p:cNvSpPr>
          <p:nvPr>
            <p:ph type="sldNum" sz="quarter" idx="12"/>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9CB64AB4-7874-472E-9B88-D201B44CC3AF}" type="slidenum">
              <a:rPr kumimoji="0" lang="de-DE" sz="8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62</a:t>
            </a:fld>
            <a:endParaRPr kumimoji="0" lang="de-DE" sz="8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18828452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39750" y="522288"/>
            <a:ext cx="6007100" cy="3379787"/>
          </a:xfrm>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F3B7E8A2-178D-4D3C-A9F0-C9290002185E}" type="datetime1">
              <a:rPr kumimoji="0" lang="de-DE" sz="8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22.10.2024</a:t>
            </a:fld>
            <a:endParaRPr kumimoji="0" lang="de-DE" sz="8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Footer Placeholder 4"/>
          <p:cNvSpPr>
            <a:spLocks noGrp="1"/>
          </p:cNvSpPr>
          <p:nvPr>
            <p:ph type="ftr" sz="quarter" idx="1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de-DE" sz="8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Slide Number Placeholder 5"/>
          <p:cNvSpPr>
            <a:spLocks noGrp="1"/>
          </p:cNvSpPr>
          <p:nvPr>
            <p:ph type="sldNum" sz="quarter" idx="12"/>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9CB64AB4-7874-472E-9B88-D201B44CC3AF}" type="slidenum">
              <a:rPr kumimoji="0" lang="de-DE" sz="8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63</a:t>
            </a:fld>
            <a:endParaRPr kumimoji="0" lang="de-DE" sz="8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64076384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6250" y="508000"/>
            <a:ext cx="5835650" cy="3282950"/>
          </a:xfrm>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B5AFA1B2-3AFA-4B18-89E5-F0921F13DAEB}" type="datetime1">
              <a:rPr kumimoji="0" lang="de-DE" sz="8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22.10.2024</a:t>
            </a:fld>
            <a:endParaRPr kumimoji="0" lang="de-DE" sz="8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Footer Placeholder 4"/>
          <p:cNvSpPr>
            <a:spLocks noGrp="1"/>
          </p:cNvSpPr>
          <p:nvPr>
            <p:ph type="ftr" sz="quarter" idx="4"/>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de-DE" sz="8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Slide Number Placeholder 5"/>
          <p:cNvSpPr>
            <a:spLocks noGrp="1"/>
          </p:cNvSpPr>
          <p:nvPr>
            <p:ph type="sldNum" sz="quarter" idx="5"/>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9CB64AB4-7874-472E-9B88-D201B44CC3AF}" type="slidenum">
              <a:rPr kumimoji="0" lang="de-DE" sz="8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64</a:t>
            </a:fld>
            <a:endParaRPr kumimoji="0" lang="de-DE" sz="8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3698688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6250" y="508000"/>
            <a:ext cx="5835650" cy="3282950"/>
          </a:xfrm>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B5AFA1B2-3AFA-4B18-89E5-F0921F13DAEB}" type="datetime1">
              <a:rPr kumimoji="0" lang="de-DE" sz="8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22.10.2024</a:t>
            </a:fld>
            <a:endParaRPr kumimoji="0" lang="de-DE" sz="8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Footer Placeholder 4"/>
          <p:cNvSpPr>
            <a:spLocks noGrp="1"/>
          </p:cNvSpPr>
          <p:nvPr>
            <p:ph type="ftr" sz="quarter" idx="4"/>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de-DE" sz="8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Slide Number Placeholder 5"/>
          <p:cNvSpPr>
            <a:spLocks noGrp="1"/>
          </p:cNvSpPr>
          <p:nvPr>
            <p:ph type="sldNum" sz="quarter" idx="5"/>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9CB64AB4-7874-472E-9B88-D201B44CC3AF}" type="slidenum">
              <a:rPr kumimoji="0" lang="de-DE" sz="8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65</a:t>
            </a:fld>
            <a:endParaRPr kumimoji="0" lang="de-DE" sz="8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89877059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539750" y="522288"/>
            <a:ext cx="6007100" cy="3379787"/>
          </a:xfrm>
        </p:spPr>
      </p:sp>
      <p:sp>
        <p:nvSpPr>
          <p:cNvPr id="3" name="备注占位符 2"/>
          <p:cNvSpPr>
            <a:spLocks noGrp="1"/>
          </p:cNvSpPr>
          <p:nvPr>
            <p:ph type="body" idx="1"/>
          </p:nvPr>
        </p:nvSpPr>
        <p:spPr/>
        <p:txBody>
          <a:bodyPr>
            <a:normAutofit/>
          </a:bodyPr>
          <a:lstStyle/>
          <a:p>
            <a:endParaRPr lang="zh-CN" altLang="en-US" dirty="0"/>
          </a:p>
        </p:txBody>
      </p:sp>
      <p:sp>
        <p:nvSpPr>
          <p:cNvPr id="4" name="日期占位符 3"/>
          <p:cNvSpPr>
            <a:spLocks noGrp="1"/>
          </p:cNvSpPr>
          <p:nvPr>
            <p:ph type="dt" idx="10"/>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72194DF8-E782-439B-BDDB-57FC4405B82C}" type="datetime1">
              <a:rPr kumimoji="0" lang="de-DE" sz="8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22.10.2024</a:t>
            </a:fld>
            <a:endParaRPr kumimoji="0" lang="de-DE" sz="8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页脚占位符 4"/>
          <p:cNvSpPr>
            <a:spLocks noGrp="1"/>
          </p:cNvSpPr>
          <p:nvPr>
            <p:ph type="ftr" sz="quarter" idx="1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de-DE" sz="8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灯片编号占位符 5"/>
          <p:cNvSpPr>
            <a:spLocks noGrp="1"/>
          </p:cNvSpPr>
          <p:nvPr>
            <p:ph type="sldNum" sz="quarter" idx="12"/>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9CB64AB4-7874-472E-9B88-D201B44CC3AF}" type="slidenum">
              <a:rPr kumimoji="0" lang="de-DE" sz="8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66</a:t>
            </a:fld>
            <a:endParaRPr kumimoji="0" lang="de-DE" sz="8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62907724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6250" y="508000"/>
            <a:ext cx="5835650" cy="3282950"/>
          </a:xfrm>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B5AFA1B2-3AFA-4B18-89E5-F0921F13DAEB}" type="datetime1">
              <a:rPr kumimoji="0" lang="de-DE" sz="8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22.10.2024</a:t>
            </a:fld>
            <a:endParaRPr kumimoji="0" lang="de-DE" sz="8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Footer Placeholder 4"/>
          <p:cNvSpPr>
            <a:spLocks noGrp="1"/>
          </p:cNvSpPr>
          <p:nvPr>
            <p:ph type="ftr" sz="quarter" idx="4"/>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de-DE" sz="8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Slide Number Placeholder 5"/>
          <p:cNvSpPr>
            <a:spLocks noGrp="1"/>
          </p:cNvSpPr>
          <p:nvPr>
            <p:ph type="sldNum" sz="quarter" idx="5"/>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9CB64AB4-7874-472E-9B88-D201B44CC3AF}" type="slidenum">
              <a:rPr kumimoji="0" lang="de-DE" sz="8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67</a:t>
            </a:fld>
            <a:endParaRPr kumimoji="0" lang="de-DE" sz="8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81034599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39750" y="522288"/>
            <a:ext cx="6007100" cy="3379787"/>
          </a:xfrm>
        </p:spPr>
      </p:sp>
      <p:sp>
        <p:nvSpPr>
          <p:cNvPr id="3" name="Notes Placeholder 2"/>
          <p:cNvSpPr>
            <a:spLocks noGrp="1"/>
          </p:cNvSpPr>
          <p:nvPr>
            <p:ph type="body" idx="1"/>
          </p:nvPr>
        </p:nvSpPr>
        <p:spPr/>
        <p:txBody>
          <a:bodyPr/>
          <a:lstStyle/>
          <a:p>
            <a:endParaRPr lang="en-US" sz="2800" dirty="0"/>
          </a:p>
        </p:txBody>
      </p:sp>
      <p:sp>
        <p:nvSpPr>
          <p:cNvPr id="4" name="Slide Number Placeholder 3"/>
          <p:cNvSpPr>
            <a:spLocks noGrp="1"/>
          </p:cNvSpPr>
          <p:nvPr>
            <p:ph type="sldNum" sz="quarter" idx="10"/>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9CB64AB4-7874-472E-9B88-D201B44CC3AF}" type="slidenum">
              <a:rPr kumimoji="0" lang="de-DE" sz="8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68</a:t>
            </a:fld>
            <a:endParaRPr kumimoji="0" lang="de-DE" sz="8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23599088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6250" y="508000"/>
            <a:ext cx="5835650" cy="3282950"/>
          </a:xfrm>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B5AFA1B2-3AFA-4B18-89E5-F0921F13DAEB}" type="datetime1">
              <a:rPr kumimoji="0" lang="de-DE" sz="8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22.10.2024</a:t>
            </a:fld>
            <a:endParaRPr kumimoji="0" lang="de-DE" sz="8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Footer Placeholder 4"/>
          <p:cNvSpPr>
            <a:spLocks noGrp="1"/>
          </p:cNvSpPr>
          <p:nvPr>
            <p:ph type="ftr" sz="quarter" idx="4"/>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de-DE" sz="8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Slide Number Placeholder 5"/>
          <p:cNvSpPr>
            <a:spLocks noGrp="1"/>
          </p:cNvSpPr>
          <p:nvPr>
            <p:ph type="sldNum" sz="quarter" idx="5"/>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9CB64AB4-7874-472E-9B88-D201B44CC3AF}" type="slidenum">
              <a:rPr kumimoji="0" lang="de-DE" sz="8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69</a:t>
            </a:fld>
            <a:endParaRPr kumimoji="0" lang="de-DE" sz="8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41304636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6CB1AD-D840-BD0D-9F48-58B53404415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D150D7-4A53-A164-FC9A-1DEFB539412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56A8F89-4CA7-D01D-67FB-DE7ADB6FF1EC}"/>
              </a:ext>
            </a:extLst>
          </p:cNvPr>
          <p:cNvSpPr>
            <a:spLocks noGrp="1"/>
          </p:cNvSpPr>
          <p:nvPr>
            <p:ph type="body" idx="1"/>
          </p:nvPr>
        </p:nvSpPr>
        <p:spPr/>
        <p:txBody>
          <a:bodyPr/>
          <a:lstStyle/>
          <a:p>
            <a:endParaRPr lang="en-CA"/>
          </a:p>
        </p:txBody>
      </p:sp>
      <p:sp>
        <p:nvSpPr>
          <p:cNvPr id="4" name="Slide Number Placeholder 3">
            <a:extLst>
              <a:ext uri="{FF2B5EF4-FFF2-40B4-BE49-F238E27FC236}">
                <a16:creationId xmlns:a16="http://schemas.microsoft.com/office/drawing/2014/main" id="{C446C6F1-70ED-0A21-9577-A611FF042B8E}"/>
              </a:ext>
            </a:extLst>
          </p:cNvPr>
          <p:cNvSpPr>
            <a:spLocks noGrp="1"/>
          </p:cNvSpPr>
          <p:nvPr>
            <p:ph type="sldNum" sz="quarter" idx="5"/>
          </p:nvPr>
        </p:nvSpPr>
        <p:spPr/>
        <p:txBody>
          <a:bodyPr/>
          <a:lstStyle/>
          <a:p>
            <a:fld id="{A776202D-42A8-4339-8726-4FC6C3113857}" type="slidenum">
              <a:rPr lang="en-US" smtClean="0"/>
              <a:t>32</a:t>
            </a:fld>
            <a:endParaRPr lang="en-US"/>
          </a:p>
        </p:txBody>
      </p:sp>
    </p:spTree>
    <p:extLst>
      <p:ext uri="{BB962C8B-B14F-4D97-AF65-F5344CB8AC3E}">
        <p14:creationId xmlns:p14="http://schemas.microsoft.com/office/powerpoint/2010/main" val="5622709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D7373E-BCF4-9855-7ABC-C15AACA5704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BF00001-87A9-6E66-45D0-00EE24D3B99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C1146E1-24B6-6FA3-2FF4-6D930D656168}"/>
              </a:ext>
            </a:extLst>
          </p:cNvPr>
          <p:cNvSpPr>
            <a:spLocks noGrp="1"/>
          </p:cNvSpPr>
          <p:nvPr>
            <p:ph type="body" idx="1"/>
          </p:nvPr>
        </p:nvSpPr>
        <p:spPr/>
        <p:txBody>
          <a:bodyPr/>
          <a:lstStyle/>
          <a:p>
            <a:endParaRPr lang="en-CA"/>
          </a:p>
        </p:txBody>
      </p:sp>
      <p:sp>
        <p:nvSpPr>
          <p:cNvPr id="4" name="Slide Number Placeholder 3">
            <a:extLst>
              <a:ext uri="{FF2B5EF4-FFF2-40B4-BE49-F238E27FC236}">
                <a16:creationId xmlns:a16="http://schemas.microsoft.com/office/drawing/2014/main" id="{B718BD2D-D9FC-130A-CD27-BAF248261890}"/>
              </a:ext>
            </a:extLst>
          </p:cNvPr>
          <p:cNvSpPr>
            <a:spLocks noGrp="1"/>
          </p:cNvSpPr>
          <p:nvPr>
            <p:ph type="sldNum" sz="quarter" idx="5"/>
          </p:nvPr>
        </p:nvSpPr>
        <p:spPr/>
        <p:txBody>
          <a:bodyPr/>
          <a:lstStyle/>
          <a:p>
            <a:fld id="{A776202D-42A8-4339-8726-4FC6C3113857}" type="slidenum">
              <a:rPr lang="en-US" smtClean="0"/>
              <a:t>33</a:t>
            </a:fld>
            <a:endParaRPr lang="en-US"/>
          </a:p>
        </p:txBody>
      </p:sp>
    </p:spTree>
    <p:extLst>
      <p:ext uri="{BB962C8B-B14F-4D97-AF65-F5344CB8AC3E}">
        <p14:creationId xmlns:p14="http://schemas.microsoft.com/office/powerpoint/2010/main" val="4475264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CC1B0D-778F-E02C-84AB-9CBFF749A89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7B10B8A-C0A4-C772-12A9-707912973C2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8ED47D8-45A8-3A6B-BE89-9C36B7ED2529}"/>
              </a:ext>
            </a:extLst>
          </p:cNvPr>
          <p:cNvSpPr>
            <a:spLocks noGrp="1"/>
          </p:cNvSpPr>
          <p:nvPr>
            <p:ph type="body" idx="1"/>
          </p:nvPr>
        </p:nvSpPr>
        <p:spPr/>
        <p:txBody>
          <a:bodyPr/>
          <a:lstStyle/>
          <a:p>
            <a:endParaRPr lang="en-CA"/>
          </a:p>
        </p:txBody>
      </p:sp>
      <p:sp>
        <p:nvSpPr>
          <p:cNvPr id="4" name="Slide Number Placeholder 3">
            <a:extLst>
              <a:ext uri="{FF2B5EF4-FFF2-40B4-BE49-F238E27FC236}">
                <a16:creationId xmlns:a16="http://schemas.microsoft.com/office/drawing/2014/main" id="{6B6CE7B2-E4BE-2E8A-6625-97FE65F38276}"/>
              </a:ext>
            </a:extLst>
          </p:cNvPr>
          <p:cNvSpPr>
            <a:spLocks noGrp="1"/>
          </p:cNvSpPr>
          <p:nvPr>
            <p:ph type="sldNum" sz="quarter" idx="5"/>
          </p:nvPr>
        </p:nvSpPr>
        <p:spPr/>
        <p:txBody>
          <a:bodyPr/>
          <a:lstStyle/>
          <a:p>
            <a:fld id="{A776202D-42A8-4339-8726-4FC6C3113857}" type="slidenum">
              <a:rPr lang="en-US" smtClean="0"/>
              <a:t>34</a:t>
            </a:fld>
            <a:endParaRPr lang="en-US"/>
          </a:p>
        </p:txBody>
      </p:sp>
    </p:spTree>
    <p:extLst>
      <p:ext uri="{BB962C8B-B14F-4D97-AF65-F5344CB8AC3E}">
        <p14:creationId xmlns:p14="http://schemas.microsoft.com/office/powerpoint/2010/main" val="29379724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038BFC-004B-D52D-C956-ED94C0A286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9BCDFAB-39D5-9F11-2A79-C9F4205E2FA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810C31E-864F-AA02-5195-821C1BA4B87A}"/>
              </a:ext>
            </a:extLst>
          </p:cNvPr>
          <p:cNvSpPr>
            <a:spLocks noGrp="1"/>
          </p:cNvSpPr>
          <p:nvPr>
            <p:ph type="body" idx="1"/>
          </p:nvPr>
        </p:nvSpPr>
        <p:spPr/>
        <p:txBody>
          <a:bodyPr/>
          <a:lstStyle/>
          <a:p>
            <a:endParaRPr lang="en-CA"/>
          </a:p>
        </p:txBody>
      </p:sp>
      <p:sp>
        <p:nvSpPr>
          <p:cNvPr id="4" name="Slide Number Placeholder 3">
            <a:extLst>
              <a:ext uri="{FF2B5EF4-FFF2-40B4-BE49-F238E27FC236}">
                <a16:creationId xmlns:a16="http://schemas.microsoft.com/office/drawing/2014/main" id="{DFE3F241-722E-52CA-CD35-E43CC3AA4343}"/>
              </a:ext>
            </a:extLst>
          </p:cNvPr>
          <p:cNvSpPr>
            <a:spLocks noGrp="1"/>
          </p:cNvSpPr>
          <p:nvPr>
            <p:ph type="sldNum" sz="quarter" idx="5"/>
          </p:nvPr>
        </p:nvSpPr>
        <p:spPr/>
        <p:txBody>
          <a:bodyPr/>
          <a:lstStyle/>
          <a:p>
            <a:fld id="{A776202D-42A8-4339-8726-4FC6C3113857}" type="slidenum">
              <a:rPr lang="en-US" smtClean="0"/>
              <a:t>35</a:t>
            </a:fld>
            <a:endParaRPr lang="en-US"/>
          </a:p>
        </p:txBody>
      </p:sp>
    </p:spTree>
    <p:extLst>
      <p:ext uri="{BB962C8B-B14F-4D97-AF65-F5344CB8AC3E}">
        <p14:creationId xmlns:p14="http://schemas.microsoft.com/office/powerpoint/2010/main" val="5062340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1B868C-3871-4734-2056-CA2EA113E2E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9677A22-A969-F62C-60C4-E89053D8454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9F7E8B3-DF97-729C-5487-CBD8E7982C38}"/>
              </a:ext>
            </a:extLst>
          </p:cNvPr>
          <p:cNvSpPr>
            <a:spLocks noGrp="1"/>
          </p:cNvSpPr>
          <p:nvPr>
            <p:ph type="body" idx="1"/>
          </p:nvPr>
        </p:nvSpPr>
        <p:spPr/>
        <p:txBody>
          <a:bodyPr/>
          <a:lstStyle/>
          <a:p>
            <a:endParaRPr lang="en-CA"/>
          </a:p>
        </p:txBody>
      </p:sp>
      <p:sp>
        <p:nvSpPr>
          <p:cNvPr id="4" name="Slide Number Placeholder 3">
            <a:extLst>
              <a:ext uri="{FF2B5EF4-FFF2-40B4-BE49-F238E27FC236}">
                <a16:creationId xmlns:a16="http://schemas.microsoft.com/office/drawing/2014/main" id="{16617ECE-D35F-CA0F-BE53-F2BC2F75A908}"/>
              </a:ext>
            </a:extLst>
          </p:cNvPr>
          <p:cNvSpPr>
            <a:spLocks noGrp="1"/>
          </p:cNvSpPr>
          <p:nvPr>
            <p:ph type="sldNum" sz="quarter" idx="5"/>
          </p:nvPr>
        </p:nvSpPr>
        <p:spPr/>
        <p:txBody>
          <a:bodyPr/>
          <a:lstStyle/>
          <a:p>
            <a:fld id="{A776202D-42A8-4339-8726-4FC6C3113857}" type="slidenum">
              <a:rPr lang="en-US" smtClean="0"/>
              <a:t>36</a:t>
            </a:fld>
            <a:endParaRPr lang="en-US"/>
          </a:p>
        </p:txBody>
      </p:sp>
    </p:spTree>
    <p:extLst>
      <p:ext uri="{BB962C8B-B14F-4D97-AF65-F5344CB8AC3E}">
        <p14:creationId xmlns:p14="http://schemas.microsoft.com/office/powerpoint/2010/main" val="39500298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A96E73-718A-82A2-8E22-5C4F2CA23A6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5F75EDE-A842-7D42-458D-3D201FF04EA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22F6C2F-74AD-F44C-6313-A81F5C45CBFC}"/>
              </a:ext>
            </a:extLst>
          </p:cNvPr>
          <p:cNvSpPr>
            <a:spLocks noGrp="1"/>
          </p:cNvSpPr>
          <p:nvPr>
            <p:ph type="body" idx="1"/>
          </p:nvPr>
        </p:nvSpPr>
        <p:spPr/>
        <p:txBody>
          <a:bodyPr/>
          <a:lstStyle/>
          <a:p>
            <a:endParaRPr lang="en-CA"/>
          </a:p>
        </p:txBody>
      </p:sp>
      <p:sp>
        <p:nvSpPr>
          <p:cNvPr id="4" name="Slide Number Placeholder 3">
            <a:extLst>
              <a:ext uri="{FF2B5EF4-FFF2-40B4-BE49-F238E27FC236}">
                <a16:creationId xmlns:a16="http://schemas.microsoft.com/office/drawing/2014/main" id="{D6F6DBFB-494A-4CC8-CEB3-C2DE436EE031}"/>
              </a:ext>
            </a:extLst>
          </p:cNvPr>
          <p:cNvSpPr>
            <a:spLocks noGrp="1"/>
          </p:cNvSpPr>
          <p:nvPr>
            <p:ph type="sldNum" sz="quarter" idx="5"/>
          </p:nvPr>
        </p:nvSpPr>
        <p:spPr/>
        <p:txBody>
          <a:bodyPr/>
          <a:lstStyle/>
          <a:p>
            <a:fld id="{A776202D-42A8-4339-8726-4FC6C3113857}" type="slidenum">
              <a:rPr lang="en-US" smtClean="0"/>
              <a:t>37</a:t>
            </a:fld>
            <a:endParaRPr lang="en-US"/>
          </a:p>
        </p:txBody>
      </p:sp>
    </p:spTree>
    <p:extLst>
      <p:ext uri="{BB962C8B-B14F-4D97-AF65-F5344CB8AC3E}">
        <p14:creationId xmlns:p14="http://schemas.microsoft.com/office/powerpoint/2010/main" val="6672454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7838" y="508000"/>
            <a:ext cx="5832475" cy="3282950"/>
          </a:xfrm>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B5AFA1B2-3AFA-4B18-89E5-F0921F13DAEB}" type="datetime1">
              <a:rPr kumimoji="0" lang="de-DE" sz="8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22.10.2024</a:t>
            </a:fld>
            <a:endParaRPr kumimoji="0" lang="de-DE" sz="8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Footer Placeholder 4"/>
          <p:cNvSpPr>
            <a:spLocks noGrp="1"/>
          </p:cNvSpPr>
          <p:nvPr>
            <p:ph type="ftr" sz="quarter" idx="4"/>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de-DE" sz="8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Slide Number Placeholder 5"/>
          <p:cNvSpPr>
            <a:spLocks noGrp="1"/>
          </p:cNvSpPr>
          <p:nvPr>
            <p:ph type="sldNum" sz="quarter" idx="5"/>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9CB64AB4-7874-472E-9B88-D201B44CC3AF}" type="slidenum">
              <a:rPr kumimoji="0" lang="de-DE" sz="8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46</a:t>
            </a:fld>
            <a:endParaRPr kumimoji="0" lang="de-DE" sz="8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87664878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8.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1.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2.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3.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4.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5.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6.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7.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8.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9.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1.xml"/></Relationships>
</file>

<file path=ppt/slideLayouts/_rels/slideLayout3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2.xml"/></Relationships>
</file>

<file path=ppt/slideLayouts/_rels/slideLayout3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3.xml"/></Relationships>
</file>

<file path=ppt/slideLayouts/_rels/slideLayout3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5.xml"/></Relationships>
</file>

<file path=ppt/slideLayouts/_rels/slideLayout3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7.xml"/></Relationships>
</file>

<file path=ppt/slideLayouts/_rels/slideLayout4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8.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9.xml"/></Relationships>
</file>

<file path=ppt/slideLayouts/_rels/slideLayout4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0.xml"/></Relationships>
</file>

<file path=ppt/slideLayouts/_rels/slideLayout4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2BF906-CC11-3270-B16C-1B67A7AA1CC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84E13AB1-44A3-92F1-957F-DFDB79AABD6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9608DC70-A3EB-6560-0690-544336A3471C}"/>
              </a:ext>
            </a:extLst>
          </p:cNvPr>
          <p:cNvSpPr>
            <a:spLocks noGrp="1"/>
          </p:cNvSpPr>
          <p:nvPr>
            <p:ph type="dt" sz="half" idx="10"/>
          </p:nvPr>
        </p:nvSpPr>
        <p:spPr/>
        <p:txBody>
          <a:bodyPr/>
          <a:lstStyle/>
          <a:p>
            <a:fld id="{8E2DC9B0-CADE-4BCF-8B5E-A3E36D03AA2F}" type="datetimeFigureOut">
              <a:rPr lang="en-GB" smtClean="0"/>
              <a:t>22/10/2024</a:t>
            </a:fld>
            <a:endParaRPr lang="en-GB"/>
          </a:p>
        </p:txBody>
      </p:sp>
      <p:sp>
        <p:nvSpPr>
          <p:cNvPr id="5" name="Footer Placeholder 4">
            <a:extLst>
              <a:ext uri="{FF2B5EF4-FFF2-40B4-BE49-F238E27FC236}">
                <a16:creationId xmlns:a16="http://schemas.microsoft.com/office/drawing/2014/main" id="{8260A04A-9AC6-0024-A4B0-578717CF53F9}"/>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D8C244A2-4C74-689C-C879-54F0586D0A68}"/>
              </a:ext>
            </a:extLst>
          </p:cNvPr>
          <p:cNvSpPr>
            <a:spLocks noGrp="1"/>
          </p:cNvSpPr>
          <p:nvPr>
            <p:ph type="sldNum" sz="quarter" idx="12"/>
          </p:nvPr>
        </p:nvSpPr>
        <p:spPr/>
        <p:txBody>
          <a:bodyPr/>
          <a:lstStyle/>
          <a:p>
            <a:fld id="{3DBB904D-600E-4758-B075-158E5AAE9766}" type="slidenum">
              <a:rPr lang="en-GB" smtClean="0"/>
              <a:t>‹#›</a:t>
            </a:fld>
            <a:endParaRPr lang="en-GB"/>
          </a:p>
        </p:txBody>
      </p:sp>
    </p:spTree>
    <p:extLst>
      <p:ext uri="{BB962C8B-B14F-4D97-AF65-F5344CB8AC3E}">
        <p14:creationId xmlns:p14="http://schemas.microsoft.com/office/powerpoint/2010/main" val="39486379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2C33B7-4473-745E-CE37-2EE40E54E148}"/>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9805C009-4F38-76F5-C041-DE138A29B68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CFD94C33-17CE-3A22-C95C-B4AB3D151580}"/>
              </a:ext>
            </a:extLst>
          </p:cNvPr>
          <p:cNvSpPr>
            <a:spLocks noGrp="1"/>
          </p:cNvSpPr>
          <p:nvPr>
            <p:ph type="dt" sz="half" idx="10"/>
          </p:nvPr>
        </p:nvSpPr>
        <p:spPr/>
        <p:txBody>
          <a:bodyPr/>
          <a:lstStyle/>
          <a:p>
            <a:fld id="{8E2DC9B0-CADE-4BCF-8B5E-A3E36D03AA2F}" type="datetimeFigureOut">
              <a:rPr lang="en-GB" smtClean="0"/>
              <a:t>22/10/2024</a:t>
            </a:fld>
            <a:endParaRPr lang="en-GB"/>
          </a:p>
        </p:txBody>
      </p:sp>
      <p:sp>
        <p:nvSpPr>
          <p:cNvPr id="5" name="Footer Placeholder 4">
            <a:extLst>
              <a:ext uri="{FF2B5EF4-FFF2-40B4-BE49-F238E27FC236}">
                <a16:creationId xmlns:a16="http://schemas.microsoft.com/office/drawing/2014/main" id="{C51C1C57-6FE3-F50A-05F1-D2DD59C9F299}"/>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2C27A80-4B76-B1D8-3FBD-AE266D68BD32}"/>
              </a:ext>
            </a:extLst>
          </p:cNvPr>
          <p:cNvSpPr>
            <a:spLocks noGrp="1"/>
          </p:cNvSpPr>
          <p:nvPr>
            <p:ph type="sldNum" sz="quarter" idx="12"/>
          </p:nvPr>
        </p:nvSpPr>
        <p:spPr/>
        <p:txBody>
          <a:bodyPr/>
          <a:lstStyle/>
          <a:p>
            <a:fld id="{3DBB904D-600E-4758-B075-158E5AAE9766}" type="slidenum">
              <a:rPr lang="en-GB" smtClean="0"/>
              <a:t>‹#›</a:t>
            </a:fld>
            <a:endParaRPr lang="en-GB"/>
          </a:p>
        </p:txBody>
      </p:sp>
    </p:spTree>
    <p:extLst>
      <p:ext uri="{BB962C8B-B14F-4D97-AF65-F5344CB8AC3E}">
        <p14:creationId xmlns:p14="http://schemas.microsoft.com/office/powerpoint/2010/main" val="16009738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AD80084-CB0C-380C-16C0-684FF8ED6C1D}"/>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4BCD6E33-99CD-6646-28C7-44C63756A11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E6B91890-B09A-6F4A-6025-3EDDE6BE4149}"/>
              </a:ext>
            </a:extLst>
          </p:cNvPr>
          <p:cNvSpPr>
            <a:spLocks noGrp="1"/>
          </p:cNvSpPr>
          <p:nvPr>
            <p:ph type="dt" sz="half" idx="10"/>
          </p:nvPr>
        </p:nvSpPr>
        <p:spPr/>
        <p:txBody>
          <a:bodyPr/>
          <a:lstStyle/>
          <a:p>
            <a:fld id="{8E2DC9B0-CADE-4BCF-8B5E-A3E36D03AA2F}" type="datetimeFigureOut">
              <a:rPr lang="en-GB" smtClean="0"/>
              <a:t>22/10/2024</a:t>
            </a:fld>
            <a:endParaRPr lang="en-GB"/>
          </a:p>
        </p:txBody>
      </p:sp>
      <p:sp>
        <p:nvSpPr>
          <p:cNvPr id="5" name="Footer Placeholder 4">
            <a:extLst>
              <a:ext uri="{FF2B5EF4-FFF2-40B4-BE49-F238E27FC236}">
                <a16:creationId xmlns:a16="http://schemas.microsoft.com/office/drawing/2014/main" id="{F2A0034F-F7EA-BA2D-6D91-B36508388C5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5903AE5A-320C-2846-CF3F-AD48601CA2E2}"/>
              </a:ext>
            </a:extLst>
          </p:cNvPr>
          <p:cNvSpPr>
            <a:spLocks noGrp="1"/>
          </p:cNvSpPr>
          <p:nvPr>
            <p:ph type="sldNum" sz="quarter" idx="12"/>
          </p:nvPr>
        </p:nvSpPr>
        <p:spPr/>
        <p:txBody>
          <a:bodyPr/>
          <a:lstStyle/>
          <a:p>
            <a:fld id="{3DBB904D-600E-4758-B075-158E5AAE9766}" type="slidenum">
              <a:rPr lang="en-GB" smtClean="0"/>
              <a:t>‹#›</a:t>
            </a:fld>
            <a:endParaRPr lang="en-GB"/>
          </a:p>
        </p:txBody>
      </p:sp>
    </p:spTree>
    <p:extLst>
      <p:ext uri="{BB962C8B-B14F-4D97-AF65-F5344CB8AC3E}">
        <p14:creationId xmlns:p14="http://schemas.microsoft.com/office/powerpoint/2010/main" val="180251089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Presentation Title w Subtitle">
    <p:bg>
      <p:bgPr>
        <a:solidFill>
          <a:srgbClr val="013A55"/>
        </a:solidFill>
        <a:effectLst/>
      </p:bgPr>
    </p:bg>
    <p:spTree>
      <p:nvGrpSpPr>
        <p:cNvPr id="1" name=""/>
        <p:cNvGrpSpPr/>
        <p:nvPr/>
      </p:nvGrpSpPr>
      <p:grpSpPr>
        <a:xfrm>
          <a:off x="0" y="0"/>
          <a:ext cx="0" cy="0"/>
          <a:chOff x="0" y="0"/>
          <a:chExt cx="0" cy="0"/>
        </a:xfrm>
      </p:grpSpPr>
      <p:pic>
        <p:nvPicPr>
          <p:cNvPr id="254" name="Picture 253" descr="A black background with blue lines&#10;&#10;Description automatically generated">
            <a:extLst>
              <a:ext uri="{FF2B5EF4-FFF2-40B4-BE49-F238E27FC236}">
                <a16:creationId xmlns:a16="http://schemas.microsoft.com/office/drawing/2014/main" id="{118DB720-74EF-92E0-DAD2-EBBAC4576A7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3580" b="11418"/>
          <a:stretch/>
        </p:blipFill>
        <p:spPr>
          <a:xfrm>
            <a:off x="3162301" y="1"/>
            <a:ext cx="9033624" cy="6858000"/>
          </a:xfrm>
          <a:prstGeom prst="rect">
            <a:avLst/>
          </a:prstGeom>
        </p:spPr>
      </p:pic>
      <p:pic>
        <p:nvPicPr>
          <p:cNvPr id="8" name="Picture 7" descr="Text&#10;&#10;Description automatically generated with medium confidence">
            <a:extLst>
              <a:ext uri="{FF2B5EF4-FFF2-40B4-BE49-F238E27FC236}">
                <a16:creationId xmlns:a16="http://schemas.microsoft.com/office/drawing/2014/main" id="{029F00CB-9FE1-0F79-BA0F-89E9B50F2D5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55576" y="188913"/>
            <a:ext cx="2210335" cy="523850"/>
          </a:xfrm>
          <a:prstGeom prst="rect">
            <a:avLst/>
          </a:prstGeom>
        </p:spPr>
      </p:pic>
      <p:sp>
        <p:nvSpPr>
          <p:cNvPr id="2" name="Title 1">
            <a:extLst>
              <a:ext uri="{FF2B5EF4-FFF2-40B4-BE49-F238E27FC236}">
                <a16:creationId xmlns:a16="http://schemas.microsoft.com/office/drawing/2014/main" id="{B3C86886-3A74-C218-8C27-3EAECAA9DB47}"/>
              </a:ext>
            </a:extLst>
          </p:cNvPr>
          <p:cNvSpPr>
            <a:spLocks noGrp="1"/>
          </p:cNvSpPr>
          <p:nvPr>
            <p:ph type="ctrTitle" hasCustomPrompt="1"/>
          </p:nvPr>
        </p:nvSpPr>
        <p:spPr>
          <a:xfrm>
            <a:off x="155576" y="2743200"/>
            <a:ext cx="9736836" cy="1371600"/>
          </a:xfrm>
          <a:prstGeom prst="rect">
            <a:avLst/>
          </a:prstGeom>
          <a:solidFill>
            <a:srgbClr val="013A55"/>
          </a:solidFill>
          <a:ln>
            <a:noFill/>
          </a:ln>
        </p:spPr>
        <p:txBody>
          <a:bodyPr anchor="ctr"/>
          <a:lstStyle>
            <a:lvl1pPr algn="l">
              <a:defRPr sz="5400">
                <a:solidFill>
                  <a:schemeClr val="bg1"/>
                </a:solidFill>
                <a:latin typeface="Marcellus" panose="020E0602050203020307" pitchFamily="34" charset="0"/>
                <a:ea typeface="Inter Black" panose="02000503000000020004" pitchFamily="2" charset="0"/>
              </a:defRPr>
            </a:lvl1pPr>
          </a:lstStyle>
          <a:p>
            <a:r>
              <a:rPr lang="en-US"/>
              <a:t>Click To Edit Presentation Title</a:t>
            </a:r>
            <a:endParaRPr lang="en-CA"/>
          </a:p>
        </p:txBody>
      </p:sp>
      <p:sp>
        <p:nvSpPr>
          <p:cNvPr id="3" name="Subtitle 2">
            <a:extLst>
              <a:ext uri="{FF2B5EF4-FFF2-40B4-BE49-F238E27FC236}">
                <a16:creationId xmlns:a16="http://schemas.microsoft.com/office/drawing/2014/main" id="{3238D001-DC02-2975-CDFB-BFD8AD12447C}"/>
              </a:ext>
            </a:extLst>
          </p:cNvPr>
          <p:cNvSpPr>
            <a:spLocks noGrp="1"/>
          </p:cNvSpPr>
          <p:nvPr>
            <p:ph type="subTitle" idx="1" hasCustomPrompt="1"/>
          </p:nvPr>
        </p:nvSpPr>
        <p:spPr>
          <a:xfrm>
            <a:off x="155575" y="5570013"/>
            <a:ext cx="2867067" cy="950742"/>
          </a:xfrm>
          <a:prstGeom prst="rect">
            <a:avLst/>
          </a:prstGeom>
          <a:solidFill>
            <a:srgbClr val="013A55"/>
          </a:solidFill>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date or tertiary info</a:t>
            </a:r>
            <a:endParaRPr lang="en-CA"/>
          </a:p>
        </p:txBody>
      </p:sp>
      <p:sp>
        <p:nvSpPr>
          <p:cNvPr id="7" name="Text Placeholder 6">
            <a:extLst>
              <a:ext uri="{FF2B5EF4-FFF2-40B4-BE49-F238E27FC236}">
                <a16:creationId xmlns:a16="http://schemas.microsoft.com/office/drawing/2014/main" id="{318B7D0B-19BD-AE8F-3119-49643900838D}"/>
              </a:ext>
            </a:extLst>
          </p:cNvPr>
          <p:cNvSpPr>
            <a:spLocks noGrp="1"/>
          </p:cNvSpPr>
          <p:nvPr>
            <p:ph type="body" sz="quarter" idx="13" hasCustomPrompt="1"/>
          </p:nvPr>
        </p:nvSpPr>
        <p:spPr>
          <a:xfrm>
            <a:off x="156274" y="3887998"/>
            <a:ext cx="9736138" cy="822960"/>
          </a:xfrm>
          <a:prstGeom prst="rect">
            <a:avLst/>
          </a:prstGeom>
          <a:solidFill>
            <a:schemeClr val="tx2"/>
          </a:solidFill>
          <a:ln>
            <a:noFill/>
          </a:ln>
        </p:spPr>
        <p:txBody>
          <a:bodyPr anchor="ctr"/>
          <a:lstStyle>
            <a:lvl1pPr marL="0" indent="0">
              <a:buNone/>
              <a:defRPr sz="2800" b="1">
                <a:solidFill>
                  <a:schemeClr val="accent2"/>
                </a:solidFill>
                <a:latin typeface="+mj-lt"/>
              </a:defRPr>
            </a:lvl1pPr>
            <a:lvl2pPr marL="457200" indent="0">
              <a:buNone/>
              <a:defRPr sz="2000" b="1">
                <a:solidFill>
                  <a:schemeClr val="accent2"/>
                </a:solidFill>
                <a:latin typeface="+mj-lt"/>
              </a:defRPr>
            </a:lvl2pPr>
            <a:lvl3pPr marL="914400" indent="0">
              <a:buNone/>
              <a:defRPr sz="2000" b="1">
                <a:solidFill>
                  <a:schemeClr val="accent2"/>
                </a:solidFill>
                <a:latin typeface="+mj-lt"/>
              </a:defRPr>
            </a:lvl3pPr>
            <a:lvl4pPr marL="1371600" indent="0">
              <a:buNone/>
              <a:defRPr sz="2000" b="1">
                <a:solidFill>
                  <a:schemeClr val="accent2"/>
                </a:solidFill>
                <a:latin typeface="+mj-lt"/>
              </a:defRPr>
            </a:lvl4pPr>
            <a:lvl5pPr marL="1828800" indent="0">
              <a:buNone/>
              <a:defRPr sz="2000" b="1">
                <a:solidFill>
                  <a:schemeClr val="accent2"/>
                </a:solidFill>
                <a:latin typeface="+mj-lt"/>
              </a:defRPr>
            </a:lvl5pPr>
          </a:lstStyle>
          <a:p>
            <a:pPr lvl="0"/>
            <a:r>
              <a:rPr lang="en-US"/>
              <a:t>Click to Edit Subtitle</a:t>
            </a:r>
          </a:p>
        </p:txBody>
      </p:sp>
    </p:spTree>
    <p:extLst>
      <p:ext uri="{BB962C8B-B14F-4D97-AF65-F5344CB8AC3E}">
        <p14:creationId xmlns:p14="http://schemas.microsoft.com/office/powerpoint/2010/main" val="292056542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Section Break-Orange">
    <p:spTree>
      <p:nvGrpSpPr>
        <p:cNvPr id="1" name=""/>
        <p:cNvGrpSpPr/>
        <p:nvPr/>
      </p:nvGrpSpPr>
      <p:grpSpPr>
        <a:xfrm>
          <a:off x="0" y="0"/>
          <a:ext cx="0" cy="0"/>
          <a:chOff x="0" y="0"/>
          <a:chExt cx="0" cy="0"/>
        </a:xfrm>
      </p:grpSpPr>
      <p:pic>
        <p:nvPicPr>
          <p:cNvPr id="16" name="Picture 15" descr="A black background with orange lines&#10;&#10;Description automatically generated">
            <a:extLst>
              <a:ext uri="{FF2B5EF4-FFF2-40B4-BE49-F238E27FC236}">
                <a16:creationId xmlns:a16="http://schemas.microsoft.com/office/drawing/2014/main" id="{EEBF846C-ED64-3391-2FE4-057DC20ED7E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3709" b="11257"/>
          <a:stretch/>
        </p:blipFill>
        <p:spPr>
          <a:xfrm>
            <a:off x="3162300" y="0"/>
            <a:ext cx="9029700" cy="6858000"/>
          </a:xfrm>
          <a:prstGeom prst="rect">
            <a:avLst/>
          </a:prstGeom>
        </p:spPr>
      </p:pic>
      <p:sp>
        <p:nvSpPr>
          <p:cNvPr id="7" name="Title 1">
            <a:extLst>
              <a:ext uri="{FF2B5EF4-FFF2-40B4-BE49-F238E27FC236}">
                <a16:creationId xmlns:a16="http://schemas.microsoft.com/office/drawing/2014/main" id="{09B7CC2F-38BD-616E-1AC9-282C3653C5CD}"/>
              </a:ext>
            </a:extLst>
          </p:cNvPr>
          <p:cNvSpPr>
            <a:spLocks noGrp="1"/>
          </p:cNvSpPr>
          <p:nvPr>
            <p:ph type="title" hasCustomPrompt="1"/>
          </p:nvPr>
        </p:nvSpPr>
        <p:spPr>
          <a:xfrm>
            <a:off x="4471605" y="3680320"/>
            <a:ext cx="7564394" cy="1004050"/>
          </a:xfrm>
          <a:prstGeom prst="rect">
            <a:avLst/>
          </a:prstGeom>
          <a:solidFill>
            <a:schemeClr val="bg1"/>
          </a:solidFill>
          <a:ln>
            <a:noFill/>
          </a:ln>
        </p:spPr>
        <p:txBody>
          <a:bodyPr anchor="ctr">
            <a:noAutofit/>
          </a:bodyPr>
          <a:lstStyle>
            <a:lvl1pPr algn="r">
              <a:defRPr sz="4000">
                <a:solidFill>
                  <a:schemeClr val="tx2"/>
                </a:solidFill>
                <a:effectLst>
                  <a:glow rad="63500">
                    <a:schemeClr val="bg1"/>
                  </a:glow>
                </a:effectLst>
                <a:latin typeface="Marcellus" panose="020E0602050203020307" pitchFamily="34" charset="0"/>
              </a:defRPr>
            </a:lvl1pPr>
          </a:lstStyle>
          <a:p>
            <a:r>
              <a:rPr lang="en-US"/>
              <a:t>Click To Edit</a:t>
            </a:r>
            <a:endParaRPr lang="en-CA"/>
          </a:p>
        </p:txBody>
      </p:sp>
      <p:sp>
        <p:nvSpPr>
          <p:cNvPr id="2" name="Slide Number Placeholder 1">
            <a:extLst>
              <a:ext uri="{FF2B5EF4-FFF2-40B4-BE49-F238E27FC236}">
                <a16:creationId xmlns:a16="http://schemas.microsoft.com/office/drawing/2014/main" id="{469602F0-4B24-3F90-7FA7-E2BCCAEF1DC6}"/>
              </a:ext>
            </a:extLst>
          </p:cNvPr>
          <p:cNvSpPr>
            <a:spLocks noGrp="1"/>
          </p:cNvSpPr>
          <p:nvPr>
            <p:ph type="sldNum" sz="quarter" idx="4"/>
          </p:nvPr>
        </p:nvSpPr>
        <p:spPr>
          <a:xfrm>
            <a:off x="155575" y="6420051"/>
            <a:ext cx="534236" cy="249037"/>
          </a:xfrm>
          <a:prstGeom prst="rect">
            <a:avLst/>
          </a:prstGeom>
        </p:spPr>
        <p:txBody>
          <a:bodyPr vert="horz" lIns="91440" tIns="45720" rIns="91440" bIns="45720" rtlCol="0" anchor="ctr"/>
          <a:lstStyle>
            <a:lvl1pPr algn="r">
              <a:defRPr sz="1200">
                <a:solidFill>
                  <a:schemeClr val="tx1"/>
                </a:solidFill>
              </a:defRPr>
            </a:lvl1pPr>
          </a:lstStyle>
          <a:p>
            <a:fld id="{FFC2788D-A0E8-47AB-ABFD-625D826BCE36}" type="slidenum">
              <a:rPr lang="en-US" smtClean="0"/>
              <a:pPr/>
              <a:t>‹#›</a:t>
            </a:fld>
            <a:endParaRPr lang="en-US"/>
          </a:p>
        </p:txBody>
      </p:sp>
    </p:spTree>
    <p:extLst>
      <p:ext uri="{BB962C8B-B14F-4D97-AF65-F5344CB8AC3E}">
        <p14:creationId xmlns:p14="http://schemas.microsoft.com/office/powerpoint/2010/main" val="3865396307"/>
      </p:ext>
    </p:extLst>
  </p:cSld>
  <p:clrMapOvr>
    <a:masterClrMapping/>
  </p:clrMapOvr>
  <p:extLst>
    <p:ext uri="{DCECCB84-F9BA-43D5-87BE-67443E8EF086}">
      <p15:sldGuideLst xmlns:p15="http://schemas.microsoft.com/office/powerpoint/2012/main">
        <p15:guide id="1" pos="1992">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ext Slide w Subtitl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9475497-5E87-CDBF-8DD4-162152817FD2}"/>
              </a:ext>
            </a:extLst>
          </p:cNvPr>
          <p:cNvSpPr>
            <a:spLocks noGrp="1"/>
          </p:cNvSpPr>
          <p:nvPr>
            <p:ph idx="1"/>
          </p:nvPr>
        </p:nvSpPr>
        <p:spPr>
          <a:xfrm>
            <a:off x="156000" y="1495647"/>
            <a:ext cx="11880000" cy="5173440"/>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sz="2000">
                <a:solidFill>
                  <a:schemeClr val="tx2"/>
                </a:solidFill>
              </a:defRPr>
            </a:lvl4pPr>
            <a:lvl5pP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2" name="Title 1">
            <a:extLst>
              <a:ext uri="{FF2B5EF4-FFF2-40B4-BE49-F238E27FC236}">
                <a16:creationId xmlns:a16="http://schemas.microsoft.com/office/drawing/2014/main" id="{834571E0-8830-BD9C-C1CD-7EBB719692B1}"/>
              </a:ext>
            </a:extLst>
          </p:cNvPr>
          <p:cNvSpPr>
            <a:spLocks noGrp="1"/>
          </p:cNvSpPr>
          <p:nvPr>
            <p:ph type="title" hasCustomPrompt="1"/>
          </p:nvPr>
        </p:nvSpPr>
        <p:spPr>
          <a:xfrm>
            <a:off x="156001" y="188913"/>
            <a:ext cx="10371322" cy="622324"/>
          </a:xfrm>
          <a:prstGeom prst="rect">
            <a:avLst/>
          </a:prstGeom>
        </p:spPr>
        <p:txBody>
          <a:bodyPr anchor="ctr">
            <a:noAutofit/>
          </a:bodyPr>
          <a:lstStyle>
            <a:lvl1pPr>
              <a:defRPr sz="4000">
                <a:solidFill>
                  <a:schemeClr val="tx2"/>
                </a:solidFill>
                <a:latin typeface="Manrope SemiBold" pitchFamily="2" charset="0"/>
              </a:defRPr>
            </a:lvl1pPr>
          </a:lstStyle>
          <a:p>
            <a:r>
              <a:rPr lang="en-US"/>
              <a:t>Click To Edit Slide Title</a:t>
            </a:r>
            <a:endParaRPr lang="en-CA"/>
          </a:p>
        </p:txBody>
      </p:sp>
      <p:pic>
        <p:nvPicPr>
          <p:cNvPr id="5" name="Picture 4" descr="Text&#10;&#10;Description automatically generated with medium confidence">
            <a:extLst>
              <a:ext uri="{FF2B5EF4-FFF2-40B4-BE49-F238E27FC236}">
                <a16:creationId xmlns:a16="http://schemas.microsoft.com/office/drawing/2014/main" id="{193F9A2E-3121-C2DD-1B0B-F3E123D59D0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77520" y="188913"/>
            <a:ext cx="1458479" cy="345660"/>
          </a:xfrm>
          <a:prstGeom prst="rect">
            <a:avLst/>
          </a:prstGeom>
        </p:spPr>
      </p:pic>
      <p:sp>
        <p:nvSpPr>
          <p:cNvPr id="13" name="TextBox 12">
            <a:extLst>
              <a:ext uri="{FF2B5EF4-FFF2-40B4-BE49-F238E27FC236}">
                <a16:creationId xmlns:a16="http://schemas.microsoft.com/office/drawing/2014/main" id="{D8159A25-C4E1-DD4C-41DF-8581B93867E7}"/>
              </a:ext>
            </a:extLst>
          </p:cNvPr>
          <p:cNvSpPr txBox="1"/>
          <p:nvPr userDrawn="1"/>
        </p:nvSpPr>
        <p:spPr>
          <a:xfrm>
            <a:off x="302079" y="930729"/>
            <a:ext cx="914400" cy="914400"/>
          </a:xfrm>
          <a:prstGeom prst="rect">
            <a:avLst/>
          </a:prstGeom>
        </p:spPr>
        <p:txBody>
          <a:bodyPr vert="horz" wrap="none" lIns="91440" tIns="45720" rIns="91440" bIns="45720" rtlCol="0" anchor="ctr">
            <a:noAutofit/>
          </a:bodyPr>
          <a:lstStyle/>
          <a:p>
            <a:pPr algn="l"/>
            <a:endParaRPr lang="en-CA" sz="2800" b="1">
              <a:solidFill>
                <a:srgbClr val="FF7638"/>
              </a:solidFill>
              <a:latin typeface="Manrope" pitchFamily="2" charset="0"/>
            </a:endParaRPr>
          </a:p>
        </p:txBody>
      </p:sp>
      <p:sp>
        <p:nvSpPr>
          <p:cNvPr id="15" name="Text Placeholder 14">
            <a:extLst>
              <a:ext uri="{FF2B5EF4-FFF2-40B4-BE49-F238E27FC236}">
                <a16:creationId xmlns:a16="http://schemas.microsoft.com/office/drawing/2014/main" id="{200D43F6-1051-CFAC-2185-6D86B7E36440}"/>
              </a:ext>
            </a:extLst>
          </p:cNvPr>
          <p:cNvSpPr>
            <a:spLocks noGrp="1"/>
          </p:cNvSpPr>
          <p:nvPr>
            <p:ph type="body" sz="quarter" idx="13" hasCustomPrompt="1"/>
          </p:nvPr>
        </p:nvSpPr>
        <p:spPr>
          <a:xfrm>
            <a:off x="155999" y="850392"/>
            <a:ext cx="11880000" cy="464232"/>
          </a:xfrm>
          <a:prstGeom prst="rect">
            <a:avLst/>
          </a:prstGeom>
        </p:spPr>
        <p:txBody>
          <a:bodyPr anchor="ctr"/>
          <a:lstStyle>
            <a:lvl1pPr marL="0" indent="0">
              <a:buNone/>
              <a:defRPr b="1">
                <a:solidFill>
                  <a:schemeClr val="accent2"/>
                </a:solidFill>
                <a:latin typeface="Manrope SemiBold" pitchFamily="2" charset="0"/>
              </a:defRPr>
            </a:lvl1pPr>
          </a:lstStyle>
          <a:p>
            <a:pPr lvl="0"/>
            <a:r>
              <a:rPr lang="en-US"/>
              <a:t>Click to edit subtitle </a:t>
            </a:r>
            <a:endParaRPr lang="en-CA"/>
          </a:p>
        </p:txBody>
      </p:sp>
      <p:sp>
        <p:nvSpPr>
          <p:cNvPr id="4" name="Slide Number Placeholder 1">
            <a:extLst>
              <a:ext uri="{FF2B5EF4-FFF2-40B4-BE49-F238E27FC236}">
                <a16:creationId xmlns:a16="http://schemas.microsoft.com/office/drawing/2014/main" id="{BA91A768-C3C7-07F4-6202-75ADE1437CF2}"/>
              </a:ext>
            </a:extLst>
          </p:cNvPr>
          <p:cNvSpPr>
            <a:spLocks noGrp="1"/>
          </p:cNvSpPr>
          <p:nvPr>
            <p:ph type="sldNum" sz="quarter" idx="4"/>
          </p:nvPr>
        </p:nvSpPr>
        <p:spPr>
          <a:xfrm>
            <a:off x="11502189" y="6420051"/>
            <a:ext cx="534236" cy="249037"/>
          </a:xfrm>
          <a:prstGeom prst="rect">
            <a:avLst/>
          </a:prstGeom>
        </p:spPr>
        <p:txBody>
          <a:bodyPr vert="horz" lIns="91440" tIns="45720" rIns="91440" bIns="45720" rtlCol="0" anchor="ctr"/>
          <a:lstStyle>
            <a:lvl1pPr algn="r">
              <a:defRPr sz="1200">
                <a:solidFill>
                  <a:schemeClr val="tx1"/>
                </a:solidFill>
              </a:defRPr>
            </a:lvl1pPr>
          </a:lstStyle>
          <a:p>
            <a:fld id="{FFC2788D-A0E8-47AB-ABFD-625D826BCE36}" type="slidenum">
              <a:rPr lang="en-US" smtClean="0"/>
              <a:pPr/>
              <a:t>‹#›</a:t>
            </a:fld>
            <a:endParaRPr lang="en-US"/>
          </a:p>
        </p:txBody>
      </p:sp>
    </p:spTree>
    <p:extLst>
      <p:ext uri="{BB962C8B-B14F-4D97-AF65-F5344CB8AC3E}">
        <p14:creationId xmlns:p14="http://schemas.microsoft.com/office/powerpoint/2010/main" val="73478263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ext Slid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9475497-5E87-CDBF-8DD4-162152817FD2}"/>
              </a:ext>
            </a:extLst>
          </p:cNvPr>
          <p:cNvSpPr>
            <a:spLocks noGrp="1"/>
          </p:cNvSpPr>
          <p:nvPr>
            <p:ph idx="1"/>
          </p:nvPr>
        </p:nvSpPr>
        <p:spPr>
          <a:xfrm>
            <a:off x="156000" y="1006702"/>
            <a:ext cx="11880000" cy="5662386"/>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sz="2000">
                <a:solidFill>
                  <a:schemeClr val="tx2"/>
                </a:solidFill>
              </a:defRPr>
            </a:lvl4pPr>
            <a:lvl5pP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2" name="Title 1">
            <a:extLst>
              <a:ext uri="{FF2B5EF4-FFF2-40B4-BE49-F238E27FC236}">
                <a16:creationId xmlns:a16="http://schemas.microsoft.com/office/drawing/2014/main" id="{834571E0-8830-BD9C-C1CD-7EBB719692B1}"/>
              </a:ext>
            </a:extLst>
          </p:cNvPr>
          <p:cNvSpPr>
            <a:spLocks noGrp="1"/>
          </p:cNvSpPr>
          <p:nvPr>
            <p:ph type="title" hasCustomPrompt="1"/>
          </p:nvPr>
        </p:nvSpPr>
        <p:spPr>
          <a:xfrm>
            <a:off x="156001" y="188913"/>
            <a:ext cx="10371322" cy="622324"/>
          </a:xfrm>
          <a:prstGeom prst="rect">
            <a:avLst/>
          </a:prstGeom>
        </p:spPr>
        <p:txBody>
          <a:bodyPr anchor="ctr">
            <a:noAutofit/>
          </a:bodyPr>
          <a:lstStyle>
            <a:lvl1pPr>
              <a:defRPr sz="4000">
                <a:solidFill>
                  <a:schemeClr val="tx2"/>
                </a:solidFill>
                <a:latin typeface="Manrope SemiBold" pitchFamily="2" charset="0"/>
              </a:defRPr>
            </a:lvl1pPr>
          </a:lstStyle>
          <a:p>
            <a:r>
              <a:rPr lang="en-US"/>
              <a:t>Click To Edit Slide Title</a:t>
            </a:r>
            <a:endParaRPr lang="en-CA"/>
          </a:p>
        </p:txBody>
      </p:sp>
      <p:pic>
        <p:nvPicPr>
          <p:cNvPr id="7" name="Picture 6" descr="Text&#10;&#10;Description automatically generated with medium confidence">
            <a:extLst>
              <a:ext uri="{FF2B5EF4-FFF2-40B4-BE49-F238E27FC236}">
                <a16:creationId xmlns:a16="http://schemas.microsoft.com/office/drawing/2014/main" id="{8DD8ADAA-B9C0-D7C4-5F72-168F525DB2C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77520" y="188913"/>
            <a:ext cx="1458479" cy="345660"/>
          </a:xfrm>
          <a:prstGeom prst="rect">
            <a:avLst/>
          </a:prstGeom>
        </p:spPr>
      </p:pic>
      <p:sp>
        <p:nvSpPr>
          <p:cNvPr id="10" name="Slide Number Placeholder 1">
            <a:extLst>
              <a:ext uri="{FF2B5EF4-FFF2-40B4-BE49-F238E27FC236}">
                <a16:creationId xmlns:a16="http://schemas.microsoft.com/office/drawing/2014/main" id="{C7FD2516-2FAC-5E5D-6D56-0AE858DD3CFD}"/>
              </a:ext>
            </a:extLst>
          </p:cNvPr>
          <p:cNvSpPr>
            <a:spLocks noGrp="1"/>
          </p:cNvSpPr>
          <p:nvPr>
            <p:ph type="sldNum" sz="quarter" idx="4"/>
          </p:nvPr>
        </p:nvSpPr>
        <p:spPr>
          <a:xfrm>
            <a:off x="11502189" y="6420051"/>
            <a:ext cx="534236" cy="249037"/>
          </a:xfrm>
          <a:prstGeom prst="rect">
            <a:avLst/>
          </a:prstGeom>
        </p:spPr>
        <p:txBody>
          <a:bodyPr vert="horz" lIns="91440" tIns="45720" rIns="91440" bIns="45720" rtlCol="0" anchor="ctr"/>
          <a:lstStyle>
            <a:lvl1pPr algn="r">
              <a:defRPr sz="1200">
                <a:solidFill>
                  <a:schemeClr val="tx1"/>
                </a:solidFill>
              </a:defRPr>
            </a:lvl1pPr>
          </a:lstStyle>
          <a:p>
            <a:fld id="{FFC2788D-A0E8-47AB-ABFD-625D826BCE36}" type="slidenum">
              <a:rPr lang="en-US" smtClean="0"/>
              <a:pPr/>
              <a:t>‹#›</a:t>
            </a:fld>
            <a:endParaRPr lang="en-US"/>
          </a:p>
        </p:txBody>
      </p:sp>
    </p:spTree>
    <p:extLst>
      <p:ext uri="{BB962C8B-B14F-4D97-AF65-F5344CB8AC3E}">
        <p14:creationId xmlns:p14="http://schemas.microsoft.com/office/powerpoint/2010/main" val="142403405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hank You">
    <p:bg>
      <p:bgPr>
        <a:solidFill>
          <a:srgbClr val="013A55"/>
        </a:solidFill>
        <a:effectLst/>
      </p:bgPr>
    </p:bg>
    <p:spTree>
      <p:nvGrpSpPr>
        <p:cNvPr id="1" name=""/>
        <p:cNvGrpSpPr/>
        <p:nvPr/>
      </p:nvGrpSpPr>
      <p:grpSpPr>
        <a:xfrm>
          <a:off x="0" y="0"/>
          <a:ext cx="0" cy="0"/>
          <a:chOff x="0" y="0"/>
          <a:chExt cx="0" cy="0"/>
        </a:xfrm>
      </p:grpSpPr>
      <p:pic>
        <p:nvPicPr>
          <p:cNvPr id="8" name="Picture 7" descr="Text&#10;&#10;Description automatically generated with medium confidence">
            <a:extLst>
              <a:ext uri="{FF2B5EF4-FFF2-40B4-BE49-F238E27FC236}">
                <a16:creationId xmlns:a16="http://schemas.microsoft.com/office/drawing/2014/main" id="{029F00CB-9FE1-0F79-BA0F-89E9B50F2D5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5576" y="188913"/>
            <a:ext cx="2210335" cy="523850"/>
          </a:xfrm>
          <a:prstGeom prst="rect">
            <a:avLst/>
          </a:prstGeom>
        </p:spPr>
      </p:pic>
      <p:pic>
        <p:nvPicPr>
          <p:cNvPr id="2" name="Picture 1" descr="A black background with blue lines&#10;&#10;Description automatically generated">
            <a:extLst>
              <a:ext uri="{FF2B5EF4-FFF2-40B4-BE49-F238E27FC236}">
                <a16:creationId xmlns:a16="http://schemas.microsoft.com/office/drawing/2014/main" id="{20E249C2-ABA5-6C36-E8EE-4CE55B1298E5}"/>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13580" b="11418"/>
          <a:stretch/>
        </p:blipFill>
        <p:spPr>
          <a:xfrm>
            <a:off x="3162301" y="1"/>
            <a:ext cx="9033624" cy="6858000"/>
          </a:xfrm>
          <a:prstGeom prst="rect">
            <a:avLst/>
          </a:prstGeom>
        </p:spPr>
      </p:pic>
      <p:sp>
        <p:nvSpPr>
          <p:cNvPr id="264" name="TextBox 263">
            <a:extLst>
              <a:ext uri="{FF2B5EF4-FFF2-40B4-BE49-F238E27FC236}">
                <a16:creationId xmlns:a16="http://schemas.microsoft.com/office/drawing/2014/main" id="{F3050149-C32E-DB00-96BE-1DBF2D273630}"/>
              </a:ext>
            </a:extLst>
          </p:cNvPr>
          <p:cNvSpPr txBox="1"/>
          <p:nvPr userDrawn="1"/>
        </p:nvSpPr>
        <p:spPr>
          <a:xfrm>
            <a:off x="155576" y="2734886"/>
            <a:ext cx="5233988" cy="1388228"/>
          </a:xfrm>
          <a:prstGeom prst="rect">
            <a:avLst/>
          </a:prstGeom>
          <a:solidFill>
            <a:schemeClr val="tx2"/>
          </a:solidFill>
        </p:spPr>
        <p:txBody>
          <a:bodyPr vert="horz" wrap="square" lIns="91440" tIns="45720" rIns="91440" bIns="45720" rtlCol="0" anchor="ctr">
            <a:noAutofit/>
          </a:bodyPr>
          <a:lstStyle/>
          <a:p>
            <a:pPr algn="l"/>
            <a:r>
              <a:rPr lang="en-US" sz="5400" b="1">
                <a:solidFill>
                  <a:schemeClr val="bg1"/>
                </a:solidFill>
                <a:latin typeface="Marcellus" panose="020E0602050203020307" pitchFamily="34" charset="0"/>
              </a:rPr>
              <a:t>Thank You</a:t>
            </a:r>
          </a:p>
        </p:txBody>
      </p:sp>
    </p:spTree>
    <p:extLst>
      <p:ext uri="{BB962C8B-B14F-4D97-AF65-F5344CB8AC3E}">
        <p14:creationId xmlns:p14="http://schemas.microsoft.com/office/powerpoint/2010/main" val="11393676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over, blue">
    <p:bg>
      <p:bgPr>
        <a:solidFill>
          <a:schemeClr val="accent1"/>
        </a:solidFill>
        <a:effectLst/>
      </p:bgPr>
    </p:bg>
    <p:spTree>
      <p:nvGrpSpPr>
        <p:cNvPr id="1" name=""/>
        <p:cNvGrpSpPr/>
        <p:nvPr/>
      </p:nvGrpSpPr>
      <p:grpSpPr>
        <a:xfrm>
          <a:off x="0" y="0"/>
          <a:ext cx="0" cy="0"/>
          <a:chOff x="0" y="0"/>
          <a:chExt cx="0" cy="0"/>
        </a:xfrm>
      </p:grpSpPr>
      <p:sp>
        <p:nvSpPr>
          <p:cNvPr id="6" name="Textplatzhalter 13">
            <a:extLst>
              <a:ext uri="{FF2B5EF4-FFF2-40B4-BE49-F238E27FC236}">
                <a16:creationId xmlns:a16="http://schemas.microsoft.com/office/drawing/2014/main" id="{E720FC15-D33F-4967-9E45-8E0FA2E04E5C}"/>
              </a:ext>
            </a:extLst>
          </p:cNvPr>
          <p:cNvSpPr>
            <a:spLocks noGrp="1"/>
          </p:cNvSpPr>
          <p:nvPr>
            <p:ph type="body" sz="quarter" idx="13" hasCustomPrompt="1"/>
          </p:nvPr>
        </p:nvSpPr>
        <p:spPr bwMode="gray">
          <a:xfrm>
            <a:off x="550507" y="4148933"/>
            <a:ext cx="6624862" cy="1007767"/>
          </a:xfrm>
        </p:spPr>
        <p:txBody>
          <a:bodyPr/>
          <a:lstStyle>
            <a:lvl1pPr marL="0" indent="0">
              <a:spcAft>
                <a:spcPts val="0"/>
              </a:spcAft>
              <a:buNone/>
              <a:defRPr sz="2000" b="0" cap="none" baseline="0">
                <a:solidFill>
                  <a:schemeClr val="bg1"/>
                </a:solidFill>
              </a:defRPr>
            </a:lvl1pPr>
            <a:lvl2pPr marL="0" indent="0">
              <a:spcAft>
                <a:spcPts val="0"/>
              </a:spcAft>
              <a:buFont typeface="Arial" panose="020B0604020202020204" pitchFamily="34" charset="0"/>
              <a:buNone/>
              <a:defRPr sz="2000" b="0">
                <a:solidFill>
                  <a:schemeClr val="bg1"/>
                </a:solidFill>
              </a:defRPr>
            </a:lvl2pPr>
            <a:lvl3pPr marL="0" indent="0">
              <a:spcAft>
                <a:spcPts val="0"/>
              </a:spcAft>
              <a:buFont typeface="Arial" panose="020B0604020202020204" pitchFamily="34" charset="0"/>
              <a:buNone/>
              <a:defRPr sz="2000" b="0">
                <a:solidFill>
                  <a:schemeClr val="bg1"/>
                </a:solidFill>
              </a:defRPr>
            </a:lvl3pPr>
            <a:lvl4pPr marL="0" indent="0">
              <a:spcAft>
                <a:spcPts val="0"/>
              </a:spcAft>
              <a:buFont typeface="Arial" panose="020B0604020202020204" pitchFamily="34" charset="0"/>
              <a:buNone/>
              <a:defRPr sz="2000" b="0">
                <a:solidFill>
                  <a:schemeClr val="bg1"/>
                </a:solidFill>
              </a:defRPr>
            </a:lvl4pPr>
            <a:lvl5pPr marL="0" indent="0">
              <a:spcAft>
                <a:spcPts val="0"/>
              </a:spcAft>
              <a:buFont typeface="Arial" panose="020B0604020202020204" pitchFamily="34" charset="0"/>
              <a:buNone/>
              <a:defRPr sz="2000" b="0">
                <a:solidFill>
                  <a:schemeClr val="bg1"/>
                </a:solidFill>
              </a:defRPr>
            </a:lvl5pPr>
            <a:lvl6pPr marL="0" indent="0">
              <a:spcAft>
                <a:spcPts val="0"/>
              </a:spcAft>
              <a:buNone/>
              <a:defRPr sz="2000" b="0">
                <a:solidFill>
                  <a:schemeClr val="bg1"/>
                </a:solidFill>
              </a:defRPr>
            </a:lvl6pPr>
            <a:lvl7pPr marL="0" indent="0">
              <a:spcAft>
                <a:spcPts val="0"/>
              </a:spcAft>
              <a:buNone/>
              <a:defRPr sz="2000" b="0">
                <a:solidFill>
                  <a:schemeClr val="bg1"/>
                </a:solidFill>
              </a:defRPr>
            </a:lvl7pPr>
            <a:lvl8pPr marL="0" indent="0">
              <a:spcAft>
                <a:spcPts val="0"/>
              </a:spcAft>
              <a:buNone/>
              <a:defRPr sz="2000" b="0">
                <a:solidFill>
                  <a:schemeClr val="bg1"/>
                </a:solidFill>
              </a:defRPr>
            </a:lvl8pPr>
            <a:lvl9pPr marL="0" indent="0">
              <a:spcAft>
                <a:spcPts val="0"/>
              </a:spcAft>
              <a:buNone/>
              <a:defRPr sz="2000" b="0">
                <a:solidFill>
                  <a:schemeClr val="bg1"/>
                </a:solidFill>
              </a:defRPr>
            </a:lvl9pPr>
          </a:lstStyle>
          <a:p>
            <a:pPr lvl="0"/>
            <a:r>
              <a:rPr lang="en-US" dirty="0"/>
              <a:t>Max </a:t>
            </a:r>
            <a:r>
              <a:rPr lang="en-US" dirty="0" err="1"/>
              <a:t>Mustermann</a:t>
            </a:r>
            <a:r>
              <a:rPr lang="en-US" dirty="0"/>
              <a:t> – Head of Corporate</a:t>
            </a:r>
            <a:br>
              <a:rPr lang="en-US" dirty="0"/>
            </a:br>
            <a:r>
              <a:rPr lang="en-US" dirty="0"/>
              <a:t>Place, Date</a:t>
            </a:r>
          </a:p>
        </p:txBody>
      </p:sp>
      <p:pic>
        <p:nvPicPr>
          <p:cNvPr id="5" name="Grafik 10">
            <a:extLst>
              <a:ext uri="{FF2B5EF4-FFF2-40B4-BE49-F238E27FC236}">
                <a16:creationId xmlns:a16="http://schemas.microsoft.com/office/drawing/2014/main" id="{4B134E74-1990-4A7E-B8BD-A273C1D9910A}"/>
              </a:ext>
            </a:extLst>
          </p:cNvPr>
          <p:cNvPicPr>
            <a:picLocks noChangeAspect="1"/>
          </p:cNvPicPr>
          <p:nvPr userDrawn="1"/>
        </p:nvPicPr>
        <p:blipFill>
          <a:blip r:embed="rId2"/>
          <a:stretch>
            <a:fillRect/>
          </a:stretch>
        </p:blipFill>
        <p:spPr>
          <a:xfrm>
            <a:off x="5824591" y="1318342"/>
            <a:ext cx="2706556" cy="676643"/>
          </a:xfrm>
          <a:prstGeom prst="rect">
            <a:avLst/>
          </a:prstGeom>
        </p:spPr>
      </p:pic>
      <p:sp>
        <p:nvSpPr>
          <p:cNvPr id="2" name="Titel 1">
            <a:extLst>
              <a:ext uri="{FF2B5EF4-FFF2-40B4-BE49-F238E27FC236}">
                <a16:creationId xmlns:a16="http://schemas.microsoft.com/office/drawing/2014/main" id="{F835D016-A532-4F75-8401-5AC90A25BC53}"/>
              </a:ext>
            </a:extLst>
          </p:cNvPr>
          <p:cNvSpPr>
            <a:spLocks noGrp="1"/>
          </p:cNvSpPr>
          <p:nvPr>
            <p:ph type="title" hasCustomPrompt="1"/>
          </p:nvPr>
        </p:nvSpPr>
        <p:spPr>
          <a:xfrm>
            <a:off x="550934" y="3357007"/>
            <a:ext cx="6625356" cy="431900"/>
          </a:xfrm>
        </p:spPr>
        <p:txBody>
          <a:bodyPr anchor="b"/>
          <a:lstStyle>
            <a:lvl1pPr>
              <a:defRPr>
                <a:solidFill>
                  <a:schemeClr val="bg1"/>
                </a:solidFill>
              </a:defRPr>
            </a:lvl1pPr>
          </a:lstStyle>
          <a:p>
            <a:r>
              <a:rPr lang="de-DE" dirty="0"/>
              <a:t>Title f </a:t>
            </a:r>
            <a:r>
              <a:rPr lang="de-DE" dirty="0" err="1"/>
              <a:t>presentation</a:t>
            </a:r>
            <a:endParaRPr lang="en-US" dirty="0"/>
          </a:p>
        </p:txBody>
      </p:sp>
    </p:spTree>
    <p:extLst>
      <p:ext uri="{BB962C8B-B14F-4D97-AF65-F5344CB8AC3E}">
        <p14:creationId xmlns:p14="http://schemas.microsoft.com/office/powerpoint/2010/main" val="355681448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with picture (1)">
    <p:bg>
      <p:bgPr>
        <a:solidFill>
          <a:schemeClr val="bg1"/>
        </a:solidFill>
        <a:effectLst/>
      </p:bgPr>
    </p:bg>
    <p:spTree>
      <p:nvGrpSpPr>
        <p:cNvPr id="1" name=""/>
        <p:cNvGrpSpPr/>
        <p:nvPr/>
      </p:nvGrpSpPr>
      <p:grpSpPr>
        <a:xfrm>
          <a:off x="0" y="0"/>
          <a:ext cx="0" cy="0"/>
          <a:chOff x="0" y="0"/>
          <a:chExt cx="0" cy="0"/>
        </a:xfrm>
      </p:grpSpPr>
      <p:sp>
        <p:nvSpPr>
          <p:cNvPr id="11" name="Rechteck 10" hidden="1">
            <a:extLst>
              <a:ext uri="{FF2B5EF4-FFF2-40B4-BE49-F238E27FC236}">
                <a16:creationId xmlns:a16="http://schemas.microsoft.com/office/drawing/2014/main" id="{09C9B37A-7A7B-4875-8073-9D07431EE846}"/>
              </a:ext>
            </a:extLst>
          </p:cNvPr>
          <p:cNvSpPr/>
          <p:nvPr userDrawn="1">
            <p:custDataLst>
              <p:tags r:id="rId1"/>
            </p:custDataLst>
          </p:nvPr>
        </p:nvSpPr>
        <p:spPr>
          <a:xfrm>
            <a:off x="9192833" y="5970792"/>
            <a:ext cx="2999167" cy="887208"/>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
        <p:nvSpPr>
          <p:cNvPr id="12" name="Bildplatzhalter 11">
            <a:extLst>
              <a:ext uri="{FF2B5EF4-FFF2-40B4-BE49-F238E27FC236}">
                <a16:creationId xmlns:a16="http://schemas.microsoft.com/office/drawing/2014/main" id="{C2451CE1-8153-44B1-98A1-11DC116FE7B5}"/>
              </a:ext>
            </a:extLst>
          </p:cNvPr>
          <p:cNvSpPr>
            <a:spLocks noGrp="1"/>
          </p:cNvSpPr>
          <p:nvPr>
            <p:ph type="pic" sz="quarter" idx="16" hasCustomPrompt="1"/>
          </p:nvPr>
        </p:nvSpPr>
        <p:spPr bwMode="gray">
          <a:xfrm>
            <a:off x="1" y="0"/>
            <a:ext cx="12192000" cy="5660793"/>
          </a:xfrm>
          <a:custGeom>
            <a:avLst/>
            <a:gdLst>
              <a:gd name="connsiteX0" fmla="*/ 0 w 12190413"/>
              <a:gd name="connsiteY0" fmla="*/ 0 h 5662104"/>
              <a:gd name="connsiteX1" fmla="*/ 12190413 w 12190413"/>
              <a:gd name="connsiteY1" fmla="*/ 0 h 5662104"/>
              <a:gd name="connsiteX2" fmla="*/ 12190412 w 12190413"/>
              <a:gd name="connsiteY2" fmla="*/ 5369071 h 5662104"/>
              <a:gd name="connsiteX3" fmla="*/ 12190412 w 12190413"/>
              <a:gd name="connsiteY3" fmla="*/ 5381978 h 5662104"/>
              <a:gd name="connsiteX4" fmla="*/ 12188206 w 12190413"/>
              <a:gd name="connsiteY4" fmla="*/ 5381464 h 5662104"/>
              <a:gd name="connsiteX5" fmla="*/ 12188206 w 12190413"/>
              <a:gd name="connsiteY5" fmla="*/ 5374839 h 5662104"/>
              <a:gd name="connsiteX6" fmla="*/ 12032390 w 12190413"/>
              <a:gd name="connsiteY6" fmla="*/ 5345161 h 5662104"/>
              <a:gd name="connsiteX7" fmla="*/ 11853287 w 12190413"/>
              <a:gd name="connsiteY7" fmla="*/ 5303433 h 5662104"/>
              <a:gd name="connsiteX8" fmla="*/ 9474399 w 12190413"/>
              <a:gd name="connsiteY8" fmla="*/ 5070435 h 5662104"/>
              <a:gd name="connsiteX9" fmla="*/ 9363219 w 12190413"/>
              <a:gd name="connsiteY9" fmla="*/ 5071476 h 5662104"/>
              <a:gd name="connsiteX10" fmla="*/ 9336724 w 12190413"/>
              <a:gd name="connsiteY10" fmla="*/ 5071008 h 5662104"/>
              <a:gd name="connsiteX11" fmla="*/ 9141154 w 12190413"/>
              <a:gd name="connsiteY11" fmla="*/ 5071008 h 5662104"/>
              <a:gd name="connsiteX12" fmla="*/ 8943837 w 12190413"/>
              <a:gd name="connsiteY12" fmla="*/ 5071007 h 5662104"/>
              <a:gd name="connsiteX13" fmla="*/ 8746521 w 12190413"/>
              <a:gd name="connsiteY13" fmla="*/ 5074500 h 5662104"/>
              <a:gd name="connsiteX14" fmla="*/ 8552697 w 12190413"/>
              <a:gd name="connsiteY14" fmla="*/ 5079739 h 5662104"/>
              <a:gd name="connsiteX15" fmla="*/ 8357128 w 12190413"/>
              <a:gd name="connsiteY15" fmla="*/ 5090215 h 5662104"/>
              <a:gd name="connsiteX16" fmla="*/ 8163303 w 12190413"/>
              <a:gd name="connsiteY16" fmla="*/ 5102438 h 5662104"/>
              <a:gd name="connsiteX17" fmla="*/ 7972972 w 12190413"/>
              <a:gd name="connsiteY17" fmla="*/ 5114662 h 5662104"/>
              <a:gd name="connsiteX18" fmla="*/ 7779149 w 12190413"/>
              <a:gd name="connsiteY18" fmla="*/ 5130376 h 5662104"/>
              <a:gd name="connsiteX19" fmla="*/ 7587072 w 12190413"/>
              <a:gd name="connsiteY19" fmla="*/ 5149584 h 5662104"/>
              <a:gd name="connsiteX20" fmla="*/ 7396738 w 12190413"/>
              <a:gd name="connsiteY20" fmla="*/ 5172284 h 5662104"/>
              <a:gd name="connsiteX21" fmla="*/ 7209903 w 12190413"/>
              <a:gd name="connsiteY21" fmla="*/ 5194984 h 5662104"/>
              <a:gd name="connsiteX22" fmla="*/ 7019571 w 12190413"/>
              <a:gd name="connsiteY22" fmla="*/ 5219431 h 5662104"/>
              <a:gd name="connsiteX23" fmla="*/ 6853019 w 12190413"/>
              <a:gd name="connsiteY23" fmla="*/ 5245892 h 5662104"/>
              <a:gd name="connsiteX24" fmla="*/ 6718666 w 12190413"/>
              <a:gd name="connsiteY24" fmla="*/ 5263138 h 5662104"/>
              <a:gd name="connsiteX25" fmla="*/ 6545441 w 12190413"/>
              <a:gd name="connsiteY25" fmla="*/ 5292335 h 5662104"/>
              <a:gd name="connsiteX26" fmla="*/ 6460798 w 12190413"/>
              <a:gd name="connsiteY26" fmla="*/ 5304993 h 5662104"/>
              <a:gd name="connsiteX27" fmla="*/ 6387367 w 12190413"/>
              <a:gd name="connsiteY27" fmla="*/ 5318980 h 5662104"/>
              <a:gd name="connsiteX28" fmla="*/ 6041160 w 12190413"/>
              <a:gd name="connsiteY28" fmla="*/ 5377334 h 5662104"/>
              <a:gd name="connsiteX29" fmla="*/ 5887321 w 12190413"/>
              <a:gd name="connsiteY29" fmla="*/ 5409645 h 5662104"/>
              <a:gd name="connsiteX30" fmla="*/ 5857713 w 12190413"/>
              <a:gd name="connsiteY30" fmla="*/ 5414631 h 5662104"/>
              <a:gd name="connsiteX31" fmla="*/ 1438219 w 12190413"/>
              <a:gd name="connsiteY31" fmla="*/ 5598060 h 5662104"/>
              <a:gd name="connsiteX32" fmla="*/ 1112913 w 12190413"/>
              <a:gd name="connsiteY32" fmla="*/ 5561533 h 5662104"/>
              <a:gd name="connsiteX33" fmla="*/ 1063194 w 12190413"/>
              <a:gd name="connsiteY33" fmla="*/ 5555146 h 5662104"/>
              <a:gd name="connsiteX34" fmla="*/ 750855 w 12190413"/>
              <a:gd name="connsiteY34" fmla="*/ 5510173 h 5662104"/>
              <a:gd name="connsiteX35" fmla="*/ 268553 w 12190413"/>
              <a:gd name="connsiteY35" fmla="*/ 5419676 h 5662104"/>
              <a:gd name="connsiteX36" fmla="*/ 355 w 12190413"/>
              <a:gd name="connsiteY36" fmla="*/ 5353304 h 5662104"/>
              <a:gd name="connsiteX37" fmla="*/ 511 w 12190413"/>
              <a:gd name="connsiteY37" fmla="*/ 5325116 h 5662104"/>
              <a:gd name="connsiteX38" fmla="*/ 159 w 12190413"/>
              <a:gd name="connsiteY38" fmla="*/ 3966 h 566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2190413" h="5662104">
                <a:moveTo>
                  <a:pt x="0" y="0"/>
                </a:moveTo>
                <a:lnTo>
                  <a:pt x="12190413" y="0"/>
                </a:lnTo>
                <a:lnTo>
                  <a:pt x="12190412" y="5369071"/>
                </a:lnTo>
                <a:lnTo>
                  <a:pt x="12190412" y="5381978"/>
                </a:lnTo>
                <a:lnTo>
                  <a:pt x="12188206" y="5381464"/>
                </a:lnTo>
                <a:lnTo>
                  <a:pt x="12188206" y="5374839"/>
                </a:lnTo>
                <a:lnTo>
                  <a:pt x="12032390" y="5345161"/>
                </a:lnTo>
                <a:lnTo>
                  <a:pt x="11853287" y="5303433"/>
                </a:lnTo>
                <a:cubicBezTo>
                  <a:pt x="11151505" y="5161237"/>
                  <a:pt x="10345755" y="5080171"/>
                  <a:pt x="9474399" y="5070435"/>
                </a:cubicBezTo>
                <a:lnTo>
                  <a:pt x="9363219" y="5071476"/>
                </a:lnTo>
                <a:lnTo>
                  <a:pt x="9336724" y="5071008"/>
                </a:lnTo>
                <a:lnTo>
                  <a:pt x="9141154" y="5071008"/>
                </a:lnTo>
                <a:lnTo>
                  <a:pt x="8943837" y="5071007"/>
                </a:lnTo>
                <a:lnTo>
                  <a:pt x="8746521" y="5074500"/>
                </a:lnTo>
                <a:lnTo>
                  <a:pt x="8552697" y="5079739"/>
                </a:lnTo>
                <a:lnTo>
                  <a:pt x="8357128" y="5090215"/>
                </a:lnTo>
                <a:lnTo>
                  <a:pt x="8163303" y="5102438"/>
                </a:lnTo>
                <a:lnTo>
                  <a:pt x="7972972" y="5114662"/>
                </a:lnTo>
                <a:lnTo>
                  <a:pt x="7779149" y="5130376"/>
                </a:lnTo>
                <a:lnTo>
                  <a:pt x="7587072" y="5149584"/>
                </a:lnTo>
                <a:lnTo>
                  <a:pt x="7396738" y="5172284"/>
                </a:lnTo>
                <a:lnTo>
                  <a:pt x="7209903" y="5194984"/>
                </a:lnTo>
                <a:lnTo>
                  <a:pt x="7019571" y="5219431"/>
                </a:lnTo>
                <a:lnTo>
                  <a:pt x="6853019" y="5245892"/>
                </a:lnTo>
                <a:lnTo>
                  <a:pt x="6718666" y="5263138"/>
                </a:lnTo>
                <a:lnTo>
                  <a:pt x="6545441" y="5292335"/>
                </a:lnTo>
                <a:lnTo>
                  <a:pt x="6460798" y="5304993"/>
                </a:lnTo>
                <a:lnTo>
                  <a:pt x="6387367" y="5318980"/>
                </a:lnTo>
                <a:lnTo>
                  <a:pt x="6041160" y="5377334"/>
                </a:lnTo>
                <a:lnTo>
                  <a:pt x="5887321" y="5409645"/>
                </a:lnTo>
                <a:lnTo>
                  <a:pt x="5857713" y="5414631"/>
                </a:lnTo>
                <a:cubicBezTo>
                  <a:pt x="4271557" y="5663154"/>
                  <a:pt x="2741498" y="5724884"/>
                  <a:pt x="1438219" y="5598060"/>
                </a:cubicBezTo>
                <a:lnTo>
                  <a:pt x="1112913" y="5561533"/>
                </a:lnTo>
                <a:lnTo>
                  <a:pt x="1063194" y="5555146"/>
                </a:lnTo>
                <a:lnTo>
                  <a:pt x="750855" y="5510173"/>
                </a:lnTo>
                <a:cubicBezTo>
                  <a:pt x="585150" y="5483521"/>
                  <a:pt x="424237" y="5453357"/>
                  <a:pt x="268553" y="5419676"/>
                </a:cubicBezTo>
                <a:lnTo>
                  <a:pt x="355" y="5353304"/>
                </a:lnTo>
                <a:lnTo>
                  <a:pt x="511" y="5325116"/>
                </a:lnTo>
                <a:cubicBezTo>
                  <a:pt x="2883" y="4745919"/>
                  <a:pt x="3215" y="157949"/>
                  <a:pt x="159" y="3966"/>
                </a:cubicBezTo>
                <a:close/>
              </a:path>
            </a:pathLst>
          </a:custGeom>
          <a:solidFill>
            <a:schemeClr val="accent2"/>
          </a:solidFill>
        </p:spPr>
        <p:txBody>
          <a:bodyPr wrap="square" lIns="6336000" tIns="0" anchor="ctr">
            <a:noAutofit/>
          </a:bodyPr>
          <a:lstStyle>
            <a:lvl1pPr marL="0" indent="0" algn="l">
              <a:buNone/>
              <a:defRPr sz="1200" cap="none" baseline="0">
                <a:solidFill>
                  <a:schemeClr val="tx1"/>
                </a:solidFill>
              </a:defRPr>
            </a:lvl1pPr>
          </a:lstStyle>
          <a:p>
            <a:r>
              <a:rPr lang="en-US" dirty="0"/>
              <a:t> </a:t>
            </a:r>
          </a:p>
        </p:txBody>
      </p:sp>
      <p:sp>
        <p:nvSpPr>
          <p:cNvPr id="13" name="Titel 12">
            <a:extLst>
              <a:ext uri="{FF2B5EF4-FFF2-40B4-BE49-F238E27FC236}">
                <a16:creationId xmlns:a16="http://schemas.microsoft.com/office/drawing/2014/main" id="{D5F6F8AB-193C-4520-838F-7E755B49CE70}"/>
              </a:ext>
            </a:extLst>
          </p:cNvPr>
          <p:cNvSpPr>
            <a:spLocks noGrp="1"/>
          </p:cNvSpPr>
          <p:nvPr>
            <p:ph type="ctrTitle" hasCustomPrompt="1"/>
          </p:nvPr>
        </p:nvSpPr>
        <p:spPr bwMode="gray">
          <a:xfrm>
            <a:off x="0" y="0"/>
            <a:ext cx="6095999" cy="3392760"/>
          </a:xfrm>
          <a:custGeom>
            <a:avLst/>
            <a:gdLst>
              <a:gd name="connsiteX0" fmla="*/ 0 w 6095206"/>
              <a:gd name="connsiteY0" fmla="*/ 0 h 3393546"/>
              <a:gd name="connsiteX1" fmla="*/ 6095206 w 6095206"/>
              <a:gd name="connsiteY1" fmla="*/ 0 h 3393546"/>
              <a:gd name="connsiteX2" fmla="*/ 6095206 w 6095206"/>
              <a:gd name="connsiteY2" fmla="*/ 3088765 h 3393546"/>
              <a:gd name="connsiteX3" fmla="*/ 6077723 w 6095206"/>
              <a:gd name="connsiteY3" fmla="*/ 3092188 h 3393546"/>
              <a:gd name="connsiteX4" fmla="*/ 3047672 w 6095206"/>
              <a:gd name="connsiteY4" fmla="*/ 3393546 h 3393546"/>
              <a:gd name="connsiteX5" fmla="*/ 0 w 6095206"/>
              <a:gd name="connsiteY5" fmla="*/ 3088765 h 3393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5206" h="3393546">
                <a:moveTo>
                  <a:pt x="0" y="0"/>
                </a:moveTo>
                <a:lnTo>
                  <a:pt x="6095206" y="0"/>
                </a:lnTo>
                <a:lnTo>
                  <a:pt x="6095206" y="3088765"/>
                </a:lnTo>
                <a:lnTo>
                  <a:pt x="6077723" y="3092188"/>
                </a:lnTo>
                <a:cubicBezTo>
                  <a:pt x="5904736" y="3125672"/>
                  <a:pt x="4476205" y="3393546"/>
                  <a:pt x="3047672" y="3393546"/>
                </a:cubicBezTo>
                <a:cubicBezTo>
                  <a:pt x="1523905" y="3393546"/>
                  <a:pt x="0" y="3088765"/>
                  <a:pt x="0" y="3088765"/>
                </a:cubicBezTo>
                <a:close/>
              </a:path>
            </a:pathLst>
          </a:custGeom>
          <a:solidFill>
            <a:schemeClr val="accent1">
              <a:alpha val="90000"/>
            </a:schemeClr>
          </a:solidFill>
        </p:spPr>
        <p:txBody>
          <a:bodyPr wrap="square" lIns="547200" tIns="478800" rIns="468000">
            <a:noAutofit/>
          </a:bodyPr>
          <a:lstStyle>
            <a:lvl1pPr>
              <a:defRPr sz="3199" baseline="0">
                <a:solidFill>
                  <a:schemeClr val="bg1"/>
                </a:solidFill>
              </a:defRPr>
            </a:lvl1pPr>
          </a:lstStyle>
          <a:p>
            <a:r>
              <a:rPr lang="en-US" dirty="0"/>
              <a:t>Here is a very long</a:t>
            </a:r>
            <a:br>
              <a:rPr lang="en-US" dirty="0"/>
            </a:br>
            <a:r>
              <a:rPr lang="en-US" dirty="0"/>
              <a:t>Headline 32pt</a:t>
            </a:r>
          </a:p>
        </p:txBody>
      </p:sp>
      <p:sp>
        <p:nvSpPr>
          <p:cNvPr id="9" name="Untertitel 2"/>
          <p:cNvSpPr>
            <a:spLocks noGrp="1"/>
          </p:cNvSpPr>
          <p:nvPr>
            <p:ph type="subTitle" idx="1" hasCustomPrompt="1"/>
          </p:nvPr>
        </p:nvSpPr>
        <p:spPr bwMode="gray">
          <a:xfrm>
            <a:off x="550507" y="1701160"/>
            <a:ext cx="5112666" cy="1079750"/>
          </a:xfrm>
        </p:spPr>
        <p:txBody>
          <a:bodyPr/>
          <a:lstStyle>
            <a:lvl1pPr marL="0" indent="0" algn="l">
              <a:spcAft>
                <a:spcPts val="0"/>
              </a:spcAft>
              <a:buNone/>
              <a:defRPr sz="2000" cap="none" baseline="0">
                <a:solidFill>
                  <a:schemeClr val="bg1"/>
                </a:solidFill>
              </a:defRPr>
            </a:lvl1pPr>
            <a:lvl2pPr marL="0" indent="0" algn="l">
              <a:spcAft>
                <a:spcPts val="0"/>
              </a:spcAft>
              <a:buNone/>
              <a:defRPr sz="2000">
                <a:solidFill>
                  <a:schemeClr val="bg1"/>
                </a:solidFill>
              </a:defRPr>
            </a:lvl2pPr>
            <a:lvl3pPr marL="0" indent="0" algn="l">
              <a:spcAft>
                <a:spcPts val="0"/>
              </a:spcAft>
              <a:buNone/>
              <a:defRPr sz="2000">
                <a:solidFill>
                  <a:schemeClr val="bg1"/>
                </a:solidFill>
              </a:defRPr>
            </a:lvl3pPr>
            <a:lvl4pPr marL="0" indent="0" algn="l">
              <a:spcAft>
                <a:spcPts val="0"/>
              </a:spcAft>
              <a:buNone/>
              <a:defRPr sz="2000">
                <a:solidFill>
                  <a:schemeClr val="bg1"/>
                </a:solidFill>
              </a:defRPr>
            </a:lvl4pPr>
            <a:lvl5pPr marL="0" indent="0" algn="l">
              <a:spcAft>
                <a:spcPts val="0"/>
              </a:spcAft>
              <a:buNone/>
              <a:defRPr sz="2000">
                <a:solidFill>
                  <a:schemeClr val="bg1"/>
                </a:solidFill>
              </a:defRPr>
            </a:lvl5pPr>
            <a:lvl6pPr marL="0" indent="0" algn="l">
              <a:spcAft>
                <a:spcPts val="0"/>
              </a:spcAft>
              <a:buNone/>
              <a:defRPr sz="2000">
                <a:solidFill>
                  <a:schemeClr val="bg1"/>
                </a:solidFill>
              </a:defRPr>
            </a:lvl6pPr>
            <a:lvl7pPr marL="0" indent="0" algn="l">
              <a:spcAft>
                <a:spcPts val="0"/>
              </a:spcAft>
              <a:buNone/>
              <a:defRPr sz="2000">
                <a:solidFill>
                  <a:schemeClr val="bg1"/>
                </a:solidFill>
              </a:defRPr>
            </a:lvl7pPr>
            <a:lvl8pPr marL="0" indent="0" algn="l">
              <a:spcAft>
                <a:spcPts val="0"/>
              </a:spcAft>
              <a:buNone/>
              <a:defRPr sz="2000">
                <a:solidFill>
                  <a:schemeClr val="bg1"/>
                </a:solidFill>
              </a:defRPr>
            </a:lvl8pPr>
            <a:lvl9pPr marL="0" indent="0" algn="l">
              <a:spcAft>
                <a:spcPts val="0"/>
              </a:spcAft>
              <a:buNone/>
              <a:defRPr sz="2000">
                <a:solidFill>
                  <a:schemeClr val="bg1"/>
                </a:solidFill>
              </a:defRPr>
            </a:lvl9pPr>
          </a:lstStyle>
          <a:p>
            <a:pPr lvl="0"/>
            <a:r>
              <a:rPr lang="en-US" dirty="0"/>
              <a:t>Here is a Subheadline 20pt</a:t>
            </a:r>
          </a:p>
        </p:txBody>
      </p:sp>
    </p:spTree>
    <p:extLst>
      <p:ext uri="{BB962C8B-B14F-4D97-AF65-F5344CB8AC3E}">
        <p14:creationId xmlns:p14="http://schemas.microsoft.com/office/powerpoint/2010/main" val="466635037"/>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Only Title with picture">
    <p:bg>
      <p:bgPr>
        <a:solidFill>
          <a:schemeClr val="bg1"/>
        </a:solidFill>
        <a:effectLst/>
      </p:bgPr>
    </p:bg>
    <p:spTree>
      <p:nvGrpSpPr>
        <p:cNvPr id="1" name=""/>
        <p:cNvGrpSpPr/>
        <p:nvPr/>
      </p:nvGrpSpPr>
      <p:grpSpPr>
        <a:xfrm>
          <a:off x="0" y="0"/>
          <a:ext cx="0" cy="0"/>
          <a:chOff x="0" y="0"/>
          <a:chExt cx="0" cy="0"/>
        </a:xfrm>
      </p:grpSpPr>
      <p:sp>
        <p:nvSpPr>
          <p:cNvPr id="12" name="Bildplatzhalter 11">
            <a:extLst>
              <a:ext uri="{FF2B5EF4-FFF2-40B4-BE49-F238E27FC236}">
                <a16:creationId xmlns:a16="http://schemas.microsoft.com/office/drawing/2014/main" id="{C2451CE1-8153-44B1-98A1-11DC116FE7B5}"/>
              </a:ext>
            </a:extLst>
          </p:cNvPr>
          <p:cNvSpPr>
            <a:spLocks noGrp="1"/>
          </p:cNvSpPr>
          <p:nvPr>
            <p:ph type="pic" sz="quarter" idx="16" hasCustomPrompt="1"/>
          </p:nvPr>
        </p:nvSpPr>
        <p:spPr bwMode="gray">
          <a:xfrm>
            <a:off x="1" y="0"/>
            <a:ext cx="12192000" cy="5660793"/>
          </a:xfrm>
          <a:custGeom>
            <a:avLst/>
            <a:gdLst>
              <a:gd name="connsiteX0" fmla="*/ 0 w 12190413"/>
              <a:gd name="connsiteY0" fmla="*/ 0 h 5662104"/>
              <a:gd name="connsiteX1" fmla="*/ 12190413 w 12190413"/>
              <a:gd name="connsiteY1" fmla="*/ 0 h 5662104"/>
              <a:gd name="connsiteX2" fmla="*/ 12190412 w 12190413"/>
              <a:gd name="connsiteY2" fmla="*/ 5369071 h 5662104"/>
              <a:gd name="connsiteX3" fmla="*/ 12190412 w 12190413"/>
              <a:gd name="connsiteY3" fmla="*/ 5381978 h 5662104"/>
              <a:gd name="connsiteX4" fmla="*/ 12188206 w 12190413"/>
              <a:gd name="connsiteY4" fmla="*/ 5381464 h 5662104"/>
              <a:gd name="connsiteX5" fmla="*/ 12188206 w 12190413"/>
              <a:gd name="connsiteY5" fmla="*/ 5374839 h 5662104"/>
              <a:gd name="connsiteX6" fmla="*/ 12032390 w 12190413"/>
              <a:gd name="connsiteY6" fmla="*/ 5345161 h 5662104"/>
              <a:gd name="connsiteX7" fmla="*/ 11853287 w 12190413"/>
              <a:gd name="connsiteY7" fmla="*/ 5303433 h 5662104"/>
              <a:gd name="connsiteX8" fmla="*/ 9474399 w 12190413"/>
              <a:gd name="connsiteY8" fmla="*/ 5070435 h 5662104"/>
              <a:gd name="connsiteX9" fmla="*/ 9363219 w 12190413"/>
              <a:gd name="connsiteY9" fmla="*/ 5071476 h 5662104"/>
              <a:gd name="connsiteX10" fmla="*/ 9336724 w 12190413"/>
              <a:gd name="connsiteY10" fmla="*/ 5071008 h 5662104"/>
              <a:gd name="connsiteX11" fmla="*/ 9141154 w 12190413"/>
              <a:gd name="connsiteY11" fmla="*/ 5071008 h 5662104"/>
              <a:gd name="connsiteX12" fmla="*/ 8943837 w 12190413"/>
              <a:gd name="connsiteY12" fmla="*/ 5071007 h 5662104"/>
              <a:gd name="connsiteX13" fmla="*/ 8746521 w 12190413"/>
              <a:gd name="connsiteY13" fmla="*/ 5074500 h 5662104"/>
              <a:gd name="connsiteX14" fmla="*/ 8552697 w 12190413"/>
              <a:gd name="connsiteY14" fmla="*/ 5079739 h 5662104"/>
              <a:gd name="connsiteX15" fmla="*/ 8357128 w 12190413"/>
              <a:gd name="connsiteY15" fmla="*/ 5090215 h 5662104"/>
              <a:gd name="connsiteX16" fmla="*/ 8163303 w 12190413"/>
              <a:gd name="connsiteY16" fmla="*/ 5102438 h 5662104"/>
              <a:gd name="connsiteX17" fmla="*/ 7972972 w 12190413"/>
              <a:gd name="connsiteY17" fmla="*/ 5114662 h 5662104"/>
              <a:gd name="connsiteX18" fmla="*/ 7779149 w 12190413"/>
              <a:gd name="connsiteY18" fmla="*/ 5130376 h 5662104"/>
              <a:gd name="connsiteX19" fmla="*/ 7587072 w 12190413"/>
              <a:gd name="connsiteY19" fmla="*/ 5149584 h 5662104"/>
              <a:gd name="connsiteX20" fmla="*/ 7396738 w 12190413"/>
              <a:gd name="connsiteY20" fmla="*/ 5172284 h 5662104"/>
              <a:gd name="connsiteX21" fmla="*/ 7209903 w 12190413"/>
              <a:gd name="connsiteY21" fmla="*/ 5194984 h 5662104"/>
              <a:gd name="connsiteX22" fmla="*/ 7019571 w 12190413"/>
              <a:gd name="connsiteY22" fmla="*/ 5219431 h 5662104"/>
              <a:gd name="connsiteX23" fmla="*/ 6853019 w 12190413"/>
              <a:gd name="connsiteY23" fmla="*/ 5245892 h 5662104"/>
              <a:gd name="connsiteX24" fmla="*/ 6718666 w 12190413"/>
              <a:gd name="connsiteY24" fmla="*/ 5263138 h 5662104"/>
              <a:gd name="connsiteX25" fmla="*/ 6545441 w 12190413"/>
              <a:gd name="connsiteY25" fmla="*/ 5292335 h 5662104"/>
              <a:gd name="connsiteX26" fmla="*/ 6460798 w 12190413"/>
              <a:gd name="connsiteY26" fmla="*/ 5304993 h 5662104"/>
              <a:gd name="connsiteX27" fmla="*/ 6387367 w 12190413"/>
              <a:gd name="connsiteY27" fmla="*/ 5318980 h 5662104"/>
              <a:gd name="connsiteX28" fmla="*/ 6041160 w 12190413"/>
              <a:gd name="connsiteY28" fmla="*/ 5377334 h 5662104"/>
              <a:gd name="connsiteX29" fmla="*/ 5887321 w 12190413"/>
              <a:gd name="connsiteY29" fmla="*/ 5409645 h 5662104"/>
              <a:gd name="connsiteX30" fmla="*/ 5857713 w 12190413"/>
              <a:gd name="connsiteY30" fmla="*/ 5414631 h 5662104"/>
              <a:gd name="connsiteX31" fmla="*/ 1438219 w 12190413"/>
              <a:gd name="connsiteY31" fmla="*/ 5598060 h 5662104"/>
              <a:gd name="connsiteX32" fmla="*/ 1112913 w 12190413"/>
              <a:gd name="connsiteY32" fmla="*/ 5561533 h 5662104"/>
              <a:gd name="connsiteX33" fmla="*/ 1063194 w 12190413"/>
              <a:gd name="connsiteY33" fmla="*/ 5555146 h 5662104"/>
              <a:gd name="connsiteX34" fmla="*/ 750855 w 12190413"/>
              <a:gd name="connsiteY34" fmla="*/ 5510173 h 5662104"/>
              <a:gd name="connsiteX35" fmla="*/ 268553 w 12190413"/>
              <a:gd name="connsiteY35" fmla="*/ 5419676 h 5662104"/>
              <a:gd name="connsiteX36" fmla="*/ 355 w 12190413"/>
              <a:gd name="connsiteY36" fmla="*/ 5353304 h 5662104"/>
              <a:gd name="connsiteX37" fmla="*/ 511 w 12190413"/>
              <a:gd name="connsiteY37" fmla="*/ 5325116 h 5662104"/>
              <a:gd name="connsiteX38" fmla="*/ 159 w 12190413"/>
              <a:gd name="connsiteY38" fmla="*/ 3966 h 566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2190413" h="5662104">
                <a:moveTo>
                  <a:pt x="0" y="0"/>
                </a:moveTo>
                <a:lnTo>
                  <a:pt x="12190413" y="0"/>
                </a:lnTo>
                <a:lnTo>
                  <a:pt x="12190412" y="5369071"/>
                </a:lnTo>
                <a:lnTo>
                  <a:pt x="12190412" y="5381978"/>
                </a:lnTo>
                <a:lnTo>
                  <a:pt x="12188206" y="5381464"/>
                </a:lnTo>
                <a:lnTo>
                  <a:pt x="12188206" y="5374839"/>
                </a:lnTo>
                <a:lnTo>
                  <a:pt x="12032390" y="5345161"/>
                </a:lnTo>
                <a:lnTo>
                  <a:pt x="11853287" y="5303433"/>
                </a:lnTo>
                <a:cubicBezTo>
                  <a:pt x="11151505" y="5161237"/>
                  <a:pt x="10345755" y="5080171"/>
                  <a:pt x="9474399" y="5070435"/>
                </a:cubicBezTo>
                <a:lnTo>
                  <a:pt x="9363219" y="5071476"/>
                </a:lnTo>
                <a:lnTo>
                  <a:pt x="9336724" y="5071008"/>
                </a:lnTo>
                <a:lnTo>
                  <a:pt x="9141154" y="5071008"/>
                </a:lnTo>
                <a:lnTo>
                  <a:pt x="8943837" y="5071007"/>
                </a:lnTo>
                <a:lnTo>
                  <a:pt x="8746521" y="5074500"/>
                </a:lnTo>
                <a:lnTo>
                  <a:pt x="8552697" y="5079739"/>
                </a:lnTo>
                <a:lnTo>
                  <a:pt x="8357128" y="5090215"/>
                </a:lnTo>
                <a:lnTo>
                  <a:pt x="8163303" y="5102438"/>
                </a:lnTo>
                <a:lnTo>
                  <a:pt x="7972972" y="5114662"/>
                </a:lnTo>
                <a:lnTo>
                  <a:pt x="7779149" y="5130376"/>
                </a:lnTo>
                <a:lnTo>
                  <a:pt x="7587072" y="5149584"/>
                </a:lnTo>
                <a:lnTo>
                  <a:pt x="7396738" y="5172284"/>
                </a:lnTo>
                <a:lnTo>
                  <a:pt x="7209903" y="5194984"/>
                </a:lnTo>
                <a:lnTo>
                  <a:pt x="7019571" y="5219431"/>
                </a:lnTo>
                <a:lnTo>
                  <a:pt x="6853019" y="5245892"/>
                </a:lnTo>
                <a:lnTo>
                  <a:pt x="6718666" y="5263138"/>
                </a:lnTo>
                <a:lnTo>
                  <a:pt x="6545441" y="5292335"/>
                </a:lnTo>
                <a:lnTo>
                  <a:pt x="6460798" y="5304993"/>
                </a:lnTo>
                <a:lnTo>
                  <a:pt x="6387367" y="5318980"/>
                </a:lnTo>
                <a:lnTo>
                  <a:pt x="6041160" y="5377334"/>
                </a:lnTo>
                <a:lnTo>
                  <a:pt x="5887321" y="5409645"/>
                </a:lnTo>
                <a:lnTo>
                  <a:pt x="5857713" y="5414631"/>
                </a:lnTo>
                <a:cubicBezTo>
                  <a:pt x="4271557" y="5663154"/>
                  <a:pt x="2741498" y="5724884"/>
                  <a:pt x="1438219" y="5598060"/>
                </a:cubicBezTo>
                <a:lnTo>
                  <a:pt x="1112913" y="5561533"/>
                </a:lnTo>
                <a:lnTo>
                  <a:pt x="1063194" y="5555146"/>
                </a:lnTo>
                <a:lnTo>
                  <a:pt x="750855" y="5510173"/>
                </a:lnTo>
                <a:cubicBezTo>
                  <a:pt x="585150" y="5483521"/>
                  <a:pt x="424237" y="5453357"/>
                  <a:pt x="268553" y="5419676"/>
                </a:cubicBezTo>
                <a:lnTo>
                  <a:pt x="355" y="5353304"/>
                </a:lnTo>
                <a:lnTo>
                  <a:pt x="511" y="5325116"/>
                </a:lnTo>
                <a:cubicBezTo>
                  <a:pt x="2883" y="4745919"/>
                  <a:pt x="3215" y="157949"/>
                  <a:pt x="159" y="3966"/>
                </a:cubicBezTo>
                <a:close/>
              </a:path>
            </a:pathLst>
          </a:custGeom>
          <a:solidFill>
            <a:schemeClr val="accent2"/>
          </a:solidFill>
        </p:spPr>
        <p:txBody>
          <a:bodyPr wrap="square" lIns="6336000" tIns="0" anchor="ctr">
            <a:noAutofit/>
          </a:bodyPr>
          <a:lstStyle>
            <a:lvl1pPr marL="0" marR="0" indent="0" algn="l" defTabSz="1218926" rtl="0" eaLnBrk="1" fontAlgn="auto" latinLnBrk="0" hangingPunct="1">
              <a:lnSpc>
                <a:spcPct val="100000"/>
              </a:lnSpc>
              <a:spcBef>
                <a:spcPts val="0"/>
              </a:spcBef>
              <a:spcAft>
                <a:spcPts val="600"/>
              </a:spcAft>
              <a:buClr>
                <a:schemeClr val="tx2"/>
              </a:buClr>
              <a:buSzTx/>
              <a:buFont typeface="Wingdings" panose="05000000000000000000" pitchFamily="2" charset="2"/>
              <a:buNone/>
              <a:tabLst/>
              <a:defRPr lang="de-DE" sz="1200" kern="1200" cap="none" baseline="0" dirty="0">
                <a:solidFill>
                  <a:schemeClr val="tx1"/>
                </a:solidFill>
                <a:latin typeface="+mn-lt"/>
                <a:ea typeface="+mn-ea"/>
                <a:cs typeface="+mn-cs"/>
              </a:defRPr>
            </a:lvl1pPr>
          </a:lstStyle>
          <a:p>
            <a:pPr marL="0" marR="0" lvl="0" indent="0" algn="l" defTabSz="1218926" rtl="0" eaLnBrk="1" fontAlgn="auto" latinLnBrk="0" hangingPunct="1">
              <a:lnSpc>
                <a:spcPct val="100000"/>
              </a:lnSpc>
              <a:spcBef>
                <a:spcPts val="0"/>
              </a:spcBef>
              <a:spcAft>
                <a:spcPts val="600"/>
              </a:spcAft>
              <a:buClr>
                <a:schemeClr val="tx2"/>
              </a:buClr>
              <a:buSzTx/>
              <a:buFont typeface="Wingdings" panose="05000000000000000000" pitchFamily="2" charset="2"/>
              <a:buNone/>
              <a:tabLst/>
              <a:defRPr/>
            </a:pPr>
            <a:r>
              <a:rPr lang="en-US" dirty="0"/>
              <a:t> </a:t>
            </a:r>
          </a:p>
        </p:txBody>
      </p:sp>
      <p:sp>
        <p:nvSpPr>
          <p:cNvPr id="11" name="Rechteck 10" hidden="1">
            <a:extLst>
              <a:ext uri="{FF2B5EF4-FFF2-40B4-BE49-F238E27FC236}">
                <a16:creationId xmlns:a16="http://schemas.microsoft.com/office/drawing/2014/main" id="{09C9B37A-7A7B-4875-8073-9D07431EE846}"/>
              </a:ext>
            </a:extLst>
          </p:cNvPr>
          <p:cNvSpPr/>
          <p:nvPr userDrawn="1">
            <p:custDataLst>
              <p:tags r:id="rId1"/>
            </p:custDataLst>
          </p:nvPr>
        </p:nvSpPr>
        <p:spPr>
          <a:xfrm>
            <a:off x="9192833" y="5970792"/>
            <a:ext cx="2999167" cy="887208"/>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
        <p:nvSpPr>
          <p:cNvPr id="7" name="Titel 6">
            <a:extLst>
              <a:ext uri="{FF2B5EF4-FFF2-40B4-BE49-F238E27FC236}">
                <a16:creationId xmlns:a16="http://schemas.microsoft.com/office/drawing/2014/main" id="{76F0A181-8CC6-4E84-8794-ABFAC470800E}"/>
              </a:ext>
            </a:extLst>
          </p:cNvPr>
          <p:cNvSpPr>
            <a:spLocks noGrp="1"/>
          </p:cNvSpPr>
          <p:nvPr>
            <p:ph type="ctrTitle" hasCustomPrompt="1"/>
          </p:nvPr>
        </p:nvSpPr>
        <p:spPr bwMode="gray">
          <a:xfrm>
            <a:off x="1280" y="0"/>
            <a:ext cx="6093618" cy="1871827"/>
          </a:xfrm>
          <a:custGeom>
            <a:avLst/>
            <a:gdLst>
              <a:gd name="connsiteX0" fmla="*/ 847 w 6092825"/>
              <a:gd name="connsiteY0" fmla="*/ 0 h 1872260"/>
              <a:gd name="connsiteX1" fmla="*/ 6092825 w 6092825"/>
              <a:gd name="connsiteY1" fmla="*/ 0 h 1872260"/>
              <a:gd name="connsiteX2" fmla="*/ 6092825 w 6092825"/>
              <a:gd name="connsiteY2" fmla="*/ 1578566 h 1872260"/>
              <a:gd name="connsiteX3" fmla="*/ 6039882 w 6092825"/>
              <a:gd name="connsiteY3" fmla="*/ 1587490 h 1872260"/>
              <a:gd name="connsiteX4" fmla="*/ 5886043 w 6092825"/>
              <a:gd name="connsiteY4" fmla="*/ 1619801 h 1872260"/>
              <a:gd name="connsiteX5" fmla="*/ 5856435 w 6092825"/>
              <a:gd name="connsiteY5" fmla="*/ 1624787 h 1872260"/>
              <a:gd name="connsiteX6" fmla="*/ 1436941 w 6092825"/>
              <a:gd name="connsiteY6" fmla="*/ 1808216 h 1872260"/>
              <a:gd name="connsiteX7" fmla="*/ 1111635 w 6092825"/>
              <a:gd name="connsiteY7" fmla="*/ 1771689 h 1872260"/>
              <a:gd name="connsiteX8" fmla="*/ 1061916 w 6092825"/>
              <a:gd name="connsiteY8" fmla="*/ 1765302 h 1872260"/>
              <a:gd name="connsiteX9" fmla="*/ 749577 w 6092825"/>
              <a:gd name="connsiteY9" fmla="*/ 1720329 h 1872260"/>
              <a:gd name="connsiteX10" fmla="*/ 267275 w 6092825"/>
              <a:gd name="connsiteY10" fmla="*/ 1629832 h 1872260"/>
              <a:gd name="connsiteX11" fmla="*/ 0 w 6092825"/>
              <a:gd name="connsiteY11" fmla="*/ 1563688 h 1872260"/>
              <a:gd name="connsiteX12" fmla="*/ 0 w 6092825"/>
              <a:gd name="connsiteY12" fmla="*/ 1163908 h 1872260"/>
              <a:gd name="connsiteX13" fmla="*/ 24 w 6092825"/>
              <a:gd name="connsiteY13" fmla="*/ 1146652 h 1872260"/>
              <a:gd name="connsiteX14" fmla="*/ 818 w 6092825"/>
              <a:gd name="connsiteY14" fmla="*/ 75482 h 1872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092825" h="1872260">
                <a:moveTo>
                  <a:pt x="847" y="0"/>
                </a:moveTo>
                <a:lnTo>
                  <a:pt x="6092825" y="0"/>
                </a:lnTo>
                <a:lnTo>
                  <a:pt x="6092825" y="1578566"/>
                </a:lnTo>
                <a:lnTo>
                  <a:pt x="6039882" y="1587490"/>
                </a:lnTo>
                <a:lnTo>
                  <a:pt x="5886043" y="1619801"/>
                </a:lnTo>
                <a:lnTo>
                  <a:pt x="5856435" y="1624787"/>
                </a:lnTo>
                <a:cubicBezTo>
                  <a:pt x="4270279" y="1873310"/>
                  <a:pt x="2740220" y="1935040"/>
                  <a:pt x="1436941" y="1808216"/>
                </a:cubicBezTo>
                <a:lnTo>
                  <a:pt x="1111635" y="1771689"/>
                </a:lnTo>
                <a:lnTo>
                  <a:pt x="1061916" y="1765302"/>
                </a:lnTo>
                <a:lnTo>
                  <a:pt x="749577" y="1720329"/>
                </a:lnTo>
                <a:cubicBezTo>
                  <a:pt x="583872" y="1693677"/>
                  <a:pt x="422959" y="1663513"/>
                  <a:pt x="267275" y="1629832"/>
                </a:cubicBezTo>
                <a:lnTo>
                  <a:pt x="0" y="1563688"/>
                </a:lnTo>
                <a:lnTo>
                  <a:pt x="0" y="1163908"/>
                </a:lnTo>
                <a:lnTo>
                  <a:pt x="24" y="1146652"/>
                </a:lnTo>
                <a:cubicBezTo>
                  <a:pt x="370" y="874876"/>
                  <a:pt x="637" y="499268"/>
                  <a:pt x="818" y="75482"/>
                </a:cubicBezTo>
                <a:close/>
              </a:path>
            </a:pathLst>
          </a:custGeom>
          <a:solidFill>
            <a:schemeClr val="accent1">
              <a:alpha val="90000"/>
            </a:schemeClr>
          </a:solidFill>
        </p:spPr>
        <p:txBody>
          <a:bodyPr wrap="square" lIns="547200" tIns="478800" rIns="468000">
            <a:noAutofit/>
          </a:bodyPr>
          <a:lstStyle>
            <a:lvl1pPr>
              <a:defRPr sz="3199" baseline="0">
                <a:solidFill>
                  <a:schemeClr val="bg1"/>
                </a:solidFill>
              </a:defRPr>
            </a:lvl1pPr>
          </a:lstStyle>
          <a:p>
            <a:r>
              <a:rPr lang="en-US" dirty="0"/>
              <a:t>Here is a very long</a:t>
            </a:r>
            <a:br>
              <a:rPr lang="en-US" dirty="0"/>
            </a:br>
            <a:r>
              <a:rPr lang="en-US" dirty="0"/>
              <a:t>Headline 32pt</a:t>
            </a:r>
          </a:p>
        </p:txBody>
      </p:sp>
    </p:spTree>
    <p:extLst>
      <p:ext uri="{BB962C8B-B14F-4D97-AF65-F5344CB8AC3E}">
        <p14:creationId xmlns:p14="http://schemas.microsoft.com/office/powerpoint/2010/main" val="1947709849"/>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EE73A7-191D-C8AE-E50A-0C3954D793F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B5D0E9E-24AD-CC93-7977-9E33B84B294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45CD2AE8-960F-C600-82A8-E3CF254FE791}"/>
              </a:ext>
            </a:extLst>
          </p:cNvPr>
          <p:cNvSpPr>
            <a:spLocks noGrp="1"/>
          </p:cNvSpPr>
          <p:nvPr>
            <p:ph type="dt" sz="half" idx="10"/>
          </p:nvPr>
        </p:nvSpPr>
        <p:spPr/>
        <p:txBody>
          <a:bodyPr/>
          <a:lstStyle/>
          <a:p>
            <a:fld id="{8E2DC9B0-CADE-4BCF-8B5E-A3E36D03AA2F}" type="datetimeFigureOut">
              <a:rPr lang="en-GB" smtClean="0"/>
              <a:t>22/10/2024</a:t>
            </a:fld>
            <a:endParaRPr lang="en-GB"/>
          </a:p>
        </p:txBody>
      </p:sp>
      <p:sp>
        <p:nvSpPr>
          <p:cNvPr id="5" name="Footer Placeholder 4">
            <a:extLst>
              <a:ext uri="{FF2B5EF4-FFF2-40B4-BE49-F238E27FC236}">
                <a16:creationId xmlns:a16="http://schemas.microsoft.com/office/drawing/2014/main" id="{56612AF7-B7B0-3D6C-6703-6B3B48F48BD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8A3F5CEA-92C9-4397-E1D5-817F21B11B33}"/>
              </a:ext>
            </a:extLst>
          </p:cNvPr>
          <p:cNvSpPr>
            <a:spLocks noGrp="1"/>
          </p:cNvSpPr>
          <p:nvPr>
            <p:ph type="sldNum" sz="quarter" idx="12"/>
          </p:nvPr>
        </p:nvSpPr>
        <p:spPr/>
        <p:txBody>
          <a:bodyPr/>
          <a:lstStyle/>
          <a:p>
            <a:fld id="{3DBB904D-600E-4758-B075-158E5AAE9766}" type="slidenum">
              <a:rPr lang="en-GB" smtClean="0"/>
              <a:t>‹#›</a:t>
            </a:fld>
            <a:endParaRPr lang="en-GB"/>
          </a:p>
        </p:txBody>
      </p:sp>
    </p:spTree>
    <p:extLst>
      <p:ext uri="{BB962C8B-B14F-4D97-AF65-F5344CB8AC3E}">
        <p14:creationId xmlns:p14="http://schemas.microsoft.com/office/powerpoint/2010/main" val="303905634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without picture">
    <p:spTree>
      <p:nvGrpSpPr>
        <p:cNvPr id="1" name=""/>
        <p:cNvGrpSpPr/>
        <p:nvPr/>
      </p:nvGrpSpPr>
      <p:grpSpPr>
        <a:xfrm>
          <a:off x="0" y="0"/>
          <a:ext cx="0" cy="0"/>
          <a:chOff x="0" y="0"/>
          <a:chExt cx="0" cy="0"/>
        </a:xfrm>
      </p:grpSpPr>
      <p:sp>
        <p:nvSpPr>
          <p:cNvPr id="7" name="Rechteck 6" hidden="1">
            <a:extLst>
              <a:ext uri="{FF2B5EF4-FFF2-40B4-BE49-F238E27FC236}">
                <a16:creationId xmlns:a16="http://schemas.microsoft.com/office/drawing/2014/main" id="{4DE46290-C5B2-40DC-B55A-FFBFBFC19417}"/>
              </a:ext>
            </a:extLst>
          </p:cNvPr>
          <p:cNvSpPr/>
          <p:nvPr userDrawn="1">
            <p:custDataLst>
              <p:tags r:id="rId1"/>
            </p:custDataLst>
          </p:nvPr>
        </p:nvSpPr>
        <p:spPr>
          <a:xfrm>
            <a:off x="9192833" y="5970792"/>
            <a:ext cx="2999167" cy="887208"/>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
        <p:nvSpPr>
          <p:cNvPr id="10" name="Freihandform: Form 9">
            <a:extLst>
              <a:ext uri="{FF2B5EF4-FFF2-40B4-BE49-F238E27FC236}">
                <a16:creationId xmlns:a16="http://schemas.microsoft.com/office/drawing/2014/main" id="{EFA2FEA4-0A89-4AB0-9AD2-66DDA27F402E}"/>
              </a:ext>
            </a:extLst>
          </p:cNvPr>
          <p:cNvSpPr/>
          <p:nvPr userDrawn="1"/>
        </p:nvSpPr>
        <p:spPr>
          <a:xfrm>
            <a:off x="1" y="0"/>
            <a:ext cx="12192000" cy="5660793"/>
          </a:xfrm>
          <a:custGeom>
            <a:avLst/>
            <a:gdLst>
              <a:gd name="connsiteX0" fmla="*/ 0 w 12190413"/>
              <a:gd name="connsiteY0" fmla="*/ 0 h 5662104"/>
              <a:gd name="connsiteX1" fmla="*/ 12190413 w 12190413"/>
              <a:gd name="connsiteY1" fmla="*/ 0 h 5662104"/>
              <a:gd name="connsiteX2" fmla="*/ 12190413 w 12190413"/>
              <a:gd name="connsiteY2" fmla="*/ 2255518 h 5662104"/>
              <a:gd name="connsiteX3" fmla="*/ 12190413 w 12190413"/>
              <a:gd name="connsiteY3" fmla="*/ 3501804 h 5662104"/>
              <a:gd name="connsiteX4" fmla="*/ 12190413 w 12190413"/>
              <a:gd name="connsiteY4" fmla="*/ 3818748 h 5662104"/>
              <a:gd name="connsiteX5" fmla="*/ 12190412 w 12190413"/>
              <a:gd name="connsiteY5" fmla="*/ 5381978 h 5662104"/>
              <a:gd name="connsiteX6" fmla="*/ 12188206 w 12190413"/>
              <a:gd name="connsiteY6" fmla="*/ 5381464 h 5662104"/>
              <a:gd name="connsiteX7" fmla="*/ 12188206 w 12190413"/>
              <a:gd name="connsiteY7" fmla="*/ 5374839 h 5662104"/>
              <a:gd name="connsiteX8" fmla="*/ 12032390 w 12190413"/>
              <a:gd name="connsiteY8" fmla="*/ 5345161 h 5662104"/>
              <a:gd name="connsiteX9" fmla="*/ 11853287 w 12190413"/>
              <a:gd name="connsiteY9" fmla="*/ 5303433 h 5662104"/>
              <a:gd name="connsiteX10" fmla="*/ 9474399 w 12190413"/>
              <a:gd name="connsiteY10" fmla="*/ 5070435 h 5662104"/>
              <a:gd name="connsiteX11" fmla="*/ 9363219 w 12190413"/>
              <a:gd name="connsiteY11" fmla="*/ 5071476 h 5662104"/>
              <a:gd name="connsiteX12" fmla="*/ 9336724 w 12190413"/>
              <a:gd name="connsiteY12" fmla="*/ 5071008 h 5662104"/>
              <a:gd name="connsiteX13" fmla="*/ 9141154 w 12190413"/>
              <a:gd name="connsiteY13" fmla="*/ 5071008 h 5662104"/>
              <a:gd name="connsiteX14" fmla="*/ 8943837 w 12190413"/>
              <a:gd name="connsiteY14" fmla="*/ 5071007 h 5662104"/>
              <a:gd name="connsiteX15" fmla="*/ 8746521 w 12190413"/>
              <a:gd name="connsiteY15" fmla="*/ 5074500 h 5662104"/>
              <a:gd name="connsiteX16" fmla="*/ 8552697 w 12190413"/>
              <a:gd name="connsiteY16" fmla="*/ 5079739 h 5662104"/>
              <a:gd name="connsiteX17" fmla="*/ 8357128 w 12190413"/>
              <a:gd name="connsiteY17" fmla="*/ 5090215 h 5662104"/>
              <a:gd name="connsiteX18" fmla="*/ 8163303 w 12190413"/>
              <a:gd name="connsiteY18" fmla="*/ 5102438 h 5662104"/>
              <a:gd name="connsiteX19" fmla="*/ 7972972 w 12190413"/>
              <a:gd name="connsiteY19" fmla="*/ 5114662 h 5662104"/>
              <a:gd name="connsiteX20" fmla="*/ 7779149 w 12190413"/>
              <a:gd name="connsiteY20" fmla="*/ 5130376 h 5662104"/>
              <a:gd name="connsiteX21" fmla="*/ 7587072 w 12190413"/>
              <a:gd name="connsiteY21" fmla="*/ 5149584 h 5662104"/>
              <a:gd name="connsiteX22" fmla="*/ 7396738 w 12190413"/>
              <a:gd name="connsiteY22" fmla="*/ 5172284 h 5662104"/>
              <a:gd name="connsiteX23" fmla="*/ 7209903 w 12190413"/>
              <a:gd name="connsiteY23" fmla="*/ 5194984 h 5662104"/>
              <a:gd name="connsiteX24" fmla="*/ 7019571 w 12190413"/>
              <a:gd name="connsiteY24" fmla="*/ 5219431 h 5662104"/>
              <a:gd name="connsiteX25" fmla="*/ 6853019 w 12190413"/>
              <a:gd name="connsiteY25" fmla="*/ 5245892 h 5662104"/>
              <a:gd name="connsiteX26" fmla="*/ 6718666 w 12190413"/>
              <a:gd name="connsiteY26" fmla="*/ 5263138 h 5662104"/>
              <a:gd name="connsiteX27" fmla="*/ 6545441 w 12190413"/>
              <a:gd name="connsiteY27" fmla="*/ 5292335 h 5662104"/>
              <a:gd name="connsiteX28" fmla="*/ 6460798 w 12190413"/>
              <a:gd name="connsiteY28" fmla="*/ 5304993 h 5662104"/>
              <a:gd name="connsiteX29" fmla="*/ 6387367 w 12190413"/>
              <a:gd name="connsiteY29" fmla="*/ 5318980 h 5662104"/>
              <a:gd name="connsiteX30" fmla="*/ 6041160 w 12190413"/>
              <a:gd name="connsiteY30" fmla="*/ 5377334 h 5662104"/>
              <a:gd name="connsiteX31" fmla="*/ 5887321 w 12190413"/>
              <a:gd name="connsiteY31" fmla="*/ 5409645 h 5662104"/>
              <a:gd name="connsiteX32" fmla="*/ 5857713 w 12190413"/>
              <a:gd name="connsiteY32" fmla="*/ 5414631 h 5662104"/>
              <a:gd name="connsiteX33" fmla="*/ 1438219 w 12190413"/>
              <a:gd name="connsiteY33" fmla="*/ 5598060 h 5662104"/>
              <a:gd name="connsiteX34" fmla="*/ 1112913 w 12190413"/>
              <a:gd name="connsiteY34" fmla="*/ 5561533 h 5662104"/>
              <a:gd name="connsiteX35" fmla="*/ 1063194 w 12190413"/>
              <a:gd name="connsiteY35" fmla="*/ 5555146 h 5662104"/>
              <a:gd name="connsiteX36" fmla="*/ 750855 w 12190413"/>
              <a:gd name="connsiteY36" fmla="*/ 5510173 h 5662104"/>
              <a:gd name="connsiteX37" fmla="*/ 268553 w 12190413"/>
              <a:gd name="connsiteY37" fmla="*/ 5419676 h 5662104"/>
              <a:gd name="connsiteX38" fmla="*/ 1 w 12190413"/>
              <a:gd name="connsiteY38" fmla="*/ 5353216 h 5662104"/>
              <a:gd name="connsiteX39" fmla="*/ 0 w 12190413"/>
              <a:gd name="connsiteY39" fmla="*/ 5353194 h 5662104"/>
              <a:gd name="connsiteX40" fmla="*/ 0 w 12190413"/>
              <a:gd name="connsiteY40" fmla="*/ 3501804 h 5662104"/>
              <a:gd name="connsiteX41" fmla="*/ 0 w 12190413"/>
              <a:gd name="connsiteY41" fmla="*/ 2255518 h 566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2190413" h="5662104">
                <a:moveTo>
                  <a:pt x="0" y="0"/>
                </a:moveTo>
                <a:lnTo>
                  <a:pt x="12190413" y="0"/>
                </a:lnTo>
                <a:lnTo>
                  <a:pt x="12190413" y="2255518"/>
                </a:lnTo>
                <a:lnTo>
                  <a:pt x="12190413" y="3501804"/>
                </a:lnTo>
                <a:lnTo>
                  <a:pt x="12190413" y="3818748"/>
                </a:lnTo>
                <a:lnTo>
                  <a:pt x="12190412" y="5381978"/>
                </a:lnTo>
                <a:lnTo>
                  <a:pt x="12188206" y="5381464"/>
                </a:lnTo>
                <a:lnTo>
                  <a:pt x="12188206" y="5374839"/>
                </a:lnTo>
                <a:lnTo>
                  <a:pt x="12032390" y="5345161"/>
                </a:lnTo>
                <a:lnTo>
                  <a:pt x="11853287" y="5303433"/>
                </a:lnTo>
                <a:cubicBezTo>
                  <a:pt x="11151505" y="5161237"/>
                  <a:pt x="10345755" y="5080171"/>
                  <a:pt x="9474399" y="5070435"/>
                </a:cubicBezTo>
                <a:lnTo>
                  <a:pt x="9363219" y="5071476"/>
                </a:lnTo>
                <a:lnTo>
                  <a:pt x="9336724" y="5071008"/>
                </a:lnTo>
                <a:lnTo>
                  <a:pt x="9141154" y="5071008"/>
                </a:lnTo>
                <a:lnTo>
                  <a:pt x="8943837" y="5071007"/>
                </a:lnTo>
                <a:lnTo>
                  <a:pt x="8746521" y="5074500"/>
                </a:lnTo>
                <a:lnTo>
                  <a:pt x="8552697" y="5079739"/>
                </a:lnTo>
                <a:lnTo>
                  <a:pt x="8357128" y="5090215"/>
                </a:lnTo>
                <a:lnTo>
                  <a:pt x="8163303" y="5102438"/>
                </a:lnTo>
                <a:lnTo>
                  <a:pt x="7972972" y="5114662"/>
                </a:lnTo>
                <a:lnTo>
                  <a:pt x="7779149" y="5130376"/>
                </a:lnTo>
                <a:lnTo>
                  <a:pt x="7587072" y="5149584"/>
                </a:lnTo>
                <a:lnTo>
                  <a:pt x="7396738" y="5172284"/>
                </a:lnTo>
                <a:lnTo>
                  <a:pt x="7209903" y="5194984"/>
                </a:lnTo>
                <a:lnTo>
                  <a:pt x="7019571" y="5219431"/>
                </a:lnTo>
                <a:lnTo>
                  <a:pt x="6853019" y="5245892"/>
                </a:lnTo>
                <a:lnTo>
                  <a:pt x="6718666" y="5263138"/>
                </a:lnTo>
                <a:lnTo>
                  <a:pt x="6545441" y="5292335"/>
                </a:lnTo>
                <a:lnTo>
                  <a:pt x="6460798" y="5304993"/>
                </a:lnTo>
                <a:lnTo>
                  <a:pt x="6387367" y="5318980"/>
                </a:lnTo>
                <a:lnTo>
                  <a:pt x="6041160" y="5377334"/>
                </a:lnTo>
                <a:lnTo>
                  <a:pt x="5887321" y="5409645"/>
                </a:lnTo>
                <a:lnTo>
                  <a:pt x="5857713" y="5414631"/>
                </a:lnTo>
                <a:cubicBezTo>
                  <a:pt x="4271557" y="5663154"/>
                  <a:pt x="2741498" y="5724884"/>
                  <a:pt x="1438219" y="5598060"/>
                </a:cubicBezTo>
                <a:lnTo>
                  <a:pt x="1112913" y="5561533"/>
                </a:lnTo>
                <a:lnTo>
                  <a:pt x="1063194" y="5555146"/>
                </a:lnTo>
                <a:lnTo>
                  <a:pt x="750855" y="5510173"/>
                </a:lnTo>
                <a:cubicBezTo>
                  <a:pt x="585150" y="5483521"/>
                  <a:pt x="424237" y="5453357"/>
                  <a:pt x="268553" y="5419676"/>
                </a:cubicBezTo>
                <a:lnTo>
                  <a:pt x="1" y="5353216"/>
                </a:lnTo>
                <a:lnTo>
                  <a:pt x="0" y="5353194"/>
                </a:lnTo>
                <a:lnTo>
                  <a:pt x="0" y="3501804"/>
                </a:lnTo>
                <a:lnTo>
                  <a:pt x="0" y="225551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 name="Untertitel 2"/>
          <p:cNvSpPr>
            <a:spLocks noGrp="1"/>
          </p:cNvSpPr>
          <p:nvPr>
            <p:ph type="subTitle" idx="1" hasCustomPrompt="1"/>
          </p:nvPr>
        </p:nvSpPr>
        <p:spPr bwMode="gray">
          <a:xfrm>
            <a:off x="550508" y="1701160"/>
            <a:ext cx="6624862" cy="1079750"/>
          </a:xfrm>
        </p:spPr>
        <p:txBody>
          <a:bodyPr/>
          <a:lstStyle>
            <a:lvl1pPr marL="0" indent="0" algn="l">
              <a:spcAft>
                <a:spcPts val="0"/>
              </a:spcAft>
              <a:buNone/>
              <a:defRPr sz="2000" cap="none" baseline="0">
                <a:solidFill>
                  <a:schemeClr val="bg1"/>
                </a:solidFill>
              </a:defRPr>
            </a:lvl1pPr>
            <a:lvl2pPr marL="0" indent="0" algn="l">
              <a:spcAft>
                <a:spcPts val="0"/>
              </a:spcAft>
              <a:buNone/>
              <a:defRPr sz="2000">
                <a:solidFill>
                  <a:schemeClr val="bg1"/>
                </a:solidFill>
              </a:defRPr>
            </a:lvl2pPr>
            <a:lvl3pPr marL="0" indent="0" algn="l">
              <a:spcAft>
                <a:spcPts val="0"/>
              </a:spcAft>
              <a:buNone/>
              <a:defRPr sz="2000">
                <a:solidFill>
                  <a:schemeClr val="bg1"/>
                </a:solidFill>
              </a:defRPr>
            </a:lvl3pPr>
            <a:lvl4pPr marL="0" indent="0" algn="l">
              <a:spcAft>
                <a:spcPts val="0"/>
              </a:spcAft>
              <a:buNone/>
              <a:defRPr sz="2000">
                <a:solidFill>
                  <a:schemeClr val="bg1"/>
                </a:solidFill>
              </a:defRPr>
            </a:lvl4pPr>
            <a:lvl5pPr marL="0" indent="0" algn="l">
              <a:spcAft>
                <a:spcPts val="0"/>
              </a:spcAft>
              <a:buNone/>
              <a:defRPr sz="2000">
                <a:solidFill>
                  <a:schemeClr val="bg1"/>
                </a:solidFill>
              </a:defRPr>
            </a:lvl5pPr>
            <a:lvl6pPr marL="0" indent="0" algn="l">
              <a:spcAft>
                <a:spcPts val="0"/>
              </a:spcAft>
              <a:buNone/>
              <a:defRPr sz="2000">
                <a:solidFill>
                  <a:schemeClr val="bg1"/>
                </a:solidFill>
              </a:defRPr>
            </a:lvl6pPr>
            <a:lvl7pPr marL="0" indent="0" algn="l">
              <a:spcAft>
                <a:spcPts val="0"/>
              </a:spcAft>
              <a:buNone/>
              <a:defRPr sz="2000">
                <a:solidFill>
                  <a:schemeClr val="bg1"/>
                </a:solidFill>
              </a:defRPr>
            </a:lvl7pPr>
            <a:lvl8pPr marL="0" indent="0" algn="l">
              <a:spcAft>
                <a:spcPts val="0"/>
              </a:spcAft>
              <a:buNone/>
              <a:defRPr sz="2000">
                <a:solidFill>
                  <a:schemeClr val="bg1"/>
                </a:solidFill>
              </a:defRPr>
            </a:lvl8pPr>
            <a:lvl9pPr marL="0" indent="0" algn="l">
              <a:spcAft>
                <a:spcPts val="0"/>
              </a:spcAft>
              <a:buNone/>
              <a:defRPr sz="2000">
                <a:solidFill>
                  <a:schemeClr val="bg1"/>
                </a:solidFill>
              </a:defRPr>
            </a:lvl9pPr>
          </a:lstStyle>
          <a:p>
            <a:pPr lvl="0"/>
            <a:r>
              <a:rPr lang="en-US" dirty="0"/>
              <a:t>Here is a </a:t>
            </a:r>
            <a:r>
              <a:rPr lang="en-US" dirty="0" err="1"/>
              <a:t>Subheadline</a:t>
            </a:r>
            <a:r>
              <a:rPr lang="en-US" dirty="0"/>
              <a:t> 20pt</a:t>
            </a:r>
          </a:p>
        </p:txBody>
      </p:sp>
      <p:sp>
        <p:nvSpPr>
          <p:cNvPr id="14" name="Textplatzhalter 13"/>
          <p:cNvSpPr>
            <a:spLocks noGrp="1"/>
          </p:cNvSpPr>
          <p:nvPr>
            <p:ph type="body" sz="quarter" idx="10" hasCustomPrompt="1"/>
          </p:nvPr>
        </p:nvSpPr>
        <p:spPr bwMode="gray">
          <a:xfrm>
            <a:off x="550508" y="3141166"/>
            <a:ext cx="6624862" cy="1007767"/>
          </a:xfrm>
        </p:spPr>
        <p:txBody>
          <a:bodyPr/>
          <a:lstStyle>
            <a:lvl1pPr marL="0" indent="0">
              <a:buFont typeface="Arial" panose="020B0604020202020204" pitchFamily="34" charset="0"/>
              <a:buNone/>
              <a:defRPr sz="1400" b="1" cap="none" baseline="0">
                <a:solidFill>
                  <a:schemeClr val="bg1"/>
                </a:solidFill>
              </a:defRPr>
            </a:lvl1pPr>
            <a:lvl2pPr marL="0" indent="0">
              <a:buFont typeface="Arial" panose="020B0604020202020204" pitchFamily="34" charset="0"/>
              <a:buNone/>
              <a:defRPr sz="1400" b="1">
                <a:solidFill>
                  <a:schemeClr val="bg1"/>
                </a:solidFill>
              </a:defRPr>
            </a:lvl2pPr>
            <a:lvl3pPr marL="0" indent="0">
              <a:buFont typeface="Arial" panose="020B0604020202020204" pitchFamily="34" charset="0"/>
              <a:buNone/>
              <a:defRPr sz="1400" b="1">
                <a:solidFill>
                  <a:schemeClr val="bg1"/>
                </a:solidFill>
              </a:defRPr>
            </a:lvl3pPr>
            <a:lvl4pPr marL="0" indent="0">
              <a:buFont typeface="Arial" panose="020B0604020202020204" pitchFamily="34" charset="0"/>
              <a:buNone/>
              <a:defRPr sz="1400" b="1">
                <a:solidFill>
                  <a:schemeClr val="bg1"/>
                </a:solidFill>
              </a:defRPr>
            </a:lvl4pPr>
            <a:lvl5pPr marL="0" indent="0">
              <a:buFont typeface="Arial" panose="020B0604020202020204" pitchFamily="34" charset="0"/>
              <a:buNone/>
              <a:defRPr sz="1400" b="1">
                <a:solidFill>
                  <a:schemeClr val="bg1"/>
                </a:solidFill>
              </a:defRPr>
            </a:lvl5pPr>
            <a:lvl6pPr marL="0" indent="0">
              <a:buNone/>
              <a:defRPr sz="1400" b="1">
                <a:solidFill>
                  <a:schemeClr val="bg1"/>
                </a:solidFill>
              </a:defRPr>
            </a:lvl6pPr>
            <a:lvl7pPr marL="0" indent="0">
              <a:buNone/>
              <a:defRPr sz="1400" b="1">
                <a:solidFill>
                  <a:schemeClr val="bg1"/>
                </a:solidFill>
              </a:defRPr>
            </a:lvl7pPr>
            <a:lvl8pPr marL="0" indent="0">
              <a:buNone/>
              <a:defRPr sz="1400" b="1">
                <a:solidFill>
                  <a:schemeClr val="bg1"/>
                </a:solidFill>
              </a:defRPr>
            </a:lvl8pPr>
            <a:lvl9pPr marL="0" indent="0">
              <a:buNone/>
              <a:defRPr sz="1400" b="1">
                <a:solidFill>
                  <a:schemeClr val="bg1"/>
                </a:solidFill>
              </a:defRPr>
            </a:lvl9pPr>
          </a:lstStyle>
          <a:p>
            <a:pPr lvl="0"/>
            <a:r>
              <a:rPr lang="en-US" dirty="0"/>
              <a:t>Max Mustermann – Head of Corporate</a:t>
            </a:r>
            <a:br>
              <a:rPr lang="en-US" dirty="0"/>
            </a:br>
            <a:r>
              <a:rPr lang="en-US" dirty="0"/>
              <a:t>Place, Date</a:t>
            </a:r>
          </a:p>
        </p:txBody>
      </p:sp>
      <p:sp>
        <p:nvSpPr>
          <p:cNvPr id="2" name="Titel 1"/>
          <p:cNvSpPr>
            <a:spLocks noGrp="1"/>
          </p:cNvSpPr>
          <p:nvPr>
            <p:ph type="ctrTitle" hasCustomPrompt="1"/>
          </p:nvPr>
        </p:nvSpPr>
        <p:spPr bwMode="gray">
          <a:xfrm>
            <a:off x="550508" y="477274"/>
            <a:ext cx="6625355" cy="1222546"/>
          </a:xfrm>
        </p:spPr>
        <p:txBody>
          <a:bodyPr/>
          <a:lstStyle>
            <a:lvl1pPr>
              <a:defRPr sz="3199">
                <a:solidFill>
                  <a:schemeClr val="bg1"/>
                </a:solidFill>
              </a:defRPr>
            </a:lvl1pPr>
          </a:lstStyle>
          <a:p>
            <a:r>
              <a:rPr lang="en-US" dirty="0"/>
              <a:t>Title without picture 32pt</a:t>
            </a:r>
          </a:p>
        </p:txBody>
      </p:sp>
    </p:spTree>
    <p:extLst>
      <p:ext uri="{BB962C8B-B14F-4D97-AF65-F5344CB8AC3E}">
        <p14:creationId xmlns:p14="http://schemas.microsoft.com/office/powerpoint/2010/main" val="195137080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hite">
    <p:spTree>
      <p:nvGrpSpPr>
        <p:cNvPr id="1" name=""/>
        <p:cNvGrpSpPr/>
        <p:nvPr/>
      </p:nvGrpSpPr>
      <p:grpSpPr>
        <a:xfrm>
          <a:off x="0" y="0"/>
          <a:ext cx="0" cy="0"/>
          <a:chOff x="0" y="0"/>
          <a:chExt cx="0" cy="0"/>
        </a:xfrm>
      </p:grpSpPr>
      <p:sp>
        <p:nvSpPr>
          <p:cNvPr id="8" name="Titel 1"/>
          <p:cNvSpPr>
            <a:spLocks noGrp="1"/>
          </p:cNvSpPr>
          <p:nvPr>
            <p:ph type="ctrTitle" hasCustomPrompt="1"/>
          </p:nvPr>
        </p:nvSpPr>
        <p:spPr bwMode="gray">
          <a:xfrm>
            <a:off x="550508" y="477274"/>
            <a:ext cx="6624862" cy="1222546"/>
          </a:xfrm>
        </p:spPr>
        <p:txBody>
          <a:bodyPr/>
          <a:lstStyle>
            <a:lvl1pPr>
              <a:defRPr sz="3199" baseline="0">
                <a:solidFill>
                  <a:schemeClr val="accent1"/>
                </a:solidFill>
              </a:defRPr>
            </a:lvl1pPr>
          </a:lstStyle>
          <a:p>
            <a:r>
              <a:rPr lang="en-US" dirty="0"/>
              <a:t>Title »white« for internal Presentation 32pt</a:t>
            </a:r>
          </a:p>
        </p:txBody>
      </p:sp>
      <p:sp>
        <p:nvSpPr>
          <p:cNvPr id="9" name="Untertitel 2"/>
          <p:cNvSpPr>
            <a:spLocks noGrp="1"/>
          </p:cNvSpPr>
          <p:nvPr>
            <p:ph type="subTitle" idx="1" hasCustomPrompt="1"/>
          </p:nvPr>
        </p:nvSpPr>
        <p:spPr bwMode="gray">
          <a:xfrm>
            <a:off x="550508" y="1701160"/>
            <a:ext cx="6624862" cy="1079750"/>
          </a:xfrm>
        </p:spPr>
        <p:txBody>
          <a:bodyPr/>
          <a:lstStyle>
            <a:lvl1pPr marL="0" indent="0" algn="l">
              <a:buFont typeface="Arial" panose="020B0604020202020204" pitchFamily="34" charset="0"/>
              <a:buNone/>
              <a:defRPr sz="2000" cap="none" baseline="0">
                <a:solidFill>
                  <a:schemeClr val="tx1"/>
                </a:solidFill>
              </a:defRPr>
            </a:lvl1pPr>
            <a:lvl2pPr marL="0" indent="0" algn="l">
              <a:buFont typeface="Arial" panose="020B0604020202020204" pitchFamily="34" charset="0"/>
              <a:buNone/>
              <a:defRPr sz="2000">
                <a:solidFill>
                  <a:schemeClr val="tx1"/>
                </a:solidFill>
              </a:defRPr>
            </a:lvl2pPr>
            <a:lvl3pPr marL="0" indent="0" algn="l">
              <a:buFont typeface="Arial" panose="020B0604020202020204" pitchFamily="34" charset="0"/>
              <a:buNone/>
              <a:defRPr sz="2000">
                <a:solidFill>
                  <a:schemeClr val="tx1"/>
                </a:solidFill>
              </a:defRPr>
            </a:lvl3pPr>
            <a:lvl4pPr marL="0" indent="0" algn="l">
              <a:buFont typeface="Arial" panose="020B0604020202020204" pitchFamily="34" charset="0"/>
              <a:buNone/>
              <a:defRPr sz="2000">
                <a:solidFill>
                  <a:schemeClr val="tx1"/>
                </a:solidFill>
              </a:defRPr>
            </a:lvl4pPr>
            <a:lvl5pPr marL="0" indent="0" algn="l">
              <a:buFont typeface="Arial" panose="020B0604020202020204" pitchFamily="34" charset="0"/>
              <a:buNone/>
              <a:defRPr sz="2000">
                <a:solidFill>
                  <a:schemeClr val="tx1"/>
                </a:solidFill>
              </a:defRPr>
            </a:lvl5pPr>
            <a:lvl6pPr marL="0" indent="0" algn="l">
              <a:buFont typeface="Arial" panose="020B0604020202020204" pitchFamily="34" charset="0"/>
              <a:buNone/>
              <a:defRPr sz="2000">
                <a:solidFill>
                  <a:schemeClr val="tx1"/>
                </a:solidFill>
              </a:defRPr>
            </a:lvl6pPr>
            <a:lvl7pPr marL="0" indent="0" algn="l">
              <a:buFont typeface="Arial" panose="020B0604020202020204" pitchFamily="34" charset="0"/>
              <a:buNone/>
              <a:defRPr sz="2000">
                <a:solidFill>
                  <a:schemeClr val="tx1"/>
                </a:solidFill>
              </a:defRPr>
            </a:lvl7pPr>
            <a:lvl8pPr marL="0" indent="0" algn="l">
              <a:buFont typeface="Arial" panose="020B0604020202020204" pitchFamily="34" charset="0"/>
              <a:buNone/>
              <a:defRPr sz="2000">
                <a:solidFill>
                  <a:schemeClr val="tx1"/>
                </a:solidFill>
              </a:defRPr>
            </a:lvl8pPr>
            <a:lvl9pPr marL="0" indent="0" algn="l">
              <a:buFont typeface="Arial" panose="020B0604020202020204" pitchFamily="34" charset="0"/>
              <a:buNone/>
              <a:defRPr sz="2000">
                <a:solidFill>
                  <a:schemeClr val="tx1"/>
                </a:solidFill>
              </a:defRPr>
            </a:lvl9pPr>
          </a:lstStyle>
          <a:p>
            <a:pPr lvl="0"/>
            <a:r>
              <a:rPr lang="en-US" dirty="0"/>
              <a:t>Here is a Subheadline 20pt</a:t>
            </a:r>
          </a:p>
        </p:txBody>
      </p:sp>
      <p:sp>
        <p:nvSpPr>
          <p:cNvPr id="10" name="Textplatzhalter 13"/>
          <p:cNvSpPr>
            <a:spLocks noGrp="1"/>
          </p:cNvSpPr>
          <p:nvPr>
            <p:ph type="body" sz="quarter" idx="10" hasCustomPrompt="1"/>
          </p:nvPr>
        </p:nvSpPr>
        <p:spPr bwMode="gray">
          <a:xfrm>
            <a:off x="550508" y="3141166"/>
            <a:ext cx="6624862" cy="1007767"/>
          </a:xfrm>
        </p:spPr>
        <p:txBody>
          <a:bodyPr/>
          <a:lstStyle>
            <a:lvl1pPr marL="0" indent="0">
              <a:buFont typeface="Arial" panose="020B0604020202020204" pitchFamily="34" charset="0"/>
              <a:buNone/>
              <a:defRPr sz="1400" b="1" cap="none" baseline="0">
                <a:solidFill>
                  <a:schemeClr val="tx1"/>
                </a:solidFill>
              </a:defRPr>
            </a:lvl1pPr>
            <a:lvl2pPr marL="0" indent="0">
              <a:buFont typeface="Arial" panose="020B0604020202020204" pitchFamily="34" charset="0"/>
              <a:buNone/>
              <a:defRPr sz="1400" b="1"/>
            </a:lvl2pPr>
            <a:lvl3pPr marL="0" indent="0">
              <a:buFont typeface="Arial" panose="020B0604020202020204" pitchFamily="34" charset="0"/>
              <a:buNone/>
              <a:defRPr sz="1400" b="1"/>
            </a:lvl3pPr>
            <a:lvl4pPr marL="0" indent="0">
              <a:buFont typeface="Arial" panose="020B0604020202020204" pitchFamily="34" charset="0"/>
              <a:buNone/>
              <a:defRPr sz="1400" b="1"/>
            </a:lvl4pPr>
            <a:lvl5pPr marL="0" indent="0">
              <a:buFont typeface="Arial" panose="020B0604020202020204" pitchFamily="34" charset="0"/>
              <a:buNone/>
              <a:defRPr sz="1400" b="1"/>
            </a:lvl5pPr>
            <a:lvl6pPr marL="0" indent="0">
              <a:buNone/>
              <a:defRPr sz="1400" b="1"/>
            </a:lvl6pPr>
            <a:lvl7pPr marL="0" indent="0">
              <a:buNone/>
              <a:defRPr sz="1400" b="1"/>
            </a:lvl7pPr>
            <a:lvl8pPr marL="0" indent="0">
              <a:buNone/>
              <a:defRPr sz="1400" b="1"/>
            </a:lvl8pPr>
            <a:lvl9pPr marL="0" indent="0">
              <a:buNone/>
              <a:defRPr sz="1400" b="1"/>
            </a:lvl9pPr>
          </a:lstStyle>
          <a:p>
            <a:pPr lvl="0"/>
            <a:r>
              <a:rPr lang="en-US" dirty="0"/>
              <a:t>Max Mustermann – Head of Corporate</a:t>
            </a:r>
            <a:br>
              <a:rPr lang="en-US" dirty="0"/>
            </a:br>
            <a:r>
              <a:rPr lang="en-US" dirty="0"/>
              <a:t>Place, Date</a:t>
            </a:r>
          </a:p>
        </p:txBody>
      </p:sp>
      <p:sp>
        <p:nvSpPr>
          <p:cNvPr id="6" name="Freihandform 15">
            <a:extLst>
              <a:ext uri="{FF2B5EF4-FFF2-40B4-BE49-F238E27FC236}">
                <a16:creationId xmlns:a16="http://schemas.microsoft.com/office/drawing/2014/main" id="{5E8DD634-E9D3-48FF-AA22-490C4EE4475E}"/>
              </a:ext>
            </a:extLst>
          </p:cNvPr>
          <p:cNvSpPr/>
          <p:nvPr userDrawn="1"/>
        </p:nvSpPr>
        <p:spPr bwMode="gray">
          <a:xfrm>
            <a:off x="0" y="5101510"/>
            <a:ext cx="12191999" cy="591532"/>
          </a:xfrm>
          <a:custGeom>
            <a:avLst/>
            <a:gdLst>
              <a:gd name="connsiteX0" fmla="*/ 0 w 12190413"/>
              <a:gd name="connsiteY0" fmla="*/ 0 h 3406586"/>
              <a:gd name="connsiteX1" fmla="*/ 12190413 w 12190413"/>
              <a:gd name="connsiteY1" fmla="*/ 0 h 3406586"/>
              <a:gd name="connsiteX2" fmla="*/ 12190413 w 12190413"/>
              <a:gd name="connsiteY2" fmla="*/ 1563230 h 3406586"/>
              <a:gd name="connsiteX3" fmla="*/ 12190412 w 12190413"/>
              <a:gd name="connsiteY3" fmla="*/ 3126460 h 3406586"/>
              <a:gd name="connsiteX4" fmla="*/ 12188206 w 12190413"/>
              <a:gd name="connsiteY4" fmla="*/ 3125946 h 3406586"/>
              <a:gd name="connsiteX5" fmla="*/ 12188206 w 12190413"/>
              <a:gd name="connsiteY5" fmla="*/ 3119321 h 3406586"/>
              <a:gd name="connsiteX6" fmla="*/ 12032390 w 12190413"/>
              <a:gd name="connsiteY6" fmla="*/ 3089643 h 3406586"/>
              <a:gd name="connsiteX7" fmla="*/ 11853287 w 12190413"/>
              <a:gd name="connsiteY7" fmla="*/ 3047915 h 3406586"/>
              <a:gd name="connsiteX8" fmla="*/ 9474399 w 12190413"/>
              <a:gd name="connsiteY8" fmla="*/ 2814917 h 3406586"/>
              <a:gd name="connsiteX9" fmla="*/ 9363219 w 12190413"/>
              <a:gd name="connsiteY9" fmla="*/ 2815958 h 3406586"/>
              <a:gd name="connsiteX10" fmla="*/ 9336724 w 12190413"/>
              <a:gd name="connsiteY10" fmla="*/ 2815490 h 3406586"/>
              <a:gd name="connsiteX11" fmla="*/ 9141154 w 12190413"/>
              <a:gd name="connsiteY11" fmla="*/ 2815490 h 3406586"/>
              <a:gd name="connsiteX12" fmla="*/ 8943837 w 12190413"/>
              <a:gd name="connsiteY12" fmla="*/ 2815489 h 3406586"/>
              <a:gd name="connsiteX13" fmla="*/ 8746521 w 12190413"/>
              <a:gd name="connsiteY13" fmla="*/ 2818982 h 3406586"/>
              <a:gd name="connsiteX14" fmla="*/ 8552697 w 12190413"/>
              <a:gd name="connsiteY14" fmla="*/ 2824221 h 3406586"/>
              <a:gd name="connsiteX15" fmla="*/ 8357128 w 12190413"/>
              <a:gd name="connsiteY15" fmla="*/ 2834697 h 3406586"/>
              <a:gd name="connsiteX16" fmla="*/ 8163303 w 12190413"/>
              <a:gd name="connsiteY16" fmla="*/ 2846920 h 3406586"/>
              <a:gd name="connsiteX17" fmla="*/ 7972972 w 12190413"/>
              <a:gd name="connsiteY17" fmla="*/ 2859144 h 3406586"/>
              <a:gd name="connsiteX18" fmla="*/ 7779149 w 12190413"/>
              <a:gd name="connsiteY18" fmla="*/ 2874858 h 3406586"/>
              <a:gd name="connsiteX19" fmla="*/ 7587072 w 12190413"/>
              <a:gd name="connsiteY19" fmla="*/ 2894066 h 3406586"/>
              <a:gd name="connsiteX20" fmla="*/ 7396738 w 12190413"/>
              <a:gd name="connsiteY20" fmla="*/ 2916766 h 3406586"/>
              <a:gd name="connsiteX21" fmla="*/ 7209903 w 12190413"/>
              <a:gd name="connsiteY21" fmla="*/ 2939466 h 3406586"/>
              <a:gd name="connsiteX22" fmla="*/ 7019571 w 12190413"/>
              <a:gd name="connsiteY22" fmla="*/ 2963913 h 3406586"/>
              <a:gd name="connsiteX23" fmla="*/ 6853019 w 12190413"/>
              <a:gd name="connsiteY23" fmla="*/ 2990374 h 3406586"/>
              <a:gd name="connsiteX24" fmla="*/ 6718666 w 12190413"/>
              <a:gd name="connsiteY24" fmla="*/ 3007620 h 3406586"/>
              <a:gd name="connsiteX25" fmla="*/ 6545441 w 12190413"/>
              <a:gd name="connsiteY25" fmla="*/ 3036817 h 3406586"/>
              <a:gd name="connsiteX26" fmla="*/ 6460798 w 12190413"/>
              <a:gd name="connsiteY26" fmla="*/ 3049475 h 3406586"/>
              <a:gd name="connsiteX27" fmla="*/ 6387367 w 12190413"/>
              <a:gd name="connsiteY27" fmla="*/ 3063462 h 3406586"/>
              <a:gd name="connsiteX28" fmla="*/ 6041160 w 12190413"/>
              <a:gd name="connsiteY28" fmla="*/ 3121816 h 3406586"/>
              <a:gd name="connsiteX29" fmla="*/ 5887321 w 12190413"/>
              <a:gd name="connsiteY29" fmla="*/ 3154127 h 3406586"/>
              <a:gd name="connsiteX30" fmla="*/ 5857713 w 12190413"/>
              <a:gd name="connsiteY30" fmla="*/ 3159113 h 3406586"/>
              <a:gd name="connsiteX31" fmla="*/ 1438219 w 12190413"/>
              <a:gd name="connsiteY31" fmla="*/ 3342542 h 3406586"/>
              <a:gd name="connsiteX32" fmla="*/ 1112913 w 12190413"/>
              <a:gd name="connsiteY32" fmla="*/ 3306015 h 3406586"/>
              <a:gd name="connsiteX33" fmla="*/ 1063194 w 12190413"/>
              <a:gd name="connsiteY33" fmla="*/ 3299628 h 3406586"/>
              <a:gd name="connsiteX34" fmla="*/ 750855 w 12190413"/>
              <a:gd name="connsiteY34" fmla="*/ 3254655 h 3406586"/>
              <a:gd name="connsiteX35" fmla="*/ 268553 w 12190413"/>
              <a:gd name="connsiteY35" fmla="*/ 3164158 h 3406586"/>
              <a:gd name="connsiteX36" fmla="*/ 1 w 12190413"/>
              <a:gd name="connsiteY36" fmla="*/ 3097698 h 3406586"/>
              <a:gd name="connsiteX37" fmla="*/ 0 w 12190413"/>
              <a:gd name="connsiteY37" fmla="*/ 3097676 h 3406586"/>
              <a:gd name="connsiteX38" fmla="*/ 0 w 12190413"/>
              <a:gd name="connsiteY38" fmla="*/ 0 h 3406586"/>
              <a:gd name="connsiteX0" fmla="*/ 0 w 12190413"/>
              <a:gd name="connsiteY0" fmla="*/ 0 h 3406586"/>
              <a:gd name="connsiteX1" fmla="*/ 12190413 w 12190413"/>
              <a:gd name="connsiteY1" fmla="*/ 0 h 3406586"/>
              <a:gd name="connsiteX2" fmla="*/ 12190413 w 12190413"/>
              <a:gd name="connsiteY2" fmla="*/ 1563230 h 3406586"/>
              <a:gd name="connsiteX3" fmla="*/ 12190412 w 12190413"/>
              <a:gd name="connsiteY3" fmla="*/ 3126460 h 3406586"/>
              <a:gd name="connsiteX4" fmla="*/ 12188206 w 12190413"/>
              <a:gd name="connsiteY4" fmla="*/ 3125946 h 3406586"/>
              <a:gd name="connsiteX5" fmla="*/ 12188206 w 12190413"/>
              <a:gd name="connsiteY5" fmla="*/ 3119321 h 3406586"/>
              <a:gd name="connsiteX6" fmla="*/ 12032390 w 12190413"/>
              <a:gd name="connsiteY6" fmla="*/ 3089643 h 3406586"/>
              <a:gd name="connsiteX7" fmla="*/ 11853287 w 12190413"/>
              <a:gd name="connsiteY7" fmla="*/ 3047915 h 3406586"/>
              <a:gd name="connsiteX8" fmla="*/ 9474399 w 12190413"/>
              <a:gd name="connsiteY8" fmla="*/ 2814917 h 3406586"/>
              <a:gd name="connsiteX9" fmla="*/ 9363219 w 12190413"/>
              <a:gd name="connsiteY9" fmla="*/ 2815958 h 3406586"/>
              <a:gd name="connsiteX10" fmla="*/ 9336724 w 12190413"/>
              <a:gd name="connsiteY10" fmla="*/ 2815490 h 3406586"/>
              <a:gd name="connsiteX11" fmla="*/ 9141154 w 12190413"/>
              <a:gd name="connsiteY11" fmla="*/ 2815490 h 3406586"/>
              <a:gd name="connsiteX12" fmla="*/ 8943837 w 12190413"/>
              <a:gd name="connsiteY12" fmla="*/ 2815489 h 3406586"/>
              <a:gd name="connsiteX13" fmla="*/ 8746521 w 12190413"/>
              <a:gd name="connsiteY13" fmla="*/ 2818982 h 3406586"/>
              <a:gd name="connsiteX14" fmla="*/ 8552697 w 12190413"/>
              <a:gd name="connsiteY14" fmla="*/ 2824221 h 3406586"/>
              <a:gd name="connsiteX15" fmla="*/ 8357128 w 12190413"/>
              <a:gd name="connsiteY15" fmla="*/ 2834697 h 3406586"/>
              <a:gd name="connsiteX16" fmla="*/ 8163303 w 12190413"/>
              <a:gd name="connsiteY16" fmla="*/ 2846920 h 3406586"/>
              <a:gd name="connsiteX17" fmla="*/ 7972972 w 12190413"/>
              <a:gd name="connsiteY17" fmla="*/ 2859144 h 3406586"/>
              <a:gd name="connsiteX18" fmla="*/ 7779149 w 12190413"/>
              <a:gd name="connsiteY18" fmla="*/ 2874858 h 3406586"/>
              <a:gd name="connsiteX19" fmla="*/ 7587072 w 12190413"/>
              <a:gd name="connsiteY19" fmla="*/ 2894066 h 3406586"/>
              <a:gd name="connsiteX20" fmla="*/ 7396738 w 12190413"/>
              <a:gd name="connsiteY20" fmla="*/ 2916766 h 3406586"/>
              <a:gd name="connsiteX21" fmla="*/ 7209903 w 12190413"/>
              <a:gd name="connsiteY21" fmla="*/ 2939466 h 3406586"/>
              <a:gd name="connsiteX22" fmla="*/ 7019571 w 12190413"/>
              <a:gd name="connsiteY22" fmla="*/ 2963913 h 3406586"/>
              <a:gd name="connsiteX23" fmla="*/ 6853019 w 12190413"/>
              <a:gd name="connsiteY23" fmla="*/ 2990374 h 3406586"/>
              <a:gd name="connsiteX24" fmla="*/ 6718666 w 12190413"/>
              <a:gd name="connsiteY24" fmla="*/ 3007620 h 3406586"/>
              <a:gd name="connsiteX25" fmla="*/ 6545441 w 12190413"/>
              <a:gd name="connsiteY25" fmla="*/ 3036817 h 3406586"/>
              <a:gd name="connsiteX26" fmla="*/ 6460798 w 12190413"/>
              <a:gd name="connsiteY26" fmla="*/ 3049475 h 3406586"/>
              <a:gd name="connsiteX27" fmla="*/ 6387367 w 12190413"/>
              <a:gd name="connsiteY27" fmla="*/ 3063462 h 3406586"/>
              <a:gd name="connsiteX28" fmla="*/ 6041160 w 12190413"/>
              <a:gd name="connsiteY28" fmla="*/ 3121816 h 3406586"/>
              <a:gd name="connsiteX29" fmla="*/ 5887321 w 12190413"/>
              <a:gd name="connsiteY29" fmla="*/ 3154127 h 3406586"/>
              <a:gd name="connsiteX30" fmla="*/ 5857713 w 12190413"/>
              <a:gd name="connsiteY30" fmla="*/ 3159113 h 3406586"/>
              <a:gd name="connsiteX31" fmla="*/ 1438219 w 12190413"/>
              <a:gd name="connsiteY31" fmla="*/ 3342542 h 3406586"/>
              <a:gd name="connsiteX32" fmla="*/ 1112913 w 12190413"/>
              <a:gd name="connsiteY32" fmla="*/ 3306015 h 3406586"/>
              <a:gd name="connsiteX33" fmla="*/ 1063194 w 12190413"/>
              <a:gd name="connsiteY33" fmla="*/ 3299628 h 3406586"/>
              <a:gd name="connsiteX34" fmla="*/ 750855 w 12190413"/>
              <a:gd name="connsiteY34" fmla="*/ 3254655 h 3406586"/>
              <a:gd name="connsiteX35" fmla="*/ 268553 w 12190413"/>
              <a:gd name="connsiteY35" fmla="*/ 3164158 h 3406586"/>
              <a:gd name="connsiteX36" fmla="*/ 1 w 12190413"/>
              <a:gd name="connsiteY36" fmla="*/ 3097698 h 3406586"/>
              <a:gd name="connsiteX37" fmla="*/ 0 w 12190413"/>
              <a:gd name="connsiteY37" fmla="*/ 3097676 h 3406586"/>
              <a:gd name="connsiteX38" fmla="*/ 91440 w 12190413"/>
              <a:gd name="connsiteY38" fmla="*/ 91440 h 3406586"/>
              <a:gd name="connsiteX0" fmla="*/ 0 w 12190413"/>
              <a:gd name="connsiteY0" fmla="*/ 0 h 3406586"/>
              <a:gd name="connsiteX1" fmla="*/ 12190413 w 12190413"/>
              <a:gd name="connsiteY1" fmla="*/ 0 h 3406586"/>
              <a:gd name="connsiteX2" fmla="*/ 12190413 w 12190413"/>
              <a:gd name="connsiteY2" fmla="*/ 1563230 h 3406586"/>
              <a:gd name="connsiteX3" fmla="*/ 12190412 w 12190413"/>
              <a:gd name="connsiteY3" fmla="*/ 3126460 h 3406586"/>
              <a:gd name="connsiteX4" fmla="*/ 12188206 w 12190413"/>
              <a:gd name="connsiteY4" fmla="*/ 3125946 h 3406586"/>
              <a:gd name="connsiteX5" fmla="*/ 12188206 w 12190413"/>
              <a:gd name="connsiteY5" fmla="*/ 3119321 h 3406586"/>
              <a:gd name="connsiteX6" fmla="*/ 12032390 w 12190413"/>
              <a:gd name="connsiteY6" fmla="*/ 3089643 h 3406586"/>
              <a:gd name="connsiteX7" fmla="*/ 11853287 w 12190413"/>
              <a:gd name="connsiteY7" fmla="*/ 3047915 h 3406586"/>
              <a:gd name="connsiteX8" fmla="*/ 9474399 w 12190413"/>
              <a:gd name="connsiteY8" fmla="*/ 2814917 h 3406586"/>
              <a:gd name="connsiteX9" fmla="*/ 9363219 w 12190413"/>
              <a:gd name="connsiteY9" fmla="*/ 2815958 h 3406586"/>
              <a:gd name="connsiteX10" fmla="*/ 9336724 w 12190413"/>
              <a:gd name="connsiteY10" fmla="*/ 2815490 h 3406586"/>
              <a:gd name="connsiteX11" fmla="*/ 9141154 w 12190413"/>
              <a:gd name="connsiteY11" fmla="*/ 2815490 h 3406586"/>
              <a:gd name="connsiteX12" fmla="*/ 8943837 w 12190413"/>
              <a:gd name="connsiteY12" fmla="*/ 2815489 h 3406586"/>
              <a:gd name="connsiteX13" fmla="*/ 8746521 w 12190413"/>
              <a:gd name="connsiteY13" fmla="*/ 2818982 h 3406586"/>
              <a:gd name="connsiteX14" fmla="*/ 8552697 w 12190413"/>
              <a:gd name="connsiteY14" fmla="*/ 2824221 h 3406586"/>
              <a:gd name="connsiteX15" fmla="*/ 8357128 w 12190413"/>
              <a:gd name="connsiteY15" fmla="*/ 2834697 h 3406586"/>
              <a:gd name="connsiteX16" fmla="*/ 8163303 w 12190413"/>
              <a:gd name="connsiteY16" fmla="*/ 2846920 h 3406586"/>
              <a:gd name="connsiteX17" fmla="*/ 7972972 w 12190413"/>
              <a:gd name="connsiteY17" fmla="*/ 2859144 h 3406586"/>
              <a:gd name="connsiteX18" fmla="*/ 7779149 w 12190413"/>
              <a:gd name="connsiteY18" fmla="*/ 2874858 h 3406586"/>
              <a:gd name="connsiteX19" fmla="*/ 7587072 w 12190413"/>
              <a:gd name="connsiteY19" fmla="*/ 2894066 h 3406586"/>
              <a:gd name="connsiteX20" fmla="*/ 7396738 w 12190413"/>
              <a:gd name="connsiteY20" fmla="*/ 2916766 h 3406586"/>
              <a:gd name="connsiteX21" fmla="*/ 7209903 w 12190413"/>
              <a:gd name="connsiteY21" fmla="*/ 2939466 h 3406586"/>
              <a:gd name="connsiteX22" fmla="*/ 7019571 w 12190413"/>
              <a:gd name="connsiteY22" fmla="*/ 2963913 h 3406586"/>
              <a:gd name="connsiteX23" fmla="*/ 6853019 w 12190413"/>
              <a:gd name="connsiteY23" fmla="*/ 2990374 h 3406586"/>
              <a:gd name="connsiteX24" fmla="*/ 6718666 w 12190413"/>
              <a:gd name="connsiteY24" fmla="*/ 3007620 h 3406586"/>
              <a:gd name="connsiteX25" fmla="*/ 6545441 w 12190413"/>
              <a:gd name="connsiteY25" fmla="*/ 3036817 h 3406586"/>
              <a:gd name="connsiteX26" fmla="*/ 6460798 w 12190413"/>
              <a:gd name="connsiteY26" fmla="*/ 3049475 h 3406586"/>
              <a:gd name="connsiteX27" fmla="*/ 6387367 w 12190413"/>
              <a:gd name="connsiteY27" fmla="*/ 3063462 h 3406586"/>
              <a:gd name="connsiteX28" fmla="*/ 6041160 w 12190413"/>
              <a:gd name="connsiteY28" fmla="*/ 3121816 h 3406586"/>
              <a:gd name="connsiteX29" fmla="*/ 5887321 w 12190413"/>
              <a:gd name="connsiteY29" fmla="*/ 3154127 h 3406586"/>
              <a:gd name="connsiteX30" fmla="*/ 5857713 w 12190413"/>
              <a:gd name="connsiteY30" fmla="*/ 3159113 h 3406586"/>
              <a:gd name="connsiteX31" fmla="*/ 1438219 w 12190413"/>
              <a:gd name="connsiteY31" fmla="*/ 3342542 h 3406586"/>
              <a:gd name="connsiteX32" fmla="*/ 1112913 w 12190413"/>
              <a:gd name="connsiteY32" fmla="*/ 3306015 h 3406586"/>
              <a:gd name="connsiteX33" fmla="*/ 1063194 w 12190413"/>
              <a:gd name="connsiteY33" fmla="*/ 3299628 h 3406586"/>
              <a:gd name="connsiteX34" fmla="*/ 750855 w 12190413"/>
              <a:gd name="connsiteY34" fmla="*/ 3254655 h 3406586"/>
              <a:gd name="connsiteX35" fmla="*/ 268553 w 12190413"/>
              <a:gd name="connsiteY35" fmla="*/ 3164158 h 3406586"/>
              <a:gd name="connsiteX36" fmla="*/ 1 w 12190413"/>
              <a:gd name="connsiteY36" fmla="*/ 3097698 h 3406586"/>
              <a:gd name="connsiteX37" fmla="*/ 0 w 12190413"/>
              <a:gd name="connsiteY37" fmla="*/ 3097676 h 3406586"/>
              <a:gd name="connsiteX0" fmla="*/ 12190413 w 12190413"/>
              <a:gd name="connsiteY0" fmla="*/ 0 h 3406586"/>
              <a:gd name="connsiteX1" fmla="*/ 12190413 w 12190413"/>
              <a:gd name="connsiteY1" fmla="*/ 1563230 h 3406586"/>
              <a:gd name="connsiteX2" fmla="*/ 12190412 w 12190413"/>
              <a:gd name="connsiteY2" fmla="*/ 3126460 h 3406586"/>
              <a:gd name="connsiteX3" fmla="*/ 12188206 w 12190413"/>
              <a:gd name="connsiteY3" fmla="*/ 3125946 h 3406586"/>
              <a:gd name="connsiteX4" fmla="*/ 12188206 w 12190413"/>
              <a:gd name="connsiteY4" fmla="*/ 3119321 h 3406586"/>
              <a:gd name="connsiteX5" fmla="*/ 12032390 w 12190413"/>
              <a:gd name="connsiteY5" fmla="*/ 3089643 h 3406586"/>
              <a:gd name="connsiteX6" fmla="*/ 11853287 w 12190413"/>
              <a:gd name="connsiteY6" fmla="*/ 3047915 h 3406586"/>
              <a:gd name="connsiteX7" fmla="*/ 9474399 w 12190413"/>
              <a:gd name="connsiteY7" fmla="*/ 2814917 h 3406586"/>
              <a:gd name="connsiteX8" fmla="*/ 9363219 w 12190413"/>
              <a:gd name="connsiteY8" fmla="*/ 2815958 h 3406586"/>
              <a:gd name="connsiteX9" fmla="*/ 9336724 w 12190413"/>
              <a:gd name="connsiteY9" fmla="*/ 2815490 h 3406586"/>
              <a:gd name="connsiteX10" fmla="*/ 9141154 w 12190413"/>
              <a:gd name="connsiteY10" fmla="*/ 2815490 h 3406586"/>
              <a:gd name="connsiteX11" fmla="*/ 8943837 w 12190413"/>
              <a:gd name="connsiteY11" fmla="*/ 2815489 h 3406586"/>
              <a:gd name="connsiteX12" fmla="*/ 8746521 w 12190413"/>
              <a:gd name="connsiteY12" fmla="*/ 2818982 h 3406586"/>
              <a:gd name="connsiteX13" fmla="*/ 8552697 w 12190413"/>
              <a:gd name="connsiteY13" fmla="*/ 2824221 h 3406586"/>
              <a:gd name="connsiteX14" fmla="*/ 8357128 w 12190413"/>
              <a:gd name="connsiteY14" fmla="*/ 2834697 h 3406586"/>
              <a:gd name="connsiteX15" fmla="*/ 8163303 w 12190413"/>
              <a:gd name="connsiteY15" fmla="*/ 2846920 h 3406586"/>
              <a:gd name="connsiteX16" fmla="*/ 7972972 w 12190413"/>
              <a:gd name="connsiteY16" fmla="*/ 2859144 h 3406586"/>
              <a:gd name="connsiteX17" fmla="*/ 7779149 w 12190413"/>
              <a:gd name="connsiteY17" fmla="*/ 2874858 h 3406586"/>
              <a:gd name="connsiteX18" fmla="*/ 7587072 w 12190413"/>
              <a:gd name="connsiteY18" fmla="*/ 2894066 h 3406586"/>
              <a:gd name="connsiteX19" fmla="*/ 7396738 w 12190413"/>
              <a:gd name="connsiteY19" fmla="*/ 2916766 h 3406586"/>
              <a:gd name="connsiteX20" fmla="*/ 7209903 w 12190413"/>
              <a:gd name="connsiteY20" fmla="*/ 2939466 h 3406586"/>
              <a:gd name="connsiteX21" fmla="*/ 7019571 w 12190413"/>
              <a:gd name="connsiteY21" fmla="*/ 2963913 h 3406586"/>
              <a:gd name="connsiteX22" fmla="*/ 6853019 w 12190413"/>
              <a:gd name="connsiteY22" fmla="*/ 2990374 h 3406586"/>
              <a:gd name="connsiteX23" fmla="*/ 6718666 w 12190413"/>
              <a:gd name="connsiteY23" fmla="*/ 3007620 h 3406586"/>
              <a:gd name="connsiteX24" fmla="*/ 6545441 w 12190413"/>
              <a:gd name="connsiteY24" fmla="*/ 3036817 h 3406586"/>
              <a:gd name="connsiteX25" fmla="*/ 6460798 w 12190413"/>
              <a:gd name="connsiteY25" fmla="*/ 3049475 h 3406586"/>
              <a:gd name="connsiteX26" fmla="*/ 6387367 w 12190413"/>
              <a:gd name="connsiteY26" fmla="*/ 3063462 h 3406586"/>
              <a:gd name="connsiteX27" fmla="*/ 6041160 w 12190413"/>
              <a:gd name="connsiteY27" fmla="*/ 3121816 h 3406586"/>
              <a:gd name="connsiteX28" fmla="*/ 5887321 w 12190413"/>
              <a:gd name="connsiteY28" fmla="*/ 3154127 h 3406586"/>
              <a:gd name="connsiteX29" fmla="*/ 5857713 w 12190413"/>
              <a:gd name="connsiteY29" fmla="*/ 3159113 h 3406586"/>
              <a:gd name="connsiteX30" fmla="*/ 1438219 w 12190413"/>
              <a:gd name="connsiteY30" fmla="*/ 3342542 h 3406586"/>
              <a:gd name="connsiteX31" fmla="*/ 1112913 w 12190413"/>
              <a:gd name="connsiteY31" fmla="*/ 3306015 h 3406586"/>
              <a:gd name="connsiteX32" fmla="*/ 1063194 w 12190413"/>
              <a:gd name="connsiteY32" fmla="*/ 3299628 h 3406586"/>
              <a:gd name="connsiteX33" fmla="*/ 750855 w 12190413"/>
              <a:gd name="connsiteY33" fmla="*/ 3254655 h 3406586"/>
              <a:gd name="connsiteX34" fmla="*/ 268553 w 12190413"/>
              <a:gd name="connsiteY34" fmla="*/ 3164158 h 3406586"/>
              <a:gd name="connsiteX35" fmla="*/ 1 w 12190413"/>
              <a:gd name="connsiteY35" fmla="*/ 3097698 h 3406586"/>
              <a:gd name="connsiteX36" fmla="*/ 0 w 12190413"/>
              <a:gd name="connsiteY36" fmla="*/ 3097676 h 3406586"/>
              <a:gd name="connsiteX0" fmla="*/ 12190413 w 12190413"/>
              <a:gd name="connsiteY0" fmla="*/ 0 h 1843356"/>
              <a:gd name="connsiteX1" fmla="*/ 12190412 w 12190413"/>
              <a:gd name="connsiteY1" fmla="*/ 1563230 h 1843356"/>
              <a:gd name="connsiteX2" fmla="*/ 12188206 w 12190413"/>
              <a:gd name="connsiteY2" fmla="*/ 1562716 h 1843356"/>
              <a:gd name="connsiteX3" fmla="*/ 12188206 w 12190413"/>
              <a:gd name="connsiteY3" fmla="*/ 1556091 h 1843356"/>
              <a:gd name="connsiteX4" fmla="*/ 12032390 w 12190413"/>
              <a:gd name="connsiteY4" fmla="*/ 1526413 h 1843356"/>
              <a:gd name="connsiteX5" fmla="*/ 11853287 w 12190413"/>
              <a:gd name="connsiteY5" fmla="*/ 1484685 h 1843356"/>
              <a:gd name="connsiteX6" fmla="*/ 9474399 w 12190413"/>
              <a:gd name="connsiteY6" fmla="*/ 1251687 h 1843356"/>
              <a:gd name="connsiteX7" fmla="*/ 9363219 w 12190413"/>
              <a:gd name="connsiteY7" fmla="*/ 1252728 h 1843356"/>
              <a:gd name="connsiteX8" fmla="*/ 9336724 w 12190413"/>
              <a:gd name="connsiteY8" fmla="*/ 1252260 h 1843356"/>
              <a:gd name="connsiteX9" fmla="*/ 9141154 w 12190413"/>
              <a:gd name="connsiteY9" fmla="*/ 1252260 h 1843356"/>
              <a:gd name="connsiteX10" fmla="*/ 8943837 w 12190413"/>
              <a:gd name="connsiteY10" fmla="*/ 1252259 h 1843356"/>
              <a:gd name="connsiteX11" fmla="*/ 8746521 w 12190413"/>
              <a:gd name="connsiteY11" fmla="*/ 1255752 h 1843356"/>
              <a:gd name="connsiteX12" fmla="*/ 8552697 w 12190413"/>
              <a:gd name="connsiteY12" fmla="*/ 1260991 h 1843356"/>
              <a:gd name="connsiteX13" fmla="*/ 8357128 w 12190413"/>
              <a:gd name="connsiteY13" fmla="*/ 1271467 h 1843356"/>
              <a:gd name="connsiteX14" fmla="*/ 8163303 w 12190413"/>
              <a:gd name="connsiteY14" fmla="*/ 1283690 h 1843356"/>
              <a:gd name="connsiteX15" fmla="*/ 7972972 w 12190413"/>
              <a:gd name="connsiteY15" fmla="*/ 1295914 h 1843356"/>
              <a:gd name="connsiteX16" fmla="*/ 7779149 w 12190413"/>
              <a:gd name="connsiteY16" fmla="*/ 1311628 h 1843356"/>
              <a:gd name="connsiteX17" fmla="*/ 7587072 w 12190413"/>
              <a:gd name="connsiteY17" fmla="*/ 1330836 h 1843356"/>
              <a:gd name="connsiteX18" fmla="*/ 7396738 w 12190413"/>
              <a:gd name="connsiteY18" fmla="*/ 1353536 h 1843356"/>
              <a:gd name="connsiteX19" fmla="*/ 7209903 w 12190413"/>
              <a:gd name="connsiteY19" fmla="*/ 1376236 h 1843356"/>
              <a:gd name="connsiteX20" fmla="*/ 7019571 w 12190413"/>
              <a:gd name="connsiteY20" fmla="*/ 1400683 h 1843356"/>
              <a:gd name="connsiteX21" fmla="*/ 6853019 w 12190413"/>
              <a:gd name="connsiteY21" fmla="*/ 1427144 h 1843356"/>
              <a:gd name="connsiteX22" fmla="*/ 6718666 w 12190413"/>
              <a:gd name="connsiteY22" fmla="*/ 1444390 h 1843356"/>
              <a:gd name="connsiteX23" fmla="*/ 6545441 w 12190413"/>
              <a:gd name="connsiteY23" fmla="*/ 1473587 h 1843356"/>
              <a:gd name="connsiteX24" fmla="*/ 6460798 w 12190413"/>
              <a:gd name="connsiteY24" fmla="*/ 1486245 h 1843356"/>
              <a:gd name="connsiteX25" fmla="*/ 6387367 w 12190413"/>
              <a:gd name="connsiteY25" fmla="*/ 1500232 h 1843356"/>
              <a:gd name="connsiteX26" fmla="*/ 6041160 w 12190413"/>
              <a:gd name="connsiteY26" fmla="*/ 1558586 h 1843356"/>
              <a:gd name="connsiteX27" fmla="*/ 5887321 w 12190413"/>
              <a:gd name="connsiteY27" fmla="*/ 1590897 h 1843356"/>
              <a:gd name="connsiteX28" fmla="*/ 5857713 w 12190413"/>
              <a:gd name="connsiteY28" fmla="*/ 1595883 h 1843356"/>
              <a:gd name="connsiteX29" fmla="*/ 1438219 w 12190413"/>
              <a:gd name="connsiteY29" fmla="*/ 1779312 h 1843356"/>
              <a:gd name="connsiteX30" fmla="*/ 1112913 w 12190413"/>
              <a:gd name="connsiteY30" fmla="*/ 1742785 h 1843356"/>
              <a:gd name="connsiteX31" fmla="*/ 1063194 w 12190413"/>
              <a:gd name="connsiteY31" fmla="*/ 1736398 h 1843356"/>
              <a:gd name="connsiteX32" fmla="*/ 750855 w 12190413"/>
              <a:gd name="connsiteY32" fmla="*/ 1691425 h 1843356"/>
              <a:gd name="connsiteX33" fmla="*/ 268553 w 12190413"/>
              <a:gd name="connsiteY33" fmla="*/ 1600928 h 1843356"/>
              <a:gd name="connsiteX34" fmla="*/ 1 w 12190413"/>
              <a:gd name="connsiteY34" fmla="*/ 1534468 h 1843356"/>
              <a:gd name="connsiteX35" fmla="*/ 0 w 12190413"/>
              <a:gd name="connsiteY35" fmla="*/ 1534446 h 1843356"/>
              <a:gd name="connsiteX0" fmla="*/ 12190412 w 12190412"/>
              <a:gd name="connsiteY0" fmla="*/ 311543 h 591669"/>
              <a:gd name="connsiteX1" fmla="*/ 12188206 w 12190412"/>
              <a:gd name="connsiteY1" fmla="*/ 311029 h 591669"/>
              <a:gd name="connsiteX2" fmla="*/ 12188206 w 12190412"/>
              <a:gd name="connsiteY2" fmla="*/ 304404 h 591669"/>
              <a:gd name="connsiteX3" fmla="*/ 12032390 w 12190412"/>
              <a:gd name="connsiteY3" fmla="*/ 274726 h 591669"/>
              <a:gd name="connsiteX4" fmla="*/ 11853287 w 12190412"/>
              <a:gd name="connsiteY4" fmla="*/ 232998 h 591669"/>
              <a:gd name="connsiteX5" fmla="*/ 9474399 w 12190412"/>
              <a:gd name="connsiteY5" fmla="*/ 0 h 591669"/>
              <a:gd name="connsiteX6" fmla="*/ 9363219 w 12190412"/>
              <a:gd name="connsiteY6" fmla="*/ 1041 h 591669"/>
              <a:gd name="connsiteX7" fmla="*/ 9336724 w 12190412"/>
              <a:gd name="connsiteY7" fmla="*/ 573 h 591669"/>
              <a:gd name="connsiteX8" fmla="*/ 9141154 w 12190412"/>
              <a:gd name="connsiteY8" fmla="*/ 573 h 591669"/>
              <a:gd name="connsiteX9" fmla="*/ 8943837 w 12190412"/>
              <a:gd name="connsiteY9" fmla="*/ 572 h 591669"/>
              <a:gd name="connsiteX10" fmla="*/ 8746521 w 12190412"/>
              <a:gd name="connsiteY10" fmla="*/ 4065 h 591669"/>
              <a:gd name="connsiteX11" fmla="*/ 8552697 w 12190412"/>
              <a:gd name="connsiteY11" fmla="*/ 9304 h 591669"/>
              <a:gd name="connsiteX12" fmla="*/ 8357128 w 12190412"/>
              <a:gd name="connsiteY12" fmla="*/ 19780 h 591669"/>
              <a:gd name="connsiteX13" fmla="*/ 8163303 w 12190412"/>
              <a:gd name="connsiteY13" fmla="*/ 32003 h 591669"/>
              <a:gd name="connsiteX14" fmla="*/ 7972972 w 12190412"/>
              <a:gd name="connsiteY14" fmla="*/ 44227 h 591669"/>
              <a:gd name="connsiteX15" fmla="*/ 7779149 w 12190412"/>
              <a:gd name="connsiteY15" fmla="*/ 59941 h 591669"/>
              <a:gd name="connsiteX16" fmla="*/ 7587072 w 12190412"/>
              <a:gd name="connsiteY16" fmla="*/ 79149 h 591669"/>
              <a:gd name="connsiteX17" fmla="*/ 7396738 w 12190412"/>
              <a:gd name="connsiteY17" fmla="*/ 101849 h 591669"/>
              <a:gd name="connsiteX18" fmla="*/ 7209903 w 12190412"/>
              <a:gd name="connsiteY18" fmla="*/ 124549 h 591669"/>
              <a:gd name="connsiteX19" fmla="*/ 7019571 w 12190412"/>
              <a:gd name="connsiteY19" fmla="*/ 148996 h 591669"/>
              <a:gd name="connsiteX20" fmla="*/ 6853019 w 12190412"/>
              <a:gd name="connsiteY20" fmla="*/ 175457 h 591669"/>
              <a:gd name="connsiteX21" fmla="*/ 6718666 w 12190412"/>
              <a:gd name="connsiteY21" fmla="*/ 192703 h 591669"/>
              <a:gd name="connsiteX22" fmla="*/ 6545441 w 12190412"/>
              <a:gd name="connsiteY22" fmla="*/ 221900 h 591669"/>
              <a:gd name="connsiteX23" fmla="*/ 6460798 w 12190412"/>
              <a:gd name="connsiteY23" fmla="*/ 234558 h 591669"/>
              <a:gd name="connsiteX24" fmla="*/ 6387367 w 12190412"/>
              <a:gd name="connsiteY24" fmla="*/ 248545 h 591669"/>
              <a:gd name="connsiteX25" fmla="*/ 6041160 w 12190412"/>
              <a:gd name="connsiteY25" fmla="*/ 306899 h 591669"/>
              <a:gd name="connsiteX26" fmla="*/ 5887321 w 12190412"/>
              <a:gd name="connsiteY26" fmla="*/ 339210 h 591669"/>
              <a:gd name="connsiteX27" fmla="*/ 5857713 w 12190412"/>
              <a:gd name="connsiteY27" fmla="*/ 344196 h 591669"/>
              <a:gd name="connsiteX28" fmla="*/ 1438219 w 12190412"/>
              <a:gd name="connsiteY28" fmla="*/ 527625 h 591669"/>
              <a:gd name="connsiteX29" fmla="*/ 1112913 w 12190412"/>
              <a:gd name="connsiteY29" fmla="*/ 491098 h 591669"/>
              <a:gd name="connsiteX30" fmla="*/ 1063194 w 12190412"/>
              <a:gd name="connsiteY30" fmla="*/ 484711 h 591669"/>
              <a:gd name="connsiteX31" fmla="*/ 750855 w 12190412"/>
              <a:gd name="connsiteY31" fmla="*/ 439738 h 591669"/>
              <a:gd name="connsiteX32" fmla="*/ 268553 w 12190412"/>
              <a:gd name="connsiteY32" fmla="*/ 349241 h 591669"/>
              <a:gd name="connsiteX33" fmla="*/ 1 w 12190412"/>
              <a:gd name="connsiteY33" fmla="*/ 282781 h 591669"/>
              <a:gd name="connsiteX34" fmla="*/ 0 w 12190412"/>
              <a:gd name="connsiteY34" fmla="*/ 282759 h 591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2190412" h="591669">
                <a:moveTo>
                  <a:pt x="12190412" y="311543"/>
                </a:moveTo>
                <a:lnTo>
                  <a:pt x="12188206" y="311029"/>
                </a:lnTo>
                <a:lnTo>
                  <a:pt x="12188206" y="304404"/>
                </a:lnTo>
                <a:lnTo>
                  <a:pt x="12032390" y="274726"/>
                </a:lnTo>
                <a:lnTo>
                  <a:pt x="11853287" y="232998"/>
                </a:lnTo>
                <a:cubicBezTo>
                  <a:pt x="11151505" y="90802"/>
                  <a:pt x="10345755" y="9736"/>
                  <a:pt x="9474399" y="0"/>
                </a:cubicBezTo>
                <a:lnTo>
                  <a:pt x="9363219" y="1041"/>
                </a:lnTo>
                <a:lnTo>
                  <a:pt x="9336724" y="573"/>
                </a:lnTo>
                <a:lnTo>
                  <a:pt x="9141154" y="573"/>
                </a:lnTo>
                <a:lnTo>
                  <a:pt x="8943837" y="572"/>
                </a:lnTo>
                <a:lnTo>
                  <a:pt x="8746521" y="4065"/>
                </a:lnTo>
                <a:lnTo>
                  <a:pt x="8552697" y="9304"/>
                </a:lnTo>
                <a:lnTo>
                  <a:pt x="8357128" y="19780"/>
                </a:lnTo>
                <a:lnTo>
                  <a:pt x="8163303" y="32003"/>
                </a:lnTo>
                <a:lnTo>
                  <a:pt x="7972972" y="44227"/>
                </a:lnTo>
                <a:lnTo>
                  <a:pt x="7779149" y="59941"/>
                </a:lnTo>
                <a:lnTo>
                  <a:pt x="7587072" y="79149"/>
                </a:lnTo>
                <a:lnTo>
                  <a:pt x="7396738" y="101849"/>
                </a:lnTo>
                <a:lnTo>
                  <a:pt x="7209903" y="124549"/>
                </a:lnTo>
                <a:lnTo>
                  <a:pt x="7019571" y="148996"/>
                </a:lnTo>
                <a:lnTo>
                  <a:pt x="6853019" y="175457"/>
                </a:lnTo>
                <a:lnTo>
                  <a:pt x="6718666" y="192703"/>
                </a:lnTo>
                <a:lnTo>
                  <a:pt x="6545441" y="221900"/>
                </a:lnTo>
                <a:lnTo>
                  <a:pt x="6460798" y="234558"/>
                </a:lnTo>
                <a:lnTo>
                  <a:pt x="6387367" y="248545"/>
                </a:lnTo>
                <a:lnTo>
                  <a:pt x="6041160" y="306899"/>
                </a:lnTo>
                <a:lnTo>
                  <a:pt x="5887321" y="339210"/>
                </a:lnTo>
                <a:lnTo>
                  <a:pt x="5857713" y="344196"/>
                </a:lnTo>
                <a:cubicBezTo>
                  <a:pt x="4271557" y="592719"/>
                  <a:pt x="2741498" y="654449"/>
                  <a:pt x="1438219" y="527625"/>
                </a:cubicBezTo>
                <a:lnTo>
                  <a:pt x="1112913" y="491098"/>
                </a:lnTo>
                <a:lnTo>
                  <a:pt x="1063194" y="484711"/>
                </a:lnTo>
                <a:lnTo>
                  <a:pt x="750855" y="439738"/>
                </a:lnTo>
                <a:cubicBezTo>
                  <a:pt x="585150" y="413086"/>
                  <a:pt x="424237" y="382922"/>
                  <a:pt x="268553" y="349241"/>
                </a:cubicBezTo>
                <a:lnTo>
                  <a:pt x="1" y="282781"/>
                </a:lnTo>
                <a:cubicBezTo>
                  <a:pt x="1" y="282774"/>
                  <a:pt x="0" y="282766"/>
                  <a:pt x="0" y="282759"/>
                </a:cubicBez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7" name="Rechteck 6" hidden="1">
            <a:extLst>
              <a:ext uri="{FF2B5EF4-FFF2-40B4-BE49-F238E27FC236}">
                <a16:creationId xmlns:a16="http://schemas.microsoft.com/office/drawing/2014/main" id="{60150BFE-BA83-46EF-A774-91FE839EFB97}"/>
              </a:ext>
            </a:extLst>
          </p:cNvPr>
          <p:cNvSpPr/>
          <p:nvPr userDrawn="1">
            <p:custDataLst>
              <p:tags r:id="rId1"/>
            </p:custDataLst>
          </p:nvPr>
        </p:nvSpPr>
        <p:spPr>
          <a:xfrm>
            <a:off x="9192833" y="5970792"/>
            <a:ext cx="2999167" cy="887208"/>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Tree>
    <p:extLst>
      <p:ext uri="{BB962C8B-B14F-4D97-AF65-F5344CB8AC3E}">
        <p14:creationId xmlns:p14="http://schemas.microsoft.com/office/powerpoint/2010/main" val="107743203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vider with pictur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3287063450"/>
              </p:ext>
            </p:ext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4" name="Objekt 3" hidden="1"/>
                      <p:cNvPicPr/>
                      <p:nvPr/>
                    </p:nvPicPr>
                    <p:blipFill>
                      <a:blip r:embed="rId5"/>
                      <a:stretch>
                        <a:fillRect/>
                      </a:stretch>
                    </p:blipFill>
                    <p:spPr>
                      <a:xfrm>
                        <a:off x="1589" y="1588"/>
                        <a:ext cx="1587" cy="1587"/>
                      </a:xfrm>
                      <a:prstGeom prst="rect">
                        <a:avLst/>
                      </a:prstGeom>
                    </p:spPr>
                  </p:pic>
                </p:oleObj>
              </mc:Fallback>
            </mc:AlternateContent>
          </a:graphicData>
        </a:graphic>
      </p:graphicFrame>
      <p:sp>
        <p:nvSpPr>
          <p:cNvPr id="46" name="Picture Placeholder 45"/>
          <p:cNvSpPr>
            <a:spLocks noGrp="1"/>
          </p:cNvSpPr>
          <p:nvPr>
            <p:ph type="pic" sz="quarter" idx="15" hasCustomPrompt="1"/>
          </p:nvPr>
        </p:nvSpPr>
        <p:spPr bwMode="gray">
          <a:xfrm>
            <a:off x="-2899" y="0"/>
            <a:ext cx="12194900" cy="3405798"/>
          </a:xfrm>
          <a:custGeom>
            <a:avLst/>
            <a:gdLst>
              <a:gd name="connsiteX0" fmla="*/ 0 w 12190414"/>
              <a:gd name="connsiteY0" fmla="*/ 0 h 4091720"/>
              <a:gd name="connsiteX1" fmla="*/ 12190414 w 12190414"/>
              <a:gd name="connsiteY1" fmla="*/ 0 h 4091720"/>
              <a:gd name="connsiteX2" fmla="*/ 12190414 w 12190414"/>
              <a:gd name="connsiteY2" fmla="*/ 4091720 h 4091720"/>
              <a:gd name="connsiteX3" fmla="*/ 12190411 w 12190414"/>
              <a:gd name="connsiteY3" fmla="*/ 4091720 h 4091720"/>
              <a:gd name="connsiteX4" fmla="*/ 12190412 w 12190414"/>
              <a:gd name="connsiteY4" fmla="*/ 3126461 h 4091720"/>
              <a:gd name="connsiteX5" fmla="*/ 12188206 w 12190414"/>
              <a:gd name="connsiteY5" fmla="*/ 3125947 h 4091720"/>
              <a:gd name="connsiteX6" fmla="*/ 12188206 w 12190414"/>
              <a:gd name="connsiteY6" fmla="*/ 3119322 h 4091720"/>
              <a:gd name="connsiteX7" fmla="*/ 12032390 w 12190414"/>
              <a:gd name="connsiteY7" fmla="*/ 3089644 h 4091720"/>
              <a:gd name="connsiteX8" fmla="*/ 11853287 w 12190414"/>
              <a:gd name="connsiteY8" fmla="*/ 3047916 h 4091720"/>
              <a:gd name="connsiteX9" fmla="*/ 9474399 w 12190414"/>
              <a:gd name="connsiteY9" fmla="*/ 2814918 h 4091720"/>
              <a:gd name="connsiteX10" fmla="*/ 9363219 w 12190414"/>
              <a:gd name="connsiteY10" fmla="*/ 2815959 h 4091720"/>
              <a:gd name="connsiteX11" fmla="*/ 9336724 w 12190414"/>
              <a:gd name="connsiteY11" fmla="*/ 2815491 h 4091720"/>
              <a:gd name="connsiteX12" fmla="*/ 9141154 w 12190414"/>
              <a:gd name="connsiteY12" fmla="*/ 2815491 h 4091720"/>
              <a:gd name="connsiteX13" fmla="*/ 8943837 w 12190414"/>
              <a:gd name="connsiteY13" fmla="*/ 2815490 h 4091720"/>
              <a:gd name="connsiteX14" fmla="*/ 8746521 w 12190414"/>
              <a:gd name="connsiteY14" fmla="*/ 2818983 h 4091720"/>
              <a:gd name="connsiteX15" fmla="*/ 8552697 w 12190414"/>
              <a:gd name="connsiteY15" fmla="*/ 2824222 h 4091720"/>
              <a:gd name="connsiteX16" fmla="*/ 8357128 w 12190414"/>
              <a:gd name="connsiteY16" fmla="*/ 2834698 h 4091720"/>
              <a:gd name="connsiteX17" fmla="*/ 8163303 w 12190414"/>
              <a:gd name="connsiteY17" fmla="*/ 2846921 h 4091720"/>
              <a:gd name="connsiteX18" fmla="*/ 7972972 w 12190414"/>
              <a:gd name="connsiteY18" fmla="*/ 2859145 h 4091720"/>
              <a:gd name="connsiteX19" fmla="*/ 7779149 w 12190414"/>
              <a:gd name="connsiteY19" fmla="*/ 2874859 h 4091720"/>
              <a:gd name="connsiteX20" fmla="*/ 7587072 w 12190414"/>
              <a:gd name="connsiteY20" fmla="*/ 2894067 h 4091720"/>
              <a:gd name="connsiteX21" fmla="*/ 7396738 w 12190414"/>
              <a:gd name="connsiteY21" fmla="*/ 2916767 h 4091720"/>
              <a:gd name="connsiteX22" fmla="*/ 7209903 w 12190414"/>
              <a:gd name="connsiteY22" fmla="*/ 2939467 h 4091720"/>
              <a:gd name="connsiteX23" fmla="*/ 7019571 w 12190414"/>
              <a:gd name="connsiteY23" fmla="*/ 2963914 h 4091720"/>
              <a:gd name="connsiteX24" fmla="*/ 6853019 w 12190414"/>
              <a:gd name="connsiteY24" fmla="*/ 2990375 h 4091720"/>
              <a:gd name="connsiteX25" fmla="*/ 6718666 w 12190414"/>
              <a:gd name="connsiteY25" fmla="*/ 3007621 h 4091720"/>
              <a:gd name="connsiteX26" fmla="*/ 6545441 w 12190414"/>
              <a:gd name="connsiteY26" fmla="*/ 3036818 h 4091720"/>
              <a:gd name="connsiteX27" fmla="*/ 6460798 w 12190414"/>
              <a:gd name="connsiteY27" fmla="*/ 3049476 h 4091720"/>
              <a:gd name="connsiteX28" fmla="*/ 6387367 w 12190414"/>
              <a:gd name="connsiteY28" fmla="*/ 3063463 h 4091720"/>
              <a:gd name="connsiteX29" fmla="*/ 6041160 w 12190414"/>
              <a:gd name="connsiteY29" fmla="*/ 3121817 h 4091720"/>
              <a:gd name="connsiteX30" fmla="*/ 5887321 w 12190414"/>
              <a:gd name="connsiteY30" fmla="*/ 3154128 h 4091720"/>
              <a:gd name="connsiteX31" fmla="*/ 5857713 w 12190414"/>
              <a:gd name="connsiteY31" fmla="*/ 3159114 h 4091720"/>
              <a:gd name="connsiteX32" fmla="*/ 1438219 w 12190414"/>
              <a:gd name="connsiteY32" fmla="*/ 3342543 h 4091720"/>
              <a:gd name="connsiteX33" fmla="*/ 1112913 w 12190414"/>
              <a:gd name="connsiteY33" fmla="*/ 3306016 h 4091720"/>
              <a:gd name="connsiteX34" fmla="*/ 1063194 w 12190414"/>
              <a:gd name="connsiteY34" fmla="*/ 3299629 h 4091720"/>
              <a:gd name="connsiteX35" fmla="*/ 750855 w 12190414"/>
              <a:gd name="connsiteY35" fmla="*/ 3254656 h 4091720"/>
              <a:gd name="connsiteX36" fmla="*/ 268553 w 12190414"/>
              <a:gd name="connsiteY36" fmla="*/ 3164159 h 4091720"/>
              <a:gd name="connsiteX37" fmla="*/ 1 w 12190414"/>
              <a:gd name="connsiteY37" fmla="*/ 3097699 h 4091720"/>
              <a:gd name="connsiteX38" fmla="*/ 0 w 12190414"/>
              <a:gd name="connsiteY38" fmla="*/ 4091720 h 4091720"/>
              <a:gd name="connsiteX39" fmla="*/ 0 w 12190414"/>
              <a:gd name="connsiteY39" fmla="*/ 4091720 h 4091720"/>
              <a:gd name="connsiteX0" fmla="*/ 0 w 12190414"/>
              <a:gd name="connsiteY0" fmla="*/ 0 h 4091720"/>
              <a:gd name="connsiteX1" fmla="*/ 12190414 w 12190414"/>
              <a:gd name="connsiteY1" fmla="*/ 0 h 4091720"/>
              <a:gd name="connsiteX2" fmla="*/ 12190414 w 12190414"/>
              <a:gd name="connsiteY2" fmla="*/ 4091720 h 4091720"/>
              <a:gd name="connsiteX3" fmla="*/ 12190412 w 12190414"/>
              <a:gd name="connsiteY3" fmla="*/ 3126461 h 4091720"/>
              <a:gd name="connsiteX4" fmla="*/ 12188206 w 12190414"/>
              <a:gd name="connsiteY4" fmla="*/ 3125947 h 4091720"/>
              <a:gd name="connsiteX5" fmla="*/ 12188206 w 12190414"/>
              <a:gd name="connsiteY5" fmla="*/ 3119322 h 4091720"/>
              <a:gd name="connsiteX6" fmla="*/ 12032390 w 12190414"/>
              <a:gd name="connsiteY6" fmla="*/ 3089644 h 4091720"/>
              <a:gd name="connsiteX7" fmla="*/ 11853287 w 12190414"/>
              <a:gd name="connsiteY7" fmla="*/ 3047916 h 4091720"/>
              <a:gd name="connsiteX8" fmla="*/ 9474399 w 12190414"/>
              <a:gd name="connsiteY8" fmla="*/ 2814918 h 4091720"/>
              <a:gd name="connsiteX9" fmla="*/ 9363219 w 12190414"/>
              <a:gd name="connsiteY9" fmla="*/ 2815959 h 4091720"/>
              <a:gd name="connsiteX10" fmla="*/ 9336724 w 12190414"/>
              <a:gd name="connsiteY10" fmla="*/ 2815491 h 4091720"/>
              <a:gd name="connsiteX11" fmla="*/ 9141154 w 12190414"/>
              <a:gd name="connsiteY11" fmla="*/ 2815491 h 4091720"/>
              <a:gd name="connsiteX12" fmla="*/ 8943837 w 12190414"/>
              <a:gd name="connsiteY12" fmla="*/ 2815490 h 4091720"/>
              <a:gd name="connsiteX13" fmla="*/ 8746521 w 12190414"/>
              <a:gd name="connsiteY13" fmla="*/ 2818983 h 4091720"/>
              <a:gd name="connsiteX14" fmla="*/ 8552697 w 12190414"/>
              <a:gd name="connsiteY14" fmla="*/ 2824222 h 4091720"/>
              <a:gd name="connsiteX15" fmla="*/ 8357128 w 12190414"/>
              <a:gd name="connsiteY15" fmla="*/ 2834698 h 4091720"/>
              <a:gd name="connsiteX16" fmla="*/ 8163303 w 12190414"/>
              <a:gd name="connsiteY16" fmla="*/ 2846921 h 4091720"/>
              <a:gd name="connsiteX17" fmla="*/ 7972972 w 12190414"/>
              <a:gd name="connsiteY17" fmla="*/ 2859145 h 4091720"/>
              <a:gd name="connsiteX18" fmla="*/ 7779149 w 12190414"/>
              <a:gd name="connsiteY18" fmla="*/ 2874859 h 4091720"/>
              <a:gd name="connsiteX19" fmla="*/ 7587072 w 12190414"/>
              <a:gd name="connsiteY19" fmla="*/ 2894067 h 4091720"/>
              <a:gd name="connsiteX20" fmla="*/ 7396738 w 12190414"/>
              <a:gd name="connsiteY20" fmla="*/ 2916767 h 4091720"/>
              <a:gd name="connsiteX21" fmla="*/ 7209903 w 12190414"/>
              <a:gd name="connsiteY21" fmla="*/ 2939467 h 4091720"/>
              <a:gd name="connsiteX22" fmla="*/ 7019571 w 12190414"/>
              <a:gd name="connsiteY22" fmla="*/ 2963914 h 4091720"/>
              <a:gd name="connsiteX23" fmla="*/ 6853019 w 12190414"/>
              <a:gd name="connsiteY23" fmla="*/ 2990375 h 4091720"/>
              <a:gd name="connsiteX24" fmla="*/ 6718666 w 12190414"/>
              <a:gd name="connsiteY24" fmla="*/ 3007621 h 4091720"/>
              <a:gd name="connsiteX25" fmla="*/ 6545441 w 12190414"/>
              <a:gd name="connsiteY25" fmla="*/ 3036818 h 4091720"/>
              <a:gd name="connsiteX26" fmla="*/ 6460798 w 12190414"/>
              <a:gd name="connsiteY26" fmla="*/ 3049476 h 4091720"/>
              <a:gd name="connsiteX27" fmla="*/ 6387367 w 12190414"/>
              <a:gd name="connsiteY27" fmla="*/ 3063463 h 4091720"/>
              <a:gd name="connsiteX28" fmla="*/ 6041160 w 12190414"/>
              <a:gd name="connsiteY28" fmla="*/ 3121817 h 4091720"/>
              <a:gd name="connsiteX29" fmla="*/ 5887321 w 12190414"/>
              <a:gd name="connsiteY29" fmla="*/ 3154128 h 4091720"/>
              <a:gd name="connsiteX30" fmla="*/ 5857713 w 12190414"/>
              <a:gd name="connsiteY30" fmla="*/ 3159114 h 4091720"/>
              <a:gd name="connsiteX31" fmla="*/ 1438219 w 12190414"/>
              <a:gd name="connsiteY31" fmla="*/ 3342543 h 4091720"/>
              <a:gd name="connsiteX32" fmla="*/ 1112913 w 12190414"/>
              <a:gd name="connsiteY32" fmla="*/ 3306016 h 4091720"/>
              <a:gd name="connsiteX33" fmla="*/ 1063194 w 12190414"/>
              <a:gd name="connsiteY33" fmla="*/ 3299629 h 4091720"/>
              <a:gd name="connsiteX34" fmla="*/ 750855 w 12190414"/>
              <a:gd name="connsiteY34" fmla="*/ 3254656 h 4091720"/>
              <a:gd name="connsiteX35" fmla="*/ 268553 w 12190414"/>
              <a:gd name="connsiteY35" fmla="*/ 3164159 h 4091720"/>
              <a:gd name="connsiteX36" fmla="*/ 1 w 12190414"/>
              <a:gd name="connsiteY36" fmla="*/ 3097699 h 4091720"/>
              <a:gd name="connsiteX37" fmla="*/ 0 w 12190414"/>
              <a:gd name="connsiteY37" fmla="*/ 4091720 h 4091720"/>
              <a:gd name="connsiteX38" fmla="*/ 0 w 12190414"/>
              <a:gd name="connsiteY38" fmla="*/ 4091720 h 4091720"/>
              <a:gd name="connsiteX39" fmla="*/ 0 w 12190414"/>
              <a:gd name="connsiteY39" fmla="*/ 0 h 4091720"/>
              <a:gd name="connsiteX0" fmla="*/ 0 w 12190414"/>
              <a:gd name="connsiteY0" fmla="*/ 0 h 4091720"/>
              <a:gd name="connsiteX1" fmla="*/ 12190414 w 12190414"/>
              <a:gd name="connsiteY1" fmla="*/ 0 h 4091720"/>
              <a:gd name="connsiteX2" fmla="*/ 12190412 w 12190414"/>
              <a:gd name="connsiteY2" fmla="*/ 3126461 h 4091720"/>
              <a:gd name="connsiteX3" fmla="*/ 12188206 w 12190414"/>
              <a:gd name="connsiteY3" fmla="*/ 3125947 h 4091720"/>
              <a:gd name="connsiteX4" fmla="*/ 12188206 w 12190414"/>
              <a:gd name="connsiteY4" fmla="*/ 3119322 h 4091720"/>
              <a:gd name="connsiteX5" fmla="*/ 12032390 w 12190414"/>
              <a:gd name="connsiteY5" fmla="*/ 3089644 h 4091720"/>
              <a:gd name="connsiteX6" fmla="*/ 11853287 w 12190414"/>
              <a:gd name="connsiteY6" fmla="*/ 3047916 h 4091720"/>
              <a:gd name="connsiteX7" fmla="*/ 9474399 w 12190414"/>
              <a:gd name="connsiteY7" fmla="*/ 2814918 h 4091720"/>
              <a:gd name="connsiteX8" fmla="*/ 9363219 w 12190414"/>
              <a:gd name="connsiteY8" fmla="*/ 2815959 h 4091720"/>
              <a:gd name="connsiteX9" fmla="*/ 9336724 w 12190414"/>
              <a:gd name="connsiteY9" fmla="*/ 2815491 h 4091720"/>
              <a:gd name="connsiteX10" fmla="*/ 9141154 w 12190414"/>
              <a:gd name="connsiteY10" fmla="*/ 2815491 h 4091720"/>
              <a:gd name="connsiteX11" fmla="*/ 8943837 w 12190414"/>
              <a:gd name="connsiteY11" fmla="*/ 2815490 h 4091720"/>
              <a:gd name="connsiteX12" fmla="*/ 8746521 w 12190414"/>
              <a:gd name="connsiteY12" fmla="*/ 2818983 h 4091720"/>
              <a:gd name="connsiteX13" fmla="*/ 8552697 w 12190414"/>
              <a:gd name="connsiteY13" fmla="*/ 2824222 h 4091720"/>
              <a:gd name="connsiteX14" fmla="*/ 8357128 w 12190414"/>
              <a:gd name="connsiteY14" fmla="*/ 2834698 h 4091720"/>
              <a:gd name="connsiteX15" fmla="*/ 8163303 w 12190414"/>
              <a:gd name="connsiteY15" fmla="*/ 2846921 h 4091720"/>
              <a:gd name="connsiteX16" fmla="*/ 7972972 w 12190414"/>
              <a:gd name="connsiteY16" fmla="*/ 2859145 h 4091720"/>
              <a:gd name="connsiteX17" fmla="*/ 7779149 w 12190414"/>
              <a:gd name="connsiteY17" fmla="*/ 2874859 h 4091720"/>
              <a:gd name="connsiteX18" fmla="*/ 7587072 w 12190414"/>
              <a:gd name="connsiteY18" fmla="*/ 2894067 h 4091720"/>
              <a:gd name="connsiteX19" fmla="*/ 7396738 w 12190414"/>
              <a:gd name="connsiteY19" fmla="*/ 2916767 h 4091720"/>
              <a:gd name="connsiteX20" fmla="*/ 7209903 w 12190414"/>
              <a:gd name="connsiteY20" fmla="*/ 2939467 h 4091720"/>
              <a:gd name="connsiteX21" fmla="*/ 7019571 w 12190414"/>
              <a:gd name="connsiteY21" fmla="*/ 2963914 h 4091720"/>
              <a:gd name="connsiteX22" fmla="*/ 6853019 w 12190414"/>
              <a:gd name="connsiteY22" fmla="*/ 2990375 h 4091720"/>
              <a:gd name="connsiteX23" fmla="*/ 6718666 w 12190414"/>
              <a:gd name="connsiteY23" fmla="*/ 3007621 h 4091720"/>
              <a:gd name="connsiteX24" fmla="*/ 6545441 w 12190414"/>
              <a:gd name="connsiteY24" fmla="*/ 3036818 h 4091720"/>
              <a:gd name="connsiteX25" fmla="*/ 6460798 w 12190414"/>
              <a:gd name="connsiteY25" fmla="*/ 3049476 h 4091720"/>
              <a:gd name="connsiteX26" fmla="*/ 6387367 w 12190414"/>
              <a:gd name="connsiteY26" fmla="*/ 3063463 h 4091720"/>
              <a:gd name="connsiteX27" fmla="*/ 6041160 w 12190414"/>
              <a:gd name="connsiteY27" fmla="*/ 3121817 h 4091720"/>
              <a:gd name="connsiteX28" fmla="*/ 5887321 w 12190414"/>
              <a:gd name="connsiteY28" fmla="*/ 3154128 h 4091720"/>
              <a:gd name="connsiteX29" fmla="*/ 5857713 w 12190414"/>
              <a:gd name="connsiteY29" fmla="*/ 3159114 h 4091720"/>
              <a:gd name="connsiteX30" fmla="*/ 1438219 w 12190414"/>
              <a:gd name="connsiteY30" fmla="*/ 3342543 h 4091720"/>
              <a:gd name="connsiteX31" fmla="*/ 1112913 w 12190414"/>
              <a:gd name="connsiteY31" fmla="*/ 3306016 h 4091720"/>
              <a:gd name="connsiteX32" fmla="*/ 1063194 w 12190414"/>
              <a:gd name="connsiteY32" fmla="*/ 3299629 h 4091720"/>
              <a:gd name="connsiteX33" fmla="*/ 750855 w 12190414"/>
              <a:gd name="connsiteY33" fmla="*/ 3254656 h 4091720"/>
              <a:gd name="connsiteX34" fmla="*/ 268553 w 12190414"/>
              <a:gd name="connsiteY34" fmla="*/ 3164159 h 4091720"/>
              <a:gd name="connsiteX35" fmla="*/ 1 w 12190414"/>
              <a:gd name="connsiteY35" fmla="*/ 3097699 h 4091720"/>
              <a:gd name="connsiteX36" fmla="*/ 0 w 12190414"/>
              <a:gd name="connsiteY36" fmla="*/ 4091720 h 4091720"/>
              <a:gd name="connsiteX37" fmla="*/ 0 w 12190414"/>
              <a:gd name="connsiteY37" fmla="*/ 4091720 h 4091720"/>
              <a:gd name="connsiteX38" fmla="*/ 0 w 12190414"/>
              <a:gd name="connsiteY38" fmla="*/ 0 h 4091720"/>
              <a:gd name="connsiteX0" fmla="*/ 0 w 12190414"/>
              <a:gd name="connsiteY0" fmla="*/ 0 h 4091720"/>
              <a:gd name="connsiteX1" fmla="*/ 12190414 w 12190414"/>
              <a:gd name="connsiteY1" fmla="*/ 0 h 4091720"/>
              <a:gd name="connsiteX2" fmla="*/ 12190412 w 12190414"/>
              <a:gd name="connsiteY2" fmla="*/ 3126461 h 4091720"/>
              <a:gd name="connsiteX3" fmla="*/ 12188206 w 12190414"/>
              <a:gd name="connsiteY3" fmla="*/ 3125947 h 4091720"/>
              <a:gd name="connsiteX4" fmla="*/ 12188206 w 12190414"/>
              <a:gd name="connsiteY4" fmla="*/ 3119322 h 4091720"/>
              <a:gd name="connsiteX5" fmla="*/ 12032390 w 12190414"/>
              <a:gd name="connsiteY5" fmla="*/ 3089644 h 4091720"/>
              <a:gd name="connsiteX6" fmla="*/ 11853287 w 12190414"/>
              <a:gd name="connsiteY6" fmla="*/ 3047916 h 4091720"/>
              <a:gd name="connsiteX7" fmla="*/ 9474399 w 12190414"/>
              <a:gd name="connsiteY7" fmla="*/ 2814918 h 4091720"/>
              <a:gd name="connsiteX8" fmla="*/ 9363219 w 12190414"/>
              <a:gd name="connsiteY8" fmla="*/ 2815959 h 4091720"/>
              <a:gd name="connsiteX9" fmla="*/ 9336724 w 12190414"/>
              <a:gd name="connsiteY9" fmla="*/ 2815491 h 4091720"/>
              <a:gd name="connsiteX10" fmla="*/ 9141154 w 12190414"/>
              <a:gd name="connsiteY10" fmla="*/ 2815491 h 4091720"/>
              <a:gd name="connsiteX11" fmla="*/ 8943837 w 12190414"/>
              <a:gd name="connsiteY11" fmla="*/ 2815490 h 4091720"/>
              <a:gd name="connsiteX12" fmla="*/ 8746521 w 12190414"/>
              <a:gd name="connsiteY12" fmla="*/ 2818983 h 4091720"/>
              <a:gd name="connsiteX13" fmla="*/ 8552697 w 12190414"/>
              <a:gd name="connsiteY13" fmla="*/ 2824222 h 4091720"/>
              <a:gd name="connsiteX14" fmla="*/ 8357128 w 12190414"/>
              <a:gd name="connsiteY14" fmla="*/ 2834698 h 4091720"/>
              <a:gd name="connsiteX15" fmla="*/ 8163303 w 12190414"/>
              <a:gd name="connsiteY15" fmla="*/ 2846921 h 4091720"/>
              <a:gd name="connsiteX16" fmla="*/ 7972972 w 12190414"/>
              <a:gd name="connsiteY16" fmla="*/ 2859145 h 4091720"/>
              <a:gd name="connsiteX17" fmla="*/ 7779149 w 12190414"/>
              <a:gd name="connsiteY17" fmla="*/ 2874859 h 4091720"/>
              <a:gd name="connsiteX18" fmla="*/ 7587072 w 12190414"/>
              <a:gd name="connsiteY18" fmla="*/ 2894067 h 4091720"/>
              <a:gd name="connsiteX19" fmla="*/ 7396738 w 12190414"/>
              <a:gd name="connsiteY19" fmla="*/ 2916767 h 4091720"/>
              <a:gd name="connsiteX20" fmla="*/ 7209903 w 12190414"/>
              <a:gd name="connsiteY20" fmla="*/ 2939467 h 4091720"/>
              <a:gd name="connsiteX21" fmla="*/ 7019571 w 12190414"/>
              <a:gd name="connsiteY21" fmla="*/ 2963914 h 4091720"/>
              <a:gd name="connsiteX22" fmla="*/ 6853019 w 12190414"/>
              <a:gd name="connsiteY22" fmla="*/ 2990375 h 4091720"/>
              <a:gd name="connsiteX23" fmla="*/ 6718666 w 12190414"/>
              <a:gd name="connsiteY23" fmla="*/ 3007621 h 4091720"/>
              <a:gd name="connsiteX24" fmla="*/ 6545441 w 12190414"/>
              <a:gd name="connsiteY24" fmla="*/ 3036818 h 4091720"/>
              <a:gd name="connsiteX25" fmla="*/ 6460798 w 12190414"/>
              <a:gd name="connsiteY25" fmla="*/ 3049476 h 4091720"/>
              <a:gd name="connsiteX26" fmla="*/ 6387367 w 12190414"/>
              <a:gd name="connsiteY26" fmla="*/ 3063463 h 4091720"/>
              <a:gd name="connsiteX27" fmla="*/ 6041160 w 12190414"/>
              <a:gd name="connsiteY27" fmla="*/ 3121817 h 4091720"/>
              <a:gd name="connsiteX28" fmla="*/ 5887321 w 12190414"/>
              <a:gd name="connsiteY28" fmla="*/ 3154128 h 4091720"/>
              <a:gd name="connsiteX29" fmla="*/ 5857713 w 12190414"/>
              <a:gd name="connsiteY29" fmla="*/ 3159114 h 4091720"/>
              <a:gd name="connsiteX30" fmla="*/ 1438219 w 12190414"/>
              <a:gd name="connsiteY30" fmla="*/ 3342543 h 4091720"/>
              <a:gd name="connsiteX31" fmla="*/ 1112913 w 12190414"/>
              <a:gd name="connsiteY31" fmla="*/ 3306016 h 4091720"/>
              <a:gd name="connsiteX32" fmla="*/ 1063194 w 12190414"/>
              <a:gd name="connsiteY32" fmla="*/ 3299629 h 4091720"/>
              <a:gd name="connsiteX33" fmla="*/ 750855 w 12190414"/>
              <a:gd name="connsiteY33" fmla="*/ 3254656 h 4091720"/>
              <a:gd name="connsiteX34" fmla="*/ 268553 w 12190414"/>
              <a:gd name="connsiteY34" fmla="*/ 3164159 h 4091720"/>
              <a:gd name="connsiteX35" fmla="*/ 1 w 12190414"/>
              <a:gd name="connsiteY35" fmla="*/ 3097699 h 4091720"/>
              <a:gd name="connsiteX36" fmla="*/ 0 w 12190414"/>
              <a:gd name="connsiteY36" fmla="*/ 4091720 h 4091720"/>
              <a:gd name="connsiteX37" fmla="*/ 0 w 12190414"/>
              <a:gd name="connsiteY37" fmla="*/ 0 h 4091720"/>
              <a:gd name="connsiteX0" fmla="*/ 913022 w 13103436"/>
              <a:gd name="connsiteY0" fmla="*/ 0 h 3406587"/>
              <a:gd name="connsiteX1" fmla="*/ 13103436 w 13103436"/>
              <a:gd name="connsiteY1" fmla="*/ 0 h 3406587"/>
              <a:gd name="connsiteX2" fmla="*/ 13103434 w 13103436"/>
              <a:gd name="connsiteY2" fmla="*/ 3126461 h 3406587"/>
              <a:gd name="connsiteX3" fmla="*/ 13101228 w 13103436"/>
              <a:gd name="connsiteY3" fmla="*/ 3125947 h 3406587"/>
              <a:gd name="connsiteX4" fmla="*/ 13101228 w 13103436"/>
              <a:gd name="connsiteY4" fmla="*/ 3119322 h 3406587"/>
              <a:gd name="connsiteX5" fmla="*/ 12945412 w 13103436"/>
              <a:gd name="connsiteY5" fmla="*/ 3089644 h 3406587"/>
              <a:gd name="connsiteX6" fmla="*/ 12766309 w 13103436"/>
              <a:gd name="connsiteY6" fmla="*/ 3047916 h 3406587"/>
              <a:gd name="connsiteX7" fmla="*/ 10387421 w 13103436"/>
              <a:gd name="connsiteY7" fmla="*/ 2814918 h 3406587"/>
              <a:gd name="connsiteX8" fmla="*/ 10276241 w 13103436"/>
              <a:gd name="connsiteY8" fmla="*/ 2815959 h 3406587"/>
              <a:gd name="connsiteX9" fmla="*/ 10249746 w 13103436"/>
              <a:gd name="connsiteY9" fmla="*/ 2815491 h 3406587"/>
              <a:gd name="connsiteX10" fmla="*/ 10054176 w 13103436"/>
              <a:gd name="connsiteY10" fmla="*/ 2815491 h 3406587"/>
              <a:gd name="connsiteX11" fmla="*/ 9856859 w 13103436"/>
              <a:gd name="connsiteY11" fmla="*/ 2815490 h 3406587"/>
              <a:gd name="connsiteX12" fmla="*/ 9659543 w 13103436"/>
              <a:gd name="connsiteY12" fmla="*/ 2818983 h 3406587"/>
              <a:gd name="connsiteX13" fmla="*/ 9465719 w 13103436"/>
              <a:gd name="connsiteY13" fmla="*/ 2824222 h 3406587"/>
              <a:gd name="connsiteX14" fmla="*/ 9270150 w 13103436"/>
              <a:gd name="connsiteY14" fmla="*/ 2834698 h 3406587"/>
              <a:gd name="connsiteX15" fmla="*/ 9076325 w 13103436"/>
              <a:gd name="connsiteY15" fmla="*/ 2846921 h 3406587"/>
              <a:gd name="connsiteX16" fmla="*/ 8885994 w 13103436"/>
              <a:gd name="connsiteY16" fmla="*/ 2859145 h 3406587"/>
              <a:gd name="connsiteX17" fmla="*/ 8692171 w 13103436"/>
              <a:gd name="connsiteY17" fmla="*/ 2874859 h 3406587"/>
              <a:gd name="connsiteX18" fmla="*/ 8500094 w 13103436"/>
              <a:gd name="connsiteY18" fmla="*/ 2894067 h 3406587"/>
              <a:gd name="connsiteX19" fmla="*/ 8309760 w 13103436"/>
              <a:gd name="connsiteY19" fmla="*/ 2916767 h 3406587"/>
              <a:gd name="connsiteX20" fmla="*/ 8122925 w 13103436"/>
              <a:gd name="connsiteY20" fmla="*/ 2939467 h 3406587"/>
              <a:gd name="connsiteX21" fmla="*/ 7932593 w 13103436"/>
              <a:gd name="connsiteY21" fmla="*/ 2963914 h 3406587"/>
              <a:gd name="connsiteX22" fmla="*/ 7766041 w 13103436"/>
              <a:gd name="connsiteY22" fmla="*/ 2990375 h 3406587"/>
              <a:gd name="connsiteX23" fmla="*/ 7631688 w 13103436"/>
              <a:gd name="connsiteY23" fmla="*/ 3007621 h 3406587"/>
              <a:gd name="connsiteX24" fmla="*/ 7458463 w 13103436"/>
              <a:gd name="connsiteY24" fmla="*/ 3036818 h 3406587"/>
              <a:gd name="connsiteX25" fmla="*/ 7373820 w 13103436"/>
              <a:gd name="connsiteY25" fmla="*/ 3049476 h 3406587"/>
              <a:gd name="connsiteX26" fmla="*/ 7300389 w 13103436"/>
              <a:gd name="connsiteY26" fmla="*/ 3063463 h 3406587"/>
              <a:gd name="connsiteX27" fmla="*/ 6954182 w 13103436"/>
              <a:gd name="connsiteY27" fmla="*/ 3121817 h 3406587"/>
              <a:gd name="connsiteX28" fmla="*/ 6800343 w 13103436"/>
              <a:gd name="connsiteY28" fmla="*/ 3154128 h 3406587"/>
              <a:gd name="connsiteX29" fmla="*/ 6770735 w 13103436"/>
              <a:gd name="connsiteY29" fmla="*/ 3159114 h 3406587"/>
              <a:gd name="connsiteX30" fmla="*/ 2351241 w 13103436"/>
              <a:gd name="connsiteY30" fmla="*/ 3342543 h 3406587"/>
              <a:gd name="connsiteX31" fmla="*/ 2025935 w 13103436"/>
              <a:gd name="connsiteY31" fmla="*/ 3306016 h 3406587"/>
              <a:gd name="connsiteX32" fmla="*/ 1976216 w 13103436"/>
              <a:gd name="connsiteY32" fmla="*/ 3299629 h 3406587"/>
              <a:gd name="connsiteX33" fmla="*/ 1663877 w 13103436"/>
              <a:gd name="connsiteY33" fmla="*/ 3254656 h 3406587"/>
              <a:gd name="connsiteX34" fmla="*/ 1181575 w 13103436"/>
              <a:gd name="connsiteY34" fmla="*/ 3164159 h 3406587"/>
              <a:gd name="connsiteX35" fmla="*/ 913023 w 13103436"/>
              <a:gd name="connsiteY35" fmla="*/ 3097699 h 3406587"/>
              <a:gd name="connsiteX36" fmla="*/ 913022 w 13103436"/>
              <a:gd name="connsiteY36" fmla="*/ 0 h 3406587"/>
              <a:gd name="connsiteX0" fmla="*/ 899291 w 13089705"/>
              <a:gd name="connsiteY0" fmla="*/ 0 h 3406587"/>
              <a:gd name="connsiteX1" fmla="*/ 13089705 w 13089705"/>
              <a:gd name="connsiteY1" fmla="*/ 0 h 3406587"/>
              <a:gd name="connsiteX2" fmla="*/ 13089703 w 13089705"/>
              <a:gd name="connsiteY2" fmla="*/ 3126461 h 3406587"/>
              <a:gd name="connsiteX3" fmla="*/ 13087497 w 13089705"/>
              <a:gd name="connsiteY3" fmla="*/ 3125947 h 3406587"/>
              <a:gd name="connsiteX4" fmla="*/ 13087497 w 13089705"/>
              <a:gd name="connsiteY4" fmla="*/ 3119322 h 3406587"/>
              <a:gd name="connsiteX5" fmla="*/ 12931681 w 13089705"/>
              <a:gd name="connsiteY5" fmla="*/ 3089644 h 3406587"/>
              <a:gd name="connsiteX6" fmla="*/ 12752578 w 13089705"/>
              <a:gd name="connsiteY6" fmla="*/ 3047916 h 3406587"/>
              <a:gd name="connsiteX7" fmla="*/ 10373690 w 13089705"/>
              <a:gd name="connsiteY7" fmla="*/ 2814918 h 3406587"/>
              <a:gd name="connsiteX8" fmla="*/ 10262510 w 13089705"/>
              <a:gd name="connsiteY8" fmla="*/ 2815959 h 3406587"/>
              <a:gd name="connsiteX9" fmla="*/ 10236015 w 13089705"/>
              <a:gd name="connsiteY9" fmla="*/ 2815491 h 3406587"/>
              <a:gd name="connsiteX10" fmla="*/ 10040445 w 13089705"/>
              <a:gd name="connsiteY10" fmla="*/ 2815491 h 3406587"/>
              <a:gd name="connsiteX11" fmla="*/ 9843128 w 13089705"/>
              <a:gd name="connsiteY11" fmla="*/ 2815490 h 3406587"/>
              <a:gd name="connsiteX12" fmla="*/ 9645812 w 13089705"/>
              <a:gd name="connsiteY12" fmla="*/ 2818983 h 3406587"/>
              <a:gd name="connsiteX13" fmla="*/ 9451988 w 13089705"/>
              <a:gd name="connsiteY13" fmla="*/ 2824222 h 3406587"/>
              <a:gd name="connsiteX14" fmla="*/ 9256419 w 13089705"/>
              <a:gd name="connsiteY14" fmla="*/ 2834698 h 3406587"/>
              <a:gd name="connsiteX15" fmla="*/ 9062594 w 13089705"/>
              <a:gd name="connsiteY15" fmla="*/ 2846921 h 3406587"/>
              <a:gd name="connsiteX16" fmla="*/ 8872263 w 13089705"/>
              <a:gd name="connsiteY16" fmla="*/ 2859145 h 3406587"/>
              <a:gd name="connsiteX17" fmla="*/ 8678440 w 13089705"/>
              <a:gd name="connsiteY17" fmla="*/ 2874859 h 3406587"/>
              <a:gd name="connsiteX18" fmla="*/ 8486363 w 13089705"/>
              <a:gd name="connsiteY18" fmla="*/ 2894067 h 3406587"/>
              <a:gd name="connsiteX19" fmla="*/ 8296029 w 13089705"/>
              <a:gd name="connsiteY19" fmla="*/ 2916767 h 3406587"/>
              <a:gd name="connsiteX20" fmla="*/ 8109194 w 13089705"/>
              <a:gd name="connsiteY20" fmla="*/ 2939467 h 3406587"/>
              <a:gd name="connsiteX21" fmla="*/ 7918862 w 13089705"/>
              <a:gd name="connsiteY21" fmla="*/ 2963914 h 3406587"/>
              <a:gd name="connsiteX22" fmla="*/ 7752310 w 13089705"/>
              <a:gd name="connsiteY22" fmla="*/ 2990375 h 3406587"/>
              <a:gd name="connsiteX23" fmla="*/ 7617957 w 13089705"/>
              <a:gd name="connsiteY23" fmla="*/ 3007621 h 3406587"/>
              <a:gd name="connsiteX24" fmla="*/ 7444732 w 13089705"/>
              <a:gd name="connsiteY24" fmla="*/ 3036818 h 3406587"/>
              <a:gd name="connsiteX25" fmla="*/ 7360089 w 13089705"/>
              <a:gd name="connsiteY25" fmla="*/ 3049476 h 3406587"/>
              <a:gd name="connsiteX26" fmla="*/ 7286658 w 13089705"/>
              <a:gd name="connsiteY26" fmla="*/ 3063463 h 3406587"/>
              <a:gd name="connsiteX27" fmla="*/ 6940451 w 13089705"/>
              <a:gd name="connsiteY27" fmla="*/ 3121817 h 3406587"/>
              <a:gd name="connsiteX28" fmla="*/ 6786612 w 13089705"/>
              <a:gd name="connsiteY28" fmla="*/ 3154128 h 3406587"/>
              <a:gd name="connsiteX29" fmla="*/ 6757004 w 13089705"/>
              <a:gd name="connsiteY29" fmla="*/ 3159114 h 3406587"/>
              <a:gd name="connsiteX30" fmla="*/ 2337510 w 13089705"/>
              <a:gd name="connsiteY30" fmla="*/ 3342543 h 3406587"/>
              <a:gd name="connsiteX31" fmla="*/ 2012204 w 13089705"/>
              <a:gd name="connsiteY31" fmla="*/ 3306016 h 3406587"/>
              <a:gd name="connsiteX32" fmla="*/ 1962485 w 13089705"/>
              <a:gd name="connsiteY32" fmla="*/ 3299629 h 3406587"/>
              <a:gd name="connsiteX33" fmla="*/ 1650146 w 13089705"/>
              <a:gd name="connsiteY33" fmla="*/ 3254656 h 3406587"/>
              <a:gd name="connsiteX34" fmla="*/ 1167844 w 13089705"/>
              <a:gd name="connsiteY34" fmla="*/ 3164159 h 3406587"/>
              <a:gd name="connsiteX35" fmla="*/ 899292 w 13089705"/>
              <a:gd name="connsiteY35" fmla="*/ 3097699 h 3406587"/>
              <a:gd name="connsiteX36" fmla="*/ 899291 w 13089705"/>
              <a:gd name="connsiteY36" fmla="*/ 0 h 3406587"/>
              <a:gd name="connsiteX0" fmla="*/ 6943 w 12197357"/>
              <a:gd name="connsiteY0" fmla="*/ 0 h 3406587"/>
              <a:gd name="connsiteX1" fmla="*/ 12197357 w 12197357"/>
              <a:gd name="connsiteY1" fmla="*/ 0 h 3406587"/>
              <a:gd name="connsiteX2" fmla="*/ 12197355 w 12197357"/>
              <a:gd name="connsiteY2" fmla="*/ 3126461 h 3406587"/>
              <a:gd name="connsiteX3" fmla="*/ 12195149 w 12197357"/>
              <a:gd name="connsiteY3" fmla="*/ 3125947 h 3406587"/>
              <a:gd name="connsiteX4" fmla="*/ 12195149 w 12197357"/>
              <a:gd name="connsiteY4" fmla="*/ 3119322 h 3406587"/>
              <a:gd name="connsiteX5" fmla="*/ 12039333 w 12197357"/>
              <a:gd name="connsiteY5" fmla="*/ 3089644 h 3406587"/>
              <a:gd name="connsiteX6" fmla="*/ 11860230 w 12197357"/>
              <a:gd name="connsiteY6" fmla="*/ 3047916 h 3406587"/>
              <a:gd name="connsiteX7" fmla="*/ 9481342 w 12197357"/>
              <a:gd name="connsiteY7" fmla="*/ 2814918 h 3406587"/>
              <a:gd name="connsiteX8" fmla="*/ 9370162 w 12197357"/>
              <a:gd name="connsiteY8" fmla="*/ 2815959 h 3406587"/>
              <a:gd name="connsiteX9" fmla="*/ 9343667 w 12197357"/>
              <a:gd name="connsiteY9" fmla="*/ 2815491 h 3406587"/>
              <a:gd name="connsiteX10" fmla="*/ 9148097 w 12197357"/>
              <a:gd name="connsiteY10" fmla="*/ 2815491 h 3406587"/>
              <a:gd name="connsiteX11" fmla="*/ 8950780 w 12197357"/>
              <a:gd name="connsiteY11" fmla="*/ 2815490 h 3406587"/>
              <a:gd name="connsiteX12" fmla="*/ 8753464 w 12197357"/>
              <a:gd name="connsiteY12" fmla="*/ 2818983 h 3406587"/>
              <a:gd name="connsiteX13" fmla="*/ 8559640 w 12197357"/>
              <a:gd name="connsiteY13" fmla="*/ 2824222 h 3406587"/>
              <a:gd name="connsiteX14" fmla="*/ 8364071 w 12197357"/>
              <a:gd name="connsiteY14" fmla="*/ 2834698 h 3406587"/>
              <a:gd name="connsiteX15" fmla="*/ 8170246 w 12197357"/>
              <a:gd name="connsiteY15" fmla="*/ 2846921 h 3406587"/>
              <a:gd name="connsiteX16" fmla="*/ 7979915 w 12197357"/>
              <a:gd name="connsiteY16" fmla="*/ 2859145 h 3406587"/>
              <a:gd name="connsiteX17" fmla="*/ 7786092 w 12197357"/>
              <a:gd name="connsiteY17" fmla="*/ 2874859 h 3406587"/>
              <a:gd name="connsiteX18" fmla="*/ 7594015 w 12197357"/>
              <a:gd name="connsiteY18" fmla="*/ 2894067 h 3406587"/>
              <a:gd name="connsiteX19" fmla="*/ 7403681 w 12197357"/>
              <a:gd name="connsiteY19" fmla="*/ 2916767 h 3406587"/>
              <a:gd name="connsiteX20" fmla="*/ 7216846 w 12197357"/>
              <a:gd name="connsiteY20" fmla="*/ 2939467 h 3406587"/>
              <a:gd name="connsiteX21" fmla="*/ 7026514 w 12197357"/>
              <a:gd name="connsiteY21" fmla="*/ 2963914 h 3406587"/>
              <a:gd name="connsiteX22" fmla="*/ 6859962 w 12197357"/>
              <a:gd name="connsiteY22" fmla="*/ 2990375 h 3406587"/>
              <a:gd name="connsiteX23" fmla="*/ 6725609 w 12197357"/>
              <a:gd name="connsiteY23" fmla="*/ 3007621 h 3406587"/>
              <a:gd name="connsiteX24" fmla="*/ 6552384 w 12197357"/>
              <a:gd name="connsiteY24" fmla="*/ 3036818 h 3406587"/>
              <a:gd name="connsiteX25" fmla="*/ 6467741 w 12197357"/>
              <a:gd name="connsiteY25" fmla="*/ 3049476 h 3406587"/>
              <a:gd name="connsiteX26" fmla="*/ 6394310 w 12197357"/>
              <a:gd name="connsiteY26" fmla="*/ 3063463 h 3406587"/>
              <a:gd name="connsiteX27" fmla="*/ 6048103 w 12197357"/>
              <a:gd name="connsiteY27" fmla="*/ 3121817 h 3406587"/>
              <a:gd name="connsiteX28" fmla="*/ 5894264 w 12197357"/>
              <a:gd name="connsiteY28" fmla="*/ 3154128 h 3406587"/>
              <a:gd name="connsiteX29" fmla="*/ 5864656 w 12197357"/>
              <a:gd name="connsiteY29" fmla="*/ 3159114 h 3406587"/>
              <a:gd name="connsiteX30" fmla="*/ 1445162 w 12197357"/>
              <a:gd name="connsiteY30" fmla="*/ 3342543 h 3406587"/>
              <a:gd name="connsiteX31" fmla="*/ 1119856 w 12197357"/>
              <a:gd name="connsiteY31" fmla="*/ 3306016 h 3406587"/>
              <a:gd name="connsiteX32" fmla="*/ 1070137 w 12197357"/>
              <a:gd name="connsiteY32" fmla="*/ 3299629 h 3406587"/>
              <a:gd name="connsiteX33" fmla="*/ 757798 w 12197357"/>
              <a:gd name="connsiteY33" fmla="*/ 3254656 h 3406587"/>
              <a:gd name="connsiteX34" fmla="*/ 275496 w 12197357"/>
              <a:gd name="connsiteY34" fmla="*/ 3164159 h 3406587"/>
              <a:gd name="connsiteX35" fmla="*/ 6944 w 12197357"/>
              <a:gd name="connsiteY35" fmla="*/ 3097699 h 3406587"/>
              <a:gd name="connsiteX36" fmla="*/ 6943 w 12197357"/>
              <a:gd name="connsiteY36" fmla="*/ 0 h 3406587"/>
              <a:gd name="connsiteX0" fmla="*/ 301 w 12190715"/>
              <a:gd name="connsiteY0" fmla="*/ 0 h 3406587"/>
              <a:gd name="connsiteX1" fmla="*/ 12190715 w 12190715"/>
              <a:gd name="connsiteY1" fmla="*/ 0 h 3406587"/>
              <a:gd name="connsiteX2" fmla="*/ 12190713 w 12190715"/>
              <a:gd name="connsiteY2" fmla="*/ 3126461 h 3406587"/>
              <a:gd name="connsiteX3" fmla="*/ 12188507 w 12190715"/>
              <a:gd name="connsiteY3" fmla="*/ 3125947 h 3406587"/>
              <a:gd name="connsiteX4" fmla="*/ 12188507 w 12190715"/>
              <a:gd name="connsiteY4" fmla="*/ 3119322 h 3406587"/>
              <a:gd name="connsiteX5" fmla="*/ 12032691 w 12190715"/>
              <a:gd name="connsiteY5" fmla="*/ 3089644 h 3406587"/>
              <a:gd name="connsiteX6" fmla="*/ 11853588 w 12190715"/>
              <a:gd name="connsiteY6" fmla="*/ 3047916 h 3406587"/>
              <a:gd name="connsiteX7" fmla="*/ 9474700 w 12190715"/>
              <a:gd name="connsiteY7" fmla="*/ 2814918 h 3406587"/>
              <a:gd name="connsiteX8" fmla="*/ 9363520 w 12190715"/>
              <a:gd name="connsiteY8" fmla="*/ 2815959 h 3406587"/>
              <a:gd name="connsiteX9" fmla="*/ 9337025 w 12190715"/>
              <a:gd name="connsiteY9" fmla="*/ 2815491 h 3406587"/>
              <a:gd name="connsiteX10" fmla="*/ 9141455 w 12190715"/>
              <a:gd name="connsiteY10" fmla="*/ 2815491 h 3406587"/>
              <a:gd name="connsiteX11" fmla="*/ 8944138 w 12190715"/>
              <a:gd name="connsiteY11" fmla="*/ 2815490 h 3406587"/>
              <a:gd name="connsiteX12" fmla="*/ 8746822 w 12190715"/>
              <a:gd name="connsiteY12" fmla="*/ 2818983 h 3406587"/>
              <a:gd name="connsiteX13" fmla="*/ 8552998 w 12190715"/>
              <a:gd name="connsiteY13" fmla="*/ 2824222 h 3406587"/>
              <a:gd name="connsiteX14" fmla="*/ 8357429 w 12190715"/>
              <a:gd name="connsiteY14" fmla="*/ 2834698 h 3406587"/>
              <a:gd name="connsiteX15" fmla="*/ 8163604 w 12190715"/>
              <a:gd name="connsiteY15" fmla="*/ 2846921 h 3406587"/>
              <a:gd name="connsiteX16" fmla="*/ 7973273 w 12190715"/>
              <a:gd name="connsiteY16" fmla="*/ 2859145 h 3406587"/>
              <a:gd name="connsiteX17" fmla="*/ 7779450 w 12190715"/>
              <a:gd name="connsiteY17" fmla="*/ 2874859 h 3406587"/>
              <a:gd name="connsiteX18" fmla="*/ 7587373 w 12190715"/>
              <a:gd name="connsiteY18" fmla="*/ 2894067 h 3406587"/>
              <a:gd name="connsiteX19" fmla="*/ 7397039 w 12190715"/>
              <a:gd name="connsiteY19" fmla="*/ 2916767 h 3406587"/>
              <a:gd name="connsiteX20" fmla="*/ 7210204 w 12190715"/>
              <a:gd name="connsiteY20" fmla="*/ 2939467 h 3406587"/>
              <a:gd name="connsiteX21" fmla="*/ 7019872 w 12190715"/>
              <a:gd name="connsiteY21" fmla="*/ 2963914 h 3406587"/>
              <a:gd name="connsiteX22" fmla="*/ 6853320 w 12190715"/>
              <a:gd name="connsiteY22" fmla="*/ 2990375 h 3406587"/>
              <a:gd name="connsiteX23" fmla="*/ 6718967 w 12190715"/>
              <a:gd name="connsiteY23" fmla="*/ 3007621 h 3406587"/>
              <a:gd name="connsiteX24" fmla="*/ 6545742 w 12190715"/>
              <a:gd name="connsiteY24" fmla="*/ 3036818 h 3406587"/>
              <a:gd name="connsiteX25" fmla="*/ 6461099 w 12190715"/>
              <a:gd name="connsiteY25" fmla="*/ 3049476 h 3406587"/>
              <a:gd name="connsiteX26" fmla="*/ 6387668 w 12190715"/>
              <a:gd name="connsiteY26" fmla="*/ 3063463 h 3406587"/>
              <a:gd name="connsiteX27" fmla="*/ 6041461 w 12190715"/>
              <a:gd name="connsiteY27" fmla="*/ 3121817 h 3406587"/>
              <a:gd name="connsiteX28" fmla="*/ 5887622 w 12190715"/>
              <a:gd name="connsiteY28" fmla="*/ 3154128 h 3406587"/>
              <a:gd name="connsiteX29" fmla="*/ 5858014 w 12190715"/>
              <a:gd name="connsiteY29" fmla="*/ 3159114 h 3406587"/>
              <a:gd name="connsiteX30" fmla="*/ 1438520 w 12190715"/>
              <a:gd name="connsiteY30" fmla="*/ 3342543 h 3406587"/>
              <a:gd name="connsiteX31" fmla="*/ 1113214 w 12190715"/>
              <a:gd name="connsiteY31" fmla="*/ 3306016 h 3406587"/>
              <a:gd name="connsiteX32" fmla="*/ 1063495 w 12190715"/>
              <a:gd name="connsiteY32" fmla="*/ 3299629 h 3406587"/>
              <a:gd name="connsiteX33" fmla="*/ 751156 w 12190715"/>
              <a:gd name="connsiteY33" fmla="*/ 3254656 h 3406587"/>
              <a:gd name="connsiteX34" fmla="*/ 268854 w 12190715"/>
              <a:gd name="connsiteY34" fmla="*/ 3164159 h 3406587"/>
              <a:gd name="connsiteX35" fmla="*/ 302 w 12190715"/>
              <a:gd name="connsiteY35" fmla="*/ 3097699 h 3406587"/>
              <a:gd name="connsiteX36" fmla="*/ 301 w 12190715"/>
              <a:gd name="connsiteY36" fmla="*/ 0 h 3406587"/>
              <a:gd name="connsiteX0" fmla="*/ 2899 w 12193313"/>
              <a:gd name="connsiteY0" fmla="*/ 0 h 3406587"/>
              <a:gd name="connsiteX1" fmla="*/ 12193313 w 12193313"/>
              <a:gd name="connsiteY1" fmla="*/ 0 h 3406587"/>
              <a:gd name="connsiteX2" fmla="*/ 12193311 w 12193313"/>
              <a:gd name="connsiteY2" fmla="*/ 3126461 h 3406587"/>
              <a:gd name="connsiteX3" fmla="*/ 12191105 w 12193313"/>
              <a:gd name="connsiteY3" fmla="*/ 3125947 h 3406587"/>
              <a:gd name="connsiteX4" fmla="*/ 12191105 w 12193313"/>
              <a:gd name="connsiteY4" fmla="*/ 3119322 h 3406587"/>
              <a:gd name="connsiteX5" fmla="*/ 12035289 w 12193313"/>
              <a:gd name="connsiteY5" fmla="*/ 3089644 h 3406587"/>
              <a:gd name="connsiteX6" fmla="*/ 11856186 w 12193313"/>
              <a:gd name="connsiteY6" fmla="*/ 3047916 h 3406587"/>
              <a:gd name="connsiteX7" fmla="*/ 9477298 w 12193313"/>
              <a:gd name="connsiteY7" fmla="*/ 2814918 h 3406587"/>
              <a:gd name="connsiteX8" fmla="*/ 9366118 w 12193313"/>
              <a:gd name="connsiteY8" fmla="*/ 2815959 h 3406587"/>
              <a:gd name="connsiteX9" fmla="*/ 9339623 w 12193313"/>
              <a:gd name="connsiteY9" fmla="*/ 2815491 h 3406587"/>
              <a:gd name="connsiteX10" fmla="*/ 9144053 w 12193313"/>
              <a:gd name="connsiteY10" fmla="*/ 2815491 h 3406587"/>
              <a:gd name="connsiteX11" fmla="*/ 8946736 w 12193313"/>
              <a:gd name="connsiteY11" fmla="*/ 2815490 h 3406587"/>
              <a:gd name="connsiteX12" fmla="*/ 8749420 w 12193313"/>
              <a:gd name="connsiteY12" fmla="*/ 2818983 h 3406587"/>
              <a:gd name="connsiteX13" fmla="*/ 8555596 w 12193313"/>
              <a:gd name="connsiteY13" fmla="*/ 2824222 h 3406587"/>
              <a:gd name="connsiteX14" fmla="*/ 8360027 w 12193313"/>
              <a:gd name="connsiteY14" fmla="*/ 2834698 h 3406587"/>
              <a:gd name="connsiteX15" fmla="*/ 8166202 w 12193313"/>
              <a:gd name="connsiteY15" fmla="*/ 2846921 h 3406587"/>
              <a:gd name="connsiteX16" fmla="*/ 7975871 w 12193313"/>
              <a:gd name="connsiteY16" fmla="*/ 2859145 h 3406587"/>
              <a:gd name="connsiteX17" fmla="*/ 7782048 w 12193313"/>
              <a:gd name="connsiteY17" fmla="*/ 2874859 h 3406587"/>
              <a:gd name="connsiteX18" fmla="*/ 7589971 w 12193313"/>
              <a:gd name="connsiteY18" fmla="*/ 2894067 h 3406587"/>
              <a:gd name="connsiteX19" fmla="*/ 7399637 w 12193313"/>
              <a:gd name="connsiteY19" fmla="*/ 2916767 h 3406587"/>
              <a:gd name="connsiteX20" fmla="*/ 7212802 w 12193313"/>
              <a:gd name="connsiteY20" fmla="*/ 2939467 h 3406587"/>
              <a:gd name="connsiteX21" fmla="*/ 7022470 w 12193313"/>
              <a:gd name="connsiteY21" fmla="*/ 2963914 h 3406587"/>
              <a:gd name="connsiteX22" fmla="*/ 6855918 w 12193313"/>
              <a:gd name="connsiteY22" fmla="*/ 2990375 h 3406587"/>
              <a:gd name="connsiteX23" fmla="*/ 6721565 w 12193313"/>
              <a:gd name="connsiteY23" fmla="*/ 3007621 h 3406587"/>
              <a:gd name="connsiteX24" fmla="*/ 6548340 w 12193313"/>
              <a:gd name="connsiteY24" fmla="*/ 3036818 h 3406587"/>
              <a:gd name="connsiteX25" fmla="*/ 6463697 w 12193313"/>
              <a:gd name="connsiteY25" fmla="*/ 3049476 h 3406587"/>
              <a:gd name="connsiteX26" fmla="*/ 6390266 w 12193313"/>
              <a:gd name="connsiteY26" fmla="*/ 3063463 h 3406587"/>
              <a:gd name="connsiteX27" fmla="*/ 6044059 w 12193313"/>
              <a:gd name="connsiteY27" fmla="*/ 3121817 h 3406587"/>
              <a:gd name="connsiteX28" fmla="*/ 5890220 w 12193313"/>
              <a:gd name="connsiteY28" fmla="*/ 3154128 h 3406587"/>
              <a:gd name="connsiteX29" fmla="*/ 5860612 w 12193313"/>
              <a:gd name="connsiteY29" fmla="*/ 3159114 h 3406587"/>
              <a:gd name="connsiteX30" fmla="*/ 1441118 w 12193313"/>
              <a:gd name="connsiteY30" fmla="*/ 3342543 h 3406587"/>
              <a:gd name="connsiteX31" fmla="*/ 1115812 w 12193313"/>
              <a:gd name="connsiteY31" fmla="*/ 3306016 h 3406587"/>
              <a:gd name="connsiteX32" fmla="*/ 1066093 w 12193313"/>
              <a:gd name="connsiteY32" fmla="*/ 3299629 h 3406587"/>
              <a:gd name="connsiteX33" fmla="*/ 753754 w 12193313"/>
              <a:gd name="connsiteY33" fmla="*/ 3254656 h 3406587"/>
              <a:gd name="connsiteX34" fmla="*/ 271452 w 12193313"/>
              <a:gd name="connsiteY34" fmla="*/ 3164159 h 3406587"/>
              <a:gd name="connsiteX35" fmla="*/ 2900 w 12193313"/>
              <a:gd name="connsiteY35" fmla="*/ 3097699 h 3406587"/>
              <a:gd name="connsiteX36" fmla="*/ 2899 w 12193313"/>
              <a:gd name="connsiteY36" fmla="*/ 0 h 3406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2193313" h="3406587">
                <a:moveTo>
                  <a:pt x="2899" y="0"/>
                </a:moveTo>
                <a:lnTo>
                  <a:pt x="12193313" y="0"/>
                </a:lnTo>
                <a:cubicBezTo>
                  <a:pt x="12193312" y="1042154"/>
                  <a:pt x="12193312" y="2084307"/>
                  <a:pt x="12193311" y="3126461"/>
                </a:cubicBezTo>
                <a:lnTo>
                  <a:pt x="12191105" y="3125947"/>
                </a:lnTo>
                <a:lnTo>
                  <a:pt x="12191105" y="3119322"/>
                </a:lnTo>
                <a:lnTo>
                  <a:pt x="12035289" y="3089644"/>
                </a:lnTo>
                <a:lnTo>
                  <a:pt x="11856186" y="3047916"/>
                </a:lnTo>
                <a:cubicBezTo>
                  <a:pt x="11154404" y="2905720"/>
                  <a:pt x="10348654" y="2824654"/>
                  <a:pt x="9477298" y="2814918"/>
                </a:cubicBezTo>
                <a:lnTo>
                  <a:pt x="9366118" y="2815959"/>
                </a:lnTo>
                <a:lnTo>
                  <a:pt x="9339623" y="2815491"/>
                </a:lnTo>
                <a:lnTo>
                  <a:pt x="9144053" y="2815491"/>
                </a:lnTo>
                <a:lnTo>
                  <a:pt x="8946736" y="2815490"/>
                </a:lnTo>
                <a:lnTo>
                  <a:pt x="8749420" y="2818983"/>
                </a:lnTo>
                <a:lnTo>
                  <a:pt x="8555596" y="2824222"/>
                </a:lnTo>
                <a:lnTo>
                  <a:pt x="8360027" y="2834698"/>
                </a:lnTo>
                <a:lnTo>
                  <a:pt x="8166202" y="2846921"/>
                </a:lnTo>
                <a:lnTo>
                  <a:pt x="7975871" y="2859145"/>
                </a:lnTo>
                <a:lnTo>
                  <a:pt x="7782048" y="2874859"/>
                </a:lnTo>
                <a:lnTo>
                  <a:pt x="7589971" y="2894067"/>
                </a:lnTo>
                <a:lnTo>
                  <a:pt x="7399637" y="2916767"/>
                </a:lnTo>
                <a:lnTo>
                  <a:pt x="7212802" y="2939467"/>
                </a:lnTo>
                <a:lnTo>
                  <a:pt x="7022470" y="2963914"/>
                </a:lnTo>
                <a:lnTo>
                  <a:pt x="6855918" y="2990375"/>
                </a:lnTo>
                <a:lnTo>
                  <a:pt x="6721565" y="3007621"/>
                </a:lnTo>
                <a:lnTo>
                  <a:pt x="6548340" y="3036818"/>
                </a:lnTo>
                <a:lnTo>
                  <a:pt x="6463697" y="3049476"/>
                </a:lnTo>
                <a:lnTo>
                  <a:pt x="6390266" y="3063463"/>
                </a:lnTo>
                <a:lnTo>
                  <a:pt x="6044059" y="3121817"/>
                </a:lnTo>
                <a:lnTo>
                  <a:pt x="5890220" y="3154128"/>
                </a:lnTo>
                <a:lnTo>
                  <a:pt x="5860612" y="3159114"/>
                </a:lnTo>
                <a:cubicBezTo>
                  <a:pt x="4274456" y="3407637"/>
                  <a:pt x="2744397" y="3469367"/>
                  <a:pt x="1441118" y="3342543"/>
                </a:cubicBezTo>
                <a:lnTo>
                  <a:pt x="1115812" y="3306016"/>
                </a:lnTo>
                <a:lnTo>
                  <a:pt x="1066093" y="3299629"/>
                </a:lnTo>
                <a:lnTo>
                  <a:pt x="753754" y="3254656"/>
                </a:lnTo>
                <a:cubicBezTo>
                  <a:pt x="588049" y="3228004"/>
                  <a:pt x="427136" y="3197840"/>
                  <a:pt x="271452" y="3164159"/>
                </a:cubicBezTo>
                <a:lnTo>
                  <a:pt x="2900" y="3097699"/>
                </a:lnTo>
                <a:cubicBezTo>
                  <a:pt x="-1818" y="3094475"/>
                  <a:pt x="-12" y="5108"/>
                  <a:pt x="2899" y="0"/>
                </a:cubicBezTo>
                <a:close/>
              </a:path>
            </a:pathLst>
          </a:custGeom>
          <a:pattFill prst="ltUpDiag">
            <a:fgClr>
              <a:schemeClr val="accent1"/>
            </a:fgClr>
            <a:bgClr>
              <a:schemeClr val="bg1"/>
            </a:bgClr>
          </a:pattFill>
        </p:spPr>
        <p:txBody>
          <a:bodyPr wrap="square" lIns="0" tIns="0" bIns="612000" anchor="ctr">
            <a:noAutofit/>
          </a:bodyPr>
          <a:lstStyle>
            <a:lvl1pPr marL="0" indent="0" algn="ctr">
              <a:buNone/>
              <a:defRPr/>
            </a:lvl1pPr>
            <a:lvl2pPr marL="0" marR="0" indent="0" algn="ctr" defTabSz="1218926" rtl="0" eaLnBrk="1" fontAlgn="auto" latinLnBrk="0" hangingPunct="1">
              <a:lnSpc>
                <a:spcPct val="100000"/>
              </a:lnSpc>
              <a:spcBef>
                <a:spcPts val="0"/>
              </a:spcBef>
              <a:spcAft>
                <a:spcPts val="600"/>
              </a:spcAft>
              <a:buClr>
                <a:schemeClr val="accent1"/>
              </a:buClr>
              <a:buSzTx/>
              <a:buFont typeface="Wingdings" panose="05000000000000000000" pitchFamily="2" charset="2"/>
              <a:buNone/>
              <a:tabLst/>
              <a:defRPr sz="1200" cap="none" baseline="0">
                <a:solidFill>
                  <a:schemeClr val="tx1"/>
                </a:solidFill>
              </a:defRPr>
            </a:lvl2pPr>
          </a:lstStyle>
          <a:p>
            <a:pPr marL="0" marR="0" lvl="1" indent="0" algn="ctr" defTabSz="1218926" rtl="0" eaLnBrk="1" fontAlgn="auto" latinLnBrk="0" hangingPunct="1">
              <a:lnSpc>
                <a:spcPct val="100000"/>
              </a:lnSpc>
              <a:spcBef>
                <a:spcPts val="0"/>
              </a:spcBef>
              <a:spcAft>
                <a:spcPts val="600"/>
              </a:spcAft>
              <a:buClr>
                <a:schemeClr val="accent1"/>
              </a:buClr>
              <a:buSzTx/>
              <a:buFont typeface="Wingdings" panose="05000000000000000000" pitchFamily="2" charset="2"/>
              <a:buNone/>
              <a:tabLst/>
              <a:defRPr/>
            </a:pPr>
            <a:r>
              <a:rPr lang="en-US" dirty="0"/>
              <a:t> </a:t>
            </a:r>
          </a:p>
        </p:txBody>
      </p:sp>
      <p:sp>
        <p:nvSpPr>
          <p:cNvPr id="3" name="Untertitel 2"/>
          <p:cNvSpPr>
            <a:spLocks noGrp="1"/>
          </p:cNvSpPr>
          <p:nvPr userDrawn="1">
            <p:ph type="subTitle" idx="1" hasCustomPrompt="1"/>
          </p:nvPr>
        </p:nvSpPr>
        <p:spPr bwMode="gray">
          <a:xfrm>
            <a:off x="550508" y="4796639"/>
            <a:ext cx="11089443" cy="1152128"/>
          </a:xfrm>
        </p:spPr>
        <p:txBody>
          <a:bodyPr/>
          <a:lstStyle>
            <a:lvl1pPr marL="0" marR="0" indent="0" algn="l" defTabSz="1218926" rtl="0" eaLnBrk="1" fontAlgn="auto" latinLnBrk="0" hangingPunct="1">
              <a:lnSpc>
                <a:spcPct val="100000"/>
              </a:lnSpc>
              <a:spcBef>
                <a:spcPts val="0"/>
              </a:spcBef>
              <a:spcAft>
                <a:spcPts val="600"/>
              </a:spcAft>
              <a:buClr>
                <a:schemeClr val="tx2"/>
              </a:buClr>
              <a:buSzTx/>
              <a:buFont typeface="Wingdings" panose="05000000000000000000" pitchFamily="2" charset="2"/>
              <a:buNone/>
              <a:tabLst/>
              <a:defRPr sz="2000" cap="none" baseline="0">
                <a:solidFill>
                  <a:schemeClr val="accent1"/>
                </a:solidFill>
              </a:defRPr>
            </a:lvl1pPr>
            <a:lvl2pPr marL="0" indent="0" algn="l">
              <a:spcAft>
                <a:spcPts val="600"/>
              </a:spcAft>
              <a:buNone/>
              <a:defRPr sz="2000">
                <a:solidFill>
                  <a:schemeClr val="accent1"/>
                </a:solidFill>
              </a:defRPr>
            </a:lvl2pPr>
            <a:lvl3pPr marL="0" indent="0" algn="l">
              <a:spcAft>
                <a:spcPts val="600"/>
              </a:spcAft>
              <a:buNone/>
              <a:defRPr sz="2000">
                <a:solidFill>
                  <a:schemeClr val="accent1"/>
                </a:solidFill>
              </a:defRPr>
            </a:lvl3pPr>
            <a:lvl4pPr marL="0" indent="0" algn="l">
              <a:spcAft>
                <a:spcPts val="600"/>
              </a:spcAft>
              <a:buNone/>
              <a:defRPr sz="2000">
                <a:solidFill>
                  <a:schemeClr val="accent1"/>
                </a:solidFill>
              </a:defRPr>
            </a:lvl4pPr>
            <a:lvl5pPr marL="0" indent="0" algn="l">
              <a:spcAft>
                <a:spcPts val="600"/>
              </a:spcAft>
              <a:buNone/>
              <a:defRPr sz="2000">
                <a:solidFill>
                  <a:schemeClr val="accent1"/>
                </a:solidFill>
              </a:defRPr>
            </a:lvl5pPr>
            <a:lvl6pPr marL="0" indent="0" algn="l">
              <a:spcAft>
                <a:spcPts val="600"/>
              </a:spcAft>
              <a:buNone/>
              <a:defRPr sz="2000">
                <a:solidFill>
                  <a:schemeClr val="accent1"/>
                </a:solidFill>
              </a:defRPr>
            </a:lvl6pPr>
            <a:lvl7pPr marL="0" indent="0" algn="l">
              <a:spcAft>
                <a:spcPts val="0"/>
              </a:spcAft>
              <a:buNone/>
              <a:defRPr sz="2000">
                <a:solidFill>
                  <a:schemeClr val="accent1"/>
                </a:solidFill>
              </a:defRPr>
            </a:lvl7pPr>
            <a:lvl8pPr marL="0" indent="0" algn="l">
              <a:spcAft>
                <a:spcPts val="0"/>
              </a:spcAft>
              <a:buNone/>
              <a:defRPr sz="2000">
                <a:solidFill>
                  <a:schemeClr val="accent1"/>
                </a:solidFill>
              </a:defRPr>
            </a:lvl8pPr>
            <a:lvl9pPr marL="0" indent="0" algn="l">
              <a:spcAft>
                <a:spcPts val="0"/>
              </a:spcAft>
              <a:buNone/>
              <a:defRPr sz="2000">
                <a:solidFill>
                  <a:schemeClr val="accent1"/>
                </a:solidFill>
              </a:defRPr>
            </a:lvl9pPr>
          </a:lstStyle>
          <a:p>
            <a:pPr lvl="0"/>
            <a:r>
              <a:rPr lang="en-US" dirty="0"/>
              <a:t>Here is a Subheadline 20pt</a:t>
            </a:r>
          </a:p>
        </p:txBody>
      </p:sp>
      <p:sp>
        <p:nvSpPr>
          <p:cNvPr id="7" name="Datumsplatzhalter 6"/>
          <p:cNvSpPr>
            <a:spLocks noGrp="1"/>
          </p:cNvSpPr>
          <p:nvPr userDrawn="1">
            <p:ph type="dt" sz="half" idx="11"/>
          </p:nvPr>
        </p:nvSpPr>
        <p:spPr bwMode="gray"/>
        <p:txBody>
          <a:bodyPr/>
          <a:lstStyle/>
          <a:p>
            <a:fld id="{54BF8A80-D674-4CDA-92E0-D7BBBD8D0D7E}" type="datetime1">
              <a:rPr lang="en-US"/>
              <a:t>10/22/2024</a:t>
            </a:fld>
            <a:endParaRPr lang="en-US" dirty="0"/>
          </a:p>
        </p:txBody>
      </p:sp>
      <p:sp>
        <p:nvSpPr>
          <p:cNvPr id="8" name="Fußzeilenplatzhalter 7"/>
          <p:cNvSpPr>
            <a:spLocks noGrp="1"/>
          </p:cNvSpPr>
          <p:nvPr userDrawn="1">
            <p:ph type="ftr" sz="quarter" idx="12"/>
          </p:nvPr>
        </p:nvSpPr>
        <p:spPr bwMode="gray"/>
        <p:txBody>
          <a:bodyPr/>
          <a:lstStyle/>
          <a:p>
            <a:r>
              <a:rPr lang="en-US" dirty="0"/>
              <a:t>Please insert footnote</a:t>
            </a:r>
          </a:p>
        </p:txBody>
      </p:sp>
      <p:sp>
        <p:nvSpPr>
          <p:cNvPr id="9" name="Foliennummernplatzhalter 8"/>
          <p:cNvSpPr>
            <a:spLocks noGrp="1"/>
          </p:cNvSpPr>
          <p:nvPr userDrawn="1">
            <p:ph type="sldNum" sz="quarter" idx="13"/>
          </p:nvPr>
        </p:nvSpPr>
        <p:spPr bwMode="gray"/>
        <p:txBody>
          <a:bodyPr/>
          <a:lstStyle/>
          <a:p>
            <a:fld id="{4915BD61-E5D5-4E4F-ADA0-6F3448AB9FA6}" type="slidenum">
              <a:rPr lang="en-US"/>
              <a:pPr/>
              <a:t>‹#›</a:t>
            </a:fld>
            <a:endParaRPr lang="en-US" dirty="0"/>
          </a:p>
        </p:txBody>
      </p:sp>
      <p:sp>
        <p:nvSpPr>
          <p:cNvPr id="2" name="Titel 1"/>
          <p:cNvSpPr>
            <a:spLocks noGrp="1"/>
          </p:cNvSpPr>
          <p:nvPr userDrawn="1">
            <p:ph type="ctrTitle" hasCustomPrompt="1"/>
          </p:nvPr>
        </p:nvSpPr>
        <p:spPr bwMode="gray">
          <a:xfrm>
            <a:off x="550508" y="3933063"/>
            <a:ext cx="11090131" cy="791817"/>
          </a:xfrm>
        </p:spPr>
        <p:txBody>
          <a:bodyPr/>
          <a:lstStyle>
            <a:lvl1pPr>
              <a:defRPr sz="3199" baseline="0">
                <a:solidFill>
                  <a:schemeClr val="accent1"/>
                </a:solidFill>
              </a:defRPr>
            </a:lvl1pPr>
          </a:lstStyle>
          <a:p>
            <a:r>
              <a:rPr lang="en-US" dirty="0"/>
              <a:t>Here is a very long Headline 32pt</a:t>
            </a:r>
          </a:p>
        </p:txBody>
      </p:sp>
      <p:sp>
        <p:nvSpPr>
          <p:cNvPr id="11" name="Rechteck 10" hidden="1">
            <a:extLst>
              <a:ext uri="{FF2B5EF4-FFF2-40B4-BE49-F238E27FC236}">
                <a16:creationId xmlns:a16="http://schemas.microsoft.com/office/drawing/2014/main" id="{5DC8A406-7789-4A3E-B9A6-9C468D091C6C}"/>
              </a:ext>
            </a:extLst>
          </p:cNvPr>
          <p:cNvSpPr/>
          <p:nvPr userDrawn="1">
            <p:custDataLst>
              <p:tags r:id="rId2"/>
            </p:custDataLst>
          </p:nvPr>
        </p:nvSpPr>
        <p:spPr>
          <a:xfrm>
            <a:off x="9192833" y="5997473"/>
            <a:ext cx="2999167" cy="860528"/>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Tree>
    <p:extLst>
      <p:ext uri="{BB962C8B-B14F-4D97-AF65-F5344CB8AC3E}">
        <p14:creationId xmlns:p14="http://schemas.microsoft.com/office/powerpoint/2010/main" val="155726154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vider without picture">
    <p:spTree>
      <p:nvGrpSpPr>
        <p:cNvPr id="1" name=""/>
        <p:cNvGrpSpPr/>
        <p:nvPr/>
      </p:nvGrpSpPr>
      <p:grpSpPr>
        <a:xfrm>
          <a:off x="0" y="0"/>
          <a:ext cx="0" cy="0"/>
          <a:chOff x="0" y="0"/>
          <a:chExt cx="0" cy="0"/>
        </a:xfrm>
      </p:grpSpPr>
      <p:sp>
        <p:nvSpPr>
          <p:cNvPr id="2" name="Titel 1"/>
          <p:cNvSpPr>
            <a:spLocks noGrp="1"/>
          </p:cNvSpPr>
          <p:nvPr>
            <p:ph type="ctrTitle" hasCustomPrompt="1"/>
          </p:nvPr>
        </p:nvSpPr>
        <p:spPr bwMode="gray">
          <a:xfrm>
            <a:off x="550508" y="3932953"/>
            <a:ext cx="11090131" cy="791817"/>
          </a:xfrm>
        </p:spPr>
        <p:txBody>
          <a:bodyPr/>
          <a:lstStyle>
            <a:lvl1pPr>
              <a:defRPr sz="3199" baseline="0">
                <a:solidFill>
                  <a:schemeClr val="accent1"/>
                </a:solidFill>
              </a:defRPr>
            </a:lvl1pPr>
          </a:lstStyle>
          <a:p>
            <a:r>
              <a:rPr lang="en-US" dirty="0"/>
              <a:t>Here is a very long Headline 32pt</a:t>
            </a:r>
          </a:p>
        </p:txBody>
      </p:sp>
      <p:sp>
        <p:nvSpPr>
          <p:cNvPr id="3" name="Untertitel 2"/>
          <p:cNvSpPr>
            <a:spLocks noGrp="1"/>
          </p:cNvSpPr>
          <p:nvPr>
            <p:ph type="subTitle" idx="1" hasCustomPrompt="1"/>
          </p:nvPr>
        </p:nvSpPr>
        <p:spPr bwMode="gray">
          <a:xfrm>
            <a:off x="550507" y="4797033"/>
            <a:ext cx="11090132" cy="1151733"/>
          </a:xfrm>
        </p:spPr>
        <p:txBody>
          <a:bodyPr/>
          <a:lstStyle>
            <a:lvl1pPr marL="0" indent="0" algn="l">
              <a:buNone/>
              <a:defRPr sz="2000" cap="none" baseline="0">
                <a:solidFill>
                  <a:schemeClr val="accent1"/>
                </a:solidFill>
              </a:defRPr>
            </a:lvl1pPr>
            <a:lvl2pPr marL="0" indent="0" algn="l">
              <a:buNone/>
              <a:defRPr sz="2000">
                <a:solidFill>
                  <a:schemeClr val="accent1"/>
                </a:solidFill>
              </a:defRPr>
            </a:lvl2pPr>
            <a:lvl3pPr marL="0" indent="0" algn="l">
              <a:buNone/>
              <a:defRPr sz="2000">
                <a:solidFill>
                  <a:schemeClr val="accent1"/>
                </a:solidFill>
              </a:defRPr>
            </a:lvl3pPr>
            <a:lvl4pPr marL="0" indent="0" algn="l">
              <a:buNone/>
              <a:defRPr sz="2000">
                <a:solidFill>
                  <a:schemeClr val="accent1"/>
                </a:solidFill>
              </a:defRPr>
            </a:lvl4pPr>
            <a:lvl5pPr marL="0" indent="0" algn="l">
              <a:buNone/>
              <a:defRPr sz="2000">
                <a:solidFill>
                  <a:schemeClr val="accent1"/>
                </a:solidFill>
              </a:defRPr>
            </a:lvl5pPr>
            <a:lvl6pPr marL="0" indent="0" algn="l">
              <a:buNone/>
              <a:defRPr sz="2000">
                <a:solidFill>
                  <a:schemeClr val="accent1"/>
                </a:solidFill>
              </a:defRPr>
            </a:lvl6pPr>
            <a:lvl7pPr marL="0" indent="0" algn="l">
              <a:buNone/>
              <a:defRPr sz="2000">
                <a:solidFill>
                  <a:schemeClr val="accent1"/>
                </a:solidFill>
              </a:defRPr>
            </a:lvl7pPr>
            <a:lvl8pPr marL="0" indent="0" algn="l">
              <a:buNone/>
              <a:defRPr sz="2000">
                <a:solidFill>
                  <a:schemeClr val="accent1"/>
                </a:solidFill>
              </a:defRPr>
            </a:lvl8pPr>
            <a:lvl9pPr marL="0" indent="0" algn="l">
              <a:buNone/>
              <a:defRPr sz="2000">
                <a:solidFill>
                  <a:schemeClr val="accent1"/>
                </a:solidFill>
              </a:defRPr>
            </a:lvl9pPr>
          </a:lstStyle>
          <a:p>
            <a:pPr lvl="0"/>
            <a:r>
              <a:rPr lang="en-US" dirty="0"/>
              <a:t>Here is a Subheadline 20pt</a:t>
            </a:r>
          </a:p>
        </p:txBody>
      </p:sp>
      <p:sp>
        <p:nvSpPr>
          <p:cNvPr id="7" name="Datumsplatzhalter 6"/>
          <p:cNvSpPr>
            <a:spLocks noGrp="1"/>
          </p:cNvSpPr>
          <p:nvPr>
            <p:ph type="dt" sz="half" idx="11"/>
          </p:nvPr>
        </p:nvSpPr>
        <p:spPr bwMode="gray"/>
        <p:txBody>
          <a:bodyPr/>
          <a:lstStyle/>
          <a:p>
            <a:fld id="{A5ED0802-8562-448F-B854-44E92CF6C9D8}" type="datetime1">
              <a:rPr lang="en-US"/>
              <a:t>10/22/2024</a:t>
            </a:fld>
            <a:endParaRPr lang="en-US" dirty="0"/>
          </a:p>
        </p:txBody>
      </p:sp>
      <p:sp>
        <p:nvSpPr>
          <p:cNvPr id="8" name="Fußzeilenplatzhalter 7"/>
          <p:cNvSpPr>
            <a:spLocks noGrp="1"/>
          </p:cNvSpPr>
          <p:nvPr>
            <p:ph type="ftr" sz="quarter" idx="12"/>
          </p:nvPr>
        </p:nvSpPr>
        <p:spPr bwMode="gray"/>
        <p:txBody>
          <a:bodyPr/>
          <a:lstStyle/>
          <a:p>
            <a:r>
              <a:rPr lang="en-US" dirty="0"/>
              <a:t>Please insert footnote</a:t>
            </a:r>
          </a:p>
        </p:txBody>
      </p:sp>
      <p:sp>
        <p:nvSpPr>
          <p:cNvPr id="9" name="Foliennummernplatzhalter 8"/>
          <p:cNvSpPr>
            <a:spLocks noGrp="1"/>
          </p:cNvSpPr>
          <p:nvPr>
            <p:ph type="sldNum" sz="quarter" idx="13"/>
          </p:nvPr>
        </p:nvSpPr>
        <p:spPr bwMode="gray"/>
        <p:txBody>
          <a:bodyPr/>
          <a:lstStyle/>
          <a:p>
            <a:fld id="{4915BD61-E5D5-4E4F-ADA0-6F3448AB9FA6}" type="slidenum">
              <a:rPr lang="en-US"/>
              <a:pPr/>
              <a:t>‹#›</a:t>
            </a:fld>
            <a:endParaRPr lang="en-US" dirty="0"/>
          </a:p>
        </p:txBody>
      </p:sp>
      <p:sp>
        <p:nvSpPr>
          <p:cNvPr id="14" name="Freihandform 13"/>
          <p:cNvSpPr/>
          <p:nvPr userDrawn="1"/>
        </p:nvSpPr>
        <p:spPr bwMode="gray">
          <a:xfrm>
            <a:off x="-2899" y="0"/>
            <a:ext cx="12194900" cy="3096960"/>
          </a:xfrm>
          <a:custGeom>
            <a:avLst/>
            <a:gdLst>
              <a:gd name="connsiteX0" fmla="*/ 2899 w 12193313"/>
              <a:gd name="connsiteY0" fmla="*/ 0 h 3097677"/>
              <a:gd name="connsiteX1" fmla="*/ 12193313 w 12193313"/>
              <a:gd name="connsiteY1" fmla="*/ 0 h 3097677"/>
              <a:gd name="connsiteX2" fmla="*/ 12193312 w 12193313"/>
              <a:gd name="connsiteY2" fmla="*/ 1563231 h 3097677"/>
              <a:gd name="connsiteX3" fmla="*/ 12193312 w 12193313"/>
              <a:gd name="connsiteY3" fmla="*/ 1 h 3097677"/>
              <a:gd name="connsiteX4" fmla="*/ 2899 w 12193313"/>
              <a:gd name="connsiteY4" fmla="*/ 1 h 3097677"/>
              <a:gd name="connsiteX5" fmla="*/ 2899 w 12193313"/>
              <a:gd name="connsiteY5" fmla="*/ 3097677 h 3097677"/>
              <a:gd name="connsiteX6" fmla="*/ 2477 w 12193313"/>
              <a:gd name="connsiteY6" fmla="*/ 3088544 h 3097677"/>
              <a:gd name="connsiteX7" fmla="*/ 2899 w 12193313"/>
              <a:gd name="connsiteY7" fmla="*/ 0 h 3097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313" h="3097677">
                <a:moveTo>
                  <a:pt x="2899" y="0"/>
                </a:moveTo>
                <a:lnTo>
                  <a:pt x="12193313" y="0"/>
                </a:lnTo>
                <a:lnTo>
                  <a:pt x="12193312" y="1563231"/>
                </a:lnTo>
                <a:lnTo>
                  <a:pt x="12193312" y="1"/>
                </a:lnTo>
                <a:lnTo>
                  <a:pt x="2899" y="1"/>
                </a:lnTo>
                <a:lnTo>
                  <a:pt x="2899" y="3097677"/>
                </a:lnTo>
                <a:lnTo>
                  <a:pt x="2477" y="3088544"/>
                </a:lnTo>
                <a:cubicBezTo>
                  <a:pt x="-1704" y="2904402"/>
                  <a:pt x="79" y="4948"/>
                  <a:pt x="2899"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6" name="Freihandform 15"/>
          <p:cNvSpPr/>
          <p:nvPr userDrawn="1"/>
        </p:nvSpPr>
        <p:spPr bwMode="gray">
          <a:xfrm>
            <a:off x="1" y="0"/>
            <a:ext cx="12192000" cy="3405797"/>
          </a:xfrm>
          <a:custGeom>
            <a:avLst/>
            <a:gdLst>
              <a:gd name="connsiteX0" fmla="*/ 0 w 12190413"/>
              <a:gd name="connsiteY0" fmla="*/ 0 h 3406586"/>
              <a:gd name="connsiteX1" fmla="*/ 12190413 w 12190413"/>
              <a:gd name="connsiteY1" fmla="*/ 0 h 3406586"/>
              <a:gd name="connsiteX2" fmla="*/ 12190413 w 12190413"/>
              <a:gd name="connsiteY2" fmla="*/ 1563230 h 3406586"/>
              <a:gd name="connsiteX3" fmla="*/ 12190412 w 12190413"/>
              <a:gd name="connsiteY3" fmla="*/ 3126460 h 3406586"/>
              <a:gd name="connsiteX4" fmla="*/ 12188206 w 12190413"/>
              <a:gd name="connsiteY4" fmla="*/ 3125946 h 3406586"/>
              <a:gd name="connsiteX5" fmla="*/ 12188206 w 12190413"/>
              <a:gd name="connsiteY5" fmla="*/ 3119321 h 3406586"/>
              <a:gd name="connsiteX6" fmla="*/ 12032390 w 12190413"/>
              <a:gd name="connsiteY6" fmla="*/ 3089643 h 3406586"/>
              <a:gd name="connsiteX7" fmla="*/ 11853287 w 12190413"/>
              <a:gd name="connsiteY7" fmla="*/ 3047915 h 3406586"/>
              <a:gd name="connsiteX8" fmla="*/ 9474399 w 12190413"/>
              <a:gd name="connsiteY8" fmla="*/ 2814917 h 3406586"/>
              <a:gd name="connsiteX9" fmla="*/ 9363219 w 12190413"/>
              <a:gd name="connsiteY9" fmla="*/ 2815958 h 3406586"/>
              <a:gd name="connsiteX10" fmla="*/ 9336724 w 12190413"/>
              <a:gd name="connsiteY10" fmla="*/ 2815490 h 3406586"/>
              <a:gd name="connsiteX11" fmla="*/ 9141154 w 12190413"/>
              <a:gd name="connsiteY11" fmla="*/ 2815490 h 3406586"/>
              <a:gd name="connsiteX12" fmla="*/ 8943837 w 12190413"/>
              <a:gd name="connsiteY12" fmla="*/ 2815489 h 3406586"/>
              <a:gd name="connsiteX13" fmla="*/ 8746521 w 12190413"/>
              <a:gd name="connsiteY13" fmla="*/ 2818982 h 3406586"/>
              <a:gd name="connsiteX14" fmla="*/ 8552697 w 12190413"/>
              <a:gd name="connsiteY14" fmla="*/ 2824221 h 3406586"/>
              <a:gd name="connsiteX15" fmla="*/ 8357128 w 12190413"/>
              <a:gd name="connsiteY15" fmla="*/ 2834697 h 3406586"/>
              <a:gd name="connsiteX16" fmla="*/ 8163303 w 12190413"/>
              <a:gd name="connsiteY16" fmla="*/ 2846920 h 3406586"/>
              <a:gd name="connsiteX17" fmla="*/ 7972972 w 12190413"/>
              <a:gd name="connsiteY17" fmla="*/ 2859144 h 3406586"/>
              <a:gd name="connsiteX18" fmla="*/ 7779149 w 12190413"/>
              <a:gd name="connsiteY18" fmla="*/ 2874858 h 3406586"/>
              <a:gd name="connsiteX19" fmla="*/ 7587072 w 12190413"/>
              <a:gd name="connsiteY19" fmla="*/ 2894066 h 3406586"/>
              <a:gd name="connsiteX20" fmla="*/ 7396738 w 12190413"/>
              <a:gd name="connsiteY20" fmla="*/ 2916766 h 3406586"/>
              <a:gd name="connsiteX21" fmla="*/ 7209903 w 12190413"/>
              <a:gd name="connsiteY21" fmla="*/ 2939466 h 3406586"/>
              <a:gd name="connsiteX22" fmla="*/ 7019571 w 12190413"/>
              <a:gd name="connsiteY22" fmla="*/ 2963913 h 3406586"/>
              <a:gd name="connsiteX23" fmla="*/ 6853019 w 12190413"/>
              <a:gd name="connsiteY23" fmla="*/ 2990374 h 3406586"/>
              <a:gd name="connsiteX24" fmla="*/ 6718666 w 12190413"/>
              <a:gd name="connsiteY24" fmla="*/ 3007620 h 3406586"/>
              <a:gd name="connsiteX25" fmla="*/ 6545441 w 12190413"/>
              <a:gd name="connsiteY25" fmla="*/ 3036817 h 3406586"/>
              <a:gd name="connsiteX26" fmla="*/ 6460798 w 12190413"/>
              <a:gd name="connsiteY26" fmla="*/ 3049475 h 3406586"/>
              <a:gd name="connsiteX27" fmla="*/ 6387367 w 12190413"/>
              <a:gd name="connsiteY27" fmla="*/ 3063462 h 3406586"/>
              <a:gd name="connsiteX28" fmla="*/ 6041160 w 12190413"/>
              <a:gd name="connsiteY28" fmla="*/ 3121816 h 3406586"/>
              <a:gd name="connsiteX29" fmla="*/ 5887321 w 12190413"/>
              <a:gd name="connsiteY29" fmla="*/ 3154127 h 3406586"/>
              <a:gd name="connsiteX30" fmla="*/ 5857713 w 12190413"/>
              <a:gd name="connsiteY30" fmla="*/ 3159113 h 3406586"/>
              <a:gd name="connsiteX31" fmla="*/ 1438219 w 12190413"/>
              <a:gd name="connsiteY31" fmla="*/ 3342542 h 3406586"/>
              <a:gd name="connsiteX32" fmla="*/ 1112913 w 12190413"/>
              <a:gd name="connsiteY32" fmla="*/ 3306015 h 3406586"/>
              <a:gd name="connsiteX33" fmla="*/ 1063194 w 12190413"/>
              <a:gd name="connsiteY33" fmla="*/ 3299628 h 3406586"/>
              <a:gd name="connsiteX34" fmla="*/ 750855 w 12190413"/>
              <a:gd name="connsiteY34" fmla="*/ 3254655 h 3406586"/>
              <a:gd name="connsiteX35" fmla="*/ 268553 w 12190413"/>
              <a:gd name="connsiteY35" fmla="*/ 3164158 h 3406586"/>
              <a:gd name="connsiteX36" fmla="*/ 1 w 12190413"/>
              <a:gd name="connsiteY36" fmla="*/ 3097698 h 3406586"/>
              <a:gd name="connsiteX37" fmla="*/ 0 w 12190413"/>
              <a:gd name="connsiteY37" fmla="*/ 3097676 h 3406586"/>
              <a:gd name="connsiteX38" fmla="*/ 0 w 12190413"/>
              <a:gd name="connsiteY38" fmla="*/ 0 h 3406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2190413" h="3406586">
                <a:moveTo>
                  <a:pt x="0" y="0"/>
                </a:moveTo>
                <a:lnTo>
                  <a:pt x="12190413" y="0"/>
                </a:lnTo>
                <a:lnTo>
                  <a:pt x="12190413" y="1563230"/>
                </a:lnTo>
                <a:lnTo>
                  <a:pt x="12190412" y="3126460"/>
                </a:lnTo>
                <a:lnTo>
                  <a:pt x="12188206" y="3125946"/>
                </a:lnTo>
                <a:lnTo>
                  <a:pt x="12188206" y="3119321"/>
                </a:lnTo>
                <a:lnTo>
                  <a:pt x="12032390" y="3089643"/>
                </a:lnTo>
                <a:lnTo>
                  <a:pt x="11853287" y="3047915"/>
                </a:lnTo>
                <a:cubicBezTo>
                  <a:pt x="11151505" y="2905719"/>
                  <a:pt x="10345755" y="2824653"/>
                  <a:pt x="9474399" y="2814917"/>
                </a:cubicBezTo>
                <a:lnTo>
                  <a:pt x="9363219" y="2815958"/>
                </a:lnTo>
                <a:lnTo>
                  <a:pt x="9336724" y="2815490"/>
                </a:lnTo>
                <a:lnTo>
                  <a:pt x="9141154" y="2815490"/>
                </a:lnTo>
                <a:lnTo>
                  <a:pt x="8943837" y="2815489"/>
                </a:lnTo>
                <a:lnTo>
                  <a:pt x="8746521" y="2818982"/>
                </a:lnTo>
                <a:lnTo>
                  <a:pt x="8552697" y="2824221"/>
                </a:lnTo>
                <a:lnTo>
                  <a:pt x="8357128" y="2834697"/>
                </a:lnTo>
                <a:lnTo>
                  <a:pt x="8163303" y="2846920"/>
                </a:lnTo>
                <a:lnTo>
                  <a:pt x="7972972" y="2859144"/>
                </a:lnTo>
                <a:lnTo>
                  <a:pt x="7779149" y="2874858"/>
                </a:lnTo>
                <a:lnTo>
                  <a:pt x="7587072" y="2894066"/>
                </a:lnTo>
                <a:lnTo>
                  <a:pt x="7396738" y="2916766"/>
                </a:lnTo>
                <a:lnTo>
                  <a:pt x="7209903" y="2939466"/>
                </a:lnTo>
                <a:lnTo>
                  <a:pt x="7019571" y="2963913"/>
                </a:lnTo>
                <a:lnTo>
                  <a:pt x="6853019" y="2990374"/>
                </a:lnTo>
                <a:lnTo>
                  <a:pt x="6718666" y="3007620"/>
                </a:lnTo>
                <a:lnTo>
                  <a:pt x="6545441" y="3036817"/>
                </a:lnTo>
                <a:lnTo>
                  <a:pt x="6460798" y="3049475"/>
                </a:lnTo>
                <a:lnTo>
                  <a:pt x="6387367" y="3063462"/>
                </a:lnTo>
                <a:lnTo>
                  <a:pt x="6041160" y="3121816"/>
                </a:lnTo>
                <a:lnTo>
                  <a:pt x="5887321" y="3154127"/>
                </a:lnTo>
                <a:lnTo>
                  <a:pt x="5857713" y="3159113"/>
                </a:lnTo>
                <a:cubicBezTo>
                  <a:pt x="4271557" y="3407636"/>
                  <a:pt x="2741498" y="3469366"/>
                  <a:pt x="1438219" y="3342542"/>
                </a:cubicBezTo>
                <a:lnTo>
                  <a:pt x="1112913" y="3306015"/>
                </a:lnTo>
                <a:lnTo>
                  <a:pt x="1063194" y="3299628"/>
                </a:lnTo>
                <a:lnTo>
                  <a:pt x="750855" y="3254655"/>
                </a:lnTo>
                <a:cubicBezTo>
                  <a:pt x="585150" y="3228003"/>
                  <a:pt x="424237" y="3197839"/>
                  <a:pt x="268553" y="3164158"/>
                </a:cubicBezTo>
                <a:lnTo>
                  <a:pt x="1" y="3097698"/>
                </a:lnTo>
                <a:lnTo>
                  <a:pt x="0" y="3097676"/>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0" name="Rechteck 9" hidden="1">
            <a:extLst>
              <a:ext uri="{FF2B5EF4-FFF2-40B4-BE49-F238E27FC236}">
                <a16:creationId xmlns:a16="http://schemas.microsoft.com/office/drawing/2014/main" id="{B8C486F5-F60D-415C-844A-66F7D1D00277}"/>
              </a:ext>
            </a:extLst>
          </p:cNvPr>
          <p:cNvSpPr/>
          <p:nvPr userDrawn="1">
            <p:custDataLst>
              <p:tags r:id="rId1"/>
            </p:custDataLst>
          </p:nvPr>
        </p:nvSpPr>
        <p:spPr>
          <a:xfrm>
            <a:off x="9192833" y="5997473"/>
            <a:ext cx="2999167" cy="860528"/>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
        <p:nvSpPr>
          <p:cNvPr id="5" name="Textplatzhalter 4">
            <a:extLst>
              <a:ext uri="{FF2B5EF4-FFF2-40B4-BE49-F238E27FC236}">
                <a16:creationId xmlns:a16="http://schemas.microsoft.com/office/drawing/2014/main" id="{C5630DA7-7F61-4B14-B13D-4B434036D455}"/>
              </a:ext>
            </a:extLst>
          </p:cNvPr>
          <p:cNvSpPr>
            <a:spLocks noGrp="1"/>
          </p:cNvSpPr>
          <p:nvPr>
            <p:ph type="body" sz="quarter" idx="14" hasCustomPrompt="1"/>
          </p:nvPr>
        </p:nvSpPr>
        <p:spPr>
          <a:xfrm>
            <a:off x="550935" y="477383"/>
            <a:ext cx="11090131" cy="791817"/>
          </a:xfrm>
        </p:spPr>
        <p:txBody>
          <a:bodyPr/>
          <a:lstStyle>
            <a:lvl1pPr marL="0" indent="0">
              <a:spcAft>
                <a:spcPts val="0"/>
              </a:spcAft>
              <a:buFont typeface="Arial" panose="020B0604020202020204" pitchFamily="34" charset="0"/>
              <a:buNone/>
              <a:defRPr sz="3199">
                <a:solidFill>
                  <a:schemeClr val="bg1"/>
                </a:solidFill>
              </a:defRPr>
            </a:lvl1pPr>
            <a:lvl2pPr marL="0" indent="0">
              <a:spcAft>
                <a:spcPts val="0"/>
              </a:spcAft>
              <a:buNone/>
              <a:defRPr sz="3199">
                <a:solidFill>
                  <a:schemeClr val="bg1"/>
                </a:solidFill>
              </a:defRPr>
            </a:lvl2pPr>
            <a:lvl3pPr marL="0" indent="0">
              <a:spcAft>
                <a:spcPts val="0"/>
              </a:spcAft>
              <a:buNone/>
              <a:defRPr sz="3199">
                <a:solidFill>
                  <a:schemeClr val="bg1"/>
                </a:solidFill>
              </a:defRPr>
            </a:lvl3pPr>
            <a:lvl4pPr marL="0" indent="0">
              <a:spcAft>
                <a:spcPts val="0"/>
              </a:spcAft>
              <a:buNone/>
              <a:defRPr sz="3199">
                <a:solidFill>
                  <a:schemeClr val="bg1"/>
                </a:solidFill>
              </a:defRPr>
            </a:lvl4pPr>
            <a:lvl5pPr marL="0" indent="0">
              <a:spcAft>
                <a:spcPts val="0"/>
              </a:spcAft>
              <a:buNone/>
              <a:defRPr sz="3199">
                <a:solidFill>
                  <a:schemeClr val="bg1"/>
                </a:solidFill>
              </a:defRPr>
            </a:lvl5pPr>
            <a:lvl6pPr marL="0" indent="0">
              <a:spcAft>
                <a:spcPts val="0"/>
              </a:spcAft>
              <a:buNone/>
              <a:defRPr sz="3199">
                <a:solidFill>
                  <a:schemeClr val="bg1"/>
                </a:solidFill>
              </a:defRPr>
            </a:lvl6pPr>
            <a:lvl7pPr marL="0" indent="0">
              <a:spcAft>
                <a:spcPts val="0"/>
              </a:spcAft>
              <a:buNone/>
              <a:defRPr sz="3199">
                <a:solidFill>
                  <a:schemeClr val="bg1"/>
                </a:solidFill>
              </a:defRPr>
            </a:lvl7pPr>
            <a:lvl8pPr marL="0" indent="0">
              <a:spcAft>
                <a:spcPts val="0"/>
              </a:spcAft>
              <a:buNone/>
              <a:defRPr sz="3199">
                <a:solidFill>
                  <a:schemeClr val="bg1"/>
                </a:solidFill>
              </a:defRPr>
            </a:lvl8pPr>
            <a:lvl9pPr marL="0" indent="0">
              <a:spcAft>
                <a:spcPts val="0"/>
              </a:spcAft>
              <a:buNone/>
              <a:defRPr sz="3199">
                <a:solidFill>
                  <a:schemeClr val="bg1"/>
                </a:solidFill>
              </a:defRPr>
            </a:lvl9pPr>
          </a:lstStyle>
          <a:p>
            <a:pPr lvl="0"/>
            <a:r>
              <a:rPr lang="en-US" dirty="0"/>
              <a:t>Here is a very long Headline 32pt</a:t>
            </a:r>
          </a:p>
        </p:txBody>
      </p:sp>
      <p:sp>
        <p:nvSpPr>
          <p:cNvPr id="15" name="Textplatzhalter 4">
            <a:extLst>
              <a:ext uri="{FF2B5EF4-FFF2-40B4-BE49-F238E27FC236}">
                <a16:creationId xmlns:a16="http://schemas.microsoft.com/office/drawing/2014/main" id="{5B987F16-0741-404D-AC62-9F54281B29D5}"/>
              </a:ext>
            </a:extLst>
          </p:cNvPr>
          <p:cNvSpPr>
            <a:spLocks noGrp="1"/>
          </p:cNvSpPr>
          <p:nvPr>
            <p:ph type="body" sz="quarter" idx="15" hasCustomPrompt="1"/>
          </p:nvPr>
        </p:nvSpPr>
        <p:spPr>
          <a:xfrm>
            <a:off x="550508" y="1341354"/>
            <a:ext cx="11090131" cy="1151733"/>
          </a:xfrm>
        </p:spPr>
        <p:txBody>
          <a:bodyPr/>
          <a:lstStyle>
            <a:lvl1pPr marL="0" indent="0">
              <a:spcAft>
                <a:spcPts val="0"/>
              </a:spcAft>
              <a:buFont typeface="Arial" panose="020B0604020202020204" pitchFamily="34" charset="0"/>
              <a:buNone/>
              <a:defRPr sz="2000">
                <a:solidFill>
                  <a:schemeClr val="bg1"/>
                </a:solidFill>
              </a:defRPr>
            </a:lvl1pPr>
            <a:lvl2pPr marL="0" indent="0">
              <a:spcAft>
                <a:spcPts val="0"/>
              </a:spcAft>
              <a:buNone/>
              <a:defRPr sz="2000">
                <a:solidFill>
                  <a:schemeClr val="bg1"/>
                </a:solidFill>
              </a:defRPr>
            </a:lvl2pPr>
            <a:lvl3pPr marL="0" indent="0">
              <a:spcAft>
                <a:spcPts val="0"/>
              </a:spcAft>
              <a:buNone/>
              <a:defRPr sz="2000">
                <a:solidFill>
                  <a:schemeClr val="bg1"/>
                </a:solidFill>
              </a:defRPr>
            </a:lvl3pPr>
            <a:lvl4pPr marL="0" indent="0">
              <a:spcAft>
                <a:spcPts val="0"/>
              </a:spcAft>
              <a:buNone/>
              <a:defRPr sz="2000">
                <a:solidFill>
                  <a:schemeClr val="bg1"/>
                </a:solidFill>
              </a:defRPr>
            </a:lvl4pPr>
            <a:lvl5pPr marL="0" indent="0">
              <a:spcAft>
                <a:spcPts val="0"/>
              </a:spcAft>
              <a:buNone/>
              <a:defRPr sz="2000">
                <a:solidFill>
                  <a:schemeClr val="bg1"/>
                </a:solidFill>
              </a:defRPr>
            </a:lvl5pPr>
            <a:lvl6pPr marL="0" indent="0">
              <a:spcAft>
                <a:spcPts val="0"/>
              </a:spcAft>
              <a:buNone/>
              <a:defRPr sz="2000">
                <a:solidFill>
                  <a:schemeClr val="bg1"/>
                </a:solidFill>
              </a:defRPr>
            </a:lvl6pPr>
            <a:lvl7pPr marL="0" indent="0">
              <a:spcAft>
                <a:spcPts val="0"/>
              </a:spcAft>
              <a:buNone/>
              <a:defRPr sz="2000">
                <a:solidFill>
                  <a:schemeClr val="bg1"/>
                </a:solidFill>
              </a:defRPr>
            </a:lvl7pPr>
            <a:lvl8pPr marL="0" indent="0">
              <a:spcAft>
                <a:spcPts val="0"/>
              </a:spcAft>
              <a:buNone/>
              <a:defRPr sz="2000">
                <a:solidFill>
                  <a:schemeClr val="bg1"/>
                </a:solidFill>
              </a:defRPr>
            </a:lvl8pPr>
            <a:lvl9pPr marL="0" indent="0">
              <a:spcAft>
                <a:spcPts val="0"/>
              </a:spcAft>
              <a:buNone/>
              <a:defRPr sz="2000">
                <a:solidFill>
                  <a:schemeClr val="bg1"/>
                </a:solidFill>
              </a:defRPr>
            </a:lvl9pPr>
          </a:lstStyle>
          <a:p>
            <a:pPr lvl="0"/>
            <a:r>
              <a:rPr lang="en-US" dirty="0"/>
              <a:t>Here is a </a:t>
            </a:r>
            <a:r>
              <a:rPr lang="en-US" dirty="0" err="1"/>
              <a:t>Subheadline</a:t>
            </a:r>
            <a:r>
              <a:rPr lang="en-US" dirty="0"/>
              <a:t> 20pt</a:t>
            </a:r>
          </a:p>
        </p:txBody>
      </p:sp>
    </p:spTree>
    <p:extLst>
      <p:ext uri="{BB962C8B-B14F-4D97-AF65-F5344CB8AC3E}">
        <p14:creationId xmlns:p14="http://schemas.microsoft.com/office/powerpoint/2010/main" val="35549721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ivider white">
    <p:bg>
      <p:bgPr>
        <a:solidFill>
          <a:schemeClr val="bg1"/>
        </a:solidFill>
        <a:effectLst/>
      </p:bgPr>
    </p:bg>
    <p:spTree>
      <p:nvGrpSpPr>
        <p:cNvPr id="1" name=""/>
        <p:cNvGrpSpPr/>
        <p:nvPr/>
      </p:nvGrpSpPr>
      <p:grpSpPr>
        <a:xfrm>
          <a:off x="0" y="0"/>
          <a:ext cx="0" cy="0"/>
          <a:chOff x="0" y="0"/>
          <a:chExt cx="0" cy="0"/>
        </a:xfrm>
      </p:grpSpPr>
      <p:sp>
        <p:nvSpPr>
          <p:cNvPr id="11" name="Freihandform 15">
            <a:extLst>
              <a:ext uri="{FF2B5EF4-FFF2-40B4-BE49-F238E27FC236}">
                <a16:creationId xmlns:a16="http://schemas.microsoft.com/office/drawing/2014/main" id="{989B262F-E219-4EBA-AA0B-C9C5E44F5667}"/>
              </a:ext>
            </a:extLst>
          </p:cNvPr>
          <p:cNvSpPr/>
          <p:nvPr userDrawn="1"/>
        </p:nvSpPr>
        <p:spPr bwMode="gray">
          <a:xfrm>
            <a:off x="0" y="2814266"/>
            <a:ext cx="12191999" cy="591532"/>
          </a:xfrm>
          <a:custGeom>
            <a:avLst/>
            <a:gdLst>
              <a:gd name="connsiteX0" fmla="*/ 0 w 12190413"/>
              <a:gd name="connsiteY0" fmla="*/ 0 h 3406586"/>
              <a:gd name="connsiteX1" fmla="*/ 12190413 w 12190413"/>
              <a:gd name="connsiteY1" fmla="*/ 0 h 3406586"/>
              <a:gd name="connsiteX2" fmla="*/ 12190413 w 12190413"/>
              <a:gd name="connsiteY2" fmla="*/ 1563230 h 3406586"/>
              <a:gd name="connsiteX3" fmla="*/ 12190412 w 12190413"/>
              <a:gd name="connsiteY3" fmla="*/ 3126460 h 3406586"/>
              <a:gd name="connsiteX4" fmla="*/ 12188206 w 12190413"/>
              <a:gd name="connsiteY4" fmla="*/ 3125946 h 3406586"/>
              <a:gd name="connsiteX5" fmla="*/ 12188206 w 12190413"/>
              <a:gd name="connsiteY5" fmla="*/ 3119321 h 3406586"/>
              <a:gd name="connsiteX6" fmla="*/ 12032390 w 12190413"/>
              <a:gd name="connsiteY6" fmla="*/ 3089643 h 3406586"/>
              <a:gd name="connsiteX7" fmla="*/ 11853287 w 12190413"/>
              <a:gd name="connsiteY7" fmla="*/ 3047915 h 3406586"/>
              <a:gd name="connsiteX8" fmla="*/ 9474399 w 12190413"/>
              <a:gd name="connsiteY8" fmla="*/ 2814917 h 3406586"/>
              <a:gd name="connsiteX9" fmla="*/ 9363219 w 12190413"/>
              <a:gd name="connsiteY9" fmla="*/ 2815958 h 3406586"/>
              <a:gd name="connsiteX10" fmla="*/ 9336724 w 12190413"/>
              <a:gd name="connsiteY10" fmla="*/ 2815490 h 3406586"/>
              <a:gd name="connsiteX11" fmla="*/ 9141154 w 12190413"/>
              <a:gd name="connsiteY11" fmla="*/ 2815490 h 3406586"/>
              <a:gd name="connsiteX12" fmla="*/ 8943837 w 12190413"/>
              <a:gd name="connsiteY12" fmla="*/ 2815489 h 3406586"/>
              <a:gd name="connsiteX13" fmla="*/ 8746521 w 12190413"/>
              <a:gd name="connsiteY13" fmla="*/ 2818982 h 3406586"/>
              <a:gd name="connsiteX14" fmla="*/ 8552697 w 12190413"/>
              <a:gd name="connsiteY14" fmla="*/ 2824221 h 3406586"/>
              <a:gd name="connsiteX15" fmla="*/ 8357128 w 12190413"/>
              <a:gd name="connsiteY15" fmla="*/ 2834697 h 3406586"/>
              <a:gd name="connsiteX16" fmla="*/ 8163303 w 12190413"/>
              <a:gd name="connsiteY16" fmla="*/ 2846920 h 3406586"/>
              <a:gd name="connsiteX17" fmla="*/ 7972972 w 12190413"/>
              <a:gd name="connsiteY17" fmla="*/ 2859144 h 3406586"/>
              <a:gd name="connsiteX18" fmla="*/ 7779149 w 12190413"/>
              <a:gd name="connsiteY18" fmla="*/ 2874858 h 3406586"/>
              <a:gd name="connsiteX19" fmla="*/ 7587072 w 12190413"/>
              <a:gd name="connsiteY19" fmla="*/ 2894066 h 3406586"/>
              <a:gd name="connsiteX20" fmla="*/ 7396738 w 12190413"/>
              <a:gd name="connsiteY20" fmla="*/ 2916766 h 3406586"/>
              <a:gd name="connsiteX21" fmla="*/ 7209903 w 12190413"/>
              <a:gd name="connsiteY21" fmla="*/ 2939466 h 3406586"/>
              <a:gd name="connsiteX22" fmla="*/ 7019571 w 12190413"/>
              <a:gd name="connsiteY22" fmla="*/ 2963913 h 3406586"/>
              <a:gd name="connsiteX23" fmla="*/ 6853019 w 12190413"/>
              <a:gd name="connsiteY23" fmla="*/ 2990374 h 3406586"/>
              <a:gd name="connsiteX24" fmla="*/ 6718666 w 12190413"/>
              <a:gd name="connsiteY24" fmla="*/ 3007620 h 3406586"/>
              <a:gd name="connsiteX25" fmla="*/ 6545441 w 12190413"/>
              <a:gd name="connsiteY25" fmla="*/ 3036817 h 3406586"/>
              <a:gd name="connsiteX26" fmla="*/ 6460798 w 12190413"/>
              <a:gd name="connsiteY26" fmla="*/ 3049475 h 3406586"/>
              <a:gd name="connsiteX27" fmla="*/ 6387367 w 12190413"/>
              <a:gd name="connsiteY27" fmla="*/ 3063462 h 3406586"/>
              <a:gd name="connsiteX28" fmla="*/ 6041160 w 12190413"/>
              <a:gd name="connsiteY28" fmla="*/ 3121816 h 3406586"/>
              <a:gd name="connsiteX29" fmla="*/ 5887321 w 12190413"/>
              <a:gd name="connsiteY29" fmla="*/ 3154127 h 3406586"/>
              <a:gd name="connsiteX30" fmla="*/ 5857713 w 12190413"/>
              <a:gd name="connsiteY30" fmla="*/ 3159113 h 3406586"/>
              <a:gd name="connsiteX31" fmla="*/ 1438219 w 12190413"/>
              <a:gd name="connsiteY31" fmla="*/ 3342542 h 3406586"/>
              <a:gd name="connsiteX32" fmla="*/ 1112913 w 12190413"/>
              <a:gd name="connsiteY32" fmla="*/ 3306015 h 3406586"/>
              <a:gd name="connsiteX33" fmla="*/ 1063194 w 12190413"/>
              <a:gd name="connsiteY33" fmla="*/ 3299628 h 3406586"/>
              <a:gd name="connsiteX34" fmla="*/ 750855 w 12190413"/>
              <a:gd name="connsiteY34" fmla="*/ 3254655 h 3406586"/>
              <a:gd name="connsiteX35" fmla="*/ 268553 w 12190413"/>
              <a:gd name="connsiteY35" fmla="*/ 3164158 h 3406586"/>
              <a:gd name="connsiteX36" fmla="*/ 1 w 12190413"/>
              <a:gd name="connsiteY36" fmla="*/ 3097698 h 3406586"/>
              <a:gd name="connsiteX37" fmla="*/ 0 w 12190413"/>
              <a:gd name="connsiteY37" fmla="*/ 3097676 h 3406586"/>
              <a:gd name="connsiteX38" fmla="*/ 0 w 12190413"/>
              <a:gd name="connsiteY38" fmla="*/ 0 h 3406586"/>
              <a:gd name="connsiteX0" fmla="*/ 0 w 12190413"/>
              <a:gd name="connsiteY0" fmla="*/ 0 h 3406586"/>
              <a:gd name="connsiteX1" fmla="*/ 12190413 w 12190413"/>
              <a:gd name="connsiteY1" fmla="*/ 0 h 3406586"/>
              <a:gd name="connsiteX2" fmla="*/ 12190413 w 12190413"/>
              <a:gd name="connsiteY2" fmla="*/ 1563230 h 3406586"/>
              <a:gd name="connsiteX3" fmla="*/ 12190412 w 12190413"/>
              <a:gd name="connsiteY3" fmla="*/ 3126460 h 3406586"/>
              <a:gd name="connsiteX4" fmla="*/ 12188206 w 12190413"/>
              <a:gd name="connsiteY4" fmla="*/ 3125946 h 3406586"/>
              <a:gd name="connsiteX5" fmla="*/ 12188206 w 12190413"/>
              <a:gd name="connsiteY5" fmla="*/ 3119321 h 3406586"/>
              <a:gd name="connsiteX6" fmla="*/ 12032390 w 12190413"/>
              <a:gd name="connsiteY6" fmla="*/ 3089643 h 3406586"/>
              <a:gd name="connsiteX7" fmla="*/ 11853287 w 12190413"/>
              <a:gd name="connsiteY7" fmla="*/ 3047915 h 3406586"/>
              <a:gd name="connsiteX8" fmla="*/ 9474399 w 12190413"/>
              <a:gd name="connsiteY8" fmla="*/ 2814917 h 3406586"/>
              <a:gd name="connsiteX9" fmla="*/ 9363219 w 12190413"/>
              <a:gd name="connsiteY9" fmla="*/ 2815958 h 3406586"/>
              <a:gd name="connsiteX10" fmla="*/ 9336724 w 12190413"/>
              <a:gd name="connsiteY10" fmla="*/ 2815490 h 3406586"/>
              <a:gd name="connsiteX11" fmla="*/ 9141154 w 12190413"/>
              <a:gd name="connsiteY11" fmla="*/ 2815490 h 3406586"/>
              <a:gd name="connsiteX12" fmla="*/ 8943837 w 12190413"/>
              <a:gd name="connsiteY12" fmla="*/ 2815489 h 3406586"/>
              <a:gd name="connsiteX13" fmla="*/ 8746521 w 12190413"/>
              <a:gd name="connsiteY13" fmla="*/ 2818982 h 3406586"/>
              <a:gd name="connsiteX14" fmla="*/ 8552697 w 12190413"/>
              <a:gd name="connsiteY14" fmla="*/ 2824221 h 3406586"/>
              <a:gd name="connsiteX15" fmla="*/ 8357128 w 12190413"/>
              <a:gd name="connsiteY15" fmla="*/ 2834697 h 3406586"/>
              <a:gd name="connsiteX16" fmla="*/ 8163303 w 12190413"/>
              <a:gd name="connsiteY16" fmla="*/ 2846920 h 3406586"/>
              <a:gd name="connsiteX17" fmla="*/ 7972972 w 12190413"/>
              <a:gd name="connsiteY17" fmla="*/ 2859144 h 3406586"/>
              <a:gd name="connsiteX18" fmla="*/ 7779149 w 12190413"/>
              <a:gd name="connsiteY18" fmla="*/ 2874858 h 3406586"/>
              <a:gd name="connsiteX19" fmla="*/ 7587072 w 12190413"/>
              <a:gd name="connsiteY19" fmla="*/ 2894066 h 3406586"/>
              <a:gd name="connsiteX20" fmla="*/ 7396738 w 12190413"/>
              <a:gd name="connsiteY20" fmla="*/ 2916766 h 3406586"/>
              <a:gd name="connsiteX21" fmla="*/ 7209903 w 12190413"/>
              <a:gd name="connsiteY21" fmla="*/ 2939466 h 3406586"/>
              <a:gd name="connsiteX22" fmla="*/ 7019571 w 12190413"/>
              <a:gd name="connsiteY22" fmla="*/ 2963913 h 3406586"/>
              <a:gd name="connsiteX23" fmla="*/ 6853019 w 12190413"/>
              <a:gd name="connsiteY23" fmla="*/ 2990374 h 3406586"/>
              <a:gd name="connsiteX24" fmla="*/ 6718666 w 12190413"/>
              <a:gd name="connsiteY24" fmla="*/ 3007620 h 3406586"/>
              <a:gd name="connsiteX25" fmla="*/ 6545441 w 12190413"/>
              <a:gd name="connsiteY25" fmla="*/ 3036817 h 3406586"/>
              <a:gd name="connsiteX26" fmla="*/ 6460798 w 12190413"/>
              <a:gd name="connsiteY26" fmla="*/ 3049475 h 3406586"/>
              <a:gd name="connsiteX27" fmla="*/ 6387367 w 12190413"/>
              <a:gd name="connsiteY27" fmla="*/ 3063462 h 3406586"/>
              <a:gd name="connsiteX28" fmla="*/ 6041160 w 12190413"/>
              <a:gd name="connsiteY28" fmla="*/ 3121816 h 3406586"/>
              <a:gd name="connsiteX29" fmla="*/ 5887321 w 12190413"/>
              <a:gd name="connsiteY29" fmla="*/ 3154127 h 3406586"/>
              <a:gd name="connsiteX30" fmla="*/ 5857713 w 12190413"/>
              <a:gd name="connsiteY30" fmla="*/ 3159113 h 3406586"/>
              <a:gd name="connsiteX31" fmla="*/ 1438219 w 12190413"/>
              <a:gd name="connsiteY31" fmla="*/ 3342542 h 3406586"/>
              <a:gd name="connsiteX32" fmla="*/ 1112913 w 12190413"/>
              <a:gd name="connsiteY32" fmla="*/ 3306015 h 3406586"/>
              <a:gd name="connsiteX33" fmla="*/ 1063194 w 12190413"/>
              <a:gd name="connsiteY33" fmla="*/ 3299628 h 3406586"/>
              <a:gd name="connsiteX34" fmla="*/ 750855 w 12190413"/>
              <a:gd name="connsiteY34" fmla="*/ 3254655 h 3406586"/>
              <a:gd name="connsiteX35" fmla="*/ 268553 w 12190413"/>
              <a:gd name="connsiteY35" fmla="*/ 3164158 h 3406586"/>
              <a:gd name="connsiteX36" fmla="*/ 1 w 12190413"/>
              <a:gd name="connsiteY36" fmla="*/ 3097698 h 3406586"/>
              <a:gd name="connsiteX37" fmla="*/ 0 w 12190413"/>
              <a:gd name="connsiteY37" fmla="*/ 3097676 h 3406586"/>
              <a:gd name="connsiteX38" fmla="*/ 91440 w 12190413"/>
              <a:gd name="connsiteY38" fmla="*/ 91440 h 3406586"/>
              <a:gd name="connsiteX0" fmla="*/ 0 w 12190413"/>
              <a:gd name="connsiteY0" fmla="*/ 0 h 3406586"/>
              <a:gd name="connsiteX1" fmla="*/ 12190413 w 12190413"/>
              <a:gd name="connsiteY1" fmla="*/ 0 h 3406586"/>
              <a:gd name="connsiteX2" fmla="*/ 12190413 w 12190413"/>
              <a:gd name="connsiteY2" fmla="*/ 1563230 h 3406586"/>
              <a:gd name="connsiteX3" fmla="*/ 12190412 w 12190413"/>
              <a:gd name="connsiteY3" fmla="*/ 3126460 h 3406586"/>
              <a:gd name="connsiteX4" fmla="*/ 12188206 w 12190413"/>
              <a:gd name="connsiteY4" fmla="*/ 3125946 h 3406586"/>
              <a:gd name="connsiteX5" fmla="*/ 12188206 w 12190413"/>
              <a:gd name="connsiteY5" fmla="*/ 3119321 h 3406586"/>
              <a:gd name="connsiteX6" fmla="*/ 12032390 w 12190413"/>
              <a:gd name="connsiteY6" fmla="*/ 3089643 h 3406586"/>
              <a:gd name="connsiteX7" fmla="*/ 11853287 w 12190413"/>
              <a:gd name="connsiteY7" fmla="*/ 3047915 h 3406586"/>
              <a:gd name="connsiteX8" fmla="*/ 9474399 w 12190413"/>
              <a:gd name="connsiteY8" fmla="*/ 2814917 h 3406586"/>
              <a:gd name="connsiteX9" fmla="*/ 9363219 w 12190413"/>
              <a:gd name="connsiteY9" fmla="*/ 2815958 h 3406586"/>
              <a:gd name="connsiteX10" fmla="*/ 9336724 w 12190413"/>
              <a:gd name="connsiteY10" fmla="*/ 2815490 h 3406586"/>
              <a:gd name="connsiteX11" fmla="*/ 9141154 w 12190413"/>
              <a:gd name="connsiteY11" fmla="*/ 2815490 h 3406586"/>
              <a:gd name="connsiteX12" fmla="*/ 8943837 w 12190413"/>
              <a:gd name="connsiteY12" fmla="*/ 2815489 h 3406586"/>
              <a:gd name="connsiteX13" fmla="*/ 8746521 w 12190413"/>
              <a:gd name="connsiteY13" fmla="*/ 2818982 h 3406586"/>
              <a:gd name="connsiteX14" fmla="*/ 8552697 w 12190413"/>
              <a:gd name="connsiteY14" fmla="*/ 2824221 h 3406586"/>
              <a:gd name="connsiteX15" fmla="*/ 8357128 w 12190413"/>
              <a:gd name="connsiteY15" fmla="*/ 2834697 h 3406586"/>
              <a:gd name="connsiteX16" fmla="*/ 8163303 w 12190413"/>
              <a:gd name="connsiteY16" fmla="*/ 2846920 h 3406586"/>
              <a:gd name="connsiteX17" fmla="*/ 7972972 w 12190413"/>
              <a:gd name="connsiteY17" fmla="*/ 2859144 h 3406586"/>
              <a:gd name="connsiteX18" fmla="*/ 7779149 w 12190413"/>
              <a:gd name="connsiteY18" fmla="*/ 2874858 h 3406586"/>
              <a:gd name="connsiteX19" fmla="*/ 7587072 w 12190413"/>
              <a:gd name="connsiteY19" fmla="*/ 2894066 h 3406586"/>
              <a:gd name="connsiteX20" fmla="*/ 7396738 w 12190413"/>
              <a:gd name="connsiteY20" fmla="*/ 2916766 h 3406586"/>
              <a:gd name="connsiteX21" fmla="*/ 7209903 w 12190413"/>
              <a:gd name="connsiteY21" fmla="*/ 2939466 h 3406586"/>
              <a:gd name="connsiteX22" fmla="*/ 7019571 w 12190413"/>
              <a:gd name="connsiteY22" fmla="*/ 2963913 h 3406586"/>
              <a:gd name="connsiteX23" fmla="*/ 6853019 w 12190413"/>
              <a:gd name="connsiteY23" fmla="*/ 2990374 h 3406586"/>
              <a:gd name="connsiteX24" fmla="*/ 6718666 w 12190413"/>
              <a:gd name="connsiteY24" fmla="*/ 3007620 h 3406586"/>
              <a:gd name="connsiteX25" fmla="*/ 6545441 w 12190413"/>
              <a:gd name="connsiteY25" fmla="*/ 3036817 h 3406586"/>
              <a:gd name="connsiteX26" fmla="*/ 6460798 w 12190413"/>
              <a:gd name="connsiteY26" fmla="*/ 3049475 h 3406586"/>
              <a:gd name="connsiteX27" fmla="*/ 6387367 w 12190413"/>
              <a:gd name="connsiteY27" fmla="*/ 3063462 h 3406586"/>
              <a:gd name="connsiteX28" fmla="*/ 6041160 w 12190413"/>
              <a:gd name="connsiteY28" fmla="*/ 3121816 h 3406586"/>
              <a:gd name="connsiteX29" fmla="*/ 5887321 w 12190413"/>
              <a:gd name="connsiteY29" fmla="*/ 3154127 h 3406586"/>
              <a:gd name="connsiteX30" fmla="*/ 5857713 w 12190413"/>
              <a:gd name="connsiteY30" fmla="*/ 3159113 h 3406586"/>
              <a:gd name="connsiteX31" fmla="*/ 1438219 w 12190413"/>
              <a:gd name="connsiteY31" fmla="*/ 3342542 h 3406586"/>
              <a:gd name="connsiteX32" fmla="*/ 1112913 w 12190413"/>
              <a:gd name="connsiteY32" fmla="*/ 3306015 h 3406586"/>
              <a:gd name="connsiteX33" fmla="*/ 1063194 w 12190413"/>
              <a:gd name="connsiteY33" fmla="*/ 3299628 h 3406586"/>
              <a:gd name="connsiteX34" fmla="*/ 750855 w 12190413"/>
              <a:gd name="connsiteY34" fmla="*/ 3254655 h 3406586"/>
              <a:gd name="connsiteX35" fmla="*/ 268553 w 12190413"/>
              <a:gd name="connsiteY35" fmla="*/ 3164158 h 3406586"/>
              <a:gd name="connsiteX36" fmla="*/ 1 w 12190413"/>
              <a:gd name="connsiteY36" fmla="*/ 3097698 h 3406586"/>
              <a:gd name="connsiteX37" fmla="*/ 0 w 12190413"/>
              <a:gd name="connsiteY37" fmla="*/ 3097676 h 3406586"/>
              <a:gd name="connsiteX0" fmla="*/ 12190413 w 12190413"/>
              <a:gd name="connsiteY0" fmla="*/ 0 h 3406586"/>
              <a:gd name="connsiteX1" fmla="*/ 12190413 w 12190413"/>
              <a:gd name="connsiteY1" fmla="*/ 1563230 h 3406586"/>
              <a:gd name="connsiteX2" fmla="*/ 12190412 w 12190413"/>
              <a:gd name="connsiteY2" fmla="*/ 3126460 h 3406586"/>
              <a:gd name="connsiteX3" fmla="*/ 12188206 w 12190413"/>
              <a:gd name="connsiteY3" fmla="*/ 3125946 h 3406586"/>
              <a:gd name="connsiteX4" fmla="*/ 12188206 w 12190413"/>
              <a:gd name="connsiteY4" fmla="*/ 3119321 h 3406586"/>
              <a:gd name="connsiteX5" fmla="*/ 12032390 w 12190413"/>
              <a:gd name="connsiteY5" fmla="*/ 3089643 h 3406586"/>
              <a:gd name="connsiteX6" fmla="*/ 11853287 w 12190413"/>
              <a:gd name="connsiteY6" fmla="*/ 3047915 h 3406586"/>
              <a:gd name="connsiteX7" fmla="*/ 9474399 w 12190413"/>
              <a:gd name="connsiteY7" fmla="*/ 2814917 h 3406586"/>
              <a:gd name="connsiteX8" fmla="*/ 9363219 w 12190413"/>
              <a:gd name="connsiteY8" fmla="*/ 2815958 h 3406586"/>
              <a:gd name="connsiteX9" fmla="*/ 9336724 w 12190413"/>
              <a:gd name="connsiteY9" fmla="*/ 2815490 h 3406586"/>
              <a:gd name="connsiteX10" fmla="*/ 9141154 w 12190413"/>
              <a:gd name="connsiteY10" fmla="*/ 2815490 h 3406586"/>
              <a:gd name="connsiteX11" fmla="*/ 8943837 w 12190413"/>
              <a:gd name="connsiteY11" fmla="*/ 2815489 h 3406586"/>
              <a:gd name="connsiteX12" fmla="*/ 8746521 w 12190413"/>
              <a:gd name="connsiteY12" fmla="*/ 2818982 h 3406586"/>
              <a:gd name="connsiteX13" fmla="*/ 8552697 w 12190413"/>
              <a:gd name="connsiteY13" fmla="*/ 2824221 h 3406586"/>
              <a:gd name="connsiteX14" fmla="*/ 8357128 w 12190413"/>
              <a:gd name="connsiteY14" fmla="*/ 2834697 h 3406586"/>
              <a:gd name="connsiteX15" fmla="*/ 8163303 w 12190413"/>
              <a:gd name="connsiteY15" fmla="*/ 2846920 h 3406586"/>
              <a:gd name="connsiteX16" fmla="*/ 7972972 w 12190413"/>
              <a:gd name="connsiteY16" fmla="*/ 2859144 h 3406586"/>
              <a:gd name="connsiteX17" fmla="*/ 7779149 w 12190413"/>
              <a:gd name="connsiteY17" fmla="*/ 2874858 h 3406586"/>
              <a:gd name="connsiteX18" fmla="*/ 7587072 w 12190413"/>
              <a:gd name="connsiteY18" fmla="*/ 2894066 h 3406586"/>
              <a:gd name="connsiteX19" fmla="*/ 7396738 w 12190413"/>
              <a:gd name="connsiteY19" fmla="*/ 2916766 h 3406586"/>
              <a:gd name="connsiteX20" fmla="*/ 7209903 w 12190413"/>
              <a:gd name="connsiteY20" fmla="*/ 2939466 h 3406586"/>
              <a:gd name="connsiteX21" fmla="*/ 7019571 w 12190413"/>
              <a:gd name="connsiteY21" fmla="*/ 2963913 h 3406586"/>
              <a:gd name="connsiteX22" fmla="*/ 6853019 w 12190413"/>
              <a:gd name="connsiteY22" fmla="*/ 2990374 h 3406586"/>
              <a:gd name="connsiteX23" fmla="*/ 6718666 w 12190413"/>
              <a:gd name="connsiteY23" fmla="*/ 3007620 h 3406586"/>
              <a:gd name="connsiteX24" fmla="*/ 6545441 w 12190413"/>
              <a:gd name="connsiteY24" fmla="*/ 3036817 h 3406586"/>
              <a:gd name="connsiteX25" fmla="*/ 6460798 w 12190413"/>
              <a:gd name="connsiteY25" fmla="*/ 3049475 h 3406586"/>
              <a:gd name="connsiteX26" fmla="*/ 6387367 w 12190413"/>
              <a:gd name="connsiteY26" fmla="*/ 3063462 h 3406586"/>
              <a:gd name="connsiteX27" fmla="*/ 6041160 w 12190413"/>
              <a:gd name="connsiteY27" fmla="*/ 3121816 h 3406586"/>
              <a:gd name="connsiteX28" fmla="*/ 5887321 w 12190413"/>
              <a:gd name="connsiteY28" fmla="*/ 3154127 h 3406586"/>
              <a:gd name="connsiteX29" fmla="*/ 5857713 w 12190413"/>
              <a:gd name="connsiteY29" fmla="*/ 3159113 h 3406586"/>
              <a:gd name="connsiteX30" fmla="*/ 1438219 w 12190413"/>
              <a:gd name="connsiteY30" fmla="*/ 3342542 h 3406586"/>
              <a:gd name="connsiteX31" fmla="*/ 1112913 w 12190413"/>
              <a:gd name="connsiteY31" fmla="*/ 3306015 h 3406586"/>
              <a:gd name="connsiteX32" fmla="*/ 1063194 w 12190413"/>
              <a:gd name="connsiteY32" fmla="*/ 3299628 h 3406586"/>
              <a:gd name="connsiteX33" fmla="*/ 750855 w 12190413"/>
              <a:gd name="connsiteY33" fmla="*/ 3254655 h 3406586"/>
              <a:gd name="connsiteX34" fmla="*/ 268553 w 12190413"/>
              <a:gd name="connsiteY34" fmla="*/ 3164158 h 3406586"/>
              <a:gd name="connsiteX35" fmla="*/ 1 w 12190413"/>
              <a:gd name="connsiteY35" fmla="*/ 3097698 h 3406586"/>
              <a:gd name="connsiteX36" fmla="*/ 0 w 12190413"/>
              <a:gd name="connsiteY36" fmla="*/ 3097676 h 3406586"/>
              <a:gd name="connsiteX0" fmla="*/ 12190413 w 12190413"/>
              <a:gd name="connsiteY0" fmla="*/ 0 h 1843356"/>
              <a:gd name="connsiteX1" fmla="*/ 12190412 w 12190413"/>
              <a:gd name="connsiteY1" fmla="*/ 1563230 h 1843356"/>
              <a:gd name="connsiteX2" fmla="*/ 12188206 w 12190413"/>
              <a:gd name="connsiteY2" fmla="*/ 1562716 h 1843356"/>
              <a:gd name="connsiteX3" fmla="*/ 12188206 w 12190413"/>
              <a:gd name="connsiteY3" fmla="*/ 1556091 h 1843356"/>
              <a:gd name="connsiteX4" fmla="*/ 12032390 w 12190413"/>
              <a:gd name="connsiteY4" fmla="*/ 1526413 h 1843356"/>
              <a:gd name="connsiteX5" fmla="*/ 11853287 w 12190413"/>
              <a:gd name="connsiteY5" fmla="*/ 1484685 h 1843356"/>
              <a:gd name="connsiteX6" fmla="*/ 9474399 w 12190413"/>
              <a:gd name="connsiteY6" fmla="*/ 1251687 h 1843356"/>
              <a:gd name="connsiteX7" fmla="*/ 9363219 w 12190413"/>
              <a:gd name="connsiteY7" fmla="*/ 1252728 h 1843356"/>
              <a:gd name="connsiteX8" fmla="*/ 9336724 w 12190413"/>
              <a:gd name="connsiteY8" fmla="*/ 1252260 h 1843356"/>
              <a:gd name="connsiteX9" fmla="*/ 9141154 w 12190413"/>
              <a:gd name="connsiteY9" fmla="*/ 1252260 h 1843356"/>
              <a:gd name="connsiteX10" fmla="*/ 8943837 w 12190413"/>
              <a:gd name="connsiteY10" fmla="*/ 1252259 h 1843356"/>
              <a:gd name="connsiteX11" fmla="*/ 8746521 w 12190413"/>
              <a:gd name="connsiteY11" fmla="*/ 1255752 h 1843356"/>
              <a:gd name="connsiteX12" fmla="*/ 8552697 w 12190413"/>
              <a:gd name="connsiteY12" fmla="*/ 1260991 h 1843356"/>
              <a:gd name="connsiteX13" fmla="*/ 8357128 w 12190413"/>
              <a:gd name="connsiteY13" fmla="*/ 1271467 h 1843356"/>
              <a:gd name="connsiteX14" fmla="*/ 8163303 w 12190413"/>
              <a:gd name="connsiteY14" fmla="*/ 1283690 h 1843356"/>
              <a:gd name="connsiteX15" fmla="*/ 7972972 w 12190413"/>
              <a:gd name="connsiteY15" fmla="*/ 1295914 h 1843356"/>
              <a:gd name="connsiteX16" fmla="*/ 7779149 w 12190413"/>
              <a:gd name="connsiteY16" fmla="*/ 1311628 h 1843356"/>
              <a:gd name="connsiteX17" fmla="*/ 7587072 w 12190413"/>
              <a:gd name="connsiteY17" fmla="*/ 1330836 h 1843356"/>
              <a:gd name="connsiteX18" fmla="*/ 7396738 w 12190413"/>
              <a:gd name="connsiteY18" fmla="*/ 1353536 h 1843356"/>
              <a:gd name="connsiteX19" fmla="*/ 7209903 w 12190413"/>
              <a:gd name="connsiteY19" fmla="*/ 1376236 h 1843356"/>
              <a:gd name="connsiteX20" fmla="*/ 7019571 w 12190413"/>
              <a:gd name="connsiteY20" fmla="*/ 1400683 h 1843356"/>
              <a:gd name="connsiteX21" fmla="*/ 6853019 w 12190413"/>
              <a:gd name="connsiteY21" fmla="*/ 1427144 h 1843356"/>
              <a:gd name="connsiteX22" fmla="*/ 6718666 w 12190413"/>
              <a:gd name="connsiteY22" fmla="*/ 1444390 h 1843356"/>
              <a:gd name="connsiteX23" fmla="*/ 6545441 w 12190413"/>
              <a:gd name="connsiteY23" fmla="*/ 1473587 h 1843356"/>
              <a:gd name="connsiteX24" fmla="*/ 6460798 w 12190413"/>
              <a:gd name="connsiteY24" fmla="*/ 1486245 h 1843356"/>
              <a:gd name="connsiteX25" fmla="*/ 6387367 w 12190413"/>
              <a:gd name="connsiteY25" fmla="*/ 1500232 h 1843356"/>
              <a:gd name="connsiteX26" fmla="*/ 6041160 w 12190413"/>
              <a:gd name="connsiteY26" fmla="*/ 1558586 h 1843356"/>
              <a:gd name="connsiteX27" fmla="*/ 5887321 w 12190413"/>
              <a:gd name="connsiteY27" fmla="*/ 1590897 h 1843356"/>
              <a:gd name="connsiteX28" fmla="*/ 5857713 w 12190413"/>
              <a:gd name="connsiteY28" fmla="*/ 1595883 h 1843356"/>
              <a:gd name="connsiteX29" fmla="*/ 1438219 w 12190413"/>
              <a:gd name="connsiteY29" fmla="*/ 1779312 h 1843356"/>
              <a:gd name="connsiteX30" fmla="*/ 1112913 w 12190413"/>
              <a:gd name="connsiteY30" fmla="*/ 1742785 h 1843356"/>
              <a:gd name="connsiteX31" fmla="*/ 1063194 w 12190413"/>
              <a:gd name="connsiteY31" fmla="*/ 1736398 h 1843356"/>
              <a:gd name="connsiteX32" fmla="*/ 750855 w 12190413"/>
              <a:gd name="connsiteY32" fmla="*/ 1691425 h 1843356"/>
              <a:gd name="connsiteX33" fmla="*/ 268553 w 12190413"/>
              <a:gd name="connsiteY33" fmla="*/ 1600928 h 1843356"/>
              <a:gd name="connsiteX34" fmla="*/ 1 w 12190413"/>
              <a:gd name="connsiteY34" fmla="*/ 1534468 h 1843356"/>
              <a:gd name="connsiteX35" fmla="*/ 0 w 12190413"/>
              <a:gd name="connsiteY35" fmla="*/ 1534446 h 1843356"/>
              <a:gd name="connsiteX0" fmla="*/ 12190412 w 12190412"/>
              <a:gd name="connsiteY0" fmla="*/ 311543 h 591669"/>
              <a:gd name="connsiteX1" fmla="*/ 12188206 w 12190412"/>
              <a:gd name="connsiteY1" fmla="*/ 311029 h 591669"/>
              <a:gd name="connsiteX2" fmla="*/ 12188206 w 12190412"/>
              <a:gd name="connsiteY2" fmla="*/ 304404 h 591669"/>
              <a:gd name="connsiteX3" fmla="*/ 12032390 w 12190412"/>
              <a:gd name="connsiteY3" fmla="*/ 274726 h 591669"/>
              <a:gd name="connsiteX4" fmla="*/ 11853287 w 12190412"/>
              <a:gd name="connsiteY4" fmla="*/ 232998 h 591669"/>
              <a:gd name="connsiteX5" fmla="*/ 9474399 w 12190412"/>
              <a:gd name="connsiteY5" fmla="*/ 0 h 591669"/>
              <a:gd name="connsiteX6" fmla="*/ 9363219 w 12190412"/>
              <a:gd name="connsiteY6" fmla="*/ 1041 h 591669"/>
              <a:gd name="connsiteX7" fmla="*/ 9336724 w 12190412"/>
              <a:gd name="connsiteY7" fmla="*/ 573 h 591669"/>
              <a:gd name="connsiteX8" fmla="*/ 9141154 w 12190412"/>
              <a:gd name="connsiteY8" fmla="*/ 573 h 591669"/>
              <a:gd name="connsiteX9" fmla="*/ 8943837 w 12190412"/>
              <a:gd name="connsiteY9" fmla="*/ 572 h 591669"/>
              <a:gd name="connsiteX10" fmla="*/ 8746521 w 12190412"/>
              <a:gd name="connsiteY10" fmla="*/ 4065 h 591669"/>
              <a:gd name="connsiteX11" fmla="*/ 8552697 w 12190412"/>
              <a:gd name="connsiteY11" fmla="*/ 9304 h 591669"/>
              <a:gd name="connsiteX12" fmla="*/ 8357128 w 12190412"/>
              <a:gd name="connsiteY12" fmla="*/ 19780 h 591669"/>
              <a:gd name="connsiteX13" fmla="*/ 8163303 w 12190412"/>
              <a:gd name="connsiteY13" fmla="*/ 32003 h 591669"/>
              <a:gd name="connsiteX14" fmla="*/ 7972972 w 12190412"/>
              <a:gd name="connsiteY14" fmla="*/ 44227 h 591669"/>
              <a:gd name="connsiteX15" fmla="*/ 7779149 w 12190412"/>
              <a:gd name="connsiteY15" fmla="*/ 59941 h 591669"/>
              <a:gd name="connsiteX16" fmla="*/ 7587072 w 12190412"/>
              <a:gd name="connsiteY16" fmla="*/ 79149 h 591669"/>
              <a:gd name="connsiteX17" fmla="*/ 7396738 w 12190412"/>
              <a:gd name="connsiteY17" fmla="*/ 101849 h 591669"/>
              <a:gd name="connsiteX18" fmla="*/ 7209903 w 12190412"/>
              <a:gd name="connsiteY18" fmla="*/ 124549 h 591669"/>
              <a:gd name="connsiteX19" fmla="*/ 7019571 w 12190412"/>
              <a:gd name="connsiteY19" fmla="*/ 148996 h 591669"/>
              <a:gd name="connsiteX20" fmla="*/ 6853019 w 12190412"/>
              <a:gd name="connsiteY20" fmla="*/ 175457 h 591669"/>
              <a:gd name="connsiteX21" fmla="*/ 6718666 w 12190412"/>
              <a:gd name="connsiteY21" fmla="*/ 192703 h 591669"/>
              <a:gd name="connsiteX22" fmla="*/ 6545441 w 12190412"/>
              <a:gd name="connsiteY22" fmla="*/ 221900 h 591669"/>
              <a:gd name="connsiteX23" fmla="*/ 6460798 w 12190412"/>
              <a:gd name="connsiteY23" fmla="*/ 234558 h 591669"/>
              <a:gd name="connsiteX24" fmla="*/ 6387367 w 12190412"/>
              <a:gd name="connsiteY24" fmla="*/ 248545 h 591669"/>
              <a:gd name="connsiteX25" fmla="*/ 6041160 w 12190412"/>
              <a:gd name="connsiteY25" fmla="*/ 306899 h 591669"/>
              <a:gd name="connsiteX26" fmla="*/ 5887321 w 12190412"/>
              <a:gd name="connsiteY26" fmla="*/ 339210 h 591669"/>
              <a:gd name="connsiteX27" fmla="*/ 5857713 w 12190412"/>
              <a:gd name="connsiteY27" fmla="*/ 344196 h 591669"/>
              <a:gd name="connsiteX28" fmla="*/ 1438219 w 12190412"/>
              <a:gd name="connsiteY28" fmla="*/ 527625 h 591669"/>
              <a:gd name="connsiteX29" fmla="*/ 1112913 w 12190412"/>
              <a:gd name="connsiteY29" fmla="*/ 491098 h 591669"/>
              <a:gd name="connsiteX30" fmla="*/ 1063194 w 12190412"/>
              <a:gd name="connsiteY30" fmla="*/ 484711 h 591669"/>
              <a:gd name="connsiteX31" fmla="*/ 750855 w 12190412"/>
              <a:gd name="connsiteY31" fmla="*/ 439738 h 591669"/>
              <a:gd name="connsiteX32" fmla="*/ 268553 w 12190412"/>
              <a:gd name="connsiteY32" fmla="*/ 349241 h 591669"/>
              <a:gd name="connsiteX33" fmla="*/ 1 w 12190412"/>
              <a:gd name="connsiteY33" fmla="*/ 282781 h 591669"/>
              <a:gd name="connsiteX34" fmla="*/ 0 w 12190412"/>
              <a:gd name="connsiteY34" fmla="*/ 282759 h 591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2190412" h="591669">
                <a:moveTo>
                  <a:pt x="12190412" y="311543"/>
                </a:moveTo>
                <a:lnTo>
                  <a:pt x="12188206" y="311029"/>
                </a:lnTo>
                <a:lnTo>
                  <a:pt x="12188206" y="304404"/>
                </a:lnTo>
                <a:lnTo>
                  <a:pt x="12032390" y="274726"/>
                </a:lnTo>
                <a:lnTo>
                  <a:pt x="11853287" y="232998"/>
                </a:lnTo>
                <a:cubicBezTo>
                  <a:pt x="11151505" y="90802"/>
                  <a:pt x="10345755" y="9736"/>
                  <a:pt x="9474399" y="0"/>
                </a:cubicBezTo>
                <a:lnTo>
                  <a:pt x="9363219" y="1041"/>
                </a:lnTo>
                <a:lnTo>
                  <a:pt x="9336724" y="573"/>
                </a:lnTo>
                <a:lnTo>
                  <a:pt x="9141154" y="573"/>
                </a:lnTo>
                <a:lnTo>
                  <a:pt x="8943837" y="572"/>
                </a:lnTo>
                <a:lnTo>
                  <a:pt x="8746521" y="4065"/>
                </a:lnTo>
                <a:lnTo>
                  <a:pt x="8552697" y="9304"/>
                </a:lnTo>
                <a:lnTo>
                  <a:pt x="8357128" y="19780"/>
                </a:lnTo>
                <a:lnTo>
                  <a:pt x="8163303" y="32003"/>
                </a:lnTo>
                <a:lnTo>
                  <a:pt x="7972972" y="44227"/>
                </a:lnTo>
                <a:lnTo>
                  <a:pt x="7779149" y="59941"/>
                </a:lnTo>
                <a:lnTo>
                  <a:pt x="7587072" y="79149"/>
                </a:lnTo>
                <a:lnTo>
                  <a:pt x="7396738" y="101849"/>
                </a:lnTo>
                <a:lnTo>
                  <a:pt x="7209903" y="124549"/>
                </a:lnTo>
                <a:lnTo>
                  <a:pt x="7019571" y="148996"/>
                </a:lnTo>
                <a:lnTo>
                  <a:pt x="6853019" y="175457"/>
                </a:lnTo>
                <a:lnTo>
                  <a:pt x="6718666" y="192703"/>
                </a:lnTo>
                <a:lnTo>
                  <a:pt x="6545441" y="221900"/>
                </a:lnTo>
                <a:lnTo>
                  <a:pt x="6460798" y="234558"/>
                </a:lnTo>
                <a:lnTo>
                  <a:pt x="6387367" y="248545"/>
                </a:lnTo>
                <a:lnTo>
                  <a:pt x="6041160" y="306899"/>
                </a:lnTo>
                <a:lnTo>
                  <a:pt x="5887321" y="339210"/>
                </a:lnTo>
                <a:lnTo>
                  <a:pt x="5857713" y="344196"/>
                </a:lnTo>
                <a:cubicBezTo>
                  <a:pt x="4271557" y="592719"/>
                  <a:pt x="2741498" y="654449"/>
                  <a:pt x="1438219" y="527625"/>
                </a:cubicBezTo>
                <a:lnTo>
                  <a:pt x="1112913" y="491098"/>
                </a:lnTo>
                <a:lnTo>
                  <a:pt x="1063194" y="484711"/>
                </a:lnTo>
                <a:lnTo>
                  <a:pt x="750855" y="439738"/>
                </a:lnTo>
                <a:cubicBezTo>
                  <a:pt x="585150" y="413086"/>
                  <a:pt x="424237" y="382922"/>
                  <a:pt x="268553" y="349241"/>
                </a:cubicBezTo>
                <a:lnTo>
                  <a:pt x="1" y="282781"/>
                </a:lnTo>
                <a:cubicBezTo>
                  <a:pt x="1" y="282774"/>
                  <a:pt x="0" y="282766"/>
                  <a:pt x="0" y="282759"/>
                </a:cubicBez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el 1"/>
          <p:cNvSpPr>
            <a:spLocks noGrp="1"/>
          </p:cNvSpPr>
          <p:nvPr>
            <p:ph type="ctrTitle" hasCustomPrompt="1"/>
          </p:nvPr>
        </p:nvSpPr>
        <p:spPr bwMode="gray">
          <a:xfrm>
            <a:off x="552048" y="3932953"/>
            <a:ext cx="11089443" cy="791817"/>
          </a:xfrm>
        </p:spPr>
        <p:txBody>
          <a:bodyPr/>
          <a:lstStyle>
            <a:lvl1pPr>
              <a:defRPr sz="3199" baseline="0">
                <a:solidFill>
                  <a:schemeClr val="accent1"/>
                </a:solidFill>
              </a:defRPr>
            </a:lvl1pPr>
          </a:lstStyle>
          <a:p>
            <a:r>
              <a:rPr lang="en-US" dirty="0"/>
              <a:t>Title »white« for internal Presentation 32pt</a:t>
            </a:r>
          </a:p>
        </p:txBody>
      </p:sp>
      <p:sp>
        <p:nvSpPr>
          <p:cNvPr id="3" name="Untertitel 2"/>
          <p:cNvSpPr>
            <a:spLocks noGrp="1"/>
          </p:cNvSpPr>
          <p:nvPr>
            <p:ph type="subTitle" idx="1" hasCustomPrompt="1"/>
          </p:nvPr>
        </p:nvSpPr>
        <p:spPr bwMode="gray">
          <a:xfrm>
            <a:off x="550508" y="4796639"/>
            <a:ext cx="11089443" cy="1152128"/>
          </a:xfrm>
        </p:spPr>
        <p:txBody>
          <a:bodyPr/>
          <a:lstStyle>
            <a:lvl1pPr marL="0" indent="0" algn="l">
              <a:buNone/>
              <a:defRPr sz="2000" cap="none" baseline="0">
                <a:solidFill>
                  <a:schemeClr val="accent1"/>
                </a:solidFill>
              </a:defRPr>
            </a:lvl1pPr>
            <a:lvl2pPr marL="0" indent="0" algn="l">
              <a:buNone/>
              <a:defRPr sz="2000">
                <a:solidFill>
                  <a:schemeClr val="accent1"/>
                </a:solidFill>
              </a:defRPr>
            </a:lvl2pPr>
            <a:lvl3pPr marL="0" indent="0" algn="l">
              <a:buNone/>
              <a:defRPr sz="2000">
                <a:solidFill>
                  <a:schemeClr val="accent1"/>
                </a:solidFill>
              </a:defRPr>
            </a:lvl3pPr>
            <a:lvl4pPr marL="0" indent="0" algn="l">
              <a:buNone/>
              <a:defRPr sz="2000">
                <a:solidFill>
                  <a:schemeClr val="accent1"/>
                </a:solidFill>
              </a:defRPr>
            </a:lvl4pPr>
            <a:lvl5pPr marL="0" indent="0" algn="l">
              <a:buNone/>
              <a:defRPr sz="2000">
                <a:solidFill>
                  <a:schemeClr val="accent1"/>
                </a:solidFill>
              </a:defRPr>
            </a:lvl5pPr>
            <a:lvl6pPr marL="0" indent="0" algn="l">
              <a:buNone/>
              <a:defRPr sz="2000">
                <a:solidFill>
                  <a:schemeClr val="accent1"/>
                </a:solidFill>
              </a:defRPr>
            </a:lvl6pPr>
            <a:lvl7pPr marL="0" indent="0" algn="l">
              <a:buNone/>
              <a:defRPr sz="2000">
                <a:solidFill>
                  <a:schemeClr val="accent1"/>
                </a:solidFill>
              </a:defRPr>
            </a:lvl7pPr>
            <a:lvl8pPr marL="0" indent="0" algn="l">
              <a:buNone/>
              <a:defRPr sz="2000">
                <a:solidFill>
                  <a:schemeClr val="accent1"/>
                </a:solidFill>
              </a:defRPr>
            </a:lvl8pPr>
            <a:lvl9pPr marL="0" indent="0" algn="l">
              <a:buNone/>
              <a:defRPr sz="2000">
                <a:solidFill>
                  <a:schemeClr val="accent1"/>
                </a:solidFill>
              </a:defRPr>
            </a:lvl9pPr>
          </a:lstStyle>
          <a:p>
            <a:pPr lvl="0"/>
            <a:r>
              <a:rPr lang="en-US" dirty="0"/>
              <a:t>Here is a Subheadline 20pt</a:t>
            </a:r>
          </a:p>
        </p:txBody>
      </p:sp>
      <p:sp>
        <p:nvSpPr>
          <p:cNvPr id="7" name="Datumsplatzhalter 6"/>
          <p:cNvSpPr>
            <a:spLocks noGrp="1"/>
          </p:cNvSpPr>
          <p:nvPr>
            <p:ph type="dt" sz="half" idx="11"/>
          </p:nvPr>
        </p:nvSpPr>
        <p:spPr bwMode="gray"/>
        <p:txBody>
          <a:bodyPr/>
          <a:lstStyle/>
          <a:p>
            <a:fld id="{D56941D4-8742-49A4-8DCF-217F12DF244B}" type="datetime1">
              <a:rPr lang="en-US"/>
              <a:t>10/22/2024</a:t>
            </a:fld>
            <a:endParaRPr lang="en-US" dirty="0"/>
          </a:p>
        </p:txBody>
      </p:sp>
      <p:sp>
        <p:nvSpPr>
          <p:cNvPr id="8" name="Fußzeilenplatzhalter 7"/>
          <p:cNvSpPr>
            <a:spLocks noGrp="1"/>
          </p:cNvSpPr>
          <p:nvPr>
            <p:ph type="ftr" sz="quarter" idx="12"/>
          </p:nvPr>
        </p:nvSpPr>
        <p:spPr bwMode="gray"/>
        <p:txBody>
          <a:bodyPr/>
          <a:lstStyle/>
          <a:p>
            <a:r>
              <a:rPr lang="en-US" dirty="0"/>
              <a:t>Please insert footnote</a:t>
            </a:r>
          </a:p>
        </p:txBody>
      </p:sp>
      <p:sp>
        <p:nvSpPr>
          <p:cNvPr id="9" name="Foliennummernplatzhalter 8"/>
          <p:cNvSpPr>
            <a:spLocks noGrp="1"/>
          </p:cNvSpPr>
          <p:nvPr>
            <p:ph type="sldNum" sz="quarter" idx="13"/>
          </p:nvPr>
        </p:nvSpPr>
        <p:spPr bwMode="gray"/>
        <p:txBody>
          <a:bodyPr/>
          <a:lstStyle/>
          <a:p>
            <a:fld id="{4915BD61-E5D5-4E4F-ADA0-6F3448AB9FA6}" type="slidenum">
              <a:rPr lang="en-US"/>
              <a:pPr/>
              <a:t>‹#›</a:t>
            </a:fld>
            <a:endParaRPr lang="en-US" dirty="0"/>
          </a:p>
        </p:txBody>
      </p:sp>
      <p:sp>
        <p:nvSpPr>
          <p:cNvPr id="12" name="Rechteck 11" hidden="1">
            <a:extLst>
              <a:ext uri="{FF2B5EF4-FFF2-40B4-BE49-F238E27FC236}">
                <a16:creationId xmlns:a16="http://schemas.microsoft.com/office/drawing/2014/main" id="{FD6211FE-EA04-4C6F-8426-A8589AFFCAD2}"/>
              </a:ext>
            </a:extLst>
          </p:cNvPr>
          <p:cNvSpPr/>
          <p:nvPr userDrawn="1">
            <p:custDataLst>
              <p:tags r:id="rId1"/>
            </p:custDataLst>
          </p:nvPr>
        </p:nvSpPr>
        <p:spPr>
          <a:xfrm>
            <a:off x="9192833" y="5997473"/>
            <a:ext cx="2999167" cy="860528"/>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Tree>
    <p:extLst>
      <p:ext uri="{BB962C8B-B14F-4D97-AF65-F5344CB8AC3E}">
        <p14:creationId xmlns:p14="http://schemas.microsoft.com/office/powerpoint/2010/main" val="127145910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Agenda overview">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550507" y="405280"/>
            <a:ext cx="11090132" cy="431900"/>
          </a:xfrm>
        </p:spPr>
        <p:txBody>
          <a:bodyPr/>
          <a:lstStyle>
            <a:lvl1pPr>
              <a:defRPr/>
            </a:lvl1pPr>
          </a:lstStyle>
          <a:p>
            <a:r>
              <a:rPr lang="en-US" dirty="0"/>
              <a:t>Agenda overview</a:t>
            </a:r>
          </a:p>
        </p:txBody>
      </p:sp>
      <p:sp>
        <p:nvSpPr>
          <p:cNvPr id="3" name="Datumsplatzhalter 2"/>
          <p:cNvSpPr>
            <a:spLocks noGrp="1"/>
          </p:cNvSpPr>
          <p:nvPr>
            <p:ph type="dt" sz="half" idx="10"/>
          </p:nvPr>
        </p:nvSpPr>
        <p:spPr bwMode="gray"/>
        <p:txBody>
          <a:bodyPr/>
          <a:lstStyle/>
          <a:p>
            <a:fld id="{220989C8-A2AE-42A8-BD0C-DCA8EFCB5274}" type="datetime1">
              <a:rPr lang="en-US"/>
              <a:t>10/22/2024</a:t>
            </a:fld>
            <a:endParaRPr lang="en-US" dirty="0"/>
          </a:p>
        </p:txBody>
      </p:sp>
      <p:sp>
        <p:nvSpPr>
          <p:cNvPr id="4" name="Fußzeilenplatzhalter 3"/>
          <p:cNvSpPr>
            <a:spLocks noGrp="1"/>
          </p:cNvSpPr>
          <p:nvPr>
            <p:ph type="ftr" sz="quarter" idx="11"/>
          </p:nvPr>
        </p:nvSpPr>
        <p:spPr bwMode="gray"/>
        <p:txBody>
          <a:bodyPr/>
          <a:lstStyle/>
          <a:p>
            <a:r>
              <a:rPr lang="en-US" dirty="0"/>
              <a:t>Please insert footnote</a:t>
            </a:r>
          </a:p>
        </p:txBody>
      </p:sp>
      <p:sp>
        <p:nvSpPr>
          <p:cNvPr id="5" name="Foliennummernplatzhalter 4"/>
          <p:cNvSpPr>
            <a:spLocks noGrp="1"/>
          </p:cNvSpPr>
          <p:nvPr>
            <p:ph type="sldNum" sz="quarter" idx="12"/>
          </p:nvPr>
        </p:nvSpPr>
        <p:spPr bwMode="gray"/>
        <p:txBody>
          <a:bodyPr/>
          <a:lstStyle/>
          <a:p>
            <a:fld id="{4915BD61-E5D5-4E4F-ADA0-6F3448AB9FA6}" type="slidenum">
              <a:rPr lang="en-US"/>
              <a:pPr/>
              <a:t>‹#›</a:t>
            </a:fld>
            <a:endParaRPr lang="en-US" dirty="0"/>
          </a:p>
        </p:txBody>
      </p:sp>
      <p:sp>
        <p:nvSpPr>
          <p:cNvPr id="10" name="Tabellenplatzhalter 9"/>
          <p:cNvSpPr>
            <a:spLocks noGrp="1"/>
          </p:cNvSpPr>
          <p:nvPr>
            <p:ph type="tbl" sz="quarter" idx="13" hasCustomPrompt="1"/>
          </p:nvPr>
        </p:nvSpPr>
        <p:spPr bwMode="gray">
          <a:xfrm>
            <a:off x="551360" y="1269200"/>
            <a:ext cx="11090132" cy="4678917"/>
          </a:xfrm>
        </p:spPr>
        <p:txBody>
          <a:bodyPr/>
          <a:lstStyle>
            <a:lvl1pPr>
              <a:defRPr cap="none" baseline="0"/>
            </a:lvl1pPr>
          </a:lstStyle>
          <a:p>
            <a:pPr lvl="0"/>
            <a:r>
              <a:rPr lang="en-US" dirty="0"/>
              <a:t> </a:t>
            </a:r>
          </a:p>
        </p:txBody>
      </p:sp>
      <p:sp>
        <p:nvSpPr>
          <p:cNvPr id="7" name="Rechteck 6" hidden="1">
            <a:extLst>
              <a:ext uri="{FF2B5EF4-FFF2-40B4-BE49-F238E27FC236}">
                <a16:creationId xmlns:a16="http://schemas.microsoft.com/office/drawing/2014/main" id="{D21D19DA-51CF-4E4E-A56C-501C13B328B4}"/>
              </a:ext>
            </a:extLst>
          </p:cNvPr>
          <p:cNvSpPr/>
          <p:nvPr userDrawn="1">
            <p:custDataLst>
              <p:tags r:id="rId1"/>
            </p:custDataLst>
          </p:nvPr>
        </p:nvSpPr>
        <p:spPr>
          <a:xfrm>
            <a:off x="9192833" y="5997473"/>
            <a:ext cx="2999167" cy="860528"/>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Tree>
    <p:extLst>
      <p:ext uri="{BB962C8B-B14F-4D97-AF65-F5344CB8AC3E}">
        <p14:creationId xmlns:p14="http://schemas.microsoft.com/office/powerpoint/2010/main" val="3950589280"/>
      </p:ext>
    </p:extLst>
  </p:cSld>
  <p:clrMapOvr>
    <a:masterClrMapping/>
  </p:clrMapOvr>
  <p:extLst>
    <p:ext uri="{DCECCB84-F9BA-43D5-87BE-67443E8EF086}">
      <p15:sldGuideLst xmlns:p15="http://schemas.microsoft.com/office/powerpoint/2012/main">
        <p15:guide id="1" orient="horz" pos="80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p:txBody>
          <a:bodyPr/>
          <a:lstStyle>
            <a:lvl1pPr>
              <a:defRPr>
                <a:solidFill>
                  <a:schemeClr val="accent1"/>
                </a:solidFill>
              </a:defRPr>
            </a:lvl1pPr>
          </a:lstStyle>
          <a:p>
            <a:r>
              <a:rPr lang="en-US" dirty="0"/>
              <a:t>Click to edit Master title style</a:t>
            </a:r>
          </a:p>
        </p:txBody>
      </p:sp>
      <p:sp>
        <p:nvSpPr>
          <p:cNvPr id="3" name="Datumsplatzhalter 2"/>
          <p:cNvSpPr>
            <a:spLocks noGrp="1"/>
          </p:cNvSpPr>
          <p:nvPr>
            <p:ph type="dt" sz="half" idx="10"/>
          </p:nvPr>
        </p:nvSpPr>
        <p:spPr bwMode="gray"/>
        <p:txBody>
          <a:bodyPr/>
          <a:lstStyle/>
          <a:p>
            <a:fld id="{7B03D767-768E-4DDC-B6C1-B091CCC0DA52}" type="datetime1">
              <a:rPr lang="en-US"/>
              <a:t>10/22/2024</a:t>
            </a:fld>
            <a:endParaRPr lang="en-US" dirty="0"/>
          </a:p>
        </p:txBody>
      </p:sp>
      <p:sp>
        <p:nvSpPr>
          <p:cNvPr id="4" name="Fußzeilenplatzhalter 3"/>
          <p:cNvSpPr>
            <a:spLocks noGrp="1"/>
          </p:cNvSpPr>
          <p:nvPr>
            <p:ph type="ftr" sz="quarter" idx="11"/>
          </p:nvPr>
        </p:nvSpPr>
        <p:spPr bwMode="gray"/>
        <p:txBody>
          <a:bodyPr/>
          <a:lstStyle/>
          <a:p>
            <a:r>
              <a:rPr lang="en-US" dirty="0"/>
              <a:t>Please insert footnote</a:t>
            </a:r>
          </a:p>
        </p:txBody>
      </p:sp>
      <p:sp>
        <p:nvSpPr>
          <p:cNvPr id="5" name="Foliennummernplatzhalter 4"/>
          <p:cNvSpPr>
            <a:spLocks noGrp="1"/>
          </p:cNvSpPr>
          <p:nvPr>
            <p:ph type="sldNum" sz="quarter" idx="12"/>
          </p:nvPr>
        </p:nvSpPr>
        <p:spPr bwMode="gray"/>
        <p:txBody>
          <a:bodyPr/>
          <a:lstStyle/>
          <a:p>
            <a:fld id="{4915BD61-E5D5-4E4F-ADA0-6F3448AB9FA6}" type="slidenum">
              <a:rPr lang="en-US"/>
              <a:pPr/>
              <a:t>‹#›</a:t>
            </a:fld>
            <a:endParaRPr lang="en-US" dirty="0"/>
          </a:p>
        </p:txBody>
      </p:sp>
      <p:sp>
        <p:nvSpPr>
          <p:cNvPr id="7" name="Textplatzhalter 6"/>
          <p:cNvSpPr>
            <a:spLocks noGrp="1"/>
          </p:cNvSpPr>
          <p:nvPr>
            <p:ph type="body" sz="quarter" idx="13" hasCustomPrompt="1"/>
          </p:nvPr>
        </p:nvSpPr>
        <p:spPr bwMode="gray">
          <a:xfrm>
            <a:off x="550935" y="982058"/>
            <a:ext cx="11090131" cy="503122"/>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accent1"/>
                </a:solidFill>
              </a:defRPr>
            </a:lvl7pPr>
            <a:lvl8pPr marL="0" indent="0">
              <a:buNone/>
              <a:defRPr sz="1800">
                <a:solidFill>
                  <a:schemeClr val="accent1"/>
                </a:solidFill>
              </a:defRPr>
            </a:lvl8pPr>
            <a:lvl9pPr marL="0" indent="0">
              <a:buNone/>
              <a:defRPr sz="1800">
                <a:solidFill>
                  <a:schemeClr val="accent1"/>
                </a:solidFill>
              </a:defRPr>
            </a:lvl9pPr>
          </a:lstStyle>
          <a:p>
            <a:pPr lvl="0"/>
            <a:r>
              <a:rPr lang="en-US" dirty="0"/>
              <a:t>Subheadline</a:t>
            </a:r>
          </a:p>
        </p:txBody>
      </p:sp>
      <p:sp>
        <p:nvSpPr>
          <p:cNvPr id="8" name="Rechteck 7" hidden="1">
            <a:extLst>
              <a:ext uri="{FF2B5EF4-FFF2-40B4-BE49-F238E27FC236}">
                <a16:creationId xmlns:a16="http://schemas.microsoft.com/office/drawing/2014/main" id="{E96582C2-B6D4-4C1E-A89B-A741ACDC1491}"/>
              </a:ext>
            </a:extLst>
          </p:cNvPr>
          <p:cNvSpPr/>
          <p:nvPr userDrawn="1">
            <p:custDataLst>
              <p:tags r:id="rId1"/>
            </p:custDataLst>
          </p:nvPr>
        </p:nvSpPr>
        <p:spPr>
          <a:xfrm>
            <a:off x="9192833" y="5997473"/>
            <a:ext cx="2999167" cy="860528"/>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Tree>
    <p:extLst>
      <p:ext uri="{BB962C8B-B14F-4D97-AF65-F5344CB8AC3E}">
        <p14:creationId xmlns:p14="http://schemas.microsoft.com/office/powerpoint/2010/main" val="264940645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6" name="Titel 5"/>
          <p:cNvSpPr>
            <a:spLocks noGrp="1"/>
          </p:cNvSpPr>
          <p:nvPr>
            <p:ph type="title" hasCustomPrompt="1"/>
          </p:nvPr>
        </p:nvSpPr>
        <p:spPr bwMode="gray">
          <a:xfrm>
            <a:off x="550508" y="405280"/>
            <a:ext cx="11088543" cy="431900"/>
          </a:xfrm>
        </p:spPr>
        <p:txBody>
          <a:bodyPr/>
          <a:lstStyle>
            <a:lvl1pPr>
              <a:defRPr baseline="0"/>
            </a:lvl1pPr>
          </a:lstStyle>
          <a:p>
            <a:r>
              <a:rPr lang="en-US" dirty="0"/>
              <a:t>Statement</a:t>
            </a:r>
          </a:p>
        </p:txBody>
      </p:sp>
      <p:sp>
        <p:nvSpPr>
          <p:cNvPr id="7" name="Datumsplatzhalter 6"/>
          <p:cNvSpPr>
            <a:spLocks noGrp="1"/>
          </p:cNvSpPr>
          <p:nvPr>
            <p:ph type="dt" sz="half" idx="10"/>
          </p:nvPr>
        </p:nvSpPr>
        <p:spPr bwMode="gray"/>
        <p:txBody>
          <a:bodyPr/>
          <a:lstStyle/>
          <a:p>
            <a:fld id="{8B5A13A2-29CF-4B74-A902-9FA524DF8AC0}" type="datetime1">
              <a:rPr lang="en-US"/>
              <a:t>10/22/2024</a:t>
            </a:fld>
            <a:endParaRPr lang="en-US" dirty="0"/>
          </a:p>
        </p:txBody>
      </p:sp>
      <p:sp>
        <p:nvSpPr>
          <p:cNvPr id="8" name="Fußzeilenplatzhalter 7"/>
          <p:cNvSpPr>
            <a:spLocks noGrp="1"/>
          </p:cNvSpPr>
          <p:nvPr>
            <p:ph type="ftr" sz="quarter" idx="11"/>
          </p:nvPr>
        </p:nvSpPr>
        <p:spPr bwMode="gray"/>
        <p:txBody>
          <a:bodyPr/>
          <a:lstStyle/>
          <a:p>
            <a:r>
              <a:rPr lang="en-US" dirty="0"/>
              <a:t>Please insert footnote</a:t>
            </a:r>
          </a:p>
        </p:txBody>
      </p:sp>
      <p:sp>
        <p:nvSpPr>
          <p:cNvPr id="9" name="Foliennummernplatzhalter 8"/>
          <p:cNvSpPr>
            <a:spLocks noGrp="1"/>
          </p:cNvSpPr>
          <p:nvPr>
            <p:ph type="sldNum" sz="quarter" idx="12"/>
          </p:nvPr>
        </p:nvSpPr>
        <p:spPr bwMode="gray"/>
        <p:txBody>
          <a:bodyPr/>
          <a:lstStyle/>
          <a:p>
            <a:fld id="{4915BD61-E5D5-4E4F-ADA0-6F3448AB9FA6}" type="slidenum">
              <a:rPr lang="en-US"/>
              <a:pPr/>
              <a:t>‹#›</a:t>
            </a:fld>
            <a:endParaRPr lang="en-US" dirty="0"/>
          </a:p>
        </p:txBody>
      </p:sp>
      <p:sp>
        <p:nvSpPr>
          <p:cNvPr id="11" name="Textplatzhalter 10"/>
          <p:cNvSpPr>
            <a:spLocks noGrp="1"/>
          </p:cNvSpPr>
          <p:nvPr>
            <p:ph type="body" sz="quarter" idx="13" hasCustomPrompt="1"/>
          </p:nvPr>
        </p:nvSpPr>
        <p:spPr bwMode="gray">
          <a:xfrm>
            <a:off x="550508" y="1549041"/>
            <a:ext cx="11089443" cy="4399725"/>
          </a:xfrm>
        </p:spPr>
        <p:txBody>
          <a:bodyPr/>
          <a:lstStyle>
            <a:lvl1pPr marL="0" indent="0">
              <a:lnSpc>
                <a:spcPct val="100000"/>
              </a:lnSpc>
              <a:buFont typeface="Arial" panose="020B0604020202020204" pitchFamily="34" charset="0"/>
              <a:buNone/>
              <a:defRPr sz="4799" cap="none" baseline="0">
                <a:solidFill>
                  <a:schemeClr val="accent1"/>
                </a:solidFill>
              </a:defRPr>
            </a:lvl1pPr>
            <a:lvl2pPr marL="0" indent="0">
              <a:buFont typeface="Arial" panose="020B0604020202020204" pitchFamily="34" charset="0"/>
              <a:buNone/>
              <a:defRPr sz="4799">
                <a:solidFill>
                  <a:schemeClr val="accent1"/>
                </a:solidFill>
              </a:defRPr>
            </a:lvl2pPr>
            <a:lvl3pPr marL="0" indent="0">
              <a:buNone/>
              <a:defRPr sz="4799">
                <a:solidFill>
                  <a:schemeClr val="accent1"/>
                </a:solidFill>
              </a:defRPr>
            </a:lvl3pPr>
            <a:lvl4pPr marL="0" indent="0">
              <a:buNone/>
              <a:defRPr sz="4799">
                <a:solidFill>
                  <a:schemeClr val="accent1"/>
                </a:solidFill>
              </a:defRPr>
            </a:lvl4pPr>
            <a:lvl5pPr marL="0" indent="0">
              <a:buNone/>
              <a:defRPr sz="4799">
                <a:solidFill>
                  <a:schemeClr val="accent1"/>
                </a:solidFill>
              </a:defRPr>
            </a:lvl5pPr>
            <a:lvl6pPr marL="0" indent="0">
              <a:buNone/>
              <a:defRPr sz="4799">
                <a:solidFill>
                  <a:schemeClr val="accent1"/>
                </a:solidFill>
              </a:defRPr>
            </a:lvl6pPr>
            <a:lvl7pPr marL="0" indent="0">
              <a:buNone/>
              <a:defRPr sz="4799">
                <a:solidFill>
                  <a:schemeClr val="tx2"/>
                </a:solidFill>
              </a:defRPr>
            </a:lvl7pPr>
            <a:lvl8pPr marL="0" indent="0">
              <a:buNone/>
              <a:defRPr sz="4799">
                <a:solidFill>
                  <a:schemeClr val="tx2"/>
                </a:solidFill>
              </a:defRPr>
            </a:lvl8pPr>
            <a:lvl9pPr marL="0" indent="0">
              <a:buNone/>
              <a:defRPr sz="4799">
                <a:solidFill>
                  <a:schemeClr val="tx2"/>
                </a:solidFill>
              </a:defRPr>
            </a:lvl9pPr>
          </a:lstStyle>
          <a:p>
            <a:pPr lvl="0"/>
            <a:r>
              <a:rPr lang="en-US" dirty="0"/>
              <a:t>» Whoever is not looking for the solutions of the future today is already yesterday.«</a:t>
            </a:r>
          </a:p>
        </p:txBody>
      </p:sp>
      <p:sp>
        <p:nvSpPr>
          <p:cNvPr id="10" name="Rechteck 9" hidden="1">
            <a:extLst>
              <a:ext uri="{FF2B5EF4-FFF2-40B4-BE49-F238E27FC236}">
                <a16:creationId xmlns:a16="http://schemas.microsoft.com/office/drawing/2014/main" id="{FFB5BE65-4B15-4A6A-94E4-C31752F5F7D7}"/>
              </a:ext>
            </a:extLst>
          </p:cNvPr>
          <p:cNvSpPr/>
          <p:nvPr userDrawn="1">
            <p:custDataLst>
              <p:tags r:id="rId1"/>
            </p:custDataLst>
          </p:nvPr>
        </p:nvSpPr>
        <p:spPr>
          <a:xfrm>
            <a:off x="9192833" y="5997473"/>
            <a:ext cx="2999167" cy="860528"/>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Tree>
    <p:extLst>
      <p:ext uri="{BB962C8B-B14F-4D97-AF65-F5344CB8AC3E}">
        <p14:creationId xmlns:p14="http://schemas.microsoft.com/office/powerpoint/2010/main" val="2851227016"/>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fld id="{A96A0BBE-48DF-4E7E-8119-60C6FE218790}" type="datetime1">
              <a:rPr lang="en-US"/>
              <a:t>10/22/2024</a:t>
            </a:fld>
            <a:endParaRPr lang="en-US" dirty="0"/>
          </a:p>
        </p:txBody>
      </p:sp>
      <p:sp>
        <p:nvSpPr>
          <p:cNvPr id="8" name="Fußzeilenplatzhalter 7"/>
          <p:cNvSpPr>
            <a:spLocks noGrp="1"/>
          </p:cNvSpPr>
          <p:nvPr>
            <p:ph type="ftr" sz="quarter" idx="11"/>
          </p:nvPr>
        </p:nvSpPr>
        <p:spPr bwMode="gray"/>
        <p:txBody>
          <a:bodyPr/>
          <a:lstStyle/>
          <a:p>
            <a:r>
              <a:rPr lang="en-US" dirty="0"/>
              <a:t>Please insert footnote</a:t>
            </a:r>
          </a:p>
        </p:txBody>
      </p:sp>
      <p:sp>
        <p:nvSpPr>
          <p:cNvPr id="9" name="Foliennummernplatzhalter 8"/>
          <p:cNvSpPr>
            <a:spLocks noGrp="1"/>
          </p:cNvSpPr>
          <p:nvPr>
            <p:ph type="sldNum" sz="quarter" idx="12"/>
          </p:nvPr>
        </p:nvSpPr>
        <p:spPr bwMode="gray"/>
        <p:txBody>
          <a:bodyPr/>
          <a:lstStyle/>
          <a:p>
            <a:fld id="{4915BD61-E5D5-4E4F-ADA0-6F3448AB9FA6}" type="slidenum">
              <a:rPr lang="en-US"/>
              <a:pPr/>
              <a:t>‹#›</a:t>
            </a:fld>
            <a:endParaRPr lang="en-US" dirty="0"/>
          </a:p>
        </p:txBody>
      </p:sp>
      <p:sp>
        <p:nvSpPr>
          <p:cNvPr id="3" name="Inhaltsplatzhalter 2"/>
          <p:cNvSpPr>
            <a:spLocks noGrp="1"/>
          </p:cNvSpPr>
          <p:nvPr>
            <p:ph sz="quarter" idx="13" hasCustomPrompt="1"/>
          </p:nvPr>
        </p:nvSpPr>
        <p:spPr bwMode="gray">
          <a:xfrm>
            <a:off x="550872" y="1701405"/>
            <a:ext cx="11089443" cy="4247017"/>
          </a:xfrm>
        </p:spPr>
        <p:txBody>
          <a:bodyPr/>
          <a:lstStyle>
            <a:lvl1pPr>
              <a:defRPr/>
            </a:lvl1pPr>
            <a:lvl2pPr>
              <a:defRPr/>
            </a:lvl2pPr>
            <a:lvl3pPr>
              <a:defRPr/>
            </a:lvl3pPr>
            <a:lvl4pPr>
              <a:defRPr/>
            </a:lvl4pPr>
            <a:lvl5pPr>
              <a:defRPr/>
            </a:lvl5pPr>
            <a:lvl6pPr>
              <a:defRPr/>
            </a:lvl6pPr>
            <a:lvl7pPr>
              <a:defRPr/>
            </a:lvl7pPr>
            <a:lvl8pPr marL="539642" indent="-180939">
              <a:buFont typeface="Symbol" panose="05050102010706020507" pitchFamily="18" charset="2"/>
              <a:buChar char="-"/>
              <a:defRPr/>
            </a:lvl8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0" name="Textplatzhalter 6"/>
          <p:cNvSpPr>
            <a:spLocks noGrp="1"/>
          </p:cNvSpPr>
          <p:nvPr>
            <p:ph type="body" sz="quarter" idx="14" hasCustomPrompt="1"/>
          </p:nvPr>
        </p:nvSpPr>
        <p:spPr bwMode="gray">
          <a:xfrm>
            <a:off x="550872" y="982058"/>
            <a:ext cx="11089443" cy="503122"/>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accent1"/>
                </a:solidFill>
              </a:defRPr>
            </a:lvl7pPr>
            <a:lvl8pPr marL="0" indent="0">
              <a:buNone/>
              <a:defRPr sz="1800">
                <a:solidFill>
                  <a:schemeClr val="accent1"/>
                </a:solidFill>
              </a:defRPr>
            </a:lvl8pPr>
            <a:lvl9pPr marL="0" indent="0">
              <a:buNone/>
              <a:defRPr sz="1800">
                <a:solidFill>
                  <a:schemeClr val="accent1"/>
                </a:solidFill>
              </a:defRPr>
            </a:lvl9pPr>
          </a:lstStyle>
          <a:p>
            <a:pPr lvl="0"/>
            <a:r>
              <a:rPr lang="en-US" dirty="0"/>
              <a:t>Subheadline</a:t>
            </a:r>
          </a:p>
        </p:txBody>
      </p:sp>
      <p:sp>
        <p:nvSpPr>
          <p:cNvPr id="11" name="Rechteck 10" hidden="1">
            <a:extLst>
              <a:ext uri="{FF2B5EF4-FFF2-40B4-BE49-F238E27FC236}">
                <a16:creationId xmlns:a16="http://schemas.microsoft.com/office/drawing/2014/main" id="{B3ABA573-EB3F-4ADF-9198-C76228EF7495}"/>
              </a:ext>
            </a:extLst>
          </p:cNvPr>
          <p:cNvSpPr/>
          <p:nvPr userDrawn="1">
            <p:custDataLst>
              <p:tags r:id="rId1"/>
            </p:custDataLst>
          </p:nvPr>
        </p:nvSpPr>
        <p:spPr>
          <a:xfrm>
            <a:off x="9192833" y="5997473"/>
            <a:ext cx="2999167" cy="860528"/>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
        <p:nvSpPr>
          <p:cNvPr id="2" name="Titel 1">
            <a:extLst>
              <a:ext uri="{FF2B5EF4-FFF2-40B4-BE49-F238E27FC236}">
                <a16:creationId xmlns:a16="http://schemas.microsoft.com/office/drawing/2014/main" id="{40FCE74B-5EB4-4B51-BECA-018A0CECA70C}"/>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31600459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 content">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fld id="{EDDEF7CD-1CC5-4D1F-BEE0-A2465EFE8E1C}" type="datetime1">
              <a:rPr lang="en-US"/>
              <a:t>10/22/2024</a:t>
            </a:fld>
            <a:endParaRPr lang="en-US" dirty="0"/>
          </a:p>
        </p:txBody>
      </p:sp>
      <p:sp>
        <p:nvSpPr>
          <p:cNvPr id="8" name="Fußzeilenplatzhalter 7"/>
          <p:cNvSpPr>
            <a:spLocks noGrp="1"/>
          </p:cNvSpPr>
          <p:nvPr>
            <p:ph type="ftr" sz="quarter" idx="11"/>
          </p:nvPr>
        </p:nvSpPr>
        <p:spPr bwMode="gray"/>
        <p:txBody>
          <a:bodyPr/>
          <a:lstStyle/>
          <a:p>
            <a:r>
              <a:rPr lang="en-US" dirty="0"/>
              <a:t>Please insert footnote</a:t>
            </a:r>
          </a:p>
        </p:txBody>
      </p:sp>
      <p:sp>
        <p:nvSpPr>
          <p:cNvPr id="9" name="Foliennummernplatzhalter 8"/>
          <p:cNvSpPr>
            <a:spLocks noGrp="1"/>
          </p:cNvSpPr>
          <p:nvPr>
            <p:ph type="sldNum" sz="quarter" idx="12"/>
          </p:nvPr>
        </p:nvSpPr>
        <p:spPr bwMode="gray"/>
        <p:txBody>
          <a:bodyPr/>
          <a:lstStyle/>
          <a:p>
            <a:fld id="{4915BD61-E5D5-4E4F-ADA0-6F3448AB9FA6}" type="slidenum">
              <a:rPr lang="en-US"/>
              <a:pPr/>
              <a:t>‹#›</a:t>
            </a:fld>
            <a:endParaRPr lang="en-US" dirty="0"/>
          </a:p>
        </p:txBody>
      </p:sp>
      <p:sp>
        <p:nvSpPr>
          <p:cNvPr id="3" name="Inhaltsplatzhalter 2"/>
          <p:cNvSpPr>
            <a:spLocks noGrp="1"/>
          </p:cNvSpPr>
          <p:nvPr>
            <p:ph sz="quarter" idx="14" hasCustomPrompt="1"/>
          </p:nvPr>
        </p:nvSpPr>
        <p:spPr bwMode="gray">
          <a:xfrm>
            <a:off x="6240788" y="1701405"/>
            <a:ext cx="5400703" cy="4247017"/>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0" name="Inhaltsplatzhalter 2"/>
          <p:cNvSpPr>
            <a:spLocks noGrp="1"/>
          </p:cNvSpPr>
          <p:nvPr>
            <p:ph sz="quarter" idx="15" hasCustomPrompt="1"/>
          </p:nvPr>
        </p:nvSpPr>
        <p:spPr bwMode="gray">
          <a:xfrm>
            <a:off x="550508" y="1701160"/>
            <a:ext cx="5400703" cy="4247017"/>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1" name="Textplatzhalter 6"/>
          <p:cNvSpPr>
            <a:spLocks noGrp="1"/>
          </p:cNvSpPr>
          <p:nvPr>
            <p:ph type="body" sz="quarter" idx="13" hasCustomPrompt="1"/>
          </p:nvPr>
        </p:nvSpPr>
        <p:spPr bwMode="gray">
          <a:xfrm>
            <a:off x="550935" y="982058"/>
            <a:ext cx="11090131" cy="503122"/>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accent1"/>
                </a:solidFill>
              </a:defRPr>
            </a:lvl7pPr>
            <a:lvl8pPr marL="0" indent="0">
              <a:buNone/>
              <a:defRPr sz="1800">
                <a:solidFill>
                  <a:schemeClr val="accent1"/>
                </a:solidFill>
              </a:defRPr>
            </a:lvl8pPr>
            <a:lvl9pPr marL="0" indent="0">
              <a:buNone/>
              <a:defRPr sz="1800">
                <a:solidFill>
                  <a:schemeClr val="accent1"/>
                </a:solidFill>
              </a:defRPr>
            </a:lvl9pPr>
          </a:lstStyle>
          <a:p>
            <a:pPr lvl="0"/>
            <a:r>
              <a:rPr lang="en-US" dirty="0"/>
              <a:t>Subheadline</a:t>
            </a:r>
          </a:p>
        </p:txBody>
      </p:sp>
      <p:sp>
        <p:nvSpPr>
          <p:cNvPr id="12" name="Rechteck 11" hidden="1">
            <a:extLst>
              <a:ext uri="{FF2B5EF4-FFF2-40B4-BE49-F238E27FC236}">
                <a16:creationId xmlns:a16="http://schemas.microsoft.com/office/drawing/2014/main" id="{41B03E80-5165-4AAF-8B74-AD47B7AA56B5}"/>
              </a:ext>
            </a:extLst>
          </p:cNvPr>
          <p:cNvSpPr/>
          <p:nvPr userDrawn="1">
            <p:custDataLst>
              <p:tags r:id="rId1"/>
            </p:custDataLst>
          </p:nvPr>
        </p:nvSpPr>
        <p:spPr>
          <a:xfrm>
            <a:off x="9192833" y="5997473"/>
            <a:ext cx="2999167" cy="860528"/>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
        <p:nvSpPr>
          <p:cNvPr id="2" name="Titel 1">
            <a:extLst>
              <a:ext uri="{FF2B5EF4-FFF2-40B4-BE49-F238E27FC236}">
                <a16:creationId xmlns:a16="http://schemas.microsoft.com/office/drawing/2014/main" id="{EC36A057-0737-402F-82C3-0D022DF2C917}"/>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679519648"/>
      </p:ext>
    </p:extLst>
  </p:cSld>
  <p:clrMapOvr>
    <a:masterClrMapping/>
  </p:clrMapOvr>
  <p:extLst>
    <p:ext uri="{DCECCB84-F9BA-43D5-87BE-67443E8EF086}">
      <p15:sldGuideLst xmlns:p15="http://schemas.microsoft.com/office/powerpoint/2012/main">
        <p15:guide id="1" pos="3930">
          <p15:clr>
            <a:srgbClr val="FBAE40"/>
          </p15:clr>
        </p15:guide>
        <p15:guide id="2" pos="3749">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2CC417-5CAD-5B87-4D6A-894BC4F97E2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48ACFFC4-0F12-A278-4807-569221422E28}"/>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7A110A8-7F80-8E6B-A6E7-3F092DC16EF6}"/>
              </a:ext>
            </a:extLst>
          </p:cNvPr>
          <p:cNvSpPr>
            <a:spLocks noGrp="1"/>
          </p:cNvSpPr>
          <p:nvPr>
            <p:ph type="dt" sz="half" idx="10"/>
          </p:nvPr>
        </p:nvSpPr>
        <p:spPr/>
        <p:txBody>
          <a:bodyPr/>
          <a:lstStyle/>
          <a:p>
            <a:fld id="{8E2DC9B0-CADE-4BCF-8B5E-A3E36D03AA2F}" type="datetimeFigureOut">
              <a:rPr lang="en-GB" smtClean="0"/>
              <a:t>22/10/2024</a:t>
            </a:fld>
            <a:endParaRPr lang="en-GB"/>
          </a:p>
        </p:txBody>
      </p:sp>
      <p:sp>
        <p:nvSpPr>
          <p:cNvPr id="5" name="Footer Placeholder 4">
            <a:extLst>
              <a:ext uri="{FF2B5EF4-FFF2-40B4-BE49-F238E27FC236}">
                <a16:creationId xmlns:a16="http://schemas.microsoft.com/office/drawing/2014/main" id="{2F82BAE0-6F82-A552-9590-15F3E8CF0F5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70A14C1E-A324-5F01-7031-F82E52B90954}"/>
              </a:ext>
            </a:extLst>
          </p:cNvPr>
          <p:cNvSpPr>
            <a:spLocks noGrp="1"/>
          </p:cNvSpPr>
          <p:nvPr>
            <p:ph type="sldNum" sz="quarter" idx="12"/>
          </p:nvPr>
        </p:nvSpPr>
        <p:spPr/>
        <p:txBody>
          <a:bodyPr/>
          <a:lstStyle/>
          <a:p>
            <a:fld id="{3DBB904D-600E-4758-B075-158E5AAE9766}" type="slidenum">
              <a:rPr lang="en-GB" smtClean="0"/>
              <a:t>‹#›</a:t>
            </a:fld>
            <a:endParaRPr lang="en-GB"/>
          </a:p>
        </p:txBody>
      </p:sp>
    </p:spTree>
    <p:extLst>
      <p:ext uri="{BB962C8B-B14F-4D97-AF65-F5344CB8AC3E}">
        <p14:creationId xmlns:p14="http://schemas.microsoft.com/office/powerpoint/2010/main" val="324860091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 content">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fld id="{0213BA04-A318-44A2-BEB8-A2C06BB9D45A}" type="datetime1">
              <a:rPr lang="en-US"/>
              <a:t>10/22/2024</a:t>
            </a:fld>
            <a:endParaRPr lang="en-US" dirty="0"/>
          </a:p>
        </p:txBody>
      </p:sp>
      <p:sp>
        <p:nvSpPr>
          <p:cNvPr id="8" name="Fußzeilenplatzhalter 7"/>
          <p:cNvSpPr>
            <a:spLocks noGrp="1"/>
          </p:cNvSpPr>
          <p:nvPr>
            <p:ph type="ftr" sz="quarter" idx="11"/>
          </p:nvPr>
        </p:nvSpPr>
        <p:spPr bwMode="gray"/>
        <p:txBody>
          <a:bodyPr/>
          <a:lstStyle/>
          <a:p>
            <a:r>
              <a:rPr lang="en-US" dirty="0"/>
              <a:t>Please insert footnote</a:t>
            </a:r>
          </a:p>
        </p:txBody>
      </p:sp>
      <p:sp>
        <p:nvSpPr>
          <p:cNvPr id="9" name="Foliennummernplatzhalter 8"/>
          <p:cNvSpPr>
            <a:spLocks noGrp="1"/>
          </p:cNvSpPr>
          <p:nvPr>
            <p:ph type="sldNum" sz="quarter" idx="12"/>
          </p:nvPr>
        </p:nvSpPr>
        <p:spPr bwMode="gray"/>
        <p:txBody>
          <a:bodyPr/>
          <a:lstStyle/>
          <a:p>
            <a:fld id="{4915BD61-E5D5-4E4F-ADA0-6F3448AB9FA6}" type="slidenum">
              <a:rPr lang="en-US"/>
              <a:pPr/>
              <a:t>‹#›</a:t>
            </a:fld>
            <a:endParaRPr lang="en-US" dirty="0"/>
          </a:p>
        </p:txBody>
      </p:sp>
      <p:sp>
        <p:nvSpPr>
          <p:cNvPr id="3" name="Inhaltsplatzhalter 2"/>
          <p:cNvSpPr>
            <a:spLocks noGrp="1"/>
          </p:cNvSpPr>
          <p:nvPr>
            <p:ph sz="quarter" idx="14" hasCustomPrompt="1"/>
          </p:nvPr>
        </p:nvSpPr>
        <p:spPr bwMode="gray">
          <a:xfrm>
            <a:off x="550508" y="1701160"/>
            <a:ext cx="3456450" cy="4247017"/>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5" name="Inhaltsplatzhalter 2"/>
          <p:cNvSpPr>
            <a:spLocks noGrp="1"/>
          </p:cNvSpPr>
          <p:nvPr>
            <p:ph sz="quarter" idx="17" hasCustomPrompt="1"/>
          </p:nvPr>
        </p:nvSpPr>
        <p:spPr bwMode="gray">
          <a:xfrm>
            <a:off x="4367534" y="1701160"/>
            <a:ext cx="3456450" cy="4247017"/>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6" name="Inhaltsplatzhalter 2"/>
          <p:cNvSpPr>
            <a:spLocks noGrp="1"/>
          </p:cNvSpPr>
          <p:nvPr>
            <p:ph sz="quarter" idx="18" hasCustomPrompt="1"/>
          </p:nvPr>
        </p:nvSpPr>
        <p:spPr bwMode="gray">
          <a:xfrm>
            <a:off x="8185041" y="1701160"/>
            <a:ext cx="3456450" cy="4247017"/>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0" name="Textplatzhalter 6"/>
          <p:cNvSpPr>
            <a:spLocks noGrp="1"/>
          </p:cNvSpPr>
          <p:nvPr>
            <p:ph type="body" sz="quarter" idx="13" hasCustomPrompt="1"/>
          </p:nvPr>
        </p:nvSpPr>
        <p:spPr bwMode="gray">
          <a:xfrm>
            <a:off x="550935" y="982058"/>
            <a:ext cx="11090131" cy="503122"/>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accent1"/>
                </a:solidFill>
              </a:defRPr>
            </a:lvl7pPr>
            <a:lvl8pPr marL="0" indent="0">
              <a:buNone/>
              <a:defRPr sz="1800">
                <a:solidFill>
                  <a:schemeClr val="accent1"/>
                </a:solidFill>
              </a:defRPr>
            </a:lvl8pPr>
            <a:lvl9pPr marL="0" indent="0">
              <a:buNone/>
              <a:defRPr sz="1800">
                <a:solidFill>
                  <a:schemeClr val="accent1"/>
                </a:solidFill>
              </a:defRPr>
            </a:lvl9pPr>
          </a:lstStyle>
          <a:p>
            <a:pPr lvl="0"/>
            <a:r>
              <a:rPr lang="en-US" dirty="0"/>
              <a:t>Subheadline</a:t>
            </a:r>
          </a:p>
        </p:txBody>
      </p:sp>
      <p:sp>
        <p:nvSpPr>
          <p:cNvPr id="11" name="Rechteck 10" hidden="1">
            <a:extLst>
              <a:ext uri="{FF2B5EF4-FFF2-40B4-BE49-F238E27FC236}">
                <a16:creationId xmlns:a16="http://schemas.microsoft.com/office/drawing/2014/main" id="{35917594-17AB-459E-8C62-C16F1D2EBDFE}"/>
              </a:ext>
            </a:extLst>
          </p:cNvPr>
          <p:cNvSpPr/>
          <p:nvPr userDrawn="1">
            <p:custDataLst>
              <p:tags r:id="rId1"/>
            </p:custDataLst>
          </p:nvPr>
        </p:nvSpPr>
        <p:spPr>
          <a:xfrm>
            <a:off x="9192833" y="5997473"/>
            <a:ext cx="2999167" cy="860528"/>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
        <p:nvSpPr>
          <p:cNvPr id="2" name="Titel 1">
            <a:extLst>
              <a:ext uri="{FF2B5EF4-FFF2-40B4-BE49-F238E27FC236}">
                <a16:creationId xmlns:a16="http://schemas.microsoft.com/office/drawing/2014/main" id="{C0A1F251-4F3D-4A55-AA12-3B04D1752913}"/>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135862147"/>
      </p:ext>
    </p:extLst>
  </p:cSld>
  <p:clrMapOvr>
    <a:masterClrMapping/>
  </p:clrMapOvr>
  <p:extLst>
    <p:ext uri="{DCECCB84-F9BA-43D5-87BE-67443E8EF086}">
      <p15:sldGuideLst xmlns:p15="http://schemas.microsoft.com/office/powerpoint/2012/main">
        <p15:guide id="1" pos="4929">
          <p15:clr>
            <a:srgbClr val="FBAE40"/>
          </p15:clr>
        </p15:guide>
        <p15:guide id="2" pos="2750">
          <p15:clr>
            <a:srgbClr val="FBAE40"/>
          </p15:clr>
        </p15:guide>
        <p15:guide id="3" pos="2525">
          <p15:clr>
            <a:srgbClr val="FBAE40"/>
          </p15:clr>
        </p15:guide>
        <p15:guide id="4" pos="5154">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content | small">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fld id="{3123F150-E121-48E3-A2B3-FE09F1951C94}" type="datetime1">
              <a:rPr lang="en-US"/>
              <a:t>10/22/2024</a:t>
            </a:fld>
            <a:endParaRPr lang="en-US" dirty="0"/>
          </a:p>
        </p:txBody>
      </p:sp>
      <p:sp>
        <p:nvSpPr>
          <p:cNvPr id="8" name="Fußzeilenplatzhalter 7"/>
          <p:cNvSpPr>
            <a:spLocks noGrp="1"/>
          </p:cNvSpPr>
          <p:nvPr>
            <p:ph type="ftr" sz="quarter" idx="11"/>
          </p:nvPr>
        </p:nvSpPr>
        <p:spPr bwMode="gray"/>
        <p:txBody>
          <a:bodyPr/>
          <a:lstStyle/>
          <a:p>
            <a:r>
              <a:rPr lang="en-US" dirty="0"/>
              <a:t>Please insert footnote</a:t>
            </a:r>
          </a:p>
        </p:txBody>
      </p:sp>
      <p:sp>
        <p:nvSpPr>
          <p:cNvPr id="9" name="Foliennummernplatzhalter 8"/>
          <p:cNvSpPr>
            <a:spLocks noGrp="1"/>
          </p:cNvSpPr>
          <p:nvPr>
            <p:ph type="sldNum" sz="quarter" idx="12"/>
          </p:nvPr>
        </p:nvSpPr>
        <p:spPr bwMode="gray"/>
        <p:txBody>
          <a:bodyPr/>
          <a:lstStyle/>
          <a:p>
            <a:fld id="{4915BD61-E5D5-4E4F-ADA0-6F3448AB9FA6}" type="slidenum">
              <a:rPr lang="en-US"/>
              <a:pPr/>
              <a:t>‹#›</a:t>
            </a:fld>
            <a:endParaRPr lang="en-US" dirty="0"/>
          </a:p>
        </p:txBody>
      </p:sp>
      <p:sp>
        <p:nvSpPr>
          <p:cNvPr id="3" name="Inhaltsplatzhalter 2"/>
          <p:cNvSpPr>
            <a:spLocks noGrp="1"/>
          </p:cNvSpPr>
          <p:nvPr>
            <p:ph sz="quarter" idx="14" hasCustomPrompt="1"/>
          </p:nvPr>
        </p:nvSpPr>
        <p:spPr bwMode="gray">
          <a:xfrm>
            <a:off x="550508" y="1701160"/>
            <a:ext cx="3456450" cy="4247017"/>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5" name="Inhaltsplatzhalter 2"/>
          <p:cNvSpPr>
            <a:spLocks noGrp="1"/>
          </p:cNvSpPr>
          <p:nvPr>
            <p:ph sz="quarter" idx="17" hasCustomPrompt="1"/>
          </p:nvPr>
        </p:nvSpPr>
        <p:spPr bwMode="gray">
          <a:xfrm>
            <a:off x="4367534" y="1701160"/>
            <a:ext cx="3456450" cy="4247017"/>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6" name="Inhaltsplatzhalter 2"/>
          <p:cNvSpPr>
            <a:spLocks noGrp="1"/>
          </p:cNvSpPr>
          <p:nvPr>
            <p:ph sz="quarter" idx="18" hasCustomPrompt="1"/>
          </p:nvPr>
        </p:nvSpPr>
        <p:spPr bwMode="gray">
          <a:xfrm>
            <a:off x="8185041" y="1701160"/>
            <a:ext cx="3456450" cy="4247017"/>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0" name="Textplatzhalter 6"/>
          <p:cNvSpPr>
            <a:spLocks noGrp="1"/>
          </p:cNvSpPr>
          <p:nvPr>
            <p:ph type="body" sz="quarter" idx="13" hasCustomPrompt="1"/>
          </p:nvPr>
        </p:nvSpPr>
        <p:spPr bwMode="gray">
          <a:xfrm>
            <a:off x="550935" y="982058"/>
            <a:ext cx="11090131" cy="503122"/>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accent1"/>
                </a:solidFill>
              </a:defRPr>
            </a:lvl7pPr>
            <a:lvl8pPr marL="0" indent="0">
              <a:buNone/>
              <a:defRPr sz="1800">
                <a:solidFill>
                  <a:schemeClr val="accent1"/>
                </a:solidFill>
              </a:defRPr>
            </a:lvl8pPr>
            <a:lvl9pPr marL="0" indent="0">
              <a:buNone/>
              <a:defRPr sz="1800">
                <a:solidFill>
                  <a:schemeClr val="accent1"/>
                </a:solidFill>
              </a:defRPr>
            </a:lvl9pPr>
          </a:lstStyle>
          <a:p>
            <a:pPr lvl="0"/>
            <a:r>
              <a:rPr lang="en-US" dirty="0"/>
              <a:t>Subheadline</a:t>
            </a:r>
          </a:p>
        </p:txBody>
      </p:sp>
      <p:sp>
        <p:nvSpPr>
          <p:cNvPr id="11" name="Rechteck 10" hidden="1">
            <a:extLst>
              <a:ext uri="{FF2B5EF4-FFF2-40B4-BE49-F238E27FC236}">
                <a16:creationId xmlns:a16="http://schemas.microsoft.com/office/drawing/2014/main" id="{35917594-17AB-459E-8C62-C16F1D2EBDFE}"/>
              </a:ext>
            </a:extLst>
          </p:cNvPr>
          <p:cNvSpPr/>
          <p:nvPr userDrawn="1">
            <p:custDataLst>
              <p:tags r:id="rId1"/>
            </p:custDataLst>
          </p:nvPr>
        </p:nvSpPr>
        <p:spPr>
          <a:xfrm>
            <a:off x="9192833" y="5997473"/>
            <a:ext cx="2999167" cy="860528"/>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
        <p:nvSpPr>
          <p:cNvPr id="2" name="Titel 1">
            <a:extLst>
              <a:ext uri="{FF2B5EF4-FFF2-40B4-BE49-F238E27FC236}">
                <a16:creationId xmlns:a16="http://schemas.microsoft.com/office/drawing/2014/main" id="{C0A1F251-4F3D-4A55-AA12-3B04D1752913}"/>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432033123"/>
      </p:ext>
    </p:extLst>
  </p:cSld>
  <p:clrMapOvr>
    <a:masterClrMapping/>
  </p:clrMapOvr>
  <p:extLst>
    <p:ext uri="{DCECCB84-F9BA-43D5-87BE-67443E8EF086}">
      <p15:sldGuideLst xmlns:p15="http://schemas.microsoft.com/office/powerpoint/2012/main">
        <p15:guide id="1" pos="4929">
          <p15:clr>
            <a:srgbClr val="FBAE40"/>
          </p15:clr>
        </p15:guide>
        <p15:guide id="2" pos="2750">
          <p15:clr>
            <a:srgbClr val="FBAE40"/>
          </p15:clr>
        </p15:guide>
        <p15:guide id="3" pos="2525">
          <p15:clr>
            <a:srgbClr val="FBAE40"/>
          </p15:clr>
        </p15:guide>
        <p15:guide id="4" pos="5154">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 content">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fld id="{1FC5B148-7F89-4507-A7B5-38D356267DEC}" type="datetime1">
              <a:rPr lang="en-US"/>
              <a:t>10/22/2024</a:t>
            </a:fld>
            <a:endParaRPr lang="en-US" dirty="0"/>
          </a:p>
        </p:txBody>
      </p:sp>
      <p:sp>
        <p:nvSpPr>
          <p:cNvPr id="8" name="Fußzeilenplatzhalter 7"/>
          <p:cNvSpPr>
            <a:spLocks noGrp="1"/>
          </p:cNvSpPr>
          <p:nvPr>
            <p:ph type="ftr" sz="quarter" idx="11"/>
          </p:nvPr>
        </p:nvSpPr>
        <p:spPr bwMode="gray"/>
        <p:txBody>
          <a:bodyPr/>
          <a:lstStyle/>
          <a:p>
            <a:r>
              <a:rPr lang="en-US" dirty="0"/>
              <a:t>Please insert footnote</a:t>
            </a:r>
          </a:p>
        </p:txBody>
      </p:sp>
      <p:sp>
        <p:nvSpPr>
          <p:cNvPr id="9" name="Foliennummernplatzhalter 8"/>
          <p:cNvSpPr>
            <a:spLocks noGrp="1"/>
          </p:cNvSpPr>
          <p:nvPr>
            <p:ph type="sldNum" sz="quarter" idx="12"/>
          </p:nvPr>
        </p:nvSpPr>
        <p:spPr bwMode="gray"/>
        <p:txBody>
          <a:bodyPr/>
          <a:lstStyle/>
          <a:p>
            <a:fld id="{4915BD61-E5D5-4E4F-ADA0-6F3448AB9FA6}" type="slidenum">
              <a:rPr lang="en-US"/>
              <a:pPr/>
              <a:t>‹#›</a:t>
            </a:fld>
            <a:endParaRPr lang="en-US" dirty="0"/>
          </a:p>
        </p:txBody>
      </p:sp>
      <p:sp>
        <p:nvSpPr>
          <p:cNvPr id="3" name="Inhaltsplatzhalter 2"/>
          <p:cNvSpPr>
            <a:spLocks noGrp="1"/>
          </p:cNvSpPr>
          <p:nvPr>
            <p:ph sz="quarter" idx="14" hasCustomPrompt="1"/>
          </p:nvPr>
        </p:nvSpPr>
        <p:spPr bwMode="gray">
          <a:xfrm>
            <a:off x="550508" y="1701160"/>
            <a:ext cx="2448319" cy="4247017"/>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8" name="Inhaltsplatzhalter 2"/>
          <p:cNvSpPr>
            <a:spLocks noGrp="1"/>
          </p:cNvSpPr>
          <p:nvPr>
            <p:ph sz="quarter" idx="18" hasCustomPrompt="1"/>
          </p:nvPr>
        </p:nvSpPr>
        <p:spPr bwMode="gray">
          <a:xfrm>
            <a:off x="3431282" y="1701160"/>
            <a:ext cx="2448319" cy="4247017"/>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9" name="Inhaltsplatzhalter 2"/>
          <p:cNvSpPr>
            <a:spLocks noGrp="1"/>
          </p:cNvSpPr>
          <p:nvPr>
            <p:ph sz="quarter" idx="19" hasCustomPrompt="1"/>
          </p:nvPr>
        </p:nvSpPr>
        <p:spPr bwMode="gray">
          <a:xfrm>
            <a:off x="6312291" y="1701160"/>
            <a:ext cx="2448319" cy="4247017"/>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20" name="Inhaltsplatzhalter 2"/>
          <p:cNvSpPr>
            <a:spLocks noGrp="1"/>
          </p:cNvSpPr>
          <p:nvPr>
            <p:ph sz="quarter" idx="20" hasCustomPrompt="1"/>
          </p:nvPr>
        </p:nvSpPr>
        <p:spPr bwMode="gray">
          <a:xfrm>
            <a:off x="9193182" y="1701160"/>
            <a:ext cx="2448319" cy="4247017"/>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0" name="Textplatzhalter 6"/>
          <p:cNvSpPr>
            <a:spLocks noGrp="1"/>
          </p:cNvSpPr>
          <p:nvPr>
            <p:ph type="body" sz="quarter" idx="13" hasCustomPrompt="1"/>
          </p:nvPr>
        </p:nvSpPr>
        <p:spPr bwMode="gray">
          <a:xfrm>
            <a:off x="550935" y="982058"/>
            <a:ext cx="11090131" cy="503122"/>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accent1"/>
                </a:solidFill>
              </a:defRPr>
            </a:lvl7pPr>
            <a:lvl8pPr marL="0" indent="0">
              <a:buNone/>
              <a:defRPr sz="1800">
                <a:solidFill>
                  <a:schemeClr val="accent1"/>
                </a:solidFill>
              </a:defRPr>
            </a:lvl8pPr>
            <a:lvl9pPr marL="0" indent="0">
              <a:buNone/>
              <a:defRPr sz="1800">
                <a:solidFill>
                  <a:schemeClr val="accent1"/>
                </a:solidFill>
              </a:defRPr>
            </a:lvl9pPr>
          </a:lstStyle>
          <a:p>
            <a:pPr lvl="0"/>
            <a:r>
              <a:rPr lang="en-US" dirty="0"/>
              <a:t>Subheadline</a:t>
            </a:r>
          </a:p>
        </p:txBody>
      </p:sp>
      <p:sp>
        <p:nvSpPr>
          <p:cNvPr id="11" name="Rechteck 10" hidden="1">
            <a:extLst>
              <a:ext uri="{FF2B5EF4-FFF2-40B4-BE49-F238E27FC236}">
                <a16:creationId xmlns:a16="http://schemas.microsoft.com/office/drawing/2014/main" id="{2DCC3F6A-1D09-4E4A-AF19-396B58079A0B}"/>
              </a:ext>
            </a:extLst>
          </p:cNvPr>
          <p:cNvSpPr/>
          <p:nvPr userDrawn="1">
            <p:custDataLst>
              <p:tags r:id="rId1"/>
            </p:custDataLst>
          </p:nvPr>
        </p:nvSpPr>
        <p:spPr>
          <a:xfrm>
            <a:off x="9192833" y="5997473"/>
            <a:ext cx="2999167" cy="860528"/>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
        <p:nvSpPr>
          <p:cNvPr id="2" name="Titel 1">
            <a:extLst>
              <a:ext uri="{FF2B5EF4-FFF2-40B4-BE49-F238E27FC236}">
                <a16:creationId xmlns:a16="http://schemas.microsoft.com/office/drawing/2014/main" id="{50E2F8D7-F45E-4EEF-8F40-F0F827E63B9D}"/>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286667667"/>
      </p:ext>
    </p:extLst>
  </p:cSld>
  <p:clrMapOvr>
    <a:masterClrMapping/>
  </p:clrMapOvr>
  <p:extLst>
    <p:ext uri="{DCECCB84-F9BA-43D5-87BE-67443E8EF086}">
      <p15:sldGuideLst xmlns:p15="http://schemas.microsoft.com/office/powerpoint/2012/main">
        <p15:guide id="1" pos="2160">
          <p15:clr>
            <a:srgbClr val="FBAE40"/>
          </p15:clr>
        </p15:guide>
        <p15:guide id="2" pos="1890">
          <p15:clr>
            <a:srgbClr val="FBAE40"/>
          </p15:clr>
        </p15:guide>
        <p15:guide id="3" pos="3975">
          <p15:clr>
            <a:srgbClr val="FBAE40"/>
          </p15:clr>
        </p15:guide>
        <p15:guide id="4" pos="3704">
          <p15:clr>
            <a:srgbClr val="FBAE40"/>
          </p15:clr>
        </p15:guide>
        <p15:guide id="5" pos="5790">
          <p15:clr>
            <a:srgbClr val="FBAE40"/>
          </p15:clr>
        </p15:guide>
        <p15:guide id="6" pos="5519">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 content | small">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fld id="{3AF8345A-07DD-4956-AE46-52634A904309}" type="datetime1">
              <a:rPr lang="en-US"/>
              <a:t>10/22/2024</a:t>
            </a:fld>
            <a:endParaRPr lang="en-US" dirty="0"/>
          </a:p>
        </p:txBody>
      </p:sp>
      <p:sp>
        <p:nvSpPr>
          <p:cNvPr id="8" name="Fußzeilenplatzhalter 7"/>
          <p:cNvSpPr>
            <a:spLocks noGrp="1"/>
          </p:cNvSpPr>
          <p:nvPr>
            <p:ph type="ftr" sz="quarter" idx="11"/>
          </p:nvPr>
        </p:nvSpPr>
        <p:spPr bwMode="gray"/>
        <p:txBody>
          <a:bodyPr/>
          <a:lstStyle/>
          <a:p>
            <a:r>
              <a:rPr lang="en-US" dirty="0"/>
              <a:t>Please insert footnote</a:t>
            </a:r>
          </a:p>
        </p:txBody>
      </p:sp>
      <p:sp>
        <p:nvSpPr>
          <p:cNvPr id="9" name="Foliennummernplatzhalter 8"/>
          <p:cNvSpPr>
            <a:spLocks noGrp="1"/>
          </p:cNvSpPr>
          <p:nvPr>
            <p:ph type="sldNum" sz="quarter" idx="12"/>
          </p:nvPr>
        </p:nvSpPr>
        <p:spPr bwMode="gray"/>
        <p:txBody>
          <a:bodyPr/>
          <a:lstStyle/>
          <a:p>
            <a:fld id="{4915BD61-E5D5-4E4F-ADA0-6F3448AB9FA6}" type="slidenum">
              <a:rPr lang="en-US"/>
              <a:pPr/>
              <a:t>‹#›</a:t>
            </a:fld>
            <a:endParaRPr lang="en-US" dirty="0"/>
          </a:p>
        </p:txBody>
      </p:sp>
      <p:sp>
        <p:nvSpPr>
          <p:cNvPr id="3" name="Inhaltsplatzhalter 2"/>
          <p:cNvSpPr>
            <a:spLocks noGrp="1"/>
          </p:cNvSpPr>
          <p:nvPr>
            <p:ph sz="quarter" idx="14" hasCustomPrompt="1"/>
          </p:nvPr>
        </p:nvSpPr>
        <p:spPr bwMode="gray">
          <a:xfrm>
            <a:off x="550508" y="1701160"/>
            <a:ext cx="2448319" cy="4247017"/>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8" name="Inhaltsplatzhalter 2"/>
          <p:cNvSpPr>
            <a:spLocks noGrp="1"/>
          </p:cNvSpPr>
          <p:nvPr>
            <p:ph sz="quarter" idx="18" hasCustomPrompt="1"/>
          </p:nvPr>
        </p:nvSpPr>
        <p:spPr bwMode="gray">
          <a:xfrm>
            <a:off x="3431282" y="1701160"/>
            <a:ext cx="2448319" cy="4247017"/>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9" name="Inhaltsplatzhalter 2"/>
          <p:cNvSpPr>
            <a:spLocks noGrp="1"/>
          </p:cNvSpPr>
          <p:nvPr>
            <p:ph sz="quarter" idx="19" hasCustomPrompt="1"/>
          </p:nvPr>
        </p:nvSpPr>
        <p:spPr bwMode="gray">
          <a:xfrm>
            <a:off x="6312291" y="1701160"/>
            <a:ext cx="2448319" cy="4247017"/>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20" name="Inhaltsplatzhalter 2"/>
          <p:cNvSpPr>
            <a:spLocks noGrp="1"/>
          </p:cNvSpPr>
          <p:nvPr>
            <p:ph sz="quarter" idx="20" hasCustomPrompt="1"/>
          </p:nvPr>
        </p:nvSpPr>
        <p:spPr bwMode="gray">
          <a:xfrm>
            <a:off x="9193182" y="1701160"/>
            <a:ext cx="2448319" cy="4247017"/>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0" name="Textplatzhalter 6"/>
          <p:cNvSpPr>
            <a:spLocks noGrp="1"/>
          </p:cNvSpPr>
          <p:nvPr>
            <p:ph type="body" sz="quarter" idx="13" hasCustomPrompt="1"/>
          </p:nvPr>
        </p:nvSpPr>
        <p:spPr bwMode="gray">
          <a:xfrm>
            <a:off x="550935" y="982058"/>
            <a:ext cx="11090131" cy="503122"/>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accent1"/>
                </a:solidFill>
              </a:defRPr>
            </a:lvl7pPr>
            <a:lvl8pPr marL="0" indent="0">
              <a:buNone/>
              <a:defRPr sz="1800">
                <a:solidFill>
                  <a:schemeClr val="accent1"/>
                </a:solidFill>
              </a:defRPr>
            </a:lvl8pPr>
            <a:lvl9pPr marL="0" indent="0">
              <a:buNone/>
              <a:defRPr sz="1800">
                <a:solidFill>
                  <a:schemeClr val="accent1"/>
                </a:solidFill>
              </a:defRPr>
            </a:lvl9pPr>
          </a:lstStyle>
          <a:p>
            <a:pPr lvl="0"/>
            <a:r>
              <a:rPr lang="en-US" dirty="0"/>
              <a:t>Subheadline</a:t>
            </a:r>
          </a:p>
        </p:txBody>
      </p:sp>
      <p:sp>
        <p:nvSpPr>
          <p:cNvPr id="11" name="Rechteck 10" hidden="1">
            <a:extLst>
              <a:ext uri="{FF2B5EF4-FFF2-40B4-BE49-F238E27FC236}">
                <a16:creationId xmlns:a16="http://schemas.microsoft.com/office/drawing/2014/main" id="{2DCC3F6A-1D09-4E4A-AF19-396B58079A0B}"/>
              </a:ext>
            </a:extLst>
          </p:cNvPr>
          <p:cNvSpPr/>
          <p:nvPr userDrawn="1">
            <p:custDataLst>
              <p:tags r:id="rId1"/>
            </p:custDataLst>
          </p:nvPr>
        </p:nvSpPr>
        <p:spPr>
          <a:xfrm>
            <a:off x="9192833" y="5997473"/>
            <a:ext cx="2999167" cy="860528"/>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
        <p:nvSpPr>
          <p:cNvPr id="2" name="Titel 1">
            <a:extLst>
              <a:ext uri="{FF2B5EF4-FFF2-40B4-BE49-F238E27FC236}">
                <a16:creationId xmlns:a16="http://schemas.microsoft.com/office/drawing/2014/main" id="{50E2F8D7-F45E-4EEF-8F40-F0F827E63B9D}"/>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1640501055"/>
      </p:ext>
    </p:extLst>
  </p:cSld>
  <p:clrMapOvr>
    <a:masterClrMapping/>
  </p:clrMapOvr>
  <p:extLst>
    <p:ext uri="{DCECCB84-F9BA-43D5-87BE-67443E8EF086}">
      <p15:sldGuideLst xmlns:p15="http://schemas.microsoft.com/office/powerpoint/2012/main">
        <p15:guide id="1" pos="2160">
          <p15:clr>
            <a:srgbClr val="FBAE40"/>
          </p15:clr>
        </p15:guide>
        <p15:guide id="2" pos="1890">
          <p15:clr>
            <a:srgbClr val="FBAE40"/>
          </p15:clr>
        </p15:guide>
        <p15:guide id="3" pos="3975">
          <p15:clr>
            <a:srgbClr val="FBAE40"/>
          </p15:clr>
        </p15:guide>
        <p15:guide id="4" pos="3704">
          <p15:clr>
            <a:srgbClr val="FBAE40"/>
          </p15:clr>
        </p15:guide>
        <p15:guide id="5" pos="5790">
          <p15:clr>
            <a:srgbClr val="FBAE40"/>
          </p15:clr>
        </p15:guide>
        <p15:guide id="6" pos="5519">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8 content">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fld id="{DFFFFAB3-990B-4478-8021-9F53858C3A29}" type="datetime1">
              <a:rPr lang="en-US"/>
              <a:t>10/22/2024</a:t>
            </a:fld>
            <a:endParaRPr lang="en-US" dirty="0"/>
          </a:p>
        </p:txBody>
      </p:sp>
      <p:sp>
        <p:nvSpPr>
          <p:cNvPr id="8" name="Fußzeilenplatzhalter 7"/>
          <p:cNvSpPr>
            <a:spLocks noGrp="1"/>
          </p:cNvSpPr>
          <p:nvPr>
            <p:ph type="ftr" sz="quarter" idx="11"/>
          </p:nvPr>
        </p:nvSpPr>
        <p:spPr bwMode="gray"/>
        <p:txBody>
          <a:bodyPr/>
          <a:lstStyle/>
          <a:p>
            <a:r>
              <a:rPr lang="en-US" dirty="0"/>
              <a:t>Please insert footnote</a:t>
            </a:r>
          </a:p>
        </p:txBody>
      </p:sp>
      <p:sp>
        <p:nvSpPr>
          <p:cNvPr id="9" name="Foliennummernplatzhalter 8"/>
          <p:cNvSpPr>
            <a:spLocks noGrp="1"/>
          </p:cNvSpPr>
          <p:nvPr>
            <p:ph type="sldNum" sz="quarter" idx="12"/>
          </p:nvPr>
        </p:nvSpPr>
        <p:spPr bwMode="gray"/>
        <p:txBody>
          <a:bodyPr/>
          <a:lstStyle/>
          <a:p>
            <a:fld id="{4915BD61-E5D5-4E4F-ADA0-6F3448AB9FA6}" type="slidenum">
              <a:rPr lang="en-US"/>
              <a:pPr/>
              <a:t>‹#›</a:t>
            </a:fld>
            <a:endParaRPr lang="en-US" dirty="0"/>
          </a:p>
        </p:txBody>
      </p:sp>
      <p:sp>
        <p:nvSpPr>
          <p:cNvPr id="10" name="Inhaltsplatzhalter 2"/>
          <p:cNvSpPr>
            <a:spLocks noGrp="1"/>
          </p:cNvSpPr>
          <p:nvPr>
            <p:ph sz="quarter" idx="21" hasCustomPrompt="1"/>
          </p:nvPr>
        </p:nvSpPr>
        <p:spPr bwMode="gray">
          <a:xfrm>
            <a:off x="550508" y="3933213"/>
            <a:ext cx="2448319" cy="2015533"/>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Inhaltsplatzhalter 2"/>
          <p:cNvSpPr>
            <a:spLocks noGrp="1"/>
          </p:cNvSpPr>
          <p:nvPr>
            <p:ph sz="quarter" idx="23" hasCustomPrompt="1"/>
          </p:nvPr>
        </p:nvSpPr>
        <p:spPr bwMode="gray">
          <a:xfrm>
            <a:off x="3431282" y="3933213"/>
            <a:ext cx="2448319" cy="2015533"/>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Inhaltsplatzhalter 2"/>
          <p:cNvSpPr>
            <a:spLocks noGrp="1"/>
          </p:cNvSpPr>
          <p:nvPr>
            <p:ph sz="quarter" idx="24" hasCustomPrompt="1"/>
          </p:nvPr>
        </p:nvSpPr>
        <p:spPr bwMode="gray">
          <a:xfrm>
            <a:off x="9192832" y="1701160"/>
            <a:ext cx="2448319" cy="2015533"/>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Inhaltsplatzhalter 2"/>
          <p:cNvSpPr>
            <a:spLocks noGrp="1"/>
          </p:cNvSpPr>
          <p:nvPr>
            <p:ph sz="quarter" idx="25" hasCustomPrompt="1"/>
          </p:nvPr>
        </p:nvSpPr>
        <p:spPr bwMode="gray">
          <a:xfrm>
            <a:off x="9192832" y="3933213"/>
            <a:ext cx="2448319" cy="2015533"/>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Inhaltsplatzhalter 2"/>
          <p:cNvSpPr>
            <a:spLocks noGrp="1"/>
          </p:cNvSpPr>
          <p:nvPr>
            <p:ph sz="quarter" idx="26" hasCustomPrompt="1"/>
          </p:nvPr>
        </p:nvSpPr>
        <p:spPr bwMode="gray">
          <a:xfrm>
            <a:off x="6312057" y="1701160"/>
            <a:ext cx="2448319" cy="2015533"/>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Inhaltsplatzhalter 2"/>
          <p:cNvSpPr>
            <a:spLocks noGrp="1"/>
          </p:cNvSpPr>
          <p:nvPr>
            <p:ph sz="quarter" idx="27" hasCustomPrompt="1"/>
          </p:nvPr>
        </p:nvSpPr>
        <p:spPr bwMode="gray">
          <a:xfrm>
            <a:off x="6312057" y="3933213"/>
            <a:ext cx="2448319" cy="2015533"/>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platzhalter 6"/>
          <p:cNvSpPr>
            <a:spLocks noGrp="1"/>
          </p:cNvSpPr>
          <p:nvPr>
            <p:ph type="body" sz="quarter" idx="13" hasCustomPrompt="1"/>
          </p:nvPr>
        </p:nvSpPr>
        <p:spPr bwMode="gray">
          <a:xfrm>
            <a:off x="550935" y="982058"/>
            <a:ext cx="11090131" cy="503122"/>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accent1"/>
                </a:solidFill>
              </a:defRPr>
            </a:lvl7pPr>
            <a:lvl8pPr marL="0" indent="0">
              <a:buNone/>
              <a:defRPr sz="1800">
                <a:solidFill>
                  <a:schemeClr val="accent1"/>
                </a:solidFill>
              </a:defRPr>
            </a:lvl8pPr>
            <a:lvl9pPr marL="0" indent="0">
              <a:buNone/>
              <a:defRPr sz="1800">
                <a:solidFill>
                  <a:schemeClr val="accent1"/>
                </a:solidFill>
              </a:defRPr>
            </a:lvl9pPr>
          </a:lstStyle>
          <a:p>
            <a:pPr lvl="0"/>
            <a:r>
              <a:rPr lang="en-US" dirty="0"/>
              <a:t>Subheadline</a:t>
            </a:r>
          </a:p>
        </p:txBody>
      </p:sp>
      <p:sp>
        <p:nvSpPr>
          <p:cNvPr id="18" name="Rechteck 17" hidden="1">
            <a:extLst>
              <a:ext uri="{FF2B5EF4-FFF2-40B4-BE49-F238E27FC236}">
                <a16:creationId xmlns:a16="http://schemas.microsoft.com/office/drawing/2014/main" id="{F8D88161-80BF-4961-A956-8273E586FBDC}"/>
              </a:ext>
            </a:extLst>
          </p:cNvPr>
          <p:cNvSpPr/>
          <p:nvPr userDrawn="1">
            <p:custDataLst>
              <p:tags r:id="rId1"/>
            </p:custDataLst>
          </p:nvPr>
        </p:nvSpPr>
        <p:spPr>
          <a:xfrm>
            <a:off x="9192833" y="5997473"/>
            <a:ext cx="2999167" cy="860528"/>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
        <p:nvSpPr>
          <p:cNvPr id="2" name="Titel 1">
            <a:extLst>
              <a:ext uri="{FF2B5EF4-FFF2-40B4-BE49-F238E27FC236}">
                <a16:creationId xmlns:a16="http://schemas.microsoft.com/office/drawing/2014/main" id="{64DCBCCE-C31E-4B50-8CB7-71B864389396}"/>
              </a:ext>
            </a:extLst>
          </p:cNvPr>
          <p:cNvSpPr>
            <a:spLocks noGrp="1"/>
          </p:cNvSpPr>
          <p:nvPr>
            <p:ph type="title" hasCustomPrompt="1"/>
          </p:nvPr>
        </p:nvSpPr>
        <p:spPr/>
        <p:txBody>
          <a:bodyPr/>
          <a:lstStyle/>
          <a:p>
            <a:r>
              <a:rPr lang="en-US" dirty="0"/>
              <a:t>Click to edit Master title style</a:t>
            </a:r>
          </a:p>
        </p:txBody>
      </p:sp>
      <p:sp>
        <p:nvSpPr>
          <p:cNvPr id="19" name="Inhaltsplatzhalter 2">
            <a:extLst>
              <a:ext uri="{FF2B5EF4-FFF2-40B4-BE49-F238E27FC236}">
                <a16:creationId xmlns:a16="http://schemas.microsoft.com/office/drawing/2014/main" id="{77339970-B26A-4975-A0DA-2A13A8847CB4}"/>
              </a:ext>
            </a:extLst>
          </p:cNvPr>
          <p:cNvSpPr>
            <a:spLocks noGrp="1"/>
          </p:cNvSpPr>
          <p:nvPr>
            <p:ph sz="quarter" idx="28" hasCustomPrompt="1"/>
          </p:nvPr>
        </p:nvSpPr>
        <p:spPr bwMode="gray">
          <a:xfrm>
            <a:off x="3431282" y="1701160"/>
            <a:ext cx="2448319" cy="2015533"/>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Inhaltsplatzhalter 2">
            <a:extLst>
              <a:ext uri="{FF2B5EF4-FFF2-40B4-BE49-F238E27FC236}">
                <a16:creationId xmlns:a16="http://schemas.microsoft.com/office/drawing/2014/main" id="{DACF7C66-3DEB-4F95-98CF-0D1BF5558712}"/>
              </a:ext>
            </a:extLst>
          </p:cNvPr>
          <p:cNvSpPr>
            <a:spLocks noGrp="1"/>
          </p:cNvSpPr>
          <p:nvPr>
            <p:ph sz="quarter" idx="29" hasCustomPrompt="1"/>
          </p:nvPr>
        </p:nvSpPr>
        <p:spPr bwMode="gray">
          <a:xfrm>
            <a:off x="550508" y="1701160"/>
            <a:ext cx="2448319" cy="2015533"/>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marL="539892" indent="-179964">
              <a:buFont typeface="Symbol" panose="05050102010706020507" pitchFamily="18" charset="2"/>
              <a:buChar cha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46424868"/>
      </p:ext>
    </p:extLst>
  </p:cSld>
  <p:clrMapOvr>
    <a:masterClrMapping/>
  </p:clrMapOvr>
  <p:extLst>
    <p:ext uri="{DCECCB84-F9BA-43D5-87BE-67443E8EF086}">
      <p15:sldGuideLst xmlns:p15="http://schemas.microsoft.com/office/powerpoint/2012/main">
        <p15:guide id="1" orient="horz" pos="2343">
          <p15:clr>
            <a:srgbClr val="FBAE40"/>
          </p15:clr>
        </p15:guide>
        <p15:guide id="2" orient="horz" pos="2478">
          <p15:clr>
            <a:srgbClr val="FBAE40"/>
          </p15:clr>
        </p15:guide>
        <p15:guide id="3" pos="3975">
          <p15:clr>
            <a:srgbClr val="FBAE40"/>
          </p15:clr>
        </p15:guide>
        <p15:guide id="4" pos="3704">
          <p15:clr>
            <a:srgbClr val="FBAE40"/>
          </p15:clr>
        </p15:guide>
        <p15:guide id="5" pos="2160">
          <p15:clr>
            <a:srgbClr val="FBAE40"/>
          </p15:clr>
        </p15:guide>
        <p15:guide id="6" pos="1890">
          <p15:clr>
            <a:srgbClr val="FBAE40"/>
          </p15:clr>
        </p15:guide>
        <p15:guide id="7" pos="5518">
          <p15:clr>
            <a:srgbClr val="FBAE40"/>
          </p15:clr>
        </p15:guide>
        <p15:guide id="8" pos="579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8 content | small">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fld id="{31A0EF98-796A-4576-A5F0-74C56C2D2DED}" type="datetime1">
              <a:rPr lang="en-US"/>
              <a:t>10/22/2024</a:t>
            </a:fld>
            <a:endParaRPr lang="en-US" dirty="0"/>
          </a:p>
        </p:txBody>
      </p:sp>
      <p:sp>
        <p:nvSpPr>
          <p:cNvPr id="8" name="Fußzeilenplatzhalter 7"/>
          <p:cNvSpPr>
            <a:spLocks noGrp="1"/>
          </p:cNvSpPr>
          <p:nvPr>
            <p:ph type="ftr" sz="quarter" idx="11"/>
          </p:nvPr>
        </p:nvSpPr>
        <p:spPr bwMode="gray"/>
        <p:txBody>
          <a:bodyPr/>
          <a:lstStyle/>
          <a:p>
            <a:r>
              <a:rPr lang="en-US" dirty="0"/>
              <a:t>Please insert footnote</a:t>
            </a:r>
          </a:p>
        </p:txBody>
      </p:sp>
      <p:sp>
        <p:nvSpPr>
          <p:cNvPr id="9" name="Foliennummernplatzhalter 8"/>
          <p:cNvSpPr>
            <a:spLocks noGrp="1"/>
          </p:cNvSpPr>
          <p:nvPr>
            <p:ph type="sldNum" sz="quarter" idx="12"/>
          </p:nvPr>
        </p:nvSpPr>
        <p:spPr bwMode="gray"/>
        <p:txBody>
          <a:bodyPr/>
          <a:lstStyle/>
          <a:p>
            <a:fld id="{4915BD61-E5D5-4E4F-ADA0-6F3448AB9FA6}" type="slidenum">
              <a:rPr lang="en-US"/>
              <a:pPr/>
              <a:t>‹#›</a:t>
            </a:fld>
            <a:endParaRPr lang="en-US" dirty="0"/>
          </a:p>
        </p:txBody>
      </p:sp>
      <p:sp>
        <p:nvSpPr>
          <p:cNvPr id="11" name="Inhaltsplatzhalter 2"/>
          <p:cNvSpPr>
            <a:spLocks noGrp="1"/>
          </p:cNvSpPr>
          <p:nvPr>
            <p:ph sz="quarter" idx="22" hasCustomPrompt="1"/>
          </p:nvPr>
        </p:nvSpPr>
        <p:spPr bwMode="gray">
          <a:xfrm>
            <a:off x="3431282" y="1701160"/>
            <a:ext cx="2448319" cy="2015533"/>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Inhaltsplatzhalter 2"/>
          <p:cNvSpPr>
            <a:spLocks noGrp="1"/>
          </p:cNvSpPr>
          <p:nvPr>
            <p:ph sz="quarter" idx="23" hasCustomPrompt="1"/>
          </p:nvPr>
        </p:nvSpPr>
        <p:spPr bwMode="gray">
          <a:xfrm>
            <a:off x="3431282" y="3933213"/>
            <a:ext cx="2448319" cy="2015533"/>
          </a:xfrm>
        </p:spPr>
        <p:txBody>
          <a:bodyPr/>
          <a:lstStyle>
            <a:lvl1pPr>
              <a:defRPr sz="1200"/>
            </a:lvl1pPr>
            <a:lvl2pPr>
              <a:defRPr sz="1200"/>
            </a:lvl2pPr>
            <a:lvl3pPr>
              <a:defRPr sz="1200"/>
            </a:lvl3pPr>
            <a:lvl4pPr>
              <a:defRPr sz="1200"/>
            </a:lvl4pPr>
            <a:lvl5pPr>
              <a:defRPr sz="1200"/>
            </a:lvl5pPr>
            <a:lvl6pPr marL="359678" indent="0">
              <a:buNone/>
              <a:defRPr sz="1200"/>
            </a:lvl6pPr>
            <a:lvl7pPr marL="359678" indent="0">
              <a:buNone/>
              <a:defRPr sz="1200"/>
            </a:lvl7pPr>
            <a:lvl8pPr marL="359678" indent="0">
              <a:buNone/>
              <a:defRPr sz="1200"/>
            </a:lvl8pPr>
            <a:lvl9pPr marL="359678" indent="0">
              <a:buNone/>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Inhaltsplatzhalter 2"/>
          <p:cNvSpPr>
            <a:spLocks noGrp="1"/>
          </p:cNvSpPr>
          <p:nvPr>
            <p:ph sz="quarter" idx="24" hasCustomPrompt="1"/>
          </p:nvPr>
        </p:nvSpPr>
        <p:spPr bwMode="gray">
          <a:xfrm>
            <a:off x="9192832" y="1701160"/>
            <a:ext cx="2448319" cy="2015533"/>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Inhaltsplatzhalter 2"/>
          <p:cNvSpPr>
            <a:spLocks noGrp="1"/>
          </p:cNvSpPr>
          <p:nvPr>
            <p:ph sz="quarter" idx="25" hasCustomPrompt="1"/>
          </p:nvPr>
        </p:nvSpPr>
        <p:spPr bwMode="gray">
          <a:xfrm>
            <a:off x="9192832" y="3933213"/>
            <a:ext cx="2448319" cy="2015533"/>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Inhaltsplatzhalter 2"/>
          <p:cNvSpPr>
            <a:spLocks noGrp="1"/>
          </p:cNvSpPr>
          <p:nvPr>
            <p:ph sz="quarter" idx="26" hasCustomPrompt="1"/>
          </p:nvPr>
        </p:nvSpPr>
        <p:spPr bwMode="gray">
          <a:xfrm>
            <a:off x="6312057" y="1701160"/>
            <a:ext cx="2448319" cy="2015533"/>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Inhaltsplatzhalter 2"/>
          <p:cNvSpPr>
            <a:spLocks noGrp="1"/>
          </p:cNvSpPr>
          <p:nvPr>
            <p:ph sz="quarter" idx="27" hasCustomPrompt="1"/>
          </p:nvPr>
        </p:nvSpPr>
        <p:spPr bwMode="gray">
          <a:xfrm>
            <a:off x="6312057" y="3933213"/>
            <a:ext cx="2448319" cy="2015533"/>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platzhalter 6"/>
          <p:cNvSpPr>
            <a:spLocks noGrp="1"/>
          </p:cNvSpPr>
          <p:nvPr>
            <p:ph type="body" sz="quarter" idx="13" hasCustomPrompt="1"/>
          </p:nvPr>
        </p:nvSpPr>
        <p:spPr bwMode="gray">
          <a:xfrm>
            <a:off x="550935" y="982058"/>
            <a:ext cx="11090131" cy="503122"/>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accent1"/>
                </a:solidFill>
              </a:defRPr>
            </a:lvl7pPr>
            <a:lvl8pPr marL="0" indent="0">
              <a:buNone/>
              <a:defRPr sz="1800">
                <a:solidFill>
                  <a:schemeClr val="accent1"/>
                </a:solidFill>
              </a:defRPr>
            </a:lvl8pPr>
            <a:lvl9pPr marL="0" indent="0">
              <a:buNone/>
              <a:defRPr sz="1800">
                <a:solidFill>
                  <a:schemeClr val="accent1"/>
                </a:solidFill>
              </a:defRPr>
            </a:lvl9pPr>
          </a:lstStyle>
          <a:p>
            <a:pPr lvl="0"/>
            <a:r>
              <a:rPr lang="en-US" dirty="0"/>
              <a:t>Subheadline</a:t>
            </a:r>
          </a:p>
        </p:txBody>
      </p:sp>
      <p:sp>
        <p:nvSpPr>
          <p:cNvPr id="18" name="Rechteck 17" hidden="1">
            <a:extLst>
              <a:ext uri="{FF2B5EF4-FFF2-40B4-BE49-F238E27FC236}">
                <a16:creationId xmlns:a16="http://schemas.microsoft.com/office/drawing/2014/main" id="{F8D88161-80BF-4961-A956-8273E586FBDC}"/>
              </a:ext>
            </a:extLst>
          </p:cNvPr>
          <p:cNvSpPr/>
          <p:nvPr userDrawn="1">
            <p:custDataLst>
              <p:tags r:id="rId1"/>
            </p:custDataLst>
          </p:nvPr>
        </p:nvSpPr>
        <p:spPr>
          <a:xfrm>
            <a:off x="9192833" y="5997473"/>
            <a:ext cx="2999167" cy="860528"/>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
        <p:nvSpPr>
          <p:cNvPr id="2" name="Titel 1">
            <a:extLst>
              <a:ext uri="{FF2B5EF4-FFF2-40B4-BE49-F238E27FC236}">
                <a16:creationId xmlns:a16="http://schemas.microsoft.com/office/drawing/2014/main" id="{64DCBCCE-C31E-4B50-8CB7-71B864389396}"/>
              </a:ext>
            </a:extLst>
          </p:cNvPr>
          <p:cNvSpPr>
            <a:spLocks noGrp="1"/>
          </p:cNvSpPr>
          <p:nvPr>
            <p:ph type="title" hasCustomPrompt="1"/>
          </p:nvPr>
        </p:nvSpPr>
        <p:spPr/>
        <p:txBody>
          <a:bodyPr/>
          <a:lstStyle/>
          <a:p>
            <a:r>
              <a:rPr lang="en-US" dirty="0"/>
              <a:t>Click to edit Master title style</a:t>
            </a:r>
          </a:p>
        </p:txBody>
      </p:sp>
      <p:sp>
        <p:nvSpPr>
          <p:cNvPr id="19" name="Inhaltsplatzhalter 2">
            <a:extLst>
              <a:ext uri="{FF2B5EF4-FFF2-40B4-BE49-F238E27FC236}">
                <a16:creationId xmlns:a16="http://schemas.microsoft.com/office/drawing/2014/main" id="{40F8188A-762A-470A-81EE-35DBADCDED98}"/>
              </a:ext>
            </a:extLst>
          </p:cNvPr>
          <p:cNvSpPr>
            <a:spLocks noGrp="1"/>
          </p:cNvSpPr>
          <p:nvPr>
            <p:ph sz="quarter" idx="28" hasCustomPrompt="1"/>
          </p:nvPr>
        </p:nvSpPr>
        <p:spPr bwMode="gray">
          <a:xfrm>
            <a:off x="550508" y="1701160"/>
            <a:ext cx="2448319" cy="2015533"/>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Inhaltsplatzhalter 2">
            <a:extLst>
              <a:ext uri="{FF2B5EF4-FFF2-40B4-BE49-F238E27FC236}">
                <a16:creationId xmlns:a16="http://schemas.microsoft.com/office/drawing/2014/main" id="{82ADD605-1517-4762-AD44-095E3E9B23B7}"/>
              </a:ext>
            </a:extLst>
          </p:cNvPr>
          <p:cNvSpPr>
            <a:spLocks noGrp="1"/>
          </p:cNvSpPr>
          <p:nvPr>
            <p:ph sz="quarter" idx="29" hasCustomPrompt="1"/>
          </p:nvPr>
        </p:nvSpPr>
        <p:spPr bwMode="gray">
          <a:xfrm>
            <a:off x="550508" y="3933213"/>
            <a:ext cx="2448319" cy="2015533"/>
          </a:xfrm>
        </p:spPr>
        <p:txBody>
          <a:bodyPr/>
          <a:lstStyle>
            <a:lvl1pPr>
              <a:defRPr sz="1200"/>
            </a:lvl1pPr>
            <a:lvl2pPr>
              <a:defRPr sz="1200"/>
            </a:lvl2pPr>
            <a:lvl3pPr>
              <a:defRPr sz="1200"/>
            </a:lvl3pPr>
            <a:lvl4pPr>
              <a:defRPr sz="1200"/>
            </a:lvl4pPr>
            <a:lvl5pPr>
              <a:defRPr sz="1200"/>
            </a:lvl5pPr>
            <a:lvl6pPr marL="359678" indent="0">
              <a:buNone/>
              <a:defRPr sz="1200"/>
            </a:lvl6pPr>
            <a:lvl7pPr marL="359678" indent="0">
              <a:buNone/>
              <a:defRPr sz="1200"/>
            </a:lvl7pPr>
            <a:lvl8pPr marL="359678" indent="0">
              <a:buNone/>
              <a:defRPr sz="1200"/>
            </a:lvl8pPr>
            <a:lvl9pPr marL="359678" indent="0">
              <a:buNone/>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35379550"/>
      </p:ext>
    </p:extLst>
  </p:cSld>
  <p:clrMapOvr>
    <a:masterClrMapping/>
  </p:clrMapOvr>
  <p:extLst>
    <p:ext uri="{DCECCB84-F9BA-43D5-87BE-67443E8EF086}">
      <p15:sldGuideLst xmlns:p15="http://schemas.microsoft.com/office/powerpoint/2012/main">
        <p15:guide id="1" orient="horz" pos="2343">
          <p15:clr>
            <a:srgbClr val="FBAE40"/>
          </p15:clr>
        </p15:guide>
        <p15:guide id="2" orient="horz" pos="2478">
          <p15:clr>
            <a:srgbClr val="FBAE40"/>
          </p15:clr>
        </p15:guide>
        <p15:guide id="3" pos="3975">
          <p15:clr>
            <a:srgbClr val="FBAE40"/>
          </p15:clr>
        </p15:guide>
        <p15:guide id="4" pos="3704">
          <p15:clr>
            <a:srgbClr val="FBAE40"/>
          </p15:clr>
        </p15:guide>
        <p15:guide id="5" pos="2160">
          <p15:clr>
            <a:srgbClr val="FBAE40"/>
          </p15:clr>
        </p15:guide>
        <p15:guide id="6" pos="1890">
          <p15:clr>
            <a:srgbClr val="FBAE40"/>
          </p15:clr>
        </p15:guide>
        <p15:guide id="7" pos="5518">
          <p15:clr>
            <a:srgbClr val="FBAE40"/>
          </p15:clr>
        </p15:guide>
        <p15:guide id="8" pos="579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6 content">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fld id="{A749E7AC-639D-4F7B-9EBA-9BD2E15598E4}" type="datetime1">
              <a:rPr lang="en-US"/>
              <a:t>10/22/2024</a:t>
            </a:fld>
            <a:endParaRPr lang="en-US" dirty="0"/>
          </a:p>
        </p:txBody>
      </p:sp>
      <p:sp>
        <p:nvSpPr>
          <p:cNvPr id="8" name="Fußzeilenplatzhalter 7"/>
          <p:cNvSpPr>
            <a:spLocks noGrp="1"/>
          </p:cNvSpPr>
          <p:nvPr>
            <p:ph type="ftr" sz="quarter" idx="11"/>
          </p:nvPr>
        </p:nvSpPr>
        <p:spPr bwMode="gray"/>
        <p:txBody>
          <a:bodyPr/>
          <a:lstStyle/>
          <a:p>
            <a:r>
              <a:rPr lang="en-US" dirty="0"/>
              <a:t>Please insert footnote</a:t>
            </a:r>
          </a:p>
        </p:txBody>
      </p:sp>
      <p:sp>
        <p:nvSpPr>
          <p:cNvPr id="9" name="Foliennummernplatzhalter 8"/>
          <p:cNvSpPr>
            <a:spLocks noGrp="1"/>
          </p:cNvSpPr>
          <p:nvPr>
            <p:ph type="sldNum" sz="quarter" idx="12"/>
          </p:nvPr>
        </p:nvSpPr>
        <p:spPr bwMode="gray"/>
        <p:txBody>
          <a:bodyPr/>
          <a:lstStyle/>
          <a:p>
            <a:fld id="{4915BD61-E5D5-4E4F-ADA0-6F3448AB9FA6}" type="slidenum">
              <a:rPr lang="en-US"/>
              <a:pPr/>
              <a:t>‹#›</a:t>
            </a:fld>
            <a:endParaRPr lang="en-US" dirty="0"/>
          </a:p>
        </p:txBody>
      </p:sp>
      <p:sp>
        <p:nvSpPr>
          <p:cNvPr id="3" name="Inhaltsplatzhalter 2"/>
          <p:cNvSpPr>
            <a:spLocks noGrp="1"/>
          </p:cNvSpPr>
          <p:nvPr>
            <p:ph sz="quarter" idx="14" hasCustomPrompt="1"/>
          </p:nvPr>
        </p:nvSpPr>
        <p:spPr bwMode="gray">
          <a:xfrm>
            <a:off x="550738" y="1701750"/>
            <a:ext cx="1728225" cy="4247017"/>
          </a:xfrm>
        </p:spPr>
        <p:txBody>
          <a:bodyPr/>
          <a:lstStyle>
            <a:lvl1pPr>
              <a:defRPr sz="1200"/>
            </a:lvl1pPr>
            <a:lvl2pPr>
              <a:defRPr sz="1200"/>
            </a:lvl2pPr>
            <a:lvl3pPr>
              <a:defRPr sz="1200"/>
            </a:lvl3pPr>
            <a:lvl4pPr marL="359928" indent="-179964">
              <a:buFont typeface="Symbol" panose="05050102010706020507" pitchFamily="18" charset="2"/>
              <a:buChar cha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Inhaltsplatzhalter 2"/>
          <p:cNvSpPr>
            <a:spLocks noGrp="1"/>
          </p:cNvSpPr>
          <p:nvPr>
            <p:ph sz="quarter" idx="15" hasCustomPrompt="1"/>
          </p:nvPr>
        </p:nvSpPr>
        <p:spPr bwMode="gray">
          <a:xfrm>
            <a:off x="2423241" y="1701750"/>
            <a:ext cx="1728225" cy="4247017"/>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0"/>
            <a:endParaRPr lang="en-US" dirty="0"/>
          </a:p>
        </p:txBody>
      </p:sp>
      <p:sp>
        <p:nvSpPr>
          <p:cNvPr id="11" name="Inhaltsplatzhalter 2"/>
          <p:cNvSpPr>
            <a:spLocks noGrp="1"/>
          </p:cNvSpPr>
          <p:nvPr>
            <p:ph sz="quarter" idx="16" hasCustomPrompt="1"/>
          </p:nvPr>
        </p:nvSpPr>
        <p:spPr bwMode="gray">
          <a:xfrm>
            <a:off x="4295745" y="1701750"/>
            <a:ext cx="1728225" cy="4247017"/>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Inhaltsplatzhalter 2"/>
          <p:cNvSpPr>
            <a:spLocks noGrp="1"/>
          </p:cNvSpPr>
          <p:nvPr>
            <p:ph sz="quarter" idx="17" hasCustomPrompt="1"/>
          </p:nvPr>
        </p:nvSpPr>
        <p:spPr bwMode="gray">
          <a:xfrm>
            <a:off x="6168249" y="1701750"/>
            <a:ext cx="1728225" cy="4247017"/>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Inhaltsplatzhalter 2"/>
          <p:cNvSpPr>
            <a:spLocks noGrp="1"/>
          </p:cNvSpPr>
          <p:nvPr>
            <p:ph sz="quarter" idx="18" hasCustomPrompt="1"/>
          </p:nvPr>
        </p:nvSpPr>
        <p:spPr bwMode="gray">
          <a:xfrm>
            <a:off x="8040753" y="1701750"/>
            <a:ext cx="1728225" cy="4247017"/>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Inhaltsplatzhalter 2"/>
          <p:cNvSpPr>
            <a:spLocks noGrp="1"/>
          </p:cNvSpPr>
          <p:nvPr>
            <p:ph sz="quarter" idx="19" hasCustomPrompt="1"/>
          </p:nvPr>
        </p:nvSpPr>
        <p:spPr bwMode="gray">
          <a:xfrm>
            <a:off x="9910875" y="1701750"/>
            <a:ext cx="1728235" cy="4247017"/>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platzhalter 6"/>
          <p:cNvSpPr>
            <a:spLocks noGrp="1"/>
          </p:cNvSpPr>
          <p:nvPr>
            <p:ph type="body" sz="quarter" idx="13" hasCustomPrompt="1"/>
          </p:nvPr>
        </p:nvSpPr>
        <p:spPr bwMode="gray">
          <a:xfrm>
            <a:off x="550935" y="982058"/>
            <a:ext cx="11090131" cy="503122"/>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accent1"/>
                </a:solidFill>
              </a:defRPr>
            </a:lvl7pPr>
            <a:lvl8pPr marL="0" indent="0">
              <a:buNone/>
              <a:defRPr sz="1800">
                <a:solidFill>
                  <a:schemeClr val="accent1"/>
                </a:solidFill>
              </a:defRPr>
            </a:lvl8pPr>
            <a:lvl9pPr marL="0" indent="0">
              <a:buNone/>
              <a:defRPr sz="1800">
                <a:solidFill>
                  <a:schemeClr val="accent1"/>
                </a:solidFill>
              </a:defRPr>
            </a:lvl9pPr>
          </a:lstStyle>
          <a:p>
            <a:pPr lvl="0"/>
            <a:r>
              <a:rPr lang="en-US" dirty="0"/>
              <a:t>Subheadline</a:t>
            </a:r>
          </a:p>
        </p:txBody>
      </p:sp>
      <p:sp>
        <p:nvSpPr>
          <p:cNvPr id="16" name="Rechteck 15" hidden="1">
            <a:extLst>
              <a:ext uri="{FF2B5EF4-FFF2-40B4-BE49-F238E27FC236}">
                <a16:creationId xmlns:a16="http://schemas.microsoft.com/office/drawing/2014/main" id="{E62B80AD-09A0-49C6-B8B0-623C4363E8C2}"/>
              </a:ext>
            </a:extLst>
          </p:cNvPr>
          <p:cNvSpPr/>
          <p:nvPr userDrawn="1">
            <p:custDataLst>
              <p:tags r:id="rId1"/>
            </p:custDataLst>
          </p:nvPr>
        </p:nvSpPr>
        <p:spPr>
          <a:xfrm>
            <a:off x="9192833" y="5997473"/>
            <a:ext cx="2999167" cy="860528"/>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
        <p:nvSpPr>
          <p:cNvPr id="4" name="Titel 3">
            <a:extLst>
              <a:ext uri="{FF2B5EF4-FFF2-40B4-BE49-F238E27FC236}">
                <a16:creationId xmlns:a16="http://schemas.microsoft.com/office/drawing/2014/main" id="{639BA129-5AA9-4716-9DCF-10BFE15DEA5D}"/>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140752762"/>
      </p:ext>
    </p:extLst>
  </p:cSld>
  <p:clrMapOvr>
    <a:masterClrMapping/>
  </p:clrMapOvr>
  <p:extLst>
    <p:ext uri="{DCECCB84-F9BA-43D5-87BE-67443E8EF086}">
      <p15:sldGuideLst xmlns:p15="http://schemas.microsoft.com/office/powerpoint/2012/main">
        <p15:guide id="1" pos="1526">
          <p15:clr>
            <a:srgbClr val="FBAE40"/>
          </p15:clr>
        </p15:guide>
        <p15:guide id="2" pos="1436">
          <p15:clr>
            <a:srgbClr val="FBAE40"/>
          </p15:clr>
        </p15:guide>
        <p15:guide id="3" pos="2705">
          <p15:clr>
            <a:srgbClr val="FBAE40"/>
          </p15:clr>
        </p15:guide>
        <p15:guide id="4" pos="2616">
          <p15:clr>
            <a:srgbClr val="FBAE40"/>
          </p15:clr>
        </p15:guide>
        <p15:guide id="5" pos="3795">
          <p15:clr>
            <a:srgbClr val="FBAE40"/>
          </p15:clr>
        </p15:guide>
        <p15:guide id="6" pos="3885">
          <p15:clr>
            <a:srgbClr val="FBAE40"/>
          </p15:clr>
        </p15:guide>
        <p15:guide id="7" pos="4974">
          <p15:clr>
            <a:srgbClr val="FBAE40"/>
          </p15:clr>
        </p15:guide>
        <p15:guide id="8" pos="5064">
          <p15:clr>
            <a:srgbClr val="FBAE40"/>
          </p15:clr>
        </p15:guide>
        <p15:guide id="9" pos="6153">
          <p15:clr>
            <a:srgbClr val="FBAE40"/>
          </p15:clr>
        </p15:guide>
        <p15:guide id="10" pos="6242">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030FD855-4613-4AB6-A36A-0E3CBF051957}"/>
              </a:ext>
            </a:extLst>
          </p:cNvPr>
          <p:cNvSpPr>
            <a:spLocks noGrp="1"/>
          </p:cNvSpPr>
          <p:nvPr>
            <p:ph type="dt" sz="half" idx="10"/>
          </p:nvPr>
        </p:nvSpPr>
        <p:spPr/>
        <p:txBody>
          <a:bodyPr/>
          <a:lstStyle/>
          <a:p>
            <a:fld id="{6343F761-C622-4D5D-B75F-C7A133756A85}" type="datetime1">
              <a:rPr lang="en-US"/>
              <a:t>10/22/2024</a:t>
            </a:fld>
            <a:endParaRPr lang="en-US" dirty="0"/>
          </a:p>
        </p:txBody>
      </p:sp>
      <p:sp>
        <p:nvSpPr>
          <p:cNvPr id="3" name="Fußzeilenplatzhalter 2">
            <a:extLst>
              <a:ext uri="{FF2B5EF4-FFF2-40B4-BE49-F238E27FC236}">
                <a16:creationId xmlns:a16="http://schemas.microsoft.com/office/drawing/2014/main" id="{17549853-C3D3-45EB-9570-556F1697984F}"/>
              </a:ext>
            </a:extLst>
          </p:cNvPr>
          <p:cNvSpPr>
            <a:spLocks noGrp="1"/>
          </p:cNvSpPr>
          <p:nvPr>
            <p:ph type="ftr" sz="quarter" idx="11"/>
          </p:nvPr>
        </p:nvSpPr>
        <p:spPr/>
        <p:txBody>
          <a:bodyPr/>
          <a:lstStyle/>
          <a:p>
            <a:r>
              <a:rPr lang="en-US" dirty="0"/>
              <a:t>Please insert footnote</a:t>
            </a:r>
          </a:p>
        </p:txBody>
      </p:sp>
      <p:sp>
        <p:nvSpPr>
          <p:cNvPr id="4" name="Foliennummernplatzhalter 3">
            <a:extLst>
              <a:ext uri="{FF2B5EF4-FFF2-40B4-BE49-F238E27FC236}">
                <a16:creationId xmlns:a16="http://schemas.microsoft.com/office/drawing/2014/main" id="{6DFD2136-B45C-44F4-8FD6-B171BBF31261}"/>
              </a:ext>
            </a:extLst>
          </p:cNvPr>
          <p:cNvSpPr>
            <a:spLocks noGrp="1"/>
          </p:cNvSpPr>
          <p:nvPr>
            <p:ph type="sldNum" sz="quarter" idx="12"/>
          </p:nvPr>
        </p:nvSpPr>
        <p:spPr/>
        <p:txBody>
          <a:bodyPr/>
          <a:lstStyle/>
          <a:p>
            <a:fld id="{4915BD61-E5D5-4E4F-ADA0-6F3448AB9FA6}" type="slidenum">
              <a:rPr lang="en-US"/>
              <a:pPr/>
              <a:t>‹#›</a:t>
            </a:fld>
            <a:endParaRPr lang="en-US" dirty="0"/>
          </a:p>
        </p:txBody>
      </p:sp>
    </p:spTree>
    <p:extLst>
      <p:ext uri="{BB962C8B-B14F-4D97-AF65-F5344CB8AC3E}">
        <p14:creationId xmlns:p14="http://schemas.microsoft.com/office/powerpoint/2010/main" val="254034356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Picture wave with text">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fld id="{DCDE2627-E4D7-4CE9-94E6-0C6C0595A25C}" type="datetime1">
              <a:rPr lang="en-US"/>
              <a:t>10/22/2024</a:t>
            </a:fld>
            <a:endParaRPr lang="en-US" dirty="0"/>
          </a:p>
        </p:txBody>
      </p:sp>
      <p:sp>
        <p:nvSpPr>
          <p:cNvPr id="8" name="Fußzeilenplatzhalter 7"/>
          <p:cNvSpPr>
            <a:spLocks noGrp="1"/>
          </p:cNvSpPr>
          <p:nvPr>
            <p:ph type="ftr" sz="quarter" idx="11"/>
          </p:nvPr>
        </p:nvSpPr>
        <p:spPr bwMode="gray">
          <a:xfrm>
            <a:off x="1703328" y="6452719"/>
            <a:ext cx="4392572" cy="172505"/>
          </a:xfrm>
        </p:spPr>
        <p:txBody>
          <a:bodyPr/>
          <a:lstStyle/>
          <a:p>
            <a:r>
              <a:rPr lang="en-US" dirty="0"/>
              <a:t>Please insert footnote</a:t>
            </a:r>
          </a:p>
        </p:txBody>
      </p:sp>
      <p:sp>
        <p:nvSpPr>
          <p:cNvPr id="9" name="Foliennummernplatzhalter 8"/>
          <p:cNvSpPr>
            <a:spLocks noGrp="1"/>
          </p:cNvSpPr>
          <p:nvPr>
            <p:ph type="sldNum" sz="quarter" idx="12"/>
          </p:nvPr>
        </p:nvSpPr>
        <p:spPr bwMode="gray"/>
        <p:txBody>
          <a:bodyPr/>
          <a:lstStyle/>
          <a:p>
            <a:fld id="{4915BD61-E5D5-4E4F-ADA0-6F3448AB9FA6}" type="slidenum">
              <a:rPr lang="en-US"/>
              <a:pPr/>
              <a:t>‹#›</a:t>
            </a:fld>
            <a:endParaRPr lang="en-US" dirty="0"/>
          </a:p>
        </p:txBody>
      </p:sp>
      <p:sp>
        <p:nvSpPr>
          <p:cNvPr id="10" name="Rechteck 9" hidden="1">
            <a:extLst>
              <a:ext uri="{FF2B5EF4-FFF2-40B4-BE49-F238E27FC236}">
                <a16:creationId xmlns:a16="http://schemas.microsoft.com/office/drawing/2014/main" id="{FE3524AA-862B-4112-9BA8-D2F2947A2031}"/>
              </a:ext>
            </a:extLst>
          </p:cNvPr>
          <p:cNvSpPr/>
          <p:nvPr userDrawn="1">
            <p:custDataLst>
              <p:tags r:id="rId1"/>
            </p:custDataLst>
          </p:nvPr>
        </p:nvSpPr>
        <p:spPr>
          <a:xfrm>
            <a:off x="9192833" y="5997473"/>
            <a:ext cx="2999167" cy="860528"/>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
        <p:nvSpPr>
          <p:cNvPr id="2" name="Titel 1">
            <a:extLst>
              <a:ext uri="{FF2B5EF4-FFF2-40B4-BE49-F238E27FC236}">
                <a16:creationId xmlns:a16="http://schemas.microsoft.com/office/drawing/2014/main" id="{D9B2E24E-A23E-49E8-9553-8D33D2C7E133}"/>
              </a:ext>
            </a:extLst>
          </p:cNvPr>
          <p:cNvSpPr>
            <a:spLocks noGrp="1"/>
          </p:cNvSpPr>
          <p:nvPr>
            <p:ph type="title" hasCustomPrompt="1"/>
          </p:nvPr>
        </p:nvSpPr>
        <p:spPr>
          <a:xfrm>
            <a:off x="550933" y="3789027"/>
            <a:ext cx="11090132" cy="431900"/>
          </a:xfrm>
        </p:spPr>
        <p:txBody>
          <a:bodyPr/>
          <a:lstStyle/>
          <a:p>
            <a:r>
              <a:rPr lang="en-US" dirty="0"/>
              <a:t>Click to edit Master title style</a:t>
            </a:r>
          </a:p>
        </p:txBody>
      </p:sp>
      <p:sp>
        <p:nvSpPr>
          <p:cNvPr id="19" name="Bildplatzhalter 18">
            <a:extLst>
              <a:ext uri="{FF2B5EF4-FFF2-40B4-BE49-F238E27FC236}">
                <a16:creationId xmlns:a16="http://schemas.microsoft.com/office/drawing/2014/main" id="{3AEBEBB4-B285-4962-A458-B701E8C62C41}"/>
              </a:ext>
            </a:extLst>
          </p:cNvPr>
          <p:cNvSpPr>
            <a:spLocks noGrp="1"/>
          </p:cNvSpPr>
          <p:nvPr>
            <p:ph type="pic" sz="quarter" idx="13" hasCustomPrompt="1"/>
          </p:nvPr>
        </p:nvSpPr>
        <p:spPr bwMode="gray">
          <a:xfrm>
            <a:off x="1" y="3"/>
            <a:ext cx="12192000" cy="3424344"/>
          </a:xfrm>
          <a:custGeom>
            <a:avLst/>
            <a:gdLst>
              <a:gd name="connsiteX0" fmla="*/ 0 w 12190413"/>
              <a:gd name="connsiteY0" fmla="*/ 0 h 3425137"/>
              <a:gd name="connsiteX1" fmla="*/ 12190413 w 12190413"/>
              <a:gd name="connsiteY1" fmla="*/ 0 h 3425137"/>
              <a:gd name="connsiteX2" fmla="*/ 12190413 w 12190413"/>
              <a:gd name="connsiteY2" fmla="*/ 3120353 h 3425137"/>
              <a:gd name="connsiteX3" fmla="*/ 9142879 w 12190413"/>
              <a:gd name="connsiteY3" fmla="*/ 2815501 h 3425137"/>
              <a:gd name="connsiteX4" fmla="*/ 6095207 w 12190413"/>
              <a:gd name="connsiteY4" fmla="*/ 3120353 h 3425137"/>
              <a:gd name="connsiteX5" fmla="*/ 3047672 w 12190413"/>
              <a:gd name="connsiteY5" fmla="*/ 3425137 h 3425137"/>
              <a:gd name="connsiteX6" fmla="*/ 0 w 12190413"/>
              <a:gd name="connsiteY6" fmla="*/ 3120353 h 3425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0413" h="3425137">
                <a:moveTo>
                  <a:pt x="0" y="0"/>
                </a:moveTo>
                <a:lnTo>
                  <a:pt x="12190413" y="0"/>
                </a:lnTo>
                <a:lnTo>
                  <a:pt x="12190413" y="3120353"/>
                </a:lnTo>
                <a:cubicBezTo>
                  <a:pt x="12190413" y="3120353"/>
                  <a:pt x="10666646" y="2815501"/>
                  <a:pt x="9142879" y="2815501"/>
                </a:cubicBezTo>
                <a:cubicBezTo>
                  <a:pt x="7619043" y="2815501"/>
                  <a:pt x="6095207" y="3120353"/>
                  <a:pt x="6095207" y="3120353"/>
                </a:cubicBezTo>
                <a:cubicBezTo>
                  <a:pt x="6095207" y="3120353"/>
                  <a:pt x="4571440" y="3425137"/>
                  <a:pt x="3047672" y="3425137"/>
                </a:cubicBezTo>
                <a:cubicBezTo>
                  <a:pt x="1523905" y="3425137"/>
                  <a:pt x="0" y="3120353"/>
                  <a:pt x="0" y="3120353"/>
                </a:cubicBezTo>
                <a:close/>
              </a:path>
            </a:pathLst>
          </a:custGeom>
          <a:pattFill prst="ltUpDiag">
            <a:fgClr>
              <a:schemeClr val="accent1"/>
            </a:fgClr>
            <a:bgClr>
              <a:schemeClr val="bg1"/>
            </a:bgClr>
          </a:pattFill>
        </p:spPr>
        <p:txBody>
          <a:bodyPr wrap="square" tIns="0" bIns="504000" anchor="ctr" anchorCtr="1">
            <a:noAutofit/>
          </a:bodyPr>
          <a:lstStyle>
            <a:lvl1pPr marL="0" indent="0" algn="ctr">
              <a:buNone/>
              <a:defRPr sz="1200" cap="none" baseline="0">
                <a:solidFill>
                  <a:schemeClr val="tx1"/>
                </a:solidFill>
              </a:defRPr>
            </a:lvl1pPr>
            <a:lvl2pPr marL="0" indent="0" algn="ctr">
              <a:buNone/>
              <a:defRPr sz="1200"/>
            </a:lvl2pPr>
            <a:lvl3pPr marL="0" indent="0" algn="ctr">
              <a:buNone/>
              <a:defRPr sz="1200"/>
            </a:lvl3pPr>
            <a:lvl4pPr marL="0" indent="0" algn="ctr">
              <a:buNone/>
              <a:defRPr sz="1200"/>
            </a:lvl4pPr>
            <a:lvl5pPr marL="0" indent="0" algn="ctr">
              <a:buNone/>
              <a:defRPr sz="1200"/>
            </a:lvl5pPr>
          </a:lstStyle>
          <a:p>
            <a:pPr lvl="0"/>
            <a:r>
              <a:rPr lang="en-US" dirty="0"/>
              <a:t> </a:t>
            </a:r>
          </a:p>
        </p:txBody>
      </p:sp>
      <p:sp>
        <p:nvSpPr>
          <p:cNvPr id="6" name="Textplatzhalter 5">
            <a:extLst>
              <a:ext uri="{FF2B5EF4-FFF2-40B4-BE49-F238E27FC236}">
                <a16:creationId xmlns:a16="http://schemas.microsoft.com/office/drawing/2014/main" id="{E3F24536-40D0-4716-A3F0-EE241E71CFE3}"/>
              </a:ext>
            </a:extLst>
          </p:cNvPr>
          <p:cNvSpPr>
            <a:spLocks noGrp="1"/>
          </p:cNvSpPr>
          <p:nvPr>
            <p:ph type="body" sz="quarter" idx="14" hasCustomPrompt="1"/>
          </p:nvPr>
        </p:nvSpPr>
        <p:spPr>
          <a:xfrm>
            <a:off x="550935" y="4508900"/>
            <a:ext cx="3456205" cy="1439529"/>
          </a:xfrm>
        </p:spPr>
        <p:txBody>
          <a:bodyPr/>
          <a:lstStyle>
            <a:lvl1pPr>
              <a:defRPr sz="1200"/>
            </a:lvl1pPr>
            <a:lvl2pPr>
              <a:defRPr sz="1200"/>
            </a:lvl2pPr>
            <a:lvl3pPr>
              <a:defRPr sz="1200"/>
            </a:lvl3pPr>
            <a:lvl4pPr>
              <a:defRPr sz="1200"/>
            </a:lvl4pPr>
            <a:lvl5pPr>
              <a:defRPr sz="1200"/>
            </a:lvl5pPr>
            <a:lvl6pPr marL="359928" indent="0">
              <a:buFont typeface="Symbol" panose="05050102010706020507" pitchFamily="18" charset="2"/>
              <a:buNone/>
              <a:defRPr sz="1200"/>
            </a:lvl6pPr>
            <a:lvl7pPr marL="359928" indent="0">
              <a:buFont typeface="Symbol" panose="05050102010706020507" pitchFamily="18" charset="2"/>
              <a:buNone/>
              <a:defRPr sz="1200"/>
            </a:lvl7pPr>
            <a:lvl8pPr marL="359928" indent="0">
              <a:buFont typeface="Symbol" panose="05050102010706020507" pitchFamily="18" charset="2"/>
              <a:buNone/>
              <a:defRPr sz="1200"/>
            </a:lvl8pPr>
            <a:lvl9pPr marL="359928" indent="0">
              <a:buFont typeface="Symbol" panose="05050102010706020507" pitchFamily="18" charset="2"/>
              <a:buNone/>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1" name="Textplatzhalter 5">
            <a:extLst>
              <a:ext uri="{FF2B5EF4-FFF2-40B4-BE49-F238E27FC236}">
                <a16:creationId xmlns:a16="http://schemas.microsoft.com/office/drawing/2014/main" id="{A4AE54CE-F2E2-4C40-AAE4-35C1DC6F8ACD}"/>
              </a:ext>
            </a:extLst>
          </p:cNvPr>
          <p:cNvSpPr>
            <a:spLocks noGrp="1"/>
          </p:cNvSpPr>
          <p:nvPr>
            <p:ph type="body" sz="quarter" idx="15" hasCustomPrompt="1"/>
          </p:nvPr>
        </p:nvSpPr>
        <p:spPr>
          <a:xfrm>
            <a:off x="4367898" y="4509094"/>
            <a:ext cx="3456205" cy="1439529"/>
          </a:xfrm>
        </p:spPr>
        <p:txBody>
          <a:bodyPr/>
          <a:lstStyle>
            <a:lvl1pPr>
              <a:defRPr sz="1200"/>
            </a:lvl1pPr>
            <a:lvl2pPr>
              <a:defRPr sz="1200"/>
            </a:lvl2pPr>
            <a:lvl3pPr>
              <a:defRPr sz="1200"/>
            </a:lvl3pPr>
            <a:lvl4pPr>
              <a:defRPr sz="1200"/>
            </a:lvl4pPr>
            <a:lvl5pPr>
              <a:defRPr sz="1200"/>
            </a:lvl5pPr>
            <a:lvl6pPr marL="539892" indent="-179964">
              <a:buFont typeface="Symbol" panose="05050102010706020507" pitchFamily="18" charset="2"/>
              <a:buChar char="-"/>
              <a:defRPr sz="1200"/>
            </a:lvl6pPr>
            <a:lvl7pPr marL="539892" indent="-179964">
              <a:defRPr sz="1200"/>
            </a:lvl7pPr>
            <a:lvl8pPr marL="539892" indent="-179964">
              <a:defRPr sz="1200"/>
            </a:lvl8pPr>
            <a:lvl9pPr marL="539892" indent="-179964">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2" name="Textplatzhalter 5">
            <a:extLst>
              <a:ext uri="{FF2B5EF4-FFF2-40B4-BE49-F238E27FC236}">
                <a16:creationId xmlns:a16="http://schemas.microsoft.com/office/drawing/2014/main" id="{3479F679-FAAD-4147-8DF9-E46AB14EAFD1}"/>
              </a:ext>
            </a:extLst>
          </p:cNvPr>
          <p:cNvSpPr>
            <a:spLocks noGrp="1"/>
          </p:cNvSpPr>
          <p:nvPr>
            <p:ph type="body" sz="quarter" idx="16" hasCustomPrompt="1"/>
          </p:nvPr>
        </p:nvSpPr>
        <p:spPr>
          <a:xfrm>
            <a:off x="8184861" y="4509288"/>
            <a:ext cx="3456205" cy="1439529"/>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5350913"/>
      </p:ext>
    </p:extLst>
  </p:cSld>
  <p:clrMapOvr>
    <a:masterClrMapping/>
  </p:clrMapOvr>
  <p:extLst>
    <p:ext uri="{DCECCB84-F9BA-43D5-87BE-67443E8EF086}">
      <p15:sldGuideLst xmlns:p15="http://schemas.microsoft.com/office/powerpoint/2012/main">
        <p15:guide id="1" orient="horz" pos="80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icture wave with Title (1)">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fld id="{377D2C3F-F2D2-4C71-8303-32B22EF5395C}" type="datetime1">
              <a:rPr lang="en-US"/>
              <a:t>10/22/2024</a:t>
            </a:fld>
            <a:endParaRPr lang="en-US" dirty="0"/>
          </a:p>
        </p:txBody>
      </p:sp>
      <p:sp>
        <p:nvSpPr>
          <p:cNvPr id="8" name="Fußzeilenplatzhalter 7"/>
          <p:cNvSpPr>
            <a:spLocks noGrp="1"/>
          </p:cNvSpPr>
          <p:nvPr>
            <p:ph type="ftr" sz="quarter" idx="11"/>
          </p:nvPr>
        </p:nvSpPr>
        <p:spPr bwMode="gray">
          <a:xfrm>
            <a:off x="1703328" y="6452719"/>
            <a:ext cx="4392572" cy="172505"/>
          </a:xfrm>
        </p:spPr>
        <p:txBody>
          <a:bodyPr/>
          <a:lstStyle/>
          <a:p>
            <a:r>
              <a:rPr lang="en-US" dirty="0"/>
              <a:t>Please insert footnote</a:t>
            </a:r>
          </a:p>
        </p:txBody>
      </p:sp>
      <p:sp>
        <p:nvSpPr>
          <p:cNvPr id="9" name="Foliennummernplatzhalter 8"/>
          <p:cNvSpPr>
            <a:spLocks noGrp="1"/>
          </p:cNvSpPr>
          <p:nvPr>
            <p:ph type="sldNum" sz="quarter" idx="12"/>
          </p:nvPr>
        </p:nvSpPr>
        <p:spPr bwMode="gray"/>
        <p:txBody>
          <a:bodyPr/>
          <a:lstStyle/>
          <a:p>
            <a:fld id="{4915BD61-E5D5-4E4F-ADA0-6F3448AB9FA6}" type="slidenum">
              <a:rPr lang="en-US"/>
              <a:pPr/>
              <a:t>‹#›</a:t>
            </a:fld>
            <a:endParaRPr lang="en-US" dirty="0"/>
          </a:p>
        </p:txBody>
      </p:sp>
      <p:sp>
        <p:nvSpPr>
          <p:cNvPr id="10" name="Rechteck 9" hidden="1">
            <a:extLst>
              <a:ext uri="{FF2B5EF4-FFF2-40B4-BE49-F238E27FC236}">
                <a16:creationId xmlns:a16="http://schemas.microsoft.com/office/drawing/2014/main" id="{FE3524AA-862B-4112-9BA8-D2F2947A2031}"/>
              </a:ext>
            </a:extLst>
          </p:cNvPr>
          <p:cNvSpPr/>
          <p:nvPr userDrawn="1">
            <p:custDataLst>
              <p:tags r:id="rId1"/>
            </p:custDataLst>
          </p:nvPr>
        </p:nvSpPr>
        <p:spPr>
          <a:xfrm>
            <a:off x="9192833" y="5997473"/>
            <a:ext cx="2999167" cy="860528"/>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
        <p:nvSpPr>
          <p:cNvPr id="2" name="Titel 1">
            <a:extLst>
              <a:ext uri="{FF2B5EF4-FFF2-40B4-BE49-F238E27FC236}">
                <a16:creationId xmlns:a16="http://schemas.microsoft.com/office/drawing/2014/main" id="{D9B2E24E-A23E-49E8-9553-8D33D2C7E133}"/>
              </a:ext>
            </a:extLst>
          </p:cNvPr>
          <p:cNvSpPr>
            <a:spLocks noGrp="1"/>
          </p:cNvSpPr>
          <p:nvPr>
            <p:ph type="title" hasCustomPrompt="1"/>
          </p:nvPr>
        </p:nvSpPr>
        <p:spPr>
          <a:xfrm>
            <a:off x="550933" y="3789027"/>
            <a:ext cx="11090132" cy="431900"/>
          </a:xfrm>
        </p:spPr>
        <p:txBody>
          <a:bodyPr/>
          <a:lstStyle/>
          <a:p>
            <a:r>
              <a:rPr lang="en-US" dirty="0"/>
              <a:t>Click to edit Master title style</a:t>
            </a:r>
          </a:p>
        </p:txBody>
      </p:sp>
      <p:sp>
        <p:nvSpPr>
          <p:cNvPr id="19" name="Bildplatzhalter 18">
            <a:extLst>
              <a:ext uri="{FF2B5EF4-FFF2-40B4-BE49-F238E27FC236}">
                <a16:creationId xmlns:a16="http://schemas.microsoft.com/office/drawing/2014/main" id="{3AEBEBB4-B285-4962-A458-B701E8C62C41}"/>
              </a:ext>
            </a:extLst>
          </p:cNvPr>
          <p:cNvSpPr>
            <a:spLocks noGrp="1"/>
          </p:cNvSpPr>
          <p:nvPr>
            <p:ph type="pic" sz="quarter" idx="13" hasCustomPrompt="1"/>
          </p:nvPr>
        </p:nvSpPr>
        <p:spPr bwMode="gray">
          <a:xfrm>
            <a:off x="1" y="3"/>
            <a:ext cx="12192000" cy="3424344"/>
          </a:xfrm>
          <a:custGeom>
            <a:avLst/>
            <a:gdLst>
              <a:gd name="connsiteX0" fmla="*/ 0 w 12190413"/>
              <a:gd name="connsiteY0" fmla="*/ 0 h 3425137"/>
              <a:gd name="connsiteX1" fmla="*/ 12190413 w 12190413"/>
              <a:gd name="connsiteY1" fmla="*/ 0 h 3425137"/>
              <a:gd name="connsiteX2" fmla="*/ 12190413 w 12190413"/>
              <a:gd name="connsiteY2" fmla="*/ 3120353 h 3425137"/>
              <a:gd name="connsiteX3" fmla="*/ 9142879 w 12190413"/>
              <a:gd name="connsiteY3" fmla="*/ 2815501 h 3425137"/>
              <a:gd name="connsiteX4" fmla="*/ 6095207 w 12190413"/>
              <a:gd name="connsiteY4" fmla="*/ 3120353 h 3425137"/>
              <a:gd name="connsiteX5" fmla="*/ 3047672 w 12190413"/>
              <a:gd name="connsiteY5" fmla="*/ 3425137 h 3425137"/>
              <a:gd name="connsiteX6" fmla="*/ 0 w 12190413"/>
              <a:gd name="connsiteY6" fmla="*/ 3120353 h 3425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0413" h="3425137">
                <a:moveTo>
                  <a:pt x="0" y="0"/>
                </a:moveTo>
                <a:lnTo>
                  <a:pt x="12190413" y="0"/>
                </a:lnTo>
                <a:lnTo>
                  <a:pt x="12190413" y="3120353"/>
                </a:lnTo>
                <a:cubicBezTo>
                  <a:pt x="12190413" y="3120353"/>
                  <a:pt x="10666646" y="2815501"/>
                  <a:pt x="9142879" y="2815501"/>
                </a:cubicBezTo>
                <a:cubicBezTo>
                  <a:pt x="7619043" y="2815501"/>
                  <a:pt x="6095207" y="3120353"/>
                  <a:pt x="6095207" y="3120353"/>
                </a:cubicBezTo>
                <a:cubicBezTo>
                  <a:pt x="6095207" y="3120353"/>
                  <a:pt x="4571440" y="3425137"/>
                  <a:pt x="3047672" y="3425137"/>
                </a:cubicBezTo>
                <a:cubicBezTo>
                  <a:pt x="1523905" y="3425137"/>
                  <a:pt x="0" y="3120353"/>
                  <a:pt x="0" y="3120353"/>
                </a:cubicBezTo>
                <a:close/>
              </a:path>
            </a:pathLst>
          </a:custGeom>
          <a:pattFill prst="ltUpDiag">
            <a:fgClr>
              <a:schemeClr val="accent1"/>
            </a:fgClr>
            <a:bgClr>
              <a:schemeClr val="bg1"/>
            </a:bgClr>
          </a:pattFill>
        </p:spPr>
        <p:txBody>
          <a:bodyPr wrap="square" tIns="0" bIns="504000" anchor="ctr" anchorCtr="1">
            <a:noAutofit/>
          </a:bodyPr>
          <a:lstStyle>
            <a:lvl1pPr marL="0" indent="0" algn="ctr">
              <a:buNone/>
              <a:defRPr sz="1200" cap="none" baseline="0">
                <a:solidFill>
                  <a:schemeClr val="tx1"/>
                </a:solidFill>
              </a:defRPr>
            </a:lvl1pPr>
            <a:lvl2pPr marL="0" indent="0" algn="ctr">
              <a:buNone/>
              <a:defRPr sz="1200"/>
            </a:lvl2pPr>
            <a:lvl3pPr marL="0" indent="0" algn="ctr">
              <a:buNone/>
              <a:defRPr sz="1200"/>
            </a:lvl3pPr>
            <a:lvl4pPr marL="0" indent="0" algn="ctr">
              <a:buNone/>
              <a:defRPr sz="1200"/>
            </a:lvl4pPr>
            <a:lvl5pPr marL="0" indent="0" algn="ctr">
              <a:buNone/>
              <a:defRPr sz="1200"/>
            </a:lvl5pPr>
          </a:lstStyle>
          <a:p>
            <a:pPr lvl="0"/>
            <a:r>
              <a:rPr lang="en-US" dirty="0"/>
              <a:t> </a:t>
            </a:r>
          </a:p>
        </p:txBody>
      </p:sp>
      <p:sp>
        <p:nvSpPr>
          <p:cNvPr id="12" name="Textplatzhalter 6">
            <a:extLst>
              <a:ext uri="{FF2B5EF4-FFF2-40B4-BE49-F238E27FC236}">
                <a16:creationId xmlns:a16="http://schemas.microsoft.com/office/drawing/2014/main" id="{D003C732-D9AC-4D42-B275-105509A0A8C1}"/>
              </a:ext>
            </a:extLst>
          </p:cNvPr>
          <p:cNvSpPr>
            <a:spLocks noGrp="1"/>
          </p:cNvSpPr>
          <p:nvPr>
            <p:ph type="body" sz="quarter" idx="14" hasCustomPrompt="1"/>
          </p:nvPr>
        </p:nvSpPr>
        <p:spPr bwMode="gray">
          <a:xfrm>
            <a:off x="550935" y="4365745"/>
            <a:ext cx="11090131" cy="503122"/>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accent1"/>
                </a:solidFill>
              </a:defRPr>
            </a:lvl7pPr>
            <a:lvl8pPr marL="0" indent="0">
              <a:buNone/>
              <a:defRPr sz="1800">
                <a:solidFill>
                  <a:schemeClr val="accent1"/>
                </a:solidFill>
              </a:defRPr>
            </a:lvl8pPr>
            <a:lvl9pPr marL="0" indent="0">
              <a:buNone/>
              <a:defRPr sz="1800">
                <a:solidFill>
                  <a:schemeClr val="accent1"/>
                </a:solidFill>
              </a:defRPr>
            </a:lvl9pPr>
          </a:lstStyle>
          <a:p>
            <a:pPr lvl="0"/>
            <a:r>
              <a:rPr lang="en-US" dirty="0"/>
              <a:t>Subheadline</a:t>
            </a:r>
          </a:p>
        </p:txBody>
      </p:sp>
    </p:spTree>
    <p:extLst>
      <p:ext uri="{BB962C8B-B14F-4D97-AF65-F5344CB8AC3E}">
        <p14:creationId xmlns:p14="http://schemas.microsoft.com/office/powerpoint/2010/main" val="2385227040"/>
      </p:ext>
    </p:extLst>
  </p:cSld>
  <p:clrMapOvr>
    <a:masterClrMapping/>
  </p:clrMapOvr>
  <p:extLst>
    <p:ext uri="{DCECCB84-F9BA-43D5-87BE-67443E8EF086}">
      <p15:sldGuideLst xmlns:p15="http://schemas.microsoft.com/office/powerpoint/2012/main">
        <p15:guide id="1" orient="horz" pos="80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023F0D-2B3F-7CFB-1EF6-4A0E2CD39C7C}"/>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75741FE5-671B-5BD4-A78A-9DB008AB15D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81450877-4D88-518A-53BE-6F61EEEF551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7B073E6F-BB33-60D1-7F39-1ADFCE34F6DE}"/>
              </a:ext>
            </a:extLst>
          </p:cNvPr>
          <p:cNvSpPr>
            <a:spLocks noGrp="1"/>
          </p:cNvSpPr>
          <p:nvPr>
            <p:ph type="dt" sz="half" idx="10"/>
          </p:nvPr>
        </p:nvSpPr>
        <p:spPr/>
        <p:txBody>
          <a:bodyPr/>
          <a:lstStyle/>
          <a:p>
            <a:fld id="{8E2DC9B0-CADE-4BCF-8B5E-A3E36D03AA2F}" type="datetimeFigureOut">
              <a:rPr lang="en-GB" smtClean="0"/>
              <a:t>22/10/2024</a:t>
            </a:fld>
            <a:endParaRPr lang="en-GB"/>
          </a:p>
        </p:txBody>
      </p:sp>
      <p:sp>
        <p:nvSpPr>
          <p:cNvPr id="6" name="Footer Placeholder 5">
            <a:extLst>
              <a:ext uri="{FF2B5EF4-FFF2-40B4-BE49-F238E27FC236}">
                <a16:creationId xmlns:a16="http://schemas.microsoft.com/office/drawing/2014/main" id="{08391690-D288-A8FD-1F21-696FB8F6B22E}"/>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AF7E000B-205A-6AF4-1D09-5E49BBB59F30}"/>
              </a:ext>
            </a:extLst>
          </p:cNvPr>
          <p:cNvSpPr>
            <a:spLocks noGrp="1"/>
          </p:cNvSpPr>
          <p:nvPr>
            <p:ph type="sldNum" sz="quarter" idx="12"/>
          </p:nvPr>
        </p:nvSpPr>
        <p:spPr/>
        <p:txBody>
          <a:bodyPr/>
          <a:lstStyle/>
          <a:p>
            <a:fld id="{3DBB904D-600E-4758-B075-158E5AAE9766}" type="slidenum">
              <a:rPr lang="en-GB" smtClean="0"/>
              <a:t>‹#›</a:t>
            </a:fld>
            <a:endParaRPr lang="en-GB"/>
          </a:p>
        </p:txBody>
      </p:sp>
    </p:spTree>
    <p:extLst>
      <p:ext uri="{BB962C8B-B14F-4D97-AF65-F5344CB8AC3E}">
        <p14:creationId xmlns:p14="http://schemas.microsoft.com/office/powerpoint/2010/main" val="147746602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icture wave with Title (2)">
    <p:spTree>
      <p:nvGrpSpPr>
        <p:cNvPr id="1" name=""/>
        <p:cNvGrpSpPr/>
        <p:nvPr/>
      </p:nvGrpSpPr>
      <p:grpSpPr>
        <a:xfrm>
          <a:off x="0" y="0"/>
          <a:ext cx="0" cy="0"/>
          <a:chOff x="0" y="0"/>
          <a:chExt cx="0" cy="0"/>
        </a:xfrm>
      </p:grpSpPr>
      <p:sp>
        <p:nvSpPr>
          <p:cNvPr id="15" name="Bildplatzhalter 14">
            <a:extLst>
              <a:ext uri="{FF2B5EF4-FFF2-40B4-BE49-F238E27FC236}">
                <a16:creationId xmlns:a16="http://schemas.microsoft.com/office/drawing/2014/main" id="{1C25F226-3646-4C1E-B5B1-523793A476A3}"/>
              </a:ext>
            </a:extLst>
          </p:cNvPr>
          <p:cNvSpPr>
            <a:spLocks noGrp="1"/>
          </p:cNvSpPr>
          <p:nvPr>
            <p:ph type="pic" sz="quarter" idx="13" hasCustomPrompt="1"/>
          </p:nvPr>
        </p:nvSpPr>
        <p:spPr bwMode="gray">
          <a:xfrm>
            <a:off x="2" y="0"/>
            <a:ext cx="12192000" cy="4569216"/>
          </a:xfrm>
          <a:custGeom>
            <a:avLst/>
            <a:gdLst>
              <a:gd name="connsiteX0" fmla="*/ 0 w 12190413"/>
              <a:gd name="connsiteY0" fmla="*/ 0 h 4570274"/>
              <a:gd name="connsiteX1" fmla="*/ 12190413 w 12190413"/>
              <a:gd name="connsiteY1" fmla="*/ 0 h 4570274"/>
              <a:gd name="connsiteX2" fmla="*/ 12190413 w 12190413"/>
              <a:gd name="connsiteY2" fmla="*/ 4265493 h 4570274"/>
              <a:gd name="connsiteX3" fmla="*/ 9142879 w 12190413"/>
              <a:gd name="connsiteY3" fmla="*/ 3960644 h 4570274"/>
              <a:gd name="connsiteX4" fmla="*/ 6095207 w 12190413"/>
              <a:gd name="connsiteY4" fmla="*/ 4265493 h 4570274"/>
              <a:gd name="connsiteX5" fmla="*/ 3047672 w 12190413"/>
              <a:gd name="connsiteY5" fmla="*/ 4570274 h 4570274"/>
              <a:gd name="connsiteX6" fmla="*/ 0 w 12190413"/>
              <a:gd name="connsiteY6" fmla="*/ 4265493 h 4570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0413" h="4570274">
                <a:moveTo>
                  <a:pt x="0" y="0"/>
                </a:moveTo>
                <a:lnTo>
                  <a:pt x="12190413" y="0"/>
                </a:lnTo>
                <a:lnTo>
                  <a:pt x="12190413" y="4265493"/>
                </a:lnTo>
                <a:cubicBezTo>
                  <a:pt x="12190413" y="4265493"/>
                  <a:pt x="10666646" y="3960644"/>
                  <a:pt x="9142879" y="3960644"/>
                </a:cubicBezTo>
                <a:cubicBezTo>
                  <a:pt x="7619043" y="3960644"/>
                  <a:pt x="6095207" y="4265493"/>
                  <a:pt x="6095207" y="4265493"/>
                </a:cubicBezTo>
                <a:cubicBezTo>
                  <a:pt x="6095207" y="4265493"/>
                  <a:pt x="4571440" y="4570274"/>
                  <a:pt x="3047672" y="4570274"/>
                </a:cubicBezTo>
                <a:cubicBezTo>
                  <a:pt x="1523905" y="4570274"/>
                  <a:pt x="0" y="4265493"/>
                  <a:pt x="0" y="4265493"/>
                </a:cubicBezTo>
                <a:close/>
              </a:path>
            </a:pathLst>
          </a:custGeom>
          <a:pattFill prst="ltUpDiag">
            <a:fgClr>
              <a:schemeClr val="accent1"/>
            </a:fgClr>
            <a:bgClr>
              <a:schemeClr val="bg1"/>
            </a:bgClr>
          </a:pattFill>
        </p:spPr>
        <p:txBody>
          <a:bodyPr wrap="square" tIns="0" bIns="504000" anchor="ctr" anchorCtr="1">
            <a:noAutofit/>
          </a:bodyPr>
          <a:lstStyle>
            <a:lvl1pPr marL="0" indent="0" algn="ctr">
              <a:buNone/>
              <a:defRPr sz="1200" cap="none" baseline="0">
                <a:solidFill>
                  <a:schemeClr val="tx1"/>
                </a:solidFill>
              </a:defRPr>
            </a:lvl1pPr>
            <a:lvl2pPr marL="0" indent="0" algn="ctr">
              <a:buNone/>
              <a:defRPr sz="1200"/>
            </a:lvl2pPr>
            <a:lvl3pPr marL="0" indent="0" algn="ctr">
              <a:buNone/>
              <a:defRPr sz="1200"/>
            </a:lvl3pPr>
            <a:lvl4pPr marL="0" indent="0" algn="ctr">
              <a:buNone/>
              <a:defRPr sz="1200"/>
            </a:lvl4pPr>
            <a:lvl5pPr marL="0" indent="0" algn="ctr">
              <a:buNone/>
              <a:defRPr sz="1200"/>
            </a:lvl5pPr>
          </a:lstStyle>
          <a:p>
            <a:pPr lvl="0"/>
            <a:r>
              <a:rPr lang="en-US" dirty="0"/>
              <a:t> </a:t>
            </a:r>
          </a:p>
        </p:txBody>
      </p:sp>
      <p:sp>
        <p:nvSpPr>
          <p:cNvPr id="7" name="Datumsplatzhalter 6"/>
          <p:cNvSpPr>
            <a:spLocks noGrp="1"/>
          </p:cNvSpPr>
          <p:nvPr>
            <p:ph type="dt" sz="half" idx="10"/>
          </p:nvPr>
        </p:nvSpPr>
        <p:spPr bwMode="gray"/>
        <p:txBody>
          <a:bodyPr/>
          <a:lstStyle/>
          <a:p>
            <a:fld id="{6F7257DB-573A-4CA5-8566-D16A44F289F7}" type="datetime1">
              <a:rPr lang="en-US"/>
              <a:t>10/22/2024</a:t>
            </a:fld>
            <a:endParaRPr lang="en-US" dirty="0"/>
          </a:p>
        </p:txBody>
      </p:sp>
      <p:sp>
        <p:nvSpPr>
          <p:cNvPr id="8" name="Fußzeilenplatzhalter 7"/>
          <p:cNvSpPr>
            <a:spLocks noGrp="1"/>
          </p:cNvSpPr>
          <p:nvPr>
            <p:ph type="ftr" sz="quarter" idx="11"/>
          </p:nvPr>
        </p:nvSpPr>
        <p:spPr bwMode="gray">
          <a:xfrm>
            <a:off x="1703328" y="6452719"/>
            <a:ext cx="4392572" cy="172505"/>
          </a:xfrm>
        </p:spPr>
        <p:txBody>
          <a:bodyPr/>
          <a:lstStyle/>
          <a:p>
            <a:r>
              <a:rPr lang="en-US" dirty="0"/>
              <a:t>Please insert footnote</a:t>
            </a:r>
          </a:p>
        </p:txBody>
      </p:sp>
      <p:sp>
        <p:nvSpPr>
          <p:cNvPr id="9" name="Foliennummernplatzhalter 8"/>
          <p:cNvSpPr>
            <a:spLocks noGrp="1"/>
          </p:cNvSpPr>
          <p:nvPr>
            <p:ph type="sldNum" sz="quarter" idx="12"/>
          </p:nvPr>
        </p:nvSpPr>
        <p:spPr bwMode="gray"/>
        <p:txBody>
          <a:bodyPr/>
          <a:lstStyle/>
          <a:p>
            <a:fld id="{4915BD61-E5D5-4E4F-ADA0-6F3448AB9FA6}" type="slidenum">
              <a:rPr lang="en-US"/>
              <a:pPr/>
              <a:t>‹#›</a:t>
            </a:fld>
            <a:endParaRPr lang="en-US" dirty="0"/>
          </a:p>
        </p:txBody>
      </p:sp>
      <p:sp>
        <p:nvSpPr>
          <p:cNvPr id="10" name="Rechteck 9" hidden="1">
            <a:extLst>
              <a:ext uri="{FF2B5EF4-FFF2-40B4-BE49-F238E27FC236}">
                <a16:creationId xmlns:a16="http://schemas.microsoft.com/office/drawing/2014/main" id="{FE3524AA-862B-4112-9BA8-D2F2947A2031}"/>
              </a:ext>
            </a:extLst>
          </p:cNvPr>
          <p:cNvSpPr/>
          <p:nvPr userDrawn="1">
            <p:custDataLst>
              <p:tags r:id="rId1"/>
            </p:custDataLst>
          </p:nvPr>
        </p:nvSpPr>
        <p:spPr>
          <a:xfrm>
            <a:off x="9192833" y="5997473"/>
            <a:ext cx="2999167" cy="860528"/>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
        <p:nvSpPr>
          <p:cNvPr id="2" name="Titel 1">
            <a:extLst>
              <a:ext uri="{FF2B5EF4-FFF2-40B4-BE49-F238E27FC236}">
                <a16:creationId xmlns:a16="http://schemas.microsoft.com/office/drawing/2014/main" id="{D9B2E24E-A23E-49E8-9553-8D33D2C7E133}"/>
              </a:ext>
            </a:extLst>
          </p:cNvPr>
          <p:cNvSpPr>
            <a:spLocks noGrp="1"/>
          </p:cNvSpPr>
          <p:nvPr>
            <p:ph type="title" hasCustomPrompt="1"/>
          </p:nvPr>
        </p:nvSpPr>
        <p:spPr>
          <a:xfrm>
            <a:off x="550934" y="5012913"/>
            <a:ext cx="3456504" cy="719873"/>
          </a:xfrm>
        </p:spPr>
        <p:txBody>
          <a:bodyPr/>
          <a:lstStyle/>
          <a:p>
            <a:r>
              <a:rPr lang="en-US" dirty="0"/>
              <a:t>Click to edit Master title style</a:t>
            </a:r>
          </a:p>
        </p:txBody>
      </p:sp>
      <p:sp>
        <p:nvSpPr>
          <p:cNvPr id="11" name="Textplatzhalter 5">
            <a:extLst>
              <a:ext uri="{FF2B5EF4-FFF2-40B4-BE49-F238E27FC236}">
                <a16:creationId xmlns:a16="http://schemas.microsoft.com/office/drawing/2014/main" id="{5A1BC81C-64C6-4509-86D2-B65987A1C906}"/>
              </a:ext>
            </a:extLst>
          </p:cNvPr>
          <p:cNvSpPr>
            <a:spLocks noGrp="1"/>
          </p:cNvSpPr>
          <p:nvPr>
            <p:ph type="body" sz="quarter" idx="14" hasCustomPrompt="1"/>
          </p:nvPr>
        </p:nvSpPr>
        <p:spPr>
          <a:xfrm>
            <a:off x="550935" y="5733124"/>
            <a:ext cx="3456503" cy="359629"/>
          </a:xfrm>
        </p:spPr>
        <p:txBody>
          <a:bodyPr/>
          <a:lstStyle>
            <a:lvl1pPr marL="0" indent="0">
              <a:spcAft>
                <a:spcPts val="0"/>
              </a:spcAft>
              <a:buFont typeface="Arial" panose="020B0604020202020204" pitchFamily="34" charset="0"/>
              <a:buNone/>
              <a:defRPr sz="180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spcAft>
                <a:spcPts val="0"/>
              </a:spcAft>
              <a:buNone/>
              <a:defRPr sz="1800">
                <a:solidFill>
                  <a:schemeClr val="accent1"/>
                </a:solidFill>
              </a:defRPr>
            </a:lvl7pPr>
            <a:lvl8pPr marL="0" indent="0">
              <a:buNone/>
              <a:defRPr sz="1800">
                <a:solidFill>
                  <a:schemeClr val="accent1"/>
                </a:solidFill>
              </a:defRPr>
            </a:lvl8pPr>
            <a:lvl9pPr marL="0" indent="0">
              <a:buNone/>
              <a:defRPr sz="1800">
                <a:solidFill>
                  <a:schemeClr val="accent1"/>
                </a:solidFill>
              </a:defRPr>
            </a:lvl9pPr>
          </a:lstStyle>
          <a:p>
            <a:pPr lvl="0"/>
            <a:r>
              <a:rPr lang="en-US" dirty="0"/>
              <a:t>Additional title</a:t>
            </a:r>
          </a:p>
        </p:txBody>
      </p:sp>
    </p:spTree>
    <p:extLst>
      <p:ext uri="{BB962C8B-B14F-4D97-AF65-F5344CB8AC3E}">
        <p14:creationId xmlns:p14="http://schemas.microsoft.com/office/powerpoint/2010/main" val="1008072755"/>
      </p:ext>
    </p:extLst>
  </p:cSld>
  <p:clrMapOvr>
    <a:masterClrMapping/>
  </p:clrMapOvr>
  <p:extLst>
    <p:ext uri="{DCECCB84-F9BA-43D5-87BE-67443E8EF086}">
      <p15:sldGuideLst xmlns:p15="http://schemas.microsoft.com/office/powerpoint/2012/main">
        <p15:guide id="1" orient="horz" pos="80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with picture (2)">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fld id="{E68DD755-E2F3-4C43-9845-D8DA143C6B19}" type="datetime1">
              <a:rPr lang="en-US"/>
              <a:t>10/22/2024</a:t>
            </a:fld>
            <a:endParaRPr lang="en-US" dirty="0"/>
          </a:p>
        </p:txBody>
      </p:sp>
      <p:sp>
        <p:nvSpPr>
          <p:cNvPr id="8" name="Fußzeilenplatzhalter 7"/>
          <p:cNvSpPr>
            <a:spLocks noGrp="1"/>
          </p:cNvSpPr>
          <p:nvPr>
            <p:ph type="ftr" sz="quarter" idx="11"/>
          </p:nvPr>
        </p:nvSpPr>
        <p:spPr bwMode="gray"/>
        <p:txBody>
          <a:bodyPr/>
          <a:lstStyle/>
          <a:p>
            <a:r>
              <a:rPr lang="en-US" dirty="0"/>
              <a:t>Please insert footnote</a:t>
            </a:r>
          </a:p>
        </p:txBody>
      </p:sp>
      <p:sp>
        <p:nvSpPr>
          <p:cNvPr id="9" name="Foliennummernplatzhalter 8"/>
          <p:cNvSpPr>
            <a:spLocks noGrp="1"/>
          </p:cNvSpPr>
          <p:nvPr>
            <p:ph type="sldNum" sz="quarter" idx="12"/>
          </p:nvPr>
        </p:nvSpPr>
        <p:spPr bwMode="gray"/>
        <p:txBody>
          <a:bodyPr/>
          <a:lstStyle/>
          <a:p>
            <a:fld id="{4915BD61-E5D5-4E4F-ADA0-6F3448AB9FA6}" type="slidenum">
              <a:rPr lang="en-US"/>
              <a:pPr/>
              <a:t>‹#›</a:t>
            </a:fld>
            <a:endParaRPr lang="en-US" dirty="0"/>
          </a:p>
        </p:txBody>
      </p:sp>
      <p:sp>
        <p:nvSpPr>
          <p:cNvPr id="3" name="Bildplatzhalter 2"/>
          <p:cNvSpPr>
            <a:spLocks noGrp="1"/>
          </p:cNvSpPr>
          <p:nvPr>
            <p:ph type="pic" sz="quarter" idx="13" hasCustomPrompt="1"/>
          </p:nvPr>
        </p:nvSpPr>
        <p:spPr bwMode="gray">
          <a:xfrm>
            <a:off x="550507" y="1269850"/>
            <a:ext cx="11090984" cy="4678917"/>
          </a:xfrm>
          <a:pattFill prst="ltUpDiag">
            <a:fgClr>
              <a:schemeClr val="accent1"/>
            </a:fgClr>
            <a:bgClr>
              <a:schemeClr val="bg1"/>
            </a:bgClr>
          </a:pattFill>
        </p:spPr>
        <p:txBody>
          <a:bodyPr tIns="0" bIns="504000" anchor="ctr" anchorCtr="1"/>
          <a:lstStyle>
            <a:lvl1pPr marL="0" indent="0" algn="ctr">
              <a:buNone/>
              <a:defRPr sz="1200" cap="none" baseline="0">
                <a:solidFill>
                  <a:schemeClr val="tx1"/>
                </a:solidFill>
              </a:defRPr>
            </a:lvl1pPr>
            <a:lvl2pPr marL="0" indent="0" algn="ctr">
              <a:buNone/>
              <a:defRPr sz="1200"/>
            </a:lvl2pPr>
            <a:lvl3pPr marL="0" indent="0" algn="ctr">
              <a:buNone/>
              <a:defRPr sz="1200"/>
            </a:lvl3pPr>
            <a:lvl4pPr marL="0" indent="0" algn="ctr">
              <a:buNone/>
              <a:defRPr sz="1200"/>
            </a:lvl4pPr>
            <a:lvl5pPr marL="0" indent="0" algn="ctr">
              <a:buNone/>
              <a:defRPr sz="1200"/>
            </a:lvl5pPr>
          </a:lstStyle>
          <a:p>
            <a:pPr lvl="0"/>
            <a:r>
              <a:rPr lang="en-US" dirty="0"/>
              <a:t> </a:t>
            </a:r>
          </a:p>
        </p:txBody>
      </p:sp>
      <p:sp>
        <p:nvSpPr>
          <p:cNvPr id="10" name="Rechteck 9" hidden="1">
            <a:extLst>
              <a:ext uri="{FF2B5EF4-FFF2-40B4-BE49-F238E27FC236}">
                <a16:creationId xmlns:a16="http://schemas.microsoft.com/office/drawing/2014/main" id="{FE3524AA-862B-4112-9BA8-D2F2947A2031}"/>
              </a:ext>
            </a:extLst>
          </p:cNvPr>
          <p:cNvSpPr/>
          <p:nvPr userDrawn="1">
            <p:custDataLst>
              <p:tags r:id="rId1"/>
            </p:custDataLst>
          </p:nvPr>
        </p:nvSpPr>
        <p:spPr>
          <a:xfrm>
            <a:off x="9192833" y="5997473"/>
            <a:ext cx="2999167" cy="860528"/>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
        <p:nvSpPr>
          <p:cNvPr id="2" name="Titel 1">
            <a:extLst>
              <a:ext uri="{FF2B5EF4-FFF2-40B4-BE49-F238E27FC236}">
                <a16:creationId xmlns:a16="http://schemas.microsoft.com/office/drawing/2014/main" id="{D9B2E24E-A23E-49E8-9553-8D33D2C7E133}"/>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706467224"/>
      </p:ext>
    </p:extLst>
  </p:cSld>
  <p:clrMapOvr>
    <a:masterClrMapping/>
  </p:clrMapOvr>
  <p:extLst>
    <p:ext uri="{DCECCB84-F9BA-43D5-87BE-67443E8EF086}">
      <p15:sldGuideLst xmlns:p15="http://schemas.microsoft.com/office/powerpoint/2012/main">
        <p15:guide id="1" orient="horz" pos="80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ig picture (bright)">
    <p:spTree>
      <p:nvGrpSpPr>
        <p:cNvPr id="1" name=""/>
        <p:cNvGrpSpPr/>
        <p:nvPr/>
      </p:nvGrpSpPr>
      <p:grpSpPr>
        <a:xfrm>
          <a:off x="0" y="0"/>
          <a:ext cx="0" cy="0"/>
          <a:chOff x="0" y="0"/>
          <a:chExt cx="0" cy="0"/>
        </a:xfrm>
      </p:grpSpPr>
      <p:sp>
        <p:nvSpPr>
          <p:cNvPr id="3" name="Bildplatzhalter 2"/>
          <p:cNvSpPr>
            <a:spLocks noGrp="1"/>
          </p:cNvSpPr>
          <p:nvPr>
            <p:ph type="pic" sz="quarter" idx="13" hasCustomPrompt="1"/>
          </p:nvPr>
        </p:nvSpPr>
        <p:spPr bwMode="gray">
          <a:xfrm>
            <a:off x="-1" y="0"/>
            <a:ext cx="12192000" cy="6858000"/>
          </a:xfrm>
          <a:pattFill prst="ltUpDiag">
            <a:fgClr>
              <a:schemeClr val="accent1"/>
            </a:fgClr>
            <a:bgClr>
              <a:schemeClr val="bg1"/>
            </a:bgClr>
          </a:pattFill>
        </p:spPr>
        <p:txBody>
          <a:bodyPr tIns="0" bIns="504000" anchor="ctr" anchorCtr="1"/>
          <a:lstStyle>
            <a:lvl1pPr marL="0" indent="0" algn="ctr">
              <a:buNone/>
              <a:defRPr sz="1200" cap="none" baseline="0">
                <a:solidFill>
                  <a:schemeClr val="tx1"/>
                </a:solidFill>
              </a:defRPr>
            </a:lvl1pPr>
            <a:lvl2pPr marL="0" indent="0" algn="ctr">
              <a:buNone/>
              <a:defRPr sz="1200"/>
            </a:lvl2pPr>
            <a:lvl3pPr marL="0" indent="0" algn="ctr">
              <a:buNone/>
              <a:defRPr sz="1200"/>
            </a:lvl3pPr>
            <a:lvl4pPr marL="0" indent="0" algn="ctr">
              <a:buNone/>
              <a:defRPr sz="1200"/>
            </a:lvl4pPr>
            <a:lvl5pPr marL="0" indent="0" algn="ctr">
              <a:buNone/>
              <a:defRPr sz="1200"/>
            </a:lvl5pPr>
          </a:lstStyle>
          <a:p>
            <a:pPr lvl="0"/>
            <a:r>
              <a:rPr lang="en-US" dirty="0"/>
              <a:t> </a:t>
            </a:r>
          </a:p>
        </p:txBody>
      </p:sp>
      <p:sp>
        <p:nvSpPr>
          <p:cNvPr id="7" name="Datumsplatzhalter 6"/>
          <p:cNvSpPr>
            <a:spLocks noGrp="1"/>
          </p:cNvSpPr>
          <p:nvPr>
            <p:ph type="dt" sz="half" idx="10"/>
          </p:nvPr>
        </p:nvSpPr>
        <p:spPr bwMode="gray"/>
        <p:txBody>
          <a:bodyPr/>
          <a:lstStyle/>
          <a:p>
            <a:fld id="{303E7AF8-9CD2-4877-AB3E-695184864073}" type="datetime1">
              <a:rPr lang="en-US"/>
              <a:t>10/22/2024</a:t>
            </a:fld>
            <a:endParaRPr lang="en-US" dirty="0"/>
          </a:p>
        </p:txBody>
      </p:sp>
      <p:sp>
        <p:nvSpPr>
          <p:cNvPr id="8" name="Fußzeilenplatzhalter 7"/>
          <p:cNvSpPr>
            <a:spLocks noGrp="1"/>
          </p:cNvSpPr>
          <p:nvPr>
            <p:ph type="ftr" sz="quarter" idx="11"/>
          </p:nvPr>
        </p:nvSpPr>
        <p:spPr bwMode="gray"/>
        <p:txBody>
          <a:bodyPr/>
          <a:lstStyle/>
          <a:p>
            <a:r>
              <a:rPr lang="en-US" dirty="0"/>
              <a:t>Please insert footnote</a:t>
            </a:r>
          </a:p>
        </p:txBody>
      </p:sp>
      <p:sp>
        <p:nvSpPr>
          <p:cNvPr id="9" name="Foliennummernplatzhalter 8"/>
          <p:cNvSpPr>
            <a:spLocks noGrp="1"/>
          </p:cNvSpPr>
          <p:nvPr>
            <p:ph type="sldNum" sz="quarter" idx="12"/>
          </p:nvPr>
        </p:nvSpPr>
        <p:spPr bwMode="gray"/>
        <p:txBody>
          <a:bodyPr/>
          <a:lstStyle/>
          <a:p>
            <a:fld id="{4915BD61-E5D5-4E4F-ADA0-6F3448AB9FA6}" type="slidenum">
              <a:rPr lang="en-US"/>
              <a:pPr/>
              <a:t>‹#›</a:t>
            </a:fld>
            <a:endParaRPr lang="en-US" dirty="0"/>
          </a:p>
        </p:txBody>
      </p:sp>
      <p:sp>
        <p:nvSpPr>
          <p:cNvPr id="2" name="Titel 1">
            <a:extLst>
              <a:ext uri="{FF2B5EF4-FFF2-40B4-BE49-F238E27FC236}">
                <a16:creationId xmlns:a16="http://schemas.microsoft.com/office/drawing/2014/main" id="{9190DF61-2AD4-4C39-B6F2-27FED0287E28}"/>
              </a:ext>
            </a:extLst>
          </p:cNvPr>
          <p:cNvSpPr>
            <a:spLocks noGrp="1"/>
          </p:cNvSpPr>
          <p:nvPr>
            <p:ph type="title" hasCustomPrompt="1"/>
          </p:nvPr>
        </p:nvSpPr>
        <p:spPr/>
        <p:txBody>
          <a:bodyPr/>
          <a:lstStyle/>
          <a:p>
            <a:r>
              <a:rPr lang="en-US" dirty="0"/>
              <a:t>Click to edit Master title style</a:t>
            </a:r>
          </a:p>
        </p:txBody>
      </p:sp>
      <p:sp>
        <p:nvSpPr>
          <p:cNvPr id="5" name="Textplatzhalter 4"/>
          <p:cNvSpPr>
            <a:spLocks noGrp="1"/>
          </p:cNvSpPr>
          <p:nvPr>
            <p:ph type="body" sz="quarter" idx="14" hasCustomPrompt="1"/>
          </p:nvPr>
        </p:nvSpPr>
        <p:spPr>
          <a:xfrm>
            <a:off x="9840418" y="6178371"/>
            <a:ext cx="1800234" cy="449896"/>
          </a:xfrm>
          <a:blipFill dpi="0" rotWithShape="1">
            <a:blip r:embed="rId2">
              <a:extLst>
                <a:ext uri="{28A0092B-C50C-407E-A947-70E740481C1C}">
                  <a14:useLocalDpi xmlns:a14="http://schemas.microsoft.com/office/drawing/2010/main" val="0"/>
                </a:ext>
              </a:extLst>
            </a:blip>
            <a:srcRect/>
            <a:stretch>
              <a:fillRect/>
            </a:stretch>
          </a:blipFill>
        </p:spPr>
        <p:txBody>
          <a:bodyPr/>
          <a:lstStyle>
            <a:lvl1pPr>
              <a:defRPr/>
            </a:lvl1pPr>
          </a:lstStyle>
          <a:p>
            <a:pPr lvl="0"/>
            <a:r>
              <a:rPr lang="en-US" dirty="0"/>
              <a:t> </a:t>
            </a:r>
          </a:p>
        </p:txBody>
      </p:sp>
    </p:spTree>
    <p:extLst>
      <p:ext uri="{BB962C8B-B14F-4D97-AF65-F5344CB8AC3E}">
        <p14:creationId xmlns:p14="http://schemas.microsoft.com/office/powerpoint/2010/main" val="59754622"/>
      </p:ext>
    </p:extLst>
  </p:cSld>
  <p:clrMapOvr>
    <a:masterClrMapping/>
  </p:clrMapOvr>
  <p:extLst>
    <p:ext uri="{DCECCB84-F9BA-43D5-87BE-67443E8EF086}">
      <p15:sldGuideLst xmlns:p15="http://schemas.microsoft.com/office/powerpoint/2012/main">
        <p15:guide id="1" orient="horz" pos="80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ig picture (dark)">
    <p:spTree>
      <p:nvGrpSpPr>
        <p:cNvPr id="1" name=""/>
        <p:cNvGrpSpPr/>
        <p:nvPr/>
      </p:nvGrpSpPr>
      <p:grpSpPr>
        <a:xfrm>
          <a:off x="0" y="0"/>
          <a:ext cx="0" cy="0"/>
          <a:chOff x="0" y="0"/>
          <a:chExt cx="0" cy="0"/>
        </a:xfrm>
      </p:grpSpPr>
      <p:sp>
        <p:nvSpPr>
          <p:cNvPr id="3" name="Bildplatzhalter 2"/>
          <p:cNvSpPr>
            <a:spLocks noGrp="1"/>
          </p:cNvSpPr>
          <p:nvPr>
            <p:ph type="pic" sz="quarter" idx="13" hasCustomPrompt="1"/>
          </p:nvPr>
        </p:nvSpPr>
        <p:spPr bwMode="gray">
          <a:xfrm>
            <a:off x="-1" y="0"/>
            <a:ext cx="12192000" cy="6858000"/>
          </a:xfrm>
          <a:pattFill prst="ltUpDiag">
            <a:fgClr>
              <a:schemeClr val="accent1"/>
            </a:fgClr>
            <a:bgClr>
              <a:schemeClr val="accent3"/>
            </a:bgClr>
          </a:pattFill>
        </p:spPr>
        <p:txBody>
          <a:bodyPr tIns="0" bIns="504000" anchor="ctr" anchorCtr="1"/>
          <a:lstStyle>
            <a:lvl1pPr marL="0" indent="0" algn="ctr">
              <a:buNone/>
              <a:defRPr sz="1200" cap="none" baseline="0">
                <a:solidFill>
                  <a:schemeClr val="tx1"/>
                </a:solidFill>
              </a:defRPr>
            </a:lvl1pPr>
            <a:lvl2pPr marL="0" indent="0" algn="ctr">
              <a:buNone/>
              <a:defRPr sz="1200"/>
            </a:lvl2pPr>
            <a:lvl3pPr marL="0" indent="0" algn="ctr">
              <a:buNone/>
              <a:defRPr sz="1200"/>
            </a:lvl3pPr>
            <a:lvl4pPr marL="0" indent="0" algn="ctr">
              <a:buNone/>
              <a:defRPr sz="1200"/>
            </a:lvl4pPr>
            <a:lvl5pPr marL="0" indent="0" algn="ctr">
              <a:buNone/>
              <a:defRPr sz="1200"/>
            </a:lvl5pPr>
          </a:lstStyle>
          <a:p>
            <a:pPr lvl="0"/>
            <a:r>
              <a:rPr lang="en-US" dirty="0"/>
              <a:t> </a:t>
            </a:r>
          </a:p>
        </p:txBody>
      </p:sp>
      <p:sp>
        <p:nvSpPr>
          <p:cNvPr id="7" name="Datumsplatzhalter 6"/>
          <p:cNvSpPr>
            <a:spLocks noGrp="1"/>
          </p:cNvSpPr>
          <p:nvPr>
            <p:ph type="dt" sz="half" idx="10"/>
          </p:nvPr>
        </p:nvSpPr>
        <p:spPr bwMode="gray"/>
        <p:txBody>
          <a:bodyPr/>
          <a:lstStyle>
            <a:lvl1pPr>
              <a:defRPr>
                <a:solidFill>
                  <a:schemeClr val="bg1"/>
                </a:solidFill>
              </a:defRPr>
            </a:lvl1pPr>
          </a:lstStyle>
          <a:p>
            <a:fld id="{45C946A8-E92C-4058-AA79-72284C373D9D}" type="datetime1">
              <a:rPr lang="en-US"/>
              <a:t>10/22/2024</a:t>
            </a:fld>
            <a:endParaRPr lang="en-US" dirty="0"/>
          </a:p>
        </p:txBody>
      </p:sp>
      <p:sp>
        <p:nvSpPr>
          <p:cNvPr id="8" name="Fußzeilenplatzhalter 7"/>
          <p:cNvSpPr>
            <a:spLocks noGrp="1"/>
          </p:cNvSpPr>
          <p:nvPr>
            <p:ph type="ftr" sz="quarter" idx="11"/>
          </p:nvPr>
        </p:nvSpPr>
        <p:spPr bwMode="gray"/>
        <p:txBody>
          <a:bodyPr/>
          <a:lstStyle>
            <a:lvl1pPr>
              <a:defRPr>
                <a:solidFill>
                  <a:schemeClr val="bg1"/>
                </a:solidFill>
              </a:defRPr>
            </a:lvl1pPr>
          </a:lstStyle>
          <a:p>
            <a:r>
              <a:rPr lang="en-US" dirty="0"/>
              <a:t>Please insert footnote</a:t>
            </a:r>
          </a:p>
        </p:txBody>
      </p:sp>
      <p:sp>
        <p:nvSpPr>
          <p:cNvPr id="9" name="Foliennummernplatzhalter 8"/>
          <p:cNvSpPr>
            <a:spLocks noGrp="1"/>
          </p:cNvSpPr>
          <p:nvPr>
            <p:ph type="sldNum" sz="quarter" idx="12"/>
          </p:nvPr>
        </p:nvSpPr>
        <p:spPr bwMode="gray"/>
        <p:txBody>
          <a:bodyPr/>
          <a:lstStyle>
            <a:lvl1pPr>
              <a:defRPr>
                <a:solidFill>
                  <a:schemeClr val="bg1"/>
                </a:solidFill>
              </a:defRPr>
            </a:lvl1pPr>
          </a:lstStyle>
          <a:p>
            <a:fld id="{4915BD61-E5D5-4E4F-ADA0-6F3448AB9FA6}" type="slidenum">
              <a:rPr lang="en-US"/>
              <a:pPr/>
              <a:t>‹#›</a:t>
            </a:fld>
            <a:endParaRPr lang="en-US" dirty="0"/>
          </a:p>
        </p:txBody>
      </p:sp>
      <p:sp>
        <p:nvSpPr>
          <p:cNvPr id="2" name="Titel 1">
            <a:extLst>
              <a:ext uri="{FF2B5EF4-FFF2-40B4-BE49-F238E27FC236}">
                <a16:creationId xmlns:a16="http://schemas.microsoft.com/office/drawing/2014/main" id="{9190DF61-2AD4-4C39-B6F2-27FED0287E28}"/>
              </a:ext>
            </a:extLst>
          </p:cNvPr>
          <p:cNvSpPr>
            <a:spLocks noGrp="1"/>
          </p:cNvSpPr>
          <p:nvPr>
            <p:ph type="title" hasCustomPrompt="1"/>
          </p:nvPr>
        </p:nvSpPr>
        <p:spPr/>
        <p:txBody>
          <a:bodyPr/>
          <a:lstStyle>
            <a:lvl1pPr>
              <a:defRPr>
                <a:solidFill>
                  <a:schemeClr val="bg1"/>
                </a:solidFill>
              </a:defRPr>
            </a:lvl1pPr>
          </a:lstStyle>
          <a:p>
            <a:r>
              <a:rPr lang="en-US" dirty="0"/>
              <a:t>Click to edit Master title style</a:t>
            </a:r>
          </a:p>
        </p:txBody>
      </p:sp>
      <p:sp>
        <p:nvSpPr>
          <p:cNvPr id="5" name="Textplatzhalter 4"/>
          <p:cNvSpPr>
            <a:spLocks noGrp="1"/>
          </p:cNvSpPr>
          <p:nvPr>
            <p:ph type="body" sz="quarter" idx="14" hasCustomPrompt="1"/>
          </p:nvPr>
        </p:nvSpPr>
        <p:spPr>
          <a:xfrm>
            <a:off x="9840418" y="6178371"/>
            <a:ext cx="1800234" cy="449896"/>
          </a:xfrm>
          <a:blipFill dpi="0" rotWithShape="1">
            <a:blip r:embed="rId2">
              <a:extLst>
                <a:ext uri="{28A0092B-C50C-407E-A947-70E740481C1C}">
                  <a14:useLocalDpi xmlns:a14="http://schemas.microsoft.com/office/drawing/2010/main" val="0"/>
                </a:ext>
              </a:extLst>
            </a:blip>
            <a:srcRect/>
            <a:stretch>
              <a:fillRect/>
            </a:stretch>
          </a:blipFill>
        </p:spPr>
        <p:txBody>
          <a:bodyPr/>
          <a:lstStyle>
            <a:lvl1pPr>
              <a:defRPr/>
            </a:lvl1pPr>
          </a:lstStyle>
          <a:p>
            <a:pPr lvl="0"/>
            <a:r>
              <a:rPr lang="en-US" dirty="0"/>
              <a:t> </a:t>
            </a:r>
          </a:p>
        </p:txBody>
      </p:sp>
    </p:spTree>
    <p:extLst>
      <p:ext uri="{BB962C8B-B14F-4D97-AF65-F5344CB8AC3E}">
        <p14:creationId xmlns:p14="http://schemas.microsoft.com/office/powerpoint/2010/main" val="4034831814"/>
      </p:ext>
    </p:extLst>
  </p:cSld>
  <p:clrMapOvr>
    <a:masterClrMapping/>
  </p:clrMapOvr>
  <p:extLst>
    <p:ext uri="{DCECCB84-F9BA-43D5-87BE-67443E8EF086}">
      <p15:sldGuideLst xmlns:p15="http://schemas.microsoft.com/office/powerpoint/2012/main">
        <p15:guide id="1" orient="horz" pos="80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icture / Content">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fld id="{AD42A45A-704A-4E9D-B046-6148F05252A4}" type="datetime1">
              <a:rPr lang="en-US"/>
              <a:t>10/22/2024</a:t>
            </a:fld>
            <a:endParaRPr lang="en-US" dirty="0"/>
          </a:p>
        </p:txBody>
      </p:sp>
      <p:sp>
        <p:nvSpPr>
          <p:cNvPr id="8" name="Fußzeilenplatzhalter 7"/>
          <p:cNvSpPr>
            <a:spLocks noGrp="1"/>
          </p:cNvSpPr>
          <p:nvPr>
            <p:ph type="ftr" sz="quarter" idx="11"/>
          </p:nvPr>
        </p:nvSpPr>
        <p:spPr bwMode="gray"/>
        <p:txBody>
          <a:bodyPr/>
          <a:lstStyle/>
          <a:p>
            <a:r>
              <a:rPr lang="en-US" dirty="0"/>
              <a:t>Please insert footnote</a:t>
            </a:r>
          </a:p>
        </p:txBody>
      </p:sp>
      <p:sp>
        <p:nvSpPr>
          <p:cNvPr id="9" name="Foliennummernplatzhalter 8"/>
          <p:cNvSpPr>
            <a:spLocks noGrp="1"/>
          </p:cNvSpPr>
          <p:nvPr>
            <p:ph type="sldNum" sz="quarter" idx="12"/>
          </p:nvPr>
        </p:nvSpPr>
        <p:spPr bwMode="gray"/>
        <p:txBody>
          <a:bodyPr/>
          <a:lstStyle/>
          <a:p>
            <a:fld id="{4915BD61-E5D5-4E4F-ADA0-6F3448AB9FA6}" type="slidenum">
              <a:rPr lang="en-US"/>
              <a:pPr/>
              <a:t>‹#›</a:t>
            </a:fld>
            <a:endParaRPr lang="en-US" dirty="0"/>
          </a:p>
        </p:txBody>
      </p:sp>
      <p:sp>
        <p:nvSpPr>
          <p:cNvPr id="3" name="Inhaltsplatzhalter 2"/>
          <p:cNvSpPr>
            <a:spLocks noGrp="1"/>
          </p:cNvSpPr>
          <p:nvPr>
            <p:ph sz="quarter" idx="14" hasCustomPrompt="1"/>
          </p:nvPr>
        </p:nvSpPr>
        <p:spPr bwMode="gray">
          <a:xfrm>
            <a:off x="6237657" y="1701750"/>
            <a:ext cx="5401453" cy="4247017"/>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4" name="Picture Placeholder 3"/>
          <p:cNvSpPr>
            <a:spLocks noGrp="1"/>
          </p:cNvSpPr>
          <p:nvPr>
            <p:ph type="pic" sz="quarter" idx="15" hasCustomPrompt="1"/>
          </p:nvPr>
        </p:nvSpPr>
        <p:spPr bwMode="gray">
          <a:xfrm>
            <a:off x="550508" y="1701750"/>
            <a:ext cx="5401453" cy="4247017"/>
          </a:xfrm>
          <a:pattFill prst="ltUpDiag">
            <a:fgClr>
              <a:schemeClr val="accent1"/>
            </a:fgClr>
            <a:bgClr>
              <a:schemeClr val="bg1"/>
            </a:bgClr>
          </a:pattFill>
        </p:spPr>
        <p:txBody>
          <a:bodyPr tIns="0" bIns="468000" anchor="ctr" anchorCtr="1"/>
          <a:lstStyle>
            <a:lvl1pPr marL="0" marR="0" indent="0" algn="ctr" defTabSz="1218926" rtl="0" eaLnBrk="1" fontAlgn="auto" latinLnBrk="0" hangingPunct="1">
              <a:lnSpc>
                <a:spcPts val="2200"/>
              </a:lnSpc>
              <a:spcBef>
                <a:spcPct val="20000"/>
              </a:spcBef>
              <a:spcAft>
                <a:spcPts val="0"/>
              </a:spcAft>
              <a:buClr>
                <a:schemeClr val="tx2"/>
              </a:buClr>
              <a:buSzTx/>
              <a:buFont typeface="Arial" panose="020B0604020202020204" pitchFamily="34" charset="0"/>
              <a:buNone/>
              <a:tabLst/>
              <a:defRPr sz="1200" cap="none" baseline="0">
                <a:solidFill>
                  <a:schemeClr val="tx1"/>
                </a:solidFill>
              </a:defRPr>
            </a:lvl1pPr>
            <a:lvl2pPr marL="0" indent="0" algn="ctr">
              <a:buNone/>
              <a:defRPr sz="1200"/>
            </a:lvl2pPr>
          </a:lstStyle>
          <a:p>
            <a:pPr lvl="0"/>
            <a:r>
              <a:rPr lang="en-US" dirty="0"/>
              <a:t> </a:t>
            </a:r>
          </a:p>
        </p:txBody>
      </p:sp>
      <p:sp>
        <p:nvSpPr>
          <p:cNvPr id="10" name="Textplatzhalter 6"/>
          <p:cNvSpPr>
            <a:spLocks noGrp="1"/>
          </p:cNvSpPr>
          <p:nvPr>
            <p:ph type="body" sz="quarter" idx="13" hasCustomPrompt="1"/>
          </p:nvPr>
        </p:nvSpPr>
        <p:spPr bwMode="gray">
          <a:xfrm>
            <a:off x="550935" y="982058"/>
            <a:ext cx="11090131" cy="503122"/>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accent1"/>
                </a:solidFill>
              </a:defRPr>
            </a:lvl7pPr>
            <a:lvl8pPr marL="0" indent="0">
              <a:buNone/>
              <a:defRPr sz="1800">
                <a:solidFill>
                  <a:schemeClr val="accent1"/>
                </a:solidFill>
              </a:defRPr>
            </a:lvl8pPr>
            <a:lvl9pPr marL="0" indent="0">
              <a:buNone/>
              <a:defRPr sz="1800">
                <a:solidFill>
                  <a:schemeClr val="accent1"/>
                </a:solidFill>
              </a:defRPr>
            </a:lvl9pPr>
          </a:lstStyle>
          <a:p>
            <a:pPr lvl="0"/>
            <a:r>
              <a:rPr lang="en-US" dirty="0"/>
              <a:t>Subheadline</a:t>
            </a:r>
          </a:p>
        </p:txBody>
      </p:sp>
      <p:sp>
        <p:nvSpPr>
          <p:cNvPr id="11" name="Rechteck 10" hidden="1">
            <a:extLst>
              <a:ext uri="{FF2B5EF4-FFF2-40B4-BE49-F238E27FC236}">
                <a16:creationId xmlns:a16="http://schemas.microsoft.com/office/drawing/2014/main" id="{1BA1E251-426D-4A4B-A275-719089EB2EFC}"/>
              </a:ext>
            </a:extLst>
          </p:cNvPr>
          <p:cNvSpPr/>
          <p:nvPr userDrawn="1">
            <p:custDataLst>
              <p:tags r:id="rId1"/>
            </p:custDataLst>
          </p:nvPr>
        </p:nvSpPr>
        <p:spPr>
          <a:xfrm>
            <a:off x="9192833" y="5997473"/>
            <a:ext cx="2999167" cy="860528"/>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
        <p:nvSpPr>
          <p:cNvPr id="5" name="Titel 4">
            <a:extLst>
              <a:ext uri="{FF2B5EF4-FFF2-40B4-BE49-F238E27FC236}">
                <a16:creationId xmlns:a16="http://schemas.microsoft.com/office/drawing/2014/main" id="{A80BC08A-D2A2-4C26-8F16-6665CF8583D8}"/>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2999057177"/>
      </p:ext>
    </p:extLst>
  </p:cSld>
  <p:clrMapOvr>
    <a:masterClrMapping/>
  </p:clrMapOvr>
  <p:extLst>
    <p:ext uri="{DCECCB84-F9BA-43D5-87BE-67443E8EF086}">
      <p15:sldGuideLst xmlns:p15="http://schemas.microsoft.com/office/powerpoint/2012/main">
        <p15:guide id="1" pos="3929">
          <p15:clr>
            <a:srgbClr val="FBAE40"/>
          </p15:clr>
        </p15:guide>
        <p15:guide id="2" pos="375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3 picture, 1/3 content">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fld id="{0183383E-3040-424B-8578-EEAA851CEBEF}" type="datetime1">
              <a:rPr lang="en-US"/>
              <a:t>10/22/2024</a:t>
            </a:fld>
            <a:endParaRPr lang="en-US" dirty="0"/>
          </a:p>
        </p:txBody>
      </p:sp>
      <p:sp>
        <p:nvSpPr>
          <p:cNvPr id="8" name="Fußzeilenplatzhalter 7"/>
          <p:cNvSpPr>
            <a:spLocks noGrp="1"/>
          </p:cNvSpPr>
          <p:nvPr>
            <p:ph type="ftr" sz="quarter" idx="11"/>
          </p:nvPr>
        </p:nvSpPr>
        <p:spPr bwMode="gray"/>
        <p:txBody>
          <a:bodyPr/>
          <a:lstStyle/>
          <a:p>
            <a:r>
              <a:rPr lang="en-US" dirty="0"/>
              <a:t>Please insert footnote</a:t>
            </a:r>
          </a:p>
        </p:txBody>
      </p:sp>
      <p:sp>
        <p:nvSpPr>
          <p:cNvPr id="9" name="Foliennummernplatzhalter 8"/>
          <p:cNvSpPr>
            <a:spLocks noGrp="1"/>
          </p:cNvSpPr>
          <p:nvPr>
            <p:ph type="sldNum" sz="quarter" idx="12"/>
          </p:nvPr>
        </p:nvSpPr>
        <p:spPr bwMode="gray"/>
        <p:txBody>
          <a:bodyPr/>
          <a:lstStyle/>
          <a:p>
            <a:fld id="{4915BD61-E5D5-4E4F-ADA0-6F3448AB9FA6}" type="slidenum">
              <a:rPr lang="en-US"/>
              <a:pPr/>
              <a:t>‹#›</a:t>
            </a:fld>
            <a:endParaRPr lang="en-US" dirty="0"/>
          </a:p>
        </p:txBody>
      </p:sp>
      <p:sp>
        <p:nvSpPr>
          <p:cNvPr id="16" name="Inhaltsplatzhalter 2"/>
          <p:cNvSpPr>
            <a:spLocks noGrp="1"/>
          </p:cNvSpPr>
          <p:nvPr>
            <p:ph sz="quarter" idx="18" hasCustomPrompt="1"/>
          </p:nvPr>
        </p:nvSpPr>
        <p:spPr bwMode="gray">
          <a:xfrm>
            <a:off x="8112876" y="1701406"/>
            <a:ext cx="3528187" cy="4246750"/>
          </a:xfrm>
        </p:spPr>
        <p:txBody>
          <a:bodyPr/>
          <a:lstStyle>
            <a:lvl1pPr>
              <a:defRPr sz="1400"/>
            </a:lvl1pPr>
            <a:lvl2pPr>
              <a:defRPr sz="1400"/>
            </a:lvl2pPr>
            <a:lvl3pPr>
              <a:defRPr sz="1400"/>
            </a:lvl3pPr>
            <a:lvl4pPr>
              <a:defRPr sz="1400"/>
            </a:lvl4pPr>
            <a:lvl5pPr>
              <a:defRPr sz="1400"/>
            </a:lvl5pPr>
            <a:lvl6pPr marL="539892" indent="-179964">
              <a:buFont typeface="Symbol" panose="05050102010706020507" pitchFamily="18" charset="2"/>
              <a:buChar char="-"/>
              <a:defRPr sz="1400"/>
            </a:lvl6pPr>
            <a:lvl7pPr marL="539892" indent="-179964">
              <a:buFont typeface="Symbol" panose="05050102010706020507" pitchFamily="18" charset="2"/>
              <a:buChar char="-"/>
              <a:defRPr sz="1400"/>
            </a:lvl7pPr>
            <a:lvl8pPr marL="539892" indent="-179964">
              <a:buFont typeface="Symbol" panose="05050102010706020507" pitchFamily="18" charset="2"/>
              <a:buChar char="-"/>
              <a:defRPr sz="1400"/>
            </a:lvl8pPr>
            <a:lvl9pPr marL="539892" indent="-179964">
              <a:buFont typeface="Symbol" panose="05050102010706020507" pitchFamily="18" charset="2"/>
              <a:buChar cha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4" name="Bildplatzhalter 3"/>
          <p:cNvSpPr>
            <a:spLocks noGrp="1"/>
          </p:cNvSpPr>
          <p:nvPr>
            <p:ph type="pic" sz="quarter" idx="19" hasCustomPrompt="1"/>
          </p:nvPr>
        </p:nvSpPr>
        <p:spPr bwMode="gray">
          <a:xfrm>
            <a:off x="550935" y="1701407"/>
            <a:ext cx="7344389" cy="4246750"/>
          </a:xfrm>
          <a:pattFill prst="ltUpDiag">
            <a:fgClr>
              <a:schemeClr val="accent1"/>
            </a:fgClr>
            <a:bgClr>
              <a:schemeClr val="bg1"/>
            </a:bgClr>
          </a:pattFill>
        </p:spPr>
        <p:txBody>
          <a:bodyPr tIns="0" bIns="468000" anchor="ctr" anchorCtr="1"/>
          <a:lstStyle>
            <a:lvl1pPr marL="0" marR="0" indent="0" algn="ctr" defTabSz="1218926" rtl="0" eaLnBrk="1" fontAlgn="auto" latinLnBrk="0" hangingPunct="1">
              <a:lnSpc>
                <a:spcPts val="2200"/>
              </a:lnSpc>
              <a:spcBef>
                <a:spcPct val="20000"/>
              </a:spcBef>
              <a:spcAft>
                <a:spcPts val="0"/>
              </a:spcAft>
              <a:buClr>
                <a:schemeClr val="tx2"/>
              </a:buClr>
              <a:buSzTx/>
              <a:buFont typeface="Wingdings" panose="05000000000000000000" pitchFamily="2" charset="2"/>
              <a:buNone/>
              <a:tabLst/>
              <a:defRPr sz="1200" cap="none" baseline="0">
                <a:solidFill>
                  <a:schemeClr val="tx1"/>
                </a:solidFill>
              </a:defRPr>
            </a:lvl1pPr>
          </a:lstStyle>
          <a:p>
            <a:pPr lvl="0"/>
            <a:r>
              <a:rPr lang="en-US" dirty="0"/>
              <a:t> </a:t>
            </a:r>
          </a:p>
        </p:txBody>
      </p:sp>
      <p:sp>
        <p:nvSpPr>
          <p:cNvPr id="10" name="Textplatzhalter 6"/>
          <p:cNvSpPr>
            <a:spLocks noGrp="1"/>
          </p:cNvSpPr>
          <p:nvPr>
            <p:ph type="body" sz="quarter" idx="13" hasCustomPrompt="1"/>
          </p:nvPr>
        </p:nvSpPr>
        <p:spPr bwMode="gray">
          <a:xfrm>
            <a:off x="550935" y="982058"/>
            <a:ext cx="11090131" cy="503122"/>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accent1"/>
                </a:solidFill>
              </a:defRPr>
            </a:lvl7pPr>
            <a:lvl8pPr marL="0" indent="0">
              <a:buNone/>
              <a:defRPr sz="1800">
                <a:solidFill>
                  <a:schemeClr val="accent1"/>
                </a:solidFill>
              </a:defRPr>
            </a:lvl8pPr>
            <a:lvl9pPr marL="0" indent="0">
              <a:buNone/>
              <a:defRPr sz="1800">
                <a:solidFill>
                  <a:schemeClr val="accent1"/>
                </a:solidFill>
              </a:defRPr>
            </a:lvl9pPr>
          </a:lstStyle>
          <a:p>
            <a:pPr lvl="0"/>
            <a:r>
              <a:rPr lang="en-US" dirty="0"/>
              <a:t>Subheadline</a:t>
            </a:r>
          </a:p>
        </p:txBody>
      </p:sp>
      <p:sp>
        <p:nvSpPr>
          <p:cNvPr id="11" name="MIO_VALID_LAYOUT"/>
          <p:cNvSpPr/>
          <p:nvPr userDrawn="1"/>
        </p:nvSpPr>
        <p:spPr bwMode="gray">
          <a:xfrm>
            <a:off x="11856596" y="6585328"/>
            <a:ext cx="335404" cy="260769"/>
          </a:xfrm>
          <a:prstGeom prst="rect">
            <a:avLst/>
          </a:prstGeom>
          <a:noFill/>
          <a:ln w="9525" cap="flat" cmpd="sng" algn="ctr">
            <a:noFill/>
            <a:prstDash val="solid"/>
          </a:ln>
          <a:effectLst/>
        </p:spPr>
        <p:txBody>
          <a:bodyPr rtlCol="0" anchor="ctr" anchorCtr="0"/>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300"/>
              </a:spcBef>
              <a:spcAft>
                <a:spcPts val="300"/>
              </a:spcAft>
              <a:buClr>
                <a:schemeClr val="bg1"/>
              </a:buClr>
              <a:buSzPct val="100000"/>
              <a:buFont typeface="Arial" panose="020B0604020202020204" pitchFamily="34" charset="0"/>
              <a:buNone/>
            </a:pPr>
            <a:endParaRPr lang="en-US" sz="1600" kern="0" dirty="0">
              <a:solidFill>
                <a:srgbClr val="FFFFFF"/>
              </a:solidFill>
              <a:latin typeface="Verdana"/>
            </a:endParaRPr>
          </a:p>
        </p:txBody>
      </p:sp>
      <p:sp>
        <p:nvSpPr>
          <p:cNvPr id="12" name="Rechteck 11" hidden="1">
            <a:extLst>
              <a:ext uri="{FF2B5EF4-FFF2-40B4-BE49-F238E27FC236}">
                <a16:creationId xmlns:a16="http://schemas.microsoft.com/office/drawing/2014/main" id="{1480C56B-75C5-41B3-8AA0-E0031617FF09}"/>
              </a:ext>
            </a:extLst>
          </p:cNvPr>
          <p:cNvSpPr/>
          <p:nvPr userDrawn="1">
            <p:custDataLst>
              <p:tags r:id="rId1"/>
            </p:custDataLst>
          </p:nvPr>
        </p:nvSpPr>
        <p:spPr>
          <a:xfrm>
            <a:off x="9192833" y="5997473"/>
            <a:ext cx="2999167" cy="860528"/>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
        <p:nvSpPr>
          <p:cNvPr id="2" name="Titel 1">
            <a:extLst>
              <a:ext uri="{FF2B5EF4-FFF2-40B4-BE49-F238E27FC236}">
                <a16:creationId xmlns:a16="http://schemas.microsoft.com/office/drawing/2014/main" id="{3F63D73D-9FE6-45F7-87FA-57267F6CC490}"/>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2287668816"/>
      </p:ext>
    </p:extLst>
  </p:cSld>
  <p:clrMapOvr>
    <a:masterClrMapping/>
  </p:clrMapOvr>
  <p:extLst>
    <p:ext uri="{DCECCB84-F9BA-43D5-87BE-67443E8EF086}">
      <p15:sldGuideLst xmlns:p15="http://schemas.microsoft.com/office/powerpoint/2012/main">
        <p15:guide id="1" pos="5109">
          <p15:clr>
            <a:srgbClr val="FBAE40"/>
          </p15:clr>
        </p15:guide>
        <p15:guide id="2" pos="4974">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3 picture, 2/3 content">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fld id="{925305B3-12CB-4AC5-9061-D92D06A03BD2}" type="datetime1">
              <a:rPr lang="en-US"/>
              <a:t>10/22/2024</a:t>
            </a:fld>
            <a:endParaRPr lang="en-US" dirty="0"/>
          </a:p>
        </p:txBody>
      </p:sp>
      <p:sp>
        <p:nvSpPr>
          <p:cNvPr id="8" name="Fußzeilenplatzhalter 7"/>
          <p:cNvSpPr>
            <a:spLocks noGrp="1"/>
          </p:cNvSpPr>
          <p:nvPr>
            <p:ph type="ftr" sz="quarter" idx="11"/>
          </p:nvPr>
        </p:nvSpPr>
        <p:spPr bwMode="gray"/>
        <p:txBody>
          <a:bodyPr/>
          <a:lstStyle/>
          <a:p>
            <a:r>
              <a:rPr lang="en-US" dirty="0"/>
              <a:t>Please insert footnote</a:t>
            </a:r>
          </a:p>
        </p:txBody>
      </p:sp>
      <p:sp>
        <p:nvSpPr>
          <p:cNvPr id="9" name="Foliennummernplatzhalter 8"/>
          <p:cNvSpPr>
            <a:spLocks noGrp="1"/>
          </p:cNvSpPr>
          <p:nvPr>
            <p:ph type="sldNum" sz="quarter" idx="12"/>
          </p:nvPr>
        </p:nvSpPr>
        <p:spPr bwMode="gray"/>
        <p:txBody>
          <a:bodyPr/>
          <a:lstStyle/>
          <a:p>
            <a:fld id="{4915BD61-E5D5-4E4F-ADA0-6F3448AB9FA6}" type="slidenum">
              <a:rPr lang="en-US"/>
              <a:pPr/>
              <a:t>‹#›</a:t>
            </a:fld>
            <a:endParaRPr lang="en-US" dirty="0"/>
          </a:p>
        </p:txBody>
      </p:sp>
      <p:sp>
        <p:nvSpPr>
          <p:cNvPr id="16" name="Inhaltsplatzhalter 2"/>
          <p:cNvSpPr>
            <a:spLocks noGrp="1"/>
          </p:cNvSpPr>
          <p:nvPr>
            <p:ph sz="quarter" idx="18" hasCustomPrompt="1"/>
          </p:nvPr>
        </p:nvSpPr>
        <p:spPr bwMode="gray">
          <a:xfrm>
            <a:off x="4295653" y="1701406"/>
            <a:ext cx="7345410" cy="4246559"/>
          </a:xfrm>
        </p:spPr>
        <p:txBody>
          <a:bodyPr/>
          <a:lstStyle>
            <a:lvl1pPr>
              <a:defRPr sz="1400"/>
            </a:lvl1pPr>
            <a:lvl2pPr>
              <a:defRPr sz="1400"/>
            </a:lvl2pPr>
            <a:lvl3pPr>
              <a:defRPr sz="1400"/>
            </a:lvl3pPr>
            <a:lvl4pPr>
              <a:defRPr sz="1400"/>
            </a:lvl4pPr>
            <a:lvl5pPr>
              <a:defRPr sz="1400"/>
            </a:lvl5pPr>
            <a:lvl6pPr marL="539892" indent="-179964">
              <a:buFont typeface="Symbol" panose="05050102010706020507" pitchFamily="18" charset="2"/>
              <a:buChar char="-"/>
              <a:defRPr sz="1400"/>
            </a:lvl6pPr>
            <a:lvl7pPr marL="539892" indent="-179964">
              <a:buFont typeface="Symbol" panose="05050102010706020507" pitchFamily="18" charset="2"/>
              <a:buChar char="-"/>
              <a:defRPr sz="1400"/>
            </a:lvl7pPr>
            <a:lvl8pPr marL="539892" indent="-179964">
              <a:buFont typeface="Symbol" panose="05050102010706020507" pitchFamily="18" charset="2"/>
              <a:buChar char="-"/>
              <a:defRPr sz="1400"/>
            </a:lvl8pPr>
            <a:lvl9pPr marL="539892" indent="-179964">
              <a:buFont typeface="Symbol" panose="05050102010706020507" pitchFamily="18" charset="2"/>
              <a:buChar cha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4" name="Picture Placeholder 3"/>
          <p:cNvSpPr>
            <a:spLocks noGrp="1"/>
          </p:cNvSpPr>
          <p:nvPr>
            <p:ph type="pic" sz="quarter" idx="19" hasCustomPrompt="1"/>
          </p:nvPr>
        </p:nvSpPr>
        <p:spPr bwMode="gray">
          <a:xfrm>
            <a:off x="550935" y="1701749"/>
            <a:ext cx="3528187" cy="4246409"/>
          </a:xfrm>
          <a:pattFill prst="ltUpDiag">
            <a:fgClr>
              <a:schemeClr val="accent1"/>
            </a:fgClr>
            <a:bgClr>
              <a:schemeClr val="bg1"/>
            </a:bgClr>
          </a:pattFill>
        </p:spPr>
        <p:txBody>
          <a:bodyPr tIns="0" bIns="432000" anchor="ctr" anchorCtr="1"/>
          <a:lstStyle>
            <a:lvl1pPr marL="0" indent="0" algn="ctr">
              <a:buNone/>
              <a:defRPr sz="1200" b="0" cap="none" baseline="0">
                <a:solidFill>
                  <a:schemeClr val="tx1"/>
                </a:solidFill>
              </a:defRPr>
            </a:lvl1pPr>
          </a:lstStyle>
          <a:p>
            <a:pPr lvl="0"/>
            <a:r>
              <a:rPr lang="en-US" dirty="0"/>
              <a:t> </a:t>
            </a:r>
          </a:p>
        </p:txBody>
      </p:sp>
      <p:sp>
        <p:nvSpPr>
          <p:cNvPr id="10" name="Textplatzhalter 6"/>
          <p:cNvSpPr>
            <a:spLocks noGrp="1"/>
          </p:cNvSpPr>
          <p:nvPr>
            <p:ph type="body" sz="quarter" idx="13" hasCustomPrompt="1"/>
          </p:nvPr>
        </p:nvSpPr>
        <p:spPr bwMode="gray">
          <a:xfrm>
            <a:off x="550935" y="982058"/>
            <a:ext cx="11090131" cy="503122"/>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accent1"/>
                </a:solidFill>
              </a:defRPr>
            </a:lvl7pPr>
            <a:lvl8pPr marL="0" indent="0">
              <a:buNone/>
              <a:defRPr sz="1800">
                <a:solidFill>
                  <a:schemeClr val="accent1"/>
                </a:solidFill>
              </a:defRPr>
            </a:lvl8pPr>
            <a:lvl9pPr marL="0" indent="0">
              <a:buNone/>
              <a:defRPr sz="1800">
                <a:solidFill>
                  <a:schemeClr val="accent1"/>
                </a:solidFill>
              </a:defRPr>
            </a:lvl9pPr>
          </a:lstStyle>
          <a:p>
            <a:pPr lvl="0"/>
            <a:r>
              <a:rPr lang="en-US" dirty="0"/>
              <a:t>Subheadline</a:t>
            </a:r>
          </a:p>
        </p:txBody>
      </p:sp>
      <p:sp>
        <p:nvSpPr>
          <p:cNvPr id="11" name="MIO_VALID_LAYOUT"/>
          <p:cNvSpPr/>
          <p:nvPr userDrawn="1"/>
        </p:nvSpPr>
        <p:spPr bwMode="gray">
          <a:xfrm>
            <a:off x="11856596" y="6585328"/>
            <a:ext cx="335404" cy="260769"/>
          </a:xfrm>
          <a:prstGeom prst="rect">
            <a:avLst/>
          </a:prstGeom>
          <a:noFill/>
          <a:ln w="9525" cap="flat" cmpd="sng" algn="ctr">
            <a:noFill/>
            <a:prstDash val="solid"/>
          </a:ln>
          <a:effectLst/>
        </p:spPr>
        <p:txBody>
          <a:bodyPr rtlCol="0" anchor="ctr" anchorCtr="0"/>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300"/>
              </a:spcBef>
              <a:spcAft>
                <a:spcPts val="300"/>
              </a:spcAft>
              <a:buClr>
                <a:schemeClr val="bg1"/>
              </a:buClr>
              <a:buSzPct val="100000"/>
              <a:buFont typeface="Arial" panose="020B0604020202020204" pitchFamily="34" charset="0"/>
              <a:buNone/>
            </a:pPr>
            <a:endParaRPr lang="en-US" sz="1600" kern="0" dirty="0">
              <a:solidFill>
                <a:srgbClr val="FFFFFF"/>
              </a:solidFill>
              <a:latin typeface="Verdana"/>
            </a:endParaRPr>
          </a:p>
        </p:txBody>
      </p:sp>
      <p:sp>
        <p:nvSpPr>
          <p:cNvPr id="12" name="Rechteck 11" hidden="1">
            <a:extLst>
              <a:ext uri="{FF2B5EF4-FFF2-40B4-BE49-F238E27FC236}">
                <a16:creationId xmlns:a16="http://schemas.microsoft.com/office/drawing/2014/main" id="{02948CBE-F48E-4635-9D3C-19C5A6EE2065}"/>
              </a:ext>
            </a:extLst>
          </p:cNvPr>
          <p:cNvSpPr/>
          <p:nvPr userDrawn="1">
            <p:custDataLst>
              <p:tags r:id="rId1"/>
            </p:custDataLst>
          </p:nvPr>
        </p:nvSpPr>
        <p:spPr>
          <a:xfrm>
            <a:off x="9192833" y="5997473"/>
            <a:ext cx="2999167" cy="860528"/>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
        <p:nvSpPr>
          <p:cNvPr id="2" name="Titel 1">
            <a:extLst>
              <a:ext uri="{FF2B5EF4-FFF2-40B4-BE49-F238E27FC236}">
                <a16:creationId xmlns:a16="http://schemas.microsoft.com/office/drawing/2014/main" id="{B3DE07DF-95FA-46E4-9FE3-2B5277D24CF0}"/>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1090339993"/>
      </p:ext>
    </p:extLst>
  </p:cSld>
  <p:clrMapOvr>
    <a:masterClrMapping/>
  </p:clrMapOvr>
  <p:extLst>
    <p:ext uri="{DCECCB84-F9BA-43D5-87BE-67443E8EF086}">
      <p15:sldGuideLst xmlns:p15="http://schemas.microsoft.com/office/powerpoint/2012/main">
        <p15:guide id="1" pos="2705">
          <p15:clr>
            <a:srgbClr val="FBAE40"/>
          </p15:clr>
        </p15:guide>
        <p15:guide id="2" pos="2569">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Closing blue">
    <p:bg>
      <p:bgPr>
        <a:solidFill>
          <a:srgbClr val="0071B9"/>
        </a:solidFill>
        <a:effectLst/>
      </p:bgPr>
    </p:bg>
    <p:spTree>
      <p:nvGrpSpPr>
        <p:cNvPr id="1" name=""/>
        <p:cNvGrpSpPr/>
        <p:nvPr/>
      </p:nvGrpSpPr>
      <p:grpSpPr>
        <a:xfrm>
          <a:off x="0" y="0"/>
          <a:ext cx="0" cy="0"/>
          <a:chOff x="0" y="0"/>
          <a:chExt cx="0" cy="0"/>
        </a:xfrm>
      </p:grpSpPr>
      <p:sp>
        <p:nvSpPr>
          <p:cNvPr id="2" name="Titel 1"/>
          <p:cNvSpPr>
            <a:spLocks noGrp="1"/>
          </p:cNvSpPr>
          <p:nvPr>
            <p:ph type="ctrTitle" hasCustomPrompt="1"/>
          </p:nvPr>
        </p:nvSpPr>
        <p:spPr bwMode="gray">
          <a:xfrm>
            <a:off x="550507" y="405280"/>
            <a:ext cx="6624862" cy="1439667"/>
          </a:xfrm>
        </p:spPr>
        <p:txBody>
          <a:bodyPr/>
          <a:lstStyle>
            <a:lvl1pPr>
              <a:defRPr sz="3199" baseline="0">
                <a:solidFill>
                  <a:schemeClr val="bg1"/>
                </a:solidFill>
              </a:defRPr>
            </a:lvl1pPr>
          </a:lstStyle>
          <a:p>
            <a:r>
              <a:rPr lang="en-US" dirty="0"/>
              <a:t>Thank you for</a:t>
            </a:r>
            <a:br>
              <a:rPr lang="en-US" dirty="0"/>
            </a:br>
            <a:r>
              <a:rPr lang="en-US" dirty="0"/>
              <a:t>your attention 32pt</a:t>
            </a:r>
          </a:p>
        </p:txBody>
      </p:sp>
      <p:sp>
        <p:nvSpPr>
          <p:cNvPr id="14" name="Textplatzhalter 13"/>
          <p:cNvSpPr>
            <a:spLocks noGrp="1"/>
          </p:cNvSpPr>
          <p:nvPr>
            <p:ph type="body" sz="quarter" idx="10" hasCustomPrompt="1"/>
          </p:nvPr>
        </p:nvSpPr>
        <p:spPr bwMode="gray">
          <a:xfrm>
            <a:off x="550507" y="3141166"/>
            <a:ext cx="6624862" cy="1007767"/>
          </a:xfrm>
        </p:spPr>
        <p:txBody>
          <a:bodyPr/>
          <a:lstStyle>
            <a:lvl1pPr marL="0" indent="0">
              <a:buNone/>
              <a:defRPr sz="1400" b="1" cap="none" baseline="0">
                <a:solidFill>
                  <a:schemeClr val="bg1"/>
                </a:solidFill>
              </a:defRPr>
            </a:lvl1pPr>
            <a:lvl2pPr marL="0" indent="0">
              <a:buFont typeface="Arial" panose="020B0604020202020204" pitchFamily="34" charset="0"/>
              <a:buNone/>
              <a:defRPr sz="1400" b="1">
                <a:solidFill>
                  <a:schemeClr val="bg1"/>
                </a:solidFill>
              </a:defRPr>
            </a:lvl2pPr>
            <a:lvl3pPr marL="0" indent="0">
              <a:buFont typeface="Arial" panose="020B0604020202020204" pitchFamily="34" charset="0"/>
              <a:buNone/>
              <a:defRPr sz="1400" b="1">
                <a:solidFill>
                  <a:schemeClr val="bg1"/>
                </a:solidFill>
              </a:defRPr>
            </a:lvl3pPr>
            <a:lvl4pPr marL="0" indent="0">
              <a:buFont typeface="Arial" panose="020B0604020202020204" pitchFamily="34" charset="0"/>
              <a:buNone/>
              <a:defRPr sz="1400" b="1">
                <a:solidFill>
                  <a:schemeClr val="bg1"/>
                </a:solidFill>
              </a:defRPr>
            </a:lvl4pPr>
            <a:lvl5pPr marL="0" indent="0">
              <a:buFont typeface="Arial" panose="020B0604020202020204" pitchFamily="34" charset="0"/>
              <a:buNone/>
              <a:defRPr sz="1400" b="1">
                <a:solidFill>
                  <a:schemeClr val="bg1"/>
                </a:solidFill>
              </a:defRPr>
            </a:lvl5pPr>
            <a:lvl6pPr marL="0" indent="0">
              <a:buNone/>
              <a:defRPr sz="1400" b="1">
                <a:solidFill>
                  <a:schemeClr val="bg1"/>
                </a:solidFill>
              </a:defRPr>
            </a:lvl6pPr>
            <a:lvl7pPr marL="0" indent="0">
              <a:buNone/>
              <a:defRPr sz="1400" b="1">
                <a:solidFill>
                  <a:schemeClr val="bg1"/>
                </a:solidFill>
              </a:defRPr>
            </a:lvl7pPr>
            <a:lvl8pPr marL="0" indent="0">
              <a:buNone/>
              <a:defRPr sz="1400" b="1">
                <a:solidFill>
                  <a:schemeClr val="bg1"/>
                </a:solidFill>
              </a:defRPr>
            </a:lvl8pPr>
            <a:lvl9pPr marL="0" indent="0">
              <a:buNone/>
              <a:defRPr sz="1400" b="1">
                <a:solidFill>
                  <a:schemeClr val="bg1"/>
                </a:solidFill>
              </a:defRPr>
            </a:lvl9pPr>
          </a:lstStyle>
          <a:p>
            <a:pPr lvl="0"/>
            <a:r>
              <a:rPr lang="en-US" dirty="0"/>
              <a:t>Max </a:t>
            </a:r>
            <a:r>
              <a:rPr lang="en-US" dirty="0" err="1"/>
              <a:t>Mustermann</a:t>
            </a:r>
            <a:r>
              <a:rPr lang="en-US" dirty="0"/>
              <a:t> – Head of Corporate</a:t>
            </a:r>
            <a:br>
              <a:rPr lang="en-US" dirty="0"/>
            </a:br>
            <a:r>
              <a:rPr lang="en-US" dirty="0"/>
              <a:t>Place, Date</a:t>
            </a:r>
          </a:p>
        </p:txBody>
      </p:sp>
      <p:sp>
        <p:nvSpPr>
          <p:cNvPr id="10" name="Textplatzhalter 13"/>
          <p:cNvSpPr>
            <a:spLocks noGrp="1"/>
          </p:cNvSpPr>
          <p:nvPr>
            <p:ph type="body" sz="quarter" idx="14" hasCustomPrompt="1"/>
          </p:nvPr>
        </p:nvSpPr>
        <p:spPr bwMode="gray">
          <a:xfrm>
            <a:off x="550508" y="4724844"/>
            <a:ext cx="6624862" cy="1007767"/>
          </a:xfrm>
        </p:spPr>
        <p:txBody>
          <a:bodyPr/>
          <a:lstStyle>
            <a:lvl1pPr marL="0" indent="0" algn="l">
              <a:spcAft>
                <a:spcPts val="0"/>
              </a:spcAft>
              <a:buFont typeface="Arial" panose="020B0604020202020204" pitchFamily="34" charset="0"/>
              <a:buNone/>
              <a:defRPr sz="1400" cap="none" baseline="0">
                <a:solidFill>
                  <a:schemeClr val="bg1"/>
                </a:solidFill>
              </a:defRPr>
            </a:lvl1pPr>
            <a:lvl2pPr marL="0" indent="0" algn="l">
              <a:spcAft>
                <a:spcPts val="0"/>
              </a:spcAft>
              <a:buFont typeface="Arial" panose="020B0604020202020204" pitchFamily="34" charset="0"/>
              <a:buNone/>
              <a:defRPr sz="1400">
                <a:solidFill>
                  <a:schemeClr val="bg1"/>
                </a:solidFill>
              </a:defRPr>
            </a:lvl2pPr>
            <a:lvl3pPr marL="0" indent="0" algn="l">
              <a:spcAft>
                <a:spcPts val="0"/>
              </a:spcAft>
              <a:buFont typeface="Arial" panose="020B0604020202020204" pitchFamily="34" charset="0"/>
              <a:buNone/>
              <a:defRPr sz="1400">
                <a:solidFill>
                  <a:schemeClr val="bg1"/>
                </a:solidFill>
              </a:defRPr>
            </a:lvl3pPr>
            <a:lvl4pPr marL="0" indent="0" algn="l">
              <a:spcAft>
                <a:spcPts val="0"/>
              </a:spcAft>
              <a:buFont typeface="Arial" panose="020B0604020202020204" pitchFamily="34" charset="0"/>
              <a:buNone/>
              <a:defRPr sz="1400">
                <a:solidFill>
                  <a:schemeClr val="bg1"/>
                </a:solidFill>
              </a:defRPr>
            </a:lvl4pPr>
            <a:lvl5pPr marL="0" indent="0" algn="l">
              <a:spcAft>
                <a:spcPts val="0"/>
              </a:spcAft>
              <a:buFont typeface="Arial" panose="020B0604020202020204" pitchFamily="34" charset="0"/>
              <a:buNone/>
              <a:defRPr sz="1400">
                <a:solidFill>
                  <a:schemeClr val="bg1"/>
                </a:solidFill>
              </a:defRPr>
            </a:lvl5pPr>
            <a:lvl6pPr marL="0" indent="0" algn="l">
              <a:spcAft>
                <a:spcPts val="0"/>
              </a:spcAft>
              <a:buNone/>
              <a:defRPr sz="1400">
                <a:solidFill>
                  <a:schemeClr val="bg1"/>
                </a:solidFill>
              </a:defRPr>
            </a:lvl6pPr>
            <a:lvl7pPr marL="0" indent="0" algn="l">
              <a:spcAft>
                <a:spcPts val="0"/>
              </a:spcAft>
              <a:buNone/>
              <a:defRPr sz="1400">
                <a:solidFill>
                  <a:schemeClr val="bg1"/>
                </a:solidFill>
              </a:defRPr>
            </a:lvl7pPr>
            <a:lvl8pPr marL="0" indent="0" algn="l">
              <a:spcAft>
                <a:spcPts val="0"/>
              </a:spcAft>
              <a:buNone/>
              <a:defRPr sz="1400">
                <a:solidFill>
                  <a:schemeClr val="bg1"/>
                </a:solidFill>
              </a:defRPr>
            </a:lvl8pPr>
            <a:lvl9pPr marL="0" indent="0" algn="l">
              <a:spcAft>
                <a:spcPts val="0"/>
              </a:spcAft>
              <a:buNone/>
              <a:defRPr sz="1400">
                <a:solidFill>
                  <a:schemeClr val="bg1"/>
                </a:solidFill>
              </a:defRPr>
            </a:lvl9pPr>
          </a:lstStyle>
          <a:p>
            <a:pPr lvl="0"/>
            <a:r>
              <a:rPr lang="en-US" dirty="0"/>
              <a:t>www.tuv.com</a:t>
            </a:r>
          </a:p>
        </p:txBody>
      </p:sp>
      <p:sp>
        <p:nvSpPr>
          <p:cNvPr id="12" name="Rectangle 5">
            <a:extLst>
              <a:ext uri="{FF2B5EF4-FFF2-40B4-BE49-F238E27FC236}">
                <a16:creationId xmlns:a16="http://schemas.microsoft.com/office/drawing/2014/main" id="{2B460911-9C75-49AA-ABC9-2D92B48329FD}"/>
              </a:ext>
            </a:extLst>
          </p:cNvPr>
          <p:cNvSpPr>
            <a:spLocks noChangeArrowheads="1"/>
          </p:cNvSpPr>
          <p:nvPr userDrawn="1"/>
        </p:nvSpPr>
        <p:spPr bwMode="auto">
          <a:xfrm>
            <a:off x="550934" y="5951006"/>
            <a:ext cx="7849022" cy="789688"/>
          </a:xfrm>
          <a:prstGeom prst="rect">
            <a:avLst/>
          </a:prstGeom>
          <a:noFill/>
          <a:ln w="3175" algn="ctr">
            <a:noFill/>
            <a:miter lim="800000"/>
            <a:headEnd/>
            <a:tailEnd/>
          </a:ln>
        </p:spPr>
        <p:txBody>
          <a:bodyPr lIns="0" tIns="0" rIns="0" bIns="0" anchor="t" anchorCtr="0"/>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indent="0">
              <a:spcAft>
                <a:spcPts val="300"/>
              </a:spcAft>
              <a:buNone/>
            </a:pPr>
            <a:r>
              <a:rPr lang="en-US" sz="800" dirty="0">
                <a:solidFill>
                  <a:schemeClr val="lt1"/>
                </a:solidFill>
              </a:rPr>
              <a:t>LEGAL DISCLAIMER</a:t>
            </a:r>
          </a:p>
          <a:p>
            <a:pPr marL="0" indent="0">
              <a:spcAft>
                <a:spcPts val="300"/>
              </a:spcAft>
              <a:buNone/>
            </a:pPr>
            <a:r>
              <a:rPr lang="en-US" sz="800" dirty="0">
                <a:solidFill>
                  <a:schemeClr val="lt1"/>
                </a:solidFill>
              </a:rPr>
              <a:t>This document remains the property of TÜV </a:t>
            </a:r>
            <a:r>
              <a:rPr lang="en-US" sz="800" dirty="0" err="1">
                <a:solidFill>
                  <a:schemeClr val="lt1"/>
                </a:solidFill>
              </a:rPr>
              <a:t>Rheinland</a:t>
            </a:r>
            <a:r>
              <a:rPr lang="en-US" sz="800" dirty="0">
                <a:solidFill>
                  <a:schemeClr val="lt1"/>
                </a:solidFill>
              </a:rPr>
              <a:t>. It is supplied in confidence solely for information purposes for the recipient. Neither this document nor any </a:t>
            </a:r>
            <a:br>
              <a:rPr lang="en-US" sz="800" dirty="0">
                <a:solidFill>
                  <a:schemeClr val="lt1"/>
                </a:solidFill>
              </a:rPr>
            </a:br>
            <a:r>
              <a:rPr lang="en-US" sz="800" dirty="0">
                <a:solidFill>
                  <a:schemeClr val="lt1"/>
                </a:solidFill>
              </a:rPr>
              <a:t>information or data contained therein may be used for any other purposes, or duplicated or disclosed in whole or in part, to any third party, without the prior written authorization by TÜV </a:t>
            </a:r>
            <a:r>
              <a:rPr lang="en-US" sz="800" dirty="0" err="1">
                <a:solidFill>
                  <a:schemeClr val="lt1"/>
                </a:solidFill>
              </a:rPr>
              <a:t>Rheinland</a:t>
            </a:r>
            <a:r>
              <a:rPr lang="en-US" sz="800" dirty="0">
                <a:solidFill>
                  <a:schemeClr val="lt1"/>
                </a:solidFill>
              </a:rPr>
              <a:t>. This document is not complete without a verbal explanation (presentation) of the content. </a:t>
            </a:r>
          </a:p>
          <a:p>
            <a:pPr marL="0" indent="0">
              <a:spcAft>
                <a:spcPts val="300"/>
              </a:spcAft>
              <a:buNone/>
            </a:pPr>
            <a:r>
              <a:rPr lang="en-US" sz="800" dirty="0">
                <a:solidFill>
                  <a:schemeClr val="lt1"/>
                </a:solidFill>
              </a:rPr>
              <a:t>TÜV </a:t>
            </a:r>
            <a:r>
              <a:rPr lang="en-US" sz="800" dirty="0" err="1">
                <a:solidFill>
                  <a:schemeClr val="lt1"/>
                </a:solidFill>
              </a:rPr>
              <a:t>Rheinland</a:t>
            </a:r>
            <a:r>
              <a:rPr lang="en-US" sz="800" dirty="0">
                <a:solidFill>
                  <a:schemeClr val="lt1"/>
                </a:solidFill>
              </a:rPr>
              <a:t> AG</a:t>
            </a:r>
          </a:p>
        </p:txBody>
      </p:sp>
      <p:pic>
        <p:nvPicPr>
          <p:cNvPr id="11" name="Grafik 10">
            <a:extLst>
              <a:ext uri="{FF2B5EF4-FFF2-40B4-BE49-F238E27FC236}">
                <a16:creationId xmlns:a16="http://schemas.microsoft.com/office/drawing/2014/main" id="{C3170B88-5FC1-4B50-AE64-C6EE01C5566E}"/>
              </a:ext>
            </a:extLst>
          </p:cNvPr>
          <p:cNvPicPr>
            <a:picLocks noChangeAspect="1"/>
          </p:cNvPicPr>
          <p:nvPr userDrawn="1"/>
        </p:nvPicPr>
        <p:blipFill>
          <a:blip r:embed="rId2"/>
          <a:stretch>
            <a:fillRect/>
          </a:stretch>
        </p:blipFill>
        <p:spPr>
          <a:xfrm>
            <a:off x="9841080" y="6178208"/>
            <a:ext cx="1799572" cy="449896"/>
          </a:xfrm>
          <a:prstGeom prst="rect">
            <a:avLst/>
          </a:prstGeom>
        </p:spPr>
      </p:pic>
    </p:spTree>
    <p:extLst>
      <p:ext uri="{BB962C8B-B14F-4D97-AF65-F5344CB8AC3E}">
        <p14:creationId xmlns:p14="http://schemas.microsoft.com/office/powerpoint/2010/main" val="1468549704"/>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losing white">
    <p:bg>
      <p:bgPr>
        <a:solidFill>
          <a:schemeClr val="bg1"/>
        </a:solidFill>
        <a:effectLst/>
      </p:bgPr>
    </p:bg>
    <p:spTree>
      <p:nvGrpSpPr>
        <p:cNvPr id="1" name=""/>
        <p:cNvGrpSpPr/>
        <p:nvPr/>
      </p:nvGrpSpPr>
      <p:grpSpPr>
        <a:xfrm>
          <a:off x="0" y="0"/>
          <a:ext cx="0" cy="0"/>
          <a:chOff x="0" y="0"/>
          <a:chExt cx="0" cy="0"/>
        </a:xfrm>
      </p:grpSpPr>
      <p:sp>
        <p:nvSpPr>
          <p:cNvPr id="7" name="Freihandform 15">
            <a:extLst>
              <a:ext uri="{FF2B5EF4-FFF2-40B4-BE49-F238E27FC236}">
                <a16:creationId xmlns:a16="http://schemas.microsoft.com/office/drawing/2014/main" id="{6CF90710-5F00-4402-AB92-162AB58A4A50}"/>
              </a:ext>
            </a:extLst>
          </p:cNvPr>
          <p:cNvSpPr/>
          <p:nvPr userDrawn="1"/>
        </p:nvSpPr>
        <p:spPr bwMode="gray">
          <a:xfrm>
            <a:off x="0" y="5101510"/>
            <a:ext cx="12191999" cy="591532"/>
          </a:xfrm>
          <a:custGeom>
            <a:avLst/>
            <a:gdLst>
              <a:gd name="connsiteX0" fmla="*/ 0 w 12190413"/>
              <a:gd name="connsiteY0" fmla="*/ 0 h 3406586"/>
              <a:gd name="connsiteX1" fmla="*/ 12190413 w 12190413"/>
              <a:gd name="connsiteY1" fmla="*/ 0 h 3406586"/>
              <a:gd name="connsiteX2" fmla="*/ 12190413 w 12190413"/>
              <a:gd name="connsiteY2" fmla="*/ 1563230 h 3406586"/>
              <a:gd name="connsiteX3" fmla="*/ 12190412 w 12190413"/>
              <a:gd name="connsiteY3" fmla="*/ 3126460 h 3406586"/>
              <a:gd name="connsiteX4" fmla="*/ 12188206 w 12190413"/>
              <a:gd name="connsiteY4" fmla="*/ 3125946 h 3406586"/>
              <a:gd name="connsiteX5" fmla="*/ 12188206 w 12190413"/>
              <a:gd name="connsiteY5" fmla="*/ 3119321 h 3406586"/>
              <a:gd name="connsiteX6" fmla="*/ 12032390 w 12190413"/>
              <a:gd name="connsiteY6" fmla="*/ 3089643 h 3406586"/>
              <a:gd name="connsiteX7" fmla="*/ 11853287 w 12190413"/>
              <a:gd name="connsiteY7" fmla="*/ 3047915 h 3406586"/>
              <a:gd name="connsiteX8" fmla="*/ 9474399 w 12190413"/>
              <a:gd name="connsiteY8" fmla="*/ 2814917 h 3406586"/>
              <a:gd name="connsiteX9" fmla="*/ 9363219 w 12190413"/>
              <a:gd name="connsiteY9" fmla="*/ 2815958 h 3406586"/>
              <a:gd name="connsiteX10" fmla="*/ 9336724 w 12190413"/>
              <a:gd name="connsiteY10" fmla="*/ 2815490 h 3406586"/>
              <a:gd name="connsiteX11" fmla="*/ 9141154 w 12190413"/>
              <a:gd name="connsiteY11" fmla="*/ 2815490 h 3406586"/>
              <a:gd name="connsiteX12" fmla="*/ 8943837 w 12190413"/>
              <a:gd name="connsiteY12" fmla="*/ 2815489 h 3406586"/>
              <a:gd name="connsiteX13" fmla="*/ 8746521 w 12190413"/>
              <a:gd name="connsiteY13" fmla="*/ 2818982 h 3406586"/>
              <a:gd name="connsiteX14" fmla="*/ 8552697 w 12190413"/>
              <a:gd name="connsiteY14" fmla="*/ 2824221 h 3406586"/>
              <a:gd name="connsiteX15" fmla="*/ 8357128 w 12190413"/>
              <a:gd name="connsiteY15" fmla="*/ 2834697 h 3406586"/>
              <a:gd name="connsiteX16" fmla="*/ 8163303 w 12190413"/>
              <a:gd name="connsiteY16" fmla="*/ 2846920 h 3406586"/>
              <a:gd name="connsiteX17" fmla="*/ 7972972 w 12190413"/>
              <a:gd name="connsiteY17" fmla="*/ 2859144 h 3406586"/>
              <a:gd name="connsiteX18" fmla="*/ 7779149 w 12190413"/>
              <a:gd name="connsiteY18" fmla="*/ 2874858 h 3406586"/>
              <a:gd name="connsiteX19" fmla="*/ 7587072 w 12190413"/>
              <a:gd name="connsiteY19" fmla="*/ 2894066 h 3406586"/>
              <a:gd name="connsiteX20" fmla="*/ 7396738 w 12190413"/>
              <a:gd name="connsiteY20" fmla="*/ 2916766 h 3406586"/>
              <a:gd name="connsiteX21" fmla="*/ 7209903 w 12190413"/>
              <a:gd name="connsiteY21" fmla="*/ 2939466 h 3406586"/>
              <a:gd name="connsiteX22" fmla="*/ 7019571 w 12190413"/>
              <a:gd name="connsiteY22" fmla="*/ 2963913 h 3406586"/>
              <a:gd name="connsiteX23" fmla="*/ 6853019 w 12190413"/>
              <a:gd name="connsiteY23" fmla="*/ 2990374 h 3406586"/>
              <a:gd name="connsiteX24" fmla="*/ 6718666 w 12190413"/>
              <a:gd name="connsiteY24" fmla="*/ 3007620 h 3406586"/>
              <a:gd name="connsiteX25" fmla="*/ 6545441 w 12190413"/>
              <a:gd name="connsiteY25" fmla="*/ 3036817 h 3406586"/>
              <a:gd name="connsiteX26" fmla="*/ 6460798 w 12190413"/>
              <a:gd name="connsiteY26" fmla="*/ 3049475 h 3406586"/>
              <a:gd name="connsiteX27" fmla="*/ 6387367 w 12190413"/>
              <a:gd name="connsiteY27" fmla="*/ 3063462 h 3406586"/>
              <a:gd name="connsiteX28" fmla="*/ 6041160 w 12190413"/>
              <a:gd name="connsiteY28" fmla="*/ 3121816 h 3406586"/>
              <a:gd name="connsiteX29" fmla="*/ 5887321 w 12190413"/>
              <a:gd name="connsiteY29" fmla="*/ 3154127 h 3406586"/>
              <a:gd name="connsiteX30" fmla="*/ 5857713 w 12190413"/>
              <a:gd name="connsiteY30" fmla="*/ 3159113 h 3406586"/>
              <a:gd name="connsiteX31" fmla="*/ 1438219 w 12190413"/>
              <a:gd name="connsiteY31" fmla="*/ 3342542 h 3406586"/>
              <a:gd name="connsiteX32" fmla="*/ 1112913 w 12190413"/>
              <a:gd name="connsiteY32" fmla="*/ 3306015 h 3406586"/>
              <a:gd name="connsiteX33" fmla="*/ 1063194 w 12190413"/>
              <a:gd name="connsiteY33" fmla="*/ 3299628 h 3406586"/>
              <a:gd name="connsiteX34" fmla="*/ 750855 w 12190413"/>
              <a:gd name="connsiteY34" fmla="*/ 3254655 h 3406586"/>
              <a:gd name="connsiteX35" fmla="*/ 268553 w 12190413"/>
              <a:gd name="connsiteY35" fmla="*/ 3164158 h 3406586"/>
              <a:gd name="connsiteX36" fmla="*/ 1 w 12190413"/>
              <a:gd name="connsiteY36" fmla="*/ 3097698 h 3406586"/>
              <a:gd name="connsiteX37" fmla="*/ 0 w 12190413"/>
              <a:gd name="connsiteY37" fmla="*/ 3097676 h 3406586"/>
              <a:gd name="connsiteX38" fmla="*/ 0 w 12190413"/>
              <a:gd name="connsiteY38" fmla="*/ 0 h 3406586"/>
              <a:gd name="connsiteX0" fmla="*/ 0 w 12190413"/>
              <a:gd name="connsiteY0" fmla="*/ 0 h 3406586"/>
              <a:gd name="connsiteX1" fmla="*/ 12190413 w 12190413"/>
              <a:gd name="connsiteY1" fmla="*/ 0 h 3406586"/>
              <a:gd name="connsiteX2" fmla="*/ 12190413 w 12190413"/>
              <a:gd name="connsiteY2" fmla="*/ 1563230 h 3406586"/>
              <a:gd name="connsiteX3" fmla="*/ 12190412 w 12190413"/>
              <a:gd name="connsiteY3" fmla="*/ 3126460 h 3406586"/>
              <a:gd name="connsiteX4" fmla="*/ 12188206 w 12190413"/>
              <a:gd name="connsiteY4" fmla="*/ 3125946 h 3406586"/>
              <a:gd name="connsiteX5" fmla="*/ 12188206 w 12190413"/>
              <a:gd name="connsiteY5" fmla="*/ 3119321 h 3406586"/>
              <a:gd name="connsiteX6" fmla="*/ 12032390 w 12190413"/>
              <a:gd name="connsiteY6" fmla="*/ 3089643 h 3406586"/>
              <a:gd name="connsiteX7" fmla="*/ 11853287 w 12190413"/>
              <a:gd name="connsiteY7" fmla="*/ 3047915 h 3406586"/>
              <a:gd name="connsiteX8" fmla="*/ 9474399 w 12190413"/>
              <a:gd name="connsiteY8" fmla="*/ 2814917 h 3406586"/>
              <a:gd name="connsiteX9" fmla="*/ 9363219 w 12190413"/>
              <a:gd name="connsiteY9" fmla="*/ 2815958 h 3406586"/>
              <a:gd name="connsiteX10" fmla="*/ 9336724 w 12190413"/>
              <a:gd name="connsiteY10" fmla="*/ 2815490 h 3406586"/>
              <a:gd name="connsiteX11" fmla="*/ 9141154 w 12190413"/>
              <a:gd name="connsiteY11" fmla="*/ 2815490 h 3406586"/>
              <a:gd name="connsiteX12" fmla="*/ 8943837 w 12190413"/>
              <a:gd name="connsiteY12" fmla="*/ 2815489 h 3406586"/>
              <a:gd name="connsiteX13" fmla="*/ 8746521 w 12190413"/>
              <a:gd name="connsiteY13" fmla="*/ 2818982 h 3406586"/>
              <a:gd name="connsiteX14" fmla="*/ 8552697 w 12190413"/>
              <a:gd name="connsiteY14" fmla="*/ 2824221 h 3406586"/>
              <a:gd name="connsiteX15" fmla="*/ 8357128 w 12190413"/>
              <a:gd name="connsiteY15" fmla="*/ 2834697 h 3406586"/>
              <a:gd name="connsiteX16" fmla="*/ 8163303 w 12190413"/>
              <a:gd name="connsiteY16" fmla="*/ 2846920 h 3406586"/>
              <a:gd name="connsiteX17" fmla="*/ 7972972 w 12190413"/>
              <a:gd name="connsiteY17" fmla="*/ 2859144 h 3406586"/>
              <a:gd name="connsiteX18" fmla="*/ 7779149 w 12190413"/>
              <a:gd name="connsiteY18" fmla="*/ 2874858 h 3406586"/>
              <a:gd name="connsiteX19" fmla="*/ 7587072 w 12190413"/>
              <a:gd name="connsiteY19" fmla="*/ 2894066 h 3406586"/>
              <a:gd name="connsiteX20" fmla="*/ 7396738 w 12190413"/>
              <a:gd name="connsiteY20" fmla="*/ 2916766 h 3406586"/>
              <a:gd name="connsiteX21" fmla="*/ 7209903 w 12190413"/>
              <a:gd name="connsiteY21" fmla="*/ 2939466 h 3406586"/>
              <a:gd name="connsiteX22" fmla="*/ 7019571 w 12190413"/>
              <a:gd name="connsiteY22" fmla="*/ 2963913 h 3406586"/>
              <a:gd name="connsiteX23" fmla="*/ 6853019 w 12190413"/>
              <a:gd name="connsiteY23" fmla="*/ 2990374 h 3406586"/>
              <a:gd name="connsiteX24" fmla="*/ 6718666 w 12190413"/>
              <a:gd name="connsiteY24" fmla="*/ 3007620 h 3406586"/>
              <a:gd name="connsiteX25" fmla="*/ 6545441 w 12190413"/>
              <a:gd name="connsiteY25" fmla="*/ 3036817 h 3406586"/>
              <a:gd name="connsiteX26" fmla="*/ 6460798 w 12190413"/>
              <a:gd name="connsiteY26" fmla="*/ 3049475 h 3406586"/>
              <a:gd name="connsiteX27" fmla="*/ 6387367 w 12190413"/>
              <a:gd name="connsiteY27" fmla="*/ 3063462 h 3406586"/>
              <a:gd name="connsiteX28" fmla="*/ 6041160 w 12190413"/>
              <a:gd name="connsiteY28" fmla="*/ 3121816 h 3406586"/>
              <a:gd name="connsiteX29" fmla="*/ 5887321 w 12190413"/>
              <a:gd name="connsiteY29" fmla="*/ 3154127 h 3406586"/>
              <a:gd name="connsiteX30" fmla="*/ 5857713 w 12190413"/>
              <a:gd name="connsiteY30" fmla="*/ 3159113 h 3406586"/>
              <a:gd name="connsiteX31" fmla="*/ 1438219 w 12190413"/>
              <a:gd name="connsiteY31" fmla="*/ 3342542 h 3406586"/>
              <a:gd name="connsiteX32" fmla="*/ 1112913 w 12190413"/>
              <a:gd name="connsiteY32" fmla="*/ 3306015 h 3406586"/>
              <a:gd name="connsiteX33" fmla="*/ 1063194 w 12190413"/>
              <a:gd name="connsiteY33" fmla="*/ 3299628 h 3406586"/>
              <a:gd name="connsiteX34" fmla="*/ 750855 w 12190413"/>
              <a:gd name="connsiteY34" fmla="*/ 3254655 h 3406586"/>
              <a:gd name="connsiteX35" fmla="*/ 268553 w 12190413"/>
              <a:gd name="connsiteY35" fmla="*/ 3164158 h 3406586"/>
              <a:gd name="connsiteX36" fmla="*/ 1 w 12190413"/>
              <a:gd name="connsiteY36" fmla="*/ 3097698 h 3406586"/>
              <a:gd name="connsiteX37" fmla="*/ 0 w 12190413"/>
              <a:gd name="connsiteY37" fmla="*/ 3097676 h 3406586"/>
              <a:gd name="connsiteX38" fmla="*/ 91440 w 12190413"/>
              <a:gd name="connsiteY38" fmla="*/ 91440 h 3406586"/>
              <a:gd name="connsiteX0" fmla="*/ 0 w 12190413"/>
              <a:gd name="connsiteY0" fmla="*/ 0 h 3406586"/>
              <a:gd name="connsiteX1" fmla="*/ 12190413 w 12190413"/>
              <a:gd name="connsiteY1" fmla="*/ 0 h 3406586"/>
              <a:gd name="connsiteX2" fmla="*/ 12190413 w 12190413"/>
              <a:gd name="connsiteY2" fmla="*/ 1563230 h 3406586"/>
              <a:gd name="connsiteX3" fmla="*/ 12190412 w 12190413"/>
              <a:gd name="connsiteY3" fmla="*/ 3126460 h 3406586"/>
              <a:gd name="connsiteX4" fmla="*/ 12188206 w 12190413"/>
              <a:gd name="connsiteY4" fmla="*/ 3125946 h 3406586"/>
              <a:gd name="connsiteX5" fmla="*/ 12188206 w 12190413"/>
              <a:gd name="connsiteY5" fmla="*/ 3119321 h 3406586"/>
              <a:gd name="connsiteX6" fmla="*/ 12032390 w 12190413"/>
              <a:gd name="connsiteY6" fmla="*/ 3089643 h 3406586"/>
              <a:gd name="connsiteX7" fmla="*/ 11853287 w 12190413"/>
              <a:gd name="connsiteY7" fmla="*/ 3047915 h 3406586"/>
              <a:gd name="connsiteX8" fmla="*/ 9474399 w 12190413"/>
              <a:gd name="connsiteY8" fmla="*/ 2814917 h 3406586"/>
              <a:gd name="connsiteX9" fmla="*/ 9363219 w 12190413"/>
              <a:gd name="connsiteY9" fmla="*/ 2815958 h 3406586"/>
              <a:gd name="connsiteX10" fmla="*/ 9336724 w 12190413"/>
              <a:gd name="connsiteY10" fmla="*/ 2815490 h 3406586"/>
              <a:gd name="connsiteX11" fmla="*/ 9141154 w 12190413"/>
              <a:gd name="connsiteY11" fmla="*/ 2815490 h 3406586"/>
              <a:gd name="connsiteX12" fmla="*/ 8943837 w 12190413"/>
              <a:gd name="connsiteY12" fmla="*/ 2815489 h 3406586"/>
              <a:gd name="connsiteX13" fmla="*/ 8746521 w 12190413"/>
              <a:gd name="connsiteY13" fmla="*/ 2818982 h 3406586"/>
              <a:gd name="connsiteX14" fmla="*/ 8552697 w 12190413"/>
              <a:gd name="connsiteY14" fmla="*/ 2824221 h 3406586"/>
              <a:gd name="connsiteX15" fmla="*/ 8357128 w 12190413"/>
              <a:gd name="connsiteY15" fmla="*/ 2834697 h 3406586"/>
              <a:gd name="connsiteX16" fmla="*/ 8163303 w 12190413"/>
              <a:gd name="connsiteY16" fmla="*/ 2846920 h 3406586"/>
              <a:gd name="connsiteX17" fmla="*/ 7972972 w 12190413"/>
              <a:gd name="connsiteY17" fmla="*/ 2859144 h 3406586"/>
              <a:gd name="connsiteX18" fmla="*/ 7779149 w 12190413"/>
              <a:gd name="connsiteY18" fmla="*/ 2874858 h 3406586"/>
              <a:gd name="connsiteX19" fmla="*/ 7587072 w 12190413"/>
              <a:gd name="connsiteY19" fmla="*/ 2894066 h 3406586"/>
              <a:gd name="connsiteX20" fmla="*/ 7396738 w 12190413"/>
              <a:gd name="connsiteY20" fmla="*/ 2916766 h 3406586"/>
              <a:gd name="connsiteX21" fmla="*/ 7209903 w 12190413"/>
              <a:gd name="connsiteY21" fmla="*/ 2939466 h 3406586"/>
              <a:gd name="connsiteX22" fmla="*/ 7019571 w 12190413"/>
              <a:gd name="connsiteY22" fmla="*/ 2963913 h 3406586"/>
              <a:gd name="connsiteX23" fmla="*/ 6853019 w 12190413"/>
              <a:gd name="connsiteY23" fmla="*/ 2990374 h 3406586"/>
              <a:gd name="connsiteX24" fmla="*/ 6718666 w 12190413"/>
              <a:gd name="connsiteY24" fmla="*/ 3007620 h 3406586"/>
              <a:gd name="connsiteX25" fmla="*/ 6545441 w 12190413"/>
              <a:gd name="connsiteY25" fmla="*/ 3036817 h 3406586"/>
              <a:gd name="connsiteX26" fmla="*/ 6460798 w 12190413"/>
              <a:gd name="connsiteY26" fmla="*/ 3049475 h 3406586"/>
              <a:gd name="connsiteX27" fmla="*/ 6387367 w 12190413"/>
              <a:gd name="connsiteY27" fmla="*/ 3063462 h 3406586"/>
              <a:gd name="connsiteX28" fmla="*/ 6041160 w 12190413"/>
              <a:gd name="connsiteY28" fmla="*/ 3121816 h 3406586"/>
              <a:gd name="connsiteX29" fmla="*/ 5887321 w 12190413"/>
              <a:gd name="connsiteY29" fmla="*/ 3154127 h 3406586"/>
              <a:gd name="connsiteX30" fmla="*/ 5857713 w 12190413"/>
              <a:gd name="connsiteY30" fmla="*/ 3159113 h 3406586"/>
              <a:gd name="connsiteX31" fmla="*/ 1438219 w 12190413"/>
              <a:gd name="connsiteY31" fmla="*/ 3342542 h 3406586"/>
              <a:gd name="connsiteX32" fmla="*/ 1112913 w 12190413"/>
              <a:gd name="connsiteY32" fmla="*/ 3306015 h 3406586"/>
              <a:gd name="connsiteX33" fmla="*/ 1063194 w 12190413"/>
              <a:gd name="connsiteY33" fmla="*/ 3299628 h 3406586"/>
              <a:gd name="connsiteX34" fmla="*/ 750855 w 12190413"/>
              <a:gd name="connsiteY34" fmla="*/ 3254655 h 3406586"/>
              <a:gd name="connsiteX35" fmla="*/ 268553 w 12190413"/>
              <a:gd name="connsiteY35" fmla="*/ 3164158 h 3406586"/>
              <a:gd name="connsiteX36" fmla="*/ 1 w 12190413"/>
              <a:gd name="connsiteY36" fmla="*/ 3097698 h 3406586"/>
              <a:gd name="connsiteX37" fmla="*/ 0 w 12190413"/>
              <a:gd name="connsiteY37" fmla="*/ 3097676 h 3406586"/>
              <a:gd name="connsiteX0" fmla="*/ 12190413 w 12190413"/>
              <a:gd name="connsiteY0" fmla="*/ 0 h 3406586"/>
              <a:gd name="connsiteX1" fmla="*/ 12190413 w 12190413"/>
              <a:gd name="connsiteY1" fmla="*/ 1563230 h 3406586"/>
              <a:gd name="connsiteX2" fmla="*/ 12190412 w 12190413"/>
              <a:gd name="connsiteY2" fmla="*/ 3126460 h 3406586"/>
              <a:gd name="connsiteX3" fmla="*/ 12188206 w 12190413"/>
              <a:gd name="connsiteY3" fmla="*/ 3125946 h 3406586"/>
              <a:gd name="connsiteX4" fmla="*/ 12188206 w 12190413"/>
              <a:gd name="connsiteY4" fmla="*/ 3119321 h 3406586"/>
              <a:gd name="connsiteX5" fmla="*/ 12032390 w 12190413"/>
              <a:gd name="connsiteY5" fmla="*/ 3089643 h 3406586"/>
              <a:gd name="connsiteX6" fmla="*/ 11853287 w 12190413"/>
              <a:gd name="connsiteY6" fmla="*/ 3047915 h 3406586"/>
              <a:gd name="connsiteX7" fmla="*/ 9474399 w 12190413"/>
              <a:gd name="connsiteY7" fmla="*/ 2814917 h 3406586"/>
              <a:gd name="connsiteX8" fmla="*/ 9363219 w 12190413"/>
              <a:gd name="connsiteY8" fmla="*/ 2815958 h 3406586"/>
              <a:gd name="connsiteX9" fmla="*/ 9336724 w 12190413"/>
              <a:gd name="connsiteY9" fmla="*/ 2815490 h 3406586"/>
              <a:gd name="connsiteX10" fmla="*/ 9141154 w 12190413"/>
              <a:gd name="connsiteY10" fmla="*/ 2815490 h 3406586"/>
              <a:gd name="connsiteX11" fmla="*/ 8943837 w 12190413"/>
              <a:gd name="connsiteY11" fmla="*/ 2815489 h 3406586"/>
              <a:gd name="connsiteX12" fmla="*/ 8746521 w 12190413"/>
              <a:gd name="connsiteY12" fmla="*/ 2818982 h 3406586"/>
              <a:gd name="connsiteX13" fmla="*/ 8552697 w 12190413"/>
              <a:gd name="connsiteY13" fmla="*/ 2824221 h 3406586"/>
              <a:gd name="connsiteX14" fmla="*/ 8357128 w 12190413"/>
              <a:gd name="connsiteY14" fmla="*/ 2834697 h 3406586"/>
              <a:gd name="connsiteX15" fmla="*/ 8163303 w 12190413"/>
              <a:gd name="connsiteY15" fmla="*/ 2846920 h 3406586"/>
              <a:gd name="connsiteX16" fmla="*/ 7972972 w 12190413"/>
              <a:gd name="connsiteY16" fmla="*/ 2859144 h 3406586"/>
              <a:gd name="connsiteX17" fmla="*/ 7779149 w 12190413"/>
              <a:gd name="connsiteY17" fmla="*/ 2874858 h 3406586"/>
              <a:gd name="connsiteX18" fmla="*/ 7587072 w 12190413"/>
              <a:gd name="connsiteY18" fmla="*/ 2894066 h 3406586"/>
              <a:gd name="connsiteX19" fmla="*/ 7396738 w 12190413"/>
              <a:gd name="connsiteY19" fmla="*/ 2916766 h 3406586"/>
              <a:gd name="connsiteX20" fmla="*/ 7209903 w 12190413"/>
              <a:gd name="connsiteY20" fmla="*/ 2939466 h 3406586"/>
              <a:gd name="connsiteX21" fmla="*/ 7019571 w 12190413"/>
              <a:gd name="connsiteY21" fmla="*/ 2963913 h 3406586"/>
              <a:gd name="connsiteX22" fmla="*/ 6853019 w 12190413"/>
              <a:gd name="connsiteY22" fmla="*/ 2990374 h 3406586"/>
              <a:gd name="connsiteX23" fmla="*/ 6718666 w 12190413"/>
              <a:gd name="connsiteY23" fmla="*/ 3007620 h 3406586"/>
              <a:gd name="connsiteX24" fmla="*/ 6545441 w 12190413"/>
              <a:gd name="connsiteY24" fmla="*/ 3036817 h 3406586"/>
              <a:gd name="connsiteX25" fmla="*/ 6460798 w 12190413"/>
              <a:gd name="connsiteY25" fmla="*/ 3049475 h 3406586"/>
              <a:gd name="connsiteX26" fmla="*/ 6387367 w 12190413"/>
              <a:gd name="connsiteY26" fmla="*/ 3063462 h 3406586"/>
              <a:gd name="connsiteX27" fmla="*/ 6041160 w 12190413"/>
              <a:gd name="connsiteY27" fmla="*/ 3121816 h 3406586"/>
              <a:gd name="connsiteX28" fmla="*/ 5887321 w 12190413"/>
              <a:gd name="connsiteY28" fmla="*/ 3154127 h 3406586"/>
              <a:gd name="connsiteX29" fmla="*/ 5857713 w 12190413"/>
              <a:gd name="connsiteY29" fmla="*/ 3159113 h 3406586"/>
              <a:gd name="connsiteX30" fmla="*/ 1438219 w 12190413"/>
              <a:gd name="connsiteY30" fmla="*/ 3342542 h 3406586"/>
              <a:gd name="connsiteX31" fmla="*/ 1112913 w 12190413"/>
              <a:gd name="connsiteY31" fmla="*/ 3306015 h 3406586"/>
              <a:gd name="connsiteX32" fmla="*/ 1063194 w 12190413"/>
              <a:gd name="connsiteY32" fmla="*/ 3299628 h 3406586"/>
              <a:gd name="connsiteX33" fmla="*/ 750855 w 12190413"/>
              <a:gd name="connsiteY33" fmla="*/ 3254655 h 3406586"/>
              <a:gd name="connsiteX34" fmla="*/ 268553 w 12190413"/>
              <a:gd name="connsiteY34" fmla="*/ 3164158 h 3406586"/>
              <a:gd name="connsiteX35" fmla="*/ 1 w 12190413"/>
              <a:gd name="connsiteY35" fmla="*/ 3097698 h 3406586"/>
              <a:gd name="connsiteX36" fmla="*/ 0 w 12190413"/>
              <a:gd name="connsiteY36" fmla="*/ 3097676 h 3406586"/>
              <a:gd name="connsiteX0" fmla="*/ 12190413 w 12190413"/>
              <a:gd name="connsiteY0" fmla="*/ 0 h 1843356"/>
              <a:gd name="connsiteX1" fmla="*/ 12190412 w 12190413"/>
              <a:gd name="connsiteY1" fmla="*/ 1563230 h 1843356"/>
              <a:gd name="connsiteX2" fmla="*/ 12188206 w 12190413"/>
              <a:gd name="connsiteY2" fmla="*/ 1562716 h 1843356"/>
              <a:gd name="connsiteX3" fmla="*/ 12188206 w 12190413"/>
              <a:gd name="connsiteY3" fmla="*/ 1556091 h 1843356"/>
              <a:gd name="connsiteX4" fmla="*/ 12032390 w 12190413"/>
              <a:gd name="connsiteY4" fmla="*/ 1526413 h 1843356"/>
              <a:gd name="connsiteX5" fmla="*/ 11853287 w 12190413"/>
              <a:gd name="connsiteY5" fmla="*/ 1484685 h 1843356"/>
              <a:gd name="connsiteX6" fmla="*/ 9474399 w 12190413"/>
              <a:gd name="connsiteY6" fmla="*/ 1251687 h 1843356"/>
              <a:gd name="connsiteX7" fmla="*/ 9363219 w 12190413"/>
              <a:gd name="connsiteY7" fmla="*/ 1252728 h 1843356"/>
              <a:gd name="connsiteX8" fmla="*/ 9336724 w 12190413"/>
              <a:gd name="connsiteY8" fmla="*/ 1252260 h 1843356"/>
              <a:gd name="connsiteX9" fmla="*/ 9141154 w 12190413"/>
              <a:gd name="connsiteY9" fmla="*/ 1252260 h 1843356"/>
              <a:gd name="connsiteX10" fmla="*/ 8943837 w 12190413"/>
              <a:gd name="connsiteY10" fmla="*/ 1252259 h 1843356"/>
              <a:gd name="connsiteX11" fmla="*/ 8746521 w 12190413"/>
              <a:gd name="connsiteY11" fmla="*/ 1255752 h 1843356"/>
              <a:gd name="connsiteX12" fmla="*/ 8552697 w 12190413"/>
              <a:gd name="connsiteY12" fmla="*/ 1260991 h 1843356"/>
              <a:gd name="connsiteX13" fmla="*/ 8357128 w 12190413"/>
              <a:gd name="connsiteY13" fmla="*/ 1271467 h 1843356"/>
              <a:gd name="connsiteX14" fmla="*/ 8163303 w 12190413"/>
              <a:gd name="connsiteY14" fmla="*/ 1283690 h 1843356"/>
              <a:gd name="connsiteX15" fmla="*/ 7972972 w 12190413"/>
              <a:gd name="connsiteY15" fmla="*/ 1295914 h 1843356"/>
              <a:gd name="connsiteX16" fmla="*/ 7779149 w 12190413"/>
              <a:gd name="connsiteY16" fmla="*/ 1311628 h 1843356"/>
              <a:gd name="connsiteX17" fmla="*/ 7587072 w 12190413"/>
              <a:gd name="connsiteY17" fmla="*/ 1330836 h 1843356"/>
              <a:gd name="connsiteX18" fmla="*/ 7396738 w 12190413"/>
              <a:gd name="connsiteY18" fmla="*/ 1353536 h 1843356"/>
              <a:gd name="connsiteX19" fmla="*/ 7209903 w 12190413"/>
              <a:gd name="connsiteY19" fmla="*/ 1376236 h 1843356"/>
              <a:gd name="connsiteX20" fmla="*/ 7019571 w 12190413"/>
              <a:gd name="connsiteY20" fmla="*/ 1400683 h 1843356"/>
              <a:gd name="connsiteX21" fmla="*/ 6853019 w 12190413"/>
              <a:gd name="connsiteY21" fmla="*/ 1427144 h 1843356"/>
              <a:gd name="connsiteX22" fmla="*/ 6718666 w 12190413"/>
              <a:gd name="connsiteY22" fmla="*/ 1444390 h 1843356"/>
              <a:gd name="connsiteX23" fmla="*/ 6545441 w 12190413"/>
              <a:gd name="connsiteY23" fmla="*/ 1473587 h 1843356"/>
              <a:gd name="connsiteX24" fmla="*/ 6460798 w 12190413"/>
              <a:gd name="connsiteY24" fmla="*/ 1486245 h 1843356"/>
              <a:gd name="connsiteX25" fmla="*/ 6387367 w 12190413"/>
              <a:gd name="connsiteY25" fmla="*/ 1500232 h 1843356"/>
              <a:gd name="connsiteX26" fmla="*/ 6041160 w 12190413"/>
              <a:gd name="connsiteY26" fmla="*/ 1558586 h 1843356"/>
              <a:gd name="connsiteX27" fmla="*/ 5887321 w 12190413"/>
              <a:gd name="connsiteY27" fmla="*/ 1590897 h 1843356"/>
              <a:gd name="connsiteX28" fmla="*/ 5857713 w 12190413"/>
              <a:gd name="connsiteY28" fmla="*/ 1595883 h 1843356"/>
              <a:gd name="connsiteX29" fmla="*/ 1438219 w 12190413"/>
              <a:gd name="connsiteY29" fmla="*/ 1779312 h 1843356"/>
              <a:gd name="connsiteX30" fmla="*/ 1112913 w 12190413"/>
              <a:gd name="connsiteY30" fmla="*/ 1742785 h 1843356"/>
              <a:gd name="connsiteX31" fmla="*/ 1063194 w 12190413"/>
              <a:gd name="connsiteY31" fmla="*/ 1736398 h 1843356"/>
              <a:gd name="connsiteX32" fmla="*/ 750855 w 12190413"/>
              <a:gd name="connsiteY32" fmla="*/ 1691425 h 1843356"/>
              <a:gd name="connsiteX33" fmla="*/ 268553 w 12190413"/>
              <a:gd name="connsiteY33" fmla="*/ 1600928 h 1843356"/>
              <a:gd name="connsiteX34" fmla="*/ 1 w 12190413"/>
              <a:gd name="connsiteY34" fmla="*/ 1534468 h 1843356"/>
              <a:gd name="connsiteX35" fmla="*/ 0 w 12190413"/>
              <a:gd name="connsiteY35" fmla="*/ 1534446 h 1843356"/>
              <a:gd name="connsiteX0" fmla="*/ 12190412 w 12190412"/>
              <a:gd name="connsiteY0" fmla="*/ 311543 h 591669"/>
              <a:gd name="connsiteX1" fmla="*/ 12188206 w 12190412"/>
              <a:gd name="connsiteY1" fmla="*/ 311029 h 591669"/>
              <a:gd name="connsiteX2" fmla="*/ 12188206 w 12190412"/>
              <a:gd name="connsiteY2" fmla="*/ 304404 h 591669"/>
              <a:gd name="connsiteX3" fmla="*/ 12032390 w 12190412"/>
              <a:gd name="connsiteY3" fmla="*/ 274726 h 591669"/>
              <a:gd name="connsiteX4" fmla="*/ 11853287 w 12190412"/>
              <a:gd name="connsiteY4" fmla="*/ 232998 h 591669"/>
              <a:gd name="connsiteX5" fmla="*/ 9474399 w 12190412"/>
              <a:gd name="connsiteY5" fmla="*/ 0 h 591669"/>
              <a:gd name="connsiteX6" fmla="*/ 9363219 w 12190412"/>
              <a:gd name="connsiteY6" fmla="*/ 1041 h 591669"/>
              <a:gd name="connsiteX7" fmla="*/ 9336724 w 12190412"/>
              <a:gd name="connsiteY7" fmla="*/ 573 h 591669"/>
              <a:gd name="connsiteX8" fmla="*/ 9141154 w 12190412"/>
              <a:gd name="connsiteY8" fmla="*/ 573 h 591669"/>
              <a:gd name="connsiteX9" fmla="*/ 8943837 w 12190412"/>
              <a:gd name="connsiteY9" fmla="*/ 572 h 591669"/>
              <a:gd name="connsiteX10" fmla="*/ 8746521 w 12190412"/>
              <a:gd name="connsiteY10" fmla="*/ 4065 h 591669"/>
              <a:gd name="connsiteX11" fmla="*/ 8552697 w 12190412"/>
              <a:gd name="connsiteY11" fmla="*/ 9304 h 591669"/>
              <a:gd name="connsiteX12" fmla="*/ 8357128 w 12190412"/>
              <a:gd name="connsiteY12" fmla="*/ 19780 h 591669"/>
              <a:gd name="connsiteX13" fmla="*/ 8163303 w 12190412"/>
              <a:gd name="connsiteY13" fmla="*/ 32003 h 591669"/>
              <a:gd name="connsiteX14" fmla="*/ 7972972 w 12190412"/>
              <a:gd name="connsiteY14" fmla="*/ 44227 h 591669"/>
              <a:gd name="connsiteX15" fmla="*/ 7779149 w 12190412"/>
              <a:gd name="connsiteY15" fmla="*/ 59941 h 591669"/>
              <a:gd name="connsiteX16" fmla="*/ 7587072 w 12190412"/>
              <a:gd name="connsiteY16" fmla="*/ 79149 h 591669"/>
              <a:gd name="connsiteX17" fmla="*/ 7396738 w 12190412"/>
              <a:gd name="connsiteY17" fmla="*/ 101849 h 591669"/>
              <a:gd name="connsiteX18" fmla="*/ 7209903 w 12190412"/>
              <a:gd name="connsiteY18" fmla="*/ 124549 h 591669"/>
              <a:gd name="connsiteX19" fmla="*/ 7019571 w 12190412"/>
              <a:gd name="connsiteY19" fmla="*/ 148996 h 591669"/>
              <a:gd name="connsiteX20" fmla="*/ 6853019 w 12190412"/>
              <a:gd name="connsiteY20" fmla="*/ 175457 h 591669"/>
              <a:gd name="connsiteX21" fmla="*/ 6718666 w 12190412"/>
              <a:gd name="connsiteY21" fmla="*/ 192703 h 591669"/>
              <a:gd name="connsiteX22" fmla="*/ 6545441 w 12190412"/>
              <a:gd name="connsiteY22" fmla="*/ 221900 h 591669"/>
              <a:gd name="connsiteX23" fmla="*/ 6460798 w 12190412"/>
              <a:gd name="connsiteY23" fmla="*/ 234558 h 591669"/>
              <a:gd name="connsiteX24" fmla="*/ 6387367 w 12190412"/>
              <a:gd name="connsiteY24" fmla="*/ 248545 h 591669"/>
              <a:gd name="connsiteX25" fmla="*/ 6041160 w 12190412"/>
              <a:gd name="connsiteY25" fmla="*/ 306899 h 591669"/>
              <a:gd name="connsiteX26" fmla="*/ 5887321 w 12190412"/>
              <a:gd name="connsiteY26" fmla="*/ 339210 h 591669"/>
              <a:gd name="connsiteX27" fmla="*/ 5857713 w 12190412"/>
              <a:gd name="connsiteY27" fmla="*/ 344196 h 591669"/>
              <a:gd name="connsiteX28" fmla="*/ 1438219 w 12190412"/>
              <a:gd name="connsiteY28" fmla="*/ 527625 h 591669"/>
              <a:gd name="connsiteX29" fmla="*/ 1112913 w 12190412"/>
              <a:gd name="connsiteY29" fmla="*/ 491098 h 591669"/>
              <a:gd name="connsiteX30" fmla="*/ 1063194 w 12190412"/>
              <a:gd name="connsiteY30" fmla="*/ 484711 h 591669"/>
              <a:gd name="connsiteX31" fmla="*/ 750855 w 12190412"/>
              <a:gd name="connsiteY31" fmla="*/ 439738 h 591669"/>
              <a:gd name="connsiteX32" fmla="*/ 268553 w 12190412"/>
              <a:gd name="connsiteY32" fmla="*/ 349241 h 591669"/>
              <a:gd name="connsiteX33" fmla="*/ 1 w 12190412"/>
              <a:gd name="connsiteY33" fmla="*/ 282781 h 591669"/>
              <a:gd name="connsiteX34" fmla="*/ 0 w 12190412"/>
              <a:gd name="connsiteY34" fmla="*/ 282759 h 591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2190412" h="591669">
                <a:moveTo>
                  <a:pt x="12190412" y="311543"/>
                </a:moveTo>
                <a:lnTo>
                  <a:pt x="12188206" y="311029"/>
                </a:lnTo>
                <a:lnTo>
                  <a:pt x="12188206" y="304404"/>
                </a:lnTo>
                <a:lnTo>
                  <a:pt x="12032390" y="274726"/>
                </a:lnTo>
                <a:lnTo>
                  <a:pt x="11853287" y="232998"/>
                </a:lnTo>
                <a:cubicBezTo>
                  <a:pt x="11151505" y="90802"/>
                  <a:pt x="10345755" y="9736"/>
                  <a:pt x="9474399" y="0"/>
                </a:cubicBezTo>
                <a:lnTo>
                  <a:pt x="9363219" y="1041"/>
                </a:lnTo>
                <a:lnTo>
                  <a:pt x="9336724" y="573"/>
                </a:lnTo>
                <a:lnTo>
                  <a:pt x="9141154" y="573"/>
                </a:lnTo>
                <a:lnTo>
                  <a:pt x="8943837" y="572"/>
                </a:lnTo>
                <a:lnTo>
                  <a:pt x="8746521" y="4065"/>
                </a:lnTo>
                <a:lnTo>
                  <a:pt x="8552697" y="9304"/>
                </a:lnTo>
                <a:lnTo>
                  <a:pt x="8357128" y="19780"/>
                </a:lnTo>
                <a:lnTo>
                  <a:pt x="8163303" y="32003"/>
                </a:lnTo>
                <a:lnTo>
                  <a:pt x="7972972" y="44227"/>
                </a:lnTo>
                <a:lnTo>
                  <a:pt x="7779149" y="59941"/>
                </a:lnTo>
                <a:lnTo>
                  <a:pt x="7587072" y="79149"/>
                </a:lnTo>
                <a:lnTo>
                  <a:pt x="7396738" y="101849"/>
                </a:lnTo>
                <a:lnTo>
                  <a:pt x="7209903" y="124549"/>
                </a:lnTo>
                <a:lnTo>
                  <a:pt x="7019571" y="148996"/>
                </a:lnTo>
                <a:lnTo>
                  <a:pt x="6853019" y="175457"/>
                </a:lnTo>
                <a:lnTo>
                  <a:pt x="6718666" y="192703"/>
                </a:lnTo>
                <a:lnTo>
                  <a:pt x="6545441" y="221900"/>
                </a:lnTo>
                <a:lnTo>
                  <a:pt x="6460798" y="234558"/>
                </a:lnTo>
                <a:lnTo>
                  <a:pt x="6387367" y="248545"/>
                </a:lnTo>
                <a:lnTo>
                  <a:pt x="6041160" y="306899"/>
                </a:lnTo>
                <a:lnTo>
                  <a:pt x="5887321" y="339210"/>
                </a:lnTo>
                <a:lnTo>
                  <a:pt x="5857713" y="344196"/>
                </a:lnTo>
                <a:cubicBezTo>
                  <a:pt x="4271557" y="592719"/>
                  <a:pt x="2741498" y="654449"/>
                  <a:pt x="1438219" y="527625"/>
                </a:cubicBezTo>
                <a:lnTo>
                  <a:pt x="1112913" y="491098"/>
                </a:lnTo>
                <a:lnTo>
                  <a:pt x="1063194" y="484711"/>
                </a:lnTo>
                <a:lnTo>
                  <a:pt x="750855" y="439738"/>
                </a:lnTo>
                <a:cubicBezTo>
                  <a:pt x="585150" y="413086"/>
                  <a:pt x="424237" y="382922"/>
                  <a:pt x="268553" y="349241"/>
                </a:cubicBezTo>
                <a:lnTo>
                  <a:pt x="1" y="282781"/>
                </a:lnTo>
                <a:cubicBezTo>
                  <a:pt x="1" y="282774"/>
                  <a:pt x="0" y="282766"/>
                  <a:pt x="0" y="282759"/>
                </a:cubicBez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el 1"/>
          <p:cNvSpPr>
            <a:spLocks noGrp="1"/>
          </p:cNvSpPr>
          <p:nvPr>
            <p:ph type="ctrTitle" hasCustomPrompt="1"/>
          </p:nvPr>
        </p:nvSpPr>
        <p:spPr bwMode="gray">
          <a:xfrm>
            <a:off x="550508" y="405280"/>
            <a:ext cx="6624862" cy="1439667"/>
          </a:xfrm>
        </p:spPr>
        <p:txBody>
          <a:bodyPr/>
          <a:lstStyle>
            <a:lvl1pPr>
              <a:defRPr sz="3199" baseline="0">
                <a:solidFill>
                  <a:schemeClr val="accent1"/>
                </a:solidFill>
              </a:defRPr>
            </a:lvl1pPr>
          </a:lstStyle>
          <a:p>
            <a:r>
              <a:rPr lang="en-US" dirty="0"/>
              <a:t>Thank you for</a:t>
            </a:r>
            <a:br>
              <a:rPr lang="en-US" dirty="0"/>
            </a:br>
            <a:r>
              <a:rPr lang="en-US" dirty="0"/>
              <a:t>your attention 32pt</a:t>
            </a:r>
          </a:p>
        </p:txBody>
      </p:sp>
      <p:sp>
        <p:nvSpPr>
          <p:cNvPr id="14" name="Textplatzhalter 13"/>
          <p:cNvSpPr>
            <a:spLocks noGrp="1"/>
          </p:cNvSpPr>
          <p:nvPr>
            <p:ph type="body" sz="quarter" idx="10" hasCustomPrompt="1"/>
          </p:nvPr>
        </p:nvSpPr>
        <p:spPr bwMode="gray">
          <a:xfrm>
            <a:off x="550508" y="3141166"/>
            <a:ext cx="6624862" cy="1007767"/>
          </a:xfrm>
        </p:spPr>
        <p:txBody>
          <a:bodyPr/>
          <a:lstStyle>
            <a:lvl1pPr marL="0" indent="0">
              <a:spcAft>
                <a:spcPts val="600"/>
              </a:spcAft>
              <a:buFont typeface="Arial" panose="020B0604020202020204" pitchFamily="34" charset="0"/>
              <a:buNone/>
              <a:defRPr sz="1400" b="1" cap="none" baseline="0">
                <a:solidFill>
                  <a:schemeClr val="tx1"/>
                </a:solidFill>
              </a:defRPr>
            </a:lvl1pPr>
            <a:lvl2pPr marL="0" indent="0">
              <a:spcAft>
                <a:spcPts val="600"/>
              </a:spcAft>
              <a:buFont typeface="Arial" panose="020B0604020202020204" pitchFamily="34" charset="0"/>
              <a:buNone/>
              <a:defRPr sz="1400" b="1">
                <a:solidFill>
                  <a:schemeClr val="tx1"/>
                </a:solidFill>
              </a:defRPr>
            </a:lvl2pPr>
            <a:lvl3pPr marL="0" indent="0">
              <a:spcAft>
                <a:spcPts val="600"/>
              </a:spcAft>
              <a:buFont typeface="Arial" panose="020B0604020202020204" pitchFamily="34" charset="0"/>
              <a:buNone/>
              <a:defRPr sz="1400" b="1">
                <a:solidFill>
                  <a:schemeClr val="tx1"/>
                </a:solidFill>
              </a:defRPr>
            </a:lvl3pPr>
            <a:lvl4pPr marL="0" indent="0">
              <a:spcAft>
                <a:spcPts val="600"/>
              </a:spcAft>
              <a:buFont typeface="Arial" panose="020B0604020202020204" pitchFamily="34" charset="0"/>
              <a:buNone/>
              <a:defRPr sz="1400" b="1">
                <a:solidFill>
                  <a:schemeClr val="tx1"/>
                </a:solidFill>
              </a:defRPr>
            </a:lvl4pPr>
            <a:lvl5pPr marL="0" indent="0">
              <a:spcAft>
                <a:spcPts val="600"/>
              </a:spcAft>
              <a:buFont typeface="Arial" panose="020B0604020202020204" pitchFamily="34" charset="0"/>
              <a:buNone/>
              <a:defRPr sz="1400" b="1">
                <a:solidFill>
                  <a:schemeClr val="tx1"/>
                </a:solidFill>
              </a:defRPr>
            </a:lvl5pPr>
            <a:lvl6pPr marL="0" indent="0">
              <a:spcAft>
                <a:spcPts val="600"/>
              </a:spcAft>
              <a:buNone/>
              <a:defRPr sz="1400" b="1">
                <a:solidFill>
                  <a:schemeClr val="tx1"/>
                </a:solidFill>
              </a:defRPr>
            </a:lvl6pPr>
            <a:lvl7pPr marL="0" indent="0">
              <a:spcAft>
                <a:spcPts val="600"/>
              </a:spcAft>
              <a:buNone/>
              <a:defRPr sz="1400" b="1">
                <a:solidFill>
                  <a:schemeClr val="tx1"/>
                </a:solidFill>
              </a:defRPr>
            </a:lvl7pPr>
            <a:lvl8pPr marL="0" indent="0">
              <a:spcAft>
                <a:spcPts val="600"/>
              </a:spcAft>
              <a:buNone/>
              <a:defRPr sz="1400" b="1">
                <a:solidFill>
                  <a:schemeClr val="tx1"/>
                </a:solidFill>
              </a:defRPr>
            </a:lvl8pPr>
            <a:lvl9pPr marL="0" indent="0">
              <a:spcAft>
                <a:spcPts val="600"/>
              </a:spcAft>
              <a:buNone/>
              <a:defRPr sz="1400" b="1">
                <a:solidFill>
                  <a:schemeClr val="tx1"/>
                </a:solidFill>
              </a:defRPr>
            </a:lvl9pPr>
          </a:lstStyle>
          <a:p>
            <a:pPr lvl="0"/>
            <a:r>
              <a:rPr lang="en-US" dirty="0"/>
              <a:t>Max </a:t>
            </a:r>
            <a:r>
              <a:rPr lang="en-US" dirty="0" err="1"/>
              <a:t>Mustermann</a:t>
            </a:r>
            <a:r>
              <a:rPr lang="en-US" dirty="0"/>
              <a:t> – Head of Corporate</a:t>
            </a:r>
            <a:br>
              <a:rPr lang="en-US" dirty="0"/>
            </a:br>
            <a:r>
              <a:rPr lang="en-US" dirty="0"/>
              <a:t>Place, Date</a:t>
            </a:r>
          </a:p>
        </p:txBody>
      </p:sp>
      <p:sp>
        <p:nvSpPr>
          <p:cNvPr id="10" name="Textplatzhalter 13"/>
          <p:cNvSpPr>
            <a:spLocks noGrp="1"/>
          </p:cNvSpPr>
          <p:nvPr>
            <p:ph type="body" sz="quarter" idx="14" hasCustomPrompt="1"/>
          </p:nvPr>
        </p:nvSpPr>
        <p:spPr bwMode="gray">
          <a:xfrm>
            <a:off x="550508" y="4724844"/>
            <a:ext cx="6624862" cy="1056217"/>
          </a:xfrm>
        </p:spPr>
        <p:txBody>
          <a:bodyPr/>
          <a:lstStyle>
            <a:lvl1pPr marL="0" indent="0">
              <a:buFont typeface="Arial" panose="020B0604020202020204" pitchFamily="34" charset="0"/>
              <a:buNone/>
              <a:defRPr sz="1400" cap="none" baseline="0">
                <a:solidFill>
                  <a:schemeClr val="tx1"/>
                </a:solidFill>
              </a:defRPr>
            </a:lvl1pPr>
            <a:lvl2pPr marL="0" indent="0">
              <a:buFont typeface="Arial" panose="020B0604020202020204" pitchFamily="34" charset="0"/>
              <a:buNone/>
              <a:defRPr sz="1400"/>
            </a:lvl2pPr>
            <a:lvl3pPr marL="0" indent="0">
              <a:buFont typeface="Arial" panose="020B0604020202020204" pitchFamily="34" charset="0"/>
              <a:buNone/>
              <a:defRPr sz="1400"/>
            </a:lvl3pPr>
            <a:lvl4pPr marL="0" indent="0">
              <a:buFont typeface="Arial" panose="020B0604020202020204" pitchFamily="34" charset="0"/>
              <a:buNone/>
              <a:defRPr sz="1400"/>
            </a:lvl4pPr>
            <a:lvl5pPr marL="0" indent="0">
              <a:buFont typeface="Arial" panose="020B0604020202020204" pitchFamily="34" charset="0"/>
              <a:buNone/>
              <a:defRPr sz="1400"/>
            </a:lvl5pPr>
            <a:lvl6pPr marL="0" indent="0">
              <a:buNone/>
              <a:defRPr sz="1400"/>
            </a:lvl6pPr>
            <a:lvl7pPr marL="0" indent="0">
              <a:buNone/>
              <a:defRPr sz="1400"/>
            </a:lvl7pPr>
            <a:lvl8pPr marL="0" indent="0">
              <a:buNone/>
              <a:defRPr sz="1400"/>
            </a:lvl8pPr>
            <a:lvl9pPr marL="0" indent="0">
              <a:buNone/>
              <a:defRPr sz="1400"/>
            </a:lvl9pPr>
          </a:lstStyle>
          <a:p>
            <a:pPr lvl="0"/>
            <a:r>
              <a:rPr lang="en-US" dirty="0"/>
              <a:t>www.tuv.com</a:t>
            </a:r>
          </a:p>
        </p:txBody>
      </p:sp>
      <p:sp>
        <p:nvSpPr>
          <p:cNvPr id="9" name="Rectangle 5">
            <a:extLst>
              <a:ext uri="{FF2B5EF4-FFF2-40B4-BE49-F238E27FC236}">
                <a16:creationId xmlns:a16="http://schemas.microsoft.com/office/drawing/2014/main" id="{BA199C2E-BE57-4B83-9238-7C4B35C40E75}"/>
              </a:ext>
            </a:extLst>
          </p:cNvPr>
          <p:cNvSpPr>
            <a:spLocks noChangeArrowheads="1"/>
          </p:cNvSpPr>
          <p:nvPr userDrawn="1"/>
        </p:nvSpPr>
        <p:spPr bwMode="auto">
          <a:xfrm>
            <a:off x="550934" y="5951006"/>
            <a:ext cx="7849022" cy="789688"/>
          </a:xfrm>
          <a:prstGeom prst="rect">
            <a:avLst/>
          </a:prstGeom>
          <a:noFill/>
          <a:ln w="3175" algn="ctr">
            <a:noFill/>
            <a:miter lim="800000"/>
            <a:headEnd/>
            <a:tailEnd/>
          </a:ln>
        </p:spPr>
        <p:txBody>
          <a:bodyPr lIns="0" tIns="0" rIns="0" bIns="0" anchor="t" anchorCtr="0"/>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indent="0">
              <a:spcAft>
                <a:spcPts val="300"/>
              </a:spcAft>
              <a:buNone/>
            </a:pPr>
            <a:r>
              <a:rPr lang="en-GB" sz="800" dirty="0">
                <a:solidFill>
                  <a:schemeClr val="tx1"/>
                </a:solidFill>
              </a:rPr>
              <a:t>LEGAL DISCLAIMER</a:t>
            </a:r>
          </a:p>
          <a:p>
            <a:pPr marL="0" indent="0">
              <a:spcAft>
                <a:spcPts val="300"/>
              </a:spcAft>
              <a:buNone/>
            </a:pPr>
            <a:r>
              <a:rPr lang="en-GB" sz="800" dirty="0">
                <a:solidFill>
                  <a:schemeClr val="tx1"/>
                </a:solidFill>
              </a:rPr>
              <a:t>This document remains the property of TÜV Rheinland. It is supplied in confidence solely for information purposes for the recipient. Neither this document nor any </a:t>
            </a:r>
            <a:br>
              <a:rPr lang="en-GB" sz="800" dirty="0">
                <a:solidFill>
                  <a:schemeClr val="tx1"/>
                </a:solidFill>
              </a:rPr>
            </a:br>
            <a:r>
              <a:rPr lang="en-GB" sz="800" dirty="0">
                <a:solidFill>
                  <a:schemeClr val="tx1"/>
                </a:solidFill>
              </a:rPr>
              <a:t>information or data contained therein may be used for any other purposes, or duplicated or disclosed in whole or in part, to any third party, without the prior written authorization by TÜV Rheinland. This document is not complete without a verbal explanation (presentation) of the content. </a:t>
            </a:r>
          </a:p>
          <a:p>
            <a:pPr marL="0" indent="0">
              <a:spcAft>
                <a:spcPts val="300"/>
              </a:spcAft>
              <a:buNone/>
            </a:pPr>
            <a:r>
              <a:rPr lang="en-GB" sz="800" dirty="0">
                <a:solidFill>
                  <a:schemeClr val="tx1"/>
                </a:solidFill>
              </a:rPr>
              <a:t>TÜV Rheinland AG</a:t>
            </a:r>
          </a:p>
        </p:txBody>
      </p:sp>
    </p:spTree>
    <p:extLst>
      <p:ext uri="{BB962C8B-B14F-4D97-AF65-F5344CB8AC3E}">
        <p14:creationId xmlns:p14="http://schemas.microsoft.com/office/powerpoint/2010/main" val="257571651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a:t>Click to edit Master title style</a:t>
            </a:r>
            <a:endParaRPr lang="zh-TW" altLang="en-US"/>
          </a:p>
        </p:txBody>
      </p:sp>
      <p:sp>
        <p:nvSpPr>
          <p:cNvPr id="3" name="Content Placeholder 2"/>
          <p:cNvSpPr>
            <a:spLocks noGrp="1"/>
          </p:cNvSpPr>
          <p:nvPr>
            <p:ph idx="1"/>
          </p:nvPr>
        </p:nvSpPr>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Rectangle 6"/>
          <p:cNvSpPr>
            <a:spLocks noGrp="1" noChangeArrowheads="1"/>
          </p:cNvSpPr>
          <p:nvPr>
            <p:ph type="dt" sz="half" idx="10"/>
          </p:nvPr>
        </p:nvSpPr>
        <p:spPr/>
        <p:txBody>
          <a:bodyPr/>
          <a:lstStyle>
            <a:lvl1pPr>
              <a:defRPr/>
            </a:lvl1pPr>
          </a:lstStyle>
          <a:p>
            <a:fld id="{E6F292A3-74A8-428C-B61A-22E35812BBF9}" type="datetime1">
              <a:rPr lang="en-US" altLang="zh-CN" smtClean="0"/>
              <a:t>10/22/2024</a:t>
            </a:fld>
            <a:endParaRPr lang="de-DE" altLang="zh-CN"/>
          </a:p>
        </p:txBody>
      </p:sp>
      <p:sp>
        <p:nvSpPr>
          <p:cNvPr id="5" name="Rectangle 7"/>
          <p:cNvSpPr>
            <a:spLocks noGrp="1" noChangeArrowheads="1"/>
          </p:cNvSpPr>
          <p:nvPr>
            <p:ph type="sldNum" sz="quarter" idx="11"/>
          </p:nvPr>
        </p:nvSpPr>
        <p:spPr/>
        <p:txBody>
          <a:bodyPr/>
          <a:lstStyle>
            <a:lvl1pPr>
              <a:defRPr/>
            </a:lvl1pPr>
          </a:lstStyle>
          <a:p>
            <a:fld id="{240E3ED4-FC3A-4B77-B065-41F983957257}" type="slidenum">
              <a:rPr lang="zh-CN" altLang="de-DE"/>
              <a:pPr/>
              <a:t>‹#›</a:t>
            </a:fld>
            <a:endParaRPr lang="de-DE" altLang="zh-CN"/>
          </a:p>
        </p:txBody>
      </p:sp>
      <p:sp>
        <p:nvSpPr>
          <p:cNvPr id="6" name="Rectangle 8"/>
          <p:cNvSpPr>
            <a:spLocks noGrp="1" noChangeArrowheads="1"/>
          </p:cNvSpPr>
          <p:nvPr>
            <p:ph type="ftr" sz="quarter" idx="12"/>
          </p:nvPr>
        </p:nvSpPr>
        <p:spPr/>
        <p:txBody>
          <a:bodyPr/>
          <a:lstStyle>
            <a:lvl1pPr>
              <a:defRPr/>
            </a:lvl1pPr>
          </a:lstStyle>
          <a:p>
            <a:r>
              <a:rPr lang="de-DE" altLang="zh-CN"/>
              <a:t>TÜV Rheinland's Solar Business</a:t>
            </a:r>
          </a:p>
        </p:txBody>
      </p:sp>
    </p:spTree>
    <p:extLst>
      <p:ext uri="{BB962C8B-B14F-4D97-AF65-F5344CB8AC3E}">
        <p14:creationId xmlns:p14="http://schemas.microsoft.com/office/powerpoint/2010/main" val="267650772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D2037B-FDA6-17C9-74B0-E8EA6BCBFEBD}"/>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82198BD8-D7B2-038F-A920-BE6719952D0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034203E-B1A9-60E2-065D-B9F946FE3D0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05D034F9-6493-19AC-F0A0-E14AF8A1204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5427A9E-2E20-B4B5-08BB-A70075265D4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26B060D1-F5D9-E0BB-8D8C-DEBA83B4BCDA}"/>
              </a:ext>
            </a:extLst>
          </p:cNvPr>
          <p:cNvSpPr>
            <a:spLocks noGrp="1"/>
          </p:cNvSpPr>
          <p:nvPr>
            <p:ph type="dt" sz="half" idx="10"/>
          </p:nvPr>
        </p:nvSpPr>
        <p:spPr/>
        <p:txBody>
          <a:bodyPr/>
          <a:lstStyle/>
          <a:p>
            <a:fld id="{8E2DC9B0-CADE-4BCF-8B5E-A3E36D03AA2F}" type="datetimeFigureOut">
              <a:rPr lang="en-GB" smtClean="0"/>
              <a:t>22/10/2024</a:t>
            </a:fld>
            <a:endParaRPr lang="en-GB"/>
          </a:p>
        </p:txBody>
      </p:sp>
      <p:sp>
        <p:nvSpPr>
          <p:cNvPr id="8" name="Footer Placeholder 7">
            <a:extLst>
              <a:ext uri="{FF2B5EF4-FFF2-40B4-BE49-F238E27FC236}">
                <a16:creationId xmlns:a16="http://schemas.microsoft.com/office/drawing/2014/main" id="{8288F4E3-E583-3D30-9A81-23F180687533}"/>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830B7D87-4A19-A34F-6525-1BBFFB6F1FD1}"/>
              </a:ext>
            </a:extLst>
          </p:cNvPr>
          <p:cNvSpPr>
            <a:spLocks noGrp="1"/>
          </p:cNvSpPr>
          <p:nvPr>
            <p:ph type="sldNum" sz="quarter" idx="12"/>
          </p:nvPr>
        </p:nvSpPr>
        <p:spPr/>
        <p:txBody>
          <a:bodyPr/>
          <a:lstStyle/>
          <a:p>
            <a:fld id="{3DBB904D-600E-4758-B075-158E5AAE9766}" type="slidenum">
              <a:rPr lang="en-GB" smtClean="0"/>
              <a:t>‹#›</a:t>
            </a:fld>
            <a:endParaRPr lang="en-GB"/>
          </a:p>
        </p:txBody>
      </p:sp>
    </p:spTree>
    <p:extLst>
      <p:ext uri="{BB962C8B-B14F-4D97-AF65-F5344CB8AC3E}">
        <p14:creationId xmlns:p14="http://schemas.microsoft.com/office/powerpoint/2010/main" val="186972989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el 5"/>
          <p:cNvSpPr>
            <a:spLocks noGrp="1"/>
          </p:cNvSpPr>
          <p:nvPr>
            <p:ph type="title"/>
          </p:nvPr>
        </p:nvSpPr>
        <p:spPr bwMode="gray">
          <a:xfrm>
            <a:off x="552948" y="405280"/>
            <a:ext cx="11088543" cy="431900"/>
          </a:xfrm>
        </p:spPr>
        <p:txBody>
          <a:bodyPr/>
          <a:lstStyle/>
          <a:p>
            <a:r>
              <a:rPr lang="de-DE" dirty="0"/>
              <a:t>Titelmasterformat durch Klicken bearbeiten</a:t>
            </a:r>
            <a:endParaRPr lang="en-US" dirty="0"/>
          </a:p>
        </p:txBody>
      </p:sp>
      <p:sp>
        <p:nvSpPr>
          <p:cNvPr id="7" name="Datumsplatzhalter 6"/>
          <p:cNvSpPr>
            <a:spLocks noGrp="1"/>
          </p:cNvSpPr>
          <p:nvPr>
            <p:ph type="dt" sz="half" idx="10"/>
          </p:nvPr>
        </p:nvSpPr>
        <p:spPr bwMode="gray"/>
        <p:txBody>
          <a:bodyPr/>
          <a:lstStyle/>
          <a:p>
            <a:fld id="{EB4F5FC8-A1CA-4E5B-A9EC-5018E68808C4}" type="datetime1">
              <a:rPr lang="en-US" smtClean="0"/>
              <a:t>10/22/2024</a:t>
            </a:fld>
            <a:endParaRPr lang="en-US" dirty="0"/>
          </a:p>
        </p:txBody>
      </p:sp>
      <p:sp>
        <p:nvSpPr>
          <p:cNvPr id="8" name="Fußzeilenplatzhalter 7"/>
          <p:cNvSpPr>
            <a:spLocks noGrp="1"/>
          </p:cNvSpPr>
          <p:nvPr>
            <p:ph type="ftr" sz="quarter" idx="11"/>
          </p:nvPr>
        </p:nvSpPr>
        <p:spPr bwMode="gray"/>
        <p:txBody>
          <a:bodyPr/>
          <a:lstStyle/>
          <a:p>
            <a:r>
              <a:rPr lang="en-US"/>
              <a:t>TÜV Rheinland's Solar Business</a:t>
            </a:r>
            <a:endParaRPr lang="en-US" dirty="0"/>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3" name="Inhaltsplatzhalter 2"/>
          <p:cNvSpPr>
            <a:spLocks noGrp="1"/>
          </p:cNvSpPr>
          <p:nvPr>
            <p:ph sz="quarter" idx="13"/>
          </p:nvPr>
        </p:nvSpPr>
        <p:spPr bwMode="gray">
          <a:xfrm>
            <a:off x="550872" y="1701405"/>
            <a:ext cx="11089443" cy="4247017"/>
          </a:xfrm>
        </p:spPr>
        <p:txBody>
          <a:bodyPr/>
          <a:lstStyle>
            <a:lvl5pPr>
              <a:defRPr/>
            </a:lvl5pPr>
            <a:lvl7pPr>
              <a:defRPr/>
            </a:lvl7pPr>
            <a:lvl8pPr marL="539642" indent="-180939">
              <a:buFont typeface="Symbol" panose="05050102010706020507" pitchFamily="18" charset="2"/>
              <a:buChar char="-"/>
              <a:defRPr/>
            </a:lvl8pPr>
          </a:lstStyle>
          <a:p>
            <a:pPr lvl="0"/>
            <a:r>
              <a:rPr lang="en-US" dirty="0" err="1"/>
              <a:t>Textmaster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a:p>
            <a:pPr lvl="5"/>
            <a:r>
              <a:rPr lang="en-US" dirty="0"/>
              <a:t>6</a:t>
            </a:r>
          </a:p>
          <a:p>
            <a:pPr lvl="4"/>
            <a:r>
              <a:rPr lang="en-US" dirty="0"/>
              <a:t>7</a:t>
            </a:r>
          </a:p>
          <a:p>
            <a:pPr lvl="4"/>
            <a:r>
              <a:rPr lang="en-US" dirty="0"/>
              <a:t>8</a:t>
            </a:r>
          </a:p>
          <a:p>
            <a:pPr lvl="4"/>
            <a:r>
              <a:rPr lang="en-US" dirty="0"/>
              <a:t>9</a:t>
            </a:r>
          </a:p>
        </p:txBody>
      </p:sp>
      <p:sp>
        <p:nvSpPr>
          <p:cNvPr id="10" name="Textplatzhalter 6"/>
          <p:cNvSpPr>
            <a:spLocks noGrp="1"/>
          </p:cNvSpPr>
          <p:nvPr>
            <p:ph type="body" sz="quarter" idx="14" hasCustomPrompt="1"/>
          </p:nvPr>
        </p:nvSpPr>
        <p:spPr bwMode="gray">
          <a:xfrm>
            <a:off x="550872" y="982058"/>
            <a:ext cx="11089443" cy="503122"/>
          </a:xfrm>
        </p:spPr>
        <p:txBody>
          <a:bodyPr/>
          <a:lstStyle>
            <a:lvl1pPr marL="0" indent="0">
              <a:buNone/>
              <a:defRPr sz="1800" cap="none" baseline="0">
                <a:solidFill>
                  <a:schemeClr val="tx2"/>
                </a:solidFill>
              </a:defRPr>
            </a:lvl1pPr>
            <a:lvl2pPr marL="0" indent="0">
              <a:buNone/>
              <a:defRPr sz="1800">
                <a:solidFill>
                  <a:schemeClr val="tx2"/>
                </a:solidFill>
              </a:defRPr>
            </a:lvl2pPr>
            <a:lvl3pPr marL="0" indent="0">
              <a:buNone/>
              <a:defRPr sz="1800">
                <a:solidFill>
                  <a:schemeClr val="tx2"/>
                </a:solidFill>
              </a:defRPr>
            </a:lvl3pPr>
            <a:lvl4pPr marL="0" indent="0">
              <a:buNone/>
              <a:defRPr sz="1800">
                <a:solidFill>
                  <a:schemeClr val="tx2"/>
                </a:solidFill>
              </a:defRPr>
            </a:lvl4pPr>
            <a:lvl5pPr marL="0" indent="0">
              <a:buNone/>
              <a:defRPr sz="1800">
                <a:solidFill>
                  <a:schemeClr val="tx2"/>
                </a:solidFill>
              </a:defRPr>
            </a:lvl5pPr>
            <a:lvl6pPr marL="0" indent="0">
              <a:buNone/>
              <a:defRPr sz="1800">
                <a:solidFill>
                  <a:schemeClr val="tx2"/>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en-US" dirty="0" err="1"/>
              <a:t>Subheadline</a:t>
            </a:r>
            <a:endParaRPr lang="en-US" dirty="0"/>
          </a:p>
        </p:txBody>
      </p:sp>
    </p:spTree>
    <p:extLst>
      <p:ext uri="{BB962C8B-B14F-4D97-AF65-F5344CB8AC3E}">
        <p14:creationId xmlns:p14="http://schemas.microsoft.com/office/powerpoint/2010/main" val="201876507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3" name="Datumsplatzhalter 2"/>
          <p:cNvSpPr>
            <a:spLocks noGrp="1"/>
          </p:cNvSpPr>
          <p:nvPr>
            <p:ph type="dt" sz="half" idx="10"/>
          </p:nvPr>
        </p:nvSpPr>
        <p:spPr bwMode="gray"/>
        <p:txBody>
          <a:bodyPr/>
          <a:lstStyle/>
          <a:p>
            <a:fld id="{17FF1F3D-945D-410A-8943-C998CAEC88A6}" type="datetime1">
              <a:rPr lang="en-US" smtClean="0"/>
              <a:t>10/22/2024</a:t>
            </a:fld>
            <a:endParaRPr lang="en-US" dirty="0"/>
          </a:p>
        </p:txBody>
      </p:sp>
      <p:sp>
        <p:nvSpPr>
          <p:cNvPr id="4" name="Fußzeilenplatzhalter 3"/>
          <p:cNvSpPr>
            <a:spLocks noGrp="1"/>
          </p:cNvSpPr>
          <p:nvPr>
            <p:ph type="ftr" sz="quarter" idx="11"/>
          </p:nvPr>
        </p:nvSpPr>
        <p:spPr bwMode="gray"/>
        <p:txBody>
          <a:bodyPr/>
          <a:lstStyle/>
          <a:p>
            <a:r>
              <a:rPr lang="en-US"/>
              <a:t>TÜV Rheinland's Solar Business</a:t>
            </a:r>
            <a:endParaRPr lang="en-US" dirty="0"/>
          </a:p>
        </p:txBody>
      </p:sp>
      <p:sp>
        <p:nvSpPr>
          <p:cNvPr id="5" name="Foliennummernplatzhalter 4"/>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7" name="Textplatzhalter 6"/>
          <p:cNvSpPr>
            <a:spLocks noGrp="1"/>
          </p:cNvSpPr>
          <p:nvPr>
            <p:ph type="body" sz="quarter" idx="13" hasCustomPrompt="1"/>
          </p:nvPr>
        </p:nvSpPr>
        <p:spPr bwMode="gray">
          <a:xfrm>
            <a:off x="550935" y="982058"/>
            <a:ext cx="11090131" cy="503122"/>
          </a:xfrm>
        </p:spPr>
        <p:txBody>
          <a:bodyPr/>
          <a:lstStyle>
            <a:lvl1pPr marL="0" indent="0">
              <a:buNone/>
              <a:defRPr sz="1800" cap="none" baseline="0">
                <a:solidFill>
                  <a:schemeClr val="tx2"/>
                </a:solidFill>
              </a:defRPr>
            </a:lvl1pPr>
            <a:lvl2pPr marL="0" indent="0">
              <a:buNone/>
              <a:defRPr sz="1800">
                <a:solidFill>
                  <a:schemeClr val="tx2"/>
                </a:solidFill>
              </a:defRPr>
            </a:lvl2pPr>
            <a:lvl3pPr marL="0" indent="0">
              <a:buNone/>
              <a:defRPr sz="1800">
                <a:solidFill>
                  <a:schemeClr val="tx2"/>
                </a:solidFill>
              </a:defRPr>
            </a:lvl3pPr>
            <a:lvl4pPr marL="0" indent="0">
              <a:buNone/>
              <a:defRPr sz="1800">
                <a:solidFill>
                  <a:schemeClr val="tx2"/>
                </a:solidFill>
              </a:defRPr>
            </a:lvl4pPr>
            <a:lvl5pPr marL="0" indent="0">
              <a:buNone/>
              <a:defRPr sz="1800">
                <a:solidFill>
                  <a:schemeClr val="tx2"/>
                </a:solidFill>
              </a:defRPr>
            </a:lvl5pPr>
            <a:lvl6pPr marL="0" indent="0">
              <a:buNone/>
              <a:defRPr sz="1800">
                <a:solidFill>
                  <a:schemeClr val="tx2"/>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en-US" dirty="0" err="1"/>
              <a:t>Subheadline</a:t>
            </a:r>
            <a:endParaRPr lang="en-US" dirty="0"/>
          </a:p>
        </p:txBody>
      </p:sp>
    </p:spTree>
    <p:extLst>
      <p:ext uri="{BB962C8B-B14F-4D97-AF65-F5344CB8AC3E}">
        <p14:creationId xmlns:p14="http://schemas.microsoft.com/office/powerpoint/2010/main" val="35486872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6" name="Titel 5"/>
          <p:cNvSpPr>
            <a:spLocks noGrp="1"/>
          </p:cNvSpPr>
          <p:nvPr>
            <p:ph type="title" hasCustomPrompt="1"/>
          </p:nvPr>
        </p:nvSpPr>
        <p:spPr bwMode="gray">
          <a:xfrm>
            <a:off x="552948" y="405280"/>
            <a:ext cx="11088543" cy="431900"/>
          </a:xfrm>
        </p:spPr>
        <p:txBody>
          <a:bodyPr/>
          <a:lstStyle>
            <a:lvl1pPr>
              <a:defRPr/>
            </a:lvl1pPr>
          </a:lstStyle>
          <a:p>
            <a:r>
              <a:rPr lang="en-US" dirty="0"/>
              <a:t>Two content</a:t>
            </a:r>
          </a:p>
        </p:txBody>
      </p:sp>
      <p:sp>
        <p:nvSpPr>
          <p:cNvPr id="7" name="Datumsplatzhalter 6"/>
          <p:cNvSpPr>
            <a:spLocks noGrp="1"/>
          </p:cNvSpPr>
          <p:nvPr>
            <p:ph type="dt" sz="half" idx="10"/>
          </p:nvPr>
        </p:nvSpPr>
        <p:spPr bwMode="gray"/>
        <p:txBody>
          <a:bodyPr/>
          <a:lstStyle/>
          <a:p>
            <a:fld id="{E958A689-710A-4F22-907D-0AC47199BC00}" type="datetime1">
              <a:rPr lang="en-US" smtClean="0"/>
              <a:t>10/22/2024</a:t>
            </a:fld>
            <a:endParaRPr lang="en-US" dirty="0"/>
          </a:p>
        </p:txBody>
      </p:sp>
      <p:sp>
        <p:nvSpPr>
          <p:cNvPr id="8" name="Fußzeilenplatzhalter 7"/>
          <p:cNvSpPr>
            <a:spLocks noGrp="1"/>
          </p:cNvSpPr>
          <p:nvPr>
            <p:ph type="ftr" sz="quarter" idx="11"/>
          </p:nvPr>
        </p:nvSpPr>
        <p:spPr bwMode="gray"/>
        <p:txBody>
          <a:bodyPr/>
          <a:lstStyle/>
          <a:p>
            <a:r>
              <a:rPr lang="en-US"/>
              <a:t>TÜV Rheinland's Solar Business</a:t>
            </a:r>
            <a:endParaRPr lang="en-US" dirty="0"/>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3" name="Inhaltsplatzhalter 2"/>
          <p:cNvSpPr>
            <a:spLocks noGrp="1"/>
          </p:cNvSpPr>
          <p:nvPr>
            <p:ph sz="quarter" idx="14"/>
          </p:nvPr>
        </p:nvSpPr>
        <p:spPr bwMode="gray">
          <a:xfrm>
            <a:off x="6240788" y="1701405"/>
            <a:ext cx="5400703" cy="4247017"/>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err="1"/>
              <a:t>Textmaster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a:p>
            <a:pPr lvl="5"/>
            <a:r>
              <a:rPr lang="en-US" dirty="0"/>
              <a:t>6</a:t>
            </a:r>
          </a:p>
          <a:p>
            <a:pPr lvl="4"/>
            <a:r>
              <a:rPr lang="en-US" dirty="0"/>
              <a:t>7</a:t>
            </a:r>
          </a:p>
          <a:p>
            <a:pPr lvl="4"/>
            <a:r>
              <a:rPr lang="en-US" dirty="0"/>
              <a:t>8</a:t>
            </a:r>
          </a:p>
          <a:p>
            <a:pPr lvl="4"/>
            <a:r>
              <a:rPr lang="en-US" dirty="0"/>
              <a:t>9</a:t>
            </a:r>
          </a:p>
        </p:txBody>
      </p:sp>
      <p:sp>
        <p:nvSpPr>
          <p:cNvPr id="10" name="Inhaltsplatzhalter 2"/>
          <p:cNvSpPr>
            <a:spLocks noGrp="1"/>
          </p:cNvSpPr>
          <p:nvPr>
            <p:ph sz="quarter" idx="15"/>
          </p:nvPr>
        </p:nvSpPr>
        <p:spPr bwMode="gray">
          <a:xfrm>
            <a:off x="550508" y="1701160"/>
            <a:ext cx="5400703" cy="4247017"/>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err="1"/>
              <a:t>Textmaster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a:p>
            <a:pPr lvl="5"/>
            <a:r>
              <a:rPr lang="en-US" dirty="0"/>
              <a:t>6</a:t>
            </a:r>
          </a:p>
          <a:p>
            <a:pPr lvl="4"/>
            <a:r>
              <a:rPr lang="en-US" dirty="0"/>
              <a:t>7</a:t>
            </a:r>
          </a:p>
          <a:p>
            <a:pPr lvl="4"/>
            <a:r>
              <a:rPr lang="en-US" dirty="0"/>
              <a:t>8</a:t>
            </a:r>
          </a:p>
          <a:p>
            <a:pPr lvl="4"/>
            <a:r>
              <a:rPr lang="en-US" dirty="0"/>
              <a:t>9</a:t>
            </a:r>
          </a:p>
        </p:txBody>
      </p:sp>
      <p:sp>
        <p:nvSpPr>
          <p:cNvPr id="11" name="Textplatzhalter 6"/>
          <p:cNvSpPr>
            <a:spLocks noGrp="1"/>
          </p:cNvSpPr>
          <p:nvPr>
            <p:ph type="body" sz="quarter" idx="13" hasCustomPrompt="1"/>
          </p:nvPr>
        </p:nvSpPr>
        <p:spPr bwMode="gray">
          <a:xfrm>
            <a:off x="550935" y="982058"/>
            <a:ext cx="11090131" cy="503122"/>
          </a:xfrm>
        </p:spPr>
        <p:txBody>
          <a:bodyPr/>
          <a:lstStyle>
            <a:lvl1pPr marL="0" indent="0">
              <a:buNone/>
              <a:defRPr sz="1800" cap="none" baseline="0">
                <a:solidFill>
                  <a:schemeClr val="tx2"/>
                </a:solidFill>
              </a:defRPr>
            </a:lvl1pPr>
            <a:lvl2pPr marL="0" indent="0">
              <a:buNone/>
              <a:defRPr sz="1800">
                <a:solidFill>
                  <a:schemeClr val="tx2"/>
                </a:solidFill>
              </a:defRPr>
            </a:lvl2pPr>
            <a:lvl3pPr marL="0" indent="0">
              <a:buNone/>
              <a:defRPr sz="1800">
                <a:solidFill>
                  <a:schemeClr val="tx2"/>
                </a:solidFill>
              </a:defRPr>
            </a:lvl3pPr>
            <a:lvl4pPr marL="0" indent="0">
              <a:buNone/>
              <a:defRPr sz="1800">
                <a:solidFill>
                  <a:schemeClr val="tx2"/>
                </a:solidFill>
              </a:defRPr>
            </a:lvl4pPr>
            <a:lvl5pPr marL="0" indent="0">
              <a:buNone/>
              <a:defRPr sz="1800">
                <a:solidFill>
                  <a:schemeClr val="tx2"/>
                </a:solidFill>
              </a:defRPr>
            </a:lvl5pPr>
            <a:lvl6pPr marL="0" indent="0">
              <a:buNone/>
              <a:defRPr sz="1800">
                <a:solidFill>
                  <a:schemeClr val="tx2"/>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en-US" dirty="0" err="1"/>
              <a:t>Subheadline</a:t>
            </a:r>
            <a:endParaRPr lang="en-US" dirty="0"/>
          </a:p>
          <a:p>
            <a:pPr lvl="0"/>
            <a:endParaRPr lang="en-US" dirty="0"/>
          </a:p>
        </p:txBody>
      </p:sp>
    </p:spTree>
    <p:extLst>
      <p:ext uri="{BB962C8B-B14F-4D97-AF65-F5344CB8AC3E}">
        <p14:creationId xmlns:p14="http://schemas.microsoft.com/office/powerpoint/2010/main" val="198017289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3-spaltig">
    <p:spTree>
      <p:nvGrpSpPr>
        <p:cNvPr id="1" name=""/>
        <p:cNvGrpSpPr/>
        <p:nvPr/>
      </p:nvGrpSpPr>
      <p:grpSpPr>
        <a:xfrm>
          <a:off x="0" y="0"/>
          <a:ext cx="0" cy="0"/>
          <a:chOff x="0" y="0"/>
          <a:chExt cx="0" cy="0"/>
        </a:xfrm>
      </p:grpSpPr>
      <p:sp>
        <p:nvSpPr>
          <p:cNvPr id="6" name="Titel 5"/>
          <p:cNvSpPr>
            <a:spLocks noGrp="1"/>
          </p:cNvSpPr>
          <p:nvPr>
            <p:ph type="title" hasCustomPrompt="1"/>
          </p:nvPr>
        </p:nvSpPr>
        <p:spPr bwMode="gray">
          <a:xfrm>
            <a:off x="552948" y="405280"/>
            <a:ext cx="11088543" cy="431900"/>
          </a:xfrm>
        </p:spPr>
        <p:txBody>
          <a:bodyPr/>
          <a:lstStyle>
            <a:lvl1pPr>
              <a:defRPr/>
            </a:lvl1pPr>
          </a:lstStyle>
          <a:p>
            <a:r>
              <a:rPr lang="de-DE" dirty="0"/>
              <a:t>3-spaltig, Text/Foto/Diagramm</a:t>
            </a:r>
          </a:p>
        </p:txBody>
      </p:sp>
      <p:sp>
        <p:nvSpPr>
          <p:cNvPr id="7" name="Datumsplatzhalter 6"/>
          <p:cNvSpPr>
            <a:spLocks noGrp="1"/>
          </p:cNvSpPr>
          <p:nvPr>
            <p:ph type="dt" sz="half" idx="10"/>
          </p:nvPr>
        </p:nvSpPr>
        <p:spPr bwMode="gray"/>
        <p:txBody>
          <a:bodyPr/>
          <a:lstStyle/>
          <a:p>
            <a:fld id="{004EB96B-4970-4027-99BD-265F47CBC26E}" type="datetime1">
              <a:rPr lang="en-US" smtClean="0"/>
              <a:t>10/22/2024</a:t>
            </a:fld>
            <a:endParaRPr lang="de-DE" dirty="0"/>
          </a:p>
        </p:txBody>
      </p:sp>
      <p:sp>
        <p:nvSpPr>
          <p:cNvPr id="8" name="Fußzeilenplatzhalter 7"/>
          <p:cNvSpPr>
            <a:spLocks noGrp="1"/>
          </p:cNvSpPr>
          <p:nvPr>
            <p:ph type="ftr" sz="quarter" idx="11"/>
          </p:nvPr>
        </p:nvSpPr>
        <p:spPr bwMode="gray"/>
        <p:txBody>
          <a:bodyPr/>
          <a:lstStyle/>
          <a:p>
            <a:r>
              <a:rPr lang="de-DE"/>
              <a:t>TÜV Rheinland's Solar Business</a:t>
            </a:r>
            <a:endParaRPr lang="de-DE" dirty="0"/>
          </a:p>
        </p:txBody>
      </p:sp>
      <p:sp>
        <p:nvSpPr>
          <p:cNvPr id="9" name="Foliennummernplatzhalter 8"/>
          <p:cNvSpPr>
            <a:spLocks noGrp="1"/>
          </p:cNvSpPr>
          <p:nvPr>
            <p:ph type="sldNum" sz="quarter" idx="12"/>
          </p:nvPr>
        </p:nvSpPr>
        <p:spPr bwMode="gray"/>
        <p:txBody>
          <a:bodyPr/>
          <a:lstStyle/>
          <a:p>
            <a:fld id="{4915BD61-E5D5-4E4F-ADA0-6F3448AB9FA6}" type="slidenum">
              <a:rPr lang="de-DE" smtClean="0"/>
              <a:pPr/>
              <a:t>‹#›</a:t>
            </a:fld>
            <a:endParaRPr lang="de-DE" dirty="0"/>
          </a:p>
        </p:txBody>
      </p:sp>
      <p:sp>
        <p:nvSpPr>
          <p:cNvPr id="3" name="Inhaltsplatzhalter 2"/>
          <p:cNvSpPr>
            <a:spLocks noGrp="1"/>
          </p:cNvSpPr>
          <p:nvPr>
            <p:ph sz="quarter" idx="14"/>
          </p:nvPr>
        </p:nvSpPr>
        <p:spPr bwMode="gray">
          <a:xfrm>
            <a:off x="550508" y="1701160"/>
            <a:ext cx="3456450" cy="4247017"/>
          </a:xfrm>
        </p:spPr>
        <p:txBody>
          <a:bodyPr/>
          <a:lstStyle>
            <a:lvl1pPr>
              <a:defRPr sz="1400"/>
            </a:lvl1pPr>
            <a:lvl2pPr>
              <a:defRPr sz="1400"/>
            </a:lvl2pPr>
            <a:lvl3pPr>
              <a:defRPr sz="1400"/>
            </a:lvl3pPr>
            <a:lvl4pPr>
              <a:defRPr sz="1400"/>
            </a:lvl4pPr>
            <a:lvl5pPr>
              <a:defRPr sz="1400"/>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5" name="Inhaltsplatzhalter 2"/>
          <p:cNvSpPr>
            <a:spLocks noGrp="1"/>
          </p:cNvSpPr>
          <p:nvPr>
            <p:ph sz="quarter" idx="17"/>
          </p:nvPr>
        </p:nvSpPr>
        <p:spPr bwMode="gray">
          <a:xfrm>
            <a:off x="4367534" y="1701160"/>
            <a:ext cx="3456450" cy="4247017"/>
          </a:xfrm>
        </p:spPr>
        <p:txBody>
          <a:bodyPr/>
          <a:lstStyle>
            <a:lvl1pPr>
              <a:defRPr sz="1400"/>
            </a:lvl1pPr>
            <a:lvl2pPr>
              <a:defRPr sz="1400"/>
            </a:lvl2pPr>
            <a:lvl3pPr>
              <a:defRPr sz="1400"/>
            </a:lvl3pPr>
            <a:lvl4pPr>
              <a:defRPr sz="1400"/>
            </a:lvl4pPr>
            <a:lvl5pPr>
              <a:defRPr sz="1400"/>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6" name="Inhaltsplatzhalter 2"/>
          <p:cNvSpPr>
            <a:spLocks noGrp="1"/>
          </p:cNvSpPr>
          <p:nvPr>
            <p:ph sz="quarter" idx="18"/>
          </p:nvPr>
        </p:nvSpPr>
        <p:spPr bwMode="gray">
          <a:xfrm>
            <a:off x="8185041" y="1701160"/>
            <a:ext cx="3456450" cy="4247017"/>
          </a:xfrm>
        </p:spPr>
        <p:txBody>
          <a:bodyPr/>
          <a:lstStyle>
            <a:lvl1pPr>
              <a:defRPr sz="1400"/>
            </a:lvl1pPr>
            <a:lvl2pPr>
              <a:defRPr sz="1400"/>
            </a:lvl2pPr>
            <a:lvl3pPr>
              <a:defRPr sz="1400"/>
            </a:lvl3pPr>
            <a:lvl4pPr>
              <a:defRPr sz="1400"/>
            </a:lvl4pPr>
            <a:lvl5pPr>
              <a:defRPr sz="1400"/>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0" name="Textplatzhalter 6"/>
          <p:cNvSpPr>
            <a:spLocks noGrp="1"/>
          </p:cNvSpPr>
          <p:nvPr>
            <p:ph type="body" sz="quarter" idx="13" hasCustomPrompt="1"/>
          </p:nvPr>
        </p:nvSpPr>
        <p:spPr bwMode="gray">
          <a:xfrm>
            <a:off x="550935" y="982058"/>
            <a:ext cx="11090131" cy="503122"/>
          </a:xfrm>
        </p:spPr>
        <p:txBody>
          <a:bodyPr/>
          <a:lstStyle>
            <a:lvl1pPr marL="0" indent="0">
              <a:buNone/>
              <a:defRPr sz="1800" cap="none" baseline="0">
                <a:solidFill>
                  <a:schemeClr val="tx2"/>
                </a:solidFill>
              </a:defRPr>
            </a:lvl1pPr>
            <a:lvl2pPr marL="0" indent="0">
              <a:buNone/>
              <a:defRPr sz="1600">
                <a:solidFill>
                  <a:schemeClr val="tx2"/>
                </a:solidFill>
              </a:defRPr>
            </a:lvl2pPr>
            <a:lvl3pPr marL="0" indent="0">
              <a:buNone/>
              <a:defRPr sz="1600">
                <a:solidFill>
                  <a:schemeClr val="tx2"/>
                </a:solidFill>
              </a:defRPr>
            </a:lvl3pPr>
            <a:lvl4pPr marL="0" indent="0">
              <a:buNone/>
              <a:defRPr sz="1600">
                <a:solidFill>
                  <a:schemeClr val="tx2"/>
                </a:solidFill>
              </a:defRPr>
            </a:lvl4pPr>
            <a:lvl5pPr marL="0" indent="0">
              <a:buNone/>
              <a:defRPr sz="1600">
                <a:solidFill>
                  <a:schemeClr val="tx2"/>
                </a:solidFill>
              </a:defRPr>
            </a:lvl5pPr>
            <a:lvl6pPr marL="0" indent="0">
              <a:buNone/>
              <a:defRPr sz="1600">
                <a:solidFill>
                  <a:schemeClr val="tx2"/>
                </a:solidFill>
              </a:defRPr>
            </a:lvl6pPr>
            <a:lvl7pPr marL="0" indent="0">
              <a:buNone/>
              <a:defRPr sz="1600">
                <a:solidFill>
                  <a:schemeClr val="tx2"/>
                </a:solidFill>
              </a:defRPr>
            </a:lvl7pPr>
            <a:lvl8pPr marL="0" indent="0">
              <a:buNone/>
              <a:defRPr sz="1600">
                <a:solidFill>
                  <a:schemeClr val="tx2"/>
                </a:solidFill>
              </a:defRPr>
            </a:lvl8pPr>
            <a:lvl9pPr marL="0" indent="0">
              <a:buNone/>
              <a:defRPr sz="1600">
                <a:solidFill>
                  <a:schemeClr val="tx2"/>
                </a:solidFill>
              </a:defRPr>
            </a:lvl9pPr>
          </a:lstStyle>
          <a:p>
            <a:pPr lvl="0"/>
            <a:r>
              <a:rPr lang="de-DE" dirty="0"/>
              <a:t>Subheadline</a:t>
            </a:r>
          </a:p>
        </p:txBody>
      </p:sp>
    </p:spTree>
    <p:extLst>
      <p:ext uri="{BB962C8B-B14F-4D97-AF65-F5344CB8AC3E}">
        <p14:creationId xmlns:p14="http://schemas.microsoft.com/office/powerpoint/2010/main" val="2495609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36560C-894F-77A9-2623-8D1CD21953A2}"/>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F89DAAEA-778F-BB74-54E2-8CFA413E9070}"/>
              </a:ext>
            </a:extLst>
          </p:cNvPr>
          <p:cNvSpPr>
            <a:spLocks noGrp="1"/>
          </p:cNvSpPr>
          <p:nvPr>
            <p:ph type="dt" sz="half" idx="10"/>
          </p:nvPr>
        </p:nvSpPr>
        <p:spPr/>
        <p:txBody>
          <a:bodyPr/>
          <a:lstStyle/>
          <a:p>
            <a:fld id="{8E2DC9B0-CADE-4BCF-8B5E-A3E36D03AA2F}" type="datetimeFigureOut">
              <a:rPr lang="en-GB" smtClean="0"/>
              <a:t>22/10/2024</a:t>
            </a:fld>
            <a:endParaRPr lang="en-GB"/>
          </a:p>
        </p:txBody>
      </p:sp>
      <p:sp>
        <p:nvSpPr>
          <p:cNvPr id="4" name="Footer Placeholder 3">
            <a:extLst>
              <a:ext uri="{FF2B5EF4-FFF2-40B4-BE49-F238E27FC236}">
                <a16:creationId xmlns:a16="http://schemas.microsoft.com/office/drawing/2014/main" id="{FA5D2E59-F57F-6A6F-697A-BC97B9F49850}"/>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047BCB7F-12AA-F1D6-7684-B61BF31401F3}"/>
              </a:ext>
            </a:extLst>
          </p:cNvPr>
          <p:cNvSpPr>
            <a:spLocks noGrp="1"/>
          </p:cNvSpPr>
          <p:nvPr>
            <p:ph type="sldNum" sz="quarter" idx="12"/>
          </p:nvPr>
        </p:nvSpPr>
        <p:spPr/>
        <p:txBody>
          <a:bodyPr/>
          <a:lstStyle/>
          <a:p>
            <a:fld id="{3DBB904D-600E-4758-B075-158E5AAE9766}" type="slidenum">
              <a:rPr lang="en-GB" smtClean="0"/>
              <a:t>‹#›</a:t>
            </a:fld>
            <a:endParaRPr lang="en-GB"/>
          </a:p>
        </p:txBody>
      </p:sp>
    </p:spTree>
    <p:extLst>
      <p:ext uri="{BB962C8B-B14F-4D97-AF65-F5344CB8AC3E}">
        <p14:creationId xmlns:p14="http://schemas.microsoft.com/office/powerpoint/2010/main" val="5102700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9671F3A-7357-21FC-EFC2-E466DBC7C0F4}"/>
              </a:ext>
            </a:extLst>
          </p:cNvPr>
          <p:cNvSpPr>
            <a:spLocks noGrp="1"/>
          </p:cNvSpPr>
          <p:nvPr>
            <p:ph type="dt" sz="half" idx="10"/>
          </p:nvPr>
        </p:nvSpPr>
        <p:spPr/>
        <p:txBody>
          <a:bodyPr/>
          <a:lstStyle/>
          <a:p>
            <a:fld id="{8E2DC9B0-CADE-4BCF-8B5E-A3E36D03AA2F}" type="datetimeFigureOut">
              <a:rPr lang="en-GB" smtClean="0"/>
              <a:t>22/10/2024</a:t>
            </a:fld>
            <a:endParaRPr lang="en-GB"/>
          </a:p>
        </p:txBody>
      </p:sp>
      <p:sp>
        <p:nvSpPr>
          <p:cNvPr id="3" name="Footer Placeholder 2">
            <a:extLst>
              <a:ext uri="{FF2B5EF4-FFF2-40B4-BE49-F238E27FC236}">
                <a16:creationId xmlns:a16="http://schemas.microsoft.com/office/drawing/2014/main" id="{598910C6-13E5-FB16-8CA2-689712FF1C7E}"/>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DED5544A-FCDA-358A-40E4-53C7524F10D5}"/>
              </a:ext>
            </a:extLst>
          </p:cNvPr>
          <p:cNvSpPr>
            <a:spLocks noGrp="1"/>
          </p:cNvSpPr>
          <p:nvPr>
            <p:ph type="sldNum" sz="quarter" idx="12"/>
          </p:nvPr>
        </p:nvSpPr>
        <p:spPr/>
        <p:txBody>
          <a:bodyPr/>
          <a:lstStyle/>
          <a:p>
            <a:fld id="{3DBB904D-600E-4758-B075-158E5AAE9766}" type="slidenum">
              <a:rPr lang="en-GB" smtClean="0"/>
              <a:t>‹#›</a:t>
            </a:fld>
            <a:endParaRPr lang="en-GB"/>
          </a:p>
        </p:txBody>
      </p:sp>
    </p:spTree>
    <p:extLst>
      <p:ext uri="{BB962C8B-B14F-4D97-AF65-F5344CB8AC3E}">
        <p14:creationId xmlns:p14="http://schemas.microsoft.com/office/powerpoint/2010/main" val="21097308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0AA705-9DF9-5FDB-13E8-5E6925A79DC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65BEC0DD-5FC4-A031-06CE-98FC23F75C4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C148878A-850A-CBCE-C189-CD2974C5898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9B6E7CA-408A-BE3A-FC94-59E217D165FE}"/>
              </a:ext>
            </a:extLst>
          </p:cNvPr>
          <p:cNvSpPr>
            <a:spLocks noGrp="1"/>
          </p:cNvSpPr>
          <p:nvPr>
            <p:ph type="dt" sz="half" idx="10"/>
          </p:nvPr>
        </p:nvSpPr>
        <p:spPr/>
        <p:txBody>
          <a:bodyPr/>
          <a:lstStyle/>
          <a:p>
            <a:fld id="{8E2DC9B0-CADE-4BCF-8B5E-A3E36D03AA2F}" type="datetimeFigureOut">
              <a:rPr lang="en-GB" smtClean="0"/>
              <a:t>22/10/2024</a:t>
            </a:fld>
            <a:endParaRPr lang="en-GB"/>
          </a:p>
        </p:txBody>
      </p:sp>
      <p:sp>
        <p:nvSpPr>
          <p:cNvPr id="6" name="Footer Placeholder 5">
            <a:extLst>
              <a:ext uri="{FF2B5EF4-FFF2-40B4-BE49-F238E27FC236}">
                <a16:creationId xmlns:a16="http://schemas.microsoft.com/office/drawing/2014/main" id="{1F309D82-ABDA-7952-C2A8-EE7CA973C7D1}"/>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FA84710B-2ADE-59D9-EE65-19E45182E256}"/>
              </a:ext>
            </a:extLst>
          </p:cNvPr>
          <p:cNvSpPr>
            <a:spLocks noGrp="1"/>
          </p:cNvSpPr>
          <p:nvPr>
            <p:ph type="sldNum" sz="quarter" idx="12"/>
          </p:nvPr>
        </p:nvSpPr>
        <p:spPr/>
        <p:txBody>
          <a:bodyPr/>
          <a:lstStyle/>
          <a:p>
            <a:fld id="{3DBB904D-600E-4758-B075-158E5AAE9766}" type="slidenum">
              <a:rPr lang="en-GB" smtClean="0"/>
              <a:t>‹#›</a:t>
            </a:fld>
            <a:endParaRPr lang="en-GB"/>
          </a:p>
        </p:txBody>
      </p:sp>
    </p:spTree>
    <p:extLst>
      <p:ext uri="{BB962C8B-B14F-4D97-AF65-F5344CB8AC3E}">
        <p14:creationId xmlns:p14="http://schemas.microsoft.com/office/powerpoint/2010/main" val="292621625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573646-FB69-91AD-CB70-F51BC5DC8D7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6402088B-1BF9-3BA7-324C-A25B1F6B310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A4889A74-736D-B9DE-FDC1-7A264975F7C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9281370-76B1-3E7D-51B6-F998BE819D5F}"/>
              </a:ext>
            </a:extLst>
          </p:cNvPr>
          <p:cNvSpPr>
            <a:spLocks noGrp="1"/>
          </p:cNvSpPr>
          <p:nvPr>
            <p:ph type="dt" sz="half" idx="10"/>
          </p:nvPr>
        </p:nvSpPr>
        <p:spPr/>
        <p:txBody>
          <a:bodyPr/>
          <a:lstStyle/>
          <a:p>
            <a:fld id="{8E2DC9B0-CADE-4BCF-8B5E-A3E36D03AA2F}" type="datetimeFigureOut">
              <a:rPr lang="en-GB" smtClean="0"/>
              <a:t>22/10/2024</a:t>
            </a:fld>
            <a:endParaRPr lang="en-GB"/>
          </a:p>
        </p:txBody>
      </p:sp>
      <p:sp>
        <p:nvSpPr>
          <p:cNvPr id="6" name="Footer Placeholder 5">
            <a:extLst>
              <a:ext uri="{FF2B5EF4-FFF2-40B4-BE49-F238E27FC236}">
                <a16:creationId xmlns:a16="http://schemas.microsoft.com/office/drawing/2014/main" id="{7C0FE86E-98EB-6C1F-02DA-6C0EAF82F8B7}"/>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BA2B9C55-33EC-1A68-A0EB-D872BFA1ECA2}"/>
              </a:ext>
            </a:extLst>
          </p:cNvPr>
          <p:cNvSpPr>
            <a:spLocks noGrp="1"/>
          </p:cNvSpPr>
          <p:nvPr>
            <p:ph type="sldNum" sz="quarter" idx="12"/>
          </p:nvPr>
        </p:nvSpPr>
        <p:spPr/>
        <p:txBody>
          <a:bodyPr/>
          <a:lstStyle/>
          <a:p>
            <a:fld id="{3DBB904D-600E-4758-B075-158E5AAE9766}" type="slidenum">
              <a:rPr lang="en-GB" smtClean="0"/>
              <a:t>‹#›</a:t>
            </a:fld>
            <a:endParaRPr lang="en-GB"/>
          </a:p>
        </p:txBody>
      </p:sp>
    </p:spTree>
    <p:extLst>
      <p:ext uri="{BB962C8B-B14F-4D97-AF65-F5344CB8AC3E}">
        <p14:creationId xmlns:p14="http://schemas.microsoft.com/office/powerpoint/2010/main" val="124278596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9.xml"/><Relationship Id="rId18" Type="http://schemas.openxmlformats.org/officeDocument/2006/relationships/slideLayout" Target="../slideLayouts/slideLayout34.xml"/><Relationship Id="rId26" Type="http://schemas.openxmlformats.org/officeDocument/2006/relationships/slideLayout" Target="../slideLayouts/slideLayout42.xml"/><Relationship Id="rId39" Type="http://schemas.openxmlformats.org/officeDocument/2006/relationships/tags" Target="../tags/tag2.xml"/><Relationship Id="rId21" Type="http://schemas.openxmlformats.org/officeDocument/2006/relationships/slideLayout" Target="../slideLayouts/slideLayout37.xml"/><Relationship Id="rId34" Type="http://schemas.openxmlformats.org/officeDocument/2006/relationships/slideLayout" Target="../slideLayouts/slideLayout50.xml"/><Relationship Id="rId42" Type="http://schemas.openxmlformats.org/officeDocument/2006/relationships/image" Target="../media/image4.emf"/><Relationship Id="rId7" Type="http://schemas.openxmlformats.org/officeDocument/2006/relationships/slideLayout" Target="../slideLayouts/slideLayout23.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20" Type="http://schemas.openxmlformats.org/officeDocument/2006/relationships/slideLayout" Target="../slideLayouts/slideLayout36.xml"/><Relationship Id="rId29" Type="http://schemas.openxmlformats.org/officeDocument/2006/relationships/slideLayout" Target="../slideLayouts/slideLayout45.xml"/><Relationship Id="rId41" Type="http://schemas.openxmlformats.org/officeDocument/2006/relationships/tags" Target="../tags/tag4.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24" Type="http://schemas.openxmlformats.org/officeDocument/2006/relationships/slideLayout" Target="../slideLayouts/slideLayout40.xml"/><Relationship Id="rId32" Type="http://schemas.openxmlformats.org/officeDocument/2006/relationships/slideLayout" Target="../slideLayouts/slideLayout48.xml"/><Relationship Id="rId37" Type="http://schemas.openxmlformats.org/officeDocument/2006/relationships/slideLayout" Target="../slideLayouts/slideLayout53.xml"/><Relationship Id="rId40" Type="http://schemas.openxmlformats.org/officeDocument/2006/relationships/tags" Target="../tags/tag3.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23" Type="http://schemas.openxmlformats.org/officeDocument/2006/relationships/slideLayout" Target="../slideLayouts/slideLayout39.xml"/><Relationship Id="rId28" Type="http://schemas.openxmlformats.org/officeDocument/2006/relationships/slideLayout" Target="../slideLayouts/slideLayout44.xml"/><Relationship Id="rId36" Type="http://schemas.openxmlformats.org/officeDocument/2006/relationships/slideLayout" Target="../slideLayouts/slideLayout52.xml"/><Relationship Id="rId10" Type="http://schemas.openxmlformats.org/officeDocument/2006/relationships/slideLayout" Target="../slideLayouts/slideLayout26.xml"/><Relationship Id="rId19" Type="http://schemas.openxmlformats.org/officeDocument/2006/relationships/slideLayout" Target="../slideLayouts/slideLayout35.xml"/><Relationship Id="rId31" Type="http://schemas.openxmlformats.org/officeDocument/2006/relationships/slideLayout" Target="../slideLayouts/slideLayout47.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 Id="rId22" Type="http://schemas.openxmlformats.org/officeDocument/2006/relationships/slideLayout" Target="../slideLayouts/slideLayout38.xml"/><Relationship Id="rId27" Type="http://schemas.openxmlformats.org/officeDocument/2006/relationships/slideLayout" Target="../slideLayouts/slideLayout43.xml"/><Relationship Id="rId30" Type="http://schemas.openxmlformats.org/officeDocument/2006/relationships/slideLayout" Target="../slideLayouts/slideLayout46.xml"/><Relationship Id="rId35" Type="http://schemas.openxmlformats.org/officeDocument/2006/relationships/slideLayout" Target="../slideLayouts/slideLayout51.xml"/><Relationship Id="rId8" Type="http://schemas.openxmlformats.org/officeDocument/2006/relationships/slideLayout" Target="../slideLayouts/slideLayout24.xml"/><Relationship Id="rId3" Type="http://schemas.openxmlformats.org/officeDocument/2006/relationships/slideLayout" Target="../slideLayouts/slideLayout19.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5" Type="http://schemas.openxmlformats.org/officeDocument/2006/relationships/slideLayout" Target="../slideLayouts/slideLayout41.xml"/><Relationship Id="rId33" Type="http://schemas.openxmlformats.org/officeDocument/2006/relationships/slideLayout" Target="../slideLayouts/slideLayout49.xml"/><Relationship Id="rId38"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FEC92B5-80CC-2ED4-813A-7EC71CC1957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26A069CF-3B3A-8057-6AB0-7A40CAA74B8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E60A8D3E-01A7-D573-6EC1-A888DC6EF7D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8E2DC9B0-CADE-4BCF-8B5E-A3E36D03AA2F}" type="datetimeFigureOut">
              <a:rPr lang="en-GB" smtClean="0"/>
              <a:t>22/10/2024</a:t>
            </a:fld>
            <a:endParaRPr lang="en-GB"/>
          </a:p>
        </p:txBody>
      </p:sp>
      <p:sp>
        <p:nvSpPr>
          <p:cNvPr id="5" name="Footer Placeholder 4">
            <a:extLst>
              <a:ext uri="{FF2B5EF4-FFF2-40B4-BE49-F238E27FC236}">
                <a16:creationId xmlns:a16="http://schemas.microsoft.com/office/drawing/2014/main" id="{9A459493-B428-048D-93EA-B1A389AC6FA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GB"/>
          </a:p>
        </p:txBody>
      </p:sp>
      <p:sp>
        <p:nvSpPr>
          <p:cNvPr id="6" name="Slide Number Placeholder 5">
            <a:extLst>
              <a:ext uri="{FF2B5EF4-FFF2-40B4-BE49-F238E27FC236}">
                <a16:creationId xmlns:a16="http://schemas.microsoft.com/office/drawing/2014/main" id="{4DFE4D00-839E-A2EA-618E-A13D7A493B9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3DBB904D-600E-4758-B075-158E5AAE9766}" type="slidenum">
              <a:rPr lang="en-GB" smtClean="0"/>
              <a:t>‹#›</a:t>
            </a:fld>
            <a:endParaRPr lang="en-GB"/>
          </a:p>
        </p:txBody>
      </p:sp>
      <p:sp>
        <p:nvSpPr>
          <p:cNvPr id="8" name="TextBox 7">
            <a:extLst>
              <a:ext uri="{FF2B5EF4-FFF2-40B4-BE49-F238E27FC236}">
                <a16:creationId xmlns:a16="http://schemas.microsoft.com/office/drawing/2014/main" id="{623B35CC-EDD4-6EDD-3BD0-136B52EF067F}"/>
              </a:ext>
            </a:extLst>
          </p:cNvPr>
          <p:cNvSpPr txBox="1"/>
          <p:nvPr userDrawn="1">
            <p:extLst>
              <p:ext uri="{1162E1C5-73C7-4A58-AE30-91384D911F3F}">
                <p184:classification xmlns:p184="http://schemas.microsoft.com/office/powerpoint/2018/4/main" val="ftr"/>
              </p:ext>
            </p:extLst>
          </p:nvPr>
        </p:nvSpPr>
        <p:spPr>
          <a:xfrm>
            <a:off x="190500" y="6530340"/>
            <a:ext cx="1857375" cy="137160"/>
          </a:xfrm>
          <a:prstGeom prst="rect">
            <a:avLst/>
          </a:prstGeom>
        </p:spPr>
        <p:txBody>
          <a:bodyPr horzOverflow="overflow" lIns="0" tIns="0" rIns="0" bIns="0">
            <a:spAutoFit/>
          </a:bodyPr>
          <a:lstStyle/>
          <a:p>
            <a:pPr algn="l"/>
            <a:r>
              <a:rPr lang="en-GB" sz="900">
                <a:solidFill>
                  <a:srgbClr val="0078D7"/>
                </a:solidFill>
                <a:latin typeface="Rockwell" panose="02060603020205020403" pitchFamily="18" charset="0"/>
              </a:rPr>
              <a:t>Information Classification: General</a:t>
            </a:r>
          </a:p>
        </p:txBody>
      </p:sp>
    </p:spTree>
    <p:extLst>
      <p:ext uri="{BB962C8B-B14F-4D97-AF65-F5344CB8AC3E}">
        <p14:creationId xmlns:p14="http://schemas.microsoft.com/office/powerpoint/2010/main" val="367917948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bwMode="gray">
          <a:xfrm>
            <a:off x="550933" y="405280"/>
            <a:ext cx="11090132" cy="431900"/>
          </a:xfrm>
          <a:prstGeom prst="rect">
            <a:avLst/>
          </a:prstGeom>
        </p:spPr>
        <p:txBody>
          <a:bodyPr vert="horz" lIns="0" tIns="0" rIns="0" bIns="0" rtlCol="0" anchor="t" anchorCtr="0">
            <a:noAutofit/>
          </a:bodyPr>
          <a:lstStyle/>
          <a:p>
            <a:r>
              <a:rPr lang="de-DE"/>
              <a:t>Mastertitelformat bearbeiten</a:t>
            </a:r>
            <a:endParaRPr lang="en-US" dirty="0"/>
          </a:p>
        </p:txBody>
      </p:sp>
      <p:sp>
        <p:nvSpPr>
          <p:cNvPr id="3" name="Textplatzhalter 2"/>
          <p:cNvSpPr>
            <a:spLocks noGrp="1"/>
          </p:cNvSpPr>
          <p:nvPr>
            <p:ph type="body" idx="1"/>
            <p:custDataLst>
              <p:tags r:id="rId39"/>
            </p:custDataLst>
          </p:nvPr>
        </p:nvSpPr>
        <p:spPr bwMode="gray">
          <a:xfrm>
            <a:off x="550934" y="1701406"/>
            <a:ext cx="11090131" cy="4246751"/>
          </a:xfrm>
          <a:prstGeom prst="rect">
            <a:avLst/>
          </a:prstGeom>
        </p:spPr>
        <p:txBody>
          <a:bodyPr vert="horz" lIns="0" tIns="0" rIns="0" bIns="0" rtlCol="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umsplatzhalter 3"/>
          <p:cNvSpPr>
            <a:spLocks noGrp="1"/>
          </p:cNvSpPr>
          <p:nvPr>
            <p:ph type="dt" sz="half" idx="2"/>
          </p:nvPr>
        </p:nvSpPr>
        <p:spPr bwMode="gray">
          <a:xfrm>
            <a:off x="982714" y="6452719"/>
            <a:ext cx="648084" cy="172505"/>
          </a:xfrm>
          <a:prstGeom prst="rect">
            <a:avLst/>
          </a:prstGeom>
        </p:spPr>
        <p:txBody>
          <a:bodyPr vert="horz" lIns="0" tIns="0" rIns="0" bIns="0" rtlCol="0" anchor="b"/>
          <a:lstStyle>
            <a:lvl1pPr algn="l">
              <a:defRPr sz="800">
                <a:solidFill>
                  <a:schemeClr val="tx1"/>
                </a:solidFill>
              </a:defRPr>
            </a:lvl1pPr>
          </a:lstStyle>
          <a:p>
            <a:fld id="{A23AC1BD-9BD9-432D-ACB6-905D24A90689}" type="datetime1">
              <a:rPr lang="en-US"/>
              <a:t>10/22/2024</a:t>
            </a:fld>
            <a:endParaRPr lang="en-US" dirty="0"/>
          </a:p>
        </p:txBody>
      </p:sp>
      <p:sp>
        <p:nvSpPr>
          <p:cNvPr id="5" name="Fußzeilenplatzhalter 4"/>
          <p:cNvSpPr>
            <a:spLocks noGrp="1"/>
          </p:cNvSpPr>
          <p:nvPr>
            <p:ph type="ftr" sz="quarter" idx="3"/>
          </p:nvPr>
        </p:nvSpPr>
        <p:spPr bwMode="gray">
          <a:xfrm>
            <a:off x="1703328" y="6452719"/>
            <a:ext cx="4392572" cy="172505"/>
          </a:xfrm>
          <a:prstGeom prst="rect">
            <a:avLst/>
          </a:prstGeom>
        </p:spPr>
        <p:txBody>
          <a:bodyPr vert="horz" lIns="0" tIns="0" rIns="0" bIns="0" rtlCol="0" anchor="b"/>
          <a:lstStyle>
            <a:lvl1pPr algn="l">
              <a:defRPr sz="800">
                <a:solidFill>
                  <a:schemeClr val="tx1"/>
                </a:solidFill>
              </a:defRPr>
            </a:lvl1pPr>
          </a:lstStyle>
          <a:p>
            <a:r>
              <a:rPr lang="en-US" dirty="0"/>
              <a:t>Please insert footnote</a:t>
            </a:r>
          </a:p>
        </p:txBody>
      </p:sp>
      <p:sp>
        <p:nvSpPr>
          <p:cNvPr id="6" name="Foliennummernplatzhalter 5"/>
          <p:cNvSpPr>
            <a:spLocks noGrp="1"/>
          </p:cNvSpPr>
          <p:nvPr>
            <p:ph type="sldNum" sz="quarter" idx="4"/>
          </p:nvPr>
        </p:nvSpPr>
        <p:spPr bwMode="gray">
          <a:xfrm>
            <a:off x="550558" y="6452719"/>
            <a:ext cx="360047" cy="172505"/>
          </a:xfrm>
          <a:prstGeom prst="rect">
            <a:avLst/>
          </a:prstGeom>
        </p:spPr>
        <p:txBody>
          <a:bodyPr vert="horz" lIns="0" tIns="0" rIns="0" bIns="0" rtlCol="0" anchor="b"/>
          <a:lstStyle>
            <a:lvl1pPr algn="l">
              <a:defRPr sz="800">
                <a:solidFill>
                  <a:schemeClr val="tx1"/>
                </a:solidFill>
              </a:defRPr>
            </a:lvl1pPr>
          </a:lstStyle>
          <a:p>
            <a:fld id="{4915BD61-E5D5-4E4F-ADA0-6F3448AB9FA6}" type="slidenum">
              <a:rPr lang="en-US"/>
              <a:pPr/>
              <a:t>‹#›</a:t>
            </a:fld>
            <a:endParaRPr lang="en-US" dirty="0"/>
          </a:p>
        </p:txBody>
      </p:sp>
      <p:sp>
        <p:nvSpPr>
          <p:cNvPr id="8" name="empower - DO NOT DELETE!!!"/>
          <p:cNvSpPr/>
          <p:nvPr>
            <p:custDataLst>
              <p:tags r:id="rId40"/>
            </p:custDataLst>
          </p:nvPr>
        </p:nvSpPr>
        <p:spPr>
          <a:xfrm>
            <a:off x="0" y="0"/>
            <a:ext cx="0" cy="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00" dirty="0"/>
          </a:p>
        </p:txBody>
      </p:sp>
      <p:sp>
        <p:nvSpPr>
          <p:cNvPr id="10" name="empower - DO NOT DELETE!!!" hidden="1">
            <a:extLst>
              <a:ext uri="{FF2B5EF4-FFF2-40B4-BE49-F238E27FC236}">
                <a16:creationId xmlns:a16="http://schemas.microsoft.com/office/drawing/2014/main" id="{8AD63030-4767-4A21-B654-2F881B93D4B4}"/>
              </a:ext>
            </a:extLst>
          </p:cNvPr>
          <p:cNvSpPr/>
          <p:nvPr>
            <p:custDataLst>
              <p:tags r:id="rId41"/>
            </p:custDataLst>
          </p:nvPr>
        </p:nvSpPr>
        <p:spPr>
          <a:xfrm>
            <a:off x="0" y="0"/>
            <a:ext cx="0" cy="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00" dirty="0"/>
          </a:p>
        </p:txBody>
      </p:sp>
      <p:cxnSp>
        <p:nvCxnSpPr>
          <p:cNvPr id="11" name="Gerader Verbinder 10">
            <a:extLst>
              <a:ext uri="{FF2B5EF4-FFF2-40B4-BE49-F238E27FC236}">
                <a16:creationId xmlns:a16="http://schemas.microsoft.com/office/drawing/2014/main" id="{04EB2D87-3805-44A6-BDEB-694CB521A98B}"/>
              </a:ext>
            </a:extLst>
          </p:cNvPr>
          <p:cNvCxnSpPr/>
          <p:nvPr/>
        </p:nvCxnSpPr>
        <p:spPr>
          <a:xfrm>
            <a:off x="550935" y="-170656"/>
            <a:ext cx="0" cy="71983"/>
          </a:xfrm>
          <a:prstGeom prst="line">
            <a:avLst/>
          </a:prstGeom>
        </p:spPr>
        <p:style>
          <a:lnRef idx="1">
            <a:schemeClr val="accent1"/>
          </a:lnRef>
          <a:fillRef idx="0">
            <a:schemeClr val="accent1"/>
          </a:fillRef>
          <a:effectRef idx="0">
            <a:schemeClr val="accent1"/>
          </a:effectRef>
          <a:fontRef idx="minor">
            <a:schemeClr val="tx1"/>
          </a:fontRef>
        </p:style>
      </p:cxnSp>
      <p:cxnSp>
        <p:nvCxnSpPr>
          <p:cNvPr id="12" name="Gerader Verbinder 11">
            <a:extLst>
              <a:ext uri="{FF2B5EF4-FFF2-40B4-BE49-F238E27FC236}">
                <a16:creationId xmlns:a16="http://schemas.microsoft.com/office/drawing/2014/main" id="{89F2F3C0-29AA-4937-8039-373362B19D2B}"/>
              </a:ext>
            </a:extLst>
          </p:cNvPr>
          <p:cNvCxnSpPr/>
          <p:nvPr/>
        </p:nvCxnSpPr>
        <p:spPr>
          <a:xfrm>
            <a:off x="4007438" y="-170656"/>
            <a:ext cx="0" cy="71983"/>
          </a:xfrm>
          <a:prstGeom prst="line">
            <a:avLst/>
          </a:prstGeom>
        </p:spPr>
        <p:style>
          <a:lnRef idx="1">
            <a:schemeClr val="accent1"/>
          </a:lnRef>
          <a:fillRef idx="0">
            <a:schemeClr val="accent1"/>
          </a:fillRef>
          <a:effectRef idx="0">
            <a:schemeClr val="accent1"/>
          </a:effectRef>
          <a:fontRef idx="minor">
            <a:schemeClr val="tx1"/>
          </a:fontRef>
        </p:style>
      </p:cxnSp>
      <p:cxnSp>
        <p:nvCxnSpPr>
          <p:cNvPr id="14" name="Gerader Verbinder 13">
            <a:extLst>
              <a:ext uri="{FF2B5EF4-FFF2-40B4-BE49-F238E27FC236}">
                <a16:creationId xmlns:a16="http://schemas.microsoft.com/office/drawing/2014/main" id="{B3A1DD62-C183-4861-83B9-B3A8412B6DB6}"/>
              </a:ext>
            </a:extLst>
          </p:cNvPr>
          <p:cNvCxnSpPr/>
          <p:nvPr/>
        </p:nvCxnSpPr>
        <p:spPr>
          <a:xfrm>
            <a:off x="4367535" y="-170656"/>
            <a:ext cx="0" cy="71983"/>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68D2EAFE-2BA8-4D5E-980C-EDBA56A13A31}"/>
              </a:ext>
            </a:extLst>
          </p:cNvPr>
          <p:cNvCxnSpPr/>
          <p:nvPr/>
        </p:nvCxnSpPr>
        <p:spPr>
          <a:xfrm>
            <a:off x="7824464" y="-170656"/>
            <a:ext cx="0" cy="71983"/>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Gerader Verbinder 15">
            <a:extLst>
              <a:ext uri="{FF2B5EF4-FFF2-40B4-BE49-F238E27FC236}">
                <a16:creationId xmlns:a16="http://schemas.microsoft.com/office/drawing/2014/main" id="{92A4FCEE-FA6E-469B-B427-5B868D9FCA66}"/>
              </a:ext>
            </a:extLst>
          </p:cNvPr>
          <p:cNvCxnSpPr/>
          <p:nvPr/>
        </p:nvCxnSpPr>
        <p:spPr>
          <a:xfrm>
            <a:off x="8184561" y="-170656"/>
            <a:ext cx="0" cy="71983"/>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id="{FD7BAA3B-90E5-4FE1-A323-35E5785A8477}"/>
              </a:ext>
            </a:extLst>
          </p:cNvPr>
          <p:cNvCxnSpPr/>
          <p:nvPr/>
        </p:nvCxnSpPr>
        <p:spPr>
          <a:xfrm>
            <a:off x="11641491" y="-170656"/>
            <a:ext cx="0" cy="71983"/>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A9F4C9D1-EF36-4701-9299-083F2F6C1720}"/>
              </a:ext>
            </a:extLst>
          </p:cNvPr>
          <p:cNvCxnSpPr/>
          <p:nvPr/>
        </p:nvCxnSpPr>
        <p:spPr>
          <a:xfrm>
            <a:off x="5951961" y="-170656"/>
            <a:ext cx="0" cy="71983"/>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Gerader Verbinder 18">
            <a:extLst>
              <a:ext uri="{FF2B5EF4-FFF2-40B4-BE49-F238E27FC236}">
                <a16:creationId xmlns:a16="http://schemas.microsoft.com/office/drawing/2014/main" id="{327625DC-1A93-4D4B-83EB-3D2A0A4325EC}"/>
              </a:ext>
            </a:extLst>
          </p:cNvPr>
          <p:cNvCxnSpPr/>
          <p:nvPr/>
        </p:nvCxnSpPr>
        <p:spPr>
          <a:xfrm>
            <a:off x="6240038" y="-170656"/>
            <a:ext cx="0" cy="71983"/>
          </a:xfrm>
          <a:prstGeom prst="line">
            <a:avLst/>
          </a:prstGeom>
        </p:spPr>
        <p:style>
          <a:lnRef idx="1">
            <a:schemeClr val="accent1"/>
          </a:lnRef>
          <a:fillRef idx="0">
            <a:schemeClr val="accent1"/>
          </a:fillRef>
          <a:effectRef idx="0">
            <a:schemeClr val="accent1"/>
          </a:effectRef>
          <a:fontRef idx="minor">
            <a:schemeClr val="tx1"/>
          </a:fontRef>
        </p:style>
      </p:cxnSp>
      <p:cxnSp>
        <p:nvCxnSpPr>
          <p:cNvPr id="20" name="Gerader Verbinder 19">
            <a:extLst>
              <a:ext uri="{FF2B5EF4-FFF2-40B4-BE49-F238E27FC236}">
                <a16:creationId xmlns:a16="http://schemas.microsoft.com/office/drawing/2014/main" id="{BD094434-71C9-4CFC-AB2E-DE60E930617F}"/>
              </a:ext>
            </a:extLst>
          </p:cNvPr>
          <p:cNvCxnSpPr/>
          <p:nvPr/>
        </p:nvCxnSpPr>
        <p:spPr>
          <a:xfrm>
            <a:off x="2999166" y="-170656"/>
            <a:ext cx="0" cy="71983"/>
          </a:xfrm>
          <a:prstGeom prst="line">
            <a:avLst/>
          </a:prstGeom>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a16="http://schemas.microsoft.com/office/drawing/2014/main" id="{D62F4378-7059-48C0-B6D8-071CC7FCDA91}"/>
              </a:ext>
            </a:extLst>
          </p:cNvPr>
          <p:cNvCxnSpPr/>
          <p:nvPr/>
        </p:nvCxnSpPr>
        <p:spPr>
          <a:xfrm>
            <a:off x="3431283" y="-170656"/>
            <a:ext cx="0" cy="71983"/>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Gerader Verbinder 21">
            <a:extLst>
              <a:ext uri="{FF2B5EF4-FFF2-40B4-BE49-F238E27FC236}">
                <a16:creationId xmlns:a16="http://schemas.microsoft.com/office/drawing/2014/main" id="{5668A16C-A543-42F5-B3F9-AEA03F8E4B12}"/>
              </a:ext>
            </a:extLst>
          </p:cNvPr>
          <p:cNvCxnSpPr/>
          <p:nvPr/>
        </p:nvCxnSpPr>
        <p:spPr>
          <a:xfrm>
            <a:off x="8760716" y="-170656"/>
            <a:ext cx="0" cy="71983"/>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Gerader Verbinder 22">
            <a:extLst>
              <a:ext uri="{FF2B5EF4-FFF2-40B4-BE49-F238E27FC236}">
                <a16:creationId xmlns:a16="http://schemas.microsoft.com/office/drawing/2014/main" id="{E3133184-CC53-4375-8CFE-6F8B8566E52D}"/>
              </a:ext>
            </a:extLst>
          </p:cNvPr>
          <p:cNvCxnSpPr/>
          <p:nvPr/>
        </p:nvCxnSpPr>
        <p:spPr>
          <a:xfrm>
            <a:off x="9192833" y="-170656"/>
            <a:ext cx="0" cy="71983"/>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Gerader Verbinder 23">
            <a:extLst>
              <a:ext uri="{FF2B5EF4-FFF2-40B4-BE49-F238E27FC236}">
                <a16:creationId xmlns:a16="http://schemas.microsoft.com/office/drawing/2014/main" id="{5D61B324-2F17-4515-8668-210119E703C6}"/>
              </a:ext>
            </a:extLst>
          </p:cNvPr>
          <p:cNvCxnSpPr>
            <a:cxnSpLocks/>
          </p:cNvCxnSpPr>
          <p:nvPr/>
        </p:nvCxnSpPr>
        <p:spPr>
          <a:xfrm rot="5400000">
            <a:off x="-205701" y="369276"/>
            <a:ext cx="0" cy="72009"/>
          </a:xfrm>
          <a:prstGeom prst="line">
            <a:avLst/>
          </a:prstGeom>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E672E32B-DB2D-46C4-BC29-5807441DB00E}"/>
              </a:ext>
            </a:extLst>
          </p:cNvPr>
          <p:cNvCxnSpPr>
            <a:cxnSpLocks/>
          </p:cNvCxnSpPr>
          <p:nvPr/>
        </p:nvCxnSpPr>
        <p:spPr>
          <a:xfrm rot="5400000">
            <a:off x="-205691" y="945222"/>
            <a:ext cx="0" cy="72009"/>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Gerader Verbinder 25">
            <a:extLst>
              <a:ext uri="{FF2B5EF4-FFF2-40B4-BE49-F238E27FC236}">
                <a16:creationId xmlns:a16="http://schemas.microsoft.com/office/drawing/2014/main" id="{C6DD5190-7CE1-46A7-A3D0-3BAFE3828ED3}"/>
              </a:ext>
            </a:extLst>
          </p:cNvPr>
          <p:cNvCxnSpPr>
            <a:cxnSpLocks/>
          </p:cNvCxnSpPr>
          <p:nvPr/>
        </p:nvCxnSpPr>
        <p:spPr>
          <a:xfrm rot="5400000">
            <a:off x="-205681" y="1665156"/>
            <a:ext cx="0" cy="72009"/>
          </a:xfrm>
          <a:prstGeom prst="line">
            <a:avLst/>
          </a:prstGeom>
        </p:spPr>
        <p:style>
          <a:lnRef idx="1">
            <a:schemeClr val="accent1"/>
          </a:lnRef>
          <a:fillRef idx="0">
            <a:schemeClr val="accent1"/>
          </a:fillRef>
          <a:effectRef idx="0">
            <a:schemeClr val="accent1"/>
          </a:effectRef>
          <a:fontRef idx="minor">
            <a:schemeClr val="tx1"/>
          </a:fontRef>
        </p:style>
      </p:cxnSp>
      <p:cxnSp>
        <p:nvCxnSpPr>
          <p:cNvPr id="27" name="Gerader Verbinder 26">
            <a:extLst>
              <a:ext uri="{FF2B5EF4-FFF2-40B4-BE49-F238E27FC236}">
                <a16:creationId xmlns:a16="http://schemas.microsoft.com/office/drawing/2014/main" id="{CC463F92-1841-4307-AAA8-83DF7D6BFA0C}"/>
              </a:ext>
            </a:extLst>
          </p:cNvPr>
          <p:cNvCxnSpPr>
            <a:cxnSpLocks/>
          </p:cNvCxnSpPr>
          <p:nvPr/>
        </p:nvCxnSpPr>
        <p:spPr>
          <a:xfrm rot="5400000">
            <a:off x="-205671" y="5912762"/>
            <a:ext cx="0" cy="72009"/>
          </a:xfrm>
          <a:prstGeom prst="line">
            <a:avLst/>
          </a:prstGeom>
        </p:spPr>
        <p:style>
          <a:lnRef idx="1">
            <a:schemeClr val="accent1"/>
          </a:lnRef>
          <a:fillRef idx="0">
            <a:schemeClr val="accent1"/>
          </a:fillRef>
          <a:effectRef idx="0">
            <a:schemeClr val="accent1"/>
          </a:effectRef>
          <a:fontRef idx="minor">
            <a:schemeClr val="tx1"/>
          </a:fontRef>
        </p:style>
      </p:cxnSp>
      <p:pic>
        <p:nvPicPr>
          <p:cNvPr id="30" name="Grafik 29">
            <a:extLst>
              <a:ext uri="{FF2B5EF4-FFF2-40B4-BE49-F238E27FC236}">
                <a16:creationId xmlns:a16="http://schemas.microsoft.com/office/drawing/2014/main" id="{531DEB1C-B976-4AFC-8BA6-5EA8F0BBAB0D}"/>
              </a:ext>
            </a:extLst>
          </p:cNvPr>
          <p:cNvPicPr>
            <a:picLocks noChangeAspect="1"/>
          </p:cNvPicPr>
          <p:nvPr/>
        </p:nvPicPr>
        <p:blipFill>
          <a:blip r:embed="rId42"/>
          <a:stretch>
            <a:fillRect/>
          </a:stretch>
        </p:blipFill>
        <p:spPr>
          <a:xfrm>
            <a:off x="9841919" y="6178371"/>
            <a:ext cx="1799572" cy="449896"/>
          </a:xfrm>
          <a:prstGeom prst="rect">
            <a:avLst/>
          </a:prstGeom>
        </p:spPr>
      </p:pic>
    </p:spTree>
    <p:extLst>
      <p:ext uri="{BB962C8B-B14F-4D97-AF65-F5344CB8AC3E}">
        <p14:creationId xmlns:p14="http://schemas.microsoft.com/office/powerpoint/2010/main" val="533621976"/>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 id="2147483676" r:id="rId11"/>
    <p:sldLayoutId id="2147483677" r:id="rId12"/>
    <p:sldLayoutId id="2147483678" r:id="rId13"/>
    <p:sldLayoutId id="2147483679" r:id="rId14"/>
    <p:sldLayoutId id="2147483680" r:id="rId15"/>
    <p:sldLayoutId id="2147483681" r:id="rId16"/>
    <p:sldLayoutId id="2147483682" r:id="rId17"/>
    <p:sldLayoutId id="2147483683" r:id="rId18"/>
    <p:sldLayoutId id="2147483684" r:id="rId19"/>
    <p:sldLayoutId id="2147483685" r:id="rId20"/>
    <p:sldLayoutId id="2147483686" r:id="rId21"/>
    <p:sldLayoutId id="2147483687" r:id="rId22"/>
    <p:sldLayoutId id="2147483688" r:id="rId23"/>
    <p:sldLayoutId id="2147483689" r:id="rId24"/>
    <p:sldLayoutId id="2147483690" r:id="rId25"/>
    <p:sldLayoutId id="2147483691" r:id="rId26"/>
    <p:sldLayoutId id="2147483692" r:id="rId27"/>
    <p:sldLayoutId id="2147483693" r:id="rId28"/>
    <p:sldLayoutId id="2147483694" r:id="rId29"/>
    <p:sldLayoutId id="2147483695" r:id="rId30"/>
    <p:sldLayoutId id="2147483696" r:id="rId31"/>
    <p:sldLayoutId id="2147483697" r:id="rId32"/>
    <p:sldLayoutId id="2147483698" r:id="rId33"/>
    <p:sldLayoutId id="2147483699" r:id="rId34"/>
    <p:sldLayoutId id="2147483700" r:id="rId35"/>
    <p:sldLayoutId id="2147483701" r:id="rId36"/>
    <p:sldLayoutId id="2147483702" r:id="rId37"/>
  </p:sldLayoutIdLst>
  <p:hf hdr="0"/>
  <p:txStyles>
    <p:titleStyle>
      <a:lvl1pPr algn="l" defTabSz="1218926" rtl="0" eaLnBrk="1" latinLnBrk="0" hangingPunct="1">
        <a:spcBef>
          <a:spcPct val="0"/>
        </a:spcBef>
        <a:buNone/>
        <a:defRPr sz="2400" kern="1200">
          <a:solidFill>
            <a:schemeClr val="accent1"/>
          </a:solidFill>
          <a:latin typeface="+mj-lt"/>
          <a:ea typeface="+mj-ea"/>
          <a:cs typeface="+mj-cs"/>
        </a:defRPr>
      </a:lvl1pPr>
    </p:titleStyle>
    <p:bodyStyle>
      <a:lvl1pPr marL="0" indent="0" algn="l" defTabSz="1218926" rtl="0" eaLnBrk="1" latinLnBrk="0" hangingPunct="1">
        <a:lnSpc>
          <a:spcPct val="100000"/>
        </a:lnSpc>
        <a:spcBef>
          <a:spcPts val="0"/>
        </a:spcBef>
        <a:spcAft>
          <a:spcPts val="600"/>
        </a:spcAft>
        <a:buClr>
          <a:schemeClr val="tx2"/>
        </a:buClr>
        <a:buFont typeface="Wingdings" panose="05000000000000000000" pitchFamily="2" charset="2"/>
        <a:buNone/>
        <a:defRPr sz="1600" kern="1200" cap="none" baseline="0">
          <a:solidFill>
            <a:schemeClr val="tx1"/>
          </a:solidFill>
          <a:latin typeface="+mn-lt"/>
          <a:ea typeface="+mn-ea"/>
          <a:cs typeface="+mn-cs"/>
        </a:defRPr>
      </a:lvl1pPr>
      <a:lvl2pPr marL="179964" indent="-179964" algn="l" defTabSz="1218926" rtl="0" eaLnBrk="1" latinLnBrk="0" hangingPunct="1">
        <a:lnSpc>
          <a:spcPct val="100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59928" indent="-179964" algn="l" defTabSz="1218926" rtl="0" eaLnBrk="1" latinLnBrk="0" hangingPunct="1">
        <a:lnSpc>
          <a:spcPct val="100000"/>
        </a:lnSpc>
        <a:spcBef>
          <a:spcPts val="0"/>
        </a:spcBef>
        <a:spcAft>
          <a:spcPts val="600"/>
        </a:spcAft>
        <a:buClr>
          <a:schemeClr val="tx1"/>
        </a:buClr>
        <a:buFont typeface="Symbol" panose="05050102010706020507" pitchFamily="18" charset="2"/>
        <a:buChar char="-"/>
        <a:defRPr sz="1600" kern="1200">
          <a:solidFill>
            <a:schemeClr val="tx1"/>
          </a:solidFill>
          <a:latin typeface="+mn-lt"/>
          <a:ea typeface="+mn-ea"/>
          <a:cs typeface="+mn-cs"/>
        </a:defRPr>
      </a:lvl3pPr>
      <a:lvl4pPr marL="538055" indent="-180939" algn="l" defTabSz="1218926"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4pPr>
      <a:lvl5pPr marL="539642" indent="-179964" algn="l" defTabSz="1218926"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5pPr>
      <a:lvl6pPr marL="539642" indent="-179964" algn="l" defTabSz="1218926"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6pPr>
      <a:lvl7pPr marL="539642" indent="-179964" algn="l" defTabSz="1218926"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7pPr>
      <a:lvl8pPr marL="539642" indent="-179964" algn="l" defTabSz="1218926" rtl="0" eaLnBrk="1" latinLnBrk="0" hangingPunct="1">
        <a:lnSpc>
          <a:spcPct val="100000"/>
        </a:lnSpc>
        <a:spcBef>
          <a:spcPts val="0"/>
        </a:spcBef>
        <a:spcAft>
          <a:spcPts val="600"/>
        </a:spcAft>
        <a:buFont typeface="Symbol" pitchFamily="18" charset="2"/>
        <a:buChar char="-"/>
        <a:defRPr sz="1600" kern="1200" baseline="0">
          <a:solidFill>
            <a:schemeClr val="tx1"/>
          </a:solidFill>
          <a:latin typeface="+mn-lt"/>
          <a:ea typeface="+mn-ea"/>
          <a:cs typeface="+mn-cs"/>
        </a:defRPr>
      </a:lvl8pPr>
      <a:lvl9pPr marL="539642" indent="-179964" algn="l" defTabSz="1218926" rtl="0" eaLnBrk="1" latinLnBrk="0" hangingPunct="1">
        <a:lnSpc>
          <a:spcPct val="100000"/>
        </a:lnSpc>
        <a:spcBef>
          <a:spcPts val="0"/>
        </a:spcBef>
        <a:spcAft>
          <a:spcPts val="600"/>
        </a:spcAft>
        <a:buFont typeface="Symbol" pitchFamily="18" charset="2"/>
        <a:buChar char="-"/>
        <a:defRPr sz="1600" kern="1200" baseline="0">
          <a:solidFill>
            <a:schemeClr val="tx1"/>
          </a:solidFill>
          <a:latin typeface="+mn-lt"/>
          <a:ea typeface="+mn-ea"/>
          <a:cs typeface="+mn-cs"/>
        </a:defRPr>
      </a:lvl9pPr>
    </p:bodyStyle>
    <p:otherStyle>
      <a:defPPr>
        <a:defRPr lang="de-DE"/>
      </a:defPPr>
      <a:lvl1pPr marL="0" algn="l" defTabSz="1218926" rtl="0" eaLnBrk="1" latinLnBrk="0" hangingPunct="1">
        <a:defRPr sz="1400" kern="1200">
          <a:solidFill>
            <a:schemeClr val="tx1"/>
          </a:solidFill>
          <a:latin typeface="+mn-lt"/>
          <a:ea typeface="+mn-ea"/>
          <a:cs typeface="+mn-cs"/>
        </a:defRPr>
      </a:lvl1pPr>
      <a:lvl2pPr marL="609463" algn="l" defTabSz="1218926" rtl="0" eaLnBrk="1" latinLnBrk="0" hangingPunct="1">
        <a:defRPr sz="1400" kern="1200">
          <a:solidFill>
            <a:schemeClr val="tx1"/>
          </a:solidFill>
          <a:latin typeface="+mn-lt"/>
          <a:ea typeface="+mn-ea"/>
          <a:cs typeface="+mn-cs"/>
        </a:defRPr>
      </a:lvl2pPr>
      <a:lvl3pPr marL="1218926" algn="l" defTabSz="1218926" rtl="0" eaLnBrk="1" latinLnBrk="0" hangingPunct="1">
        <a:defRPr sz="1400" kern="1200">
          <a:solidFill>
            <a:schemeClr val="tx1"/>
          </a:solidFill>
          <a:latin typeface="+mn-lt"/>
          <a:ea typeface="+mn-ea"/>
          <a:cs typeface="+mn-cs"/>
        </a:defRPr>
      </a:lvl3pPr>
      <a:lvl4pPr marL="1828388" algn="l" defTabSz="1218926" rtl="0" eaLnBrk="1" latinLnBrk="0" hangingPunct="1">
        <a:defRPr sz="1400" kern="1200">
          <a:solidFill>
            <a:schemeClr val="tx1"/>
          </a:solidFill>
          <a:latin typeface="+mn-lt"/>
          <a:ea typeface="+mn-ea"/>
          <a:cs typeface="+mn-cs"/>
        </a:defRPr>
      </a:lvl4pPr>
      <a:lvl5pPr marL="2437851" algn="l" defTabSz="1218926" rtl="0" eaLnBrk="1" latinLnBrk="0" hangingPunct="1">
        <a:defRPr sz="1400" kern="1200">
          <a:solidFill>
            <a:schemeClr val="tx1"/>
          </a:solidFill>
          <a:latin typeface="+mn-lt"/>
          <a:ea typeface="+mn-ea"/>
          <a:cs typeface="+mn-cs"/>
        </a:defRPr>
      </a:lvl5pPr>
      <a:lvl6pPr marL="3047314" algn="l" defTabSz="1218926" rtl="0" eaLnBrk="1" latinLnBrk="0" hangingPunct="1">
        <a:defRPr sz="1400" kern="1200">
          <a:solidFill>
            <a:schemeClr val="tx1"/>
          </a:solidFill>
          <a:latin typeface="+mn-lt"/>
          <a:ea typeface="+mn-ea"/>
          <a:cs typeface="+mn-cs"/>
        </a:defRPr>
      </a:lvl6pPr>
      <a:lvl7pPr marL="3656777" algn="l" defTabSz="1218926" rtl="0" eaLnBrk="1" latinLnBrk="0" hangingPunct="1">
        <a:defRPr sz="1400" kern="1200">
          <a:solidFill>
            <a:schemeClr val="tx1"/>
          </a:solidFill>
          <a:latin typeface="+mn-lt"/>
          <a:ea typeface="+mn-ea"/>
          <a:cs typeface="+mn-cs"/>
        </a:defRPr>
      </a:lvl7pPr>
      <a:lvl8pPr marL="4266240" algn="l" defTabSz="1218926" rtl="0" eaLnBrk="1" latinLnBrk="0" hangingPunct="1">
        <a:defRPr sz="1400" kern="1200">
          <a:solidFill>
            <a:schemeClr val="tx1"/>
          </a:solidFill>
          <a:latin typeface="+mn-lt"/>
          <a:ea typeface="+mn-ea"/>
          <a:cs typeface="+mn-cs"/>
        </a:defRPr>
      </a:lvl8pPr>
      <a:lvl9pPr marL="4875703" algn="l" defTabSz="1218926"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47">
          <p15:clr>
            <a:srgbClr val="F26B43"/>
          </p15:clr>
        </p15:guide>
        <p15:guide id="2" orient="horz" pos="3748">
          <p15:clr>
            <a:srgbClr val="F26B43"/>
          </p15:clr>
        </p15:guide>
        <p15:guide id="3" pos="7332">
          <p15:clr>
            <a:srgbClr val="F26B43"/>
          </p15:clr>
        </p15:guide>
        <p15:guide id="4" orient="horz" pos="1072">
          <p15:clr>
            <a:srgbClr val="F26B43"/>
          </p15:clr>
        </p15:guide>
        <p15:guide id="5" orient="horz" pos="255">
          <p15:clr>
            <a:srgbClr val="F26B43"/>
          </p15:clr>
        </p15:guide>
        <p15:guide id="6" orient="horz" pos="61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8" Type="http://schemas.openxmlformats.org/officeDocument/2006/relationships/slideLayout" Target="../slideLayouts/slideLayout7.xml"/><Relationship Id="rId13" Type="http://schemas.openxmlformats.org/officeDocument/2006/relationships/image" Target="../media/image23.png"/><Relationship Id="rId3" Type="http://schemas.openxmlformats.org/officeDocument/2006/relationships/tags" Target="../tags/tag34.xml"/><Relationship Id="rId7" Type="http://schemas.openxmlformats.org/officeDocument/2006/relationships/tags" Target="../tags/tag38.xml"/><Relationship Id="rId12" Type="http://schemas.openxmlformats.org/officeDocument/2006/relationships/image" Target="../media/image22.svg"/><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tags" Target="../tags/tag37.xml"/><Relationship Id="rId11" Type="http://schemas.openxmlformats.org/officeDocument/2006/relationships/image" Target="../media/image21.png"/><Relationship Id="rId5" Type="http://schemas.openxmlformats.org/officeDocument/2006/relationships/tags" Target="../tags/tag36.xml"/><Relationship Id="rId10" Type="http://schemas.openxmlformats.org/officeDocument/2006/relationships/image" Target="../media/image20.svg"/><Relationship Id="rId4" Type="http://schemas.openxmlformats.org/officeDocument/2006/relationships/tags" Target="../tags/tag35.xml"/><Relationship Id="rId9" Type="http://schemas.openxmlformats.org/officeDocument/2006/relationships/image" Target="../media/image19.png"/><Relationship Id="rId14" Type="http://schemas.openxmlformats.org/officeDocument/2006/relationships/image" Target="../media/image24.svg"/></Relationships>
</file>

<file path=ppt/slides/_rels/slide15.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8" Type="http://schemas.openxmlformats.org/officeDocument/2006/relationships/slideLayout" Target="../slideLayouts/slideLayout7.xml"/><Relationship Id="rId13" Type="http://schemas.openxmlformats.org/officeDocument/2006/relationships/image" Target="../media/image23.png"/><Relationship Id="rId3" Type="http://schemas.openxmlformats.org/officeDocument/2006/relationships/tags" Target="../tags/tag41.xml"/><Relationship Id="rId7" Type="http://schemas.openxmlformats.org/officeDocument/2006/relationships/tags" Target="../tags/tag45.xml"/><Relationship Id="rId12" Type="http://schemas.openxmlformats.org/officeDocument/2006/relationships/image" Target="../media/image22.svg"/><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tags" Target="../tags/tag44.xml"/><Relationship Id="rId11" Type="http://schemas.openxmlformats.org/officeDocument/2006/relationships/image" Target="../media/image21.png"/><Relationship Id="rId5" Type="http://schemas.openxmlformats.org/officeDocument/2006/relationships/tags" Target="../tags/tag43.xml"/><Relationship Id="rId10" Type="http://schemas.openxmlformats.org/officeDocument/2006/relationships/image" Target="../media/image20.svg"/><Relationship Id="rId4" Type="http://schemas.openxmlformats.org/officeDocument/2006/relationships/tags" Target="../tags/tag42.xml"/><Relationship Id="rId9" Type="http://schemas.openxmlformats.org/officeDocument/2006/relationships/image" Target="../media/image19.png"/><Relationship Id="rId14" Type="http://schemas.openxmlformats.org/officeDocument/2006/relationships/image" Target="../media/image24.svg"/></Relationships>
</file>

<file path=ppt/slides/_rels/slide17.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8" Type="http://schemas.openxmlformats.org/officeDocument/2006/relationships/slideLayout" Target="../slideLayouts/slideLayout7.xml"/><Relationship Id="rId13" Type="http://schemas.openxmlformats.org/officeDocument/2006/relationships/image" Target="../media/image23.png"/><Relationship Id="rId3" Type="http://schemas.openxmlformats.org/officeDocument/2006/relationships/tags" Target="../tags/tag48.xml"/><Relationship Id="rId7" Type="http://schemas.openxmlformats.org/officeDocument/2006/relationships/tags" Target="../tags/tag52.xml"/><Relationship Id="rId12" Type="http://schemas.openxmlformats.org/officeDocument/2006/relationships/image" Target="../media/image22.svg"/><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tags" Target="../tags/tag51.xml"/><Relationship Id="rId11" Type="http://schemas.openxmlformats.org/officeDocument/2006/relationships/image" Target="../media/image21.png"/><Relationship Id="rId5" Type="http://schemas.openxmlformats.org/officeDocument/2006/relationships/tags" Target="../tags/tag50.xml"/><Relationship Id="rId10" Type="http://schemas.openxmlformats.org/officeDocument/2006/relationships/image" Target="../media/image20.svg"/><Relationship Id="rId4" Type="http://schemas.openxmlformats.org/officeDocument/2006/relationships/tags" Target="../tags/tag49.xml"/><Relationship Id="rId9" Type="http://schemas.openxmlformats.org/officeDocument/2006/relationships/image" Target="../media/image19.png"/><Relationship Id="rId14" Type="http://schemas.openxmlformats.org/officeDocument/2006/relationships/image" Target="../media/image24.svg"/></Relationships>
</file>

<file path=ppt/slides/_rels/slide19.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4.xml"/><Relationship Id="rId1" Type="http://schemas.openxmlformats.org/officeDocument/2006/relationships/tags" Target="../tags/tag53.xml"/><Relationship Id="rId4" Type="http://schemas.openxmlformats.org/officeDocument/2006/relationships/chart" Target="../charts/chart1.xml"/></Relationships>
</file>

<file path=ppt/slides/_rels/slide2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5.xml.rels><?xml version="1.0" encoding="UTF-8" standalone="yes"?>
<Relationships xmlns="http://schemas.openxmlformats.org/package/2006/relationships"><Relationship Id="rId8" Type="http://schemas.openxmlformats.org/officeDocument/2006/relationships/image" Target="../media/image35.png"/><Relationship Id="rId13" Type="http://schemas.openxmlformats.org/officeDocument/2006/relationships/image" Target="../media/image40.png"/><Relationship Id="rId18" Type="http://schemas.openxmlformats.org/officeDocument/2006/relationships/image" Target="../media/image45.png"/><Relationship Id="rId3" Type="http://schemas.openxmlformats.org/officeDocument/2006/relationships/image" Target="../media/image30.png"/><Relationship Id="rId21" Type="http://schemas.openxmlformats.org/officeDocument/2006/relationships/image" Target="../media/image48.png"/><Relationship Id="rId7" Type="http://schemas.openxmlformats.org/officeDocument/2006/relationships/image" Target="../media/image34.png"/><Relationship Id="rId12" Type="http://schemas.openxmlformats.org/officeDocument/2006/relationships/image" Target="../media/image39.png"/><Relationship Id="rId17" Type="http://schemas.openxmlformats.org/officeDocument/2006/relationships/image" Target="../media/image44.png"/><Relationship Id="rId2" Type="http://schemas.openxmlformats.org/officeDocument/2006/relationships/image" Target="../media/image29.png"/><Relationship Id="rId16" Type="http://schemas.openxmlformats.org/officeDocument/2006/relationships/image" Target="../media/image43.png"/><Relationship Id="rId20" Type="http://schemas.openxmlformats.org/officeDocument/2006/relationships/image" Target="../media/image47.png"/><Relationship Id="rId1" Type="http://schemas.openxmlformats.org/officeDocument/2006/relationships/slideLayout" Target="../slideLayouts/slideLayout14.xml"/><Relationship Id="rId6" Type="http://schemas.openxmlformats.org/officeDocument/2006/relationships/image" Target="../media/image33.png"/><Relationship Id="rId11" Type="http://schemas.openxmlformats.org/officeDocument/2006/relationships/image" Target="../media/image38.png"/><Relationship Id="rId5" Type="http://schemas.openxmlformats.org/officeDocument/2006/relationships/image" Target="../media/image32.png"/><Relationship Id="rId15" Type="http://schemas.openxmlformats.org/officeDocument/2006/relationships/image" Target="../media/image42.png"/><Relationship Id="rId10" Type="http://schemas.openxmlformats.org/officeDocument/2006/relationships/image" Target="../media/image37.png"/><Relationship Id="rId19" Type="http://schemas.openxmlformats.org/officeDocument/2006/relationships/image" Target="../media/image46.png"/><Relationship Id="rId4" Type="http://schemas.openxmlformats.org/officeDocument/2006/relationships/image" Target="../media/image31.png"/><Relationship Id="rId9" Type="http://schemas.openxmlformats.org/officeDocument/2006/relationships/image" Target="../media/image36.png"/><Relationship Id="rId14" Type="http://schemas.openxmlformats.org/officeDocument/2006/relationships/image" Target="../media/image41.gif"/><Relationship Id="rId22" Type="http://schemas.openxmlformats.org/officeDocument/2006/relationships/image" Target="../media/image49.png"/></Relationships>
</file>

<file path=ppt/slides/_rels/slide26.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image" Target="../media/image50.png"/><Relationship Id="rId1" Type="http://schemas.openxmlformats.org/officeDocument/2006/relationships/slideLayout" Target="../slideLayouts/slideLayout15.xml"/></Relationships>
</file>

<file path=ppt/slides/_rels/slide29.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15.xml"/><Relationship Id="rId4" Type="http://schemas.openxmlformats.org/officeDocument/2006/relationships/chart" Target="../charts/chart6.xml"/></Relationships>
</file>

<file path=ppt/slides/_rels/slide3.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3" Type="http://schemas.openxmlformats.org/officeDocument/2006/relationships/chart" Target="../charts/chart8.xml"/><Relationship Id="rId7" Type="http://schemas.openxmlformats.org/officeDocument/2006/relationships/chart" Target="../charts/chart12.xml"/><Relationship Id="rId2" Type="http://schemas.openxmlformats.org/officeDocument/2006/relationships/notesSlide" Target="../notesSlides/notesSlide3.xml"/><Relationship Id="rId1" Type="http://schemas.openxmlformats.org/officeDocument/2006/relationships/slideLayout" Target="../slideLayouts/slideLayout15.xml"/><Relationship Id="rId6" Type="http://schemas.openxmlformats.org/officeDocument/2006/relationships/chart" Target="../charts/chart11.xml"/><Relationship Id="rId5" Type="http://schemas.openxmlformats.org/officeDocument/2006/relationships/chart" Target="../charts/chart10.xml"/><Relationship Id="rId4" Type="http://schemas.openxmlformats.org/officeDocument/2006/relationships/chart" Target="../charts/chart9.xml"/></Relationships>
</file>

<file path=ppt/slides/_rels/slide33.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34.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_rels/slide35.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notesSlide" Target="../notesSlides/notesSlide6.xml"/><Relationship Id="rId1" Type="http://schemas.openxmlformats.org/officeDocument/2006/relationships/slideLayout" Target="../slideLayouts/slideLayout15.xml"/><Relationship Id="rId4" Type="http://schemas.openxmlformats.org/officeDocument/2006/relationships/chart" Target="../charts/chart16.xml"/></Relationships>
</file>

<file path=ppt/slides/_rels/slide36.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notesSlide" Target="../notesSlides/notesSlide7.xml"/><Relationship Id="rId1" Type="http://schemas.openxmlformats.org/officeDocument/2006/relationships/slideLayout" Target="../slideLayouts/slideLayout15.xml"/><Relationship Id="rId4" Type="http://schemas.openxmlformats.org/officeDocument/2006/relationships/chart" Target="../charts/chart18.xml"/></Relationships>
</file>

<file path=ppt/slides/_rels/slide37.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notesSlide" Target="../notesSlides/notesSlide8.xml"/><Relationship Id="rId1" Type="http://schemas.openxmlformats.org/officeDocument/2006/relationships/slideLayout" Target="../slideLayouts/slideLayout15.xml"/><Relationship Id="rId4" Type="http://schemas.openxmlformats.org/officeDocument/2006/relationships/chart" Target="../charts/chart20.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9.xml.rels><?xml version="1.0" encoding="UTF-8" standalone="yes"?>
<Relationships xmlns="http://schemas.openxmlformats.org/package/2006/relationships"><Relationship Id="rId8" Type="http://schemas.openxmlformats.org/officeDocument/2006/relationships/slideLayout" Target="../slideLayouts/slideLayout7.xml"/><Relationship Id="rId13" Type="http://schemas.openxmlformats.org/officeDocument/2006/relationships/image" Target="../media/image23.png"/><Relationship Id="rId3" Type="http://schemas.openxmlformats.org/officeDocument/2006/relationships/tags" Target="../tags/tag56.xml"/><Relationship Id="rId7" Type="http://schemas.openxmlformats.org/officeDocument/2006/relationships/tags" Target="../tags/tag60.xml"/><Relationship Id="rId12" Type="http://schemas.openxmlformats.org/officeDocument/2006/relationships/image" Target="../media/image22.svg"/><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tags" Target="../tags/tag59.xml"/><Relationship Id="rId11" Type="http://schemas.openxmlformats.org/officeDocument/2006/relationships/image" Target="../media/image21.png"/><Relationship Id="rId5" Type="http://schemas.openxmlformats.org/officeDocument/2006/relationships/tags" Target="../tags/tag58.xml"/><Relationship Id="rId10" Type="http://schemas.openxmlformats.org/officeDocument/2006/relationships/image" Target="../media/image20.svg"/><Relationship Id="rId4" Type="http://schemas.openxmlformats.org/officeDocument/2006/relationships/tags" Target="../tags/tag57.xml"/><Relationship Id="rId9" Type="http://schemas.openxmlformats.org/officeDocument/2006/relationships/image" Target="../media/image19.png"/><Relationship Id="rId14" Type="http://schemas.openxmlformats.org/officeDocument/2006/relationships/image" Target="../media/image24.svg"/></Relationships>
</file>

<file path=ppt/slides/_rels/slide4.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2" Type="http://schemas.openxmlformats.org/officeDocument/2006/relationships/image" Target="../media/image51.jpg"/><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8" Type="http://schemas.openxmlformats.org/officeDocument/2006/relationships/slideLayout" Target="../slideLayouts/slideLayout7.xml"/><Relationship Id="rId13" Type="http://schemas.openxmlformats.org/officeDocument/2006/relationships/image" Target="../media/image23.png"/><Relationship Id="rId3" Type="http://schemas.openxmlformats.org/officeDocument/2006/relationships/tags" Target="../tags/tag63.xml"/><Relationship Id="rId7" Type="http://schemas.openxmlformats.org/officeDocument/2006/relationships/tags" Target="../tags/tag67.xml"/><Relationship Id="rId12" Type="http://schemas.openxmlformats.org/officeDocument/2006/relationships/image" Target="../media/image22.svg"/><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tags" Target="../tags/tag66.xml"/><Relationship Id="rId11" Type="http://schemas.openxmlformats.org/officeDocument/2006/relationships/image" Target="../media/image21.png"/><Relationship Id="rId5" Type="http://schemas.openxmlformats.org/officeDocument/2006/relationships/tags" Target="../tags/tag65.xml"/><Relationship Id="rId10" Type="http://schemas.openxmlformats.org/officeDocument/2006/relationships/image" Target="../media/image20.svg"/><Relationship Id="rId4" Type="http://schemas.openxmlformats.org/officeDocument/2006/relationships/tags" Target="../tags/tag64.xml"/><Relationship Id="rId9" Type="http://schemas.openxmlformats.org/officeDocument/2006/relationships/image" Target="../media/image19.png"/><Relationship Id="rId14" Type="http://schemas.openxmlformats.org/officeDocument/2006/relationships/image" Target="../media/image24.svg"/></Relationships>
</file>

<file path=ppt/slides/_rels/slide42.xml.rels><?xml version="1.0" encoding="UTF-8" standalone="yes"?>
<Relationships xmlns="http://schemas.openxmlformats.org/package/2006/relationships"><Relationship Id="rId2" Type="http://schemas.openxmlformats.org/officeDocument/2006/relationships/image" Target="../media/image52.jpg"/><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2" Type="http://schemas.openxmlformats.org/officeDocument/2006/relationships/image" Target="../media/image53.jpg"/><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8" Type="http://schemas.openxmlformats.org/officeDocument/2006/relationships/slideLayout" Target="../slideLayouts/slideLayout7.xml"/><Relationship Id="rId13" Type="http://schemas.openxmlformats.org/officeDocument/2006/relationships/image" Target="../media/image23.png"/><Relationship Id="rId3" Type="http://schemas.openxmlformats.org/officeDocument/2006/relationships/tags" Target="../tags/tag70.xml"/><Relationship Id="rId7" Type="http://schemas.openxmlformats.org/officeDocument/2006/relationships/tags" Target="../tags/tag74.xml"/><Relationship Id="rId12" Type="http://schemas.openxmlformats.org/officeDocument/2006/relationships/image" Target="../media/image22.svg"/><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tags" Target="../tags/tag73.xml"/><Relationship Id="rId11" Type="http://schemas.openxmlformats.org/officeDocument/2006/relationships/image" Target="../media/image21.png"/><Relationship Id="rId5" Type="http://schemas.openxmlformats.org/officeDocument/2006/relationships/tags" Target="../tags/tag72.xml"/><Relationship Id="rId10" Type="http://schemas.openxmlformats.org/officeDocument/2006/relationships/image" Target="../media/image20.svg"/><Relationship Id="rId4" Type="http://schemas.openxmlformats.org/officeDocument/2006/relationships/tags" Target="../tags/tag71.xml"/><Relationship Id="rId9" Type="http://schemas.openxmlformats.org/officeDocument/2006/relationships/image" Target="../media/image19.png"/><Relationship Id="rId14" Type="http://schemas.openxmlformats.org/officeDocument/2006/relationships/image" Target="../media/image24.svg"/></Relationships>
</file>

<file path=ppt/slides/_rels/slide45.xml.rels><?xml version="1.0" encoding="UTF-8" standalone="yes"?>
<Relationships xmlns="http://schemas.openxmlformats.org/package/2006/relationships"><Relationship Id="rId2" Type="http://schemas.openxmlformats.org/officeDocument/2006/relationships/image" Target="../media/image54.jpg"/><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8.xml"/></Relationships>
</file>

<file path=ppt/slides/_rels/slide47.xml.rels><?xml version="1.0" encoding="UTF-8" standalone="yes"?>
<Relationships xmlns="http://schemas.openxmlformats.org/package/2006/relationships"><Relationship Id="rId26" Type="http://schemas.openxmlformats.org/officeDocument/2006/relationships/tags" Target="../tags/tag100.xml"/><Relationship Id="rId21" Type="http://schemas.openxmlformats.org/officeDocument/2006/relationships/tags" Target="../tags/tag95.xml"/><Relationship Id="rId34" Type="http://schemas.openxmlformats.org/officeDocument/2006/relationships/tags" Target="../tags/tag108.xml"/><Relationship Id="rId42" Type="http://schemas.openxmlformats.org/officeDocument/2006/relationships/tags" Target="../tags/tag116.xml"/><Relationship Id="rId47" Type="http://schemas.openxmlformats.org/officeDocument/2006/relationships/tags" Target="../tags/tag121.xml"/><Relationship Id="rId50" Type="http://schemas.openxmlformats.org/officeDocument/2006/relationships/tags" Target="../tags/tag124.xml"/><Relationship Id="rId55" Type="http://schemas.openxmlformats.org/officeDocument/2006/relationships/tags" Target="../tags/tag129.xml"/><Relationship Id="rId63" Type="http://schemas.openxmlformats.org/officeDocument/2006/relationships/slideLayout" Target="../slideLayouts/slideLayout53.xml"/><Relationship Id="rId7" Type="http://schemas.openxmlformats.org/officeDocument/2006/relationships/tags" Target="../tags/tag81.xml"/><Relationship Id="rId2" Type="http://schemas.openxmlformats.org/officeDocument/2006/relationships/tags" Target="../tags/tag76.xml"/><Relationship Id="rId16" Type="http://schemas.openxmlformats.org/officeDocument/2006/relationships/tags" Target="../tags/tag90.xml"/><Relationship Id="rId29" Type="http://schemas.openxmlformats.org/officeDocument/2006/relationships/tags" Target="../tags/tag103.xml"/><Relationship Id="rId11" Type="http://schemas.openxmlformats.org/officeDocument/2006/relationships/tags" Target="../tags/tag85.xml"/><Relationship Id="rId24" Type="http://schemas.openxmlformats.org/officeDocument/2006/relationships/tags" Target="../tags/tag98.xml"/><Relationship Id="rId32" Type="http://schemas.openxmlformats.org/officeDocument/2006/relationships/tags" Target="../tags/tag106.xml"/><Relationship Id="rId37" Type="http://schemas.openxmlformats.org/officeDocument/2006/relationships/tags" Target="../tags/tag111.xml"/><Relationship Id="rId40" Type="http://schemas.openxmlformats.org/officeDocument/2006/relationships/tags" Target="../tags/tag114.xml"/><Relationship Id="rId45" Type="http://schemas.openxmlformats.org/officeDocument/2006/relationships/tags" Target="../tags/tag119.xml"/><Relationship Id="rId53" Type="http://schemas.openxmlformats.org/officeDocument/2006/relationships/tags" Target="../tags/tag127.xml"/><Relationship Id="rId58" Type="http://schemas.openxmlformats.org/officeDocument/2006/relationships/tags" Target="../tags/tag132.xml"/><Relationship Id="rId5" Type="http://schemas.openxmlformats.org/officeDocument/2006/relationships/tags" Target="../tags/tag79.xml"/><Relationship Id="rId61" Type="http://schemas.openxmlformats.org/officeDocument/2006/relationships/tags" Target="../tags/tag135.xml"/><Relationship Id="rId19" Type="http://schemas.openxmlformats.org/officeDocument/2006/relationships/tags" Target="../tags/tag93.xml"/><Relationship Id="rId14" Type="http://schemas.openxmlformats.org/officeDocument/2006/relationships/tags" Target="../tags/tag88.xml"/><Relationship Id="rId22" Type="http://schemas.openxmlformats.org/officeDocument/2006/relationships/tags" Target="../tags/tag96.xml"/><Relationship Id="rId27" Type="http://schemas.openxmlformats.org/officeDocument/2006/relationships/tags" Target="../tags/tag101.xml"/><Relationship Id="rId30" Type="http://schemas.openxmlformats.org/officeDocument/2006/relationships/tags" Target="../tags/tag104.xml"/><Relationship Id="rId35" Type="http://schemas.openxmlformats.org/officeDocument/2006/relationships/tags" Target="../tags/tag109.xml"/><Relationship Id="rId43" Type="http://schemas.openxmlformats.org/officeDocument/2006/relationships/tags" Target="../tags/tag117.xml"/><Relationship Id="rId48" Type="http://schemas.openxmlformats.org/officeDocument/2006/relationships/tags" Target="../tags/tag122.xml"/><Relationship Id="rId56" Type="http://schemas.openxmlformats.org/officeDocument/2006/relationships/tags" Target="../tags/tag130.xml"/><Relationship Id="rId64" Type="http://schemas.openxmlformats.org/officeDocument/2006/relationships/notesSlide" Target="../notesSlides/notesSlide10.xml"/><Relationship Id="rId8" Type="http://schemas.openxmlformats.org/officeDocument/2006/relationships/tags" Target="../tags/tag82.xml"/><Relationship Id="rId51" Type="http://schemas.openxmlformats.org/officeDocument/2006/relationships/tags" Target="../tags/tag125.xml"/><Relationship Id="rId3" Type="http://schemas.openxmlformats.org/officeDocument/2006/relationships/tags" Target="../tags/tag77.xml"/><Relationship Id="rId12" Type="http://schemas.openxmlformats.org/officeDocument/2006/relationships/tags" Target="../tags/tag86.xml"/><Relationship Id="rId17" Type="http://schemas.openxmlformats.org/officeDocument/2006/relationships/tags" Target="../tags/tag91.xml"/><Relationship Id="rId25" Type="http://schemas.openxmlformats.org/officeDocument/2006/relationships/tags" Target="../tags/tag99.xml"/><Relationship Id="rId33" Type="http://schemas.openxmlformats.org/officeDocument/2006/relationships/tags" Target="../tags/tag107.xml"/><Relationship Id="rId38" Type="http://schemas.openxmlformats.org/officeDocument/2006/relationships/tags" Target="../tags/tag112.xml"/><Relationship Id="rId46" Type="http://schemas.openxmlformats.org/officeDocument/2006/relationships/tags" Target="../tags/tag120.xml"/><Relationship Id="rId59" Type="http://schemas.openxmlformats.org/officeDocument/2006/relationships/tags" Target="../tags/tag133.xml"/><Relationship Id="rId20" Type="http://schemas.openxmlformats.org/officeDocument/2006/relationships/tags" Target="../tags/tag94.xml"/><Relationship Id="rId41" Type="http://schemas.openxmlformats.org/officeDocument/2006/relationships/tags" Target="../tags/tag115.xml"/><Relationship Id="rId54" Type="http://schemas.openxmlformats.org/officeDocument/2006/relationships/tags" Target="../tags/tag128.xml"/><Relationship Id="rId62" Type="http://schemas.openxmlformats.org/officeDocument/2006/relationships/tags" Target="../tags/tag136.xml"/><Relationship Id="rId1" Type="http://schemas.openxmlformats.org/officeDocument/2006/relationships/tags" Target="../tags/tag75.xml"/><Relationship Id="rId6" Type="http://schemas.openxmlformats.org/officeDocument/2006/relationships/tags" Target="../tags/tag80.xml"/><Relationship Id="rId15" Type="http://schemas.openxmlformats.org/officeDocument/2006/relationships/tags" Target="../tags/tag89.xml"/><Relationship Id="rId23" Type="http://schemas.openxmlformats.org/officeDocument/2006/relationships/tags" Target="../tags/tag97.xml"/><Relationship Id="rId28" Type="http://schemas.openxmlformats.org/officeDocument/2006/relationships/tags" Target="../tags/tag102.xml"/><Relationship Id="rId36" Type="http://schemas.openxmlformats.org/officeDocument/2006/relationships/tags" Target="../tags/tag110.xml"/><Relationship Id="rId49" Type="http://schemas.openxmlformats.org/officeDocument/2006/relationships/tags" Target="../tags/tag123.xml"/><Relationship Id="rId57" Type="http://schemas.openxmlformats.org/officeDocument/2006/relationships/tags" Target="../tags/tag131.xml"/><Relationship Id="rId10" Type="http://schemas.openxmlformats.org/officeDocument/2006/relationships/tags" Target="../tags/tag84.xml"/><Relationship Id="rId31" Type="http://schemas.openxmlformats.org/officeDocument/2006/relationships/tags" Target="../tags/tag105.xml"/><Relationship Id="rId44" Type="http://schemas.openxmlformats.org/officeDocument/2006/relationships/tags" Target="../tags/tag118.xml"/><Relationship Id="rId52" Type="http://schemas.openxmlformats.org/officeDocument/2006/relationships/tags" Target="../tags/tag126.xml"/><Relationship Id="rId60" Type="http://schemas.openxmlformats.org/officeDocument/2006/relationships/tags" Target="../tags/tag134.xml"/><Relationship Id="rId65" Type="http://schemas.openxmlformats.org/officeDocument/2006/relationships/slide" Target="slide57.xml"/><Relationship Id="rId4" Type="http://schemas.openxmlformats.org/officeDocument/2006/relationships/tags" Target="../tags/tag78.xml"/><Relationship Id="rId9" Type="http://schemas.openxmlformats.org/officeDocument/2006/relationships/tags" Target="../tags/tag83.xml"/><Relationship Id="rId13" Type="http://schemas.openxmlformats.org/officeDocument/2006/relationships/tags" Target="../tags/tag87.xml"/><Relationship Id="rId18" Type="http://schemas.openxmlformats.org/officeDocument/2006/relationships/tags" Target="../tags/tag92.xml"/><Relationship Id="rId39" Type="http://schemas.openxmlformats.org/officeDocument/2006/relationships/tags" Target="../tags/tag113.xml"/></Relationships>
</file>

<file path=ppt/slides/_rels/slide48.xml.rels><?xml version="1.0" encoding="UTF-8" standalone="yes"?>
<Relationships xmlns="http://schemas.openxmlformats.org/package/2006/relationships"><Relationship Id="rId8" Type="http://schemas.openxmlformats.org/officeDocument/2006/relationships/notesSlide" Target="../notesSlides/notesSlide11.xml"/><Relationship Id="rId13" Type="http://schemas.openxmlformats.org/officeDocument/2006/relationships/image" Target="../media/image58.jpeg"/><Relationship Id="rId3" Type="http://schemas.openxmlformats.org/officeDocument/2006/relationships/tags" Target="../tags/tag139.xml"/><Relationship Id="rId7" Type="http://schemas.openxmlformats.org/officeDocument/2006/relationships/slideLayout" Target="../slideLayouts/slideLayout53.xml"/><Relationship Id="rId12" Type="http://schemas.openxmlformats.org/officeDocument/2006/relationships/image" Target="../media/image57.png"/><Relationship Id="rId2" Type="http://schemas.openxmlformats.org/officeDocument/2006/relationships/tags" Target="../tags/tag138.xml"/><Relationship Id="rId1" Type="http://schemas.openxmlformats.org/officeDocument/2006/relationships/tags" Target="../tags/tag137.xml"/><Relationship Id="rId6" Type="http://schemas.openxmlformats.org/officeDocument/2006/relationships/tags" Target="../tags/tag142.xml"/><Relationship Id="rId11" Type="http://schemas.openxmlformats.org/officeDocument/2006/relationships/image" Target="../media/image56.tiff"/><Relationship Id="rId5" Type="http://schemas.openxmlformats.org/officeDocument/2006/relationships/tags" Target="../tags/tag141.xml"/><Relationship Id="rId10" Type="http://schemas.openxmlformats.org/officeDocument/2006/relationships/image" Target="../media/image55.emf"/><Relationship Id="rId4" Type="http://schemas.openxmlformats.org/officeDocument/2006/relationships/tags" Target="../tags/tag140.xml"/><Relationship Id="rId9" Type="http://schemas.openxmlformats.org/officeDocument/2006/relationships/oleObject" Target="../embeddings/oleObject9.bin"/><Relationship Id="rId14" Type="http://schemas.openxmlformats.org/officeDocument/2006/relationships/image" Target="../media/image59.png"/></Relationships>
</file>

<file path=ppt/slides/_rels/slide49.xml.rels><?xml version="1.0" encoding="UTF-8" standalone="yes"?>
<Relationships xmlns="http://schemas.openxmlformats.org/package/2006/relationships"><Relationship Id="rId8" Type="http://schemas.openxmlformats.org/officeDocument/2006/relationships/tags" Target="../tags/tag150.xml"/><Relationship Id="rId3" Type="http://schemas.openxmlformats.org/officeDocument/2006/relationships/tags" Target="../tags/tag145.xml"/><Relationship Id="rId7" Type="http://schemas.openxmlformats.org/officeDocument/2006/relationships/tags" Target="../tags/tag149.xml"/><Relationship Id="rId2" Type="http://schemas.openxmlformats.org/officeDocument/2006/relationships/tags" Target="../tags/tag144.xml"/><Relationship Id="rId1" Type="http://schemas.openxmlformats.org/officeDocument/2006/relationships/tags" Target="../tags/tag143.xml"/><Relationship Id="rId6" Type="http://schemas.openxmlformats.org/officeDocument/2006/relationships/tags" Target="../tags/tag148.xml"/><Relationship Id="rId11" Type="http://schemas.openxmlformats.org/officeDocument/2006/relationships/image" Target="../media/image60.jpeg"/><Relationship Id="rId5" Type="http://schemas.openxmlformats.org/officeDocument/2006/relationships/tags" Target="../tags/tag147.xml"/><Relationship Id="rId10" Type="http://schemas.openxmlformats.org/officeDocument/2006/relationships/notesSlide" Target="../notesSlides/notesSlide12.xml"/><Relationship Id="rId4" Type="http://schemas.openxmlformats.org/officeDocument/2006/relationships/tags" Target="../tags/tag146.xml"/><Relationship Id="rId9" Type="http://schemas.openxmlformats.org/officeDocument/2006/relationships/slideLayout" Target="../slideLayouts/slideLayout28.xml"/></Relationships>
</file>

<file path=ppt/slides/_rels/slide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13.xml"/><Relationship Id="rId1" Type="http://schemas.openxmlformats.org/officeDocument/2006/relationships/slideLayout" Target="../slideLayouts/slideLayout51.xml"/></Relationships>
</file>

<file path=ppt/slides/_rels/slide51.xml.rels><?xml version="1.0" encoding="UTF-8" standalone="yes"?>
<Relationships xmlns="http://schemas.openxmlformats.org/package/2006/relationships"><Relationship Id="rId8" Type="http://schemas.openxmlformats.org/officeDocument/2006/relationships/image" Target="../media/image66.svg"/><Relationship Id="rId3" Type="http://schemas.openxmlformats.org/officeDocument/2006/relationships/image" Target="../media/image62.emf"/><Relationship Id="rId7" Type="http://schemas.openxmlformats.org/officeDocument/2006/relationships/image" Target="../media/image65.png"/><Relationship Id="rId2" Type="http://schemas.openxmlformats.org/officeDocument/2006/relationships/notesSlide" Target="../notesSlides/notesSlide14.xml"/><Relationship Id="rId1" Type="http://schemas.openxmlformats.org/officeDocument/2006/relationships/slideLayout" Target="../slideLayouts/slideLayout28.xml"/><Relationship Id="rId6" Type="http://schemas.openxmlformats.org/officeDocument/2006/relationships/image" Target="../media/image64.svg"/><Relationship Id="rId5" Type="http://schemas.openxmlformats.org/officeDocument/2006/relationships/image" Target="../media/image63.png"/><Relationship Id="rId10" Type="http://schemas.openxmlformats.org/officeDocument/2006/relationships/image" Target="../media/image68.svg"/><Relationship Id="rId4" Type="http://schemas.openxmlformats.org/officeDocument/2006/relationships/hyperlink" Target="https://www.tuv.com/landingpage/en/bankability/main-navigation/home/" TargetMode="External"/><Relationship Id="rId9" Type="http://schemas.openxmlformats.org/officeDocument/2006/relationships/image" Target="../media/image67.png"/></Relationships>
</file>

<file path=ppt/slides/_rels/slide52.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notesSlide" Target="../notesSlides/notesSlide15.xml"/><Relationship Id="rId1" Type="http://schemas.openxmlformats.org/officeDocument/2006/relationships/slideLayout" Target="../slideLayouts/slideLayout28.xml"/></Relationships>
</file>

<file path=ppt/slides/_rels/slide53.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16.xml"/><Relationship Id="rId1" Type="http://schemas.openxmlformats.org/officeDocument/2006/relationships/slideLayout" Target="../slideLayouts/slideLayout28.xml"/><Relationship Id="rId4" Type="http://schemas.openxmlformats.org/officeDocument/2006/relationships/image" Target="../media/image71.png"/></Relationships>
</file>

<file path=ppt/slides/_rels/slide54.xml.rels><?xml version="1.0" encoding="UTF-8" standalone="yes"?>
<Relationships xmlns="http://schemas.openxmlformats.org/package/2006/relationships"><Relationship Id="rId8" Type="http://schemas.openxmlformats.org/officeDocument/2006/relationships/image" Target="../media/image75.png"/><Relationship Id="rId3" Type="http://schemas.openxmlformats.org/officeDocument/2006/relationships/image" Target="../media/image72.jpeg"/><Relationship Id="rId7" Type="http://schemas.microsoft.com/office/2007/relationships/hdphoto" Target="../media/hdphoto2.wdp"/><Relationship Id="rId2" Type="http://schemas.openxmlformats.org/officeDocument/2006/relationships/notesSlide" Target="../notesSlides/notesSlide17.xml"/><Relationship Id="rId1" Type="http://schemas.openxmlformats.org/officeDocument/2006/relationships/slideLayout" Target="../slideLayouts/slideLayout49.xml"/><Relationship Id="rId6" Type="http://schemas.openxmlformats.org/officeDocument/2006/relationships/image" Target="../media/image74.png"/><Relationship Id="rId11" Type="http://schemas.openxmlformats.org/officeDocument/2006/relationships/image" Target="../media/image77.jpeg"/><Relationship Id="rId5" Type="http://schemas.microsoft.com/office/2007/relationships/hdphoto" Target="../media/hdphoto1.wdp"/><Relationship Id="rId10" Type="http://schemas.openxmlformats.org/officeDocument/2006/relationships/image" Target="../media/image76.png"/><Relationship Id="rId4" Type="http://schemas.openxmlformats.org/officeDocument/2006/relationships/image" Target="../media/image73.png"/><Relationship Id="rId9" Type="http://schemas.microsoft.com/office/2007/relationships/hdphoto" Target="../media/hdphoto3.wdp"/></Relationships>
</file>

<file path=ppt/slides/_rels/slide55.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image" Target="../media/image78.jpeg"/><Relationship Id="rId1" Type="http://schemas.openxmlformats.org/officeDocument/2006/relationships/slideLayout" Target="../slideLayouts/slideLayout50.xml"/></Relationships>
</file>

<file path=ppt/slides/_rels/slide56.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jpeg"/><Relationship Id="rId1" Type="http://schemas.openxmlformats.org/officeDocument/2006/relationships/slideLayout" Target="../slideLayouts/slideLayout50.xml"/></Relationships>
</file>

<file path=ppt/slides/_rels/slide57.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jpeg"/><Relationship Id="rId1" Type="http://schemas.openxmlformats.org/officeDocument/2006/relationships/slideLayout" Target="../slideLayouts/slideLayout50.xml"/></Relationships>
</file>

<file path=ppt/slides/_rels/slide58.xml.rels><?xml version="1.0" encoding="UTF-8" standalone="yes"?>
<Relationships xmlns="http://schemas.openxmlformats.org/package/2006/relationships"><Relationship Id="rId3" Type="http://schemas.openxmlformats.org/officeDocument/2006/relationships/image" Target="../media/image84.emf"/><Relationship Id="rId2" Type="http://schemas.openxmlformats.org/officeDocument/2006/relationships/notesSlide" Target="../notesSlides/notesSlide18.xml"/><Relationship Id="rId1" Type="http://schemas.openxmlformats.org/officeDocument/2006/relationships/slideLayout" Target="../slideLayouts/slideLayout50.xml"/><Relationship Id="rId4" Type="http://schemas.openxmlformats.org/officeDocument/2006/relationships/image" Target="../media/image85.jpeg"/></Relationships>
</file>

<file path=ppt/slides/_rels/slide59.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19.xml"/><Relationship Id="rId1" Type="http://schemas.openxmlformats.org/officeDocument/2006/relationships/slideLayout" Target="../slideLayouts/slideLayout50.xml"/><Relationship Id="rId4" Type="http://schemas.openxmlformats.org/officeDocument/2006/relationships/image" Target="../media/image87.jpeg"/></Relationships>
</file>

<file path=ppt/slides/_rels/slide6.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3" Type="http://schemas.openxmlformats.org/officeDocument/2006/relationships/slideLayout" Target="../slideLayouts/slideLayout28.xml"/><Relationship Id="rId7" Type="http://schemas.openxmlformats.org/officeDocument/2006/relationships/image" Target="../media/image90.jpeg"/><Relationship Id="rId2" Type="http://schemas.openxmlformats.org/officeDocument/2006/relationships/tags" Target="../tags/tag152.xml"/><Relationship Id="rId1" Type="http://schemas.openxmlformats.org/officeDocument/2006/relationships/tags" Target="../tags/tag151.xml"/><Relationship Id="rId6" Type="http://schemas.openxmlformats.org/officeDocument/2006/relationships/image" Target="../media/image89.jpeg"/><Relationship Id="rId5" Type="http://schemas.openxmlformats.org/officeDocument/2006/relationships/image" Target="../media/image88.png"/><Relationship Id="rId4" Type="http://schemas.openxmlformats.org/officeDocument/2006/relationships/notesSlide" Target="../notesSlides/notesSlide20.xml"/></Relationships>
</file>

<file path=ppt/slides/_rels/slide61.xml.rels><?xml version="1.0" encoding="UTF-8" standalone="yes"?>
<Relationships xmlns="http://schemas.openxmlformats.org/package/2006/relationships"><Relationship Id="rId8" Type="http://schemas.openxmlformats.org/officeDocument/2006/relationships/image" Target="../media/image93.jpeg"/><Relationship Id="rId3" Type="http://schemas.openxmlformats.org/officeDocument/2006/relationships/tags" Target="../tags/tag155.xml"/><Relationship Id="rId7" Type="http://schemas.openxmlformats.org/officeDocument/2006/relationships/image" Target="../media/image92.jpeg"/><Relationship Id="rId2" Type="http://schemas.openxmlformats.org/officeDocument/2006/relationships/tags" Target="../tags/tag154.xml"/><Relationship Id="rId1" Type="http://schemas.openxmlformats.org/officeDocument/2006/relationships/tags" Target="../tags/tag153.xml"/><Relationship Id="rId6" Type="http://schemas.openxmlformats.org/officeDocument/2006/relationships/image" Target="../media/image91.jpeg"/><Relationship Id="rId5" Type="http://schemas.openxmlformats.org/officeDocument/2006/relationships/notesSlide" Target="../notesSlides/notesSlide21.xml"/><Relationship Id="rId4" Type="http://schemas.openxmlformats.org/officeDocument/2006/relationships/slideLayout" Target="../slideLayouts/slideLayout52.xml"/></Relationships>
</file>

<file path=ppt/slides/_rels/slide62.xml.rels><?xml version="1.0" encoding="UTF-8" standalone="yes"?>
<Relationships xmlns="http://schemas.openxmlformats.org/package/2006/relationships"><Relationship Id="rId8" Type="http://schemas.openxmlformats.org/officeDocument/2006/relationships/image" Target="../media/image94.jpg"/><Relationship Id="rId3" Type="http://schemas.openxmlformats.org/officeDocument/2006/relationships/tags" Target="../tags/tag158.xml"/><Relationship Id="rId7" Type="http://schemas.openxmlformats.org/officeDocument/2006/relationships/notesSlide" Target="../notesSlides/notesSlide22.xml"/><Relationship Id="rId2" Type="http://schemas.openxmlformats.org/officeDocument/2006/relationships/tags" Target="../tags/tag157.xml"/><Relationship Id="rId1" Type="http://schemas.openxmlformats.org/officeDocument/2006/relationships/tags" Target="../tags/tag156.xml"/><Relationship Id="rId6" Type="http://schemas.openxmlformats.org/officeDocument/2006/relationships/slideLayout" Target="../slideLayouts/slideLayout52.xml"/><Relationship Id="rId5" Type="http://schemas.openxmlformats.org/officeDocument/2006/relationships/tags" Target="../tags/tag160.xml"/><Relationship Id="rId10" Type="http://schemas.openxmlformats.org/officeDocument/2006/relationships/image" Target="../media/image96.jpg"/><Relationship Id="rId4" Type="http://schemas.openxmlformats.org/officeDocument/2006/relationships/tags" Target="../tags/tag159.xml"/><Relationship Id="rId9" Type="http://schemas.openxmlformats.org/officeDocument/2006/relationships/image" Target="../media/image95.jpg"/></Relationships>
</file>

<file path=ppt/slides/_rels/slide63.xml.rels><?xml version="1.0" encoding="UTF-8" standalone="yes"?>
<Relationships xmlns="http://schemas.openxmlformats.org/package/2006/relationships"><Relationship Id="rId8" Type="http://schemas.openxmlformats.org/officeDocument/2006/relationships/image" Target="../media/image98.png"/><Relationship Id="rId13" Type="http://schemas.openxmlformats.org/officeDocument/2006/relationships/image" Target="../media/image101.jpeg"/><Relationship Id="rId3" Type="http://schemas.openxmlformats.org/officeDocument/2006/relationships/tags" Target="../tags/tag163.xml"/><Relationship Id="rId7" Type="http://schemas.openxmlformats.org/officeDocument/2006/relationships/image" Target="../media/image97.jpeg"/><Relationship Id="rId12" Type="http://schemas.openxmlformats.org/officeDocument/2006/relationships/image" Target="../media/image100.jpeg"/><Relationship Id="rId2" Type="http://schemas.openxmlformats.org/officeDocument/2006/relationships/tags" Target="../tags/tag162.xml"/><Relationship Id="rId1" Type="http://schemas.openxmlformats.org/officeDocument/2006/relationships/tags" Target="../tags/tag161.xml"/><Relationship Id="rId6" Type="http://schemas.openxmlformats.org/officeDocument/2006/relationships/notesSlide" Target="../notesSlides/notesSlide23.xml"/><Relationship Id="rId11" Type="http://schemas.microsoft.com/office/2007/relationships/hdphoto" Target="../media/hdphoto5.wdp"/><Relationship Id="rId5" Type="http://schemas.openxmlformats.org/officeDocument/2006/relationships/slideLayout" Target="../slideLayouts/slideLayout52.xml"/><Relationship Id="rId10" Type="http://schemas.openxmlformats.org/officeDocument/2006/relationships/image" Target="../media/image99.png"/><Relationship Id="rId4" Type="http://schemas.openxmlformats.org/officeDocument/2006/relationships/tags" Target="../tags/tag164.xml"/><Relationship Id="rId9" Type="http://schemas.microsoft.com/office/2007/relationships/hdphoto" Target="../media/hdphoto4.wdp"/></Relationships>
</file>

<file path=ppt/slides/_rels/slide64.xml.rels><?xml version="1.0" encoding="UTF-8" standalone="yes"?>
<Relationships xmlns="http://schemas.openxmlformats.org/package/2006/relationships"><Relationship Id="rId3" Type="http://schemas.openxmlformats.org/officeDocument/2006/relationships/image" Target="../media/image102.jpeg"/><Relationship Id="rId2" Type="http://schemas.openxmlformats.org/officeDocument/2006/relationships/notesSlide" Target="../notesSlides/notesSlide24.xml"/><Relationship Id="rId1" Type="http://schemas.openxmlformats.org/officeDocument/2006/relationships/slideLayout" Target="../slideLayouts/slideLayout28.xml"/></Relationships>
</file>

<file path=ppt/slides/_rels/slide65.xml.rels><?xml version="1.0" encoding="UTF-8" standalone="yes"?>
<Relationships xmlns="http://schemas.openxmlformats.org/package/2006/relationships"><Relationship Id="rId3" Type="http://schemas.openxmlformats.org/officeDocument/2006/relationships/hyperlink" Target="file:///C:\Users\Huangyuih\Downloads\tuev-rheinland-2024-05-supply-chain-brochure-en.pdf" TargetMode="External"/><Relationship Id="rId2" Type="http://schemas.openxmlformats.org/officeDocument/2006/relationships/notesSlide" Target="../notesSlides/notesSlide25.xml"/><Relationship Id="rId1" Type="http://schemas.openxmlformats.org/officeDocument/2006/relationships/slideLayout" Target="../slideLayouts/slideLayout28.xml"/><Relationship Id="rId5" Type="http://schemas.openxmlformats.org/officeDocument/2006/relationships/image" Target="../media/image104.png"/><Relationship Id="rId4" Type="http://schemas.openxmlformats.org/officeDocument/2006/relationships/image" Target="../media/image103.png"/></Relationships>
</file>

<file path=ppt/slides/_rels/slide66.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26.xml"/><Relationship Id="rId1" Type="http://schemas.openxmlformats.org/officeDocument/2006/relationships/slideLayout" Target="../slideLayouts/slideLayout50.xml"/><Relationship Id="rId5" Type="http://schemas.openxmlformats.org/officeDocument/2006/relationships/image" Target="../media/image107.jpeg"/><Relationship Id="rId4" Type="http://schemas.openxmlformats.org/officeDocument/2006/relationships/image" Target="../media/image106.jpeg"/></Relationships>
</file>

<file path=ppt/slides/_rels/slide67.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27.xml"/><Relationship Id="rId1" Type="http://schemas.openxmlformats.org/officeDocument/2006/relationships/slideLayout" Target="../slideLayouts/slideLayout28.xml"/><Relationship Id="rId5" Type="http://schemas.openxmlformats.org/officeDocument/2006/relationships/image" Target="../media/image109.png"/><Relationship Id="rId4" Type="http://schemas.openxmlformats.org/officeDocument/2006/relationships/hyperlink" Target="https://www.tuv.com/world/en/sustainability-and-esg-assurance-service.html" TargetMode="External"/></Relationships>
</file>

<file path=ppt/slides/_rels/slide68.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28.xml"/><Relationship Id="rId1" Type="http://schemas.openxmlformats.org/officeDocument/2006/relationships/slideLayout" Target="../slideLayouts/slideLayout49.xml"/><Relationship Id="rId4" Type="http://schemas.microsoft.com/office/2007/relationships/hdphoto" Target="../media/hdphoto6.wdp"/></Relationships>
</file>

<file path=ppt/slides/_rels/slide69.xml.rels><?xml version="1.0" encoding="UTF-8" standalone="yes"?>
<Relationships xmlns="http://schemas.openxmlformats.org/package/2006/relationships"><Relationship Id="rId3" Type="http://schemas.openxmlformats.org/officeDocument/2006/relationships/hyperlink" Target="https://www.linkedin.com/in/may-wang-1ab21418/" TargetMode="External"/><Relationship Id="rId2" Type="http://schemas.openxmlformats.org/officeDocument/2006/relationships/notesSlide" Target="../notesSlides/notesSlide29.xml"/><Relationship Id="rId1" Type="http://schemas.openxmlformats.org/officeDocument/2006/relationships/slideLayout" Target="../slideLayouts/slideLayout52.xml"/><Relationship Id="rId4" Type="http://schemas.openxmlformats.org/officeDocument/2006/relationships/image" Target="../media/image111.png"/></Relationships>
</file>

<file path=ppt/slides/_rels/slide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image" Target="../media/image23.png"/><Relationship Id="rId3" Type="http://schemas.openxmlformats.org/officeDocument/2006/relationships/tags" Target="../tags/tag167.xml"/><Relationship Id="rId7" Type="http://schemas.openxmlformats.org/officeDocument/2006/relationships/tags" Target="../tags/tag171.xml"/><Relationship Id="rId12" Type="http://schemas.openxmlformats.org/officeDocument/2006/relationships/image" Target="../media/image22.svg"/><Relationship Id="rId2" Type="http://schemas.openxmlformats.org/officeDocument/2006/relationships/tags" Target="../tags/tag166.xml"/><Relationship Id="rId1" Type="http://schemas.openxmlformats.org/officeDocument/2006/relationships/tags" Target="../tags/tag165.xml"/><Relationship Id="rId6" Type="http://schemas.openxmlformats.org/officeDocument/2006/relationships/tags" Target="../tags/tag170.xml"/><Relationship Id="rId11" Type="http://schemas.openxmlformats.org/officeDocument/2006/relationships/image" Target="../media/image21.png"/><Relationship Id="rId5" Type="http://schemas.openxmlformats.org/officeDocument/2006/relationships/tags" Target="../tags/tag169.xml"/><Relationship Id="rId10" Type="http://schemas.openxmlformats.org/officeDocument/2006/relationships/image" Target="../media/image20.svg"/><Relationship Id="rId4" Type="http://schemas.openxmlformats.org/officeDocument/2006/relationships/tags" Target="../tags/tag168.xml"/><Relationship Id="rId9" Type="http://schemas.openxmlformats.org/officeDocument/2006/relationships/image" Target="../media/image19.png"/><Relationship Id="rId14" Type="http://schemas.openxmlformats.org/officeDocument/2006/relationships/image" Target="../media/image24.svg"/></Relationships>
</file>

<file path=ppt/slides/_rels/slide71.xml.rels><?xml version="1.0" encoding="UTF-8" standalone="yes"?>
<Relationships xmlns="http://schemas.openxmlformats.org/package/2006/relationships"><Relationship Id="rId2" Type="http://schemas.openxmlformats.org/officeDocument/2006/relationships/image" Target="../media/image112.jpg"/><Relationship Id="rId1" Type="http://schemas.openxmlformats.org/officeDocument/2006/relationships/slideLayout" Target="../slideLayouts/slideLayout7.xml"/></Relationships>
</file>

<file path=ppt/slides/_rels/slide72.xml.rels><?xml version="1.0" encoding="UTF-8" standalone="yes"?>
<Relationships xmlns="http://schemas.openxmlformats.org/package/2006/relationships"><Relationship Id="rId8" Type="http://schemas.openxmlformats.org/officeDocument/2006/relationships/slideLayout" Target="../slideLayouts/slideLayout7.xml"/><Relationship Id="rId13" Type="http://schemas.openxmlformats.org/officeDocument/2006/relationships/image" Target="../media/image113.png"/><Relationship Id="rId3" Type="http://schemas.openxmlformats.org/officeDocument/2006/relationships/tags" Target="../tags/tag174.xml"/><Relationship Id="rId7" Type="http://schemas.openxmlformats.org/officeDocument/2006/relationships/tags" Target="../tags/tag178.xml"/><Relationship Id="rId12" Type="http://schemas.openxmlformats.org/officeDocument/2006/relationships/image" Target="../media/image22.svg"/><Relationship Id="rId2" Type="http://schemas.openxmlformats.org/officeDocument/2006/relationships/tags" Target="../tags/tag173.xml"/><Relationship Id="rId1" Type="http://schemas.openxmlformats.org/officeDocument/2006/relationships/tags" Target="../tags/tag172.xml"/><Relationship Id="rId6" Type="http://schemas.openxmlformats.org/officeDocument/2006/relationships/tags" Target="../tags/tag177.xml"/><Relationship Id="rId11" Type="http://schemas.openxmlformats.org/officeDocument/2006/relationships/image" Target="../media/image21.png"/><Relationship Id="rId5" Type="http://schemas.openxmlformats.org/officeDocument/2006/relationships/tags" Target="../tags/tag176.xml"/><Relationship Id="rId10" Type="http://schemas.openxmlformats.org/officeDocument/2006/relationships/image" Target="../media/image20.svg"/><Relationship Id="rId4" Type="http://schemas.openxmlformats.org/officeDocument/2006/relationships/tags" Target="../tags/tag175.xml"/><Relationship Id="rId9" Type="http://schemas.openxmlformats.org/officeDocument/2006/relationships/image" Target="../media/image19.png"/><Relationship Id="rId14" Type="http://schemas.openxmlformats.org/officeDocument/2006/relationships/image" Target="../media/image114.svg"/></Relationships>
</file>

<file path=ppt/slides/_rels/slide73.xml.rels><?xml version="1.0" encoding="UTF-8" standalone="yes"?>
<Relationships xmlns="http://schemas.openxmlformats.org/package/2006/relationships"><Relationship Id="rId8" Type="http://schemas.openxmlformats.org/officeDocument/2006/relationships/slideLayout" Target="../slideLayouts/slideLayout7.xml"/><Relationship Id="rId13" Type="http://schemas.openxmlformats.org/officeDocument/2006/relationships/image" Target="../media/image113.png"/><Relationship Id="rId3" Type="http://schemas.openxmlformats.org/officeDocument/2006/relationships/tags" Target="../tags/tag181.xml"/><Relationship Id="rId7" Type="http://schemas.openxmlformats.org/officeDocument/2006/relationships/tags" Target="../tags/tag185.xml"/><Relationship Id="rId12" Type="http://schemas.openxmlformats.org/officeDocument/2006/relationships/image" Target="../media/image22.svg"/><Relationship Id="rId2" Type="http://schemas.openxmlformats.org/officeDocument/2006/relationships/tags" Target="../tags/tag180.xml"/><Relationship Id="rId1" Type="http://schemas.openxmlformats.org/officeDocument/2006/relationships/tags" Target="../tags/tag179.xml"/><Relationship Id="rId6" Type="http://schemas.openxmlformats.org/officeDocument/2006/relationships/tags" Target="../tags/tag184.xml"/><Relationship Id="rId11" Type="http://schemas.openxmlformats.org/officeDocument/2006/relationships/image" Target="../media/image21.png"/><Relationship Id="rId5" Type="http://schemas.openxmlformats.org/officeDocument/2006/relationships/tags" Target="../tags/tag183.xml"/><Relationship Id="rId10" Type="http://schemas.openxmlformats.org/officeDocument/2006/relationships/image" Target="../media/image20.svg"/><Relationship Id="rId4" Type="http://schemas.openxmlformats.org/officeDocument/2006/relationships/tags" Target="../tags/tag182.xml"/><Relationship Id="rId9" Type="http://schemas.openxmlformats.org/officeDocument/2006/relationships/image" Target="../media/image19.png"/><Relationship Id="rId14" Type="http://schemas.openxmlformats.org/officeDocument/2006/relationships/image" Target="../media/image114.svg"/></Relationships>
</file>

<file path=ppt/slides/_rels/slide74.xml.rels><?xml version="1.0" encoding="UTF-8" standalone="yes"?>
<Relationships xmlns="http://schemas.openxmlformats.org/package/2006/relationships"><Relationship Id="rId8" Type="http://schemas.openxmlformats.org/officeDocument/2006/relationships/slideLayout" Target="../slideLayouts/slideLayout7.xml"/><Relationship Id="rId13" Type="http://schemas.openxmlformats.org/officeDocument/2006/relationships/image" Target="../media/image23.png"/><Relationship Id="rId3" Type="http://schemas.openxmlformats.org/officeDocument/2006/relationships/tags" Target="../tags/tag188.xml"/><Relationship Id="rId7" Type="http://schemas.openxmlformats.org/officeDocument/2006/relationships/tags" Target="../tags/tag192.xml"/><Relationship Id="rId12" Type="http://schemas.openxmlformats.org/officeDocument/2006/relationships/image" Target="../media/image22.svg"/><Relationship Id="rId2" Type="http://schemas.openxmlformats.org/officeDocument/2006/relationships/tags" Target="../tags/tag187.xml"/><Relationship Id="rId1" Type="http://schemas.openxmlformats.org/officeDocument/2006/relationships/tags" Target="../tags/tag186.xml"/><Relationship Id="rId6" Type="http://schemas.openxmlformats.org/officeDocument/2006/relationships/tags" Target="../tags/tag191.xml"/><Relationship Id="rId11" Type="http://schemas.openxmlformats.org/officeDocument/2006/relationships/image" Target="../media/image21.png"/><Relationship Id="rId5" Type="http://schemas.openxmlformats.org/officeDocument/2006/relationships/tags" Target="../tags/tag190.xml"/><Relationship Id="rId10" Type="http://schemas.openxmlformats.org/officeDocument/2006/relationships/image" Target="../media/image20.svg"/><Relationship Id="rId4" Type="http://schemas.openxmlformats.org/officeDocument/2006/relationships/tags" Target="../tags/tag189.xml"/><Relationship Id="rId9" Type="http://schemas.openxmlformats.org/officeDocument/2006/relationships/image" Target="../media/image19.png"/><Relationship Id="rId14" Type="http://schemas.openxmlformats.org/officeDocument/2006/relationships/image" Target="../media/image24.svg"/></Relationships>
</file>

<file path=ppt/slides/_rels/slide75.xml.rels><?xml version="1.0" encoding="UTF-8" standalone="yes"?>
<Relationships xmlns="http://schemas.openxmlformats.org/package/2006/relationships"><Relationship Id="rId2" Type="http://schemas.openxmlformats.org/officeDocument/2006/relationships/image" Target="../media/image115.jpg"/><Relationship Id="rId1" Type="http://schemas.openxmlformats.org/officeDocument/2006/relationships/slideLayout" Target="../slideLayouts/slideLayout7.xml"/></Relationships>
</file>

<file path=ppt/slides/_rels/slide76.xml.rels><?xml version="1.0" encoding="UTF-8" standalone="yes"?>
<Relationships xmlns="http://schemas.openxmlformats.org/package/2006/relationships"><Relationship Id="rId2" Type="http://schemas.openxmlformats.org/officeDocument/2006/relationships/image" Target="../media/image116.jpg"/><Relationship Id="rId1" Type="http://schemas.openxmlformats.org/officeDocument/2006/relationships/slideLayout" Target="../slideLayouts/slideLayout7.xml"/></Relationships>
</file>

<file path=ppt/slides/_rels/slide77.xml.rels><?xml version="1.0" encoding="UTF-8" standalone="yes"?>
<Relationships xmlns="http://schemas.openxmlformats.org/package/2006/relationships"><Relationship Id="rId8" Type="http://schemas.openxmlformats.org/officeDocument/2006/relationships/slideLayout" Target="../slideLayouts/slideLayout7.xml"/><Relationship Id="rId13" Type="http://schemas.openxmlformats.org/officeDocument/2006/relationships/image" Target="../media/image23.png"/><Relationship Id="rId3" Type="http://schemas.openxmlformats.org/officeDocument/2006/relationships/tags" Target="../tags/tag195.xml"/><Relationship Id="rId7" Type="http://schemas.openxmlformats.org/officeDocument/2006/relationships/tags" Target="../tags/tag199.xml"/><Relationship Id="rId12" Type="http://schemas.openxmlformats.org/officeDocument/2006/relationships/image" Target="../media/image22.svg"/><Relationship Id="rId2" Type="http://schemas.openxmlformats.org/officeDocument/2006/relationships/tags" Target="../tags/tag194.xml"/><Relationship Id="rId1" Type="http://schemas.openxmlformats.org/officeDocument/2006/relationships/tags" Target="../tags/tag193.xml"/><Relationship Id="rId6" Type="http://schemas.openxmlformats.org/officeDocument/2006/relationships/tags" Target="../tags/tag198.xml"/><Relationship Id="rId11" Type="http://schemas.openxmlformats.org/officeDocument/2006/relationships/image" Target="../media/image21.png"/><Relationship Id="rId5" Type="http://schemas.openxmlformats.org/officeDocument/2006/relationships/tags" Target="../tags/tag197.xml"/><Relationship Id="rId10" Type="http://schemas.openxmlformats.org/officeDocument/2006/relationships/image" Target="../media/image20.svg"/><Relationship Id="rId4" Type="http://schemas.openxmlformats.org/officeDocument/2006/relationships/tags" Target="../tags/tag196.xml"/><Relationship Id="rId9" Type="http://schemas.openxmlformats.org/officeDocument/2006/relationships/image" Target="../media/image19.png"/><Relationship Id="rId14" Type="http://schemas.openxmlformats.org/officeDocument/2006/relationships/image" Target="../media/image24.svg"/></Relationships>
</file>

<file path=ppt/slides/_rels/slide78.xml.rels><?xml version="1.0" encoding="UTF-8" standalone="yes"?>
<Relationships xmlns="http://schemas.openxmlformats.org/package/2006/relationships"><Relationship Id="rId2" Type="http://schemas.openxmlformats.org/officeDocument/2006/relationships/image" Target="../media/image117.jpg"/><Relationship Id="rId1" Type="http://schemas.openxmlformats.org/officeDocument/2006/relationships/slideLayout" Target="../slideLayouts/slideLayout7.xml"/></Relationships>
</file>

<file path=ppt/slides/_rels/slide79.xml.rels><?xml version="1.0" encoding="UTF-8" standalone="yes"?>
<Relationships xmlns="http://schemas.openxmlformats.org/package/2006/relationships"><Relationship Id="rId2" Type="http://schemas.openxmlformats.org/officeDocument/2006/relationships/image" Target="../media/image118.jp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7.xml"/></Relationships>
</file>

<file path=ppt/slides/_rels/slide80.xml.rels><?xml version="1.0" encoding="UTF-8" standalone="yes"?>
<Relationships xmlns="http://schemas.openxmlformats.org/package/2006/relationships"><Relationship Id="rId2" Type="http://schemas.openxmlformats.org/officeDocument/2006/relationships/image" Target="../media/image119.jpg"/><Relationship Id="rId1" Type="http://schemas.openxmlformats.org/officeDocument/2006/relationships/slideLayout" Target="../slideLayouts/slideLayout7.xml"/></Relationships>
</file>

<file path=ppt/slides/_rels/slide81.xml.rels><?xml version="1.0" encoding="UTF-8" standalone="yes"?>
<Relationships xmlns="http://schemas.openxmlformats.org/package/2006/relationships"><Relationship Id="rId2" Type="http://schemas.openxmlformats.org/officeDocument/2006/relationships/image" Target="../media/image120.jpg"/><Relationship Id="rId1" Type="http://schemas.openxmlformats.org/officeDocument/2006/relationships/slideLayout" Target="../slideLayouts/slideLayout7.xml"/></Relationships>
</file>

<file path=ppt/slides/_rels/slide82.xml.rels><?xml version="1.0" encoding="UTF-8" standalone="yes"?>
<Relationships xmlns="http://schemas.openxmlformats.org/package/2006/relationships"><Relationship Id="rId2" Type="http://schemas.openxmlformats.org/officeDocument/2006/relationships/image" Target="../media/image121.jpg"/><Relationship Id="rId1" Type="http://schemas.openxmlformats.org/officeDocument/2006/relationships/slideLayout" Target="../slideLayouts/slideLayout7.xml"/></Relationships>
</file>

<file path=ppt/slides/_rels/slide83.xml.rels><?xml version="1.0" encoding="UTF-8" standalone="yes"?>
<Relationships xmlns="http://schemas.openxmlformats.org/package/2006/relationships"><Relationship Id="rId2" Type="http://schemas.openxmlformats.org/officeDocument/2006/relationships/image" Target="../media/image122.jp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close-up of a document&#10;&#10;Description automatically generated">
            <a:extLst>
              <a:ext uri="{FF2B5EF4-FFF2-40B4-BE49-F238E27FC236}">
                <a16:creationId xmlns:a16="http://schemas.microsoft.com/office/drawing/2014/main" id="{E867AD76-9BCA-EBA2-820F-1BD505BBBCA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6804031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group of logos of companies&#10;&#10;Description automatically generated">
            <a:extLst>
              <a:ext uri="{FF2B5EF4-FFF2-40B4-BE49-F238E27FC236}">
                <a16:creationId xmlns:a16="http://schemas.microsoft.com/office/drawing/2014/main" id="{2EF74F33-1BC4-CF43-6B75-D75589DC838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3619680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close-up of a person's name&#10;&#10;Description automatically generated">
            <a:extLst>
              <a:ext uri="{FF2B5EF4-FFF2-40B4-BE49-F238E27FC236}">
                <a16:creationId xmlns:a16="http://schemas.microsoft.com/office/drawing/2014/main" id="{8C8C2884-5178-7A60-DDD8-3C95E7AE5ED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710468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group of people in suits&#10;&#10;Description automatically generated">
            <a:extLst>
              <a:ext uri="{FF2B5EF4-FFF2-40B4-BE49-F238E27FC236}">
                <a16:creationId xmlns:a16="http://schemas.microsoft.com/office/drawing/2014/main" id="{26B40C02-E8CD-9670-3697-DF09856781B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06519810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group of people in suits&#10;&#10;Description automatically generated">
            <a:extLst>
              <a:ext uri="{FF2B5EF4-FFF2-40B4-BE49-F238E27FC236}">
                <a16:creationId xmlns:a16="http://schemas.microsoft.com/office/drawing/2014/main" id="{26B40C02-E8CD-9670-3697-DF09856781B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84537449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MasterSp="0">
  <p:cSld>
    <p:bg>
      <p:bgPr>
        <a:solidFill>
          <a:srgbClr val="FFFFFF"/>
        </a:solidFill>
        <a:effectLst/>
      </p:bgPr>
    </p:bg>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47B888C7-45D3-7BDC-69B5-8B690D5FEC37}"/>
              </a:ext>
            </a:extLst>
          </p:cNvPr>
          <p:cNvSpPr/>
          <p:nvPr>
            <p:custDataLst>
              <p:tags r:id="rId2"/>
            </p:custDataLst>
          </p:nvPr>
        </p:nvSpPr>
        <p:spPr>
          <a:xfrm>
            <a:off x="6286500" y="430530"/>
            <a:ext cx="5524500" cy="891540"/>
          </a:xfrm>
          <a:prstGeom prst="roundRect">
            <a:avLst/>
          </a:prstGeom>
          <a:solidFill>
            <a:srgbClr val="F4F4F4"/>
          </a:solidFill>
          <a:ln w="19050" cap="flat" cmpd="sng" algn="ctr">
            <a:noFill/>
            <a:prstDash val="solid"/>
            <a:miter lim="800000"/>
          </a:ln>
          <a:effectLst/>
          <a:extLs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lIns="317500" rIns="1143000" rtlCol="0" anchor="ctr">
            <a:normAutofit/>
          </a:bodyPr>
          <a:lstStyle/>
          <a:p>
            <a:r>
              <a:rPr lang="en-US" sz="2000">
                <a:solidFill>
                  <a:srgbClr val="5B5B5B"/>
                </a:solidFill>
              </a:rPr>
              <a:t>Please download and install the Slido app on all computers you use</a:t>
            </a:r>
            <a:endParaRPr lang="en-GB" sz="2000">
              <a:solidFill>
                <a:srgbClr val="5B5B5B"/>
              </a:solidFill>
            </a:endParaRPr>
          </a:p>
        </p:txBody>
      </p:sp>
      <p:pic>
        <p:nvPicPr>
          <p:cNvPr id="4" name="Graphic 3">
            <a:extLst>
              <a:ext uri="{FF2B5EF4-FFF2-40B4-BE49-F238E27FC236}">
                <a16:creationId xmlns:a16="http://schemas.microsoft.com/office/drawing/2014/main" id="{6D119A6B-905D-EC64-CE12-90DDC5362829}"/>
              </a:ext>
            </a:extLst>
          </p:cNvPr>
          <p:cNvPicPr>
            <a:picLocks/>
          </p:cNvPicPr>
          <p:nvPr>
            <p:custDataLst>
              <p:tags r:id="rId3"/>
            </p:custDataLst>
          </p:nvPr>
        </p:nvPicPr>
        <p:blipFill>
          <a:blip r:embed="rId9">
            <a:extLst>
              <a:ext uri="{96DAC541-7B7A-43D3-8B79-37D633B846F1}">
                <asvg:svgBlip xmlns:asvg="http://schemas.microsoft.com/office/drawing/2016/SVG/main" r:embed="rId10"/>
              </a:ext>
            </a:extLst>
          </a:blip>
          <a:stretch>
            <a:fillRect/>
          </a:stretch>
        </p:blipFill>
        <p:spPr>
          <a:xfrm>
            <a:off x="10826048" y="577634"/>
            <a:ext cx="597332" cy="597332"/>
          </a:xfrm>
          <a:prstGeom prst="rect">
            <a:avLst/>
          </a:prstGeom>
        </p:spPr>
      </p:pic>
      <p:pic>
        <p:nvPicPr>
          <p:cNvPr id="6" name="Graphic 5">
            <a:extLst>
              <a:ext uri="{FF2B5EF4-FFF2-40B4-BE49-F238E27FC236}">
                <a16:creationId xmlns:a16="http://schemas.microsoft.com/office/drawing/2014/main" id="{F296137A-99FC-3021-4A18-43740A082E16}"/>
              </a:ext>
            </a:extLst>
          </p:cNvPr>
          <p:cNvPicPr>
            <a:picLocks/>
          </p:cNvPicPr>
          <p:nvPr>
            <p:custDataLst>
              <p:tags r:id="rId4"/>
            </p:custDataLst>
          </p:nvPr>
        </p:nvPicPr>
        <p:blipFill>
          <a:blip r:embed="rId11">
            <a:extLst>
              <a:ext uri="{96DAC541-7B7A-43D3-8B79-37D633B846F1}">
                <asvg:svgBlip xmlns:asvg="http://schemas.microsoft.com/office/drawing/2016/SVG/main" r:embed="rId12"/>
              </a:ext>
            </a:extLst>
          </a:blip>
          <a:stretch>
            <a:fillRect/>
          </a:stretch>
        </p:blipFill>
        <p:spPr>
          <a:xfrm>
            <a:off x="3901440" y="617220"/>
            <a:ext cx="1036320" cy="518160"/>
          </a:xfrm>
          <a:prstGeom prst="rect">
            <a:avLst/>
          </a:prstGeom>
        </p:spPr>
      </p:pic>
      <p:pic>
        <p:nvPicPr>
          <p:cNvPr id="8" name="Graphic 7">
            <a:extLst>
              <a:ext uri="{FF2B5EF4-FFF2-40B4-BE49-F238E27FC236}">
                <a16:creationId xmlns:a16="http://schemas.microsoft.com/office/drawing/2014/main" id="{1550FF7D-FB52-100E-01EF-55B44225F29B}"/>
              </a:ext>
            </a:extLst>
          </p:cNvPr>
          <p:cNvPicPr>
            <a:picLocks/>
          </p:cNvPicPr>
          <p:nvPr>
            <p:custDataLst>
              <p:tags r:id="rId5"/>
            </p:custDataLst>
          </p:nvPr>
        </p:nvPicPr>
        <p:blipFill>
          <a:blip r:embed="rId13">
            <a:extLst>
              <a:ext uri="{96DAC541-7B7A-43D3-8B79-37D633B846F1}">
                <asvg:svgBlip xmlns:asvg="http://schemas.microsoft.com/office/drawing/2016/SVG/main" r:embed="rId14"/>
              </a:ext>
            </a:extLst>
          </a:blip>
          <a:stretch>
            <a:fillRect/>
          </a:stretch>
        </p:blipFill>
        <p:spPr>
          <a:xfrm>
            <a:off x="1158240" y="2270760"/>
            <a:ext cx="2316480" cy="2316480"/>
          </a:xfrm>
          <a:prstGeom prst="rect">
            <a:avLst/>
          </a:prstGeom>
        </p:spPr>
      </p:pic>
      <p:sp>
        <p:nvSpPr>
          <p:cNvPr id="9" name="Rectangle 8">
            <a:extLst>
              <a:ext uri="{FF2B5EF4-FFF2-40B4-BE49-F238E27FC236}">
                <a16:creationId xmlns:a16="http://schemas.microsoft.com/office/drawing/2014/main" id="{3F108704-443C-123D-9763-407514992810}"/>
              </a:ext>
            </a:extLst>
          </p:cNvPr>
          <p:cNvSpPr/>
          <p:nvPr>
            <p:custDataLst>
              <p:tags r:id="rId6"/>
            </p:custDataLst>
          </p:nvPr>
        </p:nvSpPr>
        <p:spPr>
          <a:xfrm>
            <a:off x="3901440" y="2571750"/>
            <a:ext cx="7315199" cy="1714500"/>
          </a:xfrm>
          <a:prstGeom prst="rect">
            <a:avLst/>
          </a:prstGeom>
          <a:noFill/>
          <a:ln w="19050" cap="flat" cmpd="sng" algn="ctr">
            <a:solidFill>
              <a:srgbClr val="FFFFFF"/>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4000" b="1">
                <a:solidFill>
                  <a:srgbClr val="5B5B5B"/>
                </a:solidFill>
              </a:rPr>
              <a:t>Audience Q&amp;A</a:t>
            </a:r>
          </a:p>
        </p:txBody>
      </p:sp>
      <p:sp>
        <p:nvSpPr>
          <p:cNvPr id="10" name="Rectangle 9">
            <a:extLst>
              <a:ext uri="{FF2B5EF4-FFF2-40B4-BE49-F238E27FC236}">
                <a16:creationId xmlns:a16="http://schemas.microsoft.com/office/drawing/2014/main" id="{C1328970-0EB1-9EDC-430C-81ECEDE9C4B6}"/>
              </a:ext>
            </a:extLst>
          </p:cNvPr>
          <p:cNvSpPr/>
          <p:nvPr>
            <p:custDataLst>
              <p:tags r:id="rId7"/>
            </p:custDataLst>
          </p:nvPr>
        </p:nvSpPr>
        <p:spPr>
          <a:xfrm>
            <a:off x="3901440" y="6032500"/>
            <a:ext cx="7315199" cy="518160"/>
          </a:xfrm>
          <a:prstGeom prst="rect">
            <a:avLst/>
          </a:prstGeom>
          <a:noFill/>
          <a:ln w="1905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normAutofit fontScale="92500"/>
          </a:bodyPr>
          <a:lstStyle/>
          <a:p>
            <a:r>
              <a:rPr lang="en-US" sz="2200" b="1">
                <a:solidFill>
                  <a:srgbClr val="5B5B5B"/>
                </a:solidFill>
              </a:rPr>
              <a:t>ⓘ</a:t>
            </a:r>
            <a:r>
              <a:rPr lang="en-US" sz="2000">
                <a:solidFill>
                  <a:srgbClr val="5B5B5B"/>
                </a:solidFill>
              </a:rPr>
              <a:t> Start presenting to display the audience questions on this slide.</a:t>
            </a:r>
            <a:endParaRPr lang="en-GB" sz="2000">
              <a:solidFill>
                <a:srgbClr val="5B5B5B"/>
              </a:solidFill>
            </a:endParaRPr>
          </a:p>
        </p:txBody>
      </p:sp>
    </p:spTree>
    <p:custDataLst>
      <p:tags r:id="rId1"/>
    </p:custDataLst>
    <p:extLst>
      <p:ext uri="{BB962C8B-B14F-4D97-AF65-F5344CB8AC3E}">
        <p14:creationId xmlns:p14="http://schemas.microsoft.com/office/powerpoint/2010/main" val="307477159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group of people in a blue and white background&#10;&#10;Description automatically generated">
            <a:extLst>
              <a:ext uri="{FF2B5EF4-FFF2-40B4-BE49-F238E27FC236}">
                <a16:creationId xmlns:a16="http://schemas.microsoft.com/office/drawing/2014/main" id="{B3DFA2FF-5F21-5DC5-319C-169D773776B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394155325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MasterSp="0">
  <p:cSld>
    <p:bg>
      <p:bgPr>
        <a:solidFill>
          <a:srgbClr val="FFFFFF"/>
        </a:solidFill>
        <a:effectLst/>
      </p:bgPr>
    </p:bg>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4387FDE0-4C8E-7053-1A19-F09BEDF13AA8}"/>
              </a:ext>
            </a:extLst>
          </p:cNvPr>
          <p:cNvSpPr/>
          <p:nvPr>
            <p:custDataLst>
              <p:tags r:id="rId2"/>
            </p:custDataLst>
          </p:nvPr>
        </p:nvSpPr>
        <p:spPr>
          <a:xfrm>
            <a:off x="6286500" y="430530"/>
            <a:ext cx="5524500" cy="891540"/>
          </a:xfrm>
          <a:prstGeom prst="roundRect">
            <a:avLst/>
          </a:prstGeom>
          <a:solidFill>
            <a:srgbClr val="F4F4F4"/>
          </a:solidFill>
          <a:ln w="19050" cap="flat" cmpd="sng" algn="ctr">
            <a:noFill/>
            <a:prstDash val="solid"/>
            <a:miter lim="800000"/>
          </a:ln>
          <a:effectLst/>
          <a:extLs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lIns="317500" rIns="1143000" rtlCol="0" anchor="ctr">
            <a:normAutofit/>
          </a:bodyPr>
          <a:lstStyle/>
          <a:p>
            <a:r>
              <a:rPr lang="en-US" sz="2000">
                <a:solidFill>
                  <a:srgbClr val="5B5B5B"/>
                </a:solidFill>
              </a:rPr>
              <a:t>Please download and install the Slido app on all computers you use</a:t>
            </a:r>
            <a:endParaRPr lang="en-GB" sz="2000">
              <a:solidFill>
                <a:srgbClr val="5B5B5B"/>
              </a:solidFill>
            </a:endParaRPr>
          </a:p>
        </p:txBody>
      </p:sp>
      <p:pic>
        <p:nvPicPr>
          <p:cNvPr id="4" name="Graphic 3">
            <a:extLst>
              <a:ext uri="{FF2B5EF4-FFF2-40B4-BE49-F238E27FC236}">
                <a16:creationId xmlns:a16="http://schemas.microsoft.com/office/drawing/2014/main" id="{0319A48F-D59E-E1A4-D3FB-8CE85CF4D9C7}"/>
              </a:ext>
            </a:extLst>
          </p:cNvPr>
          <p:cNvPicPr>
            <a:picLocks/>
          </p:cNvPicPr>
          <p:nvPr>
            <p:custDataLst>
              <p:tags r:id="rId3"/>
            </p:custDataLst>
          </p:nvPr>
        </p:nvPicPr>
        <p:blipFill>
          <a:blip r:embed="rId9">
            <a:extLst>
              <a:ext uri="{96DAC541-7B7A-43D3-8B79-37D633B846F1}">
                <asvg:svgBlip xmlns:asvg="http://schemas.microsoft.com/office/drawing/2016/SVG/main" r:embed="rId10"/>
              </a:ext>
            </a:extLst>
          </a:blip>
          <a:stretch>
            <a:fillRect/>
          </a:stretch>
        </p:blipFill>
        <p:spPr>
          <a:xfrm>
            <a:off x="10826048" y="577634"/>
            <a:ext cx="597332" cy="597332"/>
          </a:xfrm>
          <a:prstGeom prst="rect">
            <a:avLst/>
          </a:prstGeom>
        </p:spPr>
      </p:pic>
      <p:pic>
        <p:nvPicPr>
          <p:cNvPr id="6" name="Graphic 5">
            <a:extLst>
              <a:ext uri="{FF2B5EF4-FFF2-40B4-BE49-F238E27FC236}">
                <a16:creationId xmlns:a16="http://schemas.microsoft.com/office/drawing/2014/main" id="{8B6DAC5C-B28B-8E05-B2FA-987485270EC1}"/>
              </a:ext>
            </a:extLst>
          </p:cNvPr>
          <p:cNvPicPr>
            <a:picLocks/>
          </p:cNvPicPr>
          <p:nvPr>
            <p:custDataLst>
              <p:tags r:id="rId4"/>
            </p:custDataLst>
          </p:nvPr>
        </p:nvPicPr>
        <p:blipFill>
          <a:blip r:embed="rId11">
            <a:extLst>
              <a:ext uri="{96DAC541-7B7A-43D3-8B79-37D633B846F1}">
                <asvg:svgBlip xmlns:asvg="http://schemas.microsoft.com/office/drawing/2016/SVG/main" r:embed="rId12"/>
              </a:ext>
            </a:extLst>
          </a:blip>
          <a:stretch>
            <a:fillRect/>
          </a:stretch>
        </p:blipFill>
        <p:spPr>
          <a:xfrm>
            <a:off x="3901440" y="617220"/>
            <a:ext cx="1036320" cy="518160"/>
          </a:xfrm>
          <a:prstGeom prst="rect">
            <a:avLst/>
          </a:prstGeom>
        </p:spPr>
      </p:pic>
      <p:pic>
        <p:nvPicPr>
          <p:cNvPr id="8" name="Graphic 7">
            <a:extLst>
              <a:ext uri="{FF2B5EF4-FFF2-40B4-BE49-F238E27FC236}">
                <a16:creationId xmlns:a16="http://schemas.microsoft.com/office/drawing/2014/main" id="{CC52DCCF-F79D-D1F5-48F5-2807825F7C1D}"/>
              </a:ext>
            </a:extLst>
          </p:cNvPr>
          <p:cNvPicPr>
            <a:picLocks/>
          </p:cNvPicPr>
          <p:nvPr>
            <p:custDataLst>
              <p:tags r:id="rId5"/>
            </p:custDataLst>
          </p:nvPr>
        </p:nvPicPr>
        <p:blipFill>
          <a:blip r:embed="rId13">
            <a:extLst>
              <a:ext uri="{96DAC541-7B7A-43D3-8B79-37D633B846F1}">
                <asvg:svgBlip xmlns:asvg="http://schemas.microsoft.com/office/drawing/2016/SVG/main" r:embed="rId14"/>
              </a:ext>
            </a:extLst>
          </a:blip>
          <a:stretch>
            <a:fillRect/>
          </a:stretch>
        </p:blipFill>
        <p:spPr>
          <a:xfrm>
            <a:off x="1158240" y="2270760"/>
            <a:ext cx="2316480" cy="2316480"/>
          </a:xfrm>
          <a:prstGeom prst="rect">
            <a:avLst/>
          </a:prstGeom>
        </p:spPr>
      </p:pic>
      <p:sp>
        <p:nvSpPr>
          <p:cNvPr id="9" name="Rectangle 8">
            <a:extLst>
              <a:ext uri="{FF2B5EF4-FFF2-40B4-BE49-F238E27FC236}">
                <a16:creationId xmlns:a16="http://schemas.microsoft.com/office/drawing/2014/main" id="{2473DFDE-BA17-B684-8C7B-AE25FD33F6F9}"/>
              </a:ext>
            </a:extLst>
          </p:cNvPr>
          <p:cNvSpPr/>
          <p:nvPr>
            <p:custDataLst>
              <p:tags r:id="rId6"/>
            </p:custDataLst>
          </p:nvPr>
        </p:nvSpPr>
        <p:spPr>
          <a:xfrm>
            <a:off x="3901440" y="2571750"/>
            <a:ext cx="7315199" cy="1714500"/>
          </a:xfrm>
          <a:prstGeom prst="rect">
            <a:avLst/>
          </a:prstGeom>
          <a:noFill/>
          <a:ln w="19050" cap="flat" cmpd="sng" algn="ctr">
            <a:solidFill>
              <a:srgbClr val="FFFFFF"/>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4000" b="1">
                <a:solidFill>
                  <a:srgbClr val="5B5B5B"/>
                </a:solidFill>
              </a:rPr>
              <a:t>Audience Q&amp;A</a:t>
            </a:r>
          </a:p>
        </p:txBody>
      </p:sp>
      <p:sp>
        <p:nvSpPr>
          <p:cNvPr id="10" name="Rectangle 9">
            <a:extLst>
              <a:ext uri="{FF2B5EF4-FFF2-40B4-BE49-F238E27FC236}">
                <a16:creationId xmlns:a16="http://schemas.microsoft.com/office/drawing/2014/main" id="{CECFC3CE-843A-AFFB-9766-E3D145F9F4E3}"/>
              </a:ext>
            </a:extLst>
          </p:cNvPr>
          <p:cNvSpPr/>
          <p:nvPr>
            <p:custDataLst>
              <p:tags r:id="rId7"/>
            </p:custDataLst>
          </p:nvPr>
        </p:nvSpPr>
        <p:spPr>
          <a:xfrm>
            <a:off x="3901440" y="6032500"/>
            <a:ext cx="7315199" cy="518160"/>
          </a:xfrm>
          <a:prstGeom prst="rect">
            <a:avLst/>
          </a:prstGeom>
          <a:noFill/>
          <a:ln w="1905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normAutofit fontScale="92500"/>
          </a:bodyPr>
          <a:lstStyle/>
          <a:p>
            <a:r>
              <a:rPr lang="en-US" sz="2200" b="1">
                <a:solidFill>
                  <a:srgbClr val="5B5B5B"/>
                </a:solidFill>
              </a:rPr>
              <a:t>ⓘ</a:t>
            </a:r>
            <a:r>
              <a:rPr lang="en-US" sz="2000">
                <a:solidFill>
                  <a:srgbClr val="5B5B5B"/>
                </a:solidFill>
              </a:rPr>
              <a:t> Start presenting to display the audience questions on this slide.</a:t>
            </a:r>
            <a:endParaRPr lang="en-GB" sz="2000">
              <a:solidFill>
                <a:srgbClr val="5B5B5B"/>
              </a:solidFill>
            </a:endParaRPr>
          </a:p>
        </p:txBody>
      </p:sp>
    </p:spTree>
    <p:custDataLst>
      <p:tags r:id="rId1"/>
    </p:custDataLst>
    <p:extLst>
      <p:ext uri="{BB962C8B-B14F-4D97-AF65-F5344CB8AC3E}">
        <p14:creationId xmlns:p14="http://schemas.microsoft.com/office/powerpoint/2010/main" val="101460949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group of men in a blue and white background&#10;&#10;Description automatically generated">
            <a:extLst>
              <a:ext uri="{FF2B5EF4-FFF2-40B4-BE49-F238E27FC236}">
                <a16:creationId xmlns:a16="http://schemas.microsoft.com/office/drawing/2014/main" id="{0DE01315-2B02-F452-80AF-BB2B7004A1C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2256331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MasterSp="0">
  <p:cSld>
    <p:bg>
      <p:bgPr>
        <a:solidFill>
          <a:srgbClr val="FFFFFF"/>
        </a:solidFill>
        <a:effectLst/>
      </p:bgPr>
    </p:bg>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039C556B-C8D1-ED3E-0A67-E3F686B8EDD4}"/>
              </a:ext>
            </a:extLst>
          </p:cNvPr>
          <p:cNvSpPr/>
          <p:nvPr>
            <p:custDataLst>
              <p:tags r:id="rId2"/>
            </p:custDataLst>
          </p:nvPr>
        </p:nvSpPr>
        <p:spPr>
          <a:xfrm>
            <a:off x="6286500" y="430530"/>
            <a:ext cx="5524500" cy="891540"/>
          </a:xfrm>
          <a:prstGeom prst="roundRect">
            <a:avLst/>
          </a:prstGeom>
          <a:solidFill>
            <a:srgbClr val="F4F4F4"/>
          </a:solidFill>
          <a:ln w="19050" cap="flat" cmpd="sng" algn="ctr">
            <a:noFill/>
            <a:prstDash val="solid"/>
            <a:miter lim="800000"/>
          </a:ln>
          <a:effectLst/>
          <a:extLs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lIns="317500" rIns="1143000" rtlCol="0" anchor="ctr">
            <a:normAutofit/>
          </a:bodyPr>
          <a:lstStyle/>
          <a:p>
            <a:r>
              <a:rPr lang="en-US" sz="2000">
                <a:solidFill>
                  <a:srgbClr val="5B5B5B"/>
                </a:solidFill>
              </a:rPr>
              <a:t>Please download and install the Slido app on all computers you use</a:t>
            </a:r>
            <a:endParaRPr lang="en-GB" sz="2000">
              <a:solidFill>
                <a:srgbClr val="5B5B5B"/>
              </a:solidFill>
            </a:endParaRPr>
          </a:p>
        </p:txBody>
      </p:sp>
      <p:pic>
        <p:nvPicPr>
          <p:cNvPr id="4" name="Graphic 3">
            <a:extLst>
              <a:ext uri="{FF2B5EF4-FFF2-40B4-BE49-F238E27FC236}">
                <a16:creationId xmlns:a16="http://schemas.microsoft.com/office/drawing/2014/main" id="{0DEFA6BD-165D-3640-064B-0322D24C59E0}"/>
              </a:ext>
            </a:extLst>
          </p:cNvPr>
          <p:cNvPicPr>
            <a:picLocks/>
          </p:cNvPicPr>
          <p:nvPr>
            <p:custDataLst>
              <p:tags r:id="rId3"/>
            </p:custDataLst>
          </p:nvPr>
        </p:nvPicPr>
        <p:blipFill>
          <a:blip r:embed="rId9">
            <a:extLst>
              <a:ext uri="{96DAC541-7B7A-43D3-8B79-37D633B846F1}">
                <asvg:svgBlip xmlns:asvg="http://schemas.microsoft.com/office/drawing/2016/SVG/main" r:embed="rId10"/>
              </a:ext>
            </a:extLst>
          </a:blip>
          <a:stretch>
            <a:fillRect/>
          </a:stretch>
        </p:blipFill>
        <p:spPr>
          <a:xfrm>
            <a:off x="10826048" y="577634"/>
            <a:ext cx="597332" cy="597332"/>
          </a:xfrm>
          <a:prstGeom prst="rect">
            <a:avLst/>
          </a:prstGeom>
        </p:spPr>
      </p:pic>
      <p:pic>
        <p:nvPicPr>
          <p:cNvPr id="6" name="Graphic 5">
            <a:extLst>
              <a:ext uri="{FF2B5EF4-FFF2-40B4-BE49-F238E27FC236}">
                <a16:creationId xmlns:a16="http://schemas.microsoft.com/office/drawing/2014/main" id="{92D60249-1CD7-B621-36B0-AFB7AABA1213}"/>
              </a:ext>
            </a:extLst>
          </p:cNvPr>
          <p:cNvPicPr>
            <a:picLocks/>
          </p:cNvPicPr>
          <p:nvPr>
            <p:custDataLst>
              <p:tags r:id="rId4"/>
            </p:custDataLst>
          </p:nvPr>
        </p:nvPicPr>
        <p:blipFill>
          <a:blip r:embed="rId11">
            <a:extLst>
              <a:ext uri="{96DAC541-7B7A-43D3-8B79-37D633B846F1}">
                <asvg:svgBlip xmlns:asvg="http://schemas.microsoft.com/office/drawing/2016/SVG/main" r:embed="rId12"/>
              </a:ext>
            </a:extLst>
          </a:blip>
          <a:stretch>
            <a:fillRect/>
          </a:stretch>
        </p:blipFill>
        <p:spPr>
          <a:xfrm>
            <a:off x="3901440" y="617220"/>
            <a:ext cx="1036320" cy="518160"/>
          </a:xfrm>
          <a:prstGeom prst="rect">
            <a:avLst/>
          </a:prstGeom>
        </p:spPr>
      </p:pic>
      <p:pic>
        <p:nvPicPr>
          <p:cNvPr id="8" name="Graphic 7">
            <a:extLst>
              <a:ext uri="{FF2B5EF4-FFF2-40B4-BE49-F238E27FC236}">
                <a16:creationId xmlns:a16="http://schemas.microsoft.com/office/drawing/2014/main" id="{806C70A6-7BC7-47BA-06A8-151C212AF444}"/>
              </a:ext>
            </a:extLst>
          </p:cNvPr>
          <p:cNvPicPr>
            <a:picLocks/>
          </p:cNvPicPr>
          <p:nvPr>
            <p:custDataLst>
              <p:tags r:id="rId5"/>
            </p:custDataLst>
          </p:nvPr>
        </p:nvPicPr>
        <p:blipFill>
          <a:blip r:embed="rId13">
            <a:extLst>
              <a:ext uri="{96DAC541-7B7A-43D3-8B79-37D633B846F1}">
                <asvg:svgBlip xmlns:asvg="http://schemas.microsoft.com/office/drawing/2016/SVG/main" r:embed="rId14"/>
              </a:ext>
            </a:extLst>
          </a:blip>
          <a:stretch>
            <a:fillRect/>
          </a:stretch>
        </p:blipFill>
        <p:spPr>
          <a:xfrm>
            <a:off x="1158240" y="2270760"/>
            <a:ext cx="2316480" cy="2316480"/>
          </a:xfrm>
          <a:prstGeom prst="rect">
            <a:avLst/>
          </a:prstGeom>
        </p:spPr>
      </p:pic>
      <p:sp>
        <p:nvSpPr>
          <p:cNvPr id="9" name="Rectangle 8">
            <a:extLst>
              <a:ext uri="{FF2B5EF4-FFF2-40B4-BE49-F238E27FC236}">
                <a16:creationId xmlns:a16="http://schemas.microsoft.com/office/drawing/2014/main" id="{B11BA8B5-7C78-B48F-E7FC-2F8469FF5F7C}"/>
              </a:ext>
            </a:extLst>
          </p:cNvPr>
          <p:cNvSpPr/>
          <p:nvPr>
            <p:custDataLst>
              <p:tags r:id="rId6"/>
            </p:custDataLst>
          </p:nvPr>
        </p:nvSpPr>
        <p:spPr>
          <a:xfrm>
            <a:off x="3901440" y="2571750"/>
            <a:ext cx="7315199" cy="1714500"/>
          </a:xfrm>
          <a:prstGeom prst="rect">
            <a:avLst/>
          </a:prstGeom>
          <a:noFill/>
          <a:ln w="19050" cap="flat" cmpd="sng" algn="ctr">
            <a:solidFill>
              <a:srgbClr val="FFFFFF"/>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4000" b="1">
                <a:solidFill>
                  <a:srgbClr val="5B5B5B"/>
                </a:solidFill>
              </a:rPr>
              <a:t>Audience Q&amp;A</a:t>
            </a:r>
          </a:p>
        </p:txBody>
      </p:sp>
      <p:sp>
        <p:nvSpPr>
          <p:cNvPr id="10" name="Rectangle 9">
            <a:extLst>
              <a:ext uri="{FF2B5EF4-FFF2-40B4-BE49-F238E27FC236}">
                <a16:creationId xmlns:a16="http://schemas.microsoft.com/office/drawing/2014/main" id="{42B46261-EB59-236D-BB6A-923207239E09}"/>
              </a:ext>
            </a:extLst>
          </p:cNvPr>
          <p:cNvSpPr/>
          <p:nvPr>
            <p:custDataLst>
              <p:tags r:id="rId7"/>
            </p:custDataLst>
          </p:nvPr>
        </p:nvSpPr>
        <p:spPr>
          <a:xfrm>
            <a:off x="3901440" y="6032500"/>
            <a:ext cx="7315199" cy="518160"/>
          </a:xfrm>
          <a:prstGeom prst="rect">
            <a:avLst/>
          </a:prstGeom>
          <a:noFill/>
          <a:ln w="1905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normAutofit fontScale="92500"/>
          </a:bodyPr>
          <a:lstStyle/>
          <a:p>
            <a:r>
              <a:rPr lang="en-US" sz="2200" b="1">
                <a:solidFill>
                  <a:srgbClr val="5B5B5B"/>
                </a:solidFill>
              </a:rPr>
              <a:t>ⓘ</a:t>
            </a:r>
            <a:r>
              <a:rPr lang="en-US" sz="2000">
                <a:solidFill>
                  <a:srgbClr val="5B5B5B"/>
                </a:solidFill>
              </a:rPr>
              <a:t> Start presenting to display the audience questions on this slide.</a:t>
            </a:r>
            <a:endParaRPr lang="en-GB" sz="2000">
              <a:solidFill>
                <a:srgbClr val="5B5B5B"/>
              </a:solidFill>
            </a:endParaRPr>
          </a:p>
        </p:txBody>
      </p:sp>
    </p:spTree>
    <p:custDataLst>
      <p:tags r:id="rId1"/>
    </p:custDataLst>
    <p:extLst>
      <p:ext uri="{BB962C8B-B14F-4D97-AF65-F5344CB8AC3E}">
        <p14:creationId xmlns:p14="http://schemas.microsoft.com/office/powerpoint/2010/main" val="266860805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white and green text&#10;&#10;Description automatically generated with medium confidence">
            <a:extLst>
              <a:ext uri="{FF2B5EF4-FFF2-40B4-BE49-F238E27FC236}">
                <a16:creationId xmlns:a16="http://schemas.microsoft.com/office/drawing/2014/main" id="{EED1C90D-AB2D-566B-4328-A4DFE465022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33230068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blue and white logo&#10;&#10;Description automatically generated">
            <a:extLst>
              <a:ext uri="{FF2B5EF4-FFF2-40B4-BE49-F238E27FC236}">
                <a16:creationId xmlns:a16="http://schemas.microsoft.com/office/drawing/2014/main" id="{992C1B74-3E16-DC53-5A08-9DC5B44C59E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606551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erson in a blue shirt&#10;&#10;Description automatically generated">
            <a:extLst>
              <a:ext uri="{FF2B5EF4-FFF2-40B4-BE49-F238E27FC236}">
                <a16:creationId xmlns:a16="http://schemas.microsoft.com/office/drawing/2014/main" id="{68EB8182-6F32-637A-6153-A404B216DD7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9020921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BA49D3-9EFF-327F-8CCB-310EA9143FE9}"/>
              </a:ext>
            </a:extLst>
          </p:cNvPr>
          <p:cNvSpPr>
            <a:spLocks noGrp="1"/>
          </p:cNvSpPr>
          <p:nvPr>
            <p:ph type="ctrTitle"/>
          </p:nvPr>
        </p:nvSpPr>
        <p:spPr>
          <a:xfrm>
            <a:off x="155576" y="2743200"/>
            <a:ext cx="10116184" cy="1506330"/>
          </a:xfrm>
        </p:spPr>
        <p:txBody>
          <a:bodyPr/>
          <a:lstStyle/>
          <a:p>
            <a:r>
              <a:rPr lang="en-US" sz="4400" dirty="0"/>
              <a:t>Derisking Merchant Revenue Stacks</a:t>
            </a:r>
          </a:p>
        </p:txBody>
      </p:sp>
      <p:sp>
        <p:nvSpPr>
          <p:cNvPr id="3" name="Subtitle 2">
            <a:extLst>
              <a:ext uri="{FF2B5EF4-FFF2-40B4-BE49-F238E27FC236}">
                <a16:creationId xmlns:a16="http://schemas.microsoft.com/office/drawing/2014/main" id="{CE280393-974B-096D-B14B-F6F159CA9ABF}"/>
              </a:ext>
            </a:extLst>
          </p:cNvPr>
          <p:cNvSpPr>
            <a:spLocks noGrp="1"/>
          </p:cNvSpPr>
          <p:nvPr>
            <p:ph type="subTitle" idx="1"/>
          </p:nvPr>
        </p:nvSpPr>
        <p:spPr/>
        <p:txBody>
          <a:bodyPr/>
          <a:lstStyle/>
          <a:p>
            <a:r>
              <a:rPr lang="en-US" dirty="0"/>
              <a:t>Oct 2024</a:t>
            </a:r>
          </a:p>
        </p:txBody>
      </p:sp>
      <p:sp>
        <p:nvSpPr>
          <p:cNvPr id="4" name="Text Placeholder 3">
            <a:extLst>
              <a:ext uri="{FF2B5EF4-FFF2-40B4-BE49-F238E27FC236}">
                <a16:creationId xmlns:a16="http://schemas.microsoft.com/office/drawing/2014/main" id="{A4EE5114-DA47-8ECE-E6C8-FFD2CDB95017}"/>
              </a:ext>
            </a:extLst>
          </p:cNvPr>
          <p:cNvSpPr>
            <a:spLocks noGrp="1"/>
          </p:cNvSpPr>
          <p:nvPr>
            <p:ph type="body" sz="quarter" idx="13"/>
          </p:nvPr>
        </p:nvSpPr>
        <p:spPr/>
        <p:txBody>
          <a:bodyPr/>
          <a:lstStyle/>
          <a:p>
            <a:r>
              <a:rPr lang="en-US" dirty="0"/>
              <a:t>Past and Future</a:t>
            </a:r>
          </a:p>
        </p:txBody>
      </p:sp>
    </p:spTree>
    <p:extLst>
      <p:ext uri="{BB962C8B-B14F-4D97-AF65-F5344CB8AC3E}">
        <p14:creationId xmlns:p14="http://schemas.microsoft.com/office/powerpoint/2010/main" val="341742479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479F20-1A14-D7C1-0366-EE8665B44F23}"/>
              </a:ext>
            </a:extLst>
          </p:cNvPr>
          <p:cNvSpPr>
            <a:spLocks noGrp="1"/>
          </p:cNvSpPr>
          <p:nvPr>
            <p:ph type="title"/>
          </p:nvPr>
        </p:nvSpPr>
        <p:spPr/>
        <p:txBody>
          <a:bodyPr/>
          <a:lstStyle/>
          <a:p>
            <a:r>
              <a:rPr lang="en-US" dirty="0"/>
              <a:t>Macro</a:t>
            </a:r>
          </a:p>
        </p:txBody>
      </p:sp>
      <p:sp>
        <p:nvSpPr>
          <p:cNvPr id="3" name="Slide Number Placeholder 2">
            <a:extLst>
              <a:ext uri="{FF2B5EF4-FFF2-40B4-BE49-F238E27FC236}">
                <a16:creationId xmlns:a16="http://schemas.microsoft.com/office/drawing/2014/main" id="{A6AEA33B-1D3C-B633-1B1D-C49C7772EB05}"/>
              </a:ext>
            </a:extLst>
          </p:cNvPr>
          <p:cNvSpPr>
            <a:spLocks noGrp="1"/>
          </p:cNvSpPr>
          <p:nvPr>
            <p:ph type="sldNum" sz="quarter" idx="4"/>
          </p:nvPr>
        </p:nvSpPr>
        <p:spPr/>
        <p:txBody>
          <a:bodyPr/>
          <a:lstStyle/>
          <a:p>
            <a:fld id="{FFC2788D-A0E8-47AB-ABFD-625D826BCE36}" type="slidenum">
              <a:rPr lang="en-US" smtClean="0"/>
              <a:pPr/>
              <a:t>22</a:t>
            </a:fld>
            <a:endParaRPr lang="en-US"/>
          </a:p>
        </p:txBody>
      </p:sp>
    </p:spTree>
    <p:extLst>
      <p:ext uri="{BB962C8B-B14F-4D97-AF65-F5344CB8AC3E}">
        <p14:creationId xmlns:p14="http://schemas.microsoft.com/office/powerpoint/2010/main" val="256970480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F2408B0-6E65-3D1D-9332-8A7B7ECD4D65}"/>
              </a:ext>
            </a:extLst>
          </p:cNvPr>
          <p:cNvSpPr>
            <a:spLocks noGrp="1"/>
          </p:cNvSpPr>
          <p:nvPr>
            <p:ph type="title"/>
          </p:nvPr>
        </p:nvSpPr>
        <p:spPr/>
        <p:txBody>
          <a:bodyPr/>
          <a:lstStyle/>
          <a:p>
            <a:r>
              <a:rPr lang="en-CA"/>
              <a:t>Entering a New Era of Demand</a:t>
            </a:r>
          </a:p>
        </p:txBody>
      </p:sp>
      <p:sp>
        <p:nvSpPr>
          <p:cNvPr id="4" name="Text Placeholder 3">
            <a:extLst>
              <a:ext uri="{FF2B5EF4-FFF2-40B4-BE49-F238E27FC236}">
                <a16:creationId xmlns:a16="http://schemas.microsoft.com/office/drawing/2014/main" id="{70AE6182-4FC2-B444-CB7C-7BA6B8DC5F57}"/>
              </a:ext>
            </a:extLst>
          </p:cNvPr>
          <p:cNvSpPr>
            <a:spLocks noGrp="1"/>
          </p:cNvSpPr>
          <p:nvPr>
            <p:ph type="body" sz="quarter" idx="13"/>
          </p:nvPr>
        </p:nvSpPr>
        <p:spPr/>
        <p:txBody>
          <a:bodyPr>
            <a:normAutofit lnSpcReduction="10000"/>
          </a:bodyPr>
          <a:lstStyle/>
          <a:p>
            <a:r>
              <a:rPr lang="en-CA" dirty="0"/>
              <a:t>Demand has been flat over the past 20 years, but is now increasing</a:t>
            </a:r>
          </a:p>
        </p:txBody>
      </p:sp>
      <p:graphicFrame>
        <p:nvGraphicFramePr>
          <p:cNvPr id="8" name="Chart 7">
            <a:extLst>
              <a:ext uri="{FF2B5EF4-FFF2-40B4-BE49-F238E27FC236}">
                <a16:creationId xmlns:a16="http://schemas.microsoft.com/office/drawing/2014/main" id="{92C5F733-0769-3831-7841-B10B6B207B90}"/>
              </a:ext>
            </a:extLst>
          </p:cNvPr>
          <p:cNvGraphicFramePr>
            <a:graphicFrameLocks/>
          </p:cNvGraphicFramePr>
          <p:nvPr>
            <p:custDataLst>
              <p:tags r:id="rId1"/>
            </p:custDataLst>
          </p:nvPr>
        </p:nvGraphicFramePr>
        <p:xfrm>
          <a:off x="109949" y="1353779"/>
          <a:ext cx="11392240" cy="5066272"/>
        </p:xfrm>
        <a:graphic>
          <a:graphicData uri="http://schemas.openxmlformats.org/drawingml/2006/chart">
            <c:chart xmlns:c="http://schemas.openxmlformats.org/drawingml/2006/chart" xmlns:r="http://schemas.openxmlformats.org/officeDocument/2006/relationships" r:id="rId4"/>
          </a:graphicData>
        </a:graphic>
      </p:graphicFrame>
      <p:sp>
        <p:nvSpPr>
          <p:cNvPr id="9" name="TextBox 8">
            <a:extLst>
              <a:ext uri="{FF2B5EF4-FFF2-40B4-BE49-F238E27FC236}">
                <a16:creationId xmlns:a16="http://schemas.microsoft.com/office/drawing/2014/main" id="{42FB682D-608E-3E03-2F7B-7D85F203792A}"/>
              </a:ext>
            </a:extLst>
          </p:cNvPr>
          <p:cNvSpPr txBox="1"/>
          <p:nvPr/>
        </p:nvSpPr>
        <p:spPr>
          <a:xfrm>
            <a:off x="0" y="6641195"/>
            <a:ext cx="3853543" cy="212342"/>
          </a:xfrm>
          <a:prstGeom prst="rect">
            <a:avLst/>
          </a:prstGeom>
          <a:noFill/>
          <a:ln>
            <a:noFill/>
          </a:ln>
        </p:spPr>
        <p:txBody>
          <a:bodyPr vert="horz" wrap="square" lIns="91440" tIns="91440" rIns="91440" bIns="91440" rtlCol="0" anchor="ctr">
            <a:noAutofit/>
          </a:bodyPr>
          <a:lstStyle/>
          <a:p>
            <a:pPr marL="0" indent="0" algn="l">
              <a:buFont typeface="Arial" panose="020B0604020202020204" pitchFamily="34" charset="0"/>
              <a:buNone/>
            </a:pPr>
            <a:r>
              <a:rPr lang="en-US" sz="800" dirty="0">
                <a:latin typeface="+mj-lt"/>
              </a:rPr>
              <a:t>Source: Orennia</a:t>
            </a:r>
          </a:p>
        </p:txBody>
      </p:sp>
    </p:spTree>
    <p:extLst>
      <p:ext uri="{BB962C8B-B14F-4D97-AF65-F5344CB8AC3E}">
        <p14:creationId xmlns:p14="http://schemas.microsoft.com/office/powerpoint/2010/main" val="264579358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a:extLst>
              <a:ext uri="{FF2B5EF4-FFF2-40B4-BE49-F238E27FC236}">
                <a16:creationId xmlns:a16="http://schemas.microsoft.com/office/drawing/2014/main" id="{9E824A86-D1E0-3AEF-4D46-565D5812638B}"/>
              </a:ext>
            </a:extLst>
          </p:cNvPr>
          <p:cNvGraphicFramePr>
            <a:graphicFrameLocks noGrp="1"/>
          </p:cNvGraphicFramePr>
          <p:nvPr>
            <p:ph idx="1"/>
          </p:nvPr>
        </p:nvGraphicFramePr>
        <p:xfrm>
          <a:off x="155575" y="1006475"/>
          <a:ext cx="9200092" cy="566261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itle 2">
            <a:extLst>
              <a:ext uri="{FF2B5EF4-FFF2-40B4-BE49-F238E27FC236}">
                <a16:creationId xmlns:a16="http://schemas.microsoft.com/office/drawing/2014/main" id="{548A5BB2-C3CA-F38C-A8F2-79052A70A519}"/>
              </a:ext>
            </a:extLst>
          </p:cNvPr>
          <p:cNvSpPr>
            <a:spLocks noGrp="1"/>
          </p:cNvSpPr>
          <p:nvPr>
            <p:ph type="title"/>
          </p:nvPr>
        </p:nvSpPr>
        <p:spPr/>
        <p:txBody>
          <a:bodyPr/>
          <a:lstStyle/>
          <a:p>
            <a:r>
              <a:rPr lang="en-US" dirty="0"/>
              <a:t>Data Center Energy Demands</a:t>
            </a:r>
          </a:p>
        </p:txBody>
      </p:sp>
      <p:sp>
        <p:nvSpPr>
          <p:cNvPr id="4" name="Slide Number Placeholder 3">
            <a:extLst>
              <a:ext uri="{FF2B5EF4-FFF2-40B4-BE49-F238E27FC236}">
                <a16:creationId xmlns:a16="http://schemas.microsoft.com/office/drawing/2014/main" id="{824731B5-1E2D-E433-8CFD-37071B870FE2}"/>
              </a:ext>
            </a:extLst>
          </p:cNvPr>
          <p:cNvSpPr>
            <a:spLocks noGrp="1"/>
          </p:cNvSpPr>
          <p:nvPr>
            <p:ph type="sldNum" sz="quarter" idx="4"/>
          </p:nvPr>
        </p:nvSpPr>
        <p:spPr/>
        <p:txBody>
          <a:bodyPr/>
          <a:lstStyle/>
          <a:p>
            <a:fld id="{FFC2788D-A0E8-47AB-ABFD-625D826BCE36}" type="slidenum">
              <a:rPr lang="en-US" smtClean="0"/>
              <a:pPr/>
              <a:t>24</a:t>
            </a:fld>
            <a:endParaRPr lang="en-US"/>
          </a:p>
        </p:txBody>
      </p:sp>
      <p:cxnSp>
        <p:nvCxnSpPr>
          <p:cNvPr id="7" name="Straight Arrow Connector 6">
            <a:extLst>
              <a:ext uri="{FF2B5EF4-FFF2-40B4-BE49-F238E27FC236}">
                <a16:creationId xmlns:a16="http://schemas.microsoft.com/office/drawing/2014/main" id="{38D6852A-BAC9-485D-BD15-2ED4BEFB12E7}"/>
              </a:ext>
            </a:extLst>
          </p:cNvPr>
          <p:cNvCxnSpPr/>
          <p:nvPr/>
        </p:nvCxnSpPr>
        <p:spPr>
          <a:xfrm>
            <a:off x="10527323" y="1845733"/>
            <a:ext cx="0" cy="3733800"/>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sp>
        <p:nvSpPr>
          <p:cNvPr id="8" name="TextBox 7">
            <a:extLst>
              <a:ext uri="{FF2B5EF4-FFF2-40B4-BE49-F238E27FC236}">
                <a16:creationId xmlns:a16="http://schemas.microsoft.com/office/drawing/2014/main" id="{C041640A-BA51-5804-81AB-6678DD020397}"/>
              </a:ext>
            </a:extLst>
          </p:cNvPr>
          <p:cNvSpPr txBox="1"/>
          <p:nvPr/>
        </p:nvSpPr>
        <p:spPr>
          <a:xfrm>
            <a:off x="9456289" y="1113343"/>
            <a:ext cx="2142067" cy="622324"/>
          </a:xfrm>
          <a:prstGeom prst="rect">
            <a:avLst/>
          </a:prstGeom>
          <a:noFill/>
          <a:ln>
            <a:noFill/>
          </a:ln>
        </p:spPr>
        <p:txBody>
          <a:bodyPr vert="horz" wrap="square" lIns="91440" tIns="91440" rIns="91440" bIns="91440" rtlCol="0" anchor="ctr">
            <a:noAutofit/>
          </a:bodyPr>
          <a:lstStyle/>
          <a:p>
            <a:pPr marL="0" indent="0" algn="ctr">
              <a:buFont typeface="Arial" panose="020B0604020202020204" pitchFamily="34" charset="0"/>
              <a:buNone/>
            </a:pPr>
            <a:r>
              <a:rPr lang="en-US" sz="2400" b="0" dirty="0">
                <a:solidFill>
                  <a:schemeClr val="tx2"/>
                </a:solidFill>
                <a:latin typeface="Manrope SemiBold" pitchFamily="2" charset="0"/>
              </a:rPr>
              <a:t>Less Important</a:t>
            </a:r>
          </a:p>
        </p:txBody>
      </p:sp>
      <p:sp>
        <p:nvSpPr>
          <p:cNvPr id="9" name="TextBox 8">
            <a:extLst>
              <a:ext uri="{FF2B5EF4-FFF2-40B4-BE49-F238E27FC236}">
                <a16:creationId xmlns:a16="http://schemas.microsoft.com/office/drawing/2014/main" id="{51EB2497-DC8E-1AAC-6B42-FAACF39932E9}"/>
              </a:ext>
            </a:extLst>
          </p:cNvPr>
          <p:cNvSpPr txBox="1"/>
          <p:nvPr/>
        </p:nvSpPr>
        <p:spPr>
          <a:xfrm>
            <a:off x="9456288" y="5689599"/>
            <a:ext cx="2142067" cy="622324"/>
          </a:xfrm>
          <a:prstGeom prst="rect">
            <a:avLst/>
          </a:prstGeom>
          <a:noFill/>
          <a:ln>
            <a:noFill/>
          </a:ln>
        </p:spPr>
        <p:txBody>
          <a:bodyPr vert="horz" wrap="square" lIns="91440" tIns="91440" rIns="91440" bIns="91440" rtlCol="0" anchor="ctr">
            <a:noAutofit/>
          </a:bodyPr>
          <a:lstStyle/>
          <a:p>
            <a:pPr marL="0" indent="0" algn="ctr">
              <a:buFont typeface="Arial" panose="020B0604020202020204" pitchFamily="34" charset="0"/>
              <a:buNone/>
            </a:pPr>
            <a:r>
              <a:rPr lang="en-US" sz="2400" b="0" dirty="0">
                <a:solidFill>
                  <a:schemeClr val="tx2"/>
                </a:solidFill>
                <a:latin typeface="Manrope SemiBold" pitchFamily="2" charset="0"/>
              </a:rPr>
              <a:t>More Important</a:t>
            </a:r>
          </a:p>
        </p:txBody>
      </p:sp>
    </p:spTree>
    <p:extLst>
      <p:ext uri="{BB962C8B-B14F-4D97-AF65-F5344CB8AC3E}">
        <p14:creationId xmlns:p14="http://schemas.microsoft.com/office/powerpoint/2010/main" val="140113451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600520C-2B5A-6515-41B3-3AA5078D6661}"/>
              </a:ext>
            </a:extLst>
          </p:cNvPr>
          <p:cNvSpPr>
            <a:spLocks noGrp="1"/>
          </p:cNvSpPr>
          <p:nvPr>
            <p:ph type="title"/>
          </p:nvPr>
        </p:nvSpPr>
        <p:spPr/>
        <p:txBody>
          <a:bodyPr/>
          <a:lstStyle/>
          <a:p>
            <a:r>
              <a:rPr lang="en-US" dirty="0"/>
              <a:t>Big Tech Investments</a:t>
            </a:r>
          </a:p>
        </p:txBody>
      </p:sp>
      <p:sp>
        <p:nvSpPr>
          <p:cNvPr id="4" name="Text Placeholder 3">
            <a:extLst>
              <a:ext uri="{FF2B5EF4-FFF2-40B4-BE49-F238E27FC236}">
                <a16:creationId xmlns:a16="http://schemas.microsoft.com/office/drawing/2014/main" id="{77AD82E0-F760-128A-CAF9-4CDE8244D6F1}"/>
              </a:ext>
            </a:extLst>
          </p:cNvPr>
          <p:cNvSpPr>
            <a:spLocks noGrp="1"/>
          </p:cNvSpPr>
          <p:nvPr>
            <p:ph type="body" sz="quarter" idx="13"/>
          </p:nvPr>
        </p:nvSpPr>
        <p:spPr/>
        <p:txBody>
          <a:bodyPr>
            <a:normAutofit lnSpcReduction="10000"/>
          </a:bodyPr>
          <a:lstStyle/>
          <a:p>
            <a:r>
              <a:rPr lang="en-US" dirty="0"/>
              <a:t>Leading investments in emerging energy technologies</a:t>
            </a:r>
          </a:p>
        </p:txBody>
      </p:sp>
      <p:sp>
        <p:nvSpPr>
          <p:cNvPr id="5" name="Slide Number Placeholder 4">
            <a:extLst>
              <a:ext uri="{FF2B5EF4-FFF2-40B4-BE49-F238E27FC236}">
                <a16:creationId xmlns:a16="http://schemas.microsoft.com/office/drawing/2014/main" id="{9FDE5A0B-B30E-E4DA-AF30-81C96F438E4E}"/>
              </a:ext>
            </a:extLst>
          </p:cNvPr>
          <p:cNvSpPr>
            <a:spLocks noGrp="1"/>
          </p:cNvSpPr>
          <p:nvPr>
            <p:ph type="sldNum" sz="quarter" idx="4"/>
          </p:nvPr>
        </p:nvSpPr>
        <p:spPr/>
        <p:txBody>
          <a:bodyPr/>
          <a:lstStyle/>
          <a:p>
            <a:fld id="{FFC2788D-A0E8-47AB-ABFD-625D826BCE36}" type="slidenum">
              <a:rPr lang="en-US" smtClean="0"/>
              <a:pPr/>
              <a:t>25</a:t>
            </a:fld>
            <a:endParaRPr lang="en-US"/>
          </a:p>
        </p:txBody>
      </p:sp>
      <p:sp>
        <p:nvSpPr>
          <p:cNvPr id="9" name="Slide Number Placeholder 4">
            <a:extLst>
              <a:ext uri="{FF2B5EF4-FFF2-40B4-BE49-F238E27FC236}">
                <a16:creationId xmlns:a16="http://schemas.microsoft.com/office/drawing/2014/main" id="{5F277DB8-C67B-1DB4-9260-D724030D49C0}"/>
              </a:ext>
            </a:extLst>
          </p:cNvPr>
          <p:cNvSpPr txBox="1">
            <a:spLocks/>
          </p:cNvSpPr>
          <p:nvPr/>
        </p:nvSpPr>
        <p:spPr>
          <a:xfrm>
            <a:off x="11501762" y="6420051"/>
            <a:ext cx="534236" cy="24903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C2788D-A0E8-47AB-ABFD-625D826BCE36}" type="slidenum">
              <a:rPr lang="en-US" smtClean="0"/>
              <a:pPr/>
              <a:t>25</a:t>
            </a:fld>
            <a:endParaRPr lang="en-US" dirty="0"/>
          </a:p>
        </p:txBody>
      </p:sp>
      <p:sp>
        <p:nvSpPr>
          <p:cNvPr id="2" name="Content Placeholder 1">
            <a:extLst>
              <a:ext uri="{FF2B5EF4-FFF2-40B4-BE49-F238E27FC236}">
                <a16:creationId xmlns:a16="http://schemas.microsoft.com/office/drawing/2014/main" id="{2630F358-AD5F-C5BF-AF3C-159F29AE2F33}"/>
              </a:ext>
            </a:extLst>
          </p:cNvPr>
          <p:cNvSpPr>
            <a:spLocks noGrp="1"/>
          </p:cNvSpPr>
          <p:nvPr>
            <p:ph idx="1"/>
          </p:nvPr>
        </p:nvSpPr>
        <p:spPr/>
        <p:txBody>
          <a:bodyPr/>
          <a:lstStyle/>
          <a:p>
            <a:endParaRPr lang="en-US" dirty="0"/>
          </a:p>
        </p:txBody>
      </p:sp>
      <p:grpSp>
        <p:nvGrpSpPr>
          <p:cNvPr id="6" name="Group 5">
            <a:extLst>
              <a:ext uri="{FF2B5EF4-FFF2-40B4-BE49-F238E27FC236}">
                <a16:creationId xmlns:a16="http://schemas.microsoft.com/office/drawing/2014/main" id="{E60D6F14-3377-3FA5-8F4D-35FCCF84E9C3}"/>
              </a:ext>
            </a:extLst>
          </p:cNvPr>
          <p:cNvGrpSpPr/>
          <p:nvPr/>
        </p:nvGrpSpPr>
        <p:grpSpPr>
          <a:xfrm>
            <a:off x="155576" y="1495647"/>
            <a:ext cx="11880000" cy="5173440"/>
            <a:chOff x="345989" y="1371600"/>
            <a:chExt cx="23935038" cy="10466173"/>
          </a:xfrm>
        </p:grpSpPr>
        <p:sp>
          <p:nvSpPr>
            <p:cNvPr id="7" name="Rectangle 6">
              <a:extLst>
                <a:ext uri="{FF2B5EF4-FFF2-40B4-BE49-F238E27FC236}">
                  <a16:creationId xmlns:a16="http://schemas.microsoft.com/office/drawing/2014/main" id="{E1EF158A-B2C7-560C-96A6-805CA6F5CFED}"/>
                </a:ext>
              </a:extLst>
            </p:cNvPr>
            <p:cNvSpPr/>
            <p:nvPr/>
          </p:nvSpPr>
          <p:spPr>
            <a:xfrm>
              <a:off x="345989" y="1371600"/>
              <a:ext cx="23935038" cy="10466173"/>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dirty="0"/>
            </a:p>
          </p:txBody>
        </p:sp>
        <p:grpSp>
          <p:nvGrpSpPr>
            <p:cNvPr id="8" name="Group 7">
              <a:extLst>
                <a:ext uri="{FF2B5EF4-FFF2-40B4-BE49-F238E27FC236}">
                  <a16:creationId xmlns:a16="http://schemas.microsoft.com/office/drawing/2014/main" id="{CFC3DE48-0638-2F08-749A-C4284EA5E8C1}"/>
                </a:ext>
              </a:extLst>
            </p:cNvPr>
            <p:cNvGrpSpPr/>
            <p:nvPr/>
          </p:nvGrpSpPr>
          <p:grpSpPr>
            <a:xfrm>
              <a:off x="455705" y="1497860"/>
              <a:ext cx="23734718" cy="10226971"/>
              <a:chOff x="455705" y="1497860"/>
              <a:chExt cx="23734718" cy="10226971"/>
            </a:xfrm>
          </p:grpSpPr>
          <p:sp>
            <p:nvSpPr>
              <p:cNvPr id="11" name="Rectangle 10">
                <a:extLst>
                  <a:ext uri="{FF2B5EF4-FFF2-40B4-BE49-F238E27FC236}">
                    <a16:creationId xmlns:a16="http://schemas.microsoft.com/office/drawing/2014/main" id="{5E55EB7A-8358-A579-3BD9-03C9FCA456EB}"/>
                  </a:ext>
                </a:extLst>
              </p:cNvPr>
              <p:cNvSpPr/>
              <p:nvPr/>
            </p:nvSpPr>
            <p:spPr>
              <a:xfrm>
                <a:off x="16797505" y="7024714"/>
                <a:ext cx="306280" cy="306280"/>
              </a:xfrm>
              <a:prstGeom prst="rect">
                <a:avLst/>
              </a:prstGeom>
              <a:solidFill>
                <a:srgbClr val="35B5AA">
                  <a:alpha val="50000"/>
                </a:srgbClr>
              </a:solidFill>
              <a:ln>
                <a:solidFill>
                  <a:srgbClr val="35B5A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12" name="Rectangle 11">
                <a:extLst>
                  <a:ext uri="{FF2B5EF4-FFF2-40B4-BE49-F238E27FC236}">
                    <a16:creationId xmlns:a16="http://schemas.microsoft.com/office/drawing/2014/main" id="{959A20D9-F761-3DB3-CE6F-20AF2D0F19F6}"/>
                  </a:ext>
                </a:extLst>
              </p:cNvPr>
              <p:cNvSpPr/>
              <p:nvPr/>
            </p:nvSpPr>
            <p:spPr>
              <a:xfrm>
                <a:off x="17304561" y="6368552"/>
                <a:ext cx="306280" cy="306280"/>
              </a:xfrm>
              <a:prstGeom prst="rect">
                <a:avLst/>
              </a:prstGeom>
              <a:solidFill>
                <a:srgbClr val="35B5AA">
                  <a:alpha val="50000"/>
                </a:srgbClr>
              </a:solidFill>
              <a:ln>
                <a:solidFill>
                  <a:srgbClr val="35B5A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cxnSp>
            <p:nvCxnSpPr>
              <p:cNvPr id="13" name="Connector: Elbow 12">
                <a:extLst>
                  <a:ext uri="{FF2B5EF4-FFF2-40B4-BE49-F238E27FC236}">
                    <a16:creationId xmlns:a16="http://schemas.microsoft.com/office/drawing/2014/main" id="{AEEE7E4F-AF1C-8008-DAD0-740D2714DDB1}"/>
                  </a:ext>
                </a:extLst>
              </p:cNvPr>
              <p:cNvCxnSpPr>
                <a:cxnSpLocks/>
                <a:stCxn id="22" idx="2"/>
                <a:endCxn id="53" idx="6"/>
              </p:cNvCxnSpPr>
              <p:nvPr/>
            </p:nvCxnSpPr>
            <p:spPr>
              <a:xfrm rot="5400000">
                <a:off x="2412342" y="7376079"/>
                <a:ext cx="2481619" cy="2385873"/>
              </a:xfrm>
              <a:prstGeom prst="bentConnector2">
                <a:avLst/>
              </a:prstGeom>
              <a:ln>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4" name="Connector: Elbow 13">
                <a:extLst>
                  <a:ext uri="{FF2B5EF4-FFF2-40B4-BE49-F238E27FC236}">
                    <a16:creationId xmlns:a16="http://schemas.microsoft.com/office/drawing/2014/main" id="{4A140CB9-C39C-DD7C-F9BF-B2321B5AA393}"/>
                  </a:ext>
                </a:extLst>
              </p:cNvPr>
              <p:cNvCxnSpPr>
                <a:cxnSpLocks/>
                <a:stCxn id="23" idx="2"/>
                <a:endCxn id="55" idx="6"/>
              </p:cNvCxnSpPr>
              <p:nvPr/>
            </p:nvCxnSpPr>
            <p:spPr>
              <a:xfrm rot="5400000">
                <a:off x="10636047" y="6878928"/>
                <a:ext cx="1851304" cy="2749861"/>
              </a:xfrm>
              <a:prstGeom prst="bentConnector2">
                <a:avLst/>
              </a:prstGeom>
              <a:ln>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5" name="Connector: Elbow 14">
                <a:extLst>
                  <a:ext uri="{FF2B5EF4-FFF2-40B4-BE49-F238E27FC236}">
                    <a16:creationId xmlns:a16="http://schemas.microsoft.com/office/drawing/2014/main" id="{54B1F579-2BBB-EA93-182C-9793A38630F3}"/>
                  </a:ext>
                </a:extLst>
              </p:cNvPr>
              <p:cNvCxnSpPr>
                <a:cxnSpLocks/>
                <a:stCxn id="24" idx="2"/>
                <a:endCxn id="57" idx="6"/>
              </p:cNvCxnSpPr>
              <p:nvPr/>
            </p:nvCxnSpPr>
            <p:spPr>
              <a:xfrm rot="5400000">
                <a:off x="10973755" y="7535876"/>
                <a:ext cx="3369390" cy="2954051"/>
              </a:xfrm>
              <a:prstGeom prst="bentConnector2">
                <a:avLst/>
              </a:prstGeom>
              <a:ln>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6" name="Connector: Elbow 15">
                <a:extLst>
                  <a:ext uri="{FF2B5EF4-FFF2-40B4-BE49-F238E27FC236}">
                    <a16:creationId xmlns:a16="http://schemas.microsoft.com/office/drawing/2014/main" id="{9CEF29CB-BF05-F305-48FD-C0CB9EC7BABC}"/>
                  </a:ext>
                </a:extLst>
              </p:cNvPr>
              <p:cNvCxnSpPr>
                <a:cxnSpLocks/>
                <a:stCxn id="25" idx="2"/>
                <a:endCxn id="58" idx="6"/>
              </p:cNvCxnSpPr>
              <p:nvPr/>
            </p:nvCxnSpPr>
            <p:spPr>
              <a:xfrm rot="5400000">
                <a:off x="14255532" y="7389392"/>
                <a:ext cx="2099882" cy="1977510"/>
              </a:xfrm>
              <a:prstGeom prst="bentConnector2">
                <a:avLst/>
              </a:prstGeom>
              <a:ln>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7" name="Connector: Elbow 16">
                <a:extLst>
                  <a:ext uri="{FF2B5EF4-FFF2-40B4-BE49-F238E27FC236}">
                    <a16:creationId xmlns:a16="http://schemas.microsoft.com/office/drawing/2014/main" id="{1F5525BE-1FDA-C5CE-1427-720ECDF5C35A}"/>
                  </a:ext>
                </a:extLst>
              </p:cNvPr>
              <p:cNvCxnSpPr>
                <a:cxnSpLocks/>
                <a:stCxn id="26" idx="2"/>
                <a:endCxn id="59" idx="6"/>
              </p:cNvCxnSpPr>
              <p:nvPr/>
            </p:nvCxnSpPr>
            <p:spPr>
              <a:xfrm rot="5400000">
                <a:off x="13578013" y="8244803"/>
                <a:ext cx="3999709" cy="2166515"/>
              </a:xfrm>
              <a:prstGeom prst="bentConnector2">
                <a:avLst/>
              </a:prstGeom>
              <a:ln>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8" name="Connector: Elbow 17">
                <a:extLst>
                  <a:ext uri="{FF2B5EF4-FFF2-40B4-BE49-F238E27FC236}">
                    <a16:creationId xmlns:a16="http://schemas.microsoft.com/office/drawing/2014/main" id="{A5BF321B-C04F-2D30-A2A0-0377227CB8CE}"/>
                  </a:ext>
                </a:extLst>
              </p:cNvPr>
              <p:cNvCxnSpPr>
                <a:cxnSpLocks/>
                <a:stCxn id="27" idx="2"/>
                <a:endCxn id="62" idx="6"/>
              </p:cNvCxnSpPr>
              <p:nvPr/>
            </p:nvCxnSpPr>
            <p:spPr>
              <a:xfrm rot="5400000">
                <a:off x="16847684" y="7596575"/>
                <a:ext cx="2215850" cy="1679113"/>
              </a:xfrm>
              <a:prstGeom prst="bentConnector2">
                <a:avLst/>
              </a:prstGeom>
              <a:ln>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9" name="Connector: Elbow 18">
                <a:extLst>
                  <a:ext uri="{FF2B5EF4-FFF2-40B4-BE49-F238E27FC236}">
                    <a16:creationId xmlns:a16="http://schemas.microsoft.com/office/drawing/2014/main" id="{676A358F-B629-EDBA-E0C7-4AAA23248360}"/>
                  </a:ext>
                </a:extLst>
              </p:cNvPr>
              <p:cNvCxnSpPr>
                <a:cxnSpLocks/>
                <a:stCxn id="28" idx="2"/>
                <a:endCxn id="10" idx="2"/>
              </p:cNvCxnSpPr>
              <p:nvPr/>
            </p:nvCxnSpPr>
            <p:spPr>
              <a:xfrm rot="16200000" flipH="1">
                <a:off x="18509312" y="7941389"/>
                <a:ext cx="3476513" cy="2250145"/>
              </a:xfrm>
              <a:prstGeom prst="bentConnector2">
                <a:avLst/>
              </a:prstGeom>
              <a:ln>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0" name="Connector: Elbow 19">
                <a:extLst>
                  <a:ext uri="{FF2B5EF4-FFF2-40B4-BE49-F238E27FC236}">
                    <a16:creationId xmlns:a16="http://schemas.microsoft.com/office/drawing/2014/main" id="{14059B63-DCC8-9532-DE20-A7AE21F604E8}"/>
                  </a:ext>
                </a:extLst>
              </p:cNvPr>
              <p:cNvCxnSpPr>
                <a:cxnSpLocks/>
                <a:stCxn id="29" idx="2"/>
                <a:endCxn id="2052" idx="6"/>
              </p:cNvCxnSpPr>
              <p:nvPr/>
            </p:nvCxnSpPr>
            <p:spPr>
              <a:xfrm rot="5400000">
                <a:off x="19512207" y="7132911"/>
                <a:ext cx="1518395" cy="1908984"/>
              </a:xfrm>
              <a:prstGeom prst="bentConnector2">
                <a:avLst/>
              </a:prstGeom>
              <a:ln>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Connector: Elbow 20">
                <a:extLst>
                  <a:ext uri="{FF2B5EF4-FFF2-40B4-BE49-F238E27FC236}">
                    <a16:creationId xmlns:a16="http://schemas.microsoft.com/office/drawing/2014/main" id="{08A50C21-3D75-D6CF-977C-BE8B5664DA0A}"/>
                  </a:ext>
                </a:extLst>
              </p:cNvPr>
              <p:cNvCxnSpPr>
                <a:cxnSpLocks/>
                <a:stCxn id="30" idx="2"/>
                <a:endCxn id="2054" idx="2"/>
              </p:cNvCxnSpPr>
              <p:nvPr/>
            </p:nvCxnSpPr>
            <p:spPr>
              <a:xfrm rot="16200000" flipH="1">
                <a:off x="21785378" y="7300470"/>
                <a:ext cx="2137612" cy="2193084"/>
              </a:xfrm>
              <a:prstGeom prst="bentConnector2">
                <a:avLst/>
              </a:prstGeom>
              <a:ln>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22" name="Rectangle 21">
                <a:extLst>
                  <a:ext uri="{FF2B5EF4-FFF2-40B4-BE49-F238E27FC236}">
                    <a16:creationId xmlns:a16="http://schemas.microsoft.com/office/drawing/2014/main" id="{CD648826-A847-8E71-E70B-52D35658E232}"/>
                  </a:ext>
                </a:extLst>
              </p:cNvPr>
              <p:cNvSpPr/>
              <p:nvPr/>
            </p:nvSpPr>
            <p:spPr>
              <a:xfrm>
                <a:off x="4692947" y="7021926"/>
                <a:ext cx="306280" cy="306280"/>
              </a:xfrm>
              <a:prstGeom prst="rect">
                <a:avLst/>
              </a:prstGeom>
              <a:solidFill>
                <a:srgbClr val="0C8D54">
                  <a:alpha val="50000"/>
                </a:srgbClr>
              </a:solidFill>
              <a:ln>
                <a:solidFill>
                  <a:srgbClr val="0C8D5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23" name="Rectangle 22">
                <a:extLst>
                  <a:ext uri="{FF2B5EF4-FFF2-40B4-BE49-F238E27FC236}">
                    <a16:creationId xmlns:a16="http://schemas.microsoft.com/office/drawing/2014/main" id="{2435D263-26B1-2296-4437-7DF87C820323}"/>
                  </a:ext>
                </a:extLst>
              </p:cNvPr>
              <p:cNvSpPr/>
              <p:nvPr/>
            </p:nvSpPr>
            <p:spPr>
              <a:xfrm>
                <a:off x="12783489" y="7021926"/>
                <a:ext cx="306280" cy="306280"/>
              </a:xfrm>
              <a:prstGeom prst="rect">
                <a:avLst/>
              </a:prstGeom>
              <a:solidFill>
                <a:srgbClr val="FBC23C">
                  <a:alpha val="50000"/>
                </a:srgbClr>
              </a:solidFill>
              <a:ln>
                <a:solidFill>
                  <a:srgbClr val="FBC23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24" name="Rectangle 23">
                <a:extLst>
                  <a:ext uri="{FF2B5EF4-FFF2-40B4-BE49-F238E27FC236}">
                    <a16:creationId xmlns:a16="http://schemas.microsoft.com/office/drawing/2014/main" id="{69235006-63CC-6F5A-BD6B-BFBDF26DD7D6}"/>
                  </a:ext>
                </a:extLst>
              </p:cNvPr>
              <p:cNvSpPr/>
              <p:nvPr/>
            </p:nvSpPr>
            <p:spPr>
              <a:xfrm>
                <a:off x="13982335" y="7021926"/>
                <a:ext cx="306280" cy="306280"/>
              </a:xfrm>
              <a:prstGeom prst="rect">
                <a:avLst/>
              </a:prstGeom>
              <a:solidFill>
                <a:srgbClr val="FC5B2C">
                  <a:alpha val="50000"/>
                </a:srgbClr>
              </a:solidFill>
              <a:ln>
                <a:solidFill>
                  <a:srgbClr val="FC5B2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25" name="Rectangle 24">
                <a:extLst>
                  <a:ext uri="{FF2B5EF4-FFF2-40B4-BE49-F238E27FC236}">
                    <a16:creationId xmlns:a16="http://schemas.microsoft.com/office/drawing/2014/main" id="{32C595C9-F1AA-90E0-A8AC-C637490E8CEF}"/>
                  </a:ext>
                </a:extLst>
              </p:cNvPr>
              <p:cNvSpPr/>
              <p:nvPr/>
            </p:nvSpPr>
            <p:spPr>
              <a:xfrm>
                <a:off x="16141088" y="7021926"/>
                <a:ext cx="306280" cy="306280"/>
              </a:xfrm>
              <a:prstGeom prst="rect">
                <a:avLst/>
              </a:prstGeom>
              <a:solidFill>
                <a:srgbClr val="0C8D54">
                  <a:alpha val="50000"/>
                </a:srgbClr>
              </a:solidFill>
              <a:ln>
                <a:solidFill>
                  <a:srgbClr val="0C8D5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solidFill>
                    <a:srgbClr val="0C8D54"/>
                  </a:solidFill>
                </a:endParaRPr>
              </a:p>
            </p:txBody>
          </p:sp>
          <p:sp>
            <p:nvSpPr>
              <p:cNvPr id="26" name="Rectangle 25">
                <a:extLst>
                  <a:ext uri="{FF2B5EF4-FFF2-40B4-BE49-F238E27FC236}">
                    <a16:creationId xmlns:a16="http://schemas.microsoft.com/office/drawing/2014/main" id="{76171D08-EECF-4975-575F-99947C92AA7C}"/>
                  </a:ext>
                </a:extLst>
              </p:cNvPr>
              <p:cNvSpPr/>
              <p:nvPr/>
            </p:nvSpPr>
            <p:spPr>
              <a:xfrm>
                <a:off x="16507984" y="7021926"/>
                <a:ext cx="306280" cy="306280"/>
              </a:xfrm>
              <a:prstGeom prst="rect">
                <a:avLst/>
              </a:prstGeom>
              <a:solidFill>
                <a:srgbClr val="3A92F9">
                  <a:alpha val="50000"/>
                </a:srgbClr>
              </a:solidFill>
              <a:ln>
                <a:solidFill>
                  <a:srgbClr val="3A92F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27" name="Rectangle 26">
                <a:extLst>
                  <a:ext uri="{FF2B5EF4-FFF2-40B4-BE49-F238E27FC236}">
                    <a16:creationId xmlns:a16="http://schemas.microsoft.com/office/drawing/2014/main" id="{0769A7EC-EFDA-76A8-7C28-9B072DFFEFC3}"/>
                  </a:ext>
                </a:extLst>
              </p:cNvPr>
              <p:cNvSpPr/>
              <p:nvPr/>
            </p:nvSpPr>
            <p:spPr>
              <a:xfrm>
                <a:off x="18642025" y="7021926"/>
                <a:ext cx="306280" cy="306280"/>
              </a:xfrm>
              <a:prstGeom prst="rect">
                <a:avLst/>
              </a:prstGeom>
              <a:solidFill>
                <a:srgbClr val="FC5B2C">
                  <a:alpha val="50000"/>
                </a:srgbClr>
              </a:solidFill>
              <a:ln>
                <a:solidFill>
                  <a:srgbClr val="FC5B2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28" name="Rectangle 27">
                <a:extLst>
                  <a:ext uri="{FF2B5EF4-FFF2-40B4-BE49-F238E27FC236}">
                    <a16:creationId xmlns:a16="http://schemas.microsoft.com/office/drawing/2014/main" id="{3026A85F-D9DD-9E8A-B0A4-393F97E03863}"/>
                  </a:ext>
                </a:extLst>
              </p:cNvPr>
              <p:cNvSpPr/>
              <p:nvPr/>
            </p:nvSpPr>
            <p:spPr>
              <a:xfrm>
                <a:off x="18969356" y="7021926"/>
                <a:ext cx="306280" cy="306280"/>
              </a:xfrm>
              <a:prstGeom prst="rect">
                <a:avLst/>
              </a:prstGeom>
              <a:solidFill>
                <a:srgbClr val="FC5B2C">
                  <a:alpha val="50000"/>
                </a:srgbClr>
              </a:solidFill>
              <a:ln>
                <a:solidFill>
                  <a:srgbClr val="FC5B2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29" name="Rectangle 28">
                <a:extLst>
                  <a:ext uri="{FF2B5EF4-FFF2-40B4-BE49-F238E27FC236}">
                    <a16:creationId xmlns:a16="http://schemas.microsoft.com/office/drawing/2014/main" id="{E7FF0563-7C75-B58A-C90A-00E51932D40E}"/>
                  </a:ext>
                </a:extLst>
              </p:cNvPr>
              <p:cNvSpPr/>
              <p:nvPr/>
            </p:nvSpPr>
            <p:spPr>
              <a:xfrm>
                <a:off x="21072756" y="7021926"/>
                <a:ext cx="306280" cy="306280"/>
              </a:xfrm>
              <a:prstGeom prst="rect">
                <a:avLst/>
              </a:prstGeom>
              <a:solidFill>
                <a:srgbClr val="FBC23C">
                  <a:alpha val="50000"/>
                </a:srgbClr>
              </a:solidFill>
              <a:ln>
                <a:solidFill>
                  <a:srgbClr val="FBC23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30" name="Rectangle 29">
                <a:extLst>
                  <a:ext uri="{FF2B5EF4-FFF2-40B4-BE49-F238E27FC236}">
                    <a16:creationId xmlns:a16="http://schemas.microsoft.com/office/drawing/2014/main" id="{111A028B-6559-D453-9282-5DD43D0BF2C6}"/>
                  </a:ext>
                </a:extLst>
              </p:cNvPr>
              <p:cNvSpPr/>
              <p:nvPr/>
            </p:nvSpPr>
            <p:spPr>
              <a:xfrm>
                <a:off x="21604502" y="7021926"/>
                <a:ext cx="306280" cy="306280"/>
              </a:xfrm>
              <a:prstGeom prst="rect">
                <a:avLst/>
              </a:prstGeom>
              <a:solidFill>
                <a:srgbClr val="FC5B2C">
                  <a:alpha val="50000"/>
                </a:srgbClr>
              </a:solidFill>
              <a:ln>
                <a:solidFill>
                  <a:srgbClr val="FC5B2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cxnSp>
            <p:nvCxnSpPr>
              <p:cNvPr id="31" name="Connector: Elbow 30">
                <a:extLst>
                  <a:ext uri="{FF2B5EF4-FFF2-40B4-BE49-F238E27FC236}">
                    <a16:creationId xmlns:a16="http://schemas.microsoft.com/office/drawing/2014/main" id="{94EDF92E-D73C-13BF-DC6E-33027DCEF2E1}"/>
                  </a:ext>
                </a:extLst>
              </p:cNvPr>
              <p:cNvCxnSpPr>
                <a:cxnSpLocks/>
                <a:stCxn id="40" idx="0"/>
                <a:endCxn id="52" idx="2"/>
              </p:cNvCxnSpPr>
              <p:nvPr/>
            </p:nvCxnSpPr>
            <p:spPr>
              <a:xfrm rot="5400000" flipH="1" flipV="1">
                <a:off x="4294559" y="4003091"/>
                <a:ext cx="2487965" cy="2231993"/>
              </a:xfrm>
              <a:prstGeom prst="bentConnector2">
                <a:avLst/>
              </a:prstGeom>
              <a:ln>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32" name="Connector: Elbow 31">
                <a:extLst>
                  <a:ext uri="{FF2B5EF4-FFF2-40B4-BE49-F238E27FC236}">
                    <a16:creationId xmlns:a16="http://schemas.microsoft.com/office/drawing/2014/main" id="{7EF67B86-8B10-AEE0-B722-B709687A20EF}"/>
                  </a:ext>
                </a:extLst>
              </p:cNvPr>
              <p:cNvCxnSpPr>
                <a:cxnSpLocks/>
                <a:stCxn id="41" idx="0"/>
                <a:endCxn id="54" idx="4"/>
              </p:cNvCxnSpPr>
              <p:nvPr/>
            </p:nvCxnSpPr>
            <p:spPr>
              <a:xfrm rot="16200000" flipV="1">
                <a:off x="10296981" y="4072988"/>
                <a:ext cx="1440402" cy="3139760"/>
              </a:xfrm>
              <a:prstGeom prst="bentConnector3">
                <a:avLst>
                  <a:gd name="adj1" fmla="val 22265"/>
                </a:avLst>
              </a:prstGeom>
              <a:ln>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33" name="Connector: Elbow 32">
                <a:extLst>
                  <a:ext uri="{FF2B5EF4-FFF2-40B4-BE49-F238E27FC236}">
                    <a16:creationId xmlns:a16="http://schemas.microsoft.com/office/drawing/2014/main" id="{0DD7C9C8-E178-B085-0D60-F96FB868BB49}"/>
                  </a:ext>
                </a:extLst>
              </p:cNvPr>
              <p:cNvCxnSpPr>
                <a:stCxn id="42" idx="0"/>
                <a:endCxn id="56" idx="4"/>
              </p:cNvCxnSpPr>
              <p:nvPr/>
            </p:nvCxnSpPr>
            <p:spPr>
              <a:xfrm rot="16200000" flipV="1">
                <a:off x="10838086" y="3549697"/>
                <a:ext cx="2920455" cy="2706290"/>
              </a:xfrm>
              <a:prstGeom prst="bentConnector3">
                <a:avLst>
                  <a:gd name="adj1" fmla="val 53385"/>
                </a:avLst>
              </a:prstGeom>
              <a:ln>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34" name="Connector: Elbow 33">
                <a:extLst>
                  <a:ext uri="{FF2B5EF4-FFF2-40B4-BE49-F238E27FC236}">
                    <a16:creationId xmlns:a16="http://schemas.microsoft.com/office/drawing/2014/main" id="{23A8640D-F7F7-60A4-F663-6E1809C4AA21}"/>
                  </a:ext>
                </a:extLst>
              </p:cNvPr>
              <p:cNvCxnSpPr>
                <a:cxnSpLocks/>
                <a:stCxn id="44" idx="0"/>
                <a:endCxn id="61" idx="4"/>
              </p:cNvCxnSpPr>
              <p:nvPr/>
            </p:nvCxnSpPr>
            <p:spPr>
              <a:xfrm rot="16200000" flipV="1">
                <a:off x="14944087" y="4771010"/>
                <a:ext cx="1444842" cy="1739275"/>
              </a:xfrm>
              <a:prstGeom prst="bentConnector3">
                <a:avLst>
                  <a:gd name="adj1" fmla="val 14692"/>
                </a:avLst>
              </a:prstGeom>
              <a:ln>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35" name="Connector: Elbow 34">
                <a:extLst>
                  <a:ext uri="{FF2B5EF4-FFF2-40B4-BE49-F238E27FC236}">
                    <a16:creationId xmlns:a16="http://schemas.microsoft.com/office/drawing/2014/main" id="{2A71FBEA-F3DB-B433-0E96-E07C629C82F2}"/>
                  </a:ext>
                </a:extLst>
              </p:cNvPr>
              <p:cNvCxnSpPr>
                <a:cxnSpLocks/>
                <a:stCxn id="45" idx="0"/>
                <a:endCxn id="60" idx="4"/>
              </p:cNvCxnSpPr>
              <p:nvPr/>
            </p:nvCxnSpPr>
            <p:spPr>
              <a:xfrm rot="16200000" flipV="1">
                <a:off x="14862204" y="3180680"/>
                <a:ext cx="4625512" cy="1739265"/>
              </a:xfrm>
              <a:prstGeom prst="bentConnector3">
                <a:avLst>
                  <a:gd name="adj1" fmla="val 71966"/>
                </a:avLst>
              </a:prstGeom>
              <a:ln>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36" name="Connector: Elbow 35">
                <a:extLst>
                  <a:ext uri="{FF2B5EF4-FFF2-40B4-BE49-F238E27FC236}">
                    <a16:creationId xmlns:a16="http://schemas.microsoft.com/office/drawing/2014/main" id="{FBB56F85-3358-25D0-ECB0-0D91592A475B}"/>
                  </a:ext>
                </a:extLst>
              </p:cNvPr>
              <p:cNvCxnSpPr>
                <a:cxnSpLocks/>
                <a:stCxn id="43" idx="0"/>
                <a:endCxn id="2048" idx="6"/>
              </p:cNvCxnSpPr>
              <p:nvPr/>
            </p:nvCxnSpPr>
            <p:spPr>
              <a:xfrm rot="16200000" flipV="1">
                <a:off x="10946584" y="2691620"/>
                <a:ext cx="4619461" cy="2723437"/>
              </a:xfrm>
              <a:prstGeom prst="bentConnector2">
                <a:avLst/>
              </a:prstGeom>
              <a:ln>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37" name="Connector: Elbow 36">
                <a:extLst>
                  <a:ext uri="{FF2B5EF4-FFF2-40B4-BE49-F238E27FC236}">
                    <a16:creationId xmlns:a16="http://schemas.microsoft.com/office/drawing/2014/main" id="{C449341E-AB36-5BF3-7C13-7B182E2238E8}"/>
                  </a:ext>
                </a:extLst>
              </p:cNvPr>
              <p:cNvCxnSpPr>
                <a:cxnSpLocks/>
                <a:stCxn id="46" idx="0"/>
                <a:endCxn id="2049" idx="2"/>
              </p:cNvCxnSpPr>
              <p:nvPr/>
            </p:nvCxnSpPr>
            <p:spPr>
              <a:xfrm rot="5400000" flipH="1" flipV="1">
                <a:off x="17975803" y="3179687"/>
                <a:ext cx="4185823" cy="2180943"/>
              </a:xfrm>
              <a:prstGeom prst="bentConnector2">
                <a:avLst/>
              </a:prstGeom>
              <a:ln>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38" name="Connector: Elbow 37">
                <a:extLst>
                  <a:ext uri="{FF2B5EF4-FFF2-40B4-BE49-F238E27FC236}">
                    <a16:creationId xmlns:a16="http://schemas.microsoft.com/office/drawing/2014/main" id="{012A6863-A167-2D7C-A076-A73B45E580A8}"/>
                  </a:ext>
                </a:extLst>
              </p:cNvPr>
              <p:cNvCxnSpPr>
                <a:stCxn id="47" idx="0"/>
                <a:endCxn id="2051" idx="2"/>
              </p:cNvCxnSpPr>
              <p:nvPr/>
            </p:nvCxnSpPr>
            <p:spPr>
              <a:xfrm rot="5400000" flipH="1" flipV="1">
                <a:off x="19582543" y="4581520"/>
                <a:ext cx="1546931" cy="2016168"/>
              </a:xfrm>
              <a:prstGeom prst="bentConnector2">
                <a:avLst/>
              </a:prstGeom>
              <a:ln>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39" name="Connector: Elbow 38">
                <a:extLst>
                  <a:ext uri="{FF2B5EF4-FFF2-40B4-BE49-F238E27FC236}">
                    <a16:creationId xmlns:a16="http://schemas.microsoft.com/office/drawing/2014/main" id="{F0373F8A-D7F7-896E-A404-A7A10C58EF07}"/>
                  </a:ext>
                </a:extLst>
              </p:cNvPr>
              <p:cNvCxnSpPr>
                <a:cxnSpLocks/>
                <a:stCxn id="2053" idx="2"/>
                <a:endCxn id="48" idx="0"/>
              </p:cNvCxnSpPr>
              <p:nvPr/>
            </p:nvCxnSpPr>
            <p:spPr>
              <a:xfrm rot="10800000" flipV="1">
                <a:off x="21512811" y="3394967"/>
                <a:ext cx="2335840" cy="2968101"/>
              </a:xfrm>
              <a:prstGeom prst="bentConnector2">
                <a:avLst/>
              </a:prstGeom>
              <a:ln>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40" name="Rectangle 39">
                <a:extLst>
                  <a:ext uri="{FF2B5EF4-FFF2-40B4-BE49-F238E27FC236}">
                    <a16:creationId xmlns:a16="http://schemas.microsoft.com/office/drawing/2014/main" id="{BA60AE0D-4F82-B470-627C-9BE64CAD938F}"/>
                  </a:ext>
                </a:extLst>
              </p:cNvPr>
              <p:cNvSpPr/>
              <p:nvPr/>
            </p:nvSpPr>
            <p:spPr>
              <a:xfrm>
                <a:off x="4269405" y="6363069"/>
                <a:ext cx="306280" cy="306280"/>
              </a:xfrm>
              <a:prstGeom prst="rect">
                <a:avLst/>
              </a:prstGeom>
              <a:solidFill>
                <a:srgbClr val="FBC23C">
                  <a:alpha val="50000"/>
                </a:srgbClr>
              </a:solidFill>
              <a:ln>
                <a:solidFill>
                  <a:srgbClr val="FBC23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41" name="Rectangle 40">
                <a:extLst>
                  <a:ext uri="{FF2B5EF4-FFF2-40B4-BE49-F238E27FC236}">
                    <a16:creationId xmlns:a16="http://schemas.microsoft.com/office/drawing/2014/main" id="{C38683E7-3130-DFA7-C090-D010C695F0D7}"/>
                  </a:ext>
                </a:extLst>
              </p:cNvPr>
              <p:cNvSpPr/>
              <p:nvPr/>
            </p:nvSpPr>
            <p:spPr>
              <a:xfrm>
                <a:off x="12433922" y="6363069"/>
                <a:ext cx="306280" cy="306280"/>
              </a:xfrm>
              <a:prstGeom prst="rect">
                <a:avLst/>
              </a:prstGeom>
              <a:solidFill>
                <a:srgbClr val="FBC23C">
                  <a:alpha val="50000"/>
                </a:srgbClr>
              </a:solidFill>
              <a:ln>
                <a:solidFill>
                  <a:srgbClr val="FBC23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42" name="Rectangle 41">
                <a:extLst>
                  <a:ext uri="{FF2B5EF4-FFF2-40B4-BE49-F238E27FC236}">
                    <a16:creationId xmlns:a16="http://schemas.microsoft.com/office/drawing/2014/main" id="{2EF5693D-D524-78C7-08EF-2701AB3EA8E0}"/>
                  </a:ext>
                </a:extLst>
              </p:cNvPr>
              <p:cNvSpPr/>
              <p:nvPr/>
            </p:nvSpPr>
            <p:spPr>
              <a:xfrm>
                <a:off x="13498318" y="6363069"/>
                <a:ext cx="306280" cy="306280"/>
              </a:xfrm>
              <a:prstGeom prst="rect">
                <a:avLst/>
              </a:prstGeom>
              <a:solidFill>
                <a:srgbClr val="0C8D54">
                  <a:alpha val="50000"/>
                </a:srgbClr>
              </a:solidFill>
              <a:ln>
                <a:solidFill>
                  <a:srgbClr val="0C8D5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43" name="Rectangle 42">
                <a:extLst>
                  <a:ext uri="{FF2B5EF4-FFF2-40B4-BE49-F238E27FC236}">
                    <a16:creationId xmlns:a16="http://schemas.microsoft.com/office/drawing/2014/main" id="{0DBF1835-7B1E-9856-D169-C1444218CB43}"/>
                  </a:ext>
                </a:extLst>
              </p:cNvPr>
              <p:cNvSpPr/>
              <p:nvPr/>
            </p:nvSpPr>
            <p:spPr>
              <a:xfrm>
                <a:off x="14464892" y="6363069"/>
                <a:ext cx="306280" cy="306280"/>
              </a:xfrm>
              <a:prstGeom prst="rect">
                <a:avLst/>
              </a:prstGeom>
              <a:solidFill>
                <a:srgbClr val="595959">
                  <a:alpha val="50000"/>
                </a:srgbClr>
              </a:solidFill>
              <a:ln>
                <a:solidFill>
                  <a:srgbClr val="59595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44" name="Rectangle 43">
                <a:extLst>
                  <a:ext uri="{FF2B5EF4-FFF2-40B4-BE49-F238E27FC236}">
                    <a16:creationId xmlns:a16="http://schemas.microsoft.com/office/drawing/2014/main" id="{3D06E84F-8DBC-4B44-9B00-18165E18FD3E}"/>
                  </a:ext>
                </a:extLst>
              </p:cNvPr>
              <p:cNvSpPr/>
              <p:nvPr/>
            </p:nvSpPr>
            <p:spPr>
              <a:xfrm>
                <a:off x="16383005" y="6363069"/>
                <a:ext cx="306280" cy="306280"/>
              </a:xfrm>
              <a:prstGeom prst="rect">
                <a:avLst/>
              </a:prstGeom>
              <a:solidFill>
                <a:srgbClr val="FB41DC">
                  <a:alpha val="50000"/>
                </a:srgbClr>
              </a:solidFill>
              <a:ln>
                <a:solidFill>
                  <a:srgbClr val="FB41D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45" name="Rectangle 44">
                <a:extLst>
                  <a:ext uri="{FF2B5EF4-FFF2-40B4-BE49-F238E27FC236}">
                    <a16:creationId xmlns:a16="http://schemas.microsoft.com/office/drawing/2014/main" id="{724B12F1-849B-3054-991A-8905003E91AE}"/>
                  </a:ext>
                </a:extLst>
              </p:cNvPr>
              <p:cNvSpPr/>
              <p:nvPr/>
            </p:nvSpPr>
            <p:spPr>
              <a:xfrm>
                <a:off x="17891452" y="6363069"/>
                <a:ext cx="306280" cy="306280"/>
              </a:xfrm>
              <a:prstGeom prst="rect">
                <a:avLst/>
              </a:prstGeom>
              <a:solidFill>
                <a:srgbClr val="3A92F9">
                  <a:alpha val="50000"/>
                </a:srgbClr>
              </a:solidFill>
              <a:ln>
                <a:solidFill>
                  <a:srgbClr val="3A92F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46" name="Rectangle 45">
                <a:extLst>
                  <a:ext uri="{FF2B5EF4-FFF2-40B4-BE49-F238E27FC236}">
                    <a16:creationId xmlns:a16="http://schemas.microsoft.com/office/drawing/2014/main" id="{99AAEBE6-BBB6-1068-E0AD-CA4A10AA3CDC}"/>
                  </a:ext>
                </a:extLst>
              </p:cNvPr>
              <p:cNvSpPr/>
              <p:nvPr/>
            </p:nvSpPr>
            <p:spPr>
              <a:xfrm>
                <a:off x="18825103" y="6363069"/>
                <a:ext cx="306280" cy="306280"/>
              </a:xfrm>
              <a:prstGeom prst="rect">
                <a:avLst/>
              </a:prstGeom>
              <a:solidFill>
                <a:srgbClr val="FBC23C">
                  <a:alpha val="50000"/>
                </a:srgbClr>
              </a:solidFill>
              <a:ln>
                <a:solidFill>
                  <a:srgbClr val="FBC23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47" name="Rectangle 46">
                <a:extLst>
                  <a:ext uri="{FF2B5EF4-FFF2-40B4-BE49-F238E27FC236}">
                    <a16:creationId xmlns:a16="http://schemas.microsoft.com/office/drawing/2014/main" id="{159A3413-BDD3-19EF-4BCD-B296D0DD2B5A}"/>
                  </a:ext>
                </a:extLst>
              </p:cNvPr>
              <p:cNvSpPr/>
              <p:nvPr/>
            </p:nvSpPr>
            <p:spPr>
              <a:xfrm>
                <a:off x="19194784" y="6363069"/>
                <a:ext cx="306280" cy="306280"/>
              </a:xfrm>
              <a:prstGeom prst="rect">
                <a:avLst/>
              </a:prstGeom>
              <a:solidFill>
                <a:srgbClr val="3A92F9">
                  <a:alpha val="50000"/>
                </a:srgbClr>
              </a:solidFill>
              <a:ln>
                <a:solidFill>
                  <a:srgbClr val="3A92F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48" name="Rectangle 47">
                <a:extLst>
                  <a:ext uri="{FF2B5EF4-FFF2-40B4-BE49-F238E27FC236}">
                    <a16:creationId xmlns:a16="http://schemas.microsoft.com/office/drawing/2014/main" id="{3CB538B7-D6A2-D69D-1CA6-E717CBC16262}"/>
                  </a:ext>
                </a:extLst>
              </p:cNvPr>
              <p:cNvSpPr/>
              <p:nvPr/>
            </p:nvSpPr>
            <p:spPr>
              <a:xfrm>
                <a:off x="21359671" y="6363069"/>
                <a:ext cx="306280" cy="306280"/>
              </a:xfrm>
              <a:prstGeom prst="rect">
                <a:avLst/>
              </a:prstGeom>
              <a:solidFill>
                <a:srgbClr val="FB41DC">
                  <a:alpha val="50000"/>
                </a:srgbClr>
              </a:solidFill>
              <a:ln>
                <a:solidFill>
                  <a:srgbClr val="FB41D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49" name="Rectangle 48">
                <a:extLst>
                  <a:ext uri="{FF2B5EF4-FFF2-40B4-BE49-F238E27FC236}">
                    <a16:creationId xmlns:a16="http://schemas.microsoft.com/office/drawing/2014/main" id="{8A9B8EE7-B88E-91EE-66E2-84E9E25643F7}"/>
                  </a:ext>
                </a:extLst>
              </p:cNvPr>
              <p:cNvSpPr/>
              <p:nvPr/>
            </p:nvSpPr>
            <p:spPr>
              <a:xfrm>
                <a:off x="455705" y="6565036"/>
                <a:ext cx="7285607" cy="585927"/>
              </a:xfrm>
              <a:prstGeom prst="rect">
                <a:avLst/>
              </a:prstGeom>
              <a:solidFill>
                <a:srgbClr val="000000"/>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b="1" dirty="0">
                    <a:solidFill>
                      <a:schemeClr val="bg1"/>
                    </a:solidFill>
                    <a:latin typeface="+mj-lt"/>
                    <a:cs typeface="Replica LL" panose="020B0504010101010104" pitchFamily="34" charset="0"/>
                  </a:rPr>
                  <a:t>2022</a:t>
                </a:r>
              </a:p>
            </p:txBody>
          </p:sp>
          <p:grpSp>
            <p:nvGrpSpPr>
              <p:cNvPr id="50" name="Group 49">
                <a:extLst>
                  <a:ext uri="{FF2B5EF4-FFF2-40B4-BE49-F238E27FC236}">
                    <a16:creationId xmlns:a16="http://schemas.microsoft.com/office/drawing/2014/main" id="{582C1D49-A3E9-9F26-C7F6-172855F5D70B}"/>
                  </a:ext>
                </a:extLst>
              </p:cNvPr>
              <p:cNvGrpSpPr/>
              <p:nvPr/>
            </p:nvGrpSpPr>
            <p:grpSpPr>
              <a:xfrm>
                <a:off x="7741314" y="6565036"/>
                <a:ext cx="7285608" cy="585927"/>
                <a:chOff x="1906344" y="5370988"/>
                <a:chExt cx="3915598" cy="585927"/>
              </a:xfrm>
            </p:grpSpPr>
            <p:sp>
              <p:nvSpPr>
                <p:cNvPr id="2119" name="Rectangle 2118">
                  <a:extLst>
                    <a:ext uri="{FF2B5EF4-FFF2-40B4-BE49-F238E27FC236}">
                      <a16:creationId xmlns:a16="http://schemas.microsoft.com/office/drawing/2014/main" id="{7BB8C3DF-3557-3998-9353-3D2E1C9ED6F5}"/>
                    </a:ext>
                  </a:extLst>
                </p:cNvPr>
                <p:cNvSpPr/>
                <p:nvPr/>
              </p:nvSpPr>
              <p:spPr>
                <a:xfrm>
                  <a:off x="1906344" y="5370988"/>
                  <a:ext cx="1957799" cy="585927"/>
                </a:xfrm>
                <a:prstGeom prst="rect">
                  <a:avLst/>
                </a:prstGeom>
                <a:solidFill>
                  <a:srgbClr val="C4C4C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2120" name="Rectangle 2119">
                  <a:extLst>
                    <a:ext uri="{FF2B5EF4-FFF2-40B4-BE49-F238E27FC236}">
                      <a16:creationId xmlns:a16="http://schemas.microsoft.com/office/drawing/2014/main" id="{B25D2B7C-2D57-5114-00C7-AE92F71C295C}"/>
                    </a:ext>
                  </a:extLst>
                </p:cNvPr>
                <p:cNvSpPr/>
                <p:nvPr/>
              </p:nvSpPr>
              <p:spPr>
                <a:xfrm>
                  <a:off x="3864143" y="5370988"/>
                  <a:ext cx="1957799" cy="585927"/>
                </a:xfrm>
                <a:prstGeom prst="rect">
                  <a:avLst/>
                </a:prstGeom>
                <a:solidFill>
                  <a:srgbClr val="C4C4C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grpSp>
          <p:sp>
            <p:nvSpPr>
              <p:cNvPr id="51" name="Rectangle 50">
                <a:extLst>
                  <a:ext uri="{FF2B5EF4-FFF2-40B4-BE49-F238E27FC236}">
                    <a16:creationId xmlns:a16="http://schemas.microsoft.com/office/drawing/2014/main" id="{909CC373-0EF3-6381-5625-505C94BD317E}"/>
                  </a:ext>
                </a:extLst>
              </p:cNvPr>
              <p:cNvSpPr/>
              <p:nvPr/>
            </p:nvSpPr>
            <p:spPr>
              <a:xfrm>
                <a:off x="15026921" y="6555892"/>
                <a:ext cx="7285606" cy="585927"/>
              </a:xfrm>
              <a:prstGeom prst="rect">
                <a:avLst/>
              </a:prstGeom>
              <a:solidFill>
                <a:srgbClr val="000000"/>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b="1" dirty="0">
                    <a:solidFill>
                      <a:schemeClr val="bg1"/>
                    </a:solidFill>
                    <a:latin typeface="+mj-lt"/>
                    <a:cs typeface="Replica LL" panose="020B0504010101010104" pitchFamily="34" charset="0"/>
                  </a:rPr>
                  <a:t>2024</a:t>
                </a:r>
              </a:p>
            </p:txBody>
          </p:sp>
          <p:sp>
            <p:nvSpPr>
              <p:cNvPr id="52" name="Oval 51">
                <a:extLst>
                  <a:ext uri="{FF2B5EF4-FFF2-40B4-BE49-F238E27FC236}">
                    <a16:creationId xmlns:a16="http://schemas.microsoft.com/office/drawing/2014/main" id="{8ED8C96C-8FBB-5D4B-154C-2AB2B4541C88}"/>
                  </a:ext>
                </a:extLst>
              </p:cNvPr>
              <p:cNvSpPr/>
              <p:nvPr/>
            </p:nvSpPr>
            <p:spPr>
              <a:xfrm>
                <a:off x="6654538" y="3755255"/>
                <a:ext cx="239697" cy="239697"/>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53" name="Oval 52">
                <a:extLst>
                  <a:ext uri="{FF2B5EF4-FFF2-40B4-BE49-F238E27FC236}">
                    <a16:creationId xmlns:a16="http://schemas.microsoft.com/office/drawing/2014/main" id="{2507CAC0-483B-FBBE-079E-DB469E9A89E6}"/>
                  </a:ext>
                </a:extLst>
              </p:cNvPr>
              <p:cNvSpPr/>
              <p:nvPr/>
            </p:nvSpPr>
            <p:spPr>
              <a:xfrm>
                <a:off x="2220517" y="9689976"/>
                <a:ext cx="239697" cy="239697"/>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54" name="Oval 53">
                <a:extLst>
                  <a:ext uri="{FF2B5EF4-FFF2-40B4-BE49-F238E27FC236}">
                    <a16:creationId xmlns:a16="http://schemas.microsoft.com/office/drawing/2014/main" id="{51A2C9AD-D033-50DC-9035-D722B906C885}"/>
                  </a:ext>
                </a:extLst>
              </p:cNvPr>
              <p:cNvSpPr/>
              <p:nvPr/>
            </p:nvSpPr>
            <p:spPr>
              <a:xfrm>
                <a:off x="9327453" y="4682970"/>
                <a:ext cx="239697" cy="239697"/>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55" name="Oval 54">
                <a:extLst>
                  <a:ext uri="{FF2B5EF4-FFF2-40B4-BE49-F238E27FC236}">
                    <a16:creationId xmlns:a16="http://schemas.microsoft.com/office/drawing/2014/main" id="{A9FA6774-2CD2-8BD5-44EF-767A649860C8}"/>
                  </a:ext>
                </a:extLst>
              </p:cNvPr>
              <p:cNvSpPr/>
              <p:nvPr/>
            </p:nvSpPr>
            <p:spPr>
              <a:xfrm>
                <a:off x="9947071" y="9059661"/>
                <a:ext cx="239697" cy="239697"/>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56" name="Oval 55">
                <a:extLst>
                  <a:ext uri="{FF2B5EF4-FFF2-40B4-BE49-F238E27FC236}">
                    <a16:creationId xmlns:a16="http://schemas.microsoft.com/office/drawing/2014/main" id="{988BB3C0-BBFD-5520-83EB-80750408BC27}"/>
                  </a:ext>
                </a:extLst>
              </p:cNvPr>
              <p:cNvSpPr/>
              <p:nvPr/>
            </p:nvSpPr>
            <p:spPr>
              <a:xfrm>
                <a:off x="10825319" y="3202917"/>
                <a:ext cx="239697" cy="239697"/>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57" name="Oval 56">
                <a:extLst>
                  <a:ext uri="{FF2B5EF4-FFF2-40B4-BE49-F238E27FC236}">
                    <a16:creationId xmlns:a16="http://schemas.microsoft.com/office/drawing/2014/main" id="{193A8EA8-0187-BD61-FD19-3FFD85B9DA05}"/>
                  </a:ext>
                </a:extLst>
              </p:cNvPr>
              <p:cNvSpPr/>
              <p:nvPr/>
            </p:nvSpPr>
            <p:spPr>
              <a:xfrm>
                <a:off x="10941727" y="10577747"/>
                <a:ext cx="239697" cy="239697"/>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58" name="Oval 57">
                <a:extLst>
                  <a:ext uri="{FF2B5EF4-FFF2-40B4-BE49-F238E27FC236}">
                    <a16:creationId xmlns:a16="http://schemas.microsoft.com/office/drawing/2014/main" id="{0A72E391-E39B-30CD-86A1-4B9D1ECCE28D}"/>
                  </a:ext>
                </a:extLst>
              </p:cNvPr>
              <p:cNvSpPr/>
              <p:nvPr/>
            </p:nvSpPr>
            <p:spPr>
              <a:xfrm>
                <a:off x="14077021" y="9308239"/>
                <a:ext cx="239697" cy="239697"/>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59" name="Oval 58">
                <a:extLst>
                  <a:ext uri="{FF2B5EF4-FFF2-40B4-BE49-F238E27FC236}">
                    <a16:creationId xmlns:a16="http://schemas.microsoft.com/office/drawing/2014/main" id="{528DE137-A622-B1C7-8AEE-29C3C43C056D}"/>
                  </a:ext>
                </a:extLst>
              </p:cNvPr>
              <p:cNvSpPr/>
              <p:nvPr/>
            </p:nvSpPr>
            <p:spPr>
              <a:xfrm>
                <a:off x="14254912" y="11208066"/>
                <a:ext cx="239697" cy="239697"/>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60" name="Oval 59">
                <a:extLst>
                  <a:ext uri="{FF2B5EF4-FFF2-40B4-BE49-F238E27FC236}">
                    <a16:creationId xmlns:a16="http://schemas.microsoft.com/office/drawing/2014/main" id="{D88DFA29-8228-5AEC-F3F5-EE3E7860284D}"/>
                  </a:ext>
                </a:extLst>
              </p:cNvPr>
              <p:cNvSpPr/>
              <p:nvPr/>
            </p:nvSpPr>
            <p:spPr>
              <a:xfrm>
                <a:off x="16185478" y="1497860"/>
                <a:ext cx="239697" cy="239697"/>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61" name="Oval 60">
                <a:extLst>
                  <a:ext uri="{FF2B5EF4-FFF2-40B4-BE49-F238E27FC236}">
                    <a16:creationId xmlns:a16="http://schemas.microsoft.com/office/drawing/2014/main" id="{7DD586FE-8B6F-9464-2943-729B29E5F9DA}"/>
                  </a:ext>
                </a:extLst>
              </p:cNvPr>
              <p:cNvSpPr/>
              <p:nvPr/>
            </p:nvSpPr>
            <p:spPr>
              <a:xfrm>
                <a:off x="14677021" y="4678530"/>
                <a:ext cx="239697" cy="239697"/>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62" name="Oval 61">
                <a:extLst>
                  <a:ext uri="{FF2B5EF4-FFF2-40B4-BE49-F238E27FC236}">
                    <a16:creationId xmlns:a16="http://schemas.microsoft.com/office/drawing/2014/main" id="{B5F7B9DB-758F-DC7F-60DF-BB234169565C}"/>
                  </a:ext>
                </a:extLst>
              </p:cNvPr>
              <p:cNvSpPr/>
              <p:nvPr/>
            </p:nvSpPr>
            <p:spPr>
              <a:xfrm>
                <a:off x="16876355" y="9424207"/>
                <a:ext cx="239697" cy="239697"/>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63" name="Oval 62">
                <a:extLst>
                  <a:ext uri="{FF2B5EF4-FFF2-40B4-BE49-F238E27FC236}">
                    <a16:creationId xmlns:a16="http://schemas.microsoft.com/office/drawing/2014/main" id="{3F4349F8-9259-F70E-D0D0-EDE9F7AEBCB7}"/>
                  </a:ext>
                </a:extLst>
              </p:cNvPr>
              <p:cNvSpPr/>
              <p:nvPr/>
            </p:nvSpPr>
            <p:spPr>
              <a:xfrm>
                <a:off x="21503168" y="10551113"/>
                <a:ext cx="239697" cy="239697"/>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2048" name="Oval 2047">
                <a:extLst>
                  <a:ext uri="{FF2B5EF4-FFF2-40B4-BE49-F238E27FC236}">
                    <a16:creationId xmlns:a16="http://schemas.microsoft.com/office/drawing/2014/main" id="{0073126B-A1C0-9D60-CF9D-CE53113DBCFE}"/>
                  </a:ext>
                </a:extLst>
              </p:cNvPr>
              <p:cNvSpPr/>
              <p:nvPr/>
            </p:nvSpPr>
            <p:spPr>
              <a:xfrm>
                <a:off x="11654898" y="1623759"/>
                <a:ext cx="239697" cy="239697"/>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2049" name="Oval 2048">
                <a:extLst>
                  <a:ext uri="{FF2B5EF4-FFF2-40B4-BE49-F238E27FC236}">
                    <a16:creationId xmlns:a16="http://schemas.microsoft.com/office/drawing/2014/main" id="{11947D8E-EB0C-58C5-89EC-12ADA6EF1FE8}"/>
                  </a:ext>
                </a:extLst>
              </p:cNvPr>
              <p:cNvSpPr/>
              <p:nvPr/>
            </p:nvSpPr>
            <p:spPr>
              <a:xfrm>
                <a:off x="21159186" y="2057397"/>
                <a:ext cx="239697" cy="239697"/>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2051" name="Oval 2050">
                <a:extLst>
                  <a:ext uri="{FF2B5EF4-FFF2-40B4-BE49-F238E27FC236}">
                    <a16:creationId xmlns:a16="http://schemas.microsoft.com/office/drawing/2014/main" id="{6268A9AB-D656-42DE-9C5C-0D4AA5681223}"/>
                  </a:ext>
                </a:extLst>
              </p:cNvPr>
              <p:cNvSpPr/>
              <p:nvPr/>
            </p:nvSpPr>
            <p:spPr>
              <a:xfrm>
                <a:off x="21364092" y="4696289"/>
                <a:ext cx="239697" cy="239697"/>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2052" name="Oval 2051">
                <a:extLst>
                  <a:ext uri="{FF2B5EF4-FFF2-40B4-BE49-F238E27FC236}">
                    <a16:creationId xmlns:a16="http://schemas.microsoft.com/office/drawing/2014/main" id="{E5189483-8C61-BFE1-6A3A-89EE95483881}"/>
                  </a:ext>
                </a:extLst>
              </p:cNvPr>
              <p:cNvSpPr/>
              <p:nvPr/>
            </p:nvSpPr>
            <p:spPr>
              <a:xfrm>
                <a:off x="19077215" y="8726752"/>
                <a:ext cx="239697" cy="239697"/>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2053" name="Oval 2052">
                <a:extLst>
                  <a:ext uri="{FF2B5EF4-FFF2-40B4-BE49-F238E27FC236}">
                    <a16:creationId xmlns:a16="http://schemas.microsoft.com/office/drawing/2014/main" id="{E3C40491-CF0C-304E-97D1-44F5816ED6C5}"/>
                  </a:ext>
                </a:extLst>
              </p:cNvPr>
              <p:cNvSpPr/>
              <p:nvPr/>
            </p:nvSpPr>
            <p:spPr>
              <a:xfrm>
                <a:off x="23848651" y="3275119"/>
                <a:ext cx="239697" cy="239697"/>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2054" name="Oval 2053">
                <a:extLst>
                  <a:ext uri="{FF2B5EF4-FFF2-40B4-BE49-F238E27FC236}">
                    <a16:creationId xmlns:a16="http://schemas.microsoft.com/office/drawing/2014/main" id="{BC46438E-C1ED-552E-1A65-F643AC33F230}"/>
                  </a:ext>
                </a:extLst>
              </p:cNvPr>
              <p:cNvSpPr/>
              <p:nvPr/>
            </p:nvSpPr>
            <p:spPr>
              <a:xfrm>
                <a:off x="23950726" y="9345969"/>
                <a:ext cx="239697" cy="239697"/>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2055" name="TextBox 2054">
                <a:extLst>
                  <a:ext uri="{FF2B5EF4-FFF2-40B4-BE49-F238E27FC236}">
                    <a16:creationId xmlns:a16="http://schemas.microsoft.com/office/drawing/2014/main" id="{53EF49F4-A1F9-F25E-C03D-19851F9BE846}"/>
                  </a:ext>
                </a:extLst>
              </p:cNvPr>
              <p:cNvSpPr txBox="1"/>
              <p:nvPr/>
            </p:nvSpPr>
            <p:spPr>
              <a:xfrm>
                <a:off x="4417359" y="3884770"/>
                <a:ext cx="2499060" cy="933975"/>
              </a:xfrm>
              <a:prstGeom prst="rect">
                <a:avLst/>
              </a:prstGeom>
              <a:noFill/>
            </p:spPr>
            <p:txBody>
              <a:bodyPr wrap="square" rtlCol="0">
                <a:spAutoFit/>
              </a:bodyPr>
              <a:lstStyle/>
              <a:p>
                <a:r>
                  <a:rPr lang="en-US" sz="600" b="1" dirty="0">
                    <a:solidFill>
                      <a:srgbClr val="FBC23C"/>
                    </a:solidFill>
                    <a:latin typeface="Manrope" pitchFamily="2" charset="0"/>
                    <a:cs typeface="Replica LL" panose="020B0504010101010104" pitchFamily="34" charset="0"/>
                  </a:rPr>
                  <a:t>DIRECT AIR CAPTURE</a:t>
                </a:r>
              </a:p>
              <a:p>
                <a:r>
                  <a:rPr lang="en-US" sz="600" dirty="0">
                    <a:latin typeface="Manrope" pitchFamily="2" charset="0"/>
                    <a:cs typeface="Replica LL" panose="020B0504010101010104" pitchFamily="34" charset="0"/>
                  </a:rPr>
                  <a:t>Climeworks and Microsoft announce 10-year carbon removal agreement</a:t>
                </a:r>
                <a:endParaRPr lang="en-US" sz="400" dirty="0">
                  <a:latin typeface="Manrope" pitchFamily="2" charset="0"/>
                  <a:cs typeface="Replica LL" panose="020B0504010101010104" pitchFamily="34" charset="0"/>
                </a:endParaRPr>
              </a:p>
            </p:txBody>
          </p:sp>
          <p:sp>
            <p:nvSpPr>
              <p:cNvPr id="2056" name="TextBox 2055">
                <a:extLst>
                  <a:ext uri="{FF2B5EF4-FFF2-40B4-BE49-F238E27FC236}">
                    <a16:creationId xmlns:a16="http://schemas.microsoft.com/office/drawing/2014/main" id="{F9B7584F-5C6D-FF5C-EDDB-C6AFA6C6389E}"/>
                  </a:ext>
                </a:extLst>
              </p:cNvPr>
              <p:cNvSpPr txBox="1"/>
              <p:nvPr/>
            </p:nvSpPr>
            <p:spPr>
              <a:xfrm>
                <a:off x="2317073" y="9090877"/>
                <a:ext cx="2525314" cy="747180"/>
              </a:xfrm>
              <a:prstGeom prst="rect">
                <a:avLst/>
              </a:prstGeom>
              <a:noFill/>
            </p:spPr>
            <p:txBody>
              <a:bodyPr wrap="square" rtlCol="0">
                <a:spAutoFit/>
              </a:bodyPr>
              <a:lstStyle/>
              <a:p>
                <a:pPr algn="r"/>
                <a:r>
                  <a:rPr lang="en-US" sz="600" b="1" dirty="0">
                    <a:solidFill>
                      <a:srgbClr val="0C8D54"/>
                    </a:solidFill>
                    <a:latin typeface="Manrope" pitchFamily="2" charset="0"/>
                    <a:cs typeface="Replica LL" panose="020B0504010101010104" pitchFamily="34" charset="0"/>
                  </a:rPr>
                  <a:t>GREEN HYDROGEN</a:t>
                </a:r>
              </a:p>
              <a:p>
                <a:pPr algn="r"/>
                <a:r>
                  <a:rPr lang="en-US" sz="600" dirty="0">
                    <a:latin typeface="Manrope" pitchFamily="2" charset="0"/>
                    <a:cs typeface="Replica LL" panose="020B0504010101010104" pitchFamily="34" charset="0"/>
                  </a:rPr>
                  <a:t>Amazon invests in the two electrolyzer companies</a:t>
                </a:r>
                <a:endParaRPr lang="en-US" sz="400" dirty="0">
                  <a:latin typeface="Manrope" pitchFamily="2" charset="0"/>
                  <a:cs typeface="Replica LL" panose="020B0504010101010104" pitchFamily="34" charset="0"/>
                </a:endParaRPr>
              </a:p>
            </p:txBody>
          </p:sp>
          <p:pic>
            <p:nvPicPr>
              <p:cNvPr id="2057" name="Picture 2" descr="Advisory Manager (80-100%) - Job Offer at Climeworks AG - jobs.ch">
                <a:extLst>
                  <a:ext uri="{FF2B5EF4-FFF2-40B4-BE49-F238E27FC236}">
                    <a16:creationId xmlns:a16="http://schemas.microsoft.com/office/drawing/2014/main" id="{9AEE4420-A5E9-7161-5DAB-C18867CB29AD}"/>
                  </a:ext>
                </a:extLst>
              </p:cNvPr>
              <p:cNvPicPr>
                <a:picLocks noChangeAspect="1" noChangeArrowheads="1"/>
              </p:cNvPicPr>
              <p:nvPr/>
            </p:nvPicPr>
            <p:blipFill>
              <a:blip r:embed="rId2">
                <a:grayscl/>
                <a:extLst>
                  <a:ext uri="{28A0092B-C50C-407E-A947-70E740481C1C}">
                    <a14:useLocalDpi xmlns:a14="http://schemas.microsoft.com/office/drawing/2010/main" val="0"/>
                  </a:ext>
                </a:extLst>
              </a:blip>
              <a:srcRect/>
              <a:stretch>
                <a:fillRect/>
              </a:stretch>
            </p:blipFill>
            <p:spPr bwMode="auto">
              <a:xfrm>
                <a:off x="4478378" y="4802752"/>
                <a:ext cx="1556558" cy="247339"/>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4" descr="The Amazon Logo: Inspiring Insights for Business Owners and Marketers -  crowdspring Blog">
                <a:extLst>
                  <a:ext uri="{FF2B5EF4-FFF2-40B4-BE49-F238E27FC236}">
                    <a16:creationId xmlns:a16="http://schemas.microsoft.com/office/drawing/2014/main" id="{C67BA6CB-9727-A6B3-DB5B-C08603A0C0AC}"/>
                  </a:ext>
                </a:extLst>
              </p:cNvPr>
              <p:cNvPicPr>
                <a:picLocks noChangeAspect="1" noChangeArrowheads="1"/>
              </p:cNvPicPr>
              <p:nvPr/>
            </p:nvPicPr>
            <p:blipFill>
              <a:blip r:embed="rId3">
                <a:grayscl/>
                <a:extLst>
                  <a:ext uri="{28A0092B-C50C-407E-A947-70E740481C1C}">
                    <a14:useLocalDpi xmlns:a14="http://schemas.microsoft.com/office/drawing/2010/main" val="0"/>
                  </a:ext>
                </a:extLst>
              </a:blip>
              <a:srcRect/>
              <a:stretch>
                <a:fillRect/>
              </a:stretch>
            </p:blipFill>
            <p:spPr bwMode="auto">
              <a:xfrm>
                <a:off x="3461629" y="8337861"/>
                <a:ext cx="847916" cy="255587"/>
              </a:xfrm>
              <a:prstGeom prst="rect">
                <a:avLst/>
              </a:prstGeom>
              <a:noFill/>
              <a:extLst>
                <a:ext uri="{909E8E84-426E-40DD-AFC4-6F175D3DCCD1}">
                  <a14:hiddenFill xmlns:a14="http://schemas.microsoft.com/office/drawing/2010/main">
                    <a:solidFill>
                      <a:srgbClr val="FFFFFF"/>
                    </a:solidFill>
                  </a14:hiddenFill>
                </a:ext>
              </a:extLst>
            </p:spPr>
          </p:pic>
          <p:pic>
            <p:nvPicPr>
              <p:cNvPr id="2059" name="Picture 6" descr="Microsoft Logo PNGs for Free Download">
                <a:extLst>
                  <a:ext uri="{FF2B5EF4-FFF2-40B4-BE49-F238E27FC236}">
                    <a16:creationId xmlns:a16="http://schemas.microsoft.com/office/drawing/2014/main" id="{84A53A85-51E2-4C01-0B78-E638D186D814}"/>
                  </a:ext>
                </a:extLst>
              </p:cNvPr>
              <p:cNvPicPr>
                <a:picLocks noChangeAspect="1" noChangeArrowheads="1"/>
              </p:cNvPicPr>
              <p:nvPr/>
            </p:nvPicPr>
            <p:blipFill rotWithShape="1">
              <a:blip r:embed="rId4">
                <a:grayscl/>
                <a:extLst>
                  <a:ext uri="{28A0092B-C50C-407E-A947-70E740481C1C}">
                    <a14:useLocalDpi xmlns:a14="http://schemas.microsoft.com/office/drawing/2010/main" val="0"/>
                  </a:ext>
                </a:extLst>
              </a:blip>
              <a:srcRect t="39146" b="34629"/>
              <a:stretch/>
            </p:blipFill>
            <p:spPr bwMode="auto">
              <a:xfrm>
                <a:off x="4417359" y="5089546"/>
                <a:ext cx="1556943" cy="408305"/>
              </a:xfrm>
              <a:prstGeom prst="rect">
                <a:avLst/>
              </a:prstGeom>
              <a:noFill/>
              <a:extLst>
                <a:ext uri="{909E8E84-426E-40DD-AFC4-6F175D3DCCD1}">
                  <a14:hiddenFill xmlns:a14="http://schemas.microsoft.com/office/drawing/2010/main">
                    <a:solidFill>
                      <a:srgbClr val="FFFFFF"/>
                    </a:solidFill>
                  </a14:hiddenFill>
                </a:ext>
              </a:extLst>
            </p:spPr>
          </p:pic>
          <p:pic>
            <p:nvPicPr>
              <p:cNvPr id="2060" name="Picture 8" descr="Electric Hydrogen Co.:Patent,Patent Application,Portfolio Analysis -  Discovery | PatSnap">
                <a:extLst>
                  <a:ext uri="{FF2B5EF4-FFF2-40B4-BE49-F238E27FC236}">
                    <a16:creationId xmlns:a16="http://schemas.microsoft.com/office/drawing/2014/main" id="{C482143A-0C37-C62F-B29C-303EA27FD7D0}"/>
                  </a:ext>
                </a:extLst>
              </p:cNvPr>
              <p:cNvPicPr>
                <a:picLocks noChangeAspect="1" noChangeArrowheads="1"/>
              </p:cNvPicPr>
              <p:nvPr/>
            </p:nvPicPr>
            <p:blipFill>
              <a:blip r:embed="rId5">
                <a:grayscl/>
                <a:extLst>
                  <a:ext uri="{28A0092B-C50C-407E-A947-70E740481C1C}">
                    <a14:useLocalDpi xmlns:a14="http://schemas.microsoft.com/office/drawing/2010/main" val="0"/>
                  </a:ext>
                </a:extLst>
              </a:blip>
              <a:srcRect/>
              <a:stretch>
                <a:fillRect/>
              </a:stretch>
            </p:blipFill>
            <p:spPr bwMode="auto">
              <a:xfrm>
                <a:off x="3798761" y="8709904"/>
                <a:ext cx="1028019" cy="278738"/>
              </a:xfrm>
              <a:prstGeom prst="rect">
                <a:avLst/>
              </a:prstGeom>
              <a:noFill/>
              <a:extLst>
                <a:ext uri="{909E8E84-426E-40DD-AFC4-6F175D3DCCD1}">
                  <a14:hiddenFill xmlns:a14="http://schemas.microsoft.com/office/drawing/2010/main">
                    <a:solidFill>
                      <a:srgbClr val="FFFFFF"/>
                    </a:solidFill>
                  </a14:hiddenFill>
                </a:ext>
              </a:extLst>
            </p:spPr>
          </p:pic>
          <p:pic>
            <p:nvPicPr>
              <p:cNvPr id="2061" name="Picture 10" descr="Sunfire — Blue Earth Capital">
                <a:extLst>
                  <a:ext uri="{FF2B5EF4-FFF2-40B4-BE49-F238E27FC236}">
                    <a16:creationId xmlns:a16="http://schemas.microsoft.com/office/drawing/2014/main" id="{8F411FFE-5A75-EA36-4229-1289BC21C10D}"/>
                  </a:ext>
                </a:extLst>
              </p:cNvPr>
              <p:cNvPicPr>
                <a:picLocks noChangeAspect="1" noChangeArrowheads="1"/>
              </p:cNvPicPr>
              <p:nvPr/>
            </p:nvPicPr>
            <p:blipFill rotWithShape="1">
              <a:blip r:embed="rId6">
                <a:grayscl/>
                <a:extLst>
                  <a:ext uri="{28A0092B-C50C-407E-A947-70E740481C1C}">
                    <a14:useLocalDpi xmlns:a14="http://schemas.microsoft.com/office/drawing/2010/main" val="0"/>
                  </a:ext>
                </a:extLst>
              </a:blip>
              <a:srcRect l="14071" t="27161" r="14053" b="28086"/>
              <a:stretch/>
            </p:blipFill>
            <p:spPr bwMode="auto">
              <a:xfrm>
                <a:off x="2659659" y="8639724"/>
                <a:ext cx="1033953" cy="362532"/>
              </a:xfrm>
              <a:prstGeom prst="rect">
                <a:avLst/>
              </a:prstGeom>
              <a:noFill/>
              <a:extLst>
                <a:ext uri="{909E8E84-426E-40DD-AFC4-6F175D3DCCD1}">
                  <a14:hiddenFill xmlns:a14="http://schemas.microsoft.com/office/drawing/2010/main">
                    <a:solidFill>
                      <a:srgbClr val="FFFFFF"/>
                    </a:solidFill>
                  </a14:hiddenFill>
                </a:ext>
              </a:extLst>
            </p:spPr>
          </p:pic>
          <p:sp>
            <p:nvSpPr>
              <p:cNvPr id="2062" name="TextBox 2061">
                <a:extLst>
                  <a:ext uri="{FF2B5EF4-FFF2-40B4-BE49-F238E27FC236}">
                    <a16:creationId xmlns:a16="http://schemas.microsoft.com/office/drawing/2014/main" id="{A8BB9AA0-9AC9-174B-AD60-C10B4DDB5D3F}"/>
                  </a:ext>
                </a:extLst>
              </p:cNvPr>
              <p:cNvSpPr txBox="1"/>
              <p:nvPr/>
            </p:nvSpPr>
            <p:spPr>
              <a:xfrm>
                <a:off x="9453029" y="5306201"/>
                <a:ext cx="3171757" cy="747180"/>
              </a:xfrm>
              <a:prstGeom prst="rect">
                <a:avLst/>
              </a:prstGeom>
              <a:noFill/>
            </p:spPr>
            <p:txBody>
              <a:bodyPr wrap="square" rtlCol="0">
                <a:spAutoFit/>
              </a:bodyPr>
              <a:lstStyle/>
              <a:p>
                <a:r>
                  <a:rPr lang="en-US" sz="600" b="1" dirty="0">
                    <a:solidFill>
                      <a:srgbClr val="FBC23C"/>
                    </a:solidFill>
                    <a:latin typeface="Manrope" pitchFamily="2" charset="0"/>
                    <a:cs typeface="Replica LL" panose="020B0504010101010104" pitchFamily="34" charset="0"/>
                  </a:rPr>
                  <a:t>DIRECT AIR CAPTURE</a:t>
                </a:r>
              </a:p>
              <a:p>
                <a:r>
                  <a:rPr lang="en-US" sz="600" dirty="0">
                    <a:latin typeface="Manrope" pitchFamily="2" charset="0"/>
                    <a:cs typeface="Replica LL" panose="020B0504010101010104" pitchFamily="34" charset="0"/>
                  </a:rPr>
                  <a:t>Heirloom agrees to sell 315,000 carbon removal credits to Microsoft</a:t>
                </a:r>
                <a:endParaRPr lang="en-US" sz="400" dirty="0">
                  <a:latin typeface="Manrope" pitchFamily="2" charset="0"/>
                  <a:cs typeface="Replica LL" panose="020B0504010101010104" pitchFamily="34" charset="0"/>
                </a:endParaRPr>
              </a:p>
            </p:txBody>
          </p:sp>
          <p:pic>
            <p:nvPicPr>
              <p:cNvPr id="2063" name="Picture 6" descr="Microsoft Logo PNGs for Free Download">
                <a:extLst>
                  <a:ext uri="{FF2B5EF4-FFF2-40B4-BE49-F238E27FC236}">
                    <a16:creationId xmlns:a16="http://schemas.microsoft.com/office/drawing/2014/main" id="{EC7CA0FD-4651-80D0-EDED-BDF8E19BC928}"/>
                  </a:ext>
                </a:extLst>
              </p:cNvPr>
              <p:cNvPicPr>
                <a:picLocks noChangeAspect="1" noChangeArrowheads="1"/>
              </p:cNvPicPr>
              <p:nvPr/>
            </p:nvPicPr>
            <p:blipFill rotWithShape="1">
              <a:blip r:embed="rId4">
                <a:grayscl/>
                <a:extLst>
                  <a:ext uri="{28A0092B-C50C-407E-A947-70E740481C1C}">
                    <a14:useLocalDpi xmlns:a14="http://schemas.microsoft.com/office/drawing/2010/main" val="0"/>
                  </a:ext>
                </a:extLst>
              </a:blip>
              <a:srcRect t="39146" b="34629"/>
              <a:stretch/>
            </p:blipFill>
            <p:spPr bwMode="auto">
              <a:xfrm>
                <a:off x="9420740" y="4933125"/>
                <a:ext cx="1556943" cy="408305"/>
              </a:xfrm>
              <a:prstGeom prst="rect">
                <a:avLst/>
              </a:prstGeom>
              <a:noFill/>
              <a:extLst>
                <a:ext uri="{909E8E84-426E-40DD-AFC4-6F175D3DCCD1}">
                  <a14:hiddenFill xmlns:a14="http://schemas.microsoft.com/office/drawing/2010/main">
                    <a:solidFill>
                      <a:srgbClr val="FFFFFF"/>
                    </a:solidFill>
                  </a14:hiddenFill>
                </a:ext>
              </a:extLst>
            </p:spPr>
          </p:pic>
          <p:pic>
            <p:nvPicPr>
              <p:cNvPr id="2064" name="Picture 12" descr="Head of People - Heirloom | Otta">
                <a:extLst>
                  <a:ext uri="{FF2B5EF4-FFF2-40B4-BE49-F238E27FC236}">
                    <a16:creationId xmlns:a16="http://schemas.microsoft.com/office/drawing/2014/main" id="{41FD7120-2F83-DF37-3761-D8AC718E1847}"/>
                  </a:ext>
                </a:extLst>
              </p:cNvPr>
              <p:cNvPicPr>
                <a:picLocks noChangeAspect="1" noChangeArrowheads="1"/>
              </p:cNvPicPr>
              <p:nvPr/>
            </p:nvPicPr>
            <p:blipFill>
              <a:blip r:embed="rId7">
                <a:grayscl/>
                <a:extLst>
                  <a:ext uri="{28A0092B-C50C-407E-A947-70E740481C1C}">
                    <a14:useLocalDpi xmlns:a14="http://schemas.microsoft.com/office/drawing/2010/main" val="0"/>
                  </a:ext>
                </a:extLst>
              </a:blip>
              <a:srcRect/>
              <a:stretch>
                <a:fillRect/>
              </a:stretch>
            </p:blipFill>
            <p:spPr bwMode="auto">
              <a:xfrm>
                <a:off x="11052438" y="4954067"/>
                <a:ext cx="1151855" cy="325399"/>
              </a:xfrm>
              <a:prstGeom prst="rect">
                <a:avLst/>
              </a:prstGeom>
              <a:noFill/>
              <a:extLst>
                <a:ext uri="{909E8E84-426E-40DD-AFC4-6F175D3DCCD1}">
                  <a14:hiddenFill xmlns:a14="http://schemas.microsoft.com/office/drawing/2010/main">
                    <a:solidFill>
                      <a:srgbClr val="FFFFFF"/>
                    </a:solidFill>
                  </a14:hiddenFill>
                </a:ext>
              </a:extLst>
            </p:spPr>
          </p:pic>
          <p:sp>
            <p:nvSpPr>
              <p:cNvPr id="2065" name="TextBox 2064">
                <a:extLst>
                  <a:ext uri="{FF2B5EF4-FFF2-40B4-BE49-F238E27FC236}">
                    <a16:creationId xmlns:a16="http://schemas.microsoft.com/office/drawing/2014/main" id="{72FF3DFA-FE6A-8128-9195-67E90893FD3C}"/>
                  </a:ext>
                </a:extLst>
              </p:cNvPr>
              <p:cNvSpPr txBox="1"/>
              <p:nvPr/>
            </p:nvSpPr>
            <p:spPr>
              <a:xfrm>
                <a:off x="9859437" y="8224654"/>
                <a:ext cx="3068222" cy="933975"/>
              </a:xfrm>
              <a:prstGeom prst="rect">
                <a:avLst/>
              </a:prstGeom>
              <a:noFill/>
            </p:spPr>
            <p:txBody>
              <a:bodyPr wrap="square" rtlCol="0">
                <a:spAutoFit/>
              </a:bodyPr>
              <a:lstStyle/>
              <a:p>
                <a:pPr algn="r"/>
                <a:r>
                  <a:rPr lang="en-US" sz="600" b="1" dirty="0">
                    <a:solidFill>
                      <a:srgbClr val="FBC23C"/>
                    </a:solidFill>
                    <a:latin typeface="Manrope" pitchFamily="2" charset="0"/>
                    <a:cs typeface="Replica LL" panose="020B0504010101010104" pitchFamily="34" charset="0"/>
                  </a:rPr>
                  <a:t>DIRECT AIR CAPTURE</a:t>
                </a:r>
              </a:p>
              <a:p>
                <a:pPr algn="r"/>
                <a:r>
                  <a:rPr lang="en-US" sz="600" dirty="0">
                    <a:latin typeface="Manrope" pitchFamily="2" charset="0"/>
                    <a:cs typeface="Replica LL" panose="020B0504010101010104" pitchFamily="34" charset="0"/>
                  </a:rPr>
                  <a:t>Amazon commits to buying 250,000 tons of carbon removal credits from 1PointFive</a:t>
                </a:r>
                <a:endParaRPr lang="en-US" sz="400" dirty="0">
                  <a:latin typeface="Manrope" pitchFamily="2" charset="0"/>
                  <a:cs typeface="Replica LL" panose="020B0504010101010104" pitchFamily="34" charset="0"/>
                </a:endParaRPr>
              </a:p>
            </p:txBody>
          </p:sp>
          <p:pic>
            <p:nvPicPr>
              <p:cNvPr id="2066" name="Picture 4" descr="The Amazon Logo: Inspiring Insights for Business Owners and Marketers -  crowdspring Blog">
                <a:extLst>
                  <a:ext uri="{FF2B5EF4-FFF2-40B4-BE49-F238E27FC236}">
                    <a16:creationId xmlns:a16="http://schemas.microsoft.com/office/drawing/2014/main" id="{AA46B3E0-3A70-B174-2FD2-4938F1CADB8B}"/>
                  </a:ext>
                </a:extLst>
              </p:cNvPr>
              <p:cNvPicPr>
                <a:picLocks noChangeAspect="1" noChangeArrowheads="1"/>
              </p:cNvPicPr>
              <p:nvPr/>
            </p:nvPicPr>
            <p:blipFill>
              <a:blip r:embed="rId3">
                <a:grayscl/>
                <a:extLst>
                  <a:ext uri="{28A0092B-C50C-407E-A947-70E740481C1C}">
                    <a14:useLocalDpi xmlns:a14="http://schemas.microsoft.com/office/drawing/2010/main" val="0"/>
                  </a:ext>
                </a:extLst>
              </a:blip>
              <a:srcRect/>
              <a:stretch>
                <a:fillRect/>
              </a:stretch>
            </p:blipFill>
            <p:spPr bwMode="auto">
              <a:xfrm>
                <a:off x="11950316" y="7891221"/>
                <a:ext cx="847916" cy="255587"/>
              </a:xfrm>
              <a:prstGeom prst="rect">
                <a:avLst/>
              </a:prstGeom>
              <a:noFill/>
              <a:extLst>
                <a:ext uri="{909E8E84-426E-40DD-AFC4-6F175D3DCCD1}">
                  <a14:hiddenFill xmlns:a14="http://schemas.microsoft.com/office/drawing/2010/main">
                    <a:solidFill>
                      <a:srgbClr val="FFFFFF"/>
                    </a:solidFill>
                  </a14:hiddenFill>
                </a:ext>
              </a:extLst>
            </p:spPr>
          </p:pic>
          <p:pic>
            <p:nvPicPr>
              <p:cNvPr id="2067" name="Picture 14" descr="1PointFive Announces Agreement to Sell 500,000 Metric Tons of Direct Air  Capture Carbon Removal Credits to Microsoft">
                <a:extLst>
                  <a:ext uri="{FF2B5EF4-FFF2-40B4-BE49-F238E27FC236}">
                    <a16:creationId xmlns:a16="http://schemas.microsoft.com/office/drawing/2014/main" id="{774F7178-A837-08FA-D16A-218436B98F4F}"/>
                  </a:ext>
                </a:extLst>
              </p:cNvPr>
              <p:cNvPicPr>
                <a:picLocks noChangeAspect="1" noChangeArrowheads="1"/>
              </p:cNvPicPr>
              <p:nvPr/>
            </p:nvPicPr>
            <p:blipFill>
              <a:blip r:embed="rId8">
                <a:grayscl/>
                <a:extLst>
                  <a:ext uri="{28A0092B-C50C-407E-A947-70E740481C1C}">
                    <a14:useLocalDpi xmlns:a14="http://schemas.microsoft.com/office/drawing/2010/main" val="0"/>
                  </a:ext>
                </a:extLst>
              </a:blip>
              <a:srcRect/>
              <a:stretch>
                <a:fillRect/>
              </a:stretch>
            </p:blipFill>
            <p:spPr bwMode="auto">
              <a:xfrm>
                <a:off x="10736710" y="7714075"/>
                <a:ext cx="1004184" cy="495398"/>
              </a:xfrm>
              <a:prstGeom prst="rect">
                <a:avLst/>
              </a:prstGeom>
              <a:noFill/>
              <a:extLst>
                <a:ext uri="{909E8E84-426E-40DD-AFC4-6F175D3DCCD1}">
                  <a14:hiddenFill xmlns:a14="http://schemas.microsoft.com/office/drawing/2010/main">
                    <a:solidFill>
                      <a:srgbClr val="FFFFFF"/>
                    </a:solidFill>
                  </a14:hiddenFill>
                </a:ext>
              </a:extLst>
            </p:spPr>
          </p:pic>
          <p:sp>
            <p:nvSpPr>
              <p:cNvPr id="2068" name="TextBox 2067">
                <a:extLst>
                  <a:ext uri="{FF2B5EF4-FFF2-40B4-BE49-F238E27FC236}">
                    <a16:creationId xmlns:a16="http://schemas.microsoft.com/office/drawing/2014/main" id="{AC2DDE74-8C7B-EED0-D824-417B46544DD3}"/>
                  </a:ext>
                </a:extLst>
              </p:cNvPr>
              <p:cNvSpPr txBox="1"/>
              <p:nvPr/>
            </p:nvSpPr>
            <p:spPr>
              <a:xfrm>
                <a:off x="10956295" y="3842591"/>
                <a:ext cx="2629238" cy="933975"/>
              </a:xfrm>
              <a:prstGeom prst="rect">
                <a:avLst/>
              </a:prstGeom>
              <a:noFill/>
            </p:spPr>
            <p:txBody>
              <a:bodyPr wrap="square" rtlCol="0">
                <a:spAutoFit/>
              </a:bodyPr>
              <a:lstStyle/>
              <a:p>
                <a:r>
                  <a:rPr lang="en-US" sz="600" b="1" dirty="0">
                    <a:solidFill>
                      <a:srgbClr val="0C8D54"/>
                    </a:solidFill>
                    <a:latin typeface="Manrope" pitchFamily="2" charset="0"/>
                    <a:cs typeface="Replica LL" panose="020B0504010101010104" pitchFamily="34" charset="0"/>
                  </a:rPr>
                  <a:t>GREEN HYDROGEN</a:t>
                </a:r>
              </a:p>
              <a:p>
                <a:r>
                  <a:rPr lang="en-US" sz="600" dirty="0">
                    <a:latin typeface="Manrope" pitchFamily="2" charset="0"/>
                    <a:cs typeface="Replica LL" panose="020B0504010101010104" pitchFamily="34" charset="0"/>
                  </a:rPr>
                  <a:t>Microsoft takes part in Electric Hydrogen's $380 million Series C financing</a:t>
                </a:r>
                <a:endParaRPr lang="en-US" sz="400" dirty="0">
                  <a:latin typeface="Manrope" pitchFamily="2" charset="0"/>
                  <a:cs typeface="Replica LL" panose="020B0504010101010104" pitchFamily="34" charset="0"/>
                </a:endParaRPr>
              </a:p>
            </p:txBody>
          </p:sp>
          <p:pic>
            <p:nvPicPr>
              <p:cNvPr id="2069" name="Picture 8" descr="Electric Hydrogen Co.:Patent,Patent Application,Portfolio Analysis -  Discovery | PatSnap">
                <a:extLst>
                  <a:ext uri="{FF2B5EF4-FFF2-40B4-BE49-F238E27FC236}">
                    <a16:creationId xmlns:a16="http://schemas.microsoft.com/office/drawing/2014/main" id="{C8BD5E23-6FF1-C7DA-4E86-BC20D0E3FE99}"/>
                  </a:ext>
                </a:extLst>
              </p:cNvPr>
              <p:cNvPicPr>
                <a:picLocks noChangeAspect="1" noChangeArrowheads="1"/>
              </p:cNvPicPr>
              <p:nvPr/>
            </p:nvPicPr>
            <p:blipFill>
              <a:blip r:embed="rId5">
                <a:grayscl/>
                <a:extLst>
                  <a:ext uri="{28A0092B-C50C-407E-A947-70E740481C1C}">
                    <a14:useLocalDpi xmlns:a14="http://schemas.microsoft.com/office/drawing/2010/main" val="0"/>
                  </a:ext>
                </a:extLst>
              </a:blip>
              <a:srcRect/>
              <a:stretch>
                <a:fillRect/>
              </a:stretch>
            </p:blipFill>
            <p:spPr bwMode="auto">
              <a:xfrm>
                <a:off x="12520174" y="3540620"/>
                <a:ext cx="1028019" cy="278738"/>
              </a:xfrm>
              <a:prstGeom prst="rect">
                <a:avLst/>
              </a:prstGeom>
              <a:noFill/>
              <a:extLst>
                <a:ext uri="{909E8E84-426E-40DD-AFC4-6F175D3DCCD1}">
                  <a14:hiddenFill xmlns:a14="http://schemas.microsoft.com/office/drawing/2010/main">
                    <a:solidFill>
                      <a:srgbClr val="FFFFFF"/>
                    </a:solidFill>
                  </a14:hiddenFill>
                </a:ext>
              </a:extLst>
            </p:spPr>
          </p:pic>
          <p:pic>
            <p:nvPicPr>
              <p:cNvPr id="2070" name="Picture 6" descr="Microsoft Logo PNGs for Free Download">
                <a:extLst>
                  <a:ext uri="{FF2B5EF4-FFF2-40B4-BE49-F238E27FC236}">
                    <a16:creationId xmlns:a16="http://schemas.microsoft.com/office/drawing/2014/main" id="{9B99E167-46FC-E387-66D3-62864B08474D}"/>
                  </a:ext>
                </a:extLst>
              </p:cNvPr>
              <p:cNvPicPr>
                <a:picLocks noChangeAspect="1" noChangeArrowheads="1"/>
              </p:cNvPicPr>
              <p:nvPr/>
            </p:nvPicPr>
            <p:blipFill rotWithShape="1">
              <a:blip r:embed="rId4">
                <a:grayscl/>
                <a:extLst>
                  <a:ext uri="{28A0092B-C50C-407E-A947-70E740481C1C}">
                    <a14:useLocalDpi xmlns:a14="http://schemas.microsoft.com/office/drawing/2010/main" val="0"/>
                  </a:ext>
                </a:extLst>
              </a:blip>
              <a:srcRect t="39146" b="34629"/>
              <a:stretch/>
            </p:blipFill>
            <p:spPr bwMode="auto">
              <a:xfrm>
                <a:off x="10934803" y="3543005"/>
                <a:ext cx="1556943" cy="408305"/>
              </a:xfrm>
              <a:prstGeom prst="rect">
                <a:avLst/>
              </a:prstGeom>
              <a:noFill/>
              <a:extLst>
                <a:ext uri="{909E8E84-426E-40DD-AFC4-6F175D3DCCD1}">
                  <a14:hiddenFill xmlns:a14="http://schemas.microsoft.com/office/drawing/2010/main">
                    <a:solidFill>
                      <a:srgbClr val="FFFFFF"/>
                    </a:solidFill>
                  </a14:hiddenFill>
                </a:ext>
              </a:extLst>
            </p:spPr>
          </p:pic>
          <p:pic>
            <p:nvPicPr>
              <p:cNvPr id="2071" name="Picture 16" descr="Google logo - Wikipedia">
                <a:extLst>
                  <a:ext uri="{FF2B5EF4-FFF2-40B4-BE49-F238E27FC236}">
                    <a16:creationId xmlns:a16="http://schemas.microsoft.com/office/drawing/2014/main" id="{CEFF29D6-B7B2-1A0A-0275-7DE73B7B79BE}"/>
                  </a:ext>
                </a:extLst>
              </p:cNvPr>
              <p:cNvPicPr>
                <a:picLocks noChangeAspect="1" noChangeArrowheads="1"/>
              </p:cNvPicPr>
              <p:nvPr/>
            </p:nvPicPr>
            <p:blipFill>
              <a:blip r:embed="rId9">
                <a:grayscl/>
                <a:extLst>
                  <a:ext uri="{28A0092B-C50C-407E-A947-70E740481C1C}">
                    <a14:useLocalDpi xmlns:a14="http://schemas.microsoft.com/office/drawing/2010/main" val="0"/>
                  </a:ext>
                </a:extLst>
              </a:blip>
              <a:srcRect/>
              <a:stretch>
                <a:fillRect/>
              </a:stretch>
            </p:blipFill>
            <p:spPr bwMode="auto">
              <a:xfrm>
                <a:off x="12047034" y="9707662"/>
                <a:ext cx="796964" cy="270221"/>
              </a:xfrm>
              <a:prstGeom prst="rect">
                <a:avLst/>
              </a:prstGeom>
              <a:noFill/>
              <a:extLst>
                <a:ext uri="{909E8E84-426E-40DD-AFC4-6F175D3DCCD1}">
                  <a14:hiddenFill xmlns:a14="http://schemas.microsoft.com/office/drawing/2010/main">
                    <a:solidFill>
                      <a:srgbClr val="FFFFFF"/>
                    </a:solidFill>
                  </a14:hiddenFill>
                </a:ext>
              </a:extLst>
            </p:spPr>
          </p:pic>
          <p:pic>
            <p:nvPicPr>
              <p:cNvPr id="2072" name="Picture 18" descr="Fervo Energy - Next-Generation Geothermal Projects">
                <a:extLst>
                  <a:ext uri="{FF2B5EF4-FFF2-40B4-BE49-F238E27FC236}">
                    <a16:creationId xmlns:a16="http://schemas.microsoft.com/office/drawing/2014/main" id="{A6E3753D-C771-1911-7771-6B9A9ADC93A1}"/>
                  </a:ext>
                </a:extLst>
              </p:cNvPr>
              <p:cNvPicPr>
                <a:picLocks noChangeAspect="1" noChangeArrowheads="1"/>
              </p:cNvPicPr>
              <p:nvPr/>
            </p:nvPicPr>
            <p:blipFill>
              <a:blip r:embed="rId10">
                <a:grayscl/>
                <a:extLst>
                  <a:ext uri="{28A0092B-C50C-407E-A947-70E740481C1C}">
                    <a14:useLocalDpi xmlns:a14="http://schemas.microsoft.com/office/drawing/2010/main" val="0"/>
                  </a:ext>
                </a:extLst>
              </a:blip>
              <a:srcRect/>
              <a:stretch>
                <a:fillRect/>
              </a:stretch>
            </p:blipFill>
            <p:spPr bwMode="auto">
              <a:xfrm>
                <a:off x="13025240" y="9722481"/>
                <a:ext cx="1003219" cy="217397"/>
              </a:xfrm>
              <a:prstGeom prst="rect">
                <a:avLst/>
              </a:prstGeom>
              <a:noFill/>
              <a:extLst>
                <a:ext uri="{909E8E84-426E-40DD-AFC4-6F175D3DCCD1}">
                  <a14:hiddenFill xmlns:a14="http://schemas.microsoft.com/office/drawing/2010/main">
                    <a:solidFill>
                      <a:srgbClr val="FFFFFF"/>
                    </a:solidFill>
                  </a14:hiddenFill>
                </a:ext>
              </a:extLst>
            </p:spPr>
          </p:pic>
          <p:sp>
            <p:nvSpPr>
              <p:cNvPr id="2073" name="TextBox 2072">
                <a:extLst>
                  <a:ext uri="{FF2B5EF4-FFF2-40B4-BE49-F238E27FC236}">
                    <a16:creationId xmlns:a16="http://schemas.microsoft.com/office/drawing/2014/main" id="{F5747B37-6740-01BA-1033-FA85BEAA420D}"/>
                  </a:ext>
                </a:extLst>
              </p:cNvPr>
              <p:cNvSpPr txBox="1"/>
              <p:nvPr/>
            </p:nvSpPr>
            <p:spPr>
              <a:xfrm>
                <a:off x="11057134" y="9962619"/>
                <a:ext cx="3079045" cy="747180"/>
              </a:xfrm>
              <a:prstGeom prst="rect">
                <a:avLst/>
              </a:prstGeom>
              <a:noFill/>
            </p:spPr>
            <p:txBody>
              <a:bodyPr wrap="square" rtlCol="0">
                <a:spAutoFit/>
              </a:bodyPr>
              <a:lstStyle/>
              <a:p>
                <a:pPr algn="r"/>
                <a:r>
                  <a:rPr lang="en-US" sz="600" b="1" dirty="0">
                    <a:solidFill>
                      <a:srgbClr val="FC5B2C"/>
                    </a:solidFill>
                    <a:latin typeface="Manrope" pitchFamily="2" charset="0"/>
                    <a:cs typeface="Replica LL" panose="020B0504010101010104" pitchFamily="34" charset="0"/>
                  </a:rPr>
                  <a:t>NEXT-GEN GEOTHERMAL</a:t>
                </a:r>
              </a:p>
              <a:p>
                <a:pPr algn="r"/>
                <a:r>
                  <a:rPr lang="en-US" sz="600" dirty="0">
                    <a:latin typeface="Manrope" pitchFamily="2" charset="0"/>
                    <a:cs typeface="Replica LL" panose="020B0504010101010104" pitchFamily="34" charset="0"/>
                  </a:rPr>
                  <a:t>Google and </a:t>
                </a:r>
                <a:r>
                  <a:rPr lang="en-US" sz="600" dirty="0" err="1">
                    <a:latin typeface="Manrope" pitchFamily="2" charset="0"/>
                    <a:cs typeface="Replica LL" panose="020B0504010101010104" pitchFamily="34" charset="0"/>
                  </a:rPr>
                  <a:t>Fervo</a:t>
                </a:r>
                <a:r>
                  <a:rPr lang="en-US" sz="600" dirty="0">
                    <a:latin typeface="Manrope" pitchFamily="2" charset="0"/>
                    <a:cs typeface="Replica LL" panose="020B0504010101010104" pitchFamily="34" charset="0"/>
                  </a:rPr>
                  <a:t> announce first-of-its-kid 3.5-MW project in Nevada</a:t>
                </a:r>
                <a:endParaRPr lang="en-US" sz="400" dirty="0">
                  <a:latin typeface="Manrope" pitchFamily="2" charset="0"/>
                  <a:cs typeface="Replica LL" panose="020B0504010101010104" pitchFamily="34" charset="0"/>
                </a:endParaRPr>
              </a:p>
            </p:txBody>
          </p:sp>
          <p:sp>
            <p:nvSpPr>
              <p:cNvPr id="2074" name="TextBox 2073">
                <a:extLst>
                  <a:ext uri="{FF2B5EF4-FFF2-40B4-BE49-F238E27FC236}">
                    <a16:creationId xmlns:a16="http://schemas.microsoft.com/office/drawing/2014/main" id="{3CFBD9BD-B798-D060-8D97-B2317065E9DC}"/>
                  </a:ext>
                </a:extLst>
              </p:cNvPr>
              <p:cNvSpPr txBox="1"/>
              <p:nvPr/>
            </p:nvSpPr>
            <p:spPr>
              <a:xfrm>
                <a:off x="11818407" y="1759304"/>
                <a:ext cx="2797925" cy="933975"/>
              </a:xfrm>
              <a:prstGeom prst="rect">
                <a:avLst/>
              </a:prstGeom>
              <a:noFill/>
            </p:spPr>
            <p:txBody>
              <a:bodyPr wrap="square" rtlCol="0">
                <a:spAutoFit/>
              </a:bodyPr>
              <a:lstStyle/>
              <a:p>
                <a:pPr algn="r"/>
                <a:r>
                  <a:rPr lang="en-US" sz="600" b="1" dirty="0">
                    <a:solidFill>
                      <a:srgbClr val="595959"/>
                    </a:solidFill>
                    <a:latin typeface="Manrope" pitchFamily="2" charset="0"/>
                    <a:cs typeface="Replica LL" panose="020B0504010101010104" pitchFamily="34" charset="0"/>
                  </a:rPr>
                  <a:t>RENEWABLE NATURAL GAS</a:t>
                </a:r>
              </a:p>
              <a:p>
                <a:pPr algn="r"/>
                <a:r>
                  <a:rPr lang="en-US" sz="600" dirty="0">
                    <a:latin typeface="Manrope" pitchFamily="2" charset="0"/>
                    <a:cs typeface="Replica LL" panose="020B0504010101010104" pitchFamily="34" charset="0"/>
                  </a:rPr>
                  <a:t>US Energy will supply food waste-based RNG to Microsoft to back up San Jose data center</a:t>
                </a:r>
                <a:endParaRPr lang="en-US" sz="400" dirty="0">
                  <a:latin typeface="Manrope" pitchFamily="2" charset="0"/>
                  <a:cs typeface="Replica LL" panose="020B0504010101010104" pitchFamily="34" charset="0"/>
                </a:endParaRPr>
              </a:p>
            </p:txBody>
          </p:sp>
          <p:pic>
            <p:nvPicPr>
              <p:cNvPr id="2075" name="Picture 2074" descr="A blue and white logo&#10;&#10;Description automatically generated">
                <a:extLst>
                  <a:ext uri="{FF2B5EF4-FFF2-40B4-BE49-F238E27FC236}">
                    <a16:creationId xmlns:a16="http://schemas.microsoft.com/office/drawing/2014/main" id="{50C0222B-9A6C-1F36-F9C2-E51DAAC3E4E9}"/>
                  </a:ext>
                </a:extLst>
              </p:cNvPr>
              <p:cNvPicPr>
                <a:picLocks noChangeAspect="1"/>
              </p:cNvPicPr>
              <p:nvPr/>
            </p:nvPicPr>
            <p:blipFill>
              <a:blip r:embed="rId11">
                <a:grayscl/>
                <a:extLst>
                  <a:ext uri="{28A0092B-C50C-407E-A947-70E740481C1C}">
                    <a14:useLocalDpi xmlns:a14="http://schemas.microsoft.com/office/drawing/2010/main" val="0"/>
                  </a:ext>
                </a:extLst>
              </a:blip>
              <a:stretch>
                <a:fillRect/>
              </a:stretch>
            </p:blipFill>
            <p:spPr>
              <a:xfrm>
                <a:off x="12072577" y="2695345"/>
                <a:ext cx="1046160" cy="308289"/>
              </a:xfrm>
              <a:prstGeom prst="rect">
                <a:avLst/>
              </a:prstGeom>
            </p:spPr>
          </p:pic>
          <p:pic>
            <p:nvPicPr>
              <p:cNvPr id="2076" name="Picture 6" descr="Microsoft Logo PNGs for Free Download">
                <a:extLst>
                  <a:ext uri="{FF2B5EF4-FFF2-40B4-BE49-F238E27FC236}">
                    <a16:creationId xmlns:a16="http://schemas.microsoft.com/office/drawing/2014/main" id="{8D161BAE-B2CC-0F01-3A42-38025C6DDE09}"/>
                  </a:ext>
                </a:extLst>
              </p:cNvPr>
              <p:cNvPicPr>
                <a:picLocks noChangeAspect="1" noChangeArrowheads="1"/>
              </p:cNvPicPr>
              <p:nvPr/>
            </p:nvPicPr>
            <p:blipFill rotWithShape="1">
              <a:blip r:embed="rId4">
                <a:grayscl/>
                <a:extLst>
                  <a:ext uri="{28A0092B-C50C-407E-A947-70E740481C1C}">
                    <a14:useLocalDpi xmlns:a14="http://schemas.microsoft.com/office/drawing/2010/main" val="0"/>
                  </a:ext>
                </a:extLst>
              </a:blip>
              <a:srcRect t="39146" b="34629"/>
              <a:stretch/>
            </p:blipFill>
            <p:spPr bwMode="auto">
              <a:xfrm>
                <a:off x="13191310" y="2680410"/>
                <a:ext cx="1372248" cy="359869"/>
              </a:xfrm>
              <a:prstGeom prst="rect">
                <a:avLst/>
              </a:prstGeom>
              <a:noFill/>
              <a:extLst>
                <a:ext uri="{909E8E84-426E-40DD-AFC4-6F175D3DCCD1}">
                  <a14:hiddenFill xmlns:a14="http://schemas.microsoft.com/office/drawing/2010/main">
                    <a:solidFill>
                      <a:srgbClr val="FFFFFF"/>
                    </a:solidFill>
                  </a14:hiddenFill>
                </a:ext>
              </a:extLst>
            </p:spPr>
          </p:pic>
          <p:sp>
            <p:nvSpPr>
              <p:cNvPr id="2077" name="TextBox 2076">
                <a:extLst>
                  <a:ext uri="{FF2B5EF4-FFF2-40B4-BE49-F238E27FC236}">
                    <a16:creationId xmlns:a16="http://schemas.microsoft.com/office/drawing/2014/main" id="{ACEE901C-B232-A221-41F0-DC5726CF7E55}"/>
                  </a:ext>
                </a:extLst>
              </p:cNvPr>
              <p:cNvSpPr txBox="1"/>
              <p:nvPr/>
            </p:nvSpPr>
            <p:spPr>
              <a:xfrm>
                <a:off x="14221888" y="8257877"/>
                <a:ext cx="2072337" cy="1120771"/>
              </a:xfrm>
              <a:prstGeom prst="rect">
                <a:avLst/>
              </a:prstGeom>
              <a:noFill/>
            </p:spPr>
            <p:txBody>
              <a:bodyPr wrap="square" rtlCol="0">
                <a:spAutoFit/>
              </a:bodyPr>
              <a:lstStyle/>
              <a:p>
                <a:pPr algn="r"/>
                <a:r>
                  <a:rPr lang="en-US" sz="600" b="1" dirty="0">
                    <a:solidFill>
                      <a:srgbClr val="0C8D54"/>
                    </a:solidFill>
                    <a:latin typeface="Manrope" pitchFamily="2" charset="0"/>
                    <a:cs typeface="Replica LL" panose="020B0504010101010104" pitchFamily="34" charset="0"/>
                  </a:rPr>
                  <a:t>GREEN HYDROGEN</a:t>
                </a:r>
              </a:p>
              <a:p>
                <a:pPr algn="r"/>
                <a:r>
                  <a:rPr lang="en-US" sz="600" dirty="0">
                    <a:latin typeface="Manrope" pitchFamily="2" charset="0"/>
                    <a:cs typeface="Replica LL" panose="020B0504010101010104" pitchFamily="34" charset="0"/>
                  </a:rPr>
                  <a:t>Amazon participates in Sunfire's €315 MM Series E financing to develop electrolyzers</a:t>
                </a:r>
                <a:endParaRPr lang="en-US" sz="400" dirty="0">
                  <a:latin typeface="Manrope" pitchFamily="2" charset="0"/>
                  <a:cs typeface="Replica LL" panose="020B0504010101010104" pitchFamily="34" charset="0"/>
                </a:endParaRPr>
              </a:p>
            </p:txBody>
          </p:sp>
          <p:pic>
            <p:nvPicPr>
              <p:cNvPr id="2078" name="Picture 4" descr="The Amazon Logo: Inspiring Insights for Business Owners and Marketers -  crowdspring Blog">
                <a:extLst>
                  <a:ext uri="{FF2B5EF4-FFF2-40B4-BE49-F238E27FC236}">
                    <a16:creationId xmlns:a16="http://schemas.microsoft.com/office/drawing/2014/main" id="{928469D3-DC43-BE54-EDDF-C76DD1108BF1}"/>
                  </a:ext>
                </a:extLst>
              </p:cNvPr>
              <p:cNvPicPr>
                <a:picLocks noChangeAspect="1" noChangeArrowheads="1"/>
              </p:cNvPicPr>
              <p:nvPr/>
            </p:nvPicPr>
            <p:blipFill>
              <a:blip r:embed="rId3">
                <a:grayscl/>
                <a:extLst>
                  <a:ext uri="{28A0092B-C50C-407E-A947-70E740481C1C}">
                    <a14:useLocalDpi xmlns:a14="http://schemas.microsoft.com/office/drawing/2010/main" val="0"/>
                  </a:ext>
                </a:extLst>
              </a:blip>
              <a:srcRect/>
              <a:stretch>
                <a:fillRect/>
              </a:stretch>
            </p:blipFill>
            <p:spPr bwMode="auto">
              <a:xfrm>
                <a:off x="15415967" y="7958483"/>
                <a:ext cx="750242" cy="226145"/>
              </a:xfrm>
              <a:prstGeom prst="rect">
                <a:avLst/>
              </a:prstGeom>
              <a:noFill/>
              <a:extLst>
                <a:ext uri="{909E8E84-426E-40DD-AFC4-6F175D3DCCD1}">
                  <a14:hiddenFill xmlns:a14="http://schemas.microsoft.com/office/drawing/2010/main">
                    <a:solidFill>
                      <a:srgbClr val="FFFFFF"/>
                    </a:solidFill>
                  </a14:hiddenFill>
                </a:ext>
              </a:extLst>
            </p:spPr>
          </p:pic>
          <p:pic>
            <p:nvPicPr>
              <p:cNvPr id="2079" name="Picture 10" descr="Sunfire — Blue Earth Capital">
                <a:extLst>
                  <a:ext uri="{FF2B5EF4-FFF2-40B4-BE49-F238E27FC236}">
                    <a16:creationId xmlns:a16="http://schemas.microsoft.com/office/drawing/2014/main" id="{0F9C4209-F3B3-614C-35BC-F8F05E8ED168}"/>
                  </a:ext>
                </a:extLst>
              </p:cNvPr>
              <p:cNvPicPr>
                <a:picLocks noChangeAspect="1" noChangeArrowheads="1"/>
              </p:cNvPicPr>
              <p:nvPr/>
            </p:nvPicPr>
            <p:blipFill rotWithShape="1">
              <a:blip r:embed="rId6">
                <a:grayscl/>
                <a:extLst>
                  <a:ext uri="{28A0092B-C50C-407E-A947-70E740481C1C}">
                    <a14:useLocalDpi xmlns:a14="http://schemas.microsoft.com/office/drawing/2010/main" val="0"/>
                  </a:ext>
                </a:extLst>
              </a:blip>
              <a:srcRect l="14071" t="27161" r="14053" b="28086"/>
              <a:stretch/>
            </p:blipFill>
            <p:spPr bwMode="auto">
              <a:xfrm>
                <a:off x="14389950" y="7858629"/>
                <a:ext cx="914849" cy="320770"/>
              </a:xfrm>
              <a:prstGeom prst="rect">
                <a:avLst/>
              </a:prstGeom>
              <a:noFill/>
              <a:extLst>
                <a:ext uri="{909E8E84-426E-40DD-AFC4-6F175D3DCCD1}">
                  <a14:hiddenFill xmlns:a14="http://schemas.microsoft.com/office/drawing/2010/main">
                    <a:solidFill>
                      <a:srgbClr val="FFFFFF"/>
                    </a:solidFill>
                  </a14:hiddenFill>
                </a:ext>
              </a:extLst>
            </p:spPr>
          </p:pic>
          <p:sp>
            <p:nvSpPr>
              <p:cNvPr id="2080" name="TextBox 2079">
                <a:extLst>
                  <a:ext uri="{FF2B5EF4-FFF2-40B4-BE49-F238E27FC236}">
                    <a16:creationId xmlns:a16="http://schemas.microsoft.com/office/drawing/2014/main" id="{83435B93-4079-CED2-D2C4-AEBA51BE6535}"/>
                  </a:ext>
                </a:extLst>
              </p:cNvPr>
              <p:cNvSpPr txBox="1"/>
              <p:nvPr/>
            </p:nvSpPr>
            <p:spPr>
              <a:xfrm>
                <a:off x="14793609" y="5188073"/>
                <a:ext cx="2481493" cy="933975"/>
              </a:xfrm>
              <a:prstGeom prst="rect">
                <a:avLst/>
              </a:prstGeom>
              <a:noFill/>
            </p:spPr>
            <p:txBody>
              <a:bodyPr wrap="square" rtlCol="0">
                <a:spAutoFit/>
              </a:bodyPr>
              <a:lstStyle/>
              <a:p>
                <a:r>
                  <a:rPr lang="en-US" sz="600" b="1" dirty="0">
                    <a:solidFill>
                      <a:srgbClr val="FB41DC"/>
                    </a:solidFill>
                    <a:latin typeface="Manrope" pitchFamily="2" charset="0"/>
                    <a:cs typeface="Replica LL" panose="020B0504010101010104" pitchFamily="34" charset="0"/>
                  </a:rPr>
                  <a:t>CONVENTIONAL NUCLEAR</a:t>
                </a:r>
              </a:p>
              <a:p>
                <a:r>
                  <a:rPr lang="en-US" sz="600" dirty="0">
                    <a:latin typeface="Manrope" pitchFamily="2" charset="0"/>
                    <a:cs typeface="Replica LL" panose="020B0504010101010104" pitchFamily="34" charset="0"/>
                  </a:rPr>
                  <a:t>Amazon acquires 650-MW data center campus powered by nuclear reactor</a:t>
                </a:r>
                <a:endParaRPr lang="en-US" sz="400" dirty="0">
                  <a:latin typeface="Manrope" pitchFamily="2" charset="0"/>
                  <a:cs typeface="Replica LL" panose="020B0504010101010104" pitchFamily="34" charset="0"/>
                </a:endParaRPr>
              </a:p>
            </p:txBody>
          </p:sp>
          <p:pic>
            <p:nvPicPr>
              <p:cNvPr id="2081" name="Picture 4" descr="The Amazon Logo: Inspiring Insights for Business Owners and Marketers -  crowdspring Blog">
                <a:extLst>
                  <a:ext uri="{FF2B5EF4-FFF2-40B4-BE49-F238E27FC236}">
                    <a16:creationId xmlns:a16="http://schemas.microsoft.com/office/drawing/2014/main" id="{67B001E8-0CEA-A7C3-E3D4-66182EB7170B}"/>
                  </a:ext>
                </a:extLst>
              </p:cNvPr>
              <p:cNvPicPr>
                <a:picLocks noChangeAspect="1" noChangeArrowheads="1"/>
              </p:cNvPicPr>
              <p:nvPr/>
            </p:nvPicPr>
            <p:blipFill>
              <a:blip r:embed="rId3">
                <a:grayscl/>
                <a:extLst>
                  <a:ext uri="{28A0092B-C50C-407E-A947-70E740481C1C}">
                    <a14:useLocalDpi xmlns:a14="http://schemas.microsoft.com/office/drawing/2010/main" val="0"/>
                  </a:ext>
                </a:extLst>
              </a:blip>
              <a:srcRect/>
              <a:stretch>
                <a:fillRect/>
              </a:stretch>
            </p:blipFill>
            <p:spPr bwMode="auto">
              <a:xfrm>
                <a:off x="14901427" y="4910292"/>
                <a:ext cx="847916" cy="255587"/>
              </a:xfrm>
              <a:prstGeom prst="rect">
                <a:avLst/>
              </a:prstGeom>
              <a:noFill/>
              <a:extLst>
                <a:ext uri="{909E8E84-426E-40DD-AFC4-6F175D3DCCD1}">
                  <a14:hiddenFill xmlns:a14="http://schemas.microsoft.com/office/drawing/2010/main">
                    <a:solidFill>
                      <a:srgbClr val="FFFFFF"/>
                    </a:solidFill>
                  </a14:hiddenFill>
                </a:ext>
              </a:extLst>
            </p:spPr>
          </p:pic>
          <p:sp>
            <p:nvSpPr>
              <p:cNvPr id="2082" name="TextBox 2081">
                <a:extLst>
                  <a:ext uri="{FF2B5EF4-FFF2-40B4-BE49-F238E27FC236}">
                    <a16:creationId xmlns:a16="http://schemas.microsoft.com/office/drawing/2014/main" id="{F0D21F7C-2594-F509-2B2A-BABB28B0AFAA}"/>
                  </a:ext>
                </a:extLst>
              </p:cNvPr>
              <p:cNvSpPr txBox="1"/>
              <p:nvPr/>
            </p:nvSpPr>
            <p:spPr>
              <a:xfrm>
                <a:off x="14438776" y="10162912"/>
                <a:ext cx="2223337" cy="1120771"/>
              </a:xfrm>
              <a:prstGeom prst="rect">
                <a:avLst/>
              </a:prstGeom>
              <a:noFill/>
            </p:spPr>
            <p:txBody>
              <a:bodyPr wrap="square" rtlCol="0">
                <a:spAutoFit/>
              </a:bodyPr>
              <a:lstStyle/>
              <a:p>
                <a:pPr algn="r"/>
                <a:r>
                  <a:rPr lang="en-US" sz="600" b="1" dirty="0">
                    <a:solidFill>
                      <a:srgbClr val="3A92F9"/>
                    </a:solidFill>
                    <a:latin typeface="Manrope" pitchFamily="2" charset="0"/>
                    <a:cs typeface="Replica LL" panose="020B0504010101010104" pitchFamily="34" charset="0"/>
                  </a:rPr>
                  <a:t>ADVANCED NUCLEAR</a:t>
                </a:r>
              </a:p>
              <a:p>
                <a:pPr algn="r"/>
                <a:r>
                  <a:rPr lang="en-US" sz="600" dirty="0">
                    <a:latin typeface="Manrope" pitchFamily="2" charset="0"/>
                    <a:cs typeface="Replica LL" panose="020B0504010101010104" pitchFamily="34" charset="0"/>
                  </a:rPr>
                  <a:t>Equinix signs non-binding agreement for 500 MW of micronuclear power from </a:t>
                </a:r>
                <a:r>
                  <a:rPr lang="en-US" sz="600" dirty="0" err="1">
                    <a:latin typeface="Manrope" pitchFamily="2" charset="0"/>
                    <a:cs typeface="Replica LL" panose="020B0504010101010104" pitchFamily="34" charset="0"/>
                  </a:rPr>
                  <a:t>Oklo</a:t>
                </a:r>
                <a:endParaRPr lang="en-US" sz="400" dirty="0">
                  <a:latin typeface="Manrope" pitchFamily="2" charset="0"/>
                  <a:cs typeface="Replica LL" panose="020B0504010101010104" pitchFamily="34" charset="0"/>
                </a:endParaRPr>
              </a:p>
            </p:txBody>
          </p:sp>
          <p:pic>
            <p:nvPicPr>
              <p:cNvPr id="2083" name="Picture 20" descr="Oklo - Crunchbase Company Profile &amp; Funding">
                <a:extLst>
                  <a:ext uri="{FF2B5EF4-FFF2-40B4-BE49-F238E27FC236}">
                    <a16:creationId xmlns:a16="http://schemas.microsoft.com/office/drawing/2014/main" id="{FE9667CE-0A36-4DAC-95F5-1E5A800B7921}"/>
                  </a:ext>
                </a:extLst>
              </p:cNvPr>
              <p:cNvPicPr>
                <a:picLocks noChangeAspect="1" noChangeArrowheads="1"/>
              </p:cNvPicPr>
              <p:nvPr/>
            </p:nvPicPr>
            <p:blipFill rotWithShape="1">
              <a:blip r:embed="rId12">
                <a:grayscl/>
                <a:extLst>
                  <a:ext uri="{28A0092B-C50C-407E-A947-70E740481C1C}">
                    <a14:useLocalDpi xmlns:a14="http://schemas.microsoft.com/office/drawing/2010/main" val="0"/>
                  </a:ext>
                </a:extLst>
              </a:blip>
              <a:srcRect t="32538" b="36332"/>
              <a:stretch/>
            </p:blipFill>
            <p:spPr bwMode="auto">
              <a:xfrm>
                <a:off x="14826686" y="9822920"/>
                <a:ext cx="970602" cy="302151"/>
              </a:xfrm>
              <a:prstGeom prst="rect">
                <a:avLst/>
              </a:prstGeom>
              <a:noFill/>
              <a:extLst>
                <a:ext uri="{909E8E84-426E-40DD-AFC4-6F175D3DCCD1}">
                  <a14:hiddenFill xmlns:a14="http://schemas.microsoft.com/office/drawing/2010/main">
                    <a:solidFill>
                      <a:srgbClr val="FFFFFF"/>
                    </a:solidFill>
                  </a14:hiddenFill>
                </a:ext>
              </a:extLst>
            </p:spPr>
          </p:pic>
          <p:pic>
            <p:nvPicPr>
              <p:cNvPr id="2084" name="Picture 22">
                <a:extLst>
                  <a:ext uri="{FF2B5EF4-FFF2-40B4-BE49-F238E27FC236}">
                    <a16:creationId xmlns:a16="http://schemas.microsoft.com/office/drawing/2014/main" id="{7C2700B5-71A1-02F5-888D-7447DF16AA06}"/>
                  </a:ext>
                </a:extLst>
              </p:cNvPr>
              <p:cNvPicPr>
                <a:picLocks noChangeAspect="1" noChangeArrowheads="1"/>
              </p:cNvPicPr>
              <p:nvPr/>
            </p:nvPicPr>
            <p:blipFill>
              <a:blip r:embed="rId13">
                <a:grayscl/>
                <a:extLst>
                  <a:ext uri="{28A0092B-C50C-407E-A947-70E740481C1C}">
                    <a14:useLocalDpi xmlns:a14="http://schemas.microsoft.com/office/drawing/2010/main" val="0"/>
                  </a:ext>
                </a:extLst>
              </a:blip>
              <a:srcRect/>
              <a:stretch>
                <a:fillRect/>
              </a:stretch>
            </p:blipFill>
            <p:spPr bwMode="auto">
              <a:xfrm>
                <a:off x="15900434" y="9812403"/>
                <a:ext cx="668571" cy="323186"/>
              </a:xfrm>
              <a:prstGeom prst="rect">
                <a:avLst/>
              </a:prstGeom>
              <a:noFill/>
              <a:extLst>
                <a:ext uri="{909E8E84-426E-40DD-AFC4-6F175D3DCCD1}">
                  <a14:hiddenFill xmlns:a14="http://schemas.microsoft.com/office/drawing/2010/main">
                    <a:solidFill>
                      <a:srgbClr val="FFFFFF"/>
                    </a:solidFill>
                  </a14:hiddenFill>
                </a:ext>
              </a:extLst>
            </p:spPr>
          </p:pic>
          <p:sp>
            <p:nvSpPr>
              <p:cNvPr id="2085" name="TextBox 2084">
                <a:extLst>
                  <a:ext uri="{FF2B5EF4-FFF2-40B4-BE49-F238E27FC236}">
                    <a16:creationId xmlns:a16="http://schemas.microsoft.com/office/drawing/2014/main" id="{121B5874-5E57-B45E-A82D-5FDB99A58404}"/>
                  </a:ext>
                </a:extLst>
              </p:cNvPr>
              <p:cNvSpPr txBox="1"/>
              <p:nvPr/>
            </p:nvSpPr>
            <p:spPr>
              <a:xfrm>
                <a:off x="16311081" y="2080430"/>
                <a:ext cx="2479019" cy="933975"/>
              </a:xfrm>
              <a:prstGeom prst="rect">
                <a:avLst/>
              </a:prstGeom>
              <a:noFill/>
            </p:spPr>
            <p:txBody>
              <a:bodyPr wrap="square" rtlCol="0">
                <a:spAutoFit/>
              </a:bodyPr>
              <a:lstStyle/>
              <a:p>
                <a:r>
                  <a:rPr lang="en-US" sz="600" b="1" dirty="0">
                    <a:solidFill>
                      <a:srgbClr val="3A92F9"/>
                    </a:solidFill>
                    <a:latin typeface="Manrope" pitchFamily="2" charset="0"/>
                    <a:cs typeface="Replica LL" panose="020B0504010101010104" pitchFamily="34" charset="0"/>
                  </a:rPr>
                  <a:t>ADVANCED NUCLEAR</a:t>
                </a:r>
              </a:p>
              <a:p>
                <a:r>
                  <a:rPr lang="en-US" sz="600" dirty="0">
                    <a:latin typeface="Manrope" pitchFamily="2" charset="0"/>
                    <a:cs typeface="Replica LL" panose="020B0504010101010104" pitchFamily="34" charset="0"/>
                  </a:rPr>
                  <a:t>Wyoming Hyperscale agree to 100 MW of micronuclear power from </a:t>
                </a:r>
                <a:r>
                  <a:rPr lang="en-US" sz="600" dirty="0" err="1">
                    <a:latin typeface="Manrope" pitchFamily="2" charset="0"/>
                    <a:cs typeface="Replica LL" panose="020B0504010101010104" pitchFamily="34" charset="0"/>
                  </a:rPr>
                  <a:t>Oklo</a:t>
                </a:r>
                <a:endParaRPr lang="en-US" sz="400" dirty="0">
                  <a:latin typeface="Manrope" pitchFamily="2" charset="0"/>
                  <a:cs typeface="Replica LL" panose="020B0504010101010104" pitchFamily="34" charset="0"/>
                </a:endParaRPr>
              </a:p>
            </p:txBody>
          </p:sp>
          <p:pic>
            <p:nvPicPr>
              <p:cNvPr id="2086" name="Picture 20" descr="Oklo - Crunchbase Company Profile &amp; Funding">
                <a:extLst>
                  <a:ext uri="{FF2B5EF4-FFF2-40B4-BE49-F238E27FC236}">
                    <a16:creationId xmlns:a16="http://schemas.microsoft.com/office/drawing/2014/main" id="{11ABB087-1560-3E60-D263-0B9553FB81CA}"/>
                  </a:ext>
                </a:extLst>
              </p:cNvPr>
              <p:cNvPicPr>
                <a:picLocks noChangeAspect="1" noChangeArrowheads="1"/>
              </p:cNvPicPr>
              <p:nvPr/>
            </p:nvPicPr>
            <p:blipFill rotWithShape="1">
              <a:blip r:embed="rId12">
                <a:grayscl/>
                <a:extLst>
                  <a:ext uri="{28A0092B-C50C-407E-A947-70E740481C1C}">
                    <a14:useLocalDpi xmlns:a14="http://schemas.microsoft.com/office/drawing/2010/main" val="0"/>
                  </a:ext>
                </a:extLst>
              </a:blip>
              <a:srcRect t="32538" b="36332"/>
              <a:stretch/>
            </p:blipFill>
            <p:spPr bwMode="auto">
              <a:xfrm>
                <a:off x="16435032" y="1758176"/>
                <a:ext cx="970602" cy="302151"/>
              </a:xfrm>
              <a:prstGeom prst="rect">
                <a:avLst/>
              </a:prstGeom>
              <a:noFill/>
              <a:extLst>
                <a:ext uri="{909E8E84-426E-40DD-AFC4-6F175D3DCCD1}">
                  <a14:hiddenFill xmlns:a14="http://schemas.microsoft.com/office/drawing/2010/main">
                    <a:solidFill>
                      <a:srgbClr val="FFFFFF"/>
                    </a:solidFill>
                  </a14:hiddenFill>
                </a:ext>
              </a:extLst>
            </p:spPr>
          </p:pic>
          <p:pic>
            <p:nvPicPr>
              <p:cNvPr id="2087" name="Picture 24" descr="Wyoming Hyperscale White Box WHWB 1 Data Center, Evanston, WY, USA |  UPSTACK Marketplace">
                <a:extLst>
                  <a:ext uri="{FF2B5EF4-FFF2-40B4-BE49-F238E27FC236}">
                    <a16:creationId xmlns:a16="http://schemas.microsoft.com/office/drawing/2014/main" id="{41CD4231-A9F0-F9A0-69DD-D30708146F8C}"/>
                  </a:ext>
                </a:extLst>
              </p:cNvPr>
              <p:cNvPicPr>
                <a:picLocks noChangeAspect="1" noChangeArrowheads="1"/>
              </p:cNvPicPr>
              <p:nvPr/>
            </p:nvPicPr>
            <p:blipFill>
              <a:blip r:embed="rId14">
                <a:grayscl/>
                <a:extLst>
                  <a:ext uri="{28A0092B-C50C-407E-A947-70E740481C1C}">
                    <a14:useLocalDpi xmlns:a14="http://schemas.microsoft.com/office/drawing/2010/main" val="0"/>
                  </a:ext>
                </a:extLst>
              </a:blip>
              <a:srcRect/>
              <a:stretch>
                <a:fillRect/>
              </a:stretch>
            </p:blipFill>
            <p:spPr bwMode="auto">
              <a:xfrm>
                <a:off x="17482204" y="1544028"/>
                <a:ext cx="825249" cy="567540"/>
              </a:xfrm>
              <a:prstGeom prst="rect">
                <a:avLst/>
              </a:prstGeom>
              <a:noFill/>
              <a:extLst>
                <a:ext uri="{909E8E84-426E-40DD-AFC4-6F175D3DCCD1}">
                  <a14:hiddenFill xmlns:a14="http://schemas.microsoft.com/office/drawing/2010/main">
                    <a:solidFill>
                      <a:srgbClr val="FFFFFF"/>
                    </a:solidFill>
                  </a14:hiddenFill>
                </a:ext>
              </a:extLst>
            </p:spPr>
          </p:pic>
          <p:sp>
            <p:nvSpPr>
              <p:cNvPr id="2088" name="TextBox 2087">
                <a:extLst>
                  <a:ext uri="{FF2B5EF4-FFF2-40B4-BE49-F238E27FC236}">
                    <a16:creationId xmlns:a16="http://schemas.microsoft.com/office/drawing/2014/main" id="{498CF3E2-6487-9738-E104-8010E84F88A3}"/>
                  </a:ext>
                </a:extLst>
              </p:cNvPr>
              <p:cNvSpPr txBox="1"/>
              <p:nvPr/>
            </p:nvSpPr>
            <p:spPr>
              <a:xfrm>
                <a:off x="17103784" y="8155405"/>
                <a:ext cx="1688589" cy="1307566"/>
              </a:xfrm>
              <a:prstGeom prst="rect">
                <a:avLst/>
              </a:prstGeom>
              <a:noFill/>
            </p:spPr>
            <p:txBody>
              <a:bodyPr wrap="square" rtlCol="0">
                <a:spAutoFit/>
              </a:bodyPr>
              <a:lstStyle/>
              <a:p>
                <a:pPr algn="r"/>
                <a:r>
                  <a:rPr lang="en-US" sz="600" b="1" dirty="0">
                    <a:solidFill>
                      <a:srgbClr val="FC5B2C"/>
                    </a:solidFill>
                    <a:latin typeface="Manrope" pitchFamily="2" charset="0"/>
                    <a:cs typeface="Replica LL" panose="020B0504010101010104" pitchFamily="34" charset="0"/>
                  </a:rPr>
                  <a:t>NEXT-GEN GEOTHERMAL</a:t>
                </a:r>
              </a:p>
              <a:p>
                <a:pPr algn="r"/>
                <a:r>
                  <a:rPr lang="en-US" sz="600" dirty="0" err="1">
                    <a:latin typeface="Manrope" pitchFamily="2" charset="0"/>
                    <a:cs typeface="Replica LL" panose="020B0504010101010104" pitchFamily="34" charset="0"/>
                  </a:rPr>
                  <a:t>Fervo</a:t>
                </a:r>
                <a:r>
                  <a:rPr lang="en-US" sz="600" dirty="0">
                    <a:latin typeface="Manrope" pitchFamily="2" charset="0"/>
                    <a:cs typeface="Replica LL" panose="020B0504010101010104" pitchFamily="34" charset="0"/>
                  </a:rPr>
                  <a:t> to build 112-MW geothermal facility to add to Nevada grid</a:t>
                </a:r>
                <a:endParaRPr lang="en-US" sz="400" dirty="0">
                  <a:latin typeface="Manrope" pitchFamily="2" charset="0"/>
                  <a:cs typeface="Replica LL" panose="020B0504010101010104" pitchFamily="34" charset="0"/>
                </a:endParaRPr>
              </a:p>
            </p:txBody>
          </p:sp>
          <p:pic>
            <p:nvPicPr>
              <p:cNvPr id="2089" name="Picture 16" descr="Google logo - Wikipedia">
                <a:extLst>
                  <a:ext uri="{FF2B5EF4-FFF2-40B4-BE49-F238E27FC236}">
                    <a16:creationId xmlns:a16="http://schemas.microsoft.com/office/drawing/2014/main" id="{714E5BCC-C252-84FE-36B0-5B03BEA2175D}"/>
                  </a:ext>
                </a:extLst>
              </p:cNvPr>
              <p:cNvPicPr>
                <a:picLocks noChangeAspect="1" noChangeArrowheads="1"/>
              </p:cNvPicPr>
              <p:nvPr/>
            </p:nvPicPr>
            <p:blipFill>
              <a:blip r:embed="rId9">
                <a:grayscl/>
                <a:extLst>
                  <a:ext uri="{28A0092B-C50C-407E-A947-70E740481C1C}">
                    <a14:useLocalDpi xmlns:a14="http://schemas.microsoft.com/office/drawing/2010/main" val="0"/>
                  </a:ext>
                </a:extLst>
              </a:blip>
              <a:srcRect/>
              <a:stretch>
                <a:fillRect/>
              </a:stretch>
            </p:blipFill>
            <p:spPr bwMode="auto">
              <a:xfrm>
                <a:off x="17100879" y="7922250"/>
                <a:ext cx="706939" cy="239697"/>
              </a:xfrm>
              <a:prstGeom prst="rect">
                <a:avLst/>
              </a:prstGeom>
              <a:noFill/>
              <a:extLst>
                <a:ext uri="{909E8E84-426E-40DD-AFC4-6F175D3DCCD1}">
                  <a14:hiddenFill xmlns:a14="http://schemas.microsoft.com/office/drawing/2010/main">
                    <a:solidFill>
                      <a:srgbClr val="FFFFFF"/>
                    </a:solidFill>
                  </a14:hiddenFill>
                </a:ext>
              </a:extLst>
            </p:spPr>
          </p:pic>
          <p:pic>
            <p:nvPicPr>
              <p:cNvPr id="2090" name="Picture 18" descr="Fervo Energy - Next-Generation Geothermal Projects">
                <a:extLst>
                  <a:ext uri="{FF2B5EF4-FFF2-40B4-BE49-F238E27FC236}">
                    <a16:creationId xmlns:a16="http://schemas.microsoft.com/office/drawing/2014/main" id="{9DE830DE-478D-BCDA-F923-3C8D11970872}"/>
                  </a:ext>
                </a:extLst>
              </p:cNvPr>
              <p:cNvPicPr>
                <a:picLocks noChangeAspect="1" noChangeArrowheads="1"/>
              </p:cNvPicPr>
              <p:nvPr/>
            </p:nvPicPr>
            <p:blipFill>
              <a:blip r:embed="rId10">
                <a:grayscl/>
                <a:extLst>
                  <a:ext uri="{28A0092B-C50C-407E-A947-70E740481C1C}">
                    <a14:useLocalDpi xmlns:a14="http://schemas.microsoft.com/office/drawing/2010/main" val="0"/>
                  </a:ext>
                </a:extLst>
              </a:blip>
              <a:srcRect/>
              <a:stretch>
                <a:fillRect/>
              </a:stretch>
            </p:blipFill>
            <p:spPr bwMode="auto">
              <a:xfrm>
                <a:off x="17953466" y="7946173"/>
                <a:ext cx="774483" cy="167830"/>
              </a:xfrm>
              <a:prstGeom prst="rect">
                <a:avLst/>
              </a:prstGeom>
              <a:noFill/>
              <a:extLst>
                <a:ext uri="{909E8E84-426E-40DD-AFC4-6F175D3DCCD1}">
                  <a14:hiddenFill xmlns:a14="http://schemas.microsoft.com/office/drawing/2010/main">
                    <a:solidFill>
                      <a:srgbClr val="FFFFFF"/>
                    </a:solidFill>
                  </a14:hiddenFill>
                </a:ext>
              </a:extLst>
            </p:spPr>
          </p:pic>
          <p:sp>
            <p:nvSpPr>
              <p:cNvPr id="2091" name="TextBox 2090">
                <a:extLst>
                  <a:ext uri="{FF2B5EF4-FFF2-40B4-BE49-F238E27FC236}">
                    <a16:creationId xmlns:a16="http://schemas.microsoft.com/office/drawing/2014/main" id="{7BA269C4-641B-F62A-AFA3-78448C9C731A}"/>
                  </a:ext>
                </a:extLst>
              </p:cNvPr>
              <p:cNvSpPr txBox="1"/>
              <p:nvPr/>
            </p:nvSpPr>
            <p:spPr>
              <a:xfrm>
                <a:off x="18980097" y="2175146"/>
                <a:ext cx="2298277" cy="1120771"/>
              </a:xfrm>
              <a:prstGeom prst="rect">
                <a:avLst/>
              </a:prstGeom>
              <a:noFill/>
            </p:spPr>
            <p:txBody>
              <a:bodyPr wrap="square" rtlCol="0">
                <a:spAutoFit/>
              </a:bodyPr>
              <a:lstStyle/>
              <a:p>
                <a:r>
                  <a:rPr lang="en-US" sz="600" b="1" dirty="0">
                    <a:solidFill>
                      <a:srgbClr val="FBC23C"/>
                    </a:solidFill>
                    <a:latin typeface="Manrope" pitchFamily="2" charset="0"/>
                    <a:cs typeface="Replica LL" panose="020B0504010101010104" pitchFamily="34" charset="0"/>
                  </a:rPr>
                  <a:t>DIRECT AIR CAPTURE</a:t>
                </a:r>
              </a:p>
              <a:p>
                <a:r>
                  <a:rPr lang="en-US" sz="600" dirty="0">
                    <a:latin typeface="Manrope" pitchFamily="2" charset="0"/>
                    <a:cs typeface="Replica LL" panose="020B0504010101010104" pitchFamily="34" charset="0"/>
                  </a:rPr>
                  <a:t>Microsoft agrees to buy 500,000 tonnes of carbon removal credits over six years</a:t>
                </a:r>
                <a:endParaRPr lang="en-US" sz="400" dirty="0">
                  <a:latin typeface="Manrope" pitchFamily="2" charset="0"/>
                  <a:cs typeface="Replica LL" panose="020B0504010101010104" pitchFamily="34" charset="0"/>
                </a:endParaRPr>
              </a:p>
            </p:txBody>
          </p:sp>
          <p:pic>
            <p:nvPicPr>
              <p:cNvPr id="2092" name="Picture 6" descr="Microsoft Logo PNGs for Free Download">
                <a:extLst>
                  <a:ext uri="{FF2B5EF4-FFF2-40B4-BE49-F238E27FC236}">
                    <a16:creationId xmlns:a16="http://schemas.microsoft.com/office/drawing/2014/main" id="{E8FC29E7-A813-C7F1-3A31-FD4264947234}"/>
                  </a:ext>
                </a:extLst>
              </p:cNvPr>
              <p:cNvPicPr>
                <a:picLocks noChangeAspect="1" noChangeArrowheads="1"/>
              </p:cNvPicPr>
              <p:nvPr/>
            </p:nvPicPr>
            <p:blipFill rotWithShape="1">
              <a:blip r:embed="rId4">
                <a:grayscl/>
                <a:extLst>
                  <a:ext uri="{28A0092B-C50C-407E-A947-70E740481C1C}">
                    <a14:useLocalDpi xmlns:a14="http://schemas.microsoft.com/office/drawing/2010/main" val="0"/>
                  </a:ext>
                </a:extLst>
              </a:blip>
              <a:srcRect t="39146" b="34629"/>
              <a:stretch/>
            </p:blipFill>
            <p:spPr bwMode="auto">
              <a:xfrm>
                <a:off x="18978241" y="3267466"/>
                <a:ext cx="1318083" cy="345664"/>
              </a:xfrm>
              <a:prstGeom prst="rect">
                <a:avLst/>
              </a:prstGeom>
              <a:noFill/>
              <a:extLst>
                <a:ext uri="{909E8E84-426E-40DD-AFC4-6F175D3DCCD1}">
                  <a14:hiddenFill xmlns:a14="http://schemas.microsoft.com/office/drawing/2010/main">
                    <a:solidFill>
                      <a:srgbClr val="FFFFFF"/>
                    </a:solidFill>
                  </a14:hiddenFill>
                </a:ext>
              </a:extLst>
            </p:spPr>
          </p:pic>
          <p:pic>
            <p:nvPicPr>
              <p:cNvPr id="2093" name="Picture 14" descr="1PointFive Announces Agreement to Sell 500,000 Metric Tons of Direct Air  Capture Carbon Removal Credits to Microsoft">
                <a:extLst>
                  <a:ext uri="{FF2B5EF4-FFF2-40B4-BE49-F238E27FC236}">
                    <a16:creationId xmlns:a16="http://schemas.microsoft.com/office/drawing/2014/main" id="{29A5E3B2-C581-E5C2-84C1-8B4C9FB00030}"/>
                  </a:ext>
                </a:extLst>
              </p:cNvPr>
              <p:cNvPicPr>
                <a:picLocks noChangeAspect="1" noChangeArrowheads="1"/>
              </p:cNvPicPr>
              <p:nvPr/>
            </p:nvPicPr>
            <p:blipFill>
              <a:blip r:embed="rId8">
                <a:grayscl/>
                <a:extLst>
                  <a:ext uri="{28A0092B-C50C-407E-A947-70E740481C1C}">
                    <a14:useLocalDpi xmlns:a14="http://schemas.microsoft.com/office/drawing/2010/main" val="0"/>
                  </a:ext>
                </a:extLst>
              </a:blip>
              <a:srcRect/>
              <a:stretch>
                <a:fillRect/>
              </a:stretch>
            </p:blipFill>
            <p:spPr bwMode="auto">
              <a:xfrm>
                <a:off x="20376127" y="3255768"/>
                <a:ext cx="676481" cy="333731"/>
              </a:xfrm>
              <a:prstGeom prst="rect">
                <a:avLst/>
              </a:prstGeom>
              <a:noFill/>
              <a:extLst>
                <a:ext uri="{909E8E84-426E-40DD-AFC4-6F175D3DCCD1}">
                  <a14:hiddenFill xmlns:a14="http://schemas.microsoft.com/office/drawing/2010/main">
                    <a:solidFill>
                      <a:srgbClr val="FFFFFF"/>
                    </a:solidFill>
                  </a14:hiddenFill>
                </a:ext>
              </a:extLst>
            </p:spPr>
          </p:pic>
          <p:sp>
            <p:nvSpPr>
              <p:cNvPr id="2094" name="TextBox 2093">
                <a:extLst>
                  <a:ext uri="{FF2B5EF4-FFF2-40B4-BE49-F238E27FC236}">
                    <a16:creationId xmlns:a16="http://schemas.microsoft.com/office/drawing/2014/main" id="{F5DC4C2E-B5AF-C76E-C273-0D58CEA1EA26}"/>
                  </a:ext>
                </a:extLst>
              </p:cNvPr>
              <p:cNvSpPr txBox="1"/>
              <p:nvPr/>
            </p:nvSpPr>
            <p:spPr>
              <a:xfrm>
                <a:off x="19091851" y="9658711"/>
                <a:ext cx="2386563" cy="1120771"/>
              </a:xfrm>
              <a:prstGeom prst="rect">
                <a:avLst/>
              </a:prstGeom>
              <a:noFill/>
            </p:spPr>
            <p:txBody>
              <a:bodyPr wrap="square" rtlCol="0">
                <a:spAutoFit/>
              </a:bodyPr>
              <a:lstStyle/>
              <a:p>
                <a:r>
                  <a:rPr lang="en-US" sz="600" b="1" dirty="0">
                    <a:solidFill>
                      <a:srgbClr val="FC5B2C"/>
                    </a:solidFill>
                    <a:latin typeface="Manrope" pitchFamily="2" charset="0"/>
                    <a:cs typeface="Replica LL" panose="020B0504010101010104" pitchFamily="34" charset="0"/>
                  </a:rPr>
                  <a:t>NEXT-GEN GEOTHERMAL</a:t>
                </a:r>
              </a:p>
              <a:p>
                <a:r>
                  <a:rPr lang="en-US" sz="600" dirty="0">
                    <a:latin typeface="Manrope" pitchFamily="2" charset="0"/>
                    <a:cs typeface="Replica LL" panose="020B0504010101010104" pitchFamily="34" charset="0"/>
                  </a:rPr>
                  <a:t>Sage Geosystems announces a 150-MW plant, the first geothermal project east of the Rockies</a:t>
                </a:r>
                <a:endParaRPr lang="en-US" sz="400" dirty="0">
                  <a:latin typeface="Manrope" pitchFamily="2" charset="0"/>
                  <a:cs typeface="Replica LL" panose="020B0504010101010104" pitchFamily="34" charset="0"/>
                </a:endParaRPr>
              </a:p>
            </p:txBody>
          </p:sp>
          <p:pic>
            <p:nvPicPr>
              <p:cNvPr id="2095" name="Picture 26">
                <a:extLst>
                  <a:ext uri="{FF2B5EF4-FFF2-40B4-BE49-F238E27FC236}">
                    <a16:creationId xmlns:a16="http://schemas.microsoft.com/office/drawing/2014/main" id="{62529040-D97C-D49F-DF20-C32E3B8C04F2}"/>
                  </a:ext>
                </a:extLst>
              </p:cNvPr>
              <p:cNvPicPr>
                <a:picLocks noChangeAspect="1" noChangeArrowheads="1"/>
              </p:cNvPicPr>
              <p:nvPr/>
            </p:nvPicPr>
            <p:blipFill>
              <a:blip r:embed="rId15">
                <a:grayscl/>
                <a:extLst>
                  <a:ext uri="{28A0092B-C50C-407E-A947-70E740481C1C}">
                    <a14:useLocalDpi xmlns:a14="http://schemas.microsoft.com/office/drawing/2010/main" val="0"/>
                  </a:ext>
                </a:extLst>
              </a:blip>
              <a:srcRect/>
              <a:stretch>
                <a:fillRect/>
              </a:stretch>
            </p:blipFill>
            <p:spPr bwMode="auto">
              <a:xfrm>
                <a:off x="19231066" y="9375055"/>
                <a:ext cx="1046823" cy="211000"/>
              </a:xfrm>
              <a:prstGeom prst="rect">
                <a:avLst/>
              </a:prstGeom>
              <a:noFill/>
              <a:extLst>
                <a:ext uri="{909E8E84-426E-40DD-AFC4-6F175D3DCCD1}">
                  <a14:hiddenFill xmlns:a14="http://schemas.microsoft.com/office/drawing/2010/main">
                    <a:solidFill>
                      <a:srgbClr val="FFFFFF"/>
                    </a:solidFill>
                  </a14:hiddenFill>
                </a:ext>
              </a:extLst>
            </p:spPr>
          </p:pic>
          <p:pic>
            <p:nvPicPr>
              <p:cNvPr id="2096" name="Picture 28" descr="Sage Geosystems Raises $17 Million In Series A, Announces World's First  Commercial Geopressured Geothermal System (Ggs) Facility - Energy  Conference Network | Global Energy Community">
                <a:extLst>
                  <a:ext uri="{FF2B5EF4-FFF2-40B4-BE49-F238E27FC236}">
                    <a16:creationId xmlns:a16="http://schemas.microsoft.com/office/drawing/2014/main" id="{F44BC265-7ECF-4CA9-4A9A-D49D73561D45}"/>
                  </a:ext>
                </a:extLst>
              </p:cNvPr>
              <p:cNvPicPr>
                <a:picLocks noChangeAspect="1" noChangeArrowheads="1"/>
              </p:cNvPicPr>
              <p:nvPr/>
            </p:nvPicPr>
            <p:blipFill>
              <a:blip r:embed="rId16">
                <a:grayscl/>
                <a:extLst>
                  <a:ext uri="{28A0092B-C50C-407E-A947-70E740481C1C}">
                    <a14:useLocalDpi xmlns:a14="http://schemas.microsoft.com/office/drawing/2010/main" val="0"/>
                  </a:ext>
                </a:extLst>
              </a:blip>
              <a:srcRect/>
              <a:stretch>
                <a:fillRect/>
              </a:stretch>
            </p:blipFill>
            <p:spPr bwMode="auto">
              <a:xfrm>
                <a:off x="20321381" y="8938198"/>
                <a:ext cx="956992" cy="956992"/>
              </a:xfrm>
              <a:prstGeom prst="rect">
                <a:avLst/>
              </a:prstGeom>
              <a:noFill/>
              <a:extLst>
                <a:ext uri="{909E8E84-426E-40DD-AFC4-6F175D3DCCD1}">
                  <a14:hiddenFill xmlns:a14="http://schemas.microsoft.com/office/drawing/2010/main">
                    <a:solidFill>
                      <a:srgbClr val="FFFFFF"/>
                    </a:solidFill>
                  </a14:hiddenFill>
                </a:ext>
              </a:extLst>
            </p:spPr>
          </p:pic>
          <p:sp>
            <p:nvSpPr>
              <p:cNvPr id="2097" name="TextBox 2096">
                <a:extLst>
                  <a:ext uri="{FF2B5EF4-FFF2-40B4-BE49-F238E27FC236}">
                    <a16:creationId xmlns:a16="http://schemas.microsoft.com/office/drawing/2014/main" id="{76861301-7EF7-AB82-CA0D-9B2A9B98978C}"/>
                  </a:ext>
                </a:extLst>
              </p:cNvPr>
              <p:cNvSpPr txBox="1"/>
              <p:nvPr/>
            </p:nvSpPr>
            <p:spPr>
              <a:xfrm>
                <a:off x="19340018" y="4822217"/>
                <a:ext cx="2098037" cy="1120771"/>
              </a:xfrm>
              <a:prstGeom prst="rect">
                <a:avLst/>
              </a:prstGeom>
              <a:noFill/>
            </p:spPr>
            <p:txBody>
              <a:bodyPr wrap="square" rtlCol="0">
                <a:spAutoFit/>
              </a:bodyPr>
              <a:lstStyle/>
              <a:p>
                <a:r>
                  <a:rPr lang="en-US" sz="600" b="1" dirty="0">
                    <a:solidFill>
                      <a:srgbClr val="3A92F9"/>
                    </a:solidFill>
                    <a:latin typeface="Manrope" pitchFamily="2" charset="0"/>
                    <a:cs typeface="Replica LL" panose="020B0504010101010104" pitchFamily="34" charset="0"/>
                  </a:rPr>
                  <a:t>ADVANCED NUCLEAR</a:t>
                </a:r>
              </a:p>
              <a:p>
                <a:r>
                  <a:rPr lang="en-US" sz="600" dirty="0">
                    <a:latin typeface="Manrope" pitchFamily="2" charset="0"/>
                    <a:cs typeface="Replica LL" panose="020B0504010101010104" pitchFamily="34" charset="0"/>
                  </a:rPr>
                  <a:t>Oracle says it's building a gigawatt-scale data center powered by three SMRs</a:t>
                </a:r>
                <a:endParaRPr lang="en-US" sz="400" dirty="0">
                  <a:latin typeface="Manrope" pitchFamily="2" charset="0"/>
                  <a:cs typeface="Replica LL" panose="020B0504010101010104" pitchFamily="34" charset="0"/>
                </a:endParaRPr>
              </a:p>
            </p:txBody>
          </p:sp>
          <p:pic>
            <p:nvPicPr>
              <p:cNvPr id="2098" name="Picture 30">
                <a:extLst>
                  <a:ext uri="{FF2B5EF4-FFF2-40B4-BE49-F238E27FC236}">
                    <a16:creationId xmlns:a16="http://schemas.microsoft.com/office/drawing/2014/main" id="{DB39F8B6-5F4D-BF3D-B8C1-980D021EC8AF}"/>
                  </a:ext>
                </a:extLst>
              </p:cNvPr>
              <p:cNvPicPr>
                <a:picLocks noChangeAspect="1" noChangeArrowheads="1"/>
              </p:cNvPicPr>
              <p:nvPr/>
            </p:nvPicPr>
            <p:blipFill>
              <a:blip r:embed="rId17">
                <a:grayscl/>
                <a:extLst>
                  <a:ext uri="{28A0092B-C50C-407E-A947-70E740481C1C}">
                    <a14:useLocalDpi xmlns:a14="http://schemas.microsoft.com/office/drawing/2010/main" val="0"/>
                  </a:ext>
                </a:extLst>
              </a:blip>
              <a:srcRect/>
              <a:stretch>
                <a:fillRect/>
              </a:stretch>
            </p:blipFill>
            <p:spPr bwMode="auto">
              <a:xfrm>
                <a:off x="19434115" y="5999604"/>
                <a:ext cx="1040087" cy="135090"/>
              </a:xfrm>
              <a:prstGeom prst="rect">
                <a:avLst/>
              </a:prstGeom>
              <a:noFill/>
              <a:extLst>
                <a:ext uri="{909E8E84-426E-40DD-AFC4-6F175D3DCCD1}">
                  <a14:hiddenFill xmlns:a14="http://schemas.microsoft.com/office/drawing/2010/main">
                    <a:solidFill>
                      <a:srgbClr val="FFFFFF"/>
                    </a:solidFill>
                  </a14:hiddenFill>
                </a:ext>
              </a:extLst>
            </p:spPr>
          </p:pic>
          <p:sp>
            <p:nvSpPr>
              <p:cNvPr id="2099" name="TextBox 2098">
                <a:extLst>
                  <a:ext uri="{FF2B5EF4-FFF2-40B4-BE49-F238E27FC236}">
                    <a16:creationId xmlns:a16="http://schemas.microsoft.com/office/drawing/2014/main" id="{1BB74A1E-BA20-2164-8985-18C334D44A06}"/>
                  </a:ext>
                </a:extLst>
              </p:cNvPr>
              <p:cNvSpPr txBox="1"/>
              <p:nvPr/>
            </p:nvSpPr>
            <p:spPr>
              <a:xfrm>
                <a:off x="19202542" y="7675887"/>
                <a:ext cx="2023286" cy="1120771"/>
              </a:xfrm>
              <a:prstGeom prst="rect">
                <a:avLst/>
              </a:prstGeom>
              <a:noFill/>
            </p:spPr>
            <p:txBody>
              <a:bodyPr wrap="square" rtlCol="0">
                <a:spAutoFit/>
              </a:bodyPr>
              <a:lstStyle/>
              <a:p>
                <a:pPr algn="r"/>
                <a:r>
                  <a:rPr lang="en-US" sz="600" b="1" dirty="0">
                    <a:solidFill>
                      <a:srgbClr val="FBC23C"/>
                    </a:solidFill>
                    <a:latin typeface="Manrope" pitchFamily="2" charset="0"/>
                    <a:cs typeface="Replica LL" panose="020B0504010101010104" pitchFamily="34" charset="0"/>
                  </a:rPr>
                  <a:t>DIRECT AIR CAPTURE</a:t>
                </a:r>
              </a:p>
              <a:p>
                <a:pPr algn="r"/>
                <a:r>
                  <a:rPr lang="en-US" sz="600" dirty="0">
                    <a:latin typeface="Manrope" pitchFamily="2" charset="0"/>
                    <a:cs typeface="Replica LL" panose="020B0504010101010104" pitchFamily="34" charset="0"/>
                  </a:rPr>
                  <a:t>Google to buy carbon removal credits from Holocene at $100 per ton by 2030</a:t>
                </a:r>
                <a:endParaRPr lang="en-US" sz="400" dirty="0">
                  <a:latin typeface="Manrope" pitchFamily="2" charset="0"/>
                  <a:cs typeface="Replica LL" panose="020B0504010101010104" pitchFamily="34" charset="0"/>
                </a:endParaRPr>
              </a:p>
            </p:txBody>
          </p:sp>
          <p:pic>
            <p:nvPicPr>
              <p:cNvPr id="2100" name="Picture 16" descr="Google logo - Wikipedia">
                <a:extLst>
                  <a:ext uri="{FF2B5EF4-FFF2-40B4-BE49-F238E27FC236}">
                    <a16:creationId xmlns:a16="http://schemas.microsoft.com/office/drawing/2014/main" id="{2BBB6BAB-6623-8BF4-38C7-B7EF38EDE330}"/>
                  </a:ext>
                </a:extLst>
              </p:cNvPr>
              <p:cNvPicPr>
                <a:picLocks noChangeAspect="1" noChangeArrowheads="1"/>
              </p:cNvPicPr>
              <p:nvPr/>
            </p:nvPicPr>
            <p:blipFill>
              <a:blip r:embed="rId9">
                <a:grayscl/>
                <a:extLst>
                  <a:ext uri="{28A0092B-C50C-407E-A947-70E740481C1C}">
                    <a14:useLocalDpi xmlns:a14="http://schemas.microsoft.com/office/drawing/2010/main" val="0"/>
                  </a:ext>
                </a:extLst>
              </a:blip>
              <a:srcRect/>
              <a:stretch>
                <a:fillRect/>
              </a:stretch>
            </p:blipFill>
            <p:spPr bwMode="auto">
              <a:xfrm>
                <a:off x="20389880" y="7421009"/>
                <a:ext cx="740147" cy="250956"/>
              </a:xfrm>
              <a:prstGeom prst="rect">
                <a:avLst/>
              </a:prstGeom>
              <a:noFill/>
              <a:extLst>
                <a:ext uri="{909E8E84-426E-40DD-AFC4-6F175D3DCCD1}">
                  <a14:hiddenFill xmlns:a14="http://schemas.microsoft.com/office/drawing/2010/main">
                    <a:solidFill>
                      <a:srgbClr val="FFFFFF"/>
                    </a:solidFill>
                  </a14:hiddenFill>
                </a:ext>
              </a:extLst>
            </p:spPr>
          </p:pic>
          <p:pic>
            <p:nvPicPr>
              <p:cNvPr id="2101" name="Picture 32" descr="Tennessee Advanced Energy Business Council — Holocene Climate Corporation -  Tennessee Advanced Energy Business Council">
                <a:extLst>
                  <a:ext uri="{FF2B5EF4-FFF2-40B4-BE49-F238E27FC236}">
                    <a16:creationId xmlns:a16="http://schemas.microsoft.com/office/drawing/2014/main" id="{96039827-89D8-6AC1-1CB6-A6059F420B5E}"/>
                  </a:ext>
                </a:extLst>
              </p:cNvPr>
              <p:cNvPicPr>
                <a:picLocks noChangeAspect="1" noChangeArrowheads="1"/>
              </p:cNvPicPr>
              <p:nvPr/>
            </p:nvPicPr>
            <p:blipFill>
              <a:blip r:embed="rId18">
                <a:grayscl/>
                <a:extLst>
                  <a:ext uri="{28A0092B-C50C-407E-A947-70E740481C1C}">
                    <a14:useLocalDpi xmlns:a14="http://schemas.microsoft.com/office/drawing/2010/main" val="0"/>
                  </a:ext>
                </a:extLst>
              </a:blip>
              <a:srcRect/>
              <a:stretch>
                <a:fillRect/>
              </a:stretch>
            </p:blipFill>
            <p:spPr bwMode="auto">
              <a:xfrm>
                <a:off x="19322388" y="7464524"/>
                <a:ext cx="972670" cy="166671"/>
              </a:xfrm>
              <a:prstGeom prst="rect">
                <a:avLst/>
              </a:prstGeom>
              <a:noFill/>
              <a:extLst>
                <a:ext uri="{909E8E84-426E-40DD-AFC4-6F175D3DCCD1}">
                  <a14:hiddenFill xmlns:a14="http://schemas.microsoft.com/office/drawing/2010/main">
                    <a:solidFill>
                      <a:srgbClr val="FFFFFF"/>
                    </a:solidFill>
                  </a14:hiddenFill>
                </a:ext>
              </a:extLst>
            </p:spPr>
          </p:pic>
          <p:sp>
            <p:nvSpPr>
              <p:cNvPr id="2102" name="TextBox 2101">
                <a:extLst>
                  <a:ext uri="{FF2B5EF4-FFF2-40B4-BE49-F238E27FC236}">
                    <a16:creationId xmlns:a16="http://schemas.microsoft.com/office/drawing/2014/main" id="{12B54E7A-A8D5-7B3B-0BFD-C5CE17DBB30F}"/>
                  </a:ext>
                </a:extLst>
              </p:cNvPr>
              <p:cNvSpPr txBox="1"/>
              <p:nvPr/>
            </p:nvSpPr>
            <p:spPr>
              <a:xfrm>
                <a:off x="21516460" y="3403844"/>
                <a:ext cx="2576287" cy="933975"/>
              </a:xfrm>
              <a:prstGeom prst="rect">
                <a:avLst/>
              </a:prstGeom>
              <a:noFill/>
            </p:spPr>
            <p:txBody>
              <a:bodyPr wrap="square" rtlCol="0">
                <a:spAutoFit/>
              </a:bodyPr>
              <a:lstStyle/>
              <a:p>
                <a:r>
                  <a:rPr lang="en-US" sz="600" b="1" dirty="0">
                    <a:solidFill>
                      <a:srgbClr val="FB41DC"/>
                    </a:solidFill>
                    <a:latin typeface="Manrope" pitchFamily="2" charset="0"/>
                    <a:cs typeface="Replica LL" panose="020B0504010101010104" pitchFamily="34" charset="0"/>
                  </a:rPr>
                  <a:t>CONVENTIONAL NUCLEAR</a:t>
                </a:r>
              </a:p>
              <a:p>
                <a:r>
                  <a:rPr lang="en-US" sz="600" dirty="0">
                    <a:latin typeface="Manrope" pitchFamily="2" charset="0"/>
                    <a:cs typeface="Replica LL" panose="020B0504010101010104" pitchFamily="34" charset="0"/>
                  </a:rPr>
                  <a:t>Microsoft and Constellation plan to restart Three Mile Island Unit 1</a:t>
                </a:r>
                <a:endParaRPr lang="en-US" sz="400" dirty="0">
                  <a:latin typeface="Manrope" pitchFamily="2" charset="0"/>
                  <a:cs typeface="Replica LL" panose="020B0504010101010104" pitchFamily="34" charset="0"/>
                </a:endParaRPr>
              </a:p>
            </p:txBody>
          </p:sp>
          <p:pic>
            <p:nvPicPr>
              <p:cNvPr id="2103" name="Picture 34" descr="Investor Relations | Constellation Energy Corporation">
                <a:extLst>
                  <a:ext uri="{FF2B5EF4-FFF2-40B4-BE49-F238E27FC236}">
                    <a16:creationId xmlns:a16="http://schemas.microsoft.com/office/drawing/2014/main" id="{17380D83-2B9A-1AE3-C041-CD98F0C34147}"/>
                  </a:ext>
                </a:extLst>
              </p:cNvPr>
              <p:cNvPicPr>
                <a:picLocks noChangeAspect="1" noChangeArrowheads="1"/>
              </p:cNvPicPr>
              <p:nvPr/>
            </p:nvPicPr>
            <p:blipFill>
              <a:blip r:embed="rId19">
                <a:grayscl/>
                <a:extLst>
                  <a:ext uri="{28A0092B-C50C-407E-A947-70E740481C1C}">
                    <a14:useLocalDpi xmlns:a14="http://schemas.microsoft.com/office/drawing/2010/main" val="0"/>
                  </a:ext>
                </a:extLst>
              </a:blip>
              <a:srcRect/>
              <a:stretch>
                <a:fillRect/>
              </a:stretch>
            </p:blipFill>
            <p:spPr bwMode="auto">
              <a:xfrm>
                <a:off x="21585403" y="4552525"/>
                <a:ext cx="1622094" cy="268573"/>
              </a:xfrm>
              <a:prstGeom prst="rect">
                <a:avLst/>
              </a:prstGeom>
              <a:noFill/>
              <a:extLst>
                <a:ext uri="{909E8E84-426E-40DD-AFC4-6F175D3DCCD1}">
                  <a14:hiddenFill xmlns:a14="http://schemas.microsoft.com/office/drawing/2010/main">
                    <a:solidFill>
                      <a:srgbClr val="FFFFFF"/>
                    </a:solidFill>
                  </a14:hiddenFill>
                </a:ext>
              </a:extLst>
            </p:spPr>
          </p:pic>
          <p:pic>
            <p:nvPicPr>
              <p:cNvPr id="2104" name="Picture 6" descr="Microsoft Logo PNGs for Free Download">
                <a:extLst>
                  <a:ext uri="{FF2B5EF4-FFF2-40B4-BE49-F238E27FC236}">
                    <a16:creationId xmlns:a16="http://schemas.microsoft.com/office/drawing/2014/main" id="{C542BAC0-3E06-3C51-1128-381549E18B09}"/>
                  </a:ext>
                </a:extLst>
              </p:cNvPr>
              <p:cNvPicPr>
                <a:picLocks noChangeAspect="1" noChangeArrowheads="1"/>
              </p:cNvPicPr>
              <p:nvPr/>
            </p:nvPicPr>
            <p:blipFill rotWithShape="1">
              <a:blip r:embed="rId4">
                <a:grayscl/>
                <a:extLst>
                  <a:ext uri="{28A0092B-C50C-407E-A947-70E740481C1C}">
                    <a14:useLocalDpi xmlns:a14="http://schemas.microsoft.com/office/drawing/2010/main" val="0"/>
                  </a:ext>
                </a:extLst>
              </a:blip>
              <a:srcRect t="39146" b="34629"/>
              <a:stretch/>
            </p:blipFill>
            <p:spPr bwMode="auto">
              <a:xfrm>
                <a:off x="22365828" y="4321163"/>
                <a:ext cx="1318083" cy="345664"/>
              </a:xfrm>
              <a:prstGeom prst="rect">
                <a:avLst/>
              </a:prstGeom>
              <a:noFill/>
              <a:extLst>
                <a:ext uri="{909E8E84-426E-40DD-AFC4-6F175D3DCCD1}">
                  <a14:hiddenFill xmlns:a14="http://schemas.microsoft.com/office/drawing/2010/main">
                    <a:solidFill>
                      <a:srgbClr val="FFFFFF"/>
                    </a:solidFill>
                  </a14:hiddenFill>
                </a:ext>
              </a:extLst>
            </p:spPr>
          </p:pic>
          <p:sp>
            <p:nvSpPr>
              <p:cNvPr id="2105" name="TextBox 2104">
                <a:extLst>
                  <a:ext uri="{FF2B5EF4-FFF2-40B4-BE49-F238E27FC236}">
                    <a16:creationId xmlns:a16="http://schemas.microsoft.com/office/drawing/2014/main" id="{59445F5C-36EE-0377-6DC9-50248440F46C}"/>
                  </a:ext>
                </a:extLst>
              </p:cNvPr>
              <p:cNvSpPr txBox="1"/>
              <p:nvPr/>
            </p:nvSpPr>
            <p:spPr>
              <a:xfrm>
                <a:off x="21760114" y="8531305"/>
                <a:ext cx="2380670" cy="933975"/>
              </a:xfrm>
              <a:prstGeom prst="rect">
                <a:avLst/>
              </a:prstGeom>
              <a:noFill/>
            </p:spPr>
            <p:txBody>
              <a:bodyPr wrap="square" rtlCol="0">
                <a:spAutoFit/>
              </a:bodyPr>
              <a:lstStyle/>
              <a:p>
                <a:r>
                  <a:rPr lang="en-US" sz="600" b="1" dirty="0">
                    <a:solidFill>
                      <a:srgbClr val="FC5B2C"/>
                    </a:solidFill>
                    <a:latin typeface="Manrope" pitchFamily="2" charset="0"/>
                    <a:cs typeface="Replica LL" panose="020B0504010101010104" pitchFamily="34" charset="0"/>
                  </a:rPr>
                  <a:t>NEXT-GEN GEOTHERMAL</a:t>
                </a:r>
              </a:p>
              <a:p>
                <a:r>
                  <a:rPr lang="en-US" sz="600" dirty="0">
                    <a:latin typeface="Manrope" pitchFamily="2" charset="0"/>
                    <a:cs typeface="Replica LL" panose="020B0504010101010104" pitchFamily="34" charset="0"/>
                  </a:rPr>
                  <a:t>Google leads $40 million Series C funding round for Dandelion Energy</a:t>
                </a:r>
                <a:endParaRPr lang="en-US" sz="400" dirty="0">
                  <a:latin typeface="Manrope" pitchFamily="2" charset="0"/>
                  <a:cs typeface="Replica LL" panose="020B0504010101010104" pitchFamily="34" charset="0"/>
                </a:endParaRPr>
              </a:p>
            </p:txBody>
          </p:sp>
          <p:pic>
            <p:nvPicPr>
              <p:cNvPr id="2106" name="Picture 36" descr="Dandelion Energy - Wikipedia">
                <a:extLst>
                  <a:ext uri="{FF2B5EF4-FFF2-40B4-BE49-F238E27FC236}">
                    <a16:creationId xmlns:a16="http://schemas.microsoft.com/office/drawing/2014/main" id="{97CCC118-3782-A2E7-B373-A6553BF803DE}"/>
                  </a:ext>
                </a:extLst>
              </p:cNvPr>
              <p:cNvPicPr>
                <a:picLocks noChangeAspect="1" noChangeArrowheads="1"/>
              </p:cNvPicPr>
              <p:nvPr/>
            </p:nvPicPr>
            <p:blipFill>
              <a:blip r:embed="rId20">
                <a:grayscl/>
                <a:extLst>
                  <a:ext uri="{28A0092B-C50C-407E-A947-70E740481C1C}">
                    <a14:useLocalDpi xmlns:a14="http://schemas.microsoft.com/office/drawing/2010/main" val="0"/>
                  </a:ext>
                </a:extLst>
              </a:blip>
              <a:srcRect/>
              <a:stretch>
                <a:fillRect/>
              </a:stretch>
            </p:blipFill>
            <p:spPr bwMode="auto">
              <a:xfrm>
                <a:off x="21893811" y="7923880"/>
                <a:ext cx="472017" cy="569452"/>
              </a:xfrm>
              <a:prstGeom prst="rect">
                <a:avLst/>
              </a:prstGeom>
              <a:noFill/>
              <a:extLst>
                <a:ext uri="{909E8E84-426E-40DD-AFC4-6F175D3DCCD1}">
                  <a14:hiddenFill xmlns:a14="http://schemas.microsoft.com/office/drawing/2010/main">
                    <a:solidFill>
                      <a:srgbClr val="FFFFFF"/>
                    </a:solidFill>
                  </a14:hiddenFill>
                </a:ext>
              </a:extLst>
            </p:spPr>
          </p:pic>
          <p:pic>
            <p:nvPicPr>
              <p:cNvPr id="2107" name="Picture 16" descr="Google logo - Wikipedia">
                <a:extLst>
                  <a:ext uri="{FF2B5EF4-FFF2-40B4-BE49-F238E27FC236}">
                    <a16:creationId xmlns:a16="http://schemas.microsoft.com/office/drawing/2014/main" id="{0B16B8D0-46BE-F846-FA8F-A9663EB35040}"/>
                  </a:ext>
                </a:extLst>
              </p:cNvPr>
              <p:cNvPicPr>
                <a:picLocks noChangeAspect="1" noChangeArrowheads="1"/>
              </p:cNvPicPr>
              <p:nvPr/>
            </p:nvPicPr>
            <p:blipFill>
              <a:blip r:embed="rId9">
                <a:grayscl/>
                <a:extLst>
                  <a:ext uri="{28A0092B-C50C-407E-A947-70E740481C1C}">
                    <a14:useLocalDpi xmlns:a14="http://schemas.microsoft.com/office/drawing/2010/main" val="0"/>
                  </a:ext>
                </a:extLst>
              </a:blip>
              <a:srcRect/>
              <a:stretch>
                <a:fillRect/>
              </a:stretch>
            </p:blipFill>
            <p:spPr bwMode="auto">
              <a:xfrm>
                <a:off x="22585906" y="8110977"/>
                <a:ext cx="951970" cy="322778"/>
              </a:xfrm>
              <a:prstGeom prst="rect">
                <a:avLst/>
              </a:prstGeom>
              <a:noFill/>
              <a:extLst>
                <a:ext uri="{909E8E84-426E-40DD-AFC4-6F175D3DCCD1}">
                  <a14:hiddenFill xmlns:a14="http://schemas.microsoft.com/office/drawing/2010/main">
                    <a:solidFill>
                      <a:srgbClr val="FFFFFF"/>
                    </a:solidFill>
                  </a14:hiddenFill>
                </a:ext>
              </a:extLst>
            </p:spPr>
          </p:pic>
          <p:sp>
            <p:nvSpPr>
              <p:cNvPr id="2108" name="Rectangle 2107">
                <a:extLst>
                  <a:ext uri="{FF2B5EF4-FFF2-40B4-BE49-F238E27FC236}">
                    <a16:creationId xmlns:a16="http://schemas.microsoft.com/office/drawing/2014/main" id="{C8C7A7BB-CECE-86C5-70DF-1056FED5BE20}"/>
                  </a:ext>
                </a:extLst>
              </p:cNvPr>
              <p:cNvSpPr/>
              <p:nvPr/>
            </p:nvSpPr>
            <p:spPr>
              <a:xfrm>
                <a:off x="7743499" y="6564468"/>
                <a:ext cx="7285607" cy="585927"/>
              </a:xfrm>
              <a:prstGeom prst="rect">
                <a:avLst/>
              </a:prstGeom>
              <a:solidFill>
                <a:srgbClr val="000000"/>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b="1" dirty="0">
                    <a:solidFill>
                      <a:schemeClr val="bg1"/>
                    </a:solidFill>
                    <a:latin typeface="+mj-lt"/>
                    <a:cs typeface="Replica LL" panose="020B0504010101010104" pitchFamily="34" charset="0"/>
                  </a:rPr>
                  <a:t>2023</a:t>
                </a:r>
              </a:p>
            </p:txBody>
          </p:sp>
          <p:cxnSp>
            <p:nvCxnSpPr>
              <p:cNvPr id="2109" name="Connector: Elbow 2108">
                <a:extLst>
                  <a:ext uri="{FF2B5EF4-FFF2-40B4-BE49-F238E27FC236}">
                    <a16:creationId xmlns:a16="http://schemas.microsoft.com/office/drawing/2014/main" id="{535FAD92-26B2-AD25-F248-FDDE974573A9}"/>
                  </a:ext>
                </a:extLst>
              </p:cNvPr>
              <p:cNvCxnSpPr>
                <a:cxnSpLocks/>
                <a:stCxn id="12" idx="0"/>
                <a:endCxn id="2110" idx="4"/>
              </p:cNvCxnSpPr>
              <p:nvPr/>
            </p:nvCxnSpPr>
            <p:spPr>
              <a:xfrm rot="16200000" flipV="1">
                <a:off x="14763013" y="3673864"/>
                <a:ext cx="2935075" cy="2454302"/>
              </a:xfrm>
              <a:prstGeom prst="bentConnector3">
                <a:avLst>
                  <a:gd name="adj1" fmla="val 57385"/>
                </a:avLst>
              </a:prstGeom>
              <a:ln>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2110" name="Oval 2109">
                <a:extLst>
                  <a:ext uri="{FF2B5EF4-FFF2-40B4-BE49-F238E27FC236}">
                    <a16:creationId xmlns:a16="http://schemas.microsoft.com/office/drawing/2014/main" id="{6A8744B3-F715-B27E-D58A-7B952CA57DE2}"/>
                  </a:ext>
                </a:extLst>
              </p:cNvPr>
              <p:cNvSpPr/>
              <p:nvPr/>
            </p:nvSpPr>
            <p:spPr>
              <a:xfrm>
                <a:off x="14883550" y="3193780"/>
                <a:ext cx="239697" cy="239697"/>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2111" name="TextBox 2110">
                <a:extLst>
                  <a:ext uri="{FF2B5EF4-FFF2-40B4-BE49-F238E27FC236}">
                    <a16:creationId xmlns:a16="http://schemas.microsoft.com/office/drawing/2014/main" id="{3CE279E4-AC88-4234-E8C7-CD09CBCC9FD9}"/>
                  </a:ext>
                </a:extLst>
              </p:cNvPr>
              <p:cNvSpPr txBox="1"/>
              <p:nvPr/>
            </p:nvSpPr>
            <p:spPr>
              <a:xfrm>
                <a:off x="15012613" y="3753366"/>
                <a:ext cx="2544553" cy="933975"/>
              </a:xfrm>
              <a:prstGeom prst="rect">
                <a:avLst/>
              </a:prstGeom>
              <a:noFill/>
            </p:spPr>
            <p:txBody>
              <a:bodyPr wrap="square" rtlCol="0">
                <a:spAutoFit/>
              </a:bodyPr>
              <a:lstStyle/>
              <a:p>
                <a:r>
                  <a:rPr lang="en-US" sz="600" b="1" dirty="0">
                    <a:solidFill>
                      <a:srgbClr val="35B5AA"/>
                    </a:solidFill>
                    <a:latin typeface="Manrope" pitchFamily="2" charset="0"/>
                    <a:cs typeface="Replica LL" panose="020B0504010101010104" pitchFamily="34" charset="0"/>
                  </a:rPr>
                  <a:t>BIOENERGY, CARBON CAPTURE &amp; STORAGE</a:t>
                </a:r>
              </a:p>
              <a:p>
                <a:r>
                  <a:rPr lang="en-US" sz="600" dirty="0" err="1">
                    <a:latin typeface="Manrope" pitchFamily="2" charset="0"/>
                    <a:cs typeface="Replica LL" panose="020B0504010101010104" pitchFamily="34" charset="0"/>
                  </a:rPr>
                  <a:t>Ørsted</a:t>
                </a:r>
                <a:r>
                  <a:rPr lang="en-US" sz="600" dirty="0">
                    <a:latin typeface="Manrope" pitchFamily="2" charset="0"/>
                    <a:cs typeface="Replica LL" panose="020B0504010101010104" pitchFamily="34" charset="0"/>
                  </a:rPr>
                  <a:t> sells 1 million carbon removal tonnes to Microsoft</a:t>
                </a:r>
                <a:endParaRPr lang="en-US" sz="400" dirty="0">
                  <a:latin typeface="Manrope" pitchFamily="2" charset="0"/>
                  <a:cs typeface="Replica LL" panose="020B0504010101010104" pitchFamily="34" charset="0"/>
                </a:endParaRPr>
              </a:p>
            </p:txBody>
          </p:sp>
          <p:cxnSp>
            <p:nvCxnSpPr>
              <p:cNvPr id="2112" name="Connector: Elbow 2111">
                <a:extLst>
                  <a:ext uri="{FF2B5EF4-FFF2-40B4-BE49-F238E27FC236}">
                    <a16:creationId xmlns:a16="http://schemas.microsoft.com/office/drawing/2014/main" id="{BD33D075-1846-22B4-ECCC-0436EAF3700F}"/>
                  </a:ext>
                </a:extLst>
              </p:cNvPr>
              <p:cNvCxnSpPr>
                <a:cxnSpLocks/>
                <a:stCxn id="11" idx="2"/>
                <a:endCxn id="2113" idx="2"/>
              </p:cNvCxnSpPr>
              <p:nvPr/>
            </p:nvCxnSpPr>
            <p:spPr>
              <a:xfrm rot="16200000" flipH="1">
                <a:off x="15840374" y="8441265"/>
                <a:ext cx="4273989" cy="2053446"/>
              </a:xfrm>
              <a:prstGeom prst="bentConnector2">
                <a:avLst/>
              </a:prstGeom>
              <a:ln>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2113" name="Oval 2112">
                <a:extLst>
                  <a:ext uri="{FF2B5EF4-FFF2-40B4-BE49-F238E27FC236}">
                    <a16:creationId xmlns:a16="http://schemas.microsoft.com/office/drawing/2014/main" id="{A9603792-D548-5C39-ECF1-F980924589A7}"/>
                  </a:ext>
                </a:extLst>
              </p:cNvPr>
              <p:cNvSpPr/>
              <p:nvPr/>
            </p:nvSpPr>
            <p:spPr>
              <a:xfrm>
                <a:off x="19004091" y="11485134"/>
                <a:ext cx="239697" cy="239697"/>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2114" name="TextBox 2113">
                <a:extLst>
                  <a:ext uri="{FF2B5EF4-FFF2-40B4-BE49-F238E27FC236}">
                    <a16:creationId xmlns:a16="http://schemas.microsoft.com/office/drawing/2014/main" id="{CEC3F2CC-A188-364E-9157-759C9EEF52A2}"/>
                  </a:ext>
                </a:extLst>
              </p:cNvPr>
              <p:cNvSpPr txBox="1"/>
              <p:nvPr/>
            </p:nvSpPr>
            <p:spPr>
              <a:xfrm>
                <a:off x="16967817" y="10435989"/>
                <a:ext cx="2307817" cy="933975"/>
              </a:xfrm>
              <a:prstGeom prst="rect">
                <a:avLst/>
              </a:prstGeom>
              <a:noFill/>
            </p:spPr>
            <p:txBody>
              <a:bodyPr wrap="square" rtlCol="0">
                <a:spAutoFit/>
              </a:bodyPr>
              <a:lstStyle/>
              <a:p>
                <a:r>
                  <a:rPr lang="en-US" sz="600" b="1" dirty="0">
                    <a:solidFill>
                      <a:srgbClr val="35B5AA"/>
                    </a:solidFill>
                    <a:latin typeface="Manrope" pitchFamily="2" charset="0"/>
                    <a:cs typeface="Replica LL" panose="020B0504010101010104" pitchFamily="34" charset="0"/>
                  </a:rPr>
                  <a:t>BIOENERGY, CARBON CAPTURE &amp; STORAGE</a:t>
                </a:r>
              </a:p>
              <a:p>
                <a:r>
                  <a:rPr lang="en-US" sz="600" dirty="0">
                    <a:latin typeface="Manrope" pitchFamily="2" charset="0"/>
                    <a:cs typeface="Replica LL" panose="020B0504010101010104" pitchFamily="34" charset="0"/>
                  </a:rPr>
                  <a:t>Microsoft signs 3.33 million tonne carbon removal deal </a:t>
                </a:r>
                <a:endParaRPr lang="en-US" sz="400" dirty="0">
                  <a:latin typeface="Manrope" pitchFamily="2" charset="0"/>
                  <a:cs typeface="Replica LL" panose="020B0504010101010104" pitchFamily="34" charset="0"/>
                </a:endParaRPr>
              </a:p>
            </p:txBody>
          </p:sp>
          <p:pic>
            <p:nvPicPr>
              <p:cNvPr id="2115" name="Picture 6" descr="Microsoft Logo PNGs for Free Download">
                <a:extLst>
                  <a:ext uri="{FF2B5EF4-FFF2-40B4-BE49-F238E27FC236}">
                    <a16:creationId xmlns:a16="http://schemas.microsoft.com/office/drawing/2014/main" id="{ED38ABB4-D3D2-4CC8-987C-A233BE3F2CB2}"/>
                  </a:ext>
                </a:extLst>
              </p:cNvPr>
              <p:cNvPicPr>
                <a:picLocks noChangeAspect="1" noChangeArrowheads="1"/>
              </p:cNvPicPr>
              <p:nvPr/>
            </p:nvPicPr>
            <p:blipFill rotWithShape="1">
              <a:blip r:embed="rId4">
                <a:grayscl/>
                <a:extLst>
                  <a:ext uri="{28A0092B-C50C-407E-A947-70E740481C1C}">
                    <a14:useLocalDpi xmlns:a14="http://schemas.microsoft.com/office/drawing/2010/main" val="0"/>
                  </a:ext>
                </a:extLst>
              </a:blip>
              <a:srcRect t="39146" b="34629"/>
              <a:stretch/>
            </p:blipFill>
            <p:spPr bwMode="auto">
              <a:xfrm>
                <a:off x="14996499" y="3459728"/>
                <a:ext cx="1417712" cy="371792"/>
              </a:xfrm>
              <a:prstGeom prst="rect">
                <a:avLst/>
              </a:prstGeom>
              <a:noFill/>
              <a:extLst>
                <a:ext uri="{909E8E84-426E-40DD-AFC4-6F175D3DCCD1}">
                  <a14:hiddenFill xmlns:a14="http://schemas.microsoft.com/office/drawing/2010/main">
                    <a:solidFill>
                      <a:srgbClr val="FFFFFF"/>
                    </a:solidFill>
                  </a14:hiddenFill>
                </a:ext>
              </a:extLst>
            </p:spPr>
          </p:pic>
          <p:pic>
            <p:nvPicPr>
              <p:cNvPr id="2116" name="Picture 40">
                <a:extLst>
                  <a:ext uri="{FF2B5EF4-FFF2-40B4-BE49-F238E27FC236}">
                    <a16:creationId xmlns:a16="http://schemas.microsoft.com/office/drawing/2014/main" id="{FE89945F-1035-D9B3-866C-6BC930FFCDBB}"/>
                  </a:ext>
                </a:extLst>
              </p:cNvPr>
              <p:cNvPicPr>
                <a:picLocks noChangeAspect="1" noChangeArrowheads="1"/>
              </p:cNvPicPr>
              <p:nvPr/>
            </p:nvPicPr>
            <p:blipFill>
              <a:blip r:embed="rId21">
                <a:grayscl/>
                <a:extLst>
                  <a:ext uri="{28A0092B-C50C-407E-A947-70E740481C1C}">
                    <a14:useLocalDpi xmlns:a14="http://schemas.microsoft.com/office/drawing/2010/main" val="0"/>
                  </a:ext>
                </a:extLst>
              </a:blip>
              <a:srcRect/>
              <a:stretch>
                <a:fillRect/>
              </a:stretch>
            </p:blipFill>
            <p:spPr bwMode="auto">
              <a:xfrm>
                <a:off x="16448890" y="3456430"/>
                <a:ext cx="929312" cy="264999"/>
              </a:xfrm>
              <a:prstGeom prst="rect">
                <a:avLst/>
              </a:prstGeom>
              <a:noFill/>
              <a:extLst>
                <a:ext uri="{909E8E84-426E-40DD-AFC4-6F175D3DCCD1}">
                  <a14:hiddenFill xmlns:a14="http://schemas.microsoft.com/office/drawing/2010/main">
                    <a:solidFill>
                      <a:srgbClr val="FFFFFF"/>
                    </a:solidFill>
                  </a14:hiddenFill>
                </a:ext>
              </a:extLst>
            </p:spPr>
          </p:pic>
          <p:pic>
            <p:nvPicPr>
              <p:cNvPr id="2117" name="Picture 6" descr="Microsoft Logo PNGs for Free Download">
                <a:extLst>
                  <a:ext uri="{FF2B5EF4-FFF2-40B4-BE49-F238E27FC236}">
                    <a16:creationId xmlns:a16="http://schemas.microsoft.com/office/drawing/2014/main" id="{AEAD1D47-5260-6183-8D80-9B0CB1E18312}"/>
                  </a:ext>
                </a:extLst>
              </p:cNvPr>
              <p:cNvPicPr>
                <a:picLocks noChangeAspect="1" noChangeArrowheads="1"/>
              </p:cNvPicPr>
              <p:nvPr/>
            </p:nvPicPr>
            <p:blipFill rotWithShape="1">
              <a:blip r:embed="rId4">
                <a:grayscl/>
                <a:extLst>
                  <a:ext uri="{28A0092B-C50C-407E-A947-70E740481C1C}">
                    <a14:useLocalDpi xmlns:a14="http://schemas.microsoft.com/office/drawing/2010/main" val="0"/>
                  </a:ext>
                </a:extLst>
              </a:blip>
              <a:srcRect t="39146" b="34629"/>
              <a:stretch/>
            </p:blipFill>
            <p:spPr bwMode="auto">
              <a:xfrm>
                <a:off x="17917650" y="10150841"/>
                <a:ext cx="1079778" cy="283170"/>
              </a:xfrm>
              <a:prstGeom prst="rect">
                <a:avLst/>
              </a:prstGeom>
              <a:noFill/>
              <a:extLst>
                <a:ext uri="{909E8E84-426E-40DD-AFC4-6F175D3DCCD1}">
                  <a14:hiddenFill xmlns:a14="http://schemas.microsoft.com/office/drawing/2010/main">
                    <a:solidFill>
                      <a:srgbClr val="FFFFFF"/>
                    </a:solidFill>
                  </a14:hiddenFill>
                </a:ext>
              </a:extLst>
            </p:spPr>
          </p:pic>
          <p:pic>
            <p:nvPicPr>
              <p:cNvPr id="2118" name="Picture 42" descr="Stockholm Exergi AB | Sinfra">
                <a:extLst>
                  <a:ext uri="{FF2B5EF4-FFF2-40B4-BE49-F238E27FC236}">
                    <a16:creationId xmlns:a16="http://schemas.microsoft.com/office/drawing/2014/main" id="{66CD0B0A-B555-C61E-17F3-7184FC3A5002}"/>
                  </a:ext>
                </a:extLst>
              </p:cNvPr>
              <p:cNvPicPr>
                <a:picLocks noChangeAspect="1" noChangeArrowheads="1"/>
              </p:cNvPicPr>
              <p:nvPr/>
            </p:nvPicPr>
            <p:blipFill>
              <a:blip r:embed="rId22">
                <a:grayscl/>
                <a:extLst>
                  <a:ext uri="{28A0092B-C50C-407E-A947-70E740481C1C}">
                    <a14:useLocalDpi xmlns:a14="http://schemas.microsoft.com/office/drawing/2010/main" val="0"/>
                  </a:ext>
                </a:extLst>
              </a:blip>
              <a:srcRect/>
              <a:stretch>
                <a:fillRect/>
              </a:stretch>
            </p:blipFill>
            <p:spPr bwMode="auto">
              <a:xfrm>
                <a:off x="17066145" y="10148491"/>
                <a:ext cx="784344" cy="250009"/>
              </a:xfrm>
              <a:prstGeom prst="rect">
                <a:avLst/>
              </a:prstGeom>
              <a:noFill/>
              <a:extLst>
                <a:ext uri="{909E8E84-426E-40DD-AFC4-6F175D3DCCD1}">
                  <a14:hiddenFill xmlns:a14="http://schemas.microsoft.com/office/drawing/2010/main">
                    <a:solidFill>
                      <a:srgbClr val="FFFFFF"/>
                    </a:solidFill>
                  </a14:hiddenFill>
                </a:ext>
              </a:extLst>
            </p:spPr>
          </p:pic>
        </p:grpSp>
        <p:sp>
          <p:nvSpPr>
            <p:cNvPr id="10" name="Oval 9">
              <a:extLst>
                <a:ext uri="{FF2B5EF4-FFF2-40B4-BE49-F238E27FC236}">
                  <a16:creationId xmlns:a16="http://schemas.microsoft.com/office/drawing/2014/main" id="{9842A1FC-4C9A-DCFB-C252-8349D5780307}"/>
                </a:ext>
              </a:extLst>
            </p:cNvPr>
            <p:cNvSpPr/>
            <p:nvPr/>
          </p:nvSpPr>
          <p:spPr>
            <a:xfrm>
              <a:off x="21372641" y="10668778"/>
              <a:ext cx="271881" cy="271881"/>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grpSp>
    </p:spTree>
    <p:extLst>
      <p:ext uri="{BB962C8B-B14F-4D97-AF65-F5344CB8AC3E}">
        <p14:creationId xmlns:p14="http://schemas.microsoft.com/office/powerpoint/2010/main" val="3265265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6AAC0DB-CE00-155A-EFA8-0BCBB42B21CF}"/>
              </a:ext>
            </a:extLst>
          </p:cNvPr>
          <p:cNvSpPr>
            <a:spLocks noGrp="1"/>
          </p:cNvSpPr>
          <p:nvPr>
            <p:ph type="title"/>
          </p:nvPr>
        </p:nvSpPr>
        <p:spPr/>
        <p:txBody>
          <a:bodyPr/>
          <a:lstStyle/>
          <a:p>
            <a:r>
              <a:rPr lang="en-US"/>
              <a:t>Time Spent in the IQ</a:t>
            </a:r>
          </a:p>
        </p:txBody>
      </p:sp>
      <p:sp>
        <p:nvSpPr>
          <p:cNvPr id="4" name="Text Placeholder 3">
            <a:extLst>
              <a:ext uri="{FF2B5EF4-FFF2-40B4-BE49-F238E27FC236}">
                <a16:creationId xmlns:a16="http://schemas.microsoft.com/office/drawing/2014/main" id="{E1AF8C27-EA67-E195-47F3-3D89503CE308}"/>
              </a:ext>
            </a:extLst>
          </p:cNvPr>
          <p:cNvSpPr>
            <a:spLocks noGrp="1"/>
          </p:cNvSpPr>
          <p:nvPr>
            <p:ph type="body" sz="quarter" idx="13"/>
          </p:nvPr>
        </p:nvSpPr>
        <p:spPr>
          <a:xfrm>
            <a:off x="156425" y="811237"/>
            <a:ext cx="11880000" cy="622324"/>
          </a:xfrm>
        </p:spPr>
        <p:txBody>
          <a:bodyPr/>
          <a:lstStyle/>
          <a:p>
            <a:r>
              <a:rPr lang="en-US" dirty="0"/>
              <a:t>It takes over 5 years for projects to go through the queue</a:t>
            </a:r>
          </a:p>
        </p:txBody>
      </p:sp>
      <p:sp>
        <p:nvSpPr>
          <p:cNvPr id="5" name="Slide Number Placeholder 4">
            <a:extLst>
              <a:ext uri="{FF2B5EF4-FFF2-40B4-BE49-F238E27FC236}">
                <a16:creationId xmlns:a16="http://schemas.microsoft.com/office/drawing/2014/main" id="{003285D8-0489-82DE-4084-9088F279A0B4}"/>
              </a:ext>
            </a:extLst>
          </p:cNvPr>
          <p:cNvSpPr>
            <a:spLocks noGrp="1"/>
          </p:cNvSpPr>
          <p:nvPr>
            <p:ph type="sldNum" sz="quarter" idx="4"/>
          </p:nvPr>
        </p:nvSpPr>
        <p:spPr/>
        <p:txBody>
          <a:bodyPr/>
          <a:lstStyle/>
          <a:p>
            <a:fld id="{FFC2788D-A0E8-47AB-ABFD-625D826BCE36}" type="slidenum">
              <a:rPr lang="en-US" smtClean="0"/>
              <a:pPr/>
              <a:t>26</a:t>
            </a:fld>
            <a:endParaRPr lang="en-US"/>
          </a:p>
        </p:txBody>
      </p:sp>
      <p:sp>
        <p:nvSpPr>
          <p:cNvPr id="21" name="TextBox 20">
            <a:extLst>
              <a:ext uri="{FF2B5EF4-FFF2-40B4-BE49-F238E27FC236}">
                <a16:creationId xmlns:a16="http://schemas.microsoft.com/office/drawing/2014/main" id="{33FBBA8F-CB9A-FD66-EE3F-E255C94FC2CE}"/>
              </a:ext>
            </a:extLst>
          </p:cNvPr>
          <p:cNvSpPr txBox="1"/>
          <p:nvPr/>
        </p:nvSpPr>
        <p:spPr>
          <a:xfrm>
            <a:off x="0" y="6649006"/>
            <a:ext cx="2794000" cy="21113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ea typeface="+mn-ea"/>
                <a:cs typeface="+mn-cs"/>
              </a:rPr>
              <a:t>Source: Orennia</a:t>
            </a:r>
          </a:p>
        </p:txBody>
      </p:sp>
      <p:sp>
        <p:nvSpPr>
          <p:cNvPr id="6" name="Content Placeholder 5">
            <a:extLst>
              <a:ext uri="{FF2B5EF4-FFF2-40B4-BE49-F238E27FC236}">
                <a16:creationId xmlns:a16="http://schemas.microsoft.com/office/drawing/2014/main" id="{6C293D63-4023-B327-46C6-15FB60641BBC}"/>
              </a:ext>
            </a:extLst>
          </p:cNvPr>
          <p:cNvSpPr>
            <a:spLocks noGrp="1"/>
          </p:cNvSpPr>
          <p:nvPr>
            <p:ph idx="1"/>
          </p:nvPr>
        </p:nvSpPr>
        <p:spPr/>
        <p:txBody>
          <a:bodyPr/>
          <a:lstStyle/>
          <a:p>
            <a:endParaRPr lang="en-US" sz="2400" dirty="0"/>
          </a:p>
        </p:txBody>
      </p:sp>
      <p:grpSp>
        <p:nvGrpSpPr>
          <p:cNvPr id="7" name="Group 6">
            <a:extLst>
              <a:ext uri="{FF2B5EF4-FFF2-40B4-BE49-F238E27FC236}">
                <a16:creationId xmlns:a16="http://schemas.microsoft.com/office/drawing/2014/main" id="{04671875-C6EE-54E2-D9FE-4CDF202D28A5}"/>
              </a:ext>
            </a:extLst>
          </p:cNvPr>
          <p:cNvGrpSpPr/>
          <p:nvPr/>
        </p:nvGrpSpPr>
        <p:grpSpPr>
          <a:xfrm>
            <a:off x="155575" y="1495647"/>
            <a:ext cx="11880000" cy="4962306"/>
            <a:chOff x="1886983" y="3198451"/>
            <a:chExt cx="17312788" cy="8111701"/>
          </a:xfrm>
        </p:grpSpPr>
        <p:graphicFrame>
          <p:nvGraphicFramePr>
            <p:cNvPr id="8" name="Chart 7">
              <a:extLst>
                <a:ext uri="{FF2B5EF4-FFF2-40B4-BE49-F238E27FC236}">
                  <a16:creationId xmlns:a16="http://schemas.microsoft.com/office/drawing/2014/main" id="{C5CCC92C-138D-AD98-BFB4-CA1C61970A45}"/>
                </a:ext>
              </a:extLst>
            </p:cNvPr>
            <p:cNvGraphicFramePr>
              <a:graphicFrameLocks/>
            </p:cNvGraphicFramePr>
            <p:nvPr/>
          </p:nvGraphicFramePr>
          <p:xfrm>
            <a:off x="5510229" y="3230597"/>
            <a:ext cx="13689542" cy="8079555"/>
          </p:xfrm>
          <a:graphic>
            <a:graphicData uri="http://schemas.openxmlformats.org/drawingml/2006/chart">
              <c:chart xmlns:c="http://schemas.openxmlformats.org/drawingml/2006/chart" xmlns:r="http://schemas.openxmlformats.org/officeDocument/2006/relationships" r:id="rId2"/>
            </a:graphicData>
          </a:graphic>
        </p:graphicFrame>
        <p:sp>
          <p:nvSpPr>
            <p:cNvPr id="9" name="TextBox 8">
              <a:extLst>
                <a:ext uri="{FF2B5EF4-FFF2-40B4-BE49-F238E27FC236}">
                  <a16:creationId xmlns:a16="http://schemas.microsoft.com/office/drawing/2014/main" id="{EC27F16D-F379-2BFD-99E3-E4C721A4A502}"/>
                </a:ext>
              </a:extLst>
            </p:cNvPr>
            <p:cNvSpPr txBox="1"/>
            <p:nvPr/>
          </p:nvSpPr>
          <p:spPr>
            <a:xfrm>
              <a:off x="3978801" y="10236814"/>
              <a:ext cx="2057810" cy="503112"/>
            </a:xfrm>
            <a:prstGeom prst="rect">
              <a:avLst/>
            </a:prstGeom>
            <a:noFill/>
          </p:spPr>
          <p:txBody>
            <a:bodyPr wrap="square" rtlCol="0">
              <a:spAutoFit/>
            </a:bodyPr>
            <a:lstStyle/>
            <a:p>
              <a:pPr algn="r"/>
              <a:r>
                <a:rPr lang="en-US" sz="1400" dirty="0">
                  <a:solidFill>
                    <a:srgbClr val="FB41DC"/>
                  </a:solidFill>
                  <a:latin typeface="Manrope" pitchFamily="2" charset="0"/>
                </a:rPr>
                <a:t>Nuclear</a:t>
              </a:r>
            </a:p>
          </p:txBody>
        </p:sp>
        <p:sp>
          <p:nvSpPr>
            <p:cNvPr id="10" name="TextBox 9">
              <a:extLst>
                <a:ext uri="{FF2B5EF4-FFF2-40B4-BE49-F238E27FC236}">
                  <a16:creationId xmlns:a16="http://schemas.microsoft.com/office/drawing/2014/main" id="{A7F7A278-67BF-9173-5809-96B0AB61F1B2}"/>
                </a:ext>
              </a:extLst>
            </p:cNvPr>
            <p:cNvSpPr txBox="1"/>
            <p:nvPr/>
          </p:nvSpPr>
          <p:spPr>
            <a:xfrm>
              <a:off x="3978801" y="8811832"/>
              <a:ext cx="2057810" cy="503112"/>
            </a:xfrm>
            <a:prstGeom prst="rect">
              <a:avLst/>
            </a:prstGeom>
            <a:noFill/>
          </p:spPr>
          <p:txBody>
            <a:bodyPr wrap="square" rtlCol="0">
              <a:spAutoFit/>
            </a:bodyPr>
            <a:lstStyle/>
            <a:p>
              <a:pPr algn="r"/>
              <a:r>
                <a:rPr lang="en-US" sz="1400" dirty="0">
                  <a:solidFill>
                    <a:srgbClr val="35B5AA"/>
                  </a:solidFill>
                  <a:latin typeface="Manrope" pitchFamily="2" charset="0"/>
                </a:rPr>
                <a:t>Wind</a:t>
              </a:r>
            </a:p>
          </p:txBody>
        </p:sp>
        <p:sp>
          <p:nvSpPr>
            <p:cNvPr id="11" name="TextBox 10">
              <a:extLst>
                <a:ext uri="{FF2B5EF4-FFF2-40B4-BE49-F238E27FC236}">
                  <a16:creationId xmlns:a16="http://schemas.microsoft.com/office/drawing/2014/main" id="{F90187F3-9D1C-3BA6-9D31-952EC4ACACA8}"/>
                </a:ext>
              </a:extLst>
            </p:cNvPr>
            <p:cNvSpPr txBox="1"/>
            <p:nvPr/>
          </p:nvSpPr>
          <p:spPr>
            <a:xfrm>
              <a:off x="3978801" y="8099342"/>
              <a:ext cx="2057810" cy="503112"/>
            </a:xfrm>
            <a:prstGeom prst="rect">
              <a:avLst/>
            </a:prstGeom>
            <a:noFill/>
          </p:spPr>
          <p:txBody>
            <a:bodyPr wrap="square" rtlCol="0">
              <a:spAutoFit/>
            </a:bodyPr>
            <a:lstStyle/>
            <a:p>
              <a:pPr algn="r"/>
              <a:r>
                <a:rPr lang="en-US" sz="1400" dirty="0">
                  <a:solidFill>
                    <a:srgbClr val="FBB821"/>
                  </a:solidFill>
                  <a:latin typeface="Manrope" pitchFamily="2" charset="0"/>
                </a:rPr>
                <a:t>Solar</a:t>
              </a:r>
            </a:p>
          </p:txBody>
        </p:sp>
        <p:sp>
          <p:nvSpPr>
            <p:cNvPr id="12" name="TextBox 11">
              <a:extLst>
                <a:ext uri="{FF2B5EF4-FFF2-40B4-BE49-F238E27FC236}">
                  <a16:creationId xmlns:a16="http://schemas.microsoft.com/office/drawing/2014/main" id="{8888847C-BBE9-37BA-0DBF-30EA9EE89AFA}"/>
                </a:ext>
              </a:extLst>
            </p:cNvPr>
            <p:cNvSpPr txBox="1"/>
            <p:nvPr/>
          </p:nvSpPr>
          <p:spPr>
            <a:xfrm>
              <a:off x="3567734" y="6674362"/>
              <a:ext cx="2468876" cy="503112"/>
            </a:xfrm>
            <a:prstGeom prst="rect">
              <a:avLst/>
            </a:prstGeom>
            <a:noFill/>
          </p:spPr>
          <p:txBody>
            <a:bodyPr wrap="square" rtlCol="0">
              <a:spAutoFit/>
            </a:bodyPr>
            <a:lstStyle/>
            <a:p>
              <a:pPr algn="r"/>
              <a:r>
                <a:rPr lang="en-US" sz="1400" dirty="0">
                  <a:solidFill>
                    <a:srgbClr val="FC5B2C"/>
                  </a:solidFill>
                  <a:latin typeface="Manrope" pitchFamily="2" charset="0"/>
                </a:rPr>
                <a:t>Natural gas</a:t>
              </a:r>
            </a:p>
          </p:txBody>
        </p:sp>
        <p:sp>
          <p:nvSpPr>
            <p:cNvPr id="14" name="TextBox 13">
              <a:extLst>
                <a:ext uri="{FF2B5EF4-FFF2-40B4-BE49-F238E27FC236}">
                  <a16:creationId xmlns:a16="http://schemas.microsoft.com/office/drawing/2014/main" id="{0D660F6C-4CB3-43FC-E3CC-03B8E00E3139}"/>
                </a:ext>
              </a:extLst>
            </p:cNvPr>
            <p:cNvSpPr txBox="1"/>
            <p:nvPr/>
          </p:nvSpPr>
          <p:spPr>
            <a:xfrm>
              <a:off x="1886983" y="4540448"/>
              <a:ext cx="4183635" cy="503112"/>
            </a:xfrm>
            <a:prstGeom prst="rect">
              <a:avLst/>
            </a:prstGeom>
            <a:noFill/>
          </p:spPr>
          <p:txBody>
            <a:bodyPr wrap="square" rtlCol="0">
              <a:spAutoFit/>
            </a:bodyPr>
            <a:lstStyle/>
            <a:p>
              <a:pPr algn="r"/>
              <a:r>
                <a:rPr lang="en-US" sz="1400" dirty="0">
                  <a:latin typeface="Manrope" pitchFamily="2" charset="0"/>
                </a:rPr>
                <a:t>US presidential term length</a:t>
              </a:r>
            </a:p>
          </p:txBody>
        </p:sp>
        <p:sp>
          <p:nvSpPr>
            <p:cNvPr id="15" name="TextBox 14">
              <a:extLst>
                <a:ext uri="{FF2B5EF4-FFF2-40B4-BE49-F238E27FC236}">
                  <a16:creationId xmlns:a16="http://schemas.microsoft.com/office/drawing/2014/main" id="{14401E95-EE1A-8274-64A7-AD823EF01C6D}"/>
                </a:ext>
              </a:extLst>
            </p:cNvPr>
            <p:cNvSpPr txBox="1"/>
            <p:nvPr/>
          </p:nvSpPr>
          <p:spPr>
            <a:xfrm>
              <a:off x="3978801" y="5249382"/>
              <a:ext cx="2057810" cy="503112"/>
            </a:xfrm>
            <a:prstGeom prst="rect">
              <a:avLst/>
            </a:prstGeom>
            <a:noFill/>
          </p:spPr>
          <p:txBody>
            <a:bodyPr wrap="square" rtlCol="0">
              <a:spAutoFit/>
            </a:bodyPr>
            <a:lstStyle/>
            <a:p>
              <a:pPr algn="r"/>
              <a:r>
                <a:rPr lang="en-US" sz="1400" dirty="0">
                  <a:solidFill>
                    <a:srgbClr val="0C8D54"/>
                  </a:solidFill>
                  <a:latin typeface="Manrope" pitchFamily="2" charset="0"/>
                </a:rPr>
                <a:t>Geothermal</a:t>
              </a:r>
            </a:p>
          </p:txBody>
        </p:sp>
        <p:sp>
          <p:nvSpPr>
            <p:cNvPr id="16" name="TextBox 15">
              <a:extLst>
                <a:ext uri="{FF2B5EF4-FFF2-40B4-BE49-F238E27FC236}">
                  <a16:creationId xmlns:a16="http://schemas.microsoft.com/office/drawing/2014/main" id="{C4DB3E57-FC3C-E05C-1D0A-3592A32D34C2}"/>
                </a:ext>
              </a:extLst>
            </p:cNvPr>
            <p:cNvSpPr txBox="1"/>
            <p:nvPr/>
          </p:nvSpPr>
          <p:spPr>
            <a:xfrm>
              <a:off x="3978801" y="5961873"/>
              <a:ext cx="2057810" cy="503112"/>
            </a:xfrm>
            <a:prstGeom prst="rect">
              <a:avLst/>
            </a:prstGeom>
            <a:noFill/>
          </p:spPr>
          <p:txBody>
            <a:bodyPr wrap="square" rtlCol="0">
              <a:spAutoFit/>
            </a:bodyPr>
            <a:lstStyle/>
            <a:p>
              <a:pPr algn="r"/>
              <a:r>
                <a:rPr lang="en-US" sz="1400" dirty="0">
                  <a:solidFill>
                    <a:srgbClr val="3A92F9"/>
                  </a:solidFill>
                  <a:latin typeface="Manrope" pitchFamily="2" charset="0"/>
                </a:rPr>
                <a:t>Hydro</a:t>
              </a:r>
            </a:p>
          </p:txBody>
        </p:sp>
        <p:sp>
          <p:nvSpPr>
            <p:cNvPr id="17" name="TextBox 16">
              <a:extLst>
                <a:ext uri="{FF2B5EF4-FFF2-40B4-BE49-F238E27FC236}">
                  <a16:creationId xmlns:a16="http://schemas.microsoft.com/office/drawing/2014/main" id="{6D97767D-B669-F3D3-34BC-C36A9C6D91ED}"/>
                </a:ext>
              </a:extLst>
            </p:cNvPr>
            <p:cNvSpPr txBox="1"/>
            <p:nvPr/>
          </p:nvSpPr>
          <p:spPr>
            <a:xfrm>
              <a:off x="3978801" y="7386851"/>
              <a:ext cx="2057810" cy="503112"/>
            </a:xfrm>
            <a:prstGeom prst="rect">
              <a:avLst/>
            </a:prstGeom>
            <a:noFill/>
          </p:spPr>
          <p:txBody>
            <a:bodyPr wrap="square" rtlCol="0">
              <a:spAutoFit/>
            </a:bodyPr>
            <a:lstStyle/>
            <a:p>
              <a:pPr algn="r"/>
              <a:r>
                <a:rPr lang="en-US" sz="1400" dirty="0">
                  <a:solidFill>
                    <a:srgbClr val="A6A6A6"/>
                  </a:solidFill>
                  <a:latin typeface="Manrope" pitchFamily="2" charset="0"/>
                </a:rPr>
                <a:t>Storage</a:t>
              </a:r>
            </a:p>
          </p:txBody>
        </p:sp>
        <p:sp>
          <p:nvSpPr>
            <p:cNvPr id="18" name="TextBox 17">
              <a:extLst>
                <a:ext uri="{FF2B5EF4-FFF2-40B4-BE49-F238E27FC236}">
                  <a16:creationId xmlns:a16="http://schemas.microsoft.com/office/drawing/2014/main" id="{B0542FC7-8EC0-AF45-02FE-97B5D0EFA488}"/>
                </a:ext>
              </a:extLst>
            </p:cNvPr>
            <p:cNvSpPr txBox="1"/>
            <p:nvPr/>
          </p:nvSpPr>
          <p:spPr>
            <a:xfrm>
              <a:off x="3978801" y="9524321"/>
              <a:ext cx="2057810" cy="503112"/>
            </a:xfrm>
            <a:prstGeom prst="rect">
              <a:avLst/>
            </a:prstGeom>
            <a:noFill/>
          </p:spPr>
          <p:txBody>
            <a:bodyPr wrap="square" rtlCol="0">
              <a:spAutoFit/>
            </a:bodyPr>
            <a:lstStyle/>
            <a:p>
              <a:pPr algn="r"/>
              <a:r>
                <a:rPr lang="en-US" sz="1400" dirty="0">
                  <a:latin typeface="Manrope" pitchFamily="2" charset="0"/>
                </a:rPr>
                <a:t>Coal</a:t>
              </a:r>
            </a:p>
          </p:txBody>
        </p:sp>
        <p:cxnSp>
          <p:nvCxnSpPr>
            <p:cNvPr id="19" name="Straight Connector 18">
              <a:extLst>
                <a:ext uri="{FF2B5EF4-FFF2-40B4-BE49-F238E27FC236}">
                  <a16:creationId xmlns:a16="http://schemas.microsoft.com/office/drawing/2014/main" id="{00E6B7DA-BD95-10D4-66CD-BF638E5EA5CF}"/>
                </a:ext>
              </a:extLst>
            </p:cNvPr>
            <p:cNvCxnSpPr/>
            <p:nvPr/>
          </p:nvCxnSpPr>
          <p:spPr>
            <a:xfrm>
              <a:off x="9234598" y="4717451"/>
              <a:ext cx="171207" cy="0"/>
            </a:xfrm>
            <a:prstGeom prst="line">
              <a:avLst/>
            </a:prstGeom>
            <a:ln w="41275">
              <a:solidFill>
                <a:schemeClr val="tx1"/>
              </a:solidFill>
            </a:ln>
          </p:spPr>
          <p:style>
            <a:lnRef idx="2">
              <a:schemeClr val="accent1"/>
            </a:lnRef>
            <a:fillRef idx="0">
              <a:schemeClr val="accent1"/>
            </a:fillRef>
            <a:effectRef idx="1">
              <a:schemeClr val="accent1"/>
            </a:effectRef>
            <a:fontRef idx="minor">
              <a:schemeClr val="tx1"/>
            </a:fontRef>
          </p:style>
        </p:cxnSp>
        <p:sp>
          <p:nvSpPr>
            <p:cNvPr id="20" name="TextBox 19">
              <a:extLst>
                <a:ext uri="{FF2B5EF4-FFF2-40B4-BE49-F238E27FC236}">
                  <a16:creationId xmlns:a16="http://schemas.microsoft.com/office/drawing/2014/main" id="{5BC4A1D9-C113-834C-B835-64A6E434B172}"/>
                </a:ext>
              </a:extLst>
            </p:cNvPr>
            <p:cNvSpPr txBox="1"/>
            <p:nvPr/>
          </p:nvSpPr>
          <p:spPr>
            <a:xfrm>
              <a:off x="8886550" y="4279044"/>
              <a:ext cx="860583" cy="427644"/>
            </a:xfrm>
            <a:prstGeom prst="rect">
              <a:avLst/>
            </a:prstGeom>
            <a:noFill/>
          </p:spPr>
          <p:txBody>
            <a:bodyPr wrap="square" rtlCol="0">
              <a:spAutoFit/>
            </a:bodyPr>
            <a:lstStyle/>
            <a:p>
              <a:pPr algn="ctr"/>
              <a:r>
                <a:rPr lang="en-US" sz="1100" b="1" dirty="0">
                  <a:latin typeface="Manrope" pitchFamily="2" charset="0"/>
                </a:rPr>
                <a:t>4 yrs</a:t>
              </a:r>
            </a:p>
          </p:txBody>
        </p:sp>
        <p:sp>
          <p:nvSpPr>
            <p:cNvPr id="22" name="TextBox 21">
              <a:extLst>
                <a:ext uri="{FF2B5EF4-FFF2-40B4-BE49-F238E27FC236}">
                  <a16:creationId xmlns:a16="http://schemas.microsoft.com/office/drawing/2014/main" id="{4DBF526D-79A3-C8DA-A69F-90034AD4B76D}"/>
                </a:ext>
              </a:extLst>
            </p:cNvPr>
            <p:cNvSpPr txBox="1"/>
            <p:nvPr/>
          </p:nvSpPr>
          <p:spPr>
            <a:xfrm>
              <a:off x="14243711" y="10450317"/>
              <a:ext cx="4427195" cy="704355"/>
            </a:xfrm>
            <a:prstGeom prst="rect">
              <a:avLst/>
            </a:prstGeom>
            <a:noFill/>
          </p:spPr>
          <p:txBody>
            <a:bodyPr wrap="square" rtlCol="0">
              <a:spAutoFit/>
            </a:bodyPr>
            <a:lstStyle/>
            <a:p>
              <a:r>
                <a:rPr lang="en-US" sz="1100" dirty="0">
                  <a:latin typeface="Manrope" pitchFamily="2" charset="0"/>
                </a:rPr>
                <a:t>Median for projects with an executed interconnection agreement</a:t>
              </a:r>
            </a:p>
          </p:txBody>
        </p:sp>
        <p:sp>
          <p:nvSpPr>
            <p:cNvPr id="23" name="TextBox 22">
              <a:extLst>
                <a:ext uri="{FF2B5EF4-FFF2-40B4-BE49-F238E27FC236}">
                  <a16:creationId xmlns:a16="http://schemas.microsoft.com/office/drawing/2014/main" id="{01BAB2B3-A10A-BB6F-7C58-09E6AE38DB0A}"/>
                </a:ext>
              </a:extLst>
            </p:cNvPr>
            <p:cNvSpPr txBox="1"/>
            <p:nvPr/>
          </p:nvSpPr>
          <p:spPr>
            <a:xfrm>
              <a:off x="5780846" y="3669582"/>
              <a:ext cx="860583" cy="427644"/>
            </a:xfrm>
            <a:prstGeom prst="rect">
              <a:avLst/>
            </a:prstGeom>
            <a:noFill/>
          </p:spPr>
          <p:txBody>
            <a:bodyPr wrap="square" rtlCol="0">
              <a:spAutoFit/>
            </a:bodyPr>
            <a:lstStyle/>
            <a:p>
              <a:pPr algn="ctr"/>
              <a:r>
                <a:rPr lang="en-US" sz="1100" dirty="0">
                  <a:latin typeface="Manrope" pitchFamily="2" charset="0"/>
                </a:rPr>
                <a:t>0</a:t>
              </a:r>
            </a:p>
          </p:txBody>
        </p:sp>
        <p:sp>
          <p:nvSpPr>
            <p:cNvPr id="24" name="TextBox 23">
              <a:extLst>
                <a:ext uri="{FF2B5EF4-FFF2-40B4-BE49-F238E27FC236}">
                  <a16:creationId xmlns:a16="http://schemas.microsoft.com/office/drawing/2014/main" id="{4AF691E7-0D32-A273-E24E-8FFAB1FEA166}"/>
                </a:ext>
              </a:extLst>
            </p:cNvPr>
            <p:cNvSpPr txBox="1"/>
            <p:nvPr/>
          </p:nvSpPr>
          <p:spPr>
            <a:xfrm>
              <a:off x="8895788" y="3669582"/>
              <a:ext cx="860583" cy="427644"/>
            </a:xfrm>
            <a:prstGeom prst="rect">
              <a:avLst/>
            </a:prstGeom>
            <a:noFill/>
          </p:spPr>
          <p:txBody>
            <a:bodyPr wrap="square" rtlCol="0">
              <a:spAutoFit/>
            </a:bodyPr>
            <a:lstStyle/>
            <a:p>
              <a:pPr algn="ctr"/>
              <a:r>
                <a:rPr lang="en-US" sz="1100" dirty="0">
                  <a:latin typeface="Manrope" pitchFamily="2" charset="0"/>
                </a:rPr>
                <a:t>4</a:t>
              </a:r>
            </a:p>
          </p:txBody>
        </p:sp>
        <p:sp>
          <p:nvSpPr>
            <p:cNvPr id="25" name="TextBox 24">
              <a:extLst>
                <a:ext uri="{FF2B5EF4-FFF2-40B4-BE49-F238E27FC236}">
                  <a16:creationId xmlns:a16="http://schemas.microsoft.com/office/drawing/2014/main" id="{0F1587F7-A409-CA36-B7BE-D96C1C6505D1}"/>
                </a:ext>
              </a:extLst>
            </p:cNvPr>
            <p:cNvSpPr txBox="1"/>
            <p:nvPr/>
          </p:nvSpPr>
          <p:spPr>
            <a:xfrm>
              <a:off x="12010731" y="3669582"/>
              <a:ext cx="860583" cy="427644"/>
            </a:xfrm>
            <a:prstGeom prst="rect">
              <a:avLst/>
            </a:prstGeom>
            <a:noFill/>
          </p:spPr>
          <p:txBody>
            <a:bodyPr wrap="square" rtlCol="0">
              <a:spAutoFit/>
            </a:bodyPr>
            <a:lstStyle/>
            <a:p>
              <a:pPr algn="ctr"/>
              <a:r>
                <a:rPr lang="en-US" sz="1100" dirty="0">
                  <a:latin typeface="Manrope" pitchFamily="2" charset="0"/>
                </a:rPr>
                <a:t>8</a:t>
              </a:r>
            </a:p>
          </p:txBody>
        </p:sp>
        <p:sp>
          <p:nvSpPr>
            <p:cNvPr id="26" name="TextBox 25">
              <a:extLst>
                <a:ext uri="{FF2B5EF4-FFF2-40B4-BE49-F238E27FC236}">
                  <a16:creationId xmlns:a16="http://schemas.microsoft.com/office/drawing/2014/main" id="{C4EE8F0F-A4EC-0FAE-BD58-86D0EC3720CA}"/>
                </a:ext>
              </a:extLst>
            </p:cNvPr>
            <p:cNvSpPr txBox="1"/>
            <p:nvPr/>
          </p:nvSpPr>
          <p:spPr>
            <a:xfrm>
              <a:off x="15125673" y="3669582"/>
              <a:ext cx="860583" cy="427644"/>
            </a:xfrm>
            <a:prstGeom prst="rect">
              <a:avLst/>
            </a:prstGeom>
            <a:noFill/>
          </p:spPr>
          <p:txBody>
            <a:bodyPr wrap="square" rtlCol="0">
              <a:spAutoFit/>
            </a:bodyPr>
            <a:lstStyle/>
            <a:p>
              <a:pPr algn="ctr"/>
              <a:r>
                <a:rPr lang="en-US" sz="1100" dirty="0">
                  <a:latin typeface="Manrope" pitchFamily="2" charset="0"/>
                </a:rPr>
                <a:t>12</a:t>
              </a:r>
            </a:p>
          </p:txBody>
        </p:sp>
        <p:sp>
          <p:nvSpPr>
            <p:cNvPr id="27" name="TextBox 26">
              <a:extLst>
                <a:ext uri="{FF2B5EF4-FFF2-40B4-BE49-F238E27FC236}">
                  <a16:creationId xmlns:a16="http://schemas.microsoft.com/office/drawing/2014/main" id="{326A7A01-35A5-CF75-4C12-A28E1D35C76A}"/>
                </a:ext>
              </a:extLst>
            </p:cNvPr>
            <p:cNvSpPr txBox="1"/>
            <p:nvPr/>
          </p:nvSpPr>
          <p:spPr>
            <a:xfrm>
              <a:off x="18240615" y="3669582"/>
              <a:ext cx="860583" cy="427644"/>
            </a:xfrm>
            <a:prstGeom prst="rect">
              <a:avLst/>
            </a:prstGeom>
            <a:noFill/>
          </p:spPr>
          <p:txBody>
            <a:bodyPr wrap="square" rtlCol="0">
              <a:spAutoFit/>
            </a:bodyPr>
            <a:lstStyle/>
            <a:p>
              <a:pPr algn="ctr"/>
              <a:r>
                <a:rPr lang="en-US" sz="1100" dirty="0">
                  <a:latin typeface="Manrope" pitchFamily="2" charset="0"/>
                </a:rPr>
                <a:t>16</a:t>
              </a:r>
            </a:p>
          </p:txBody>
        </p:sp>
        <p:sp>
          <p:nvSpPr>
            <p:cNvPr id="28" name="TextBox 27">
              <a:extLst>
                <a:ext uri="{FF2B5EF4-FFF2-40B4-BE49-F238E27FC236}">
                  <a16:creationId xmlns:a16="http://schemas.microsoft.com/office/drawing/2014/main" id="{A55405E2-097D-D487-7086-A3199BE62C26}"/>
                </a:ext>
              </a:extLst>
            </p:cNvPr>
            <p:cNvSpPr txBox="1"/>
            <p:nvPr/>
          </p:nvSpPr>
          <p:spPr>
            <a:xfrm>
              <a:off x="9561617" y="3198451"/>
              <a:ext cx="5758809" cy="503112"/>
            </a:xfrm>
            <a:prstGeom prst="rect">
              <a:avLst/>
            </a:prstGeom>
            <a:noFill/>
          </p:spPr>
          <p:txBody>
            <a:bodyPr wrap="square" rtlCol="0">
              <a:spAutoFit/>
            </a:bodyPr>
            <a:lstStyle/>
            <a:p>
              <a:pPr algn="ctr"/>
              <a:r>
                <a:rPr lang="en-US" sz="1400" b="1" dirty="0">
                  <a:latin typeface="Manrope" pitchFamily="2" charset="0"/>
                </a:rPr>
                <a:t>Years in interconnection queue</a:t>
              </a:r>
            </a:p>
          </p:txBody>
        </p:sp>
        <p:sp>
          <p:nvSpPr>
            <p:cNvPr id="29" name="Freeform: Shape 28">
              <a:extLst>
                <a:ext uri="{FF2B5EF4-FFF2-40B4-BE49-F238E27FC236}">
                  <a16:creationId xmlns:a16="http://schemas.microsoft.com/office/drawing/2014/main" id="{F8E49752-3FDF-D1E3-5CA9-9F764B9BE86F}"/>
                </a:ext>
              </a:extLst>
            </p:cNvPr>
            <p:cNvSpPr/>
            <p:nvPr/>
          </p:nvSpPr>
          <p:spPr>
            <a:xfrm>
              <a:off x="13391764" y="10113324"/>
              <a:ext cx="847708" cy="659240"/>
            </a:xfrm>
            <a:custGeom>
              <a:avLst/>
              <a:gdLst>
                <a:gd name="connsiteX0" fmla="*/ 559293 w 559293"/>
                <a:gd name="connsiteY0" fmla="*/ 564785 h 565495"/>
                <a:gd name="connsiteX1" fmla="*/ 257452 w 559293"/>
                <a:gd name="connsiteY1" fmla="*/ 484886 h 565495"/>
                <a:gd name="connsiteX2" fmla="*/ 177553 w 559293"/>
                <a:gd name="connsiteY2" fmla="*/ 58758 h 565495"/>
                <a:gd name="connsiteX3" fmla="*/ 0 w 559293"/>
                <a:gd name="connsiteY3" fmla="*/ 14369 h 565495"/>
                <a:gd name="connsiteX0" fmla="*/ 556895 w 556895"/>
                <a:gd name="connsiteY0" fmla="*/ 570058 h 570768"/>
                <a:gd name="connsiteX1" fmla="*/ 255054 w 556895"/>
                <a:gd name="connsiteY1" fmla="*/ 490159 h 570768"/>
                <a:gd name="connsiteX2" fmla="*/ 175155 w 556895"/>
                <a:gd name="connsiteY2" fmla="*/ 64031 h 570768"/>
                <a:gd name="connsiteX3" fmla="*/ 0 w 556895"/>
                <a:gd name="connsiteY3" fmla="*/ 11550 h 570768"/>
                <a:gd name="connsiteX0" fmla="*/ 556895 w 556895"/>
                <a:gd name="connsiteY0" fmla="*/ 564152 h 564862"/>
                <a:gd name="connsiteX1" fmla="*/ 255054 w 556895"/>
                <a:gd name="connsiteY1" fmla="*/ 484253 h 564862"/>
                <a:gd name="connsiteX2" fmla="*/ 175155 w 556895"/>
                <a:gd name="connsiteY2" fmla="*/ 58125 h 564862"/>
                <a:gd name="connsiteX3" fmla="*/ 0 w 556895"/>
                <a:gd name="connsiteY3" fmla="*/ 5644 h 564862"/>
              </a:gdLst>
              <a:ahLst/>
              <a:cxnLst>
                <a:cxn ang="0">
                  <a:pos x="connsiteX0" y="connsiteY0"/>
                </a:cxn>
                <a:cxn ang="0">
                  <a:pos x="connsiteX1" y="connsiteY1"/>
                </a:cxn>
                <a:cxn ang="0">
                  <a:pos x="connsiteX2" y="connsiteY2"/>
                </a:cxn>
                <a:cxn ang="0">
                  <a:pos x="connsiteX3" y="connsiteY3"/>
                </a:cxn>
              </a:cxnLst>
              <a:rect l="l" t="t" r="r" b="b"/>
              <a:pathLst>
                <a:path w="556895" h="564862">
                  <a:moveTo>
                    <a:pt x="556895" y="564152"/>
                  </a:moveTo>
                  <a:cubicBezTo>
                    <a:pt x="437786" y="566371"/>
                    <a:pt x="318677" y="568591"/>
                    <a:pt x="255054" y="484253"/>
                  </a:cubicBezTo>
                  <a:cubicBezTo>
                    <a:pt x="191431" y="399915"/>
                    <a:pt x="218064" y="136545"/>
                    <a:pt x="175155" y="58125"/>
                  </a:cubicBezTo>
                  <a:cubicBezTo>
                    <a:pt x="132246" y="-20295"/>
                    <a:pt x="67322" y="2114"/>
                    <a:pt x="0" y="5644"/>
                  </a:cubicBezTo>
                </a:path>
              </a:pathLst>
            </a:custGeom>
            <a:noFill/>
            <a:ln>
              <a:tailEnd type="arrow"/>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100"/>
            </a:p>
          </p:txBody>
        </p:sp>
      </p:grpSp>
    </p:spTree>
    <p:extLst>
      <p:ext uri="{BB962C8B-B14F-4D97-AF65-F5344CB8AC3E}">
        <p14:creationId xmlns:p14="http://schemas.microsoft.com/office/powerpoint/2010/main" val="339807146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DA35C2-CC55-F018-8553-266ACD90A2BE}"/>
              </a:ext>
            </a:extLst>
          </p:cNvPr>
          <p:cNvSpPr>
            <a:spLocks noGrp="1"/>
          </p:cNvSpPr>
          <p:nvPr>
            <p:ph type="title"/>
          </p:nvPr>
        </p:nvSpPr>
        <p:spPr>
          <a:xfrm>
            <a:off x="4262783" y="3680320"/>
            <a:ext cx="7773216" cy="1004050"/>
          </a:xfrm>
        </p:spPr>
        <p:txBody>
          <a:bodyPr/>
          <a:lstStyle/>
          <a:p>
            <a:r>
              <a:rPr lang="en-US"/>
              <a:t>Storage Is Becoming Mainstream</a:t>
            </a:r>
          </a:p>
        </p:txBody>
      </p:sp>
      <p:sp>
        <p:nvSpPr>
          <p:cNvPr id="3" name="Slide Number Placeholder 2">
            <a:extLst>
              <a:ext uri="{FF2B5EF4-FFF2-40B4-BE49-F238E27FC236}">
                <a16:creationId xmlns:a16="http://schemas.microsoft.com/office/drawing/2014/main" id="{B709899C-4BE3-1E18-0344-CEF70F9582BB}"/>
              </a:ext>
            </a:extLst>
          </p:cNvPr>
          <p:cNvSpPr>
            <a:spLocks noGrp="1"/>
          </p:cNvSpPr>
          <p:nvPr>
            <p:ph type="sldNum" sz="quarter" idx="4"/>
          </p:nvPr>
        </p:nvSpPr>
        <p:spPr/>
        <p:txBody>
          <a:bodyPr/>
          <a:lstStyle/>
          <a:p>
            <a:fld id="{FFC2788D-A0E8-47AB-ABFD-625D826BCE36}" type="slidenum">
              <a:rPr lang="en-US" smtClean="0"/>
              <a:pPr/>
              <a:t>27</a:t>
            </a:fld>
            <a:endParaRPr lang="en-US"/>
          </a:p>
        </p:txBody>
      </p:sp>
    </p:spTree>
    <p:extLst>
      <p:ext uri="{BB962C8B-B14F-4D97-AF65-F5344CB8AC3E}">
        <p14:creationId xmlns:p14="http://schemas.microsoft.com/office/powerpoint/2010/main" val="284730674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DCC5FE9-6B97-71AD-0287-3B4733E9D612}"/>
              </a:ext>
            </a:extLst>
          </p:cNvPr>
          <p:cNvSpPr>
            <a:spLocks noGrp="1"/>
          </p:cNvSpPr>
          <p:nvPr>
            <p:ph type="title"/>
          </p:nvPr>
        </p:nvSpPr>
        <p:spPr/>
        <p:txBody>
          <a:bodyPr/>
          <a:lstStyle/>
          <a:p>
            <a:r>
              <a:rPr lang="en-US"/>
              <a:t>45% of New Capacity in the IQ Is Storage</a:t>
            </a:r>
          </a:p>
        </p:txBody>
      </p:sp>
      <p:sp>
        <p:nvSpPr>
          <p:cNvPr id="4" name="Slide Number Placeholder 3">
            <a:extLst>
              <a:ext uri="{FF2B5EF4-FFF2-40B4-BE49-F238E27FC236}">
                <a16:creationId xmlns:a16="http://schemas.microsoft.com/office/drawing/2014/main" id="{A9B0D031-AFD3-C277-CA37-88E1B1F78A99}"/>
              </a:ext>
            </a:extLst>
          </p:cNvPr>
          <p:cNvSpPr>
            <a:spLocks noGrp="1"/>
          </p:cNvSpPr>
          <p:nvPr>
            <p:ph type="sldNum" sz="quarter" idx="4"/>
          </p:nvPr>
        </p:nvSpPr>
        <p:spPr/>
        <p:txBody>
          <a:bodyPr/>
          <a:lstStyle/>
          <a:p>
            <a:fld id="{FFC2788D-A0E8-47AB-ABFD-625D826BCE36}" type="slidenum">
              <a:rPr lang="en-US" smtClean="0"/>
              <a:pPr/>
              <a:t>28</a:t>
            </a:fld>
            <a:endParaRPr lang="en-US"/>
          </a:p>
        </p:txBody>
      </p:sp>
      <p:sp>
        <p:nvSpPr>
          <p:cNvPr id="11" name="TextBox 10">
            <a:extLst>
              <a:ext uri="{FF2B5EF4-FFF2-40B4-BE49-F238E27FC236}">
                <a16:creationId xmlns:a16="http://schemas.microsoft.com/office/drawing/2014/main" id="{CDAAC968-6E01-7C45-5976-B44134BBBBEE}"/>
              </a:ext>
            </a:extLst>
          </p:cNvPr>
          <p:cNvSpPr txBox="1"/>
          <p:nvPr/>
        </p:nvSpPr>
        <p:spPr>
          <a:xfrm>
            <a:off x="11033977" y="5897357"/>
            <a:ext cx="1333500" cy="425450"/>
          </a:xfrm>
          <a:prstGeom prst="rect">
            <a:avLst/>
          </a:prstGeom>
          <a:noFill/>
          <a:ln>
            <a:noFill/>
          </a:ln>
        </p:spPr>
        <p:txBody>
          <a:bodyPr vert="horz" wrap="square" lIns="91440" tIns="91440" rIns="91440" bIns="91440" rtlCol="0" anchor="ctr">
            <a:noAutofit/>
          </a:bodyPr>
          <a:lstStyle/>
          <a:p>
            <a:pPr marL="0" indent="0" algn="l">
              <a:buFont typeface="Arial" panose="020B0604020202020204" pitchFamily="34" charset="0"/>
              <a:buNone/>
            </a:pPr>
            <a:r>
              <a:rPr lang="en-US" b="0">
                <a:latin typeface="Manrope SemiBold" pitchFamily="2" charset="0"/>
              </a:rPr>
              <a:t>1.3 TW</a:t>
            </a:r>
          </a:p>
        </p:txBody>
      </p:sp>
      <p:sp>
        <p:nvSpPr>
          <p:cNvPr id="12" name="TextBox 11">
            <a:extLst>
              <a:ext uri="{FF2B5EF4-FFF2-40B4-BE49-F238E27FC236}">
                <a16:creationId xmlns:a16="http://schemas.microsoft.com/office/drawing/2014/main" id="{CCC9CBBC-98C9-B817-FD44-7088A29894E7}"/>
              </a:ext>
            </a:extLst>
          </p:cNvPr>
          <p:cNvSpPr txBox="1"/>
          <p:nvPr/>
        </p:nvSpPr>
        <p:spPr>
          <a:xfrm>
            <a:off x="156001" y="5507851"/>
            <a:ext cx="10217150" cy="425450"/>
          </a:xfrm>
          <a:prstGeom prst="rect">
            <a:avLst/>
          </a:prstGeom>
          <a:noFill/>
          <a:ln>
            <a:noFill/>
          </a:ln>
        </p:spPr>
        <p:txBody>
          <a:bodyPr vert="horz" wrap="square" lIns="91440" tIns="91440" rIns="91440" bIns="91440" rtlCol="0" anchor="ctr">
            <a:noAutofit/>
          </a:bodyPr>
          <a:lstStyle/>
          <a:p>
            <a:pPr marL="0" indent="0" algn="l">
              <a:buFont typeface="Arial" panose="020B0604020202020204" pitchFamily="34" charset="0"/>
              <a:buNone/>
            </a:pPr>
            <a:r>
              <a:rPr lang="en-US" b="0">
                <a:latin typeface="Manrope SemiBold" pitchFamily="2" charset="0"/>
              </a:rPr>
              <a:t>Projects that entered the IQ over the past 2 years</a:t>
            </a:r>
          </a:p>
        </p:txBody>
      </p:sp>
      <p:sp>
        <p:nvSpPr>
          <p:cNvPr id="15" name="TextBox 14">
            <a:extLst>
              <a:ext uri="{FF2B5EF4-FFF2-40B4-BE49-F238E27FC236}">
                <a16:creationId xmlns:a16="http://schemas.microsoft.com/office/drawing/2014/main" id="{1A68DE2F-999F-471C-E161-3858D4ADDC80}"/>
              </a:ext>
            </a:extLst>
          </p:cNvPr>
          <p:cNvSpPr txBox="1"/>
          <p:nvPr/>
        </p:nvSpPr>
        <p:spPr>
          <a:xfrm>
            <a:off x="262054" y="6312101"/>
            <a:ext cx="4808674" cy="356986"/>
          </a:xfrm>
          <a:prstGeom prst="rect">
            <a:avLst/>
          </a:prstGeom>
          <a:noFill/>
          <a:ln>
            <a:noFill/>
          </a:ln>
        </p:spPr>
        <p:txBody>
          <a:bodyPr vert="horz" wrap="square" lIns="91440" tIns="91440" rIns="91440" bIns="91440" rtlCol="0" anchor="ctr">
            <a:noAutofit/>
          </a:bodyPr>
          <a:lstStyle/>
          <a:p>
            <a:pPr marL="0" indent="0" algn="ctr">
              <a:buFont typeface="Arial" panose="020B0604020202020204" pitchFamily="34" charset="0"/>
              <a:buNone/>
            </a:pPr>
            <a:r>
              <a:rPr lang="en-US" b="0">
                <a:solidFill>
                  <a:srgbClr val="CCBF16"/>
                </a:solidFill>
                <a:latin typeface="Manrope SemiBold" pitchFamily="2" charset="0"/>
              </a:rPr>
              <a:t>Storage</a:t>
            </a:r>
          </a:p>
        </p:txBody>
      </p:sp>
      <p:sp>
        <p:nvSpPr>
          <p:cNvPr id="16" name="TextBox 15">
            <a:extLst>
              <a:ext uri="{FF2B5EF4-FFF2-40B4-BE49-F238E27FC236}">
                <a16:creationId xmlns:a16="http://schemas.microsoft.com/office/drawing/2014/main" id="{6CC6D99A-8A82-36C3-9D61-2C78A8122A02}"/>
              </a:ext>
            </a:extLst>
          </p:cNvPr>
          <p:cNvSpPr txBox="1"/>
          <p:nvPr/>
        </p:nvSpPr>
        <p:spPr>
          <a:xfrm>
            <a:off x="5018049" y="6325461"/>
            <a:ext cx="4287295" cy="356986"/>
          </a:xfrm>
          <a:prstGeom prst="rect">
            <a:avLst/>
          </a:prstGeom>
          <a:noFill/>
          <a:ln>
            <a:noFill/>
          </a:ln>
        </p:spPr>
        <p:txBody>
          <a:bodyPr vert="horz" wrap="square" lIns="91440" tIns="91440" rIns="91440" bIns="91440" rtlCol="0" anchor="ctr">
            <a:noAutofit/>
          </a:bodyPr>
          <a:lstStyle/>
          <a:p>
            <a:pPr marL="0" indent="0" algn="ctr">
              <a:buFont typeface="Arial" panose="020B0604020202020204" pitchFamily="34" charset="0"/>
              <a:buNone/>
            </a:pPr>
            <a:r>
              <a:rPr lang="en-US" b="0">
                <a:solidFill>
                  <a:srgbClr val="DB3737"/>
                </a:solidFill>
                <a:latin typeface="Manrope SemiBold" pitchFamily="2" charset="0"/>
              </a:rPr>
              <a:t>Solar</a:t>
            </a:r>
          </a:p>
        </p:txBody>
      </p:sp>
      <p:sp>
        <p:nvSpPr>
          <p:cNvPr id="17" name="TextBox 16">
            <a:extLst>
              <a:ext uri="{FF2B5EF4-FFF2-40B4-BE49-F238E27FC236}">
                <a16:creationId xmlns:a16="http://schemas.microsoft.com/office/drawing/2014/main" id="{23171887-6ED5-783A-3DFF-743463A748D4}"/>
              </a:ext>
            </a:extLst>
          </p:cNvPr>
          <p:cNvSpPr txBox="1"/>
          <p:nvPr/>
        </p:nvSpPr>
        <p:spPr>
          <a:xfrm>
            <a:off x="9340710" y="6325461"/>
            <a:ext cx="1032441" cy="356986"/>
          </a:xfrm>
          <a:prstGeom prst="rect">
            <a:avLst/>
          </a:prstGeom>
          <a:noFill/>
          <a:ln>
            <a:noFill/>
          </a:ln>
        </p:spPr>
        <p:txBody>
          <a:bodyPr vert="horz" wrap="square" lIns="91440" tIns="91440" rIns="91440" bIns="91440" rtlCol="0" anchor="ctr">
            <a:noAutofit/>
          </a:bodyPr>
          <a:lstStyle/>
          <a:p>
            <a:pPr marL="0" indent="0" algn="ctr">
              <a:buFont typeface="Arial" panose="020B0604020202020204" pitchFamily="34" charset="0"/>
              <a:buNone/>
            </a:pPr>
            <a:r>
              <a:rPr lang="en-US" b="0">
                <a:solidFill>
                  <a:srgbClr val="137CBD"/>
                </a:solidFill>
                <a:latin typeface="Manrope SemiBold" pitchFamily="2" charset="0"/>
              </a:rPr>
              <a:t>Wind</a:t>
            </a:r>
          </a:p>
        </p:txBody>
      </p:sp>
      <p:sp>
        <p:nvSpPr>
          <p:cNvPr id="18" name="TextBox 17">
            <a:extLst>
              <a:ext uri="{FF2B5EF4-FFF2-40B4-BE49-F238E27FC236}">
                <a16:creationId xmlns:a16="http://schemas.microsoft.com/office/drawing/2014/main" id="{649EF780-6B7F-BBED-6211-EB2B0AC9F848}"/>
              </a:ext>
            </a:extLst>
          </p:cNvPr>
          <p:cNvSpPr txBox="1"/>
          <p:nvPr/>
        </p:nvSpPr>
        <p:spPr>
          <a:xfrm>
            <a:off x="10201144" y="6308516"/>
            <a:ext cx="806452" cy="356986"/>
          </a:xfrm>
          <a:prstGeom prst="rect">
            <a:avLst/>
          </a:prstGeom>
          <a:noFill/>
          <a:ln>
            <a:noFill/>
          </a:ln>
        </p:spPr>
        <p:txBody>
          <a:bodyPr vert="horz" wrap="square" lIns="91440" tIns="91440" rIns="91440" bIns="91440" rtlCol="0" anchor="ctr">
            <a:noAutofit/>
          </a:bodyPr>
          <a:lstStyle/>
          <a:p>
            <a:pPr marL="0" indent="0" algn="ctr">
              <a:buFont typeface="Arial" panose="020B0604020202020204" pitchFamily="34" charset="0"/>
              <a:buNone/>
            </a:pPr>
            <a:r>
              <a:rPr lang="en-US" b="0">
                <a:solidFill>
                  <a:srgbClr val="F29D49"/>
                </a:solidFill>
                <a:latin typeface="Manrope SemiBold" pitchFamily="2" charset="0"/>
              </a:rPr>
              <a:t>Gas</a:t>
            </a:r>
          </a:p>
        </p:txBody>
      </p:sp>
      <p:sp>
        <p:nvSpPr>
          <p:cNvPr id="19" name="TextBox 18">
            <a:extLst>
              <a:ext uri="{FF2B5EF4-FFF2-40B4-BE49-F238E27FC236}">
                <a16:creationId xmlns:a16="http://schemas.microsoft.com/office/drawing/2014/main" id="{D3DF6C10-9B70-EAD5-5FA9-F0D4E0F55804}"/>
              </a:ext>
            </a:extLst>
          </p:cNvPr>
          <p:cNvSpPr txBox="1"/>
          <p:nvPr/>
        </p:nvSpPr>
        <p:spPr>
          <a:xfrm>
            <a:off x="10812146" y="6312663"/>
            <a:ext cx="913610" cy="356986"/>
          </a:xfrm>
          <a:prstGeom prst="rect">
            <a:avLst/>
          </a:prstGeom>
          <a:noFill/>
          <a:ln>
            <a:noFill/>
          </a:ln>
        </p:spPr>
        <p:txBody>
          <a:bodyPr vert="horz" wrap="square" lIns="91440" tIns="91440" rIns="91440" bIns="91440" rtlCol="0" anchor="ctr">
            <a:noAutofit/>
          </a:bodyPr>
          <a:lstStyle/>
          <a:p>
            <a:pPr marL="0" indent="0" algn="ctr">
              <a:buFont typeface="Arial" panose="020B0604020202020204" pitchFamily="34" charset="0"/>
              <a:buNone/>
            </a:pPr>
            <a:r>
              <a:rPr lang="en-US" b="0">
                <a:solidFill>
                  <a:schemeClr val="bg1">
                    <a:lumMod val="50000"/>
                  </a:schemeClr>
                </a:solidFill>
                <a:latin typeface="Manrope SemiBold" pitchFamily="2" charset="0"/>
              </a:rPr>
              <a:t>Other</a:t>
            </a:r>
          </a:p>
        </p:txBody>
      </p:sp>
      <p:pic>
        <p:nvPicPr>
          <p:cNvPr id="2052" name="Picture 4">
            <a:extLst>
              <a:ext uri="{FF2B5EF4-FFF2-40B4-BE49-F238E27FC236}">
                <a16:creationId xmlns:a16="http://schemas.microsoft.com/office/drawing/2014/main" id="{35EC823C-691E-9F0D-F376-192FFC6F030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79243" y="798246"/>
            <a:ext cx="6072975" cy="4692407"/>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Chart 1">
            <a:extLst>
              <a:ext uri="{FF2B5EF4-FFF2-40B4-BE49-F238E27FC236}">
                <a16:creationId xmlns:a16="http://schemas.microsoft.com/office/drawing/2014/main" id="{20FAA652-D90F-53F4-6BDF-02A2BAC28EAB}"/>
              </a:ext>
            </a:extLst>
          </p:cNvPr>
          <p:cNvGraphicFramePr>
            <a:graphicFrameLocks/>
          </p:cNvGraphicFramePr>
          <p:nvPr/>
        </p:nvGraphicFramePr>
        <p:xfrm>
          <a:off x="126543" y="5720576"/>
          <a:ext cx="10978376" cy="783378"/>
        </p:xfrm>
        <a:graphic>
          <a:graphicData uri="http://schemas.openxmlformats.org/drawingml/2006/chart">
            <c:chart xmlns:c="http://schemas.openxmlformats.org/drawingml/2006/chart" xmlns:r="http://schemas.openxmlformats.org/officeDocument/2006/relationships" r:id="rId3"/>
          </a:graphicData>
        </a:graphic>
      </p:graphicFrame>
      <p:sp>
        <p:nvSpPr>
          <p:cNvPr id="5" name="Rectangle 4">
            <a:extLst>
              <a:ext uri="{FF2B5EF4-FFF2-40B4-BE49-F238E27FC236}">
                <a16:creationId xmlns:a16="http://schemas.microsoft.com/office/drawing/2014/main" id="{903855A3-CF42-B402-EFED-1D111815DA1C}"/>
              </a:ext>
            </a:extLst>
          </p:cNvPr>
          <p:cNvSpPr/>
          <p:nvPr/>
        </p:nvSpPr>
        <p:spPr>
          <a:xfrm>
            <a:off x="2579243" y="5012473"/>
            <a:ext cx="2723162" cy="482018"/>
          </a:xfrm>
          <a:prstGeom prst="rect">
            <a:avLst/>
          </a:prstGeom>
          <a:solidFill>
            <a:schemeClr val="bg1"/>
          </a:solid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en-US"/>
          </a:p>
        </p:txBody>
      </p:sp>
      <p:sp>
        <p:nvSpPr>
          <p:cNvPr id="6" name="TextBox 1">
            <a:extLst>
              <a:ext uri="{FF2B5EF4-FFF2-40B4-BE49-F238E27FC236}">
                <a16:creationId xmlns:a16="http://schemas.microsoft.com/office/drawing/2014/main" id="{0311ACA7-E64C-1799-3C52-FCAF1EBE0573}"/>
              </a:ext>
            </a:extLst>
          </p:cNvPr>
          <p:cNvSpPr txBox="1"/>
          <p:nvPr/>
        </p:nvSpPr>
        <p:spPr>
          <a:xfrm>
            <a:off x="0" y="6649006"/>
            <a:ext cx="2794000" cy="21113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ea typeface="+mn-ea"/>
                <a:cs typeface="+mn-cs"/>
              </a:rPr>
              <a:t>Source: Orennia</a:t>
            </a:r>
          </a:p>
        </p:txBody>
      </p:sp>
      <p:sp>
        <p:nvSpPr>
          <p:cNvPr id="7" name="TextBox 6">
            <a:extLst>
              <a:ext uri="{FF2B5EF4-FFF2-40B4-BE49-F238E27FC236}">
                <a16:creationId xmlns:a16="http://schemas.microsoft.com/office/drawing/2014/main" id="{DCE3D72C-2BD4-E42B-B734-B6C2166CBB9F}"/>
              </a:ext>
            </a:extLst>
          </p:cNvPr>
          <p:cNvSpPr txBox="1"/>
          <p:nvPr/>
        </p:nvSpPr>
        <p:spPr>
          <a:xfrm>
            <a:off x="985393" y="1845527"/>
            <a:ext cx="2342008" cy="1151673"/>
          </a:xfrm>
          <a:prstGeom prst="rect">
            <a:avLst/>
          </a:prstGeom>
          <a:noFill/>
          <a:ln>
            <a:noFill/>
          </a:ln>
        </p:spPr>
        <p:txBody>
          <a:bodyPr vert="horz" wrap="square" lIns="91440" tIns="91440" rIns="91440" bIns="91440" rtlCol="0" anchor="ctr">
            <a:noAutofit/>
          </a:bodyPr>
          <a:lstStyle/>
          <a:p>
            <a:pPr marL="0" indent="0" algn="l">
              <a:buFont typeface="Arial" panose="020B0604020202020204" pitchFamily="34" charset="0"/>
              <a:buNone/>
            </a:pPr>
            <a:r>
              <a:rPr lang="en-US">
                <a:solidFill>
                  <a:schemeClr val="tx2"/>
                </a:solidFill>
                <a:latin typeface="Manrope SemiBold" pitchFamily="2" charset="0"/>
              </a:rPr>
              <a:t>Largest source of additions by type in each state</a:t>
            </a:r>
            <a:endParaRPr lang="en-US" b="0">
              <a:solidFill>
                <a:schemeClr val="tx2"/>
              </a:solidFill>
              <a:latin typeface="Manrope SemiBold" pitchFamily="2" charset="0"/>
            </a:endParaRPr>
          </a:p>
        </p:txBody>
      </p:sp>
    </p:spTree>
    <p:extLst>
      <p:ext uri="{BB962C8B-B14F-4D97-AF65-F5344CB8AC3E}">
        <p14:creationId xmlns:p14="http://schemas.microsoft.com/office/powerpoint/2010/main" val="178531653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E22EF5-569F-0D1E-E68C-7854ED154ADF}"/>
              </a:ext>
            </a:extLst>
          </p:cNvPr>
          <p:cNvSpPr>
            <a:spLocks noGrp="1"/>
          </p:cNvSpPr>
          <p:nvPr>
            <p:ph type="title"/>
          </p:nvPr>
        </p:nvSpPr>
        <p:spPr/>
        <p:txBody>
          <a:bodyPr/>
          <a:lstStyle/>
          <a:p>
            <a:r>
              <a:rPr lang="en-US"/>
              <a:t>Storage Offers Competitive Returns</a:t>
            </a:r>
          </a:p>
        </p:txBody>
      </p:sp>
      <p:sp>
        <p:nvSpPr>
          <p:cNvPr id="4" name="Slide Number Placeholder 3">
            <a:extLst>
              <a:ext uri="{FF2B5EF4-FFF2-40B4-BE49-F238E27FC236}">
                <a16:creationId xmlns:a16="http://schemas.microsoft.com/office/drawing/2014/main" id="{E2F0033B-9A15-3D83-9F2C-6A89DC612A98}"/>
              </a:ext>
            </a:extLst>
          </p:cNvPr>
          <p:cNvSpPr>
            <a:spLocks noGrp="1"/>
          </p:cNvSpPr>
          <p:nvPr>
            <p:ph type="sldNum" sz="quarter" idx="4"/>
          </p:nvPr>
        </p:nvSpPr>
        <p:spPr/>
        <p:txBody>
          <a:bodyPr/>
          <a:lstStyle/>
          <a:p>
            <a:fld id="{FFC2788D-A0E8-47AB-ABFD-625D826BCE36}" type="slidenum">
              <a:rPr lang="en-US" smtClean="0"/>
              <a:pPr/>
              <a:t>29</a:t>
            </a:fld>
            <a:endParaRPr lang="en-US"/>
          </a:p>
        </p:txBody>
      </p:sp>
      <p:graphicFrame>
        <p:nvGraphicFramePr>
          <p:cNvPr id="5" name="Content Placeholder 5">
            <a:extLst>
              <a:ext uri="{FF2B5EF4-FFF2-40B4-BE49-F238E27FC236}">
                <a16:creationId xmlns:a16="http://schemas.microsoft.com/office/drawing/2014/main" id="{309DDBE7-F5EE-502E-A9A4-A2684D69A778}"/>
              </a:ext>
            </a:extLst>
          </p:cNvPr>
          <p:cNvGraphicFramePr>
            <a:graphicFrameLocks/>
          </p:cNvGraphicFramePr>
          <p:nvPr/>
        </p:nvGraphicFramePr>
        <p:xfrm>
          <a:off x="102025" y="1006703"/>
          <a:ext cx="11880850" cy="165141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Chart 5">
            <a:extLst>
              <a:ext uri="{FF2B5EF4-FFF2-40B4-BE49-F238E27FC236}">
                <a16:creationId xmlns:a16="http://schemas.microsoft.com/office/drawing/2014/main" id="{65BD8041-0C17-F7D2-280B-AE892EA12A49}"/>
              </a:ext>
            </a:extLst>
          </p:cNvPr>
          <p:cNvGraphicFramePr>
            <a:graphicFrameLocks/>
          </p:cNvGraphicFramePr>
          <p:nvPr/>
        </p:nvGraphicFramePr>
        <p:xfrm>
          <a:off x="62337" y="2658114"/>
          <a:ext cx="11880000" cy="169874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6">
            <a:extLst>
              <a:ext uri="{FF2B5EF4-FFF2-40B4-BE49-F238E27FC236}">
                <a16:creationId xmlns:a16="http://schemas.microsoft.com/office/drawing/2014/main" id="{7970E9EE-6C81-FE75-04FB-398194BEEF3A}"/>
              </a:ext>
            </a:extLst>
          </p:cNvPr>
          <p:cNvGraphicFramePr>
            <a:graphicFrameLocks/>
          </p:cNvGraphicFramePr>
          <p:nvPr/>
        </p:nvGraphicFramePr>
        <p:xfrm>
          <a:off x="102450" y="4356861"/>
          <a:ext cx="11933975" cy="2418218"/>
        </p:xfrm>
        <a:graphic>
          <a:graphicData uri="http://schemas.openxmlformats.org/drawingml/2006/chart">
            <c:chart xmlns:c="http://schemas.openxmlformats.org/drawingml/2006/chart" xmlns:r="http://schemas.openxmlformats.org/officeDocument/2006/relationships" r:id="rId4"/>
          </a:graphicData>
        </a:graphic>
      </p:graphicFrame>
      <p:sp>
        <p:nvSpPr>
          <p:cNvPr id="10" name="TextBox 9">
            <a:extLst>
              <a:ext uri="{FF2B5EF4-FFF2-40B4-BE49-F238E27FC236}">
                <a16:creationId xmlns:a16="http://schemas.microsoft.com/office/drawing/2014/main" id="{B998661B-0B35-A9FC-D320-707569E7CA0D}"/>
              </a:ext>
            </a:extLst>
          </p:cNvPr>
          <p:cNvSpPr txBox="1"/>
          <p:nvPr/>
        </p:nvSpPr>
        <p:spPr>
          <a:xfrm>
            <a:off x="874645" y="1042505"/>
            <a:ext cx="2186608" cy="348974"/>
          </a:xfrm>
          <a:prstGeom prst="rect">
            <a:avLst/>
          </a:prstGeom>
          <a:noFill/>
          <a:ln>
            <a:noFill/>
          </a:ln>
        </p:spPr>
        <p:txBody>
          <a:bodyPr vert="horz" wrap="square" lIns="91440" tIns="91440" rIns="91440" bIns="91440" rtlCol="0" anchor="ctr">
            <a:noAutofit/>
          </a:bodyPr>
          <a:lstStyle/>
          <a:p>
            <a:pPr marL="0" indent="0" algn="l">
              <a:buFont typeface="Arial" panose="020B0604020202020204" pitchFamily="34" charset="0"/>
              <a:buNone/>
            </a:pPr>
            <a:r>
              <a:rPr lang="en-US" sz="1600" b="0" dirty="0">
                <a:solidFill>
                  <a:schemeClr val="bg1">
                    <a:lumMod val="50000"/>
                  </a:schemeClr>
                </a:solidFill>
                <a:latin typeface="Manrope SemiBold" pitchFamily="2" charset="0"/>
              </a:rPr>
              <a:t>Standalone Storage</a:t>
            </a:r>
          </a:p>
        </p:txBody>
      </p:sp>
      <p:sp>
        <p:nvSpPr>
          <p:cNvPr id="11" name="TextBox 10">
            <a:extLst>
              <a:ext uri="{FF2B5EF4-FFF2-40B4-BE49-F238E27FC236}">
                <a16:creationId xmlns:a16="http://schemas.microsoft.com/office/drawing/2014/main" id="{151E859E-BE08-555D-5EC5-9BB39F240948}"/>
              </a:ext>
            </a:extLst>
          </p:cNvPr>
          <p:cNvSpPr txBox="1"/>
          <p:nvPr/>
        </p:nvSpPr>
        <p:spPr>
          <a:xfrm>
            <a:off x="874645" y="2767971"/>
            <a:ext cx="2186608" cy="348974"/>
          </a:xfrm>
          <a:prstGeom prst="rect">
            <a:avLst/>
          </a:prstGeom>
          <a:noFill/>
          <a:ln>
            <a:noFill/>
          </a:ln>
        </p:spPr>
        <p:txBody>
          <a:bodyPr vert="horz" wrap="square" lIns="91440" tIns="91440" rIns="91440" bIns="91440" rtlCol="0" anchor="ctr">
            <a:noAutofit/>
          </a:bodyPr>
          <a:lstStyle/>
          <a:p>
            <a:pPr marL="0" indent="0" algn="l">
              <a:buFont typeface="Arial" panose="020B0604020202020204" pitchFamily="34" charset="0"/>
              <a:buNone/>
            </a:pPr>
            <a:r>
              <a:rPr lang="en-US" sz="1600" b="0" dirty="0">
                <a:solidFill>
                  <a:schemeClr val="bg1">
                    <a:lumMod val="50000"/>
                  </a:schemeClr>
                </a:solidFill>
                <a:latin typeface="Manrope SemiBold" pitchFamily="2" charset="0"/>
              </a:rPr>
              <a:t>Solar</a:t>
            </a:r>
          </a:p>
        </p:txBody>
      </p:sp>
      <p:sp>
        <p:nvSpPr>
          <p:cNvPr id="12" name="TextBox 11">
            <a:extLst>
              <a:ext uri="{FF2B5EF4-FFF2-40B4-BE49-F238E27FC236}">
                <a16:creationId xmlns:a16="http://schemas.microsoft.com/office/drawing/2014/main" id="{7C53B9FC-6919-ECA2-EFD5-4776F90DBA5F}"/>
              </a:ext>
            </a:extLst>
          </p:cNvPr>
          <p:cNvSpPr txBox="1"/>
          <p:nvPr/>
        </p:nvSpPr>
        <p:spPr>
          <a:xfrm>
            <a:off x="874645" y="4453358"/>
            <a:ext cx="2186608" cy="348974"/>
          </a:xfrm>
          <a:prstGeom prst="rect">
            <a:avLst/>
          </a:prstGeom>
          <a:noFill/>
          <a:ln>
            <a:noFill/>
          </a:ln>
        </p:spPr>
        <p:txBody>
          <a:bodyPr vert="horz" wrap="square" lIns="91440" tIns="91440" rIns="91440" bIns="91440" rtlCol="0" anchor="ctr">
            <a:noAutofit/>
          </a:bodyPr>
          <a:lstStyle/>
          <a:p>
            <a:pPr marL="0" indent="0" algn="l">
              <a:buFont typeface="Arial" panose="020B0604020202020204" pitchFamily="34" charset="0"/>
              <a:buNone/>
            </a:pPr>
            <a:r>
              <a:rPr lang="en-US" sz="1600" b="0" dirty="0">
                <a:solidFill>
                  <a:schemeClr val="bg1">
                    <a:lumMod val="50000"/>
                  </a:schemeClr>
                </a:solidFill>
                <a:latin typeface="Manrope SemiBold" pitchFamily="2" charset="0"/>
              </a:rPr>
              <a:t>Wind</a:t>
            </a:r>
          </a:p>
        </p:txBody>
      </p:sp>
      <p:sp>
        <p:nvSpPr>
          <p:cNvPr id="2" name="TextBox 1">
            <a:extLst>
              <a:ext uri="{FF2B5EF4-FFF2-40B4-BE49-F238E27FC236}">
                <a16:creationId xmlns:a16="http://schemas.microsoft.com/office/drawing/2014/main" id="{00D3B365-CA07-CA79-A29B-D504252E6E10}"/>
              </a:ext>
            </a:extLst>
          </p:cNvPr>
          <p:cNvSpPr txBox="1"/>
          <p:nvPr/>
        </p:nvSpPr>
        <p:spPr>
          <a:xfrm>
            <a:off x="0" y="6649006"/>
            <a:ext cx="2794000" cy="21113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ea typeface="+mn-ea"/>
                <a:cs typeface="+mn-cs"/>
              </a:rPr>
              <a:t>Source: Orennia</a:t>
            </a:r>
          </a:p>
        </p:txBody>
      </p:sp>
    </p:spTree>
    <p:extLst>
      <p:ext uri="{BB962C8B-B14F-4D97-AF65-F5344CB8AC3E}">
        <p14:creationId xmlns:p14="http://schemas.microsoft.com/office/powerpoint/2010/main" val="32036014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erson with a blue and white background&#10;&#10;Description automatically generated">
            <a:extLst>
              <a:ext uri="{FF2B5EF4-FFF2-40B4-BE49-F238E27FC236}">
                <a16:creationId xmlns:a16="http://schemas.microsoft.com/office/drawing/2014/main" id="{401EEA92-65C8-14A7-D1B2-5BC1F3E272D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08166745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2EF993B-B154-792A-0AB3-FD9424151D3F}"/>
              </a:ext>
            </a:extLst>
          </p:cNvPr>
          <p:cNvSpPr>
            <a:spLocks noGrp="1"/>
          </p:cNvSpPr>
          <p:nvPr>
            <p:ph type="title"/>
          </p:nvPr>
        </p:nvSpPr>
        <p:spPr/>
        <p:txBody>
          <a:bodyPr/>
          <a:lstStyle/>
          <a:p>
            <a:r>
              <a:rPr lang="en-US"/>
              <a:t>Top Standalone Storage Operators</a:t>
            </a:r>
          </a:p>
        </p:txBody>
      </p:sp>
      <p:sp>
        <p:nvSpPr>
          <p:cNvPr id="4" name="Slide Number Placeholder 3">
            <a:extLst>
              <a:ext uri="{FF2B5EF4-FFF2-40B4-BE49-F238E27FC236}">
                <a16:creationId xmlns:a16="http://schemas.microsoft.com/office/drawing/2014/main" id="{E58C189F-59F3-5D51-83B0-36EB8BF8DAD4}"/>
              </a:ext>
            </a:extLst>
          </p:cNvPr>
          <p:cNvSpPr>
            <a:spLocks noGrp="1"/>
          </p:cNvSpPr>
          <p:nvPr>
            <p:ph type="sldNum" sz="quarter" idx="4"/>
          </p:nvPr>
        </p:nvSpPr>
        <p:spPr/>
        <p:txBody>
          <a:bodyPr/>
          <a:lstStyle/>
          <a:p>
            <a:fld id="{FFC2788D-A0E8-47AB-ABFD-625D826BCE36}" type="slidenum">
              <a:rPr lang="en-US" smtClean="0"/>
              <a:pPr/>
              <a:t>30</a:t>
            </a:fld>
            <a:endParaRPr lang="en-US"/>
          </a:p>
        </p:txBody>
      </p:sp>
      <p:graphicFrame>
        <p:nvGraphicFramePr>
          <p:cNvPr id="5" name="Chart 4">
            <a:extLst>
              <a:ext uri="{FF2B5EF4-FFF2-40B4-BE49-F238E27FC236}">
                <a16:creationId xmlns:a16="http://schemas.microsoft.com/office/drawing/2014/main" id="{B2688C2B-5B65-3922-B873-26C0363299AB}"/>
              </a:ext>
            </a:extLst>
          </p:cNvPr>
          <p:cNvGraphicFramePr>
            <a:graphicFrameLocks/>
          </p:cNvGraphicFramePr>
          <p:nvPr/>
        </p:nvGraphicFramePr>
        <p:xfrm>
          <a:off x="156001" y="811237"/>
          <a:ext cx="11879998" cy="5857850"/>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Box 1">
            <a:extLst>
              <a:ext uri="{FF2B5EF4-FFF2-40B4-BE49-F238E27FC236}">
                <a16:creationId xmlns:a16="http://schemas.microsoft.com/office/drawing/2014/main" id="{D4BF11A9-EF6C-5475-827B-C5478E0A182E}"/>
              </a:ext>
            </a:extLst>
          </p:cNvPr>
          <p:cNvSpPr txBox="1"/>
          <p:nvPr/>
        </p:nvSpPr>
        <p:spPr>
          <a:xfrm>
            <a:off x="0" y="6649006"/>
            <a:ext cx="2794000" cy="21113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ea typeface="+mn-ea"/>
                <a:cs typeface="+mn-cs"/>
              </a:rPr>
              <a:t>Source: Orennia</a:t>
            </a:r>
          </a:p>
        </p:txBody>
      </p:sp>
    </p:spTree>
    <p:extLst>
      <p:ext uri="{BB962C8B-B14F-4D97-AF65-F5344CB8AC3E}">
        <p14:creationId xmlns:p14="http://schemas.microsoft.com/office/powerpoint/2010/main" val="154784548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DA35C2-CC55-F018-8553-266ACD90A2BE}"/>
              </a:ext>
            </a:extLst>
          </p:cNvPr>
          <p:cNvSpPr>
            <a:spLocks noGrp="1"/>
          </p:cNvSpPr>
          <p:nvPr>
            <p:ph type="title"/>
          </p:nvPr>
        </p:nvSpPr>
        <p:spPr>
          <a:xfrm>
            <a:off x="4262783" y="3680320"/>
            <a:ext cx="7773216" cy="1004050"/>
          </a:xfrm>
        </p:spPr>
        <p:txBody>
          <a:bodyPr/>
          <a:lstStyle/>
          <a:p>
            <a:r>
              <a:rPr lang="en-US" dirty="0"/>
              <a:t>Revenue Performance</a:t>
            </a:r>
          </a:p>
        </p:txBody>
      </p:sp>
      <p:sp>
        <p:nvSpPr>
          <p:cNvPr id="3" name="Slide Number Placeholder 2">
            <a:extLst>
              <a:ext uri="{FF2B5EF4-FFF2-40B4-BE49-F238E27FC236}">
                <a16:creationId xmlns:a16="http://schemas.microsoft.com/office/drawing/2014/main" id="{B709899C-4BE3-1E18-0344-CEF70F9582BB}"/>
              </a:ext>
            </a:extLst>
          </p:cNvPr>
          <p:cNvSpPr>
            <a:spLocks noGrp="1"/>
          </p:cNvSpPr>
          <p:nvPr>
            <p:ph type="sldNum" sz="quarter" idx="4"/>
          </p:nvPr>
        </p:nvSpPr>
        <p:spPr/>
        <p:txBody>
          <a:bodyPr/>
          <a:lstStyle/>
          <a:p>
            <a:fld id="{FFC2788D-A0E8-47AB-ABFD-625D826BCE36}" type="slidenum">
              <a:rPr lang="en-US" smtClean="0"/>
              <a:pPr/>
              <a:t>31</a:t>
            </a:fld>
            <a:endParaRPr lang="en-US"/>
          </a:p>
        </p:txBody>
      </p:sp>
    </p:spTree>
    <p:extLst>
      <p:ext uri="{BB962C8B-B14F-4D97-AF65-F5344CB8AC3E}">
        <p14:creationId xmlns:p14="http://schemas.microsoft.com/office/powerpoint/2010/main" val="269012314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DB68F3-30EC-D366-FA58-901BCB086D01}"/>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896C09C8-7E9B-B791-2EE3-4A2866EB3CAB}"/>
              </a:ext>
            </a:extLst>
          </p:cNvPr>
          <p:cNvSpPr>
            <a:spLocks noGrp="1"/>
          </p:cNvSpPr>
          <p:nvPr>
            <p:ph type="title"/>
          </p:nvPr>
        </p:nvSpPr>
        <p:spPr/>
        <p:txBody>
          <a:bodyPr/>
          <a:lstStyle/>
          <a:p>
            <a:r>
              <a:rPr lang="en-US" dirty="0"/>
              <a:t>Revenue Profile Varies by Market</a:t>
            </a:r>
          </a:p>
        </p:txBody>
      </p:sp>
      <p:sp>
        <p:nvSpPr>
          <p:cNvPr id="4" name="Slide Number Placeholder 3">
            <a:extLst>
              <a:ext uri="{FF2B5EF4-FFF2-40B4-BE49-F238E27FC236}">
                <a16:creationId xmlns:a16="http://schemas.microsoft.com/office/drawing/2014/main" id="{060BF500-313F-8D44-26A3-E33A9765450A}"/>
              </a:ext>
            </a:extLst>
          </p:cNvPr>
          <p:cNvSpPr>
            <a:spLocks noGrp="1"/>
          </p:cNvSpPr>
          <p:nvPr>
            <p:ph type="sldNum" sz="quarter" idx="4"/>
          </p:nvPr>
        </p:nvSpPr>
        <p:spPr/>
        <p:txBody>
          <a:bodyPr/>
          <a:lstStyle/>
          <a:p>
            <a:fld id="{FFC2788D-A0E8-47AB-ABFD-625D826BCE36}" type="slidenum">
              <a:rPr lang="en-US" smtClean="0"/>
              <a:pPr/>
              <a:t>32</a:t>
            </a:fld>
            <a:endParaRPr lang="en-US"/>
          </a:p>
        </p:txBody>
      </p:sp>
      <p:sp>
        <p:nvSpPr>
          <p:cNvPr id="2" name="TextBox 1">
            <a:extLst>
              <a:ext uri="{FF2B5EF4-FFF2-40B4-BE49-F238E27FC236}">
                <a16:creationId xmlns:a16="http://schemas.microsoft.com/office/drawing/2014/main" id="{BD7F03FC-1CE0-5A2B-E624-97E031802976}"/>
              </a:ext>
            </a:extLst>
          </p:cNvPr>
          <p:cNvSpPr txBox="1"/>
          <p:nvPr/>
        </p:nvSpPr>
        <p:spPr>
          <a:xfrm>
            <a:off x="0" y="6649006"/>
            <a:ext cx="2794000" cy="21113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ea typeface="+mn-ea"/>
                <a:cs typeface="+mn-cs"/>
              </a:rPr>
              <a:t>Source: Orennia</a:t>
            </a:r>
          </a:p>
        </p:txBody>
      </p:sp>
      <p:graphicFrame>
        <p:nvGraphicFramePr>
          <p:cNvPr id="6" name="Chart 5">
            <a:extLst>
              <a:ext uri="{FF2B5EF4-FFF2-40B4-BE49-F238E27FC236}">
                <a16:creationId xmlns:a16="http://schemas.microsoft.com/office/drawing/2014/main" id="{A04E5E50-6CD9-3834-BE9F-6C991BF29C82}"/>
              </a:ext>
            </a:extLst>
          </p:cNvPr>
          <p:cNvGraphicFramePr>
            <a:graphicFrameLocks/>
          </p:cNvGraphicFramePr>
          <p:nvPr/>
        </p:nvGraphicFramePr>
        <p:xfrm>
          <a:off x="156000" y="811238"/>
          <a:ext cx="5939999" cy="286465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Chart 9">
            <a:extLst>
              <a:ext uri="{FF2B5EF4-FFF2-40B4-BE49-F238E27FC236}">
                <a16:creationId xmlns:a16="http://schemas.microsoft.com/office/drawing/2014/main" id="{E61864ED-6465-4CC9-B61F-214A25F47AB3}"/>
              </a:ext>
            </a:extLst>
          </p:cNvPr>
          <p:cNvGraphicFramePr>
            <a:graphicFrameLocks/>
          </p:cNvGraphicFramePr>
          <p:nvPr/>
        </p:nvGraphicFramePr>
        <p:xfrm>
          <a:off x="6095999" y="811238"/>
          <a:ext cx="5939999" cy="28646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Chart 10">
            <a:extLst>
              <a:ext uri="{FF2B5EF4-FFF2-40B4-BE49-F238E27FC236}">
                <a16:creationId xmlns:a16="http://schemas.microsoft.com/office/drawing/2014/main" id="{1196CEBA-F777-4013-B381-CD5E0DD02389}"/>
              </a:ext>
            </a:extLst>
          </p:cNvPr>
          <p:cNvGraphicFramePr>
            <a:graphicFrameLocks/>
          </p:cNvGraphicFramePr>
          <p:nvPr/>
        </p:nvGraphicFramePr>
        <p:xfrm>
          <a:off x="155572" y="3674781"/>
          <a:ext cx="5939998" cy="286207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Chart 11">
            <a:extLst>
              <a:ext uri="{FF2B5EF4-FFF2-40B4-BE49-F238E27FC236}">
                <a16:creationId xmlns:a16="http://schemas.microsoft.com/office/drawing/2014/main" id="{2B51ADC0-B390-4FB7-B953-220030A4399D}"/>
              </a:ext>
            </a:extLst>
          </p:cNvPr>
          <p:cNvGraphicFramePr>
            <a:graphicFrameLocks/>
          </p:cNvGraphicFramePr>
          <p:nvPr/>
        </p:nvGraphicFramePr>
        <p:xfrm>
          <a:off x="6095999" y="3674781"/>
          <a:ext cx="5939998" cy="286207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hart 12">
            <a:extLst>
              <a:ext uri="{FF2B5EF4-FFF2-40B4-BE49-F238E27FC236}">
                <a16:creationId xmlns:a16="http://schemas.microsoft.com/office/drawing/2014/main" id="{3A300040-815E-4545-B9FC-F63B08E659C0}"/>
              </a:ext>
            </a:extLst>
          </p:cNvPr>
          <p:cNvGraphicFramePr>
            <a:graphicFrameLocks/>
          </p:cNvGraphicFramePr>
          <p:nvPr/>
        </p:nvGraphicFramePr>
        <p:xfrm>
          <a:off x="4059936" y="6513956"/>
          <a:ext cx="4191000" cy="310261"/>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24337559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05AD2C-5B97-57A4-E3A7-58763D2A89C4}"/>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6BFBCD58-A402-0254-BC31-2DDAE316FBB3}"/>
              </a:ext>
            </a:extLst>
          </p:cNvPr>
          <p:cNvSpPr>
            <a:spLocks noGrp="1"/>
          </p:cNvSpPr>
          <p:nvPr>
            <p:ph type="title"/>
          </p:nvPr>
        </p:nvSpPr>
        <p:spPr/>
        <p:txBody>
          <a:bodyPr/>
          <a:lstStyle/>
          <a:p>
            <a:r>
              <a:rPr lang="en-US" dirty="0"/>
              <a:t>Benchmarking Operator Performance</a:t>
            </a:r>
          </a:p>
        </p:txBody>
      </p:sp>
      <p:sp>
        <p:nvSpPr>
          <p:cNvPr id="4" name="Slide Number Placeholder 3">
            <a:extLst>
              <a:ext uri="{FF2B5EF4-FFF2-40B4-BE49-F238E27FC236}">
                <a16:creationId xmlns:a16="http://schemas.microsoft.com/office/drawing/2014/main" id="{DE513EC7-336A-0C48-2458-69E6CC51B5FE}"/>
              </a:ext>
            </a:extLst>
          </p:cNvPr>
          <p:cNvSpPr>
            <a:spLocks noGrp="1"/>
          </p:cNvSpPr>
          <p:nvPr>
            <p:ph type="sldNum" sz="quarter" idx="4"/>
          </p:nvPr>
        </p:nvSpPr>
        <p:spPr/>
        <p:txBody>
          <a:bodyPr/>
          <a:lstStyle/>
          <a:p>
            <a:fld id="{FFC2788D-A0E8-47AB-ABFD-625D826BCE36}" type="slidenum">
              <a:rPr lang="en-US" smtClean="0"/>
              <a:pPr/>
              <a:t>33</a:t>
            </a:fld>
            <a:endParaRPr lang="en-US"/>
          </a:p>
        </p:txBody>
      </p:sp>
      <p:sp>
        <p:nvSpPr>
          <p:cNvPr id="2" name="TextBox 1">
            <a:extLst>
              <a:ext uri="{FF2B5EF4-FFF2-40B4-BE49-F238E27FC236}">
                <a16:creationId xmlns:a16="http://schemas.microsoft.com/office/drawing/2014/main" id="{F0C13640-5F0A-6FA0-366A-A2B47EA89695}"/>
              </a:ext>
            </a:extLst>
          </p:cNvPr>
          <p:cNvSpPr txBox="1"/>
          <p:nvPr/>
        </p:nvSpPr>
        <p:spPr>
          <a:xfrm>
            <a:off x="0" y="6649006"/>
            <a:ext cx="2794000" cy="21113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ea typeface="+mn-ea"/>
                <a:cs typeface="+mn-cs"/>
              </a:rPr>
              <a:t>Source: Orennia</a:t>
            </a:r>
          </a:p>
        </p:txBody>
      </p:sp>
      <p:graphicFrame>
        <p:nvGraphicFramePr>
          <p:cNvPr id="5" name="Chart 4">
            <a:extLst>
              <a:ext uri="{FF2B5EF4-FFF2-40B4-BE49-F238E27FC236}">
                <a16:creationId xmlns:a16="http://schemas.microsoft.com/office/drawing/2014/main" id="{F10C3CFD-097B-40B6-B14E-46FF34ADF67E}"/>
              </a:ext>
            </a:extLst>
          </p:cNvPr>
          <p:cNvGraphicFramePr>
            <a:graphicFrameLocks/>
          </p:cNvGraphicFramePr>
          <p:nvPr/>
        </p:nvGraphicFramePr>
        <p:xfrm>
          <a:off x="155575" y="811237"/>
          <a:ext cx="11880423" cy="573561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25764491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CD1A63-C48F-6DC1-C0D7-8C622E540EFF}"/>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1DD88F5B-1F58-FEE7-03E8-2DEF589B813F}"/>
              </a:ext>
            </a:extLst>
          </p:cNvPr>
          <p:cNvSpPr>
            <a:spLocks noGrp="1"/>
          </p:cNvSpPr>
          <p:nvPr>
            <p:ph type="title"/>
          </p:nvPr>
        </p:nvSpPr>
        <p:spPr/>
        <p:txBody>
          <a:bodyPr/>
          <a:lstStyle/>
          <a:p>
            <a:r>
              <a:rPr lang="en-US" dirty="0"/>
              <a:t>Operator Performance is Converging</a:t>
            </a:r>
          </a:p>
        </p:txBody>
      </p:sp>
      <p:sp>
        <p:nvSpPr>
          <p:cNvPr id="4" name="Slide Number Placeholder 3">
            <a:extLst>
              <a:ext uri="{FF2B5EF4-FFF2-40B4-BE49-F238E27FC236}">
                <a16:creationId xmlns:a16="http://schemas.microsoft.com/office/drawing/2014/main" id="{4FCD2EEB-3168-7256-8577-E040BFA39427}"/>
              </a:ext>
            </a:extLst>
          </p:cNvPr>
          <p:cNvSpPr>
            <a:spLocks noGrp="1"/>
          </p:cNvSpPr>
          <p:nvPr>
            <p:ph type="sldNum" sz="quarter" idx="4"/>
          </p:nvPr>
        </p:nvSpPr>
        <p:spPr/>
        <p:txBody>
          <a:bodyPr/>
          <a:lstStyle/>
          <a:p>
            <a:fld id="{FFC2788D-A0E8-47AB-ABFD-625D826BCE36}" type="slidenum">
              <a:rPr lang="en-US" smtClean="0"/>
              <a:pPr/>
              <a:t>34</a:t>
            </a:fld>
            <a:endParaRPr lang="en-US"/>
          </a:p>
        </p:txBody>
      </p:sp>
      <p:sp>
        <p:nvSpPr>
          <p:cNvPr id="2" name="TextBox 1">
            <a:extLst>
              <a:ext uri="{FF2B5EF4-FFF2-40B4-BE49-F238E27FC236}">
                <a16:creationId xmlns:a16="http://schemas.microsoft.com/office/drawing/2014/main" id="{17D97D3D-FC28-545D-143E-FBA39EF05102}"/>
              </a:ext>
            </a:extLst>
          </p:cNvPr>
          <p:cNvSpPr txBox="1"/>
          <p:nvPr/>
        </p:nvSpPr>
        <p:spPr>
          <a:xfrm>
            <a:off x="0" y="6649006"/>
            <a:ext cx="2794000" cy="21113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ea typeface="+mn-ea"/>
                <a:cs typeface="+mn-cs"/>
              </a:rPr>
              <a:t>Source: Orennia</a:t>
            </a:r>
          </a:p>
        </p:txBody>
      </p:sp>
      <p:graphicFrame>
        <p:nvGraphicFramePr>
          <p:cNvPr id="6" name="Chart 5">
            <a:extLst>
              <a:ext uri="{FF2B5EF4-FFF2-40B4-BE49-F238E27FC236}">
                <a16:creationId xmlns:a16="http://schemas.microsoft.com/office/drawing/2014/main" id="{30F4869A-2FD8-449B-9F09-DCA3D4C873BE}"/>
              </a:ext>
            </a:extLst>
          </p:cNvPr>
          <p:cNvGraphicFramePr>
            <a:graphicFrameLocks/>
          </p:cNvGraphicFramePr>
          <p:nvPr/>
        </p:nvGraphicFramePr>
        <p:xfrm>
          <a:off x="156001" y="811237"/>
          <a:ext cx="11879997" cy="560881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41774871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BD189E-7650-6A6C-4A02-49C7623EA635}"/>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658654A7-FB2D-940D-BC7A-8593E2EC8E10}"/>
              </a:ext>
            </a:extLst>
          </p:cNvPr>
          <p:cNvSpPr>
            <a:spLocks noGrp="1"/>
          </p:cNvSpPr>
          <p:nvPr>
            <p:ph type="title"/>
          </p:nvPr>
        </p:nvSpPr>
        <p:spPr/>
        <p:txBody>
          <a:bodyPr/>
          <a:lstStyle/>
          <a:p>
            <a:r>
              <a:rPr lang="en-US" dirty="0"/>
              <a:t>What Happened this Summer in ERCOT?</a:t>
            </a:r>
          </a:p>
        </p:txBody>
      </p:sp>
      <p:sp>
        <p:nvSpPr>
          <p:cNvPr id="4" name="Slide Number Placeholder 3">
            <a:extLst>
              <a:ext uri="{FF2B5EF4-FFF2-40B4-BE49-F238E27FC236}">
                <a16:creationId xmlns:a16="http://schemas.microsoft.com/office/drawing/2014/main" id="{94CF1FF9-39B1-F5BB-92FB-5A9CCE59C9D7}"/>
              </a:ext>
            </a:extLst>
          </p:cNvPr>
          <p:cNvSpPr>
            <a:spLocks noGrp="1"/>
          </p:cNvSpPr>
          <p:nvPr>
            <p:ph type="sldNum" sz="quarter" idx="4"/>
          </p:nvPr>
        </p:nvSpPr>
        <p:spPr/>
        <p:txBody>
          <a:bodyPr/>
          <a:lstStyle/>
          <a:p>
            <a:fld id="{FFC2788D-A0E8-47AB-ABFD-625D826BCE36}" type="slidenum">
              <a:rPr lang="en-US" smtClean="0"/>
              <a:pPr/>
              <a:t>35</a:t>
            </a:fld>
            <a:endParaRPr lang="en-US"/>
          </a:p>
        </p:txBody>
      </p:sp>
      <p:sp>
        <p:nvSpPr>
          <p:cNvPr id="2" name="TextBox 1">
            <a:extLst>
              <a:ext uri="{FF2B5EF4-FFF2-40B4-BE49-F238E27FC236}">
                <a16:creationId xmlns:a16="http://schemas.microsoft.com/office/drawing/2014/main" id="{90D5EB68-DC24-7BA3-6C70-46B68CE41BD8}"/>
              </a:ext>
            </a:extLst>
          </p:cNvPr>
          <p:cNvSpPr txBox="1"/>
          <p:nvPr/>
        </p:nvSpPr>
        <p:spPr>
          <a:xfrm>
            <a:off x="0" y="6649006"/>
            <a:ext cx="2794000" cy="21113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ea typeface="+mn-ea"/>
                <a:cs typeface="+mn-cs"/>
              </a:rPr>
              <a:t>Source: Orennia</a:t>
            </a:r>
          </a:p>
        </p:txBody>
      </p:sp>
      <p:graphicFrame>
        <p:nvGraphicFramePr>
          <p:cNvPr id="5" name="Chart 4">
            <a:extLst>
              <a:ext uri="{FF2B5EF4-FFF2-40B4-BE49-F238E27FC236}">
                <a16:creationId xmlns:a16="http://schemas.microsoft.com/office/drawing/2014/main" id="{6C3B6A91-9D65-2147-F36C-E114B35A92DB}"/>
              </a:ext>
            </a:extLst>
          </p:cNvPr>
          <p:cNvGraphicFramePr>
            <a:graphicFrameLocks/>
          </p:cNvGraphicFramePr>
          <p:nvPr/>
        </p:nvGraphicFramePr>
        <p:xfrm>
          <a:off x="156001" y="909637"/>
          <a:ext cx="5939999" cy="551041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6">
            <a:extLst>
              <a:ext uri="{FF2B5EF4-FFF2-40B4-BE49-F238E27FC236}">
                <a16:creationId xmlns:a16="http://schemas.microsoft.com/office/drawing/2014/main" id="{6A26D9A8-01A6-4747-A781-4A17E5F0CECA}"/>
              </a:ext>
            </a:extLst>
          </p:cNvPr>
          <p:cNvGraphicFramePr>
            <a:graphicFrameLocks/>
          </p:cNvGraphicFramePr>
          <p:nvPr/>
        </p:nvGraphicFramePr>
        <p:xfrm>
          <a:off x="6096000" y="909637"/>
          <a:ext cx="5939999" cy="5510413"/>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79746254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C09C1E-6C5D-2F66-2ADC-9FFEEE8B6095}"/>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35B73CF7-2ADB-ADA5-D915-8BA98D751295}"/>
              </a:ext>
            </a:extLst>
          </p:cNvPr>
          <p:cNvSpPr>
            <a:spLocks noGrp="1"/>
          </p:cNvSpPr>
          <p:nvPr>
            <p:ph type="title"/>
          </p:nvPr>
        </p:nvSpPr>
        <p:spPr/>
        <p:txBody>
          <a:bodyPr/>
          <a:lstStyle/>
          <a:p>
            <a:r>
              <a:rPr lang="en-US" dirty="0"/>
              <a:t>August Supply and Demand Comparison</a:t>
            </a:r>
          </a:p>
        </p:txBody>
      </p:sp>
      <p:sp>
        <p:nvSpPr>
          <p:cNvPr id="4" name="Slide Number Placeholder 3">
            <a:extLst>
              <a:ext uri="{FF2B5EF4-FFF2-40B4-BE49-F238E27FC236}">
                <a16:creationId xmlns:a16="http://schemas.microsoft.com/office/drawing/2014/main" id="{C3929186-64CA-52B8-8646-BD9C1F0716FA}"/>
              </a:ext>
            </a:extLst>
          </p:cNvPr>
          <p:cNvSpPr>
            <a:spLocks noGrp="1"/>
          </p:cNvSpPr>
          <p:nvPr>
            <p:ph type="sldNum" sz="quarter" idx="4"/>
          </p:nvPr>
        </p:nvSpPr>
        <p:spPr/>
        <p:txBody>
          <a:bodyPr/>
          <a:lstStyle/>
          <a:p>
            <a:fld id="{FFC2788D-A0E8-47AB-ABFD-625D826BCE36}" type="slidenum">
              <a:rPr lang="en-US" smtClean="0"/>
              <a:pPr/>
              <a:t>36</a:t>
            </a:fld>
            <a:endParaRPr lang="en-US"/>
          </a:p>
        </p:txBody>
      </p:sp>
      <p:sp>
        <p:nvSpPr>
          <p:cNvPr id="2" name="TextBox 1">
            <a:extLst>
              <a:ext uri="{FF2B5EF4-FFF2-40B4-BE49-F238E27FC236}">
                <a16:creationId xmlns:a16="http://schemas.microsoft.com/office/drawing/2014/main" id="{362EAB6A-0C25-C75A-F279-84838B395461}"/>
              </a:ext>
            </a:extLst>
          </p:cNvPr>
          <p:cNvSpPr txBox="1"/>
          <p:nvPr/>
        </p:nvSpPr>
        <p:spPr>
          <a:xfrm>
            <a:off x="0" y="6649006"/>
            <a:ext cx="2794000" cy="21113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ea typeface="+mn-ea"/>
                <a:cs typeface="+mn-cs"/>
              </a:rPr>
              <a:t>Source: Orennia</a:t>
            </a:r>
          </a:p>
        </p:txBody>
      </p:sp>
      <p:graphicFrame>
        <p:nvGraphicFramePr>
          <p:cNvPr id="5" name="Chart 4">
            <a:extLst>
              <a:ext uri="{FF2B5EF4-FFF2-40B4-BE49-F238E27FC236}">
                <a16:creationId xmlns:a16="http://schemas.microsoft.com/office/drawing/2014/main" id="{C31DF719-422F-4879-B731-2876A4089BD6}"/>
              </a:ext>
            </a:extLst>
          </p:cNvPr>
          <p:cNvGraphicFramePr>
            <a:graphicFrameLocks/>
          </p:cNvGraphicFramePr>
          <p:nvPr/>
        </p:nvGraphicFramePr>
        <p:xfrm>
          <a:off x="156001" y="811236"/>
          <a:ext cx="5939572" cy="565560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Chart 5">
            <a:extLst>
              <a:ext uri="{FF2B5EF4-FFF2-40B4-BE49-F238E27FC236}">
                <a16:creationId xmlns:a16="http://schemas.microsoft.com/office/drawing/2014/main" id="{9E4326C9-E894-4B0D-A377-C70EA226F89A}"/>
              </a:ext>
            </a:extLst>
          </p:cNvPr>
          <p:cNvGraphicFramePr>
            <a:graphicFrameLocks/>
          </p:cNvGraphicFramePr>
          <p:nvPr/>
        </p:nvGraphicFramePr>
        <p:xfrm>
          <a:off x="6096000" y="811234"/>
          <a:ext cx="5939998" cy="565560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E74A0F87-C8CD-3648-ED7F-0CD7AC5F5D22}"/>
              </a:ext>
            </a:extLst>
          </p:cNvPr>
          <p:cNvSpPr txBox="1"/>
          <p:nvPr/>
        </p:nvSpPr>
        <p:spPr>
          <a:xfrm>
            <a:off x="5473822" y="6410307"/>
            <a:ext cx="667512" cy="249037"/>
          </a:xfrm>
          <a:prstGeom prst="rect">
            <a:avLst/>
          </a:prstGeom>
          <a:noFill/>
          <a:ln>
            <a:noFill/>
          </a:ln>
        </p:spPr>
        <p:txBody>
          <a:bodyPr vert="horz" wrap="square" lIns="91440" tIns="91440" rIns="91440" bIns="91440" rtlCol="0" anchor="ctr">
            <a:noAutofit/>
          </a:bodyPr>
          <a:lstStyle/>
          <a:p>
            <a:pPr marL="0" indent="0" algn="ctr">
              <a:buFont typeface="Arial" panose="020B0604020202020204" pitchFamily="34" charset="0"/>
              <a:buNone/>
            </a:pPr>
            <a:r>
              <a:rPr lang="en-US" sz="1600" b="0" dirty="0">
                <a:latin typeface="Manrope SemiBold" pitchFamily="2" charset="0"/>
              </a:rPr>
              <a:t>2023</a:t>
            </a:r>
          </a:p>
        </p:txBody>
      </p:sp>
      <p:sp>
        <p:nvSpPr>
          <p:cNvPr id="8" name="TextBox 7">
            <a:extLst>
              <a:ext uri="{FF2B5EF4-FFF2-40B4-BE49-F238E27FC236}">
                <a16:creationId xmlns:a16="http://schemas.microsoft.com/office/drawing/2014/main" id="{5A9E1B5C-6A79-84B5-2FB7-D67D8CD7B19F}"/>
              </a:ext>
            </a:extLst>
          </p:cNvPr>
          <p:cNvSpPr txBox="1"/>
          <p:nvPr/>
        </p:nvSpPr>
        <p:spPr>
          <a:xfrm>
            <a:off x="7134982" y="6410307"/>
            <a:ext cx="743712" cy="249037"/>
          </a:xfrm>
          <a:prstGeom prst="rect">
            <a:avLst/>
          </a:prstGeom>
          <a:noFill/>
          <a:ln>
            <a:noFill/>
          </a:ln>
        </p:spPr>
        <p:txBody>
          <a:bodyPr vert="horz" wrap="square" lIns="91440" tIns="91440" rIns="91440" bIns="91440" rtlCol="0" anchor="ctr">
            <a:noAutofit/>
          </a:bodyPr>
          <a:lstStyle/>
          <a:p>
            <a:pPr marL="0" indent="0" algn="ctr">
              <a:buFont typeface="Arial" panose="020B0604020202020204" pitchFamily="34" charset="0"/>
              <a:buNone/>
            </a:pPr>
            <a:r>
              <a:rPr lang="en-US" sz="1600" b="0" dirty="0">
                <a:latin typeface="Manrope SemiBold" pitchFamily="2" charset="0"/>
              </a:rPr>
              <a:t>2024</a:t>
            </a:r>
          </a:p>
        </p:txBody>
      </p:sp>
      <p:cxnSp>
        <p:nvCxnSpPr>
          <p:cNvPr id="10" name="Straight Connector 9">
            <a:extLst>
              <a:ext uri="{FF2B5EF4-FFF2-40B4-BE49-F238E27FC236}">
                <a16:creationId xmlns:a16="http://schemas.microsoft.com/office/drawing/2014/main" id="{1066D273-699C-5B54-D433-25464F80AEE7}"/>
              </a:ext>
            </a:extLst>
          </p:cNvPr>
          <p:cNvCxnSpPr>
            <a:endCxn id="7" idx="1"/>
          </p:cNvCxnSpPr>
          <p:nvPr/>
        </p:nvCxnSpPr>
        <p:spPr>
          <a:xfrm flipV="1">
            <a:off x="4929754" y="6534826"/>
            <a:ext cx="544068" cy="1468"/>
          </a:xfrm>
          <a:prstGeom prst="line">
            <a:avLst/>
          </a:prstGeom>
          <a:ln w="1905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 name="Straight Connector 10">
            <a:extLst>
              <a:ext uri="{FF2B5EF4-FFF2-40B4-BE49-F238E27FC236}">
                <a16:creationId xmlns:a16="http://schemas.microsoft.com/office/drawing/2014/main" id="{6DFEA802-2033-B583-DA77-0353249B5CA3}"/>
              </a:ext>
            </a:extLst>
          </p:cNvPr>
          <p:cNvCxnSpPr/>
          <p:nvPr/>
        </p:nvCxnSpPr>
        <p:spPr>
          <a:xfrm flipV="1">
            <a:off x="6659774" y="6532623"/>
            <a:ext cx="544068" cy="1468"/>
          </a:xfrm>
          <a:prstGeom prst="line">
            <a:avLst/>
          </a:prstGeom>
          <a:ln>
            <a:headEnd type="none" w="med" len="med"/>
            <a:tailEnd type="none" w="med" len="med"/>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394074360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BEFB1C-BF02-066C-F8F7-AC0398E68C24}"/>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B2165984-C0B7-725F-BDBE-F470D48FB5A5}"/>
              </a:ext>
            </a:extLst>
          </p:cNvPr>
          <p:cNvSpPr>
            <a:spLocks noGrp="1"/>
          </p:cNvSpPr>
          <p:nvPr>
            <p:ph type="title"/>
          </p:nvPr>
        </p:nvSpPr>
        <p:spPr/>
        <p:txBody>
          <a:bodyPr/>
          <a:lstStyle/>
          <a:p>
            <a:r>
              <a:rPr lang="en-US" dirty="0"/>
              <a:t>ERCOT Revenue Expectations</a:t>
            </a:r>
          </a:p>
        </p:txBody>
      </p:sp>
      <p:sp>
        <p:nvSpPr>
          <p:cNvPr id="4" name="Slide Number Placeholder 3">
            <a:extLst>
              <a:ext uri="{FF2B5EF4-FFF2-40B4-BE49-F238E27FC236}">
                <a16:creationId xmlns:a16="http://schemas.microsoft.com/office/drawing/2014/main" id="{44178C3C-9028-BB83-39FA-6D2FB66D7E24}"/>
              </a:ext>
            </a:extLst>
          </p:cNvPr>
          <p:cNvSpPr>
            <a:spLocks noGrp="1"/>
          </p:cNvSpPr>
          <p:nvPr>
            <p:ph type="sldNum" sz="quarter" idx="4"/>
          </p:nvPr>
        </p:nvSpPr>
        <p:spPr/>
        <p:txBody>
          <a:bodyPr/>
          <a:lstStyle/>
          <a:p>
            <a:fld id="{FFC2788D-A0E8-47AB-ABFD-625D826BCE36}" type="slidenum">
              <a:rPr lang="en-US" smtClean="0"/>
              <a:pPr/>
              <a:t>37</a:t>
            </a:fld>
            <a:endParaRPr lang="en-US"/>
          </a:p>
        </p:txBody>
      </p:sp>
      <p:sp>
        <p:nvSpPr>
          <p:cNvPr id="2" name="TextBox 1">
            <a:extLst>
              <a:ext uri="{FF2B5EF4-FFF2-40B4-BE49-F238E27FC236}">
                <a16:creationId xmlns:a16="http://schemas.microsoft.com/office/drawing/2014/main" id="{622CB337-B51E-9056-D3FE-29819ED0863E}"/>
              </a:ext>
            </a:extLst>
          </p:cNvPr>
          <p:cNvSpPr txBox="1"/>
          <p:nvPr/>
        </p:nvSpPr>
        <p:spPr>
          <a:xfrm>
            <a:off x="0" y="6649006"/>
            <a:ext cx="2794000" cy="21113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ea typeface="+mn-ea"/>
                <a:cs typeface="+mn-cs"/>
              </a:rPr>
              <a:t>Source: Orennia</a:t>
            </a:r>
          </a:p>
        </p:txBody>
      </p:sp>
      <p:graphicFrame>
        <p:nvGraphicFramePr>
          <p:cNvPr id="5" name="Chart 4">
            <a:extLst>
              <a:ext uri="{FF2B5EF4-FFF2-40B4-BE49-F238E27FC236}">
                <a16:creationId xmlns:a16="http://schemas.microsoft.com/office/drawing/2014/main" id="{B7455340-16CA-BC83-746B-952C734C5D75}"/>
              </a:ext>
            </a:extLst>
          </p:cNvPr>
          <p:cNvGraphicFramePr>
            <a:graphicFrameLocks/>
          </p:cNvGraphicFramePr>
          <p:nvPr/>
        </p:nvGraphicFramePr>
        <p:xfrm>
          <a:off x="156000" y="811237"/>
          <a:ext cx="5940000" cy="583776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Chart 5">
            <a:extLst>
              <a:ext uri="{FF2B5EF4-FFF2-40B4-BE49-F238E27FC236}">
                <a16:creationId xmlns:a16="http://schemas.microsoft.com/office/drawing/2014/main" id="{355B0B79-BE8E-B683-EAFE-3D4CC9D8B53A}"/>
              </a:ext>
            </a:extLst>
          </p:cNvPr>
          <p:cNvGraphicFramePr>
            <a:graphicFrameLocks/>
          </p:cNvGraphicFramePr>
          <p:nvPr/>
        </p:nvGraphicFramePr>
        <p:xfrm>
          <a:off x="6095999" y="811237"/>
          <a:ext cx="5370513" cy="585785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69449923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86295266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showMasterSp="0">
  <p:cSld>
    <p:bg>
      <p:bgPr>
        <a:solidFill>
          <a:srgbClr val="FFFFFF"/>
        </a:solidFill>
        <a:effectLst/>
      </p:bgPr>
    </p:bg>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6F30EBFC-AD29-44FB-CDA2-44C61003A932}"/>
              </a:ext>
            </a:extLst>
          </p:cNvPr>
          <p:cNvSpPr/>
          <p:nvPr>
            <p:custDataLst>
              <p:tags r:id="rId2"/>
            </p:custDataLst>
          </p:nvPr>
        </p:nvSpPr>
        <p:spPr>
          <a:xfrm>
            <a:off x="6286500" y="430530"/>
            <a:ext cx="5524500" cy="891540"/>
          </a:xfrm>
          <a:prstGeom prst="roundRect">
            <a:avLst/>
          </a:prstGeom>
          <a:solidFill>
            <a:srgbClr val="F4F4F4"/>
          </a:solidFill>
          <a:ln w="19050" cap="flat" cmpd="sng" algn="ctr">
            <a:noFill/>
            <a:prstDash val="solid"/>
            <a:miter lim="800000"/>
          </a:ln>
          <a:effectLst/>
          <a:extLs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lIns="317500" rIns="1143000" rtlCol="0" anchor="ctr">
            <a:normAutofit/>
          </a:bodyPr>
          <a:lstStyle/>
          <a:p>
            <a:r>
              <a:rPr lang="en-US" sz="2000">
                <a:solidFill>
                  <a:srgbClr val="5B5B5B"/>
                </a:solidFill>
              </a:rPr>
              <a:t>Please download and install the Slido app on all computers you use</a:t>
            </a:r>
            <a:endParaRPr lang="en-GB" sz="2000">
              <a:solidFill>
                <a:srgbClr val="5B5B5B"/>
              </a:solidFill>
            </a:endParaRPr>
          </a:p>
        </p:txBody>
      </p:sp>
      <p:pic>
        <p:nvPicPr>
          <p:cNvPr id="4" name="Graphic 3">
            <a:extLst>
              <a:ext uri="{FF2B5EF4-FFF2-40B4-BE49-F238E27FC236}">
                <a16:creationId xmlns:a16="http://schemas.microsoft.com/office/drawing/2014/main" id="{DF43850C-1CF2-C866-AAFB-2368DB856895}"/>
              </a:ext>
            </a:extLst>
          </p:cNvPr>
          <p:cNvPicPr>
            <a:picLocks/>
          </p:cNvPicPr>
          <p:nvPr>
            <p:custDataLst>
              <p:tags r:id="rId3"/>
            </p:custDataLst>
          </p:nvPr>
        </p:nvPicPr>
        <p:blipFill>
          <a:blip r:embed="rId9">
            <a:extLst>
              <a:ext uri="{96DAC541-7B7A-43D3-8B79-37D633B846F1}">
                <asvg:svgBlip xmlns:asvg="http://schemas.microsoft.com/office/drawing/2016/SVG/main" r:embed="rId10"/>
              </a:ext>
            </a:extLst>
          </a:blip>
          <a:stretch>
            <a:fillRect/>
          </a:stretch>
        </p:blipFill>
        <p:spPr>
          <a:xfrm>
            <a:off x="10826048" y="577634"/>
            <a:ext cx="597332" cy="597332"/>
          </a:xfrm>
          <a:prstGeom prst="rect">
            <a:avLst/>
          </a:prstGeom>
        </p:spPr>
      </p:pic>
      <p:pic>
        <p:nvPicPr>
          <p:cNvPr id="6" name="Graphic 5">
            <a:extLst>
              <a:ext uri="{FF2B5EF4-FFF2-40B4-BE49-F238E27FC236}">
                <a16:creationId xmlns:a16="http://schemas.microsoft.com/office/drawing/2014/main" id="{27CC4F3F-74BF-82E8-9B2C-EC58806B9D3C}"/>
              </a:ext>
            </a:extLst>
          </p:cNvPr>
          <p:cNvPicPr>
            <a:picLocks/>
          </p:cNvPicPr>
          <p:nvPr>
            <p:custDataLst>
              <p:tags r:id="rId4"/>
            </p:custDataLst>
          </p:nvPr>
        </p:nvPicPr>
        <p:blipFill>
          <a:blip r:embed="rId11">
            <a:extLst>
              <a:ext uri="{96DAC541-7B7A-43D3-8B79-37D633B846F1}">
                <asvg:svgBlip xmlns:asvg="http://schemas.microsoft.com/office/drawing/2016/SVG/main" r:embed="rId12"/>
              </a:ext>
            </a:extLst>
          </a:blip>
          <a:stretch>
            <a:fillRect/>
          </a:stretch>
        </p:blipFill>
        <p:spPr>
          <a:xfrm>
            <a:off x="3901440" y="617220"/>
            <a:ext cx="1036320" cy="518160"/>
          </a:xfrm>
          <a:prstGeom prst="rect">
            <a:avLst/>
          </a:prstGeom>
        </p:spPr>
      </p:pic>
      <p:pic>
        <p:nvPicPr>
          <p:cNvPr id="8" name="Graphic 7">
            <a:extLst>
              <a:ext uri="{FF2B5EF4-FFF2-40B4-BE49-F238E27FC236}">
                <a16:creationId xmlns:a16="http://schemas.microsoft.com/office/drawing/2014/main" id="{1413FA94-6866-3FF8-A75D-AA9E6D0EAA4E}"/>
              </a:ext>
            </a:extLst>
          </p:cNvPr>
          <p:cNvPicPr>
            <a:picLocks/>
          </p:cNvPicPr>
          <p:nvPr>
            <p:custDataLst>
              <p:tags r:id="rId5"/>
            </p:custDataLst>
          </p:nvPr>
        </p:nvPicPr>
        <p:blipFill>
          <a:blip r:embed="rId13">
            <a:extLst>
              <a:ext uri="{96DAC541-7B7A-43D3-8B79-37D633B846F1}">
                <asvg:svgBlip xmlns:asvg="http://schemas.microsoft.com/office/drawing/2016/SVG/main" r:embed="rId14"/>
              </a:ext>
            </a:extLst>
          </a:blip>
          <a:stretch>
            <a:fillRect/>
          </a:stretch>
        </p:blipFill>
        <p:spPr>
          <a:xfrm>
            <a:off x="1158240" y="2270760"/>
            <a:ext cx="2316480" cy="2316480"/>
          </a:xfrm>
          <a:prstGeom prst="rect">
            <a:avLst/>
          </a:prstGeom>
        </p:spPr>
      </p:pic>
      <p:sp>
        <p:nvSpPr>
          <p:cNvPr id="9" name="Rectangle 8">
            <a:extLst>
              <a:ext uri="{FF2B5EF4-FFF2-40B4-BE49-F238E27FC236}">
                <a16:creationId xmlns:a16="http://schemas.microsoft.com/office/drawing/2014/main" id="{B3B31F56-729F-D9AE-5F96-6A59C6B42D88}"/>
              </a:ext>
            </a:extLst>
          </p:cNvPr>
          <p:cNvSpPr/>
          <p:nvPr>
            <p:custDataLst>
              <p:tags r:id="rId6"/>
            </p:custDataLst>
          </p:nvPr>
        </p:nvSpPr>
        <p:spPr>
          <a:xfrm>
            <a:off x="3901440" y="2571750"/>
            <a:ext cx="7315199" cy="1714500"/>
          </a:xfrm>
          <a:prstGeom prst="rect">
            <a:avLst/>
          </a:prstGeom>
          <a:noFill/>
          <a:ln w="19050" cap="flat" cmpd="sng" algn="ctr">
            <a:solidFill>
              <a:srgbClr val="FFFFFF"/>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4000" b="1">
                <a:solidFill>
                  <a:srgbClr val="5B5B5B"/>
                </a:solidFill>
              </a:rPr>
              <a:t>Audience Q&amp;A</a:t>
            </a:r>
          </a:p>
        </p:txBody>
      </p:sp>
      <p:sp>
        <p:nvSpPr>
          <p:cNvPr id="10" name="Rectangle 9">
            <a:extLst>
              <a:ext uri="{FF2B5EF4-FFF2-40B4-BE49-F238E27FC236}">
                <a16:creationId xmlns:a16="http://schemas.microsoft.com/office/drawing/2014/main" id="{1504B280-B353-68A8-FD1F-0ECBBD6D23FD}"/>
              </a:ext>
            </a:extLst>
          </p:cNvPr>
          <p:cNvSpPr/>
          <p:nvPr>
            <p:custDataLst>
              <p:tags r:id="rId7"/>
            </p:custDataLst>
          </p:nvPr>
        </p:nvSpPr>
        <p:spPr>
          <a:xfrm>
            <a:off x="3901440" y="6032500"/>
            <a:ext cx="7315199" cy="518160"/>
          </a:xfrm>
          <a:prstGeom prst="rect">
            <a:avLst/>
          </a:prstGeom>
          <a:noFill/>
          <a:ln w="1905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normAutofit fontScale="92500"/>
          </a:bodyPr>
          <a:lstStyle/>
          <a:p>
            <a:r>
              <a:rPr lang="en-US" sz="2200" b="1">
                <a:solidFill>
                  <a:srgbClr val="5B5B5B"/>
                </a:solidFill>
              </a:rPr>
              <a:t>ⓘ</a:t>
            </a:r>
            <a:r>
              <a:rPr lang="en-US" sz="2000">
                <a:solidFill>
                  <a:srgbClr val="5B5B5B"/>
                </a:solidFill>
              </a:rPr>
              <a:t> Start presenting to display the audience questions on this slide.</a:t>
            </a:r>
            <a:endParaRPr lang="en-GB" sz="2000">
              <a:solidFill>
                <a:srgbClr val="5B5B5B"/>
              </a:solidFill>
            </a:endParaRPr>
          </a:p>
        </p:txBody>
      </p:sp>
    </p:spTree>
    <p:custDataLst>
      <p:tags r:id="rId1"/>
    </p:custDataLst>
    <p:extLst>
      <p:ext uri="{BB962C8B-B14F-4D97-AF65-F5344CB8AC3E}">
        <p14:creationId xmlns:p14="http://schemas.microsoft.com/office/powerpoint/2010/main" val="420070764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screenshot of a computer&#10;&#10;Description automatically generated">
            <a:extLst>
              <a:ext uri="{FF2B5EF4-FFF2-40B4-BE49-F238E27FC236}">
                <a16:creationId xmlns:a16="http://schemas.microsoft.com/office/drawing/2014/main" id="{4329667C-6019-9552-84CE-406CE5AB13B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90854834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group of men in suits&#10;&#10;Description automatically generated">
            <a:extLst>
              <a:ext uri="{FF2B5EF4-FFF2-40B4-BE49-F238E27FC236}">
                <a16:creationId xmlns:a16="http://schemas.microsoft.com/office/drawing/2014/main" id="{25F1BECD-A70E-D346-D8FF-C546FD19AEE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72495870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showMasterSp="0">
  <p:cSld>
    <p:bg>
      <p:bgPr>
        <a:solidFill>
          <a:srgbClr val="FFFFFF"/>
        </a:solidFill>
        <a:effectLst/>
      </p:bgPr>
    </p:bg>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71136C54-61AA-B95F-5BE6-28B8B2FA0722}"/>
              </a:ext>
            </a:extLst>
          </p:cNvPr>
          <p:cNvSpPr/>
          <p:nvPr>
            <p:custDataLst>
              <p:tags r:id="rId2"/>
            </p:custDataLst>
          </p:nvPr>
        </p:nvSpPr>
        <p:spPr>
          <a:xfrm>
            <a:off x="6286500" y="430530"/>
            <a:ext cx="5524500" cy="891540"/>
          </a:xfrm>
          <a:prstGeom prst="roundRect">
            <a:avLst/>
          </a:prstGeom>
          <a:solidFill>
            <a:srgbClr val="F4F4F4"/>
          </a:solidFill>
          <a:ln w="19050" cap="flat" cmpd="sng" algn="ctr">
            <a:noFill/>
            <a:prstDash val="solid"/>
            <a:miter lim="800000"/>
          </a:ln>
          <a:effectLst/>
          <a:extLs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lIns="317500" rIns="1143000" rtlCol="0" anchor="ctr">
            <a:normAutofit/>
          </a:bodyPr>
          <a:lstStyle/>
          <a:p>
            <a:r>
              <a:rPr lang="en-US" sz="2000">
                <a:solidFill>
                  <a:srgbClr val="5B5B5B"/>
                </a:solidFill>
              </a:rPr>
              <a:t>Please download and install the Slido app on all computers you use</a:t>
            </a:r>
            <a:endParaRPr lang="en-GB" sz="2000">
              <a:solidFill>
                <a:srgbClr val="5B5B5B"/>
              </a:solidFill>
            </a:endParaRPr>
          </a:p>
        </p:txBody>
      </p:sp>
      <p:pic>
        <p:nvPicPr>
          <p:cNvPr id="4" name="Graphic 3">
            <a:extLst>
              <a:ext uri="{FF2B5EF4-FFF2-40B4-BE49-F238E27FC236}">
                <a16:creationId xmlns:a16="http://schemas.microsoft.com/office/drawing/2014/main" id="{5DAAA9A6-2F5F-00E7-5CCE-27FE71307C08}"/>
              </a:ext>
            </a:extLst>
          </p:cNvPr>
          <p:cNvPicPr>
            <a:picLocks/>
          </p:cNvPicPr>
          <p:nvPr>
            <p:custDataLst>
              <p:tags r:id="rId3"/>
            </p:custDataLst>
          </p:nvPr>
        </p:nvPicPr>
        <p:blipFill>
          <a:blip r:embed="rId9">
            <a:extLst>
              <a:ext uri="{96DAC541-7B7A-43D3-8B79-37D633B846F1}">
                <asvg:svgBlip xmlns:asvg="http://schemas.microsoft.com/office/drawing/2016/SVG/main" r:embed="rId10"/>
              </a:ext>
            </a:extLst>
          </a:blip>
          <a:stretch>
            <a:fillRect/>
          </a:stretch>
        </p:blipFill>
        <p:spPr>
          <a:xfrm>
            <a:off x="10826048" y="577634"/>
            <a:ext cx="597332" cy="597332"/>
          </a:xfrm>
          <a:prstGeom prst="rect">
            <a:avLst/>
          </a:prstGeom>
        </p:spPr>
      </p:pic>
      <p:pic>
        <p:nvPicPr>
          <p:cNvPr id="6" name="Graphic 5">
            <a:extLst>
              <a:ext uri="{FF2B5EF4-FFF2-40B4-BE49-F238E27FC236}">
                <a16:creationId xmlns:a16="http://schemas.microsoft.com/office/drawing/2014/main" id="{099B111F-E19E-BF7A-711E-1D692FFBDDF3}"/>
              </a:ext>
            </a:extLst>
          </p:cNvPr>
          <p:cNvPicPr>
            <a:picLocks/>
          </p:cNvPicPr>
          <p:nvPr>
            <p:custDataLst>
              <p:tags r:id="rId4"/>
            </p:custDataLst>
          </p:nvPr>
        </p:nvPicPr>
        <p:blipFill>
          <a:blip r:embed="rId11">
            <a:extLst>
              <a:ext uri="{96DAC541-7B7A-43D3-8B79-37D633B846F1}">
                <asvg:svgBlip xmlns:asvg="http://schemas.microsoft.com/office/drawing/2016/SVG/main" r:embed="rId12"/>
              </a:ext>
            </a:extLst>
          </a:blip>
          <a:stretch>
            <a:fillRect/>
          </a:stretch>
        </p:blipFill>
        <p:spPr>
          <a:xfrm>
            <a:off x="3901440" y="617220"/>
            <a:ext cx="1036320" cy="518160"/>
          </a:xfrm>
          <a:prstGeom prst="rect">
            <a:avLst/>
          </a:prstGeom>
        </p:spPr>
      </p:pic>
      <p:pic>
        <p:nvPicPr>
          <p:cNvPr id="8" name="Graphic 7">
            <a:extLst>
              <a:ext uri="{FF2B5EF4-FFF2-40B4-BE49-F238E27FC236}">
                <a16:creationId xmlns:a16="http://schemas.microsoft.com/office/drawing/2014/main" id="{D89412C1-1739-E961-8E6F-023A30A1B020}"/>
              </a:ext>
            </a:extLst>
          </p:cNvPr>
          <p:cNvPicPr>
            <a:picLocks/>
          </p:cNvPicPr>
          <p:nvPr>
            <p:custDataLst>
              <p:tags r:id="rId5"/>
            </p:custDataLst>
          </p:nvPr>
        </p:nvPicPr>
        <p:blipFill>
          <a:blip r:embed="rId13">
            <a:extLst>
              <a:ext uri="{96DAC541-7B7A-43D3-8B79-37D633B846F1}">
                <asvg:svgBlip xmlns:asvg="http://schemas.microsoft.com/office/drawing/2016/SVG/main" r:embed="rId14"/>
              </a:ext>
            </a:extLst>
          </a:blip>
          <a:stretch>
            <a:fillRect/>
          </a:stretch>
        </p:blipFill>
        <p:spPr>
          <a:xfrm>
            <a:off x="1158240" y="2270760"/>
            <a:ext cx="2316480" cy="2316480"/>
          </a:xfrm>
          <a:prstGeom prst="rect">
            <a:avLst/>
          </a:prstGeom>
        </p:spPr>
      </p:pic>
      <p:sp>
        <p:nvSpPr>
          <p:cNvPr id="9" name="Rectangle 8">
            <a:extLst>
              <a:ext uri="{FF2B5EF4-FFF2-40B4-BE49-F238E27FC236}">
                <a16:creationId xmlns:a16="http://schemas.microsoft.com/office/drawing/2014/main" id="{0E23354F-60D8-E10B-CE2E-2BFF0C445714}"/>
              </a:ext>
            </a:extLst>
          </p:cNvPr>
          <p:cNvSpPr/>
          <p:nvPr>
            <p:custDataLst>
              <p:tags r:id="rId6"/>
            </p:custDataLst>
          </p:nvPr>
        </p:nvSpPr>
        <p:spPr>
          <a:xfrm>
            <a:off x="3901440" y="2571750"/>
            <a:ext cx="7315199" cy="1714500"/>
          </a:xfrm>
          <a:prstGeom prst="rect">
            <a:avLst/>
          </a:prstGeom>
          <a:noFill/>
          <a:ln w="19050" cap="flat" cmpd="sng" algn="ctr">
            <a:solidFill>
              <a:srgbClr val="FFFFFF"/>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4000" b="1">
                <a:solidFill>
                  <a:srgbClr val="5B5B5B"/>
                </a:solidFill>
              </a:rPr>
              <a:t>Audience Q&amp;A</a:t>
            </a:r>
          </a:p>
        </p:txBody>
      </p:sp>
      <p:sp>
        <p:nvSpPr>
          <p:cNvPr id="10" name="Rectangle 9">
            <a:extLst>
              <a:ext uri="{FF2B5EF4-FFF2-40B4-BE49-F238E27FC236}">
                <a16:creationId xmlns:a16="http://schemas.microsoft.com/office/drawing/2014/main" id="{A916FD6F-4B5B-802C-F51A-98EDBE27D6FF}"/>
              </a:ext>
            </a:extLst>
          </p:cNvPr>
          <p:cNvSpPr/>
          <p:nvPr>
            <p:custDataLst>
              <p:tags r:id="rId7"/>
            </p:custDataLst>
          </p:nvPr>
        </p:nvSpPr>
        <p:spPr>
          <a:xfrm>
            <a:off x="3901440" y="6032500"/>
            <a:ext cx="7315199" cy="518160"/>
          </a:xfrm>
          <a:prstGeom prst="rect">
            <a:avLst/>
          </a:prstGeom>
          <a:noFill/>
          <a:ln w="1905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normAutofit fontScale="92500"/>
          </a:bodyPr>
          <a:lstStyle/>
          <a:p>
            <a:r>
              <a:rPr lang="en-US" sz="2200" b="1">
                <a:solidFill>
                  <a:srgbClr val="5B5B5B"/>
                </a:solidFill>
              </a:rPr>
              <a:t>ⓘ</a:t>
            </a:r>
            <a:r>
              <a:rPr lang="en-US" sz="2000">
                <a:solidFill>
                  <a:srgbClr val="5B5B5B"/>
                </a:solidFill>
              </a:rPr>
              <a:t> Start presenting to display the audience questions on this slide.</a:t>
            </a:r>
            <a:endParaRPr lang="en-GB" sz="2000">
              <a:solidFill>
                <a:srgbClr val="5B5B5B"/>
              </a:solidFill>
            </a:endParaRPr>
          </a:p>
        </p:txBody>
      </p:sp>
    </p:spTree>
    <p:custDataLst>
      <p:tags r:id="rId1"/>
    </p:custDataLst>
    <p:extLst>
      <p:ext uri="{BB962C8B-B14F-4D97-AF65-F5344CB8AC3E}">
        <p14:creationId xmlns:p14="http://schemas.microsoft.com/office/powerpoint/2010/main" val="212891003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group of people in a meeting&#10;&#10;Description automatically generated">
            <a:extLst>
              <a:ext uri="{FF2B5EF4-FFF2-40B4-BE49-F238E27FC236}">
                <a16:creationId xmlns:a16="http://schemas.microsoft.com/office/drawing/2014/main" id="{CBCFCE22-E521-37B1-4E6F-F5033275AA8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51292391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group of men smiling&#10;&#10;Description automatically generated">
            <a:extLst>
              <a:ext uri="{FF2B5EF4-FFF2-40B4-BE49-F238E27FC236}">
                <a16:creationId xmlns:a16="http://schemas.microsoft.com/office/drawing/2014/main" id="{2871ECB6-6CE9-8A97-86A9-8467F108961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421038364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showMasterSp="0">
  <p:cSld>
    <p:bg>
      <p:bgPr>
        <a:solidFill>
          <a:srgbClr val="FFFFFF"/>
        </a:solidFill>
        <a:effectLst/>
      </p:bgPr>
    </p:bg>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1D26FFBB-0A9C-63F1-F970-789B0D00CBE7}"/>
              </a:ext>
            </a:extLst>
          </p:cNvPr>
          <p:cNvSpPr/>
          <p:nvPr>
            <p:custDataLst>
              <p:tags r:id="rId2"/>
            </p:custDataLst>
          </p:nvPr>
        </p:nvSpPr>
        <p:spPr>
          <a:xfrm>
            <a:off x="6286500" y="430530"/>
            <a:ext cx="5524500" cy="891540"/>
          </a:xfrm>
          <a:prstGeom prst="roundRect">
            <a:avLst/>
          </a:prstGeom>
          <a:solidFill>
            <a:srgbClr val="F4F4F4"/>
          </a:solidFill>
          <a:ln w="19050" cap="flat" cmpd="sng" algn="ctr">
            <a:noFill/>
            <a:prstDash val="solid"/>
            <a:miter lim="800000"/>
          </a:ln>
          <a:effectLst/>
          <a:extLs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lIns="317500" rIns="1143000" rtlCol="0" anchor="ctr">
            <a:normAutofit/>
          </a:bodyPr>
          <a:lstStyle/>
          <a:p>
            <a:r>
              <a:rPr lang="en-US" sz="2000">
                <a:solidFill>
                  <a:srgbClr val="5B5B5B"/>
                </a:solidFill>
              </a:rPr>
              <a:t>Please download and install the Slido app on all computers you use</a:t>
            </a:r>
            <a:endParaRPr lang="en-GB" sz="2000">
              <a:solidFill>
                <a:srgbClr val="5B5B5B"/>
              </a:solidFill>
            </a:endParaRPr>
          </a:p>
        </p:txBody>
      </p:sp>
      <p:pic>
        <p:nvPicPr>
          <p:cNvPr id="4" name="Graphic 3">
            <a:extLst>
              <a:ext uri="{FF2B5EF4-FFF2-40B4-BE49-F238E27FC236}">
                <a16:creationId xmlns:a16="http://schemas.microsoft.com/office/drawing/2014/main" id="{321B0ED3-0E13-30F5-63AC-4C5C64AB7D49}"/>
              </a:ext>
            </a:extLst>
          </p:cNvPr>
          <p:cNvPicPr>
            <a:picLocks/>
          </p:cNvPicPr>
          <p:nvPr>
            <p:custDataLst>
              <p:tags r:id="rId3"/>
            </p:custDataLst>
          </p:nvPr>
        </p:nvPicPr>
        <p:blipFill>
          <a:blip r:embed="rId9">
            <a:extLst>
              <a:ext uri="{96DAC541-7B7A-43D3-8B79-37D633B846F1}">
                <asvg:svgBlip xmlns:asvg="http://schemas.microsoft.com/office/drawing/2016/SVG/main" r:embed="rId10"/>
              </a:ext>
            </a:extLst>
          </a:blip>
          <a:stretch>
            <a:fillRect/>
          </a:stretch>
        </p:blipFill>
        <p:spPr>
          <a:xfrm>
            <a:off x="10826048" y="577634"/>
            <a:ext cx="597332" cy="597332"/>
          </a:xfrm>
          <a:prstGeom prst="rect">
            <a:avLst/>
          </a:prstGeom>
        </p:spPr>
      </p:pic>
      <p:pic>
        <p:nvPicPr>
          <p:cNvPr id="6" name="Graphic 5">
            <a:extLst>
              <a:ext uri="{FF2B5EF4-FFF2-40B4-BE49-F238E27FC236}">
                <a16:creationId xmlns:a16="http://schemas.microsoft.com/office/drawing/2014/main" id="{8C110494-2A9D-DEFF-8EE7-EFDD0DCE37C3}"/>
              </a:ext>
            </a:extLst>
          </p:cNvPr>
          <p:cNvPicPr>
            <a:picLocks/>
          </p:cNvPicPr>
          <p:nvPr>
            <p:custDataLst>
              <p:tags r:id="rId4"/>
            </p:custDataLst>
          </p:nvPr>
        </p:nvPicPr>
        <p:blipFill>
          <a:blip r:embed="rId11">
            <a:extLst>
              <a:ext uri="{96DAC541-7B7A-43D3-8B79-37D633B846F1}">
                <asvg:svgBlip xmlns:asvg="http://schemas.microsoft.com/office/drawing/2016/SVG/main" r:embed="rId12"/>
              </a:ext>
            </a:extLst>
          </a:blip>
          <a:stretch>
            <a:fillRect/>
          </a:stretch>
        </p:blipFill>
        <p:spPr>
          <a:xfrm>
            <a:off x="3901440" y="617220"/>
            <a:ext cx="1036320" cy="518160"/>
          </a:xfrm>
          <a:prstGeom prst="rect">
            <a:avLst/>
          </a:prstGeom>
        </p:spPr>
      </p:pic>
      <p:pic>
        <p:nvPicPr>
          <p:cNvPr id="8" name="Graphic 7">
            <a:extLst>
              <a:ext uri="{FF2B5EF4-FFF2-40B4-BE49-F238E27FC236}">
                <a16:creationId xmlns:a16="http://schemas.microsoft.com/office/drawing/2014/main" id="{9FC47EF2-C474-3749-3BAB-D088B09ADC22}"/>
              </a:ext>
            </a:extLst>
          </p:cNvPr>
          <p:cNvPicPr>
            <a:picLocks/>
          </p:cNvPicPr>
          <p:nvPr>
            <p:custDataLst>
              <p:tags r:id="rId5"/>
            </p:custDataLst>
          </p:nvPr>
        </p:nvPicPr>
        <p:blipFill>
          <a:blip r:embed="rId13">
            <a:extLst>
              <a:ext uri="{96DAC541-7B7A-43D3-8B79-37D633B846F1}">
                <asvg:svgBlip xmlns:asvg="http://schemas.microsoft.com/office/drawing/2016/SVG/main" r:embed="rId14"/>
              </a:ext>
            </a:extLst>
          </a:blip>
          <a:stretch>
            <a:fillRect/>
          </a:stretch>
        </p:blipFill>
        <p:spPr>
          <a:xfrm>
            <a:off x="1158240" y="2270760"/>
            <a:ext cx="2316480" cy="2316480"/>
          </a:xfrm>
          <a:prstGeom prst="rect">
            <a:avLst/>
          </a:prstGeom>
        </p:spPr>
      </p:pic>
      <p:sp>
        <p:nvSpPr>
          <p:cNvPr id="9" name="Rectangle 8">
            <a:extLst>
              <a:ext uri="{FF2B5EF4-FFF2-40B4-BE49-F238E27FC236}">
                <a16:creationId xmlns:a16="http://schemas.microsoft.com/office/drawing/2014/main" id="{253CAAC3-B72C-6161-031B-3E60FEB5C008}"/>
              </a:ext>
            </a:extLst>
          </p:cNvPr>
          <p:cNvSpPr/>
          <p:nvPr>
            <p:custDataLst>
              <p:tags r:id="rId6"/>
            </p:custDataLst>
          </p:nvPr>
        </p:nvSpPr>
        <p:spPr>
          <a:xfrm>
            <a:off x="3901440" y="2571750"/>
            <a:ext cx="7315199" cy="1714500"/>
          </a:xfrm>
          <a:prstGeom prst="rect">
            <a:avLst/>
          </a:prstGeom>
          <a:noFill/>
          <a:ln w="19050" cap="flat" cmpd="sng" algn="ctr">
            <a:solidFill>
              <a:srgbClr val="FFFFFF"/>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4000" b="1">
                <a:solidFill>
                  <a:srgbClr val="5B5B5B"/>
                </a:solidFill>
              </a:rPr>
              <a:t>Audience Q&amp;A</a:t>
            </a:r>
          </a:p>
        </p:txBody>
      </p:sp>
      <p:sp>
        <p:nvSpPr>
          <p:cNvPr id="10" name="Rectangle 9">
            <a:extLst>
              <a:ext uri="{FF2B5EF4-FFF2-40B4-BE49-F238E27FC236}">
                <a16:creationId xmlns:a16="http://schemas.microsoft.com/office/drawing/2014/main" id="{4CC47F03-010A-E486-1B67-7129CFD75B50}"/>
              </a:ext>
            </a:extLst>
          </p:cNvPr>
          <p:cNvSpPr/>
          <p:nvPr>
            <p:custDataLst>
              <p:tags r:id="rId7"/>
            </p:custDataLst>
          </p:nvPr>
        </p:nvSpPr>
        <p:spPr>
          <a:xfrm>
            <a:off x="3901440" y="6032500"/>
            <a:ext cx="7315199" cy="518160"/>
          </a:xfrm>
          <a:prstGeom prst="rect">
            <a:avLst/>
          </a:prstGeom>
          <a:noFill/>
          <a:ln w="1905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normAutofit fontScale="92500"/>
          </a:bodyPr>
          <a:lstStyle/>
          <a:p>
            <a:r>
              <a:rPr lang="en-US" sz="2200" b="1">
                <a:solidFill>
                  <a:srgbClr val="5B5B5B"/>
                </a:solidFill>
              </a:rPr>
              <a:t>ⓘ</a:t>
            </a:r>
            <a:r>
              <a:rPr lang="en-US" sz="2000">
                <a:solidFill>
                  <a:srgbClr val="5B5B5B"/>
                </a:solidFill>
              </a:rPr>
              <a:t> Start presenting to display the audience questions on this slide.</a:t>
            </a:r>
            <a:endParaRPr lang="en-GB" sz="2000">
              <a:solidFill>
                <a:srgbClr val="5B5B5B"/>
              </a:solidFill>
            </a:endParaRPr>
          </a:p>
        </p:txBody>
      </p:sp>
    </p:spTree>
    <p:custDataLst>
      <p:tags r:id="rId1"/>
    </p:custDataLst>
    <p:extLst>
      <p:ext uri="{BB962C8B-B14F-4D97-AF65-F5344CB8AC3E}">
        <p14:creationId xmlns:p14="http://schemas.microsoft.com/office/powerpoint/2010/main" val="293895815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erson with a blue and white background&#10;&#10;Description automatically generated">
            <a:extLst>
              <a:ext uri="{FF2B5EF4-FFF2-40B4-BE49-F238E27FC236}">
                <a16:creationId xmlns:a16="http://schemas.microsoft.com/office/drawing/2014/main" id="{897A7B9A-84C9-527D-DE9C-662FAB1235C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368794251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Bildplatzhalter 8">
            <a:extLst>
              <a:ext uri="{FF2B5EF4-FFF2-40B4-BE49-F238E27FC236}">
                <a16:creationId xmlns:a16="http://schemas.microsoft.com/office/drawing/2014/main" id="{2F3500D3-ABB0-4D64-93AD-2F1CD4DAF0CE}"/>
              </a:ext>
            </a:extLst>
          </p:cNvPr>
          <p:cNvSpPr>
            <a:spLocks noGrp="1"/>
          </p:cNvSpPr>
          <p:nvPr/>
        </p:nvSpPr>
        <p:spPr bwMode="gray">
          <a:xfrm>
            <a:off x="2205" y="0"/>
            <a:ext cx="12187592" cy="5660794"/>
          </a:xfrm>
          <a:prstGeom prst="rect">
            <a:avLst/>
          </a:prstGeom>
        </p:spPr>
        <p:txBody>
          <a:bodyPr/>
          <a:lstStyle/>
          <a:p>
            <a:pPr defTabSz="1218926"/>
            <a:endParaRPr lang="en-US" sz="2400">
              <a:solidFill>
                <a:prstClr val="black"/>
              </a:solidFill>
              <a:latin typeface="Arial"/>
            </a:endParaRPr>
          </a:p>
        </p:txBody>
      </p:sp>
      <p:sp>
        <p:nvSpPr>
          <p:cNvPr id="4" name="Bildplatzhalter 3">
            <a:extLst>
              <a:ext uri="{FF2B5EF4-FFF2-40B4-BE49-F238E27FC236}">
                <a16:creationId xmlns:a16="http://schemas.microsoft.com/office/drawing/2014/main" id="{92EA5BF6-AD87-50DF-E0C1-3A05BD65D55E}"/>
              </a:ext>
            </a:extLst>
          </p:cNvPr>
          <p:cNvSpPr>
            <a:spLocks noGrp="1"/>
          </p:cNvSpPr>
          <p:nvPr/>
        </p:nvSpPr>
        <p:spPr>
          <a:xfrm>
            <a:off x="2205" y="0"/>
            <a:ext cx="12187592" cy="5660794"/>
          </a:xfrm>
          <a:prstGeom prst="rect">
            <a:avLst/>
          </a:prstGeom>
        </p:spPr>
        <p:txBody>
          <a:bodyPr/>
          <a:lstStyle/>
          <a:p>
            <a:pPr defTabSz="1218926"/>
            <a:endParaRPr lang="en-US" sz="2400">
              <a:solidFill>
                <a:prstClr val="black"/>
              </a:solidFill>
              <a:latin typeface="Arial"/>
            </a:endParaRPr>
          </a:p>
        </p:txBody>
      </p:sp>
      <p:sp>
        <p:nvSpPr>
          <p:cNvPr id="7" name="Bildplatzhalter 6">
            <a:extLst>
              <a:ext uri="{FF2B5EF4-FFF2-40B4-BE49-F238E27FC236}">
                <a16:creationId xmlns:a16="http://schemas.microsoft.com/office/drawing/2014/main" id="{0036EBEF-6091-FE7D-E0BD-CD3A5E362023}"/>
              </a:ext>
            </a:extLst>
          </p:cNvPr>
          <p:cNvSpPr>
            <a:spLocks noGrp="1"/>
          </p:cNvSpPr>
          <p:nvPr>
            <p:ph type="pic" sz="quarter" idx="16"/>
          </p:nvPr>
        </p:nvSpPr>
        <p:spPr/>
        <p:txBody>
          <a:bodyPr/>
          <a:lstStyle/>
          <a:p>
            <a:endParaRPr lang="en-US" dirty="0"/>
          </a:p>
        </p:txBody>
      </p:sp>
      <p:sp>
        <p:nvSpPr>
          <p:cNvPr id="5" name="Titel 4">
            <a:extLst>
              <a:ext uri="{FF2B5EF4-FFF2-40B4-BE49-F238E27FC236}">
                <a16:creationId xmlns:a16="http://schemas.microsoft.com/office/drawing/2014/main" id="{2E7190A6-9A46-9F2A-38DE-74CEE95C9D05}"/>
              </a:ext>
            </a:extLst>
          </p:cNvPr>
          <p:cNvSpPr>
            <a:spLocks noGrp="1"/>
          </p:cNvSpPr>
          <p:nvPr>
            <p:ph type="ctrTitle"/>
          </p:nvPr>
        </p:nvSpPr>
        <p:spPr>
          <a:xfrm>
            <a:off x="2205" y="0"/>
            <a:ext cx="6525743" cy="3392761"/>
          </a:xfrm>
        </p:spPr>
        <p:txBody>
          <a:bodyPr/>
          <a:lstStyle/>
          <a:p>
            <a:r>
              <a:rPr lang="en-US" b="1" dirty="0">
                <a:effectLst/>
                <a:latin typeface="Arial" panose="020B0604020202020204" pitchFamily="34" charset="0"/>
                <a:ea typeface="等线" panose="02010600030101010101" pitchFamily="2" charset="-122"/>
              </a:rPr>
              <a:t>Smart Investments in Solar &amp; Renewable Energy</a:t>
            </a:r>
            <a:br>
              <a:rPr lang="en-US" sz="1800" dirty="0">
                <a:latin typeface="Arial" panose="020B0604020202020204" pitchFamily="34" charset="0"/>
                <a:ea typeface="等线" panose="02010600030101010101" pitchFamily="2" charset="-122"/>
              </a:rPr>
            </a:br>
            <a:endParaRPr lang="en-GB" noProof="0" dirty="0"/>
          </a:p>
        </p:txBody>
      </p:sp>
      <p:sp>
        <p:nvSpPr>
          <p:cNvPr id="6" name="Untertitel 5">
            <a:extLst>
              <a:ext uri="{FF2B5EF4-FFF2-40B4-BE49-F238E27FC236}">
                <a16:creationId xmlns:a16="http://schemas.microsoft.com/office/drawing/2014/main" id="{6F890B0C-F6F6-DDE6-99F6-5389123F0A8C}"/>
              </a:ext>
            </a:extLst>
          </p:cNvPr>
          <p:cNvSpPr>
            <a:spLocks noGrp="1"/>
          </p:cNvSpPr>
          <p:nvPr>
            <p:ph type="subTitle" idx="1"/>
          </p:nvPr>
        </p:nvSpPr>
        <p:spPr>
          <a:xfrm>
            <a:off x="552513" y="1917182"/>
            <a:ext cx="5543487" cy="1079750"/>
          </a:xfrm>
        </p:spPr>
        <p:txBody>
          <a:bodyPr/>
          <a:lstStyle/>
          <a:p>
            <a:r>
              <a:rPr lang="en-US" sz="1800" dirty="0">
                <a:latin typeface="Arial" panose="020B0604020202020204" pitchFamily="34" charset="0"/>
                <a:ea typeface="等线" panose="02010600030101010101" pitchFamily="2" charset="-122"/>
              </a:rPr>
              <a:t>Leveraging TÜV </a:t>
            </a:r>
            <a:r>
              <a:rPr lang="en-US" sz="1800" dirty="0" err="1">
                <a:latin typeface="Arial" panose="020B0604020202020204" pitchFamily="34" charset="0"/>
                <a:ea typeface="等线" panose="02010600030101010101" pitchFamily="2" charset="-122"/>
              </a:rPr>
              <a:t>Rheinland’s</a:t>
            </a:r>
            <a:r>
              <a:rPr lang="en-US" sz="1800" dirty="0">
                <a:latin typeface="Arial" panose="020B0604020202020204" pitchFamily="34" charset="0"/>
                <a:ea typeface="等线" panose="02010600030101010101" pitchFamily="2" charset="-122"/>
              </a:rPr>
              <a:t> Expertise for Financial Security</a:t>
            </a:r>
          </a:p>
          <a:p>
            <a:endParaRPr lang="de-DE" dirty="0"/>
          </a:p>
          <a:p>
            <a:r>
              <a:rPr lang="en-US" sz="1800" dirty="0">
                <a:latin typeface="Arial" panose="020B0604020202020204" pitchFamily="34" charset="0"/>
                <a:ea typeface="等线" panose="02010600030101010101" pitchFamily="2" charset="-122"/>
              </a:rPr>
              <a:t>May Wang</a:t>
            </a:r>
          </a:p>
          <a:p>
            <a:endParaRPr lang="en-US" sz="1800" dirty="0">
              <a:latin typeface="Arial" panose="020B0604020202020204" pitchFamily="34" charset="0"/>
              <a:ea typeface="等线" panose="02010600030101010101" pitchFamily="2" charset="-122"/>
            </a:endParaRPr>
          </a:p>
          <a:p>
            <a:endParaRPr lang="de-DE" dirty="0"/>
          </a:p>
        </p:txBody>
      </p:sp>
      <p:sp>
        <p:nvSpPr>
          <p:cNvPr id="3" name="Untertitel 2">
            <a:extLst>
              <a:ext uri="{FF2B5EF4-FFF2-40B4-BE49-F238E27FC236}">
                <a16:creationId xmlns:a16="http://schemas.microsoft.com/office/drawing/2014/main" id="{BEB3B9F6-FFFC-8A3F-1DE1-114DD84D1849}"/>
              </a:ext>
            </a:extLst>
          </p:cNvPr>
          <p:cNvSpPr>
            <a:spLocks noGrp="1"/>
          </p:cNvSpPr>
          <p:nvPr/>
        </p:nvSpPr>
        <p:spPr>
          <a:xfrm>
            <a:off x="552513" y="1701160"/>
            <a:ext cx="5110817" cy="1079750"/>
          </a:xfrm>
          <a:prstGeom prst="rect">
            <a:avLst/>
          </a:prstGeom>
        </p:spPr>
        <p:txBody>
          <a:bodyPr/>
          <a:lstStyle>
            <a:lvl1pPr marL="0" indent="0" algn="l" defTabSz="1219170" rtl="0" eaLnBrk="1" latinLnBrk="0" hangingPunct="1">
              <a:lnSpc>
                <a:spcPct val="100000"/>
              </a:lnSpc>
              <a:spcBef>
                <a:spcPts val="0"/>
              </a:spcBef>
              <a:spcAft>
                <a:spcPts val="0"/>
              </a:spcAft>
              <a:buClr>
                <a:schemeClr val="tx2"/>
              </a:buClr>
              <a:buFont typeface="Wingdings" panose="05000000000000000000" pitchFamily="2" charset="2"/>
              <a:buNone/>
              <a:defRPr sz="2000" kern="1200" cap="none" baseline="0">
                <a:solidFill>
                  <a:schemeClr val="bg1"/>
                </a:solidFill>
                <a:latin typeface="+mn-lt"/>
                <a:ea typeface="+mn-ea"/>
                <a:cs typeface="+mn-cs"/>
              </a:defRPr>
            </a:lvl1pPr>
            <a:lvl2pPr marL="0" indent="0" algn="l" defTabSz="1219170" rtl="0" eaLnBrk="1" latinLnBrk="0" hangingPunct="1">
              <a:lnSpc>
                <a:spcPct val="100000"/>
              </a:lnSpc>
              <a:spcBef>
                <a:spcPts val="0"/>
              </a:spcBef>
              <a:spcAft>
                <a:spcPts val="0"/>
              </a:spcAft>
              <a:buClr>
                <a:schemeClr val="accent1"/>
              </a:buClr>
              <a:buFont typeface="Wingdings" panose="05000000000000000000" pitchFamily="2" charset="2"/>
              <a:buNone/>
              <a:defRPr sz="2000" kern="1200">
                <a:solidFill>
                  <a:schemeClr val="bg1"/>
                </a:solidFill>
                <a:latin typeface="+mn-lt"/>
                <a:ea typeface="+mn-ea"/>
                <a:cs typeface="+mn-cs"/>
              </a:defRPr>
            </a:lvl2pPr>
            <a:lvl3pPr marL="0" indent="0" algn="l" defTabSz="1219170" rtl="0" eaLnBrk="1" latinLnBrk="0" hangingPunct="1">
              <a:lnSpc>
                <a:spcPct val="100000"/>
              </a:lnSpc>
              <a:spcBef>
                <a:spcPts val="0"/>
              </a:spcBef>
              <a:spcAft>
                <a:spcPts val="0"/>
              </a:spcAft>
              <a:buClr>
                <a:schemeClr val="tx1"/>
              </a:buClr>
              <a:buFont typeface="Symbol" panose="05050102010706020507" pitchFamily="18" charset="2"/>
              <a:buNone/>
              <a:defRPr sz="2000" kern="1200">
                <a:solidFill>
                  <a:schemeClr val="bg1"/>
                </a:solidFill>
                <a:latin typeface="+mn-lt"/>
                <a:ea typeface="+mn-ea"/>
                <a:cs typeface="+mn-cs"/>
              </a:defRPr>
            </a:lvl3pPr>
            <a:lvl4pPr marL="0" indent="0" algn="l" defTabSz="1219170" rtl="0" eaLnBrk="1" latinLnBrk="0" hangingPunct="1">
              <a:lnSpc>
                <a:spcPct val="100000"/>
              </a:lnSpc>
              <a:spcBef>
                <a:spcPts val="0"/>
              </a:spcBef>
              <a:spcAft>
                <a:spcPts val="0"/>
              </a:spcAft>
              <a:buFont typeface="Symbol" panose="05050102010706020507" pitchFamily="18" charset="2"/>
              <a:buNone/>
              <a:defRPr sz="2000" kern="1200">
                <a:solidFill>
                  <a:schemeClr val="bg1"/>
                </a:solidFill>
                <a:latin typeface="+mn-lt"/>
                <a:ea typeface="+mn-ea"/>
                <a:cs typeface="+mn-cs"/>
              </a:defRPr>
            </a:lvl4pPr>
            <a:lvl5pPr marL="0" indent="0" algn="l" defTabSz="1219170" rtl="0" eaLnBrk="1" latinLnBrk="0" hangingPunct="1">
              <a:lnSpc>
                <a:spcPct val="100000"/>
              </a:lnSpc>
              <a:spcBef>
                <a:spcPts val="0"/>
              </a:spcBef>
              <a:spcAft>
                <a:spcPts val="0"/>
              </a:spcAft>
              <a:buFont typeface="Symbol" panose="05050102010706020507" pitchFamily="18" charset="2"/>
              <a:buNone/>
              <a:defRPr sz="2000" kern="1200">
                <a:solidFill>
                  <a:schemeClr val="bg1"/>
                </a:solidFill>
                <a:latin typeface="+mn-lt"/>
                <a:ea typeface="+mn-ea"/>
                <a:cs typeface="+mn-cs"/>
              </a:defRPr>
            </a:lvl5pPr>
            <a:lvl6pPr marL="0" indent="0" algn="l" defTabSz="1219170" rtl="0" eaLnBrk="1" latinLnBrk="0" hangingPunct="1">
              <a:lnSpc>
                <a:spcPct val="100000"/>
              </a:lnSpc>
              <a:spcBef>
                <a:spcPts val="0"/>
              </a:spcBef>
              <a:spcAft>
                <a:spcPts val="0"/>
              </a:spcAft>
              <a:buFont typeface="Symbol" pitchFamily="18" charset="2"/>
              <a:buNone/>
              <a:defRPr sz="2000" kern="1200">
                <a:solidFill>
                  <a:schemeClr val="bg1"/>
                </a:solidFill>
                <a:latin typeface="+mn-lt"/>
                <a:ea typeface="+mn-ea"/>
                <a:cs typeface="+mn-cs"/>
              </a:defRPr>
            </a:lvl6pPr>
            <a:lvl7pPr marL="0" indent="0" algn="l" defTabSz="1219170" rtl="0" eaLnBrk="1" latinLnBrk="0" hangingPunct="1">
              <a:lnSpc>
                <a:spcPct val="100000"/>
              </a:lnSpc>
              <a:spcBef>
                <a:spcPts val="0"/>
              </a:spcBef>
              <a:spcAft>
                <a:spcPts val="0"/>
              </a:spcAft>
              <a:buFont typeface="Symbol" pitchFamily="18" charset="2"/>
              <a:buNone/>
              <a:defRPr sz="2000" kern="1200">
                <a:solidFill>
                  <a:schemeClr val="bg1"/>
                </a:solidFill>
                <a:latin typeface="+mn-lt"/>
                <a:ea typeface="+mn-ea"/>
                <a:cs typeface="+mn-cs"/>
              </a:defRPr>
            </a:lvl7pPr>
            <a:lvl8pPr marL="0" indent="0" algn="l" defTabSz="1219170" rtl="0" eaLnBrk="1" latinLnBrk="0" hangingPunct="1">
              <a:lnSpc>
                <a:spcPct val="100000"/>
              </a:lnSpc>
              <a:spcBef>
                <a:spcPts val="0"/>
              </a:spcBef>
              <a:spcAft>
                <a:spcPts val="0"/>
              </a:spcAft>
              <a:buFont typeface="Symbol" pitchFamily="18" charset="2"/>
              <a:buNone/>
              <a:defRPr sz="2000" kern="1200" baseline="0">
                <a:solidFill>
                  <a:schemeClr val="bg1"/>
                </a:solidFill>
                <a:latin typeface="+mn-lt"/>
                <a:ea typeface="+mn-ea"/>
                <a:cs typeface="+mn-cs"/>
              </a:defRPr>
            </a:lvl8pPr>
            <a:lvl9pPr marL="0" indent="0" algn="l" defTabSz="1219170" rtl="0" eaLnBrk="1" latinLnBrk="0" hangingPunct="1">
              <a:lnSpc>
                <a:spcPct val="100000"/>
              </a:lnSpc>
              <a:spcBef>
                <a:spcPts val="0"/>
              </a:spcBef>
              <a:spcAft>
                <a:spcPts val="0"/>
              </a:spcAft>
              <a:buFont typeface="Symbol" pitchFamily="18" charset="2"/>
              <a:buNone/>
              <a:defRPr sz="2000" kern="1200" baseline="0">
                <a:solidFill>
                  <a:schemeClr val="bg1"/>
                </a:solidFill>
                <a:latin typeface="+mn-lt"/>
                <a:ea typeface="+mn-ea"/>
                <a:cs typeface="+mn-cs"/>
              </a:defRPr>
            </a:lvl9pPr>
          </a:lstStyle>
          <a:p>
            <a:pPr defTabSz="1218926">
              <a:buClr>
                <a:srgbClr val="4D4D4D"/>
              </a:buClr>
            </a:pPr>
            <a:endParaRPr lang="de-DE">
              <a:solidFill>
                <a:prstClr val="white"/>
              </a:solidFill>
              <a:latin typeface="Arial"/>
            </a:endParaRPr>
          </a:p>
        </p:txBody>
      </p:sp>
      <p:sp>
        <p:nvSpPr>
          <p:cNvPr id="8" name="Untertitel 7">
            <a:extLst>
              <a:ext uri="{FF2B5EF4-FFF2-40B4-BE49-F238E27FC236}">
                <a16:creationId xmlns:a16="http://schemas.microsoft.com/office/drawing/2014/main" id="{31798160-738C-4451-856B-84BD5D398CE0}"/>
              </a:ext>
            </a:extLst>
          </p:cNvPr>
          <p:cNvSpPr>
            <a:spLocks noGrp="1"/>
          </p:cNvSpPr>
          <p:nvPr/>
        </p:nvSpPr>
        <p:spPr bwMode="gray">
          <a:xfrm>
            <a:off x="552513" y="1701160"/>
            <a:ext cx="5110817" cy="1079750"/>
          </a:xfrm>
          <a:prstGeom prst="rect">
            <a:avLst/>
          </a:prstGeom>
        </p:spPr>
        <p:txBody>
          <a:bodyPr/>
          <a:lstStyle>
            <a:lvl1pPr marL="0" indent="0" algn="l" defTabSz="1219170" rtl="0" eaLnBrk="1" latinLnBrk="0" hangingPunct="1">
              <a:lnSpc>
                <a:spcPct val="100000"/>
              </a:lnSpc>
              <a:spcBef>
                <a:spcPts val="0"/>
              </a:spcBef>
              <a:spcAft>
                <a:spcPts val="0"/>
              </a:spcAft>
              <a:buClr>
                <a:schemeClr val="tx2"/>
              </a:buClr>
              <a:buFont typeface="Wingdings" panose="05000000000000000000" pitchFamily="2" charset="2"/>
              <a:buNone/>
              <a:defRPr sz="2000" kern="1200" cap="none" baseline="0">
                <a:solidFill>
                  <a:schemeClr val="bg1"/>
                </a:solidFill>
                <a:latin typeface="+mn-lt"/>
                <a:ea typeface="+mn-ea"/>
                <a:cs typeface="+mn-cs"/>
              </a:defRPr>
            </a:lvl1pPr>
            <a:lvl2pPr marL="0" indent="0" algn="l" defTabSz="1219170" rtl="0" eaLnBrk="1" latinLnBrk="0" hangingPunct="1">
              <a:lnSpc>
                <a:spcPct val="100000"/>
              </a:lnSpc>
              <a:spcBef>
                <a:spcPts val="0"/>
              </a:spcBef>
              <a:spcAft>
                <a:spcPts val="0"/>
              </a:spcAft>
              <a:buClr>
                <a:schemeClr val="accent1"/>
              </a:buClr>
              <a:buFont typeface="Wingdings" panose="05000000000000000000" pitchFamily="2" charset="2"/>
              <a:buNone/>
              <a:defRPr sz="2000" kern="1200">
                <a:solidFill>
                  <a:schemeClr val="bg1"/>
                </a:solidFill>
                <a:latin typeface="+mn-lt"/>
                <a:ea typeface="+mn-ea"/>
                <a:cs typeface="+mn-cs"/>
              </a:defRPr>
            </a:lvl2pPr>
            <a:lvl3pPr marL="0" indent="0" algn="l" defTabSz="1219170" rtl="0" eaLnBrk="1" latinLnBrk="0" hangingPunct="1">
              <a:lnSpc>
                <a:spcPct val="100000"/>
              </a:lnSpc>
              <a:spcBef>
                <a:spcPts val="0"/>
              </a:spcBef>
              <a:spcAft>
                <a:spcPts val="0"/>
              </a:spcAft>
              <a:buClr>
                <a:schemeClr val="tx1"/>
              </a:buClr>
              <a:buFont typeface="Symbol" panose="05050102010706020507" pitchFamily="18" charset="2"/>
              <a:buNone/>
              <a:defRPr sz="2000" kern="1200">
                <a:solidFill>
                  <a:schemeClr val="bg1"/>
                </a:solidFill>
                <a:latin typeface="+mn-lt"/>
                <a:ea typeface="+mn-ea"/>
                <a:cs typeface="+mn-cs"/>
              </a:defRPr>
            </a:lvl3pPr>
            <a:lvl4pPr marL="0" indent="0" algn="l" defTabSz="1219170" rtl="0" eaLnBrk="1" latinLnBrk="0" hangingPunct="1">
              <a:lnSpc>
                <a:spcPct val="100000"/>
              </a:lnSpc>
              <a:spcBef>
                <a:spcPts val="0"/>
              </a:spcBef>
              <a:spcAft>
                <a:spcPts val="0"/>
              </a:spcAft>
              <a:buFont typeface="Symbol" panose="05050102010706020507" pitchFamily="18" charset="2"/>
              <a:buNone/>
              <a:defRPr sz="2000" kern="1200">
                <a:solidFill>
                  <a:schemeClr val="bg1"/>
                </a:solidFill>
                <a:latin typeface="+mn-lt"/>
                <a:ea typeface="+mn-ea"/>
                <a:cs typeface="+mn-cs"/>
              </a:defRPr>
            </a:lvl4pPr>
            <a:lvl5pPr marL="0" indent="0" algn="l" defTabSz="1219170" rtl="0" eaLnBrk="1" latinLnBrk="0" hangingPunct="1">
              <a:lnSpc>
                <a:spcPct val="100000"/>
              </a:lnSpc>
              <a:spcBef>
                <a:spcPts val="0"/>
              </a:spcBef>
              <a:spcAft>
                <a:spcPts val="0"/>
              </a:spcAft>
              <a:buFont typeface="Symbol" panose="05050102010706020507" pitchFamily="18" charset="2"/>
              <a:buNone/>
              <a:defRPr sz="2000" kern="1200">
                <a:solidFill>
                  <a:schemeClr val="bg1"/>
                </a:solidFill>
                <a:latin typeface="+mn-lt"/>
                <a:ea typeface="+mn-ea"/>
                <a:cs typeface="+mn-cs"/>
              </a:defRPr>
            </a:lvl5pPr>
            <a:lvl6pPr marL="0" indent="0" algn="l" defTabSz="1219170" rtl="0" eaLnBrk="1" latinLnBrk="0" hangingPunct="1">
              <a:lnSpc>
                <a:spcPct val="100000"/>
              </a:lnSpc>
              <a:spcBef>
                <a:spcPts val="0"/>
              </a:spcBef>
              <a:spcAft>
                <a:spcPts val="0"/>
              </a:spcAft>
              <a:buFont typeface="Symbol" pitchFamily="18" charset="2"/>
              <a:buNone/>
              <a:defRPr sz="2000" kern="1200">
                <a:solidFill>
                  <a:schemeClr val="bg1"/>
                </a:solidFill>
                <a:latin typeface="+mn-lt"/>
                <a:ea typeface="+mn-ea"/>
                <a:cs typeface="+mn-cs"/>
              </a:defRPr>
            </a:lvl6pPr>
            <a:lvl7pPr marL="0" indent="0" algn="l" defTabSz="1219170" rtl="0" eaLnBrk="1" latinLnBrk="0" hangingPunct="1">
              <a:lnSpc>
                <a:spcPct val="100000"/>
              </a:lnSpc>
              <a:spcBef>
                <a:spcPts val="0"/>
              </a:spcBef>
              <a:spcAft>
                <a:spcPts val="0"/>
              </a:spcAft>
              <a:buFont typeface="Symbol" pitchFamily="18" charset="2"/>
              <a:buNone/>
              <a:defRPr sz="2000" kern="1200">
                <a:solidFill>
                  <a:schemeClr val="bg1"/>
                </a:solidFill>
                <a:latin typeface="+mn-lt"/>
                <a:ea typeface="+mn-ea"/>
                <a:cs typeface="+mn-cs"/>
              </a:defRPr>
            </a:lvl7pPr>
            <a:lvl8pPr marL="0" indent="0" algn="l" defTabSz="1219170" rtl="0" eaLnBrk="1" latinLnBrk="0" hangingPunct="1">
              <a:lnSpc>
                <a:spcPct val="100000"/>
              </a:lnSpc>
              <a:spcBef>
                <a:spcPts val="0"/>
              </a:spcBef>
              <a:spcAft>
                <a:spcPts val="0"/>
              </a:spcAft>
              <a:buFont typeface="Symbol" pitchFamily="18" charset="2"/>
              <a:buNone/>
              <a:defRPr sz="2000" kern="1200" baseline="0">
                <a:solidFill>
                  <a:schemeClr val="bg1"/>
                </a:solidFill>
                <a:latin typeface="+mn-lt"/>
                <a:ea typeface="+mn-ea"/>
                <a:cs typeface="+mn-cs"/>
              </a:defRPr>
            </a:lvl8pPr>
            <a:lvl9pPr marL="0" indent="0" algn="l" defTabSz="1219170" rtl="0" eaLnBrk="1" latinLnBrk="0" hangingPunct="1">
              <a:lnSpc>
                <a:spcPct val="100000"/>
              </a:lnSpc>
              <a:spcBef>
                <a:spcPts val="0"/>
              </a:spcBef>
              <a:spcAft>
                <a:spcPts val="0"/>
              </a:spcAft>
              <a:buFont typeface="Symbol" pitchFamily="18" charset="2"/>
              <a:buNone/>
              <a:defRPr sz="2000" kern="1200" baseline="0">
                <a:solidFill>
                  <a:schemeClr val="bg1"/>
                </a:solidFill>
                <a:latin typeface="+mn-lt"/>
                <a:ea typeface="+mn-ea"/>
                <a:cs typeface="+mn-cs"/>
              </a:defRPr>
            </a:lvl9pPr>
          </a:lstStyle>
          <a:p>
            <a:pPr defTabSz="1218926">
              <a:buClr>
                <a:srgbClr val="4D4D4D"/>
              </a:buClr>
            </a:pPr>
            <a:endParaRPr lang="de-DE" dirty="0">
              <a:solidFill>
                <a:prstClr val="white"/>
              </a:solidFill>
              <a:latin typeface="Arial"/>
            </a:endParaRPr>
          </a:p>
        </p:txBody>
      </p:sp>
    </p:spTree>
    <p:extLst>
      <p:ext uri="{BB962C8B-B14F-4D97-AF65-F5344CB8AC3E}">
        <p14:creationId xmlns:p14="http://schemas.microsoft.com/office/powerpoint/2010/main" val="243602696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693A7C6C-00BB-F2C4-D097-F5C83A4B55A1}"/>
              </a:ext>
            </a:extLst>
          </p:cNvPr>
          <p:cNvSpPr>
            <a:spLocks noGrp="1"/>
          </p:cNvSpPr>
          <p:nvPr>
            <p:ph type="dt" sz="half" idx="10"/>
          </p:nvPr>
        </p:nvSpPr>
        <p:spPr/>
        <p:txBody>
          <a:bodyPr/>
          <a:lstStyle/>
          <a:p>
            <a:pPr defTabSz="1218926"/>
            <a:fld id="{004EB96B-4970-4027-99BD-265F47CBC26E}" type="datetime1">
              <a:rPr lang="en-US">
                <a:solidFill>
                  <a:prstClr val="black"/>
                </a:solidFill>
                <a:latin typeface="Arial"/>
              </a:rPr>
              <a:pPr defTabSz="1218926"/>
              <a:t>10/22/2024</a:t>
            </a:fld>
            <a:endParaRPr lang="de-DE" dirty="0">
              <a:solidFill>
                <a:prstClr val="black"/>
              </a:solidFill>
              <a:latin typeface="Arial"/>
            </a:endParaRPr>
          </a:p>
        </p:txBody>
      </p:sp>
      <p:sp>
        <p:nvSpPr>
          <p:cNvPr id="4" name="Footer Placeholder 3">
            <a:extLst>
              <a:ext uri="{FF2B5EF4-FFF2-40B4-BE49-F238E27FC236}">
                <a16:creationId xmlns:a16="http://schemas.microsoft.com/office/drawing/2014/main" id="{11700D09-013F-BA5C-7C66-7C17C9143640}"/>
              </a:ext>
            </a:extLst>
          </p:cNvPr>
          <p:cNvSpPr>
            <a:spLocks noGrp="1"/>
          </p:cNvSpPr>
          <p:nvPr>
            <p:ph type="ftr" sz="quarter" idx="11"/>
          </p:nvPr>
        </p:nvSpPr>
        <p:spPr>
          <a:xfrm>
            <a:off x="1729358" y="6437951"/>
            <a:ext cx="4390984" cy="172505"/>
          </a:xfrm>
        </p:spPr>
        <p:txBody>
          <a:bodyPr/>
          <a:lstStyle/>
          <a:p>
            <a:pPr defTabSz="1218926"/>
            <a:r>
              <a:rPr lang="de-DE">
                <a:solidFill>
                  <a:prstClr val="black"/>
                </a:solidFill>
                <a:latin typeface="Arial"/>
              </a:rPr>
              <a:t>TÜV Rheinland's Solar Business</a:t>
            </a:r>
            <a:endParaRPr lang="de-DE" dirty="0">
              <a:solidFill>
                <a:prstClr val="black"/>
              </a:solidFill>
              <a:latin typeface="Arial"/>
            </a:endParaRPr>
          </a:p>
        </p:txBody>
      </p:sp>
      <p:sp>
        <p:nvSpPr>
          <p:cNvPr id="5" name="Slide Number Placeholder 4">
            <a:extLst>
              <a:ext uri="{FF2B5EF4-FFF2-40B4-BE49-F238E27FC236}">
                <a16:creationId xmlns:a16="http://schemas.microsoft.com/office/drawing/2014/main" id="{5A0C2796-84C3-F46B-A39E-C3030CD72528}"/>
              </a:ext>
            </a:extLst>
          </p:cNvPr>
          <p:cNvSpPr>
            <a:spLocks noGrp="1"/>
          </p:cNvSpPr>
          <p:nvPr>
            <p:ph type="sldNum" sz="quarter" idx="12"/>
          </p:nvPr>
        </p:nvSpPr>
        <p:spPr/>
        <p:txBody>
          <a:bodyPr/>
          <a:lstStyle/>
          <a:p>
            <a:pPr defTabSz="1218926"/>
            <a:fld id="{4915BD61-E5D5-4E4F-ADA0-6F3448AB9FA6}" type="slidenum">
              <a:rPr lang="de-DE">
                <a:solidFill>
                  <a:prstClr val="black"/>
                </a:solidFill>
                <a:latin typeface="Arial"/>
              </a:rPr>
              <a:pPr defTabSz="1218926"/>
              <a:t>47</a:t>
            </a:fld>
            <a:endParaRPr lang="de-DE" dirty="0">
              <a:solidFill>
                <a:prstClr val="black"/>
              </a:solidFill>
              <a:latin typeface="Arial"/>
            </a:endParaRPr>
          </a:p>
        </p:txBody>
      </p:sp>
      <p:grpSp>
        <p:nvGrpSpPr>
          <p:cNvPr id="80" name="Gruppieren 88">
            <a:extLst>
              <a:ext uri="{FF2B5EF4-FFF2-40B4-BE49-F238E27FC236}">
                <a16:creationId xmlns:a16="http://schemas.microsoft.com/office/drawing/2014/main" id="{6B2122EB-7154-674C-07D1-6A3D8DC41B78}"/>
              </a:ext>
            </a:extLst>
          </p:cNvPr>
          <p:cNvGrpSpPr/>
          <p:nvPr>
            <p:custDataLst>
              <p:tags r:id="rId1"/>
            </p:custDataLst>
          </p:nvPr>
        </p:nvGrpSpPr>
        <p:grpSpPr>
          <a:xfrm>
            <a:off x="541750" y="1305625"/>
            <a:ext cx="11097311" cy="4246750"/>
            <a:chOff x="541337" y="1701800"/>
            <a:chExt cx="11099880" cy="4247733"/>
          </a:xfrm>
        </p:grpSpPr>
        <p:grpSp>
          <p:nvGrpSpPr>
            <p:cNvPr id="81" name="Gruppieren 78">
              <a:extLst>
                <a:ext uri="{FF2B5EF4-FFF2-40B4-BE49-F238E27FC236}">
                  <a16:creationId xmlns:a16="http://schemas.microsoft.com/office/drawing/2014/main" id="{DC63FB12-28F5-B2CE-1051-D39C0F56C5C5}"/>
                </a:ext>
              </a:extLst>
            </p:cNvPr>
            <p:cNvGrpSpPr/>
            <p:nvPr>
              <p:custDataLst>
                <p:tags r:id="rId11"/>
              </p:custDataLst>
            </p:nvPr>
          </p:nvGrpSpPr>
          <p:grpSpPr>
            <a:xfrm>
              <a:off x="550863" y="1701800"/>
              <a:ext cx="11090354" cy="2003523"/>
              <a:chOff x="550863" y="1701800"/>
              <a:chExt cx="11090354" cy="2003523"/>
            </a:xfrm>
          </p:grpSpPr>
          <p:sp>
            <p:nvSpPr>
              <p:cNvPr id="140" name="Rechteck 79">
                <a:extLst>
                  <a:ext uri="{FF2B5EF4-FFF2-40B4-BE49-F238E27FC236}">
                    <a16:creationId xmlns:a16="http://schemas.microsoft.com/office/drawing/2014/main" id="{C436A6FB-823D-B2E9-CAA0-86E3773767FE}"/>
                  </a:ext>
                </a:extLst>
              </p:cNvPr>
              <p:cNvSpPr>
                <a:spLocks/>
              </p:cNvSpPr>
              <p:nvPr/>
            </p:nvSpPr>
            <p:spPr>
              <a:xfrm>
                <a:off x="550863" y="3207223"/>
                <a:ext cx="11069640" cy="4981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26"/>
                <a:endParaRPr lang="de-DE" sz="2400" dirty="0">
                  <a:solidFill>
                    <a:prstClr val="white"/>
                  </a:solidFill>
                  <a:latin typeface="Arial"/>
                </a:endParaRPr>
              </a:p>
            </p:txBody>
          </p:sp>
          <p:grpSp>
            <p:nvGrpSpPr>
              <p:cNvPr id="141" name="Gruppieren 80">
                <a:extLst>
                  <a:ext uri="{FF2B5EF4-FFF2-40B4-BE49-F238E27FC236}">
                    <a16:creationId xmlns:a16="http://schemas.microsoft.com/office/drawing/2014/main" id="{BA544FE8-BFA6-5884-8D14-2293770E656A}"/>
                  </a:ext>
                </a:extLst>
              </p:cNvPr>
              <p:cNvGrpSpPr/>
              <p:nvPr/>
            </p:nvGrpSpPr>
            <p:grpSpPr>
              <a:xfrm>
                <a:off x="550863" y="1701800"/>
                <a:ext cx="11090354" cy="366987"/>
                <a:chOff x="550863" y="1701800"/>
                <a:chExt cx="11090354" cy="366987"/>
              </a:xfrm>
            </p:grpSpPr>
            <p:grpSp>
              <p:nvGrpSpPr>
                <p:cNvPr id="142" name="Gruppieren 81">
                  <a:extLst>
                    <a:ext uri="{FF2B5EF4-FFF2-40B4-BE49-F238E27FC236}">
                      <a16:creationId xmlns:a16="http://schemas.microsoft.com/office/drawing/2014/main" id="{7881F194-19BC-96C4-DE60-B4068CC2D50E}"/>
                    </a:ext>
                  </a:extLst>
                </p:cNvPr>
                <p:cNvGrpSpPr/>
                <p:nvPr>
                  <p:custDataLst>
                    <p:tags r:id="rId57"/>
                  </p:custDataLst>
                </p:nvPr>
              </p:nvGrpSpPr>
              <p:grpSpPr>
                <a:xfrm>
                  <a:off x="550863" y="1701800"/>
                  <a:ext cx="11088687" cy="366987"/>
                  <a:chOff x="550863" y="1701800"/>
                  <a:chExt cx="11088687" cy="366987"/>
                </a:xfrm>
              </p:grpSpPr>
              <p:sp>
                <p:nvSpPr>
                  <p:cNvPr id="146" name="Textfeld 85">
                    <a:extLst>
                      <a:ext uri="{FF2B5EF4-FFF2-40B4-BE49-F238E27FC236}">
                        <a16:creationId xmlns:a16="http://schemas.microsoft.com/office/drawing/2014/main" id="{1B7CD309-B877-6924-574E-B0EFDEDE23BA}"/>
                      </a:ext>
                    </a:extLst>
                  </p:cNvPr>
                  <p:cNvSpPr txBox="1"/>
                  <p:nvPr>
                    <p:custDataLst>
                      <p:tags r:id="rId60"/>
                    </p:custDataLst>
                  </p:nvPr>
                </p:nvSpPr>
                <p:spPr>
                  <a:xfrm>
                    <a:off x="550863" y="1701800"/>
                    <a:ext cx="1223743" cy="359804"/>
                  </a:xfrm>
                  <a:prstGeom prst="rect">
                    <a:avLst/>
                  </a:prstGeom>
                  <a:noFill/>
                </p:spPr>
                <p:txBody>
                  <a:bodyPr wrap="square" lIns="107975" tIns="0" rIns="0" bIns="0" rtlCol="0" anchor="t" anchorCtr="0">
                    <a:noAutofit/>
                  </a:bodyPr>
                  <a:lstStyle/>
                  <a:p>
                    <a:pPr defTabSz="1218926">
                      <a:buClr>
                        <a:srgbClr val="4D4D4D"/>
                      </a:buClr>
                    </a:pPr>
                    <a:r>
                      <a:rPr lang="de-DE" sz="1400" b="1">
                        <a:solidFill>
                          <a:prstClr val="black"/>
                        </a:solidFill>
                        <a:latin typeface="Arial"/>
                      </a:rPr>
                      <a:t>Chapter</a:t>
                    </a:r>
                    <a:endParaRPr lang="de-DE" sz="1400" b="1" dirty="0">
                      <a:solidFill>
                        <a:prstClr val="black"/>
                      </a:solidFill>
                      <a:latin typeface="Arial"/>
                    </a:endParaRPr>
                  </a:p>
                </p:txBody>
              </p:sp>
              <p:sp>
                <p:nvSpPr>
                  <p:cNvPr id="147" name="Textfeld 86">
                    <a:extLst>
                      <a:ext uri="{FF2B5EF4-FFF2-40B4-BE49-F238E27FC236}">
                        <a16:creationId xmlns:a16="http://schemas.microsoft.com/office/drawing/2014/main" id="{F85C9D40-F145-42C8-34F4-1291453FB7E3}"/>
                      </a:ext>
                    </a:extLst>
                  </p:cNvPr>
                  <p:cNvSpPr txBox="1"/>
                  <p:nvPr>
                    <p:custDataLst>
                      <p:tags r:id="rId61"/>
                    </p:custDataLst>
                  </p:nvPr>
                </p:nvSpPr>
                <p:spPr>
                  <a:xfrm>
                    <a:off x="1774606" y="1701800"/>
                    <a:ext cx="4392610" cy="359804"/>
                  </a:xfrm>
                  <a:prstGeom prst="rect">
                    <a:avLst/>
                  </a:prstGeom>
                  <a:noFill/>
                </p:spPr>
                <p:txBody>
                  <a:bodyPr wrap="square" lIns="0" tIns="0" rIns="0" bIns="0" rtlCol="0">
                    <a:noAutofit/>
                  </a:bodyPr>
                  <a:lstStyle/>
                  <a:p>
                    <a:pPr defTabSz="1218926">
                      <a:buClr>
                        <a:srgbClr val="4D4D4D"/>
                      </a:buClr>
                    </a:pPr>
                    <a:r>
                      <a:rPr lang="de-DE" sz="1400" b="1" dirty="0">
                        <a:solidFill>
                          <a:prstClr val="black"/>
                        </a:solidFill>
                        <a:latin typeface="Arial"/>
                      </a:rPr>
                      <a:t>Topic</a:t>
                    </a:r>
                  </a:p>
                </p:txBody>
              </p:sp>
              <p:cxnSp>
                <p:nvCxnSpPr>
                  <p:cNvPr id="148" name="Gerader Verbinder 87">
                    <a:extLst>
                      <a:ext uri="{FF2B5EF4-FFF2-40B4-BE49-F238E27FC236}">
                        <a16:creationId xmlns:a16="http://schemas.microsoft.com/office/drawing/2014/main" id="{A9D4677D-51DF-0D85-A437-5D302D0C8D81}"/>
                      </a:ext>
                    </a:extLst>
                  </p:cNvPr>
                  <p:cNvCxnSpPr>
                    <a:cxnSpLocks/>
                  </p:cNvCxnSpPr>
                  <p:nvPr>
                    <p:custDataLst>
                      <p:tags r:id="rId62"/>
                    </p:custDataLst>
                  </p:nvPr>
                </p:nvCxnSpPr>
                <p:spPr>
                  <a:xfrm>
                    <a:off x="550863" y="2068787"/>
                    <a:ext cx="11088687" cy="0"/>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grpSp>
            <p:sp>
              <p:nvSpPr>
                <p:cNvPr id="143" name="Textfeld 82">
                  <a:extLst>
                    <a:ext uri="{FF2B5EF4-FFF2-40B4-BE49-F238E27FC236}">
                      <a16:creationId xmlns:a16="http://schemas.microsoft.com/office/drawing/2014/main" id="{C3939F79-52E6-F03E-18AA-0DF3EC4BF7EA}"/>
                    </a:ext>
                  </a:extLst>
                </p:cNvPr>
                <p:cNvSpPr txBox="1"/>
                <p:nvPr>
                  <p:custDataLst>
                    <p:tags r:id="rId58"/>
                  </p:custDataLst>
                </p:nvPr>
              </p:nvSpPr>
              <p:spPr>
                <a:xfrm>
                  <a:off x="6238819" y="1701800"/>
                  <a:ext cx="1223743" cy="359804"/>
                </a:xfrm>
                <a:prstGeom prst="rect">
                  <a:avLst/>
                </a:prstGeom>
                <a:noFill/>
              </p:spPr>
              <p:txBody>
                <a:bodyPr wrap="square" lIns="0" tIns="0" rIns="0" bIns="0" rtlCol="0" anchor="t" anchorCtr="0">
                  <a:noAutofit/>
                </a:bodyPr>
                <a:lstStyle/>
                <a:p>
                  <a:pPr defTabSz="1218926">
                    <a:buClr>
                      <a:srgbClr val="4D4D4D"/>
                    </a:buClr>
                  </a:pPr>
                  <a:endParaRPr lang="de-DE" sz="1400" b="1" dirty="0">
                    <a:solidFill>
                      <a:prstClr val="black"/>
                    </a:solidFill>
                    <a:latin typeface="Arial"/>
                  </a:endParaRPr>
                </a:p>
              </p:txBody>
            </p:sp>
            <p:sp>
              <p:nvSpPr>
                <p:cNvPr id="145" name="Textfeld 84">
                  <a:extLst>
                    <a:ext uri="{FF2B5EF4-FFF2-40B4-BE49-F238E27FC236}">
                      <a16:creationId xmlns:a16="http://schemas.microsoft.com/office/drawing/2014/main" id="{A7B904EC-A4BF-29F5-D5CD-39BA2B2D2487}"/>
                    </a:ext>
                  </a:extLst>
                </p:cNvPr>
                <p:cNvSpPr txBox="1"/>
                <p:nvPr>
                  <p:custDataLst>
                    <p:tags r:id="rId59"/>
                  </p:custDataLst>
                </p:nvPr>
              </p:nvSpPr>
              <p:spPr>
                <a:xfrm>
                  <a:off x="11065425" y="1701800"/>
                  <a:ext cx="575792" cy="359804"/>
                </a:xfrm>
                <a:prstGeom prst="rect">
                  <a:avLst/>
                </a:prstGeom>
                <a:noFill/>
              </p:spPr>
              <p:txBody>
                <a:bodyPr wrap="square" lIns="0" tIns="0" rIns="107975" bIns="0" rtlCol="0">
                  <a:noAutofit/>
                </a:bodyPr>
                <a:lstStyle/>
                <a:p>
                  <a:pPr algn="r" defTabSz="1218926">
                    <a:buClr>
                      <a:srgbClr val="4D4D4D"/>
                    </a:buClr>
                  </a:pPr>
                  <a:r>
                    <a:rPr lang="de-DE" sz="1400" b="1" dirty="0">
                      <a:solidFill>
                        <a:prstClr val="black"/>
                      </a:solidFill>
                      <a:latin typeface="Arial"/>
                    </a:rPr>
                    <a:t>Page</a:t>
                  </a:r>
                </a:p>
              </p:txBody>
            </p:sp>
          </p:grpSp>
        </p:grpSp>
        <p:grpSp>
          <p:nvGrpSpPr>
            <p:cNvPr id="82" name="MIO_AGENDA_ELEMENT_DECORATOR_12">
              <a:extLst>
                <a:ext uri="{FF2B5EF4-FFF2-40B4-BE49-F238E27FC236}">
                  <a16:creationId xmlns:a16="http://schemas.microsoft.com/office/drawing/2014/main" id="{9451DD0D-69FE-2699-46E1-881AAFD3CA8C}"/>
                </a:ext>
              </a:extLst>
            </p:cNvPr>
            <p:cNvGrpSpPr/>
            <p:nvPr>
              <p:custDataLst>
                <p:tags r:id="rId12"/>
              </p:custDataLst>
            </p:nvPr>
          </p:nvGrpSpPr>
          <p:grpSpPr>
            <a:xfrm>
              <a:off x="550863" y="5623466"/>
              <a:ext cx="11088687" cy="326067"/>
              <a:chOff x="550863" y="2061604"/>
              <a:chExt cx="11088687" cy="504070"/>
            </a:xfrm>
          </p:grpSpPr>
          <p:sp>
            <p:nvSpPr>
              <p:cNvPr id="138" name="Rechteck 76">
                <a:extLst>
                  <a:ext uri="{FF2B5EF4-FFF2-40B4-BE49-F238E27FC236}">
                    <a16:creationId xmlns:a16="http://schemas.microsoft.com/office/drawing/2014/main" id="{FA2BCF4C-35B5-E91B-3881-2BEF2C67657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26"/>
                <a:endParaRPr lang="de-DE" sz="2400" dirty="0">
                  <a:solidFill>
                    <a:prstClr val="white"/>
                  </a:solidFill>
                  <a:latin typeface="Arial"/>
                </a:endParaRPr>
              </a:p>
            </p:txBody>
          </p:sp>
          <p:cxnSp>
            <p:nvCxnSpPr>
              <p:cNvPr id="139" name="Gerader Verbinder 77">
                <a:extLst>
                  <a:ext uri="{FF2B5EF4-FFF2-40B4-BE49-F238E27FC236}">
                    <a16:creationId xmlns:a16="http://schemas.microsoft.com/office/drawing/2014/main" id="{219CA6FD-D28C-3B8A-9342-C42BA53E5B94}"/>
                  </a:ext>
                </a:extLst>
              </p:cNvPr>
              <p:cNvCxnSpPr/>
              <p:nvPr>
                <p:custDataLst>
                  <p:tags r:id="rId56"/>
                </p:custDataLst>
              </p:nvPr>
            </p:nvCxnSpPr>
            <p:spPr>
              <a:xfrm>
                <a:off x="550863" y="2565674"/>
                <a:ext cx="11088687" cy="0"/>
              </a:xfrm>
              <a:prstGeom prst="line">
                <a:avLst/>
              </a:prstGeom>
              <a:noFill/>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83" name="MIO_AGENDA_ELEMENT_DECORATOR_11">
              <a:extLst>
                <a:ext uri="{FF2B5EF4-FFF2-40B4-BE49-F238E27FC236}">
                  <a16:creationId xmlns:a16="http://schemas.microsoft.com/office/drawing/2014/main" id="{7E65B04D-1333-579E-540F-DAB4C8AFDEC1}"/>
                </a:ext>
              </a:extLst>
            </p:cNvPr>
            <p:cNvGrpSpPr/>
            <p:nvPr>
              <p:custDataLst>
                <p:tags r:id="rId13"/>
              </p:custDataLst>
            </p:nvPr>
          </p:nvGrpSpPr>
          <p:grpSpPr>
            <a:xfrm>
              <a:off x="550863" y="5302046"/>
              <a:ext cx="11088687" cy="326067"/>
              <a:chOff x="550863" y="2061604"/>
              <a:chExt cx="11088687" cy="504070"/>
            </a:xfrm>
          </p:grpSpPr>
          <p:sp>
            <p:nvSpPr>
              <p:cNvPr id="136" name="Rechteck 70">
                <a:extLst>
                  <a:ext uri="{FF2B5EF4-FFF2-40B4-BE49-F238E27FC236}">
                    <a16:creationId xmlns:a16="http://schemas.microsoft.com/office/drawing/2014/main" id="{948D96B1-1E21-E8A0-86D2-B706EC5910FA}"/>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26"/>
                <a:endParaRPr lang="de-DE" sz="2400" dirty="0">
                  <a:solidFill>
                    <a:prstClr val="white"/>
                  </a:solidFill>
                  <a:latin typeface="Arial"/>
                </a:endParaRPr>
              </a:p>
            </p:txBody>
          </p:sp>
          <p:cxnSp>
            <p:nvCxnSpPr>
              <p:cNvPr id="137" name="Gerader Verbinder 71">
                <a:extLst>
                  <a:ext uri="{FF2B5EF4-FFF2-40B4-BE49-F238E27FC236}">
                    <a16:creationId xmlns:a16="http://schemas.microsoft.com/office/drawing/2014/main" id="{63E18414-BED8-D8EB-7FE7-28423D93CACE}"/>
                  </a:ext>
                </a:extLst>
              </p:cNvPr>
              <p:cNvCxnSpPr/>
              <p:nvPr>
                <p:custDataLst>
                  <p:tags r:id="rId55"/>
                </p:custDataLst>
              </p:nvPr>
            </p:nvCxnSpPr>
            <p:spPr>
              <a:xfrm>
                <a:off x="550863" y="2565674"/>
                <a:ext cx="11088687" cy="0"/>
              </a:xfrm>
              <a:prstGeom prst="line">
                <a:avLst/>
              </a:prstGeom>
              <a:noFill/>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84" name="MIO_AGENDA_ELEMENT_DECORATOR_10">
              <a:extLst>
                <a:ext uri="{FF2B5EF4-FFF2-40B4-BE49-F238E27FC236}">
                  <a16:creationId xmlns:a16="http://schemas.microsoft.com/office/drawing/2014/main" id="{E0F50574-7A2C-CBC2-E726-13D38CD5A100}"/>
                </a:ext>
              </a:extLst>
            </p:cNvPr>
            <p:cNvGrpSpPr/>
            <p:nvPr>
              <p:custDataLst>
                <p:tags r:id="rId14"/>
              </p:custDataLst>
            </p:nvPr>
          </p:nvGrpSpPr>
          <p:grpSpPr>
            <a:xfrm>
              <a:off x="550863" y="4980626"/>
              <a:ext cx="11088687" cy="326067"/>
              <a:chOff x="550863" y="2061604"/>
              <a:chExt cx="11088687" cy="504070"/>
            </a:xfrm>
          </p:grpSpPr>
          <p:sp>
            <p:nvSpPr>
              <p:cNvPr id="134" name="Rechteck 64">
                <a:extLst>
                  <a:ext uri="{FF2B5EF4-FFF2-40B4-BE49-F238E27FC236}">
                    <a16:creationId xmlns:a16="http://schemas.microsoft.com/office/drawing/2014/main" id="{BA0583F6-5CCB-1218-192A-157DD7D02C2C}"/>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26"/>
                <a:endParaRPr lang="de-DE" sz="2400" dirty="0">
                  <a:solidFill>
                    <a:prstClr val="white"/>
                  </a:solidFill>
                  <a:latin typeface="Arial"/>
                </a:endParaRPr>
              </a:p>
            </p:txBody>
          </p:sp>
          <p:cxnSp>
            <p:nvCxnSpPr>
              <p:cNvPr id="135" name="Gerader Verbinder 65">
                <a:extLst>
                  <a:ext uri="{FF2B5EF4-FFF2-40B4-BE49-F238E27FC236}">
                    <a16:creationId xmlns:a16="http://schemas.microsoft.com/office/drawing/2014/main" id="{FC485116-182D-4436-743E-034DD85CB28E}"/>
                  </a:ext>
                </a:extLst>
              </p:cNvPr>
              <p:cNvCxnSpPr/>
              <p:nvPr>
                <p:custDataLst>
                  <p:tags r:id="rId54"/>
                </p:custDataLst>
              </p:nvPr>
            </p:nvCxnSpPr>
            <p:spPr>
              <a:xfrm>
                <a:off x="550863" y="2565674"/>
                <a:ext cx="11088687" cy="0"/>
              </a:xfrm>
              <a:prstGeom prst="line">
                <a:avLst/>
              </a:prstGeom>
              <a:noFill/>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85" name="MIO_AGENDA_ELEMENT_DECORATOR_9">
              <a:extLst>
                <a:ext uri="{FF2B5EF4-FFF2-40B4-BE49-F238E27FC236}">
                  <a16:creationId xmlns:a16="http://schemas.microsoft.com/office/drawing/2014/main" id="{FF2AB057-BEF2-FEC3-1031-C0A0DC690DEC}"/>
                </a:ext>
              </a:extLst>
            </p:cNvPr>
            <p:cNvGrpSpPr/>
            <p:nvPr>
              <p:custDataLst>
                <p:tags r:id="rId15"/>
              </p:custDataLst>
            </p:nvPr>
          </p:nvGrpSpPr>
          <p:grpSpPr>
            <a:xfrm>
              <a:off x="550863" y="4659205"/>
              <a:ext cx="11088687" cy="326067"/>
              <a:chOff x="550863" y="2061604"/>
              <a:chExt cx="11088687" cy="504070"/>
            </a:xfrm>
          </p:grpSpPr>
          <p:sp>
            <p:nvSpPr>
              <p:cNvPr id="132" name="Rechteck 58">
                <a:extLst>
                  <a:ext uri="{FF2B5EF4-FFF2-40B4-BE49-F238E27FC236}">
                    <a16:creationId xmlns:a16="http://schemas.microsoft.com/office/drawing/2014/main" id="{CADFC554-F129-5233-4A30-69C6097ABD74}"/>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26"/>
                <a:endParaRPr lang="de-DE" sz="2400" dirty="0">
                  <a:solidFill>
                    <a:prstClr val="white"/>
                  </a:solidFill>
                  <a:latin typeface="Arial"/>
                </a:endParaRPr>
              </a:p>
            </p:txBody>
          </p:sp>
          <p:cxnSp>
            <p:nvCxnSpPr>
              <p:cNvPr id="133" name="Gerader Verbinder 59">
                <a:extLst>
                  <a:ext uri="{FF2B5EF4-FFF2-40B4-BE49-F238E27FC236}">
                    <a16:creationId xmlns:a16="http://schemas.microsoft.com/office/drawing/2014/main" id="{E8591CC1-7D44-9806-55A7-23D25F3B2C87}"/>
                  </a:ext>
                </a:extLst>
              </p:cNvPr>
              <p:cNvCxnSpPr/>
              <p:nvPr>
                <p:custDataLst>
                  <p:tags r:id="rId53"/>
                </p:custDataLst>
              </p:nvPr>
            </p:nvCxnSpPr>
            <p:spPr>
              <a:xfrm>
                <a:off x="550863" y="2565674"/>
                <a:ext cx="11088687" cy="0"/>
              </a:xfrm>
              <a:prstGeom prst="line">
                <a:avLst/>
              </a:prstGeom>
              <a:noFill/>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86" name="MIO_AGENDA_ELEMENT_DECORATOR_8">
              <a:extLst>
                <a:ext uri="{FF2B5EF4-FFF2-40B4-BE49-F238E27FC236}">
                  <a16:creationId xmlns:a16="http://schemas.microsoft.com/office/drawing/2014/main" id="{CC60FD29-9CAF-57C0-92C4-047AFC225E6E}"/>
                </a:ext>
              </a:extLst>
            </p:cNvPr>
            <p:cNvGrpSpPr/>
            <p:nvPr>
              <p:custDataLst>
                <p:tags r:id="rId16"/>
              </p:custDataLst>
            </p:nvPr>
          </p:nvGrpSpPr>
          <p:grpSpPr>
            <a:xfrm>
              <a:off x="550862" y="4337784"/>
              <a:ext cx="11088688" cy="326067"/>
              <a:chOff x="550862" y="2061604"/>
              <a:chExt cx="11088688" cy="504070"/>
            </a:xfrm>
          </p:grpSpPr>
          <p:sp>
            <p:nvSpPr>
              <p:cNvPr id="130" name="Rechteck 52">
                <a:extLst>
                  <a:ext uri="{FF2B5EF4-FFF2-40B4-BE49-F238E27FC236}">
                    <a16:creationId xmlns:a16="http://schemas.microsoft.com/office/drawing/2014/main" id="{74E8F15C-86E4-445F-9ED1-2651280EC669}"/>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26"/>
                <a:endParaRPr lang="de-DE" sz="2400" dirty="0">
                  <a:solidFill>
                    <a:prstClr val="white"/>
                  </a:solidFill>
                  <a:latin typeface="Arial"/>
                </a:endParaRPr>
              </a:p>
            </p:txBody>
          </p:sp>
          <p:cxnSp>
            <p:nvCxnSpPr>
              <p:cNvPr id="131" name="Gerader Verbinder 53">
                <a:extLst>
                  <a:ext uri="{FF2B5EF4-FFF2-40B4-BE49-F238E27FC236}">
                    <a16:creationId xmlns:a16="http://schemas.microsoft.com/office/drawing/2014/main" id="{B1809656-717F-370D-734E-75286D7F1E9D}"/>
                  </a:ext>
                </a:extLst>
              </p:cNvPr>
              <p:cNvCxnSpPr/>
              <p:nvPr>
                <p:custDataLst>
                  <p:tags r:id="rId52"/>
                </p:custDataLst>
              </p:nvPr>
            </p:nvCxnSpPr>
            <p:spPr>
              <a:xfrm>
                <a:off x="550862" y="2558492"/>
                <a:ext cx="11088687" cy="0"/>
              </a:xfrm>
              <a:prstGeom prst="line">
                <a:avLst/>
              </a:prstGeom>
              <a:noFill/>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87" name="MIO_AGENDA_ELEMENT_DECORATOR_7">
              <a:extLst>
                <a:ext uri="{FF2B5EF4-FFF2-40B4-BE49-F238E27FC236}">
                  <a16:creationId xmlns:a16="http://schemas.microsoft.com/office/drawing/2014/main" id="{D89FDD4B-E247-BDDF-3012-72CDBFB1F1F3}"/>
                </a:ext>
              </a:extLst>
            </p:cNvPr>
            <p:cNvGrpSpPr/>
            <p:nvPr>
              <p:custDataLst>
                <p:tags r:id="rId17"/>
              </p:custDataLst>
            </p:nvPr>
          </p:nvGrpSpPr>
          <p:grpSpPr>
            <a:xfrm>
              <a:off x="550863" y="4016363"/>
              <a:ext cx="11088687" cy="326067"/>
              <a:chOff x="550863" y="2061604"/>
              <a:chExt cx="11088687" cy="504070"/>
            </a:xfrm>
          </p:grpSpPr>
          <p:sp>
            <p:nvSpPr>
              <p:cNvPr id="128" name="Rechteck 46">
                <a:extLst>
                  <a:ext uri="{FF2B5EF4-FFF2-40B4-BE49-F238E27FC236}">
                    <a16:creationId xmlns:a16="http://schemas.microsoft.com/office/drawing/2014/main" id="{3DBCE6B3-89C2-FC0C-F284-BEA61678512A}"/>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26"/>
                <a:endParaRPr lang="de-DE" sz="2400" dirty="0">
                  <a:solidFill>
                    <a:prstClr val="white"/>
                  </a:solidFill>
                  <a:latin typeface="Arial"/>
                </a:endParaRPr>
              </a:p>
            </p:txBody>
          </p:sp>
          <p:cxnSp>
            <p:nvCxnSpPr>
              <p:cNvPr id="129" name="Gerader Verbinder 47">
                <a:extLst>
                  <a:ext uri="{FF2B5EF4-FFF2-40B4-BE49-F238E27FC236}">
                    <a16:creationId xmlns:a16="http://schemas.microsoft.com/office/drawing/2014/main" id="{5F2CABC0-966E-FD40-02B6-B5AF217AA007}"/>
                  </a:ext>
                </a:extLst>
              </p:cNvPr>
              <p:cNvCxnSpPr/>
              <p:nvPr>
                <p:custDataLst>
                  <p:tags r:id="rId51"/>
                </p:custDataLst>
              </p:nvPr>
            </p:nvCxnSpPr>
            <p:spPr>
              <a:xfrm>
                <a:off x="550863" y="2565674"/>
                <a:ext cx="11088687" cy="0"/>
              </a:xfrm>
              <a:prstGeom prst="line">
                <a:avLst/>
              </a:prstGeom>
              <a:noFill/>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88" name="MIO_AGENDA_ELEMENT_DECORATOR_6">
              <a:extLst>
                <a:ext uri="{FF2B5EF4-FFF2-40B4-BE49-F238E27FC236}">
                  <a16:creationId xmlns:a16="http://schemas.microsoft.com/office/drawing/2014/main" id="{E273F9C1-F0B6-E50C-CC82-B60F3041CEB3}"/>
                </a:ext>
              </a:extLst>
            </p:cNvPr>
            <p:cNvGrpSpPr/>
            <p:nvPr>
              <p:custDataLst>
                <p:tags r:id="rId18"/>
              </p:custDataLst>
            </p:nvPr>
          </p:nvGrpSpPr>
          <p:grpSpPr>
            <a:xfrm>
              <a:off x="550863" y="3694943"/>
              <a:ext cx="11088687" cy="326067"/>
              <a:chOff x="550863" y="2061604"/>
              <a:chExt cx="11088687" cy="504070"/>
            </a:xfrm>
          </p:grpSpPr>
          <p:sp>
            <p:nvSpPr>
              <p:cNvPr id="126" name="Rechteck 40">
                <a:extLst>
                  <a:ext uri="{FF2B5EF4-FFF2-40B4-BE49-F238E27FC236}">
                    <a16:creationId xmlns:a16="http://schemas.microsoft.com/office/drawing/2014/main" id="{323F4F8D-7254-A5DB-A91E-E6CCE0BC493A}"/>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26"/>
                <a:endParaRPr lang="de-DE" sz="2400" dirty="0">
                  <a:solidFill>
                    <a:prstClr val="white"/>
                  </a:solidFill>
                  <a:latin typeface="Arial"/>
                </a:endParaRPr>
              </a:p>
            </p:txBody>
          </p:sp>
          <p:cxnSp>
            <p:nvCxnSpPr>
              <p:cNvPr id="127" name="Gerader Verbinder 41">
                <a:extLst>
                  <a:ext uri="{FF2B5EF4-FFF2-40B4-BE49-F238E27FC236}">
                    <a16:creationId xmlns:a16="http://schemas.microsoft.com/office/drawing/2014/main" id="{DC38DDB4-C3E9-2F22-26C8-773EAA4A62FD}"/>
                  </a:ext>
                </a:extLst>
              </p:cNvPr>
              <p:cNvCxnSpPr/>
              <p:nvPr>
                <p:custDataLst>
                  <p:tags r:id="rId50"/>
                </p:custDataLst>
              </p:nvPr>
            </p:nvCxnSpPr>
            <p:spPr>
              <a:xfrm>
                <a:off x="550863" y="2565674"/>
                <a:ext cx="11088687" cy="0"/>
              </a:xfrm>
              <a:prstGeom prst="line">
                <a:avLst/>
              </a:prstGeom>
              <a:noFill/>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89" name="MIO_AGENDA_ELEMENT_DECORATOR_5">
              <a:extLst>
                <a:ext uri="{FF2B5EF4-FFF2-40B4-BE49-F238E27FC236}">
                  <a16:creationId xmlns:a16="http://schemas.microsoft.com/office/drawing/2014/main" id="{D80A6086-F09D-FD95-E940-CD6133A59DD0}"/>
                </a:ext>
              </a:extLst>
            </p:cNvPr>
            <p:cNvGrpSpPr/>
            <p:nvPr>
              <p:custDataLst>
                <p:tags r:id="rId19"/>
              </p:custDataLst>
            </p:nvPr>
          </p:nvGrpSpPr>
          <p:grpSpPr>
            <a:xfrm>
              <a:off x="550863" y="3373522"/>
              <a:ext cx="11088687" cy="326067"/>
              <a:chOff x="550863" y="2061604"/>
              <a:chExt cx="11088687" cy="504070"/>
            </a:xfrm>
          </p:grpSpPr>
          <p:sp>
            <p:nvSpPr>
              <p:cNvPr id="124" name="Rechteck 34">
                <a:extLst>
                  <a:ext uri="{FF2B5EF4-FFF2-40B4-BE49-F238E27FC236}">
                    <a16:creationId xmlns:a16="http://schemas.microsoft.com/office/drawing/2014/main" id="{CA5C7C64-FA3B-3468-E372-28F220257310}"/>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26"/>
                <a:endParaRPr lang="de-DE" sz="2400" dirty="0">
                  <a:solidFill>
                    <a:prstClr val="white"/>
                  </a:solidFill>
                  <a:latin typeface="Arial"/>
                </a:endParaRPr>
              </a:p>
            </p:txBody>
          </p:sp>
          <p:cxnSp>
            <p:nvCxnSpPr>
              <p:cNvPr id="125" name="Gerader Verbinder 35">
                <a:extLst>
                  <a:ext uri="{FF2B5EF4-FFF2-40B4-BE49-F238E27FC236}">
                    <a16:creationId xmlns:a16="http://schemas.microsoft.com/office/drawing/2014/main" id="{63196A91-B35A-770C-D598-D93C602ED8F0}"/>
                  </a:ext>
                </a:extLst>
              </p:cNvPr>
              <p:cNvCxnSpPr/>
              <p:nvPr>
                <p:custDataLst>
                  <p:tags r:id="rId49"/>
                </p:custDataLst>
              </p:nvPr>
            </p:nvCxnSpPr>
            <p:spPr>
              <a:xfrm>
                <a:off x="550863" y="2565674"/>
                <a:ext cx="11088687" cy="0"/>
              </a:xfrm>
              <a:prstGeom prst="line">
                <a:avLst/>
              </a:prstGeom>
              <a:noFill/>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90" name="MIO_AGENDA_ELEMENT_DECORATOR_4">
              <a:extLst>
                <a:ext uri="{FF2B5EF4-FFF2-40B4-BE49-F238E27FC236}">
                  <a16:creationId xmlns:a16="http://schemas.microsoft.com/office/drawing/2014/main" id="{61DD9BF0-E90F-AAA0-5551-21E1449998E4}"/>
                </a:ext>
              </a:extLst>
            </p:cNvPr>
            <p:cNvGrpSpPr/>
            <p:nvPr>
              <p:custDataLst>
                <p:tags r:id="rId20"/>
              </p:custDataLst>
            </p:nvPr>
          </p:nvGrpSpPr>
          <p:grpSpPr>
            <a:xfrm>
              <a:off x="550863" y="3052102"/>
              <a:ext cx="11088687" cy="326067"/>
              <a:chOff x="550863" y="2061604"/>
              <a:chExt cx="11088687" cy="504070"/>
            </a:xfrm>
          </p:grpSpPr>
          <p:sp>
            <p:nvSpPr>
              <p:cNvPr id="122" name="Rechteck 28">
                <a:extLst>
                  <a:ext uri="{FF2B5EF4-FFF2-40B4-BE49-F238E27FC236}">
                    <a16:creationId xmlns:a16="http://schemas.microsoft.com/office/drawing/2014/main" id="{247ACC8B-F27E-2D5D-6CE8-95ECF3E44E1D}"/>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26"/>
                <a:endParaRPr lang="de-DE" sz="2400" dirty="0">
                  <a:solidFill>
                    <a:prstClr val="white"/>
                  </a:solidFill>
                  <a:latin typeface="Arial"/>
                </a:endParaRPr>
              </a:p>
            </p:txBody>
          </p:sp>
          <p:cxnSp>
            <p:nvCxnSpPr>
              <p:cNvPr id="123" name="Gerader Verbinder 29">
                <a:extLst>
                  <a:ext uri="{FF2B5EF4-FFF2-40B4-BE49-F238E27FC236}">
                    <a16:creationId xmlns:a16="http://schemas.microsoft.com/office/drawing/2014/main" id="{AAF760BD-C7B5-E548-ADBE-D78D6FD85D26}"/>
                  </a:ext>
                </a:extLst>
              </p:cNvPr>
              <p:cNvCxnSpPr/>
              <p:nvPr>
                <p:custDataLst>
                  <p:tags r:id="rId48"/>
                </p:custDataLst>
              </p:nvPr>
            </p:nvCxnSpPr>
            <p:spPr>
              <a:xfrm>
                <a:off x="550863" y="2565674"/>
                <a:ext cx="11088687" cy="0"/>
              </a:xfrm>
              <a:prstGeom prst="line">
                <a:avLst/>
              </a:prstGeom>
              <a:noFill/>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91" name="MIO_AGENDA_ELEMENT_DECORATOR_3">
              <a:extLst>
                <a:ext uri="{FF2B5EF4-FFF2-40B4-BE49-F238E27FC236}">
                  <a16:creationId xmlns:a16="http://schemas.microsoft.com/office/drawing/2014/main" id="{F7B378DB-9B98-4A27-49E2-3264C8121A60}"/>
                </a:ext>
              </a:extLst>
            </p:cNvPr>
            <p:cNvGrpSpPr/>
            <p:nvPr>
              <p:custDataLst>
                <p:tags r:id="rId21"/>
              </p:custDataLst>
            </p:nvPr>
          </p:nvGrpSpPr>
          <p:grpSpPr>
            <a:xfrm>
              <a:off x="550863" y="2730681"/>
              <a:ext cx="11088687" cy="326067"/>
              <a:chOff x="550863" y="2061604"/>
              <a:chExt cx="11088687" cy="504070"/>
            </a:xfrm>
          </p:grpSpPr>
          <p:sp>
            <p:nvSpPr>
              <p:cNvPr id="120" name="Rechteck 22">
                <a:extLst>
                  <a:ext uri="{FF2B5EF4-FFF2-40B4-BE49-F238E27FC236}">
                    <a16:creationId xmlns:a16="http://schemas.microsoft.com/office/drawing/2014/main" id="{380D947A-88F9-294D-CCC9-8316921AD3DF}"/>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26"/>
                <a:endParaRPr lang="de-DE" sz="2400" dirty="0">
                  <a:solidFill>
                    <a:prstClr val="white"/>
                  </a:solidFill>
                  <a:latin typeface="Arial"/>
                </a:endParaRPr>
              </a:p>
            </p:txBody>
          </p:sp>
          <p:cxnSp>
            <p:nvCxnSpPr>
              <p:cNvPr id="121" name="Gerader Verbinder 23">
                <a:extLst>
                  <a:ext uri="{FF2B5EF4-FFF2-40B4-BE49-F238E27FC236}">
                    <a16:creationId xmlns:a16="http://schemas.microsoft.com/office/drawing/2014/main" id="{431E739C-E105-8811-2E39-38B99A985044}"/>
                  </a:ext>
                </a:extLst>
              </p:cNvPr>
              <p:cNvCxnSpPr/>
              <p:nvPr>
                <p:custDataLst>
                  <p:tags r:id="rId47"/>
                </p:custDataLst>
              </p:nvPr>
            </p:nvCxnSpPr>
            <p:spPr>
              <a:xfrm>
                <a:off x="550863" y="2565674"/>
                <a:ext cx="11088687" cy="0"/>
              </a:xfrm>
              <a:prstGeom prst="line">
                <a:avLst/>
              </a:prstGeom>
              <a:noFill/>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92" name="MIO_AGENDA_ELEMENT_DECORATOR_2">
              <a:extLst>
                <a:ext uri="{FF2B5EF4-FFF2-40B4-BE49-F238E27FC236}">
                  <a16:creationId xmlns:a16="http://schemas.microsoft.com/office/drawing/2014/main" id="{9CFB71BE-50C2-3CB6-A8F6-68E7D861EAC3}"/>
                </a:ext>
              </a:extLst>
            </p:cNvPr>
            <p:cNvGrpSpPr/>
            <p:nvPr>
              <p:custDataLst>
                <p:tags r:id="rId22"/>
              </p:custDataLst>
            </p:nvPr>
          </p:nvGrpSpPr>
          <p:grpSpPr>
            <a:xfrm>
              <a:off x="550863" y="2409260"/>
              <a:ext cx="11088687" cy="326067"/>
              <a:chOff x="550863" y="2061604"/>
              <a:chExt cx="11088687" cy="504070"/>
            </a:xfrm>
          </p:grpSpPr>
          <p:sp>
            <p:nvSpPr>
              <p:cNvPr id="118" name="Rechteck 16">
                <a:extLst>
                  <a:ext uri="{FF2B5EF4-FFF2-40B4-BE49-F238E27FC236}">
                    <a16:creationId xmlns:a16="http://schemas.microsoft.com/office/drawing/2014/main" id="{FABFA50A-460B-E787-31A2-40A5CE36EF7A}"/>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26"/>
                <a:endParaRPr lang="de-DE" sz="2400" dirty="0">
                  <a:solidFill>
                    <a:prstClr val="white"/>
                  </a:solidFill>
                  <a:latin typeface="Arial"/>
                </a:endParaRPr>
              </a:p>
            </p:txBody>
          </p:sp>
          <p:cxnSp>
            <p:nvCxnSpPr>
              <p:cNvPr id="119" name="Gerader Verbinder 17">
                <a:extLst>
                  <a:ext uri="{FF2B5EF4-FFF2-40B4-BE49-F238E27FC236}">
                    <a16:creationId xmlns:a16="http://schemas.microsoft.com/office/drawing/2014/main" id="{FE8EF804-19A5-1905-4EEE-9156EB6D20F6}"/>
                  </a:ext>
                </a:extLst>
              </p:cNvPr>
              <p:cNvCxnSpPr/>
              <p:nvPr>
                <p:custDataLst>
                  <p:tags r:id="rId46"/>
                </p:custDataLst>
              </p:nvPr>
            </p:nvCxnSpPr>
            <p:spPr>
              <a:xfrm>
                <a:off x="550863" y="2565674"/>
                <a:ext cx="11088687" cy="0"/>
              </a:xfrm>
              <a:prstGeom prst="line">
                <a:avLst/>
              </a:prstGeom>
              <a:noFill/>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93" name="MIO_AGENDA_ELEMENT_DECORATOR_1">
              <a:extLst>
                <a:ext uri="{FF2B5EF4-FFF2-40B4-BE49-F238E27FC236}">
                  <a16:creationId xmlns:a16="http://schemas.microsoft.com/office/drawing/2014/main" id="{80B0472B-E79C-6265-4FEB-482FEE9CB6B6}"/>
                </a:ext>
              </a:extLst>
            </p:cNvPr>
            <p:cNvGrpSpPr/>
            <p:nvPr>
              <p:custDataLst>
                <p:tags r:id="rId23"/>
              </p:custDataLst>
            </p:nvPr>
          </p:nvGrpSpPr>
          <p:grpSpPr>
            <a:xfrm>
              <a:off x="550863" y="2087839"/>
              <a:ext cx="11088687" cy="326067"/>
              <a:chOff x="550863" y="2061604"/>
              <a:chExt cx="11088687" cy="504070"/>
            </a:xfrm>
          </p:grpSpPr>
          <p:sp>
            <p:nvSpPr>
              <p:cNvPr id="116" name="Rechteck 10">
                <a:extLst>
                  <a:ext uri="{FF2B5EF4-FFF2-40B4-BE49-F238E27FC236}">
                    <a16:creationId xmlns:a16="http://schemas.microsoft.com/office/drawing/2014/main" id="{E616AA37-14C3-07F7-EAF3-0781E39F8ACE}"/>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26"/>
                <a:endParaRPr lang="de-DE" sz="2400" dirty="0">
                  <a:solidFill>
                    <a:prstClr val="white"/>
                  </a:solidFill>
                  <a:latin typeface="Arial"/>
                </a:endParaRPr>
              </a:p>
            </p:txBody>
          </p:sp>
          <p:cxnSp>
            <p:nvCxnSpPr>
              <p:cNvPr id="117" name="Gerader Verbinder 11">
                <a:extLst>
                  <a:ext uri="{FF2B5EF4-FFF2-40B4-BE49-F238E27FC236}">
                    <a16:creationId xmlns:a16="http://schemas.microsoft.com/office/drawing/2014/main" id="{EB18FCDD-A9C5-EE1C-E041-4C8E55193A1C}"/>
                  </a:ext>
                </a:extLst>
              </p:cNvPr>
              <p:cNvCxnSpPr/>
              <p:nvPr>
                <p:custDataLst>
                  <p:tags r:id="rId45"/>
                </p:custDataLst>
              </p:nvPr>
            </p:nvCxnSpPr>
            <p:spPr>
              <a:xfrm>
                <a:off x="550863" y="2565674"/>
                <a:ext cx="11088687" cy="0"/>
              </a:xfrm>
              <a:prstGeom prst="line">
                <a:avLst/>
              </a:prstGeom>
              <a:noFill/>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94" name="MIO_AGENDA_ELEMENT_TITEL_1">
              <a:hlinkClick r:id="" action="ppaction://noaction"/>
              <a:extLst>
                <a:ext uri="{FF2B5EF4-FFF2-40B4-BE49-F238E27FC236}">
                  <a16:creationId xmlns:a16="http://schemas.microsoft.com/office/drawing/2014/main" id="{B5237D2E-7A0C-3857-3DB0-A1CA3891E66A}"/>
                </a:ext>
              </a:extLst>
            </p:cNvPr>
            <p:cNvSpPr>
              <a:spLocks/>
            </p:cNvSpPr>
            <p:nvPr>
              <p:custDataLst>
                <p:tags r:id="rId24"/>
              </p:custDataLst>
            </p:nvPr>
          </p:nvSpPr>
          <p:spPr>
            <a:xfrm>
              <a:off x="1729220" y="2087583"/>
              <a:ext cx="9361707" cy="32606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defTabSz="1218926"/>
              <a:r>
                <a:rPr lang="en-US" sz="1400" dirty="0">
                  <a:solidFill>
                    <a:prstClr val="black"/>
                  </a:solidFill>
                  <a:latin typeface="Arial" panose="020B0604020202020204" pitchFamily="34" charset="0"/>
                </a:rPr>
                <a:t>Company Introduction </a:t>
              </a:r>
              <a:r>
                <a:rPr lang="en-US" altLang="zh-CN" sz="1400" dirty="0">
                  <a:solidFill>
                    <a:prstClr val="black"/>
                  </a:solidFill>
                  <a:latin typeface="Arial" panose="020B0604020202020204" pitchFamily="34" charset="0"/>
                </a:rPr>
                <a:t>of </a:t>
              </a:r>
              <a:r>
                <a:rPr lang="en-US" sz="1400" dirty="0">
                  <a:solidFill>
                    <a:prstClr val="black"/>
                  </a:solidFill>
                  <a:latin typeface="Arial" panose="020B0604020202020204" pitchFamily="34" charset="0"/>
                </a:rPr>
                <a:t>TÜV </a:t>
              </a:r>
              <a:r>
                <a:rPr lang="en-US" sz="1400" dirty="0" err="1">
                  <a:solidFill>
                    <a:prstClr val="black"/>
                  </a:solidFill>
                  <a:latin typeface="Arial" panose="020B0604020202020204" pitchFamily="34" charset="0"/>
                </a:rPr>
                <a:t>Rheinland</a:t>
              </a:r>
              <a:r>
                <a:rPr lang="en-US" sz="1400" dirty="0">
                  <a:solidFill>
                    <a:prstClr val="black"/>
                  </a:solidFill>
                  <a:latin typeface="Arial" panose="020B0604020202020204" pitchFamily="34" charset="0"/>
                </a:rPr>
                <a:t> </a:t>
              </a:r>
              <a:endParaRPr lang="de-DE" sz="1400" dirty="0">
                <a:solidFill>
                  <a:prstClr val="black"/>
                </a:solidFill>
                <a:latin typeface="Arial" panose="020B0604020202020204" pitchFamily="34" charset="0"/>
              </a:endParaRPr>
            </a:p>
          </p:txBody>
        </p:sp>
        <p:sp>
          <p:nvSpPr>
            <p:cNvPr id="95" name="MIO_AGENDA_ELEMENT_ELEMENTNUMBER_1">
              <a:hlinkClick r:id="" action="ppaction://noaction"/>
              <a:extLst>
                <a:ext uri="{FF2B5EF4-FFF2-40B4-BE49-F238E27FC236}">
                  <a16:creationId xmlns:a16="http://schemas.microsoft.com/office/drawing/2014/main" id="{564553BA-5A18-1149-8780-C4B22846DF82}"/>
                </a:ext>
              </a:extLst>
            </p:cNvPr>
            <p:cNvSpPr>
              <a:spLocks/>
            </p:cNvSpPr>
            <p:nvPr>
              <p:custDataLst>
                <p:tags r:id="rId25"/>
              </p:custDataLst>
            </p:nvPr>
          </p:nvSpPr>
          <p:spPr>
            <a:xfrm>
              <a:off x="550863" y="2087839"/>
              <a:ext cx="1223743" cy="32142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7975" tIns="0" rIns="0" bIns="0" rtlCol="0" anchor="ctr" anchorCtr="0">
              <a:noAutofit/>
            </a:bodyPr>
            <a:lstStyle/>
            <a:p>
              <a:pPr defTabSz="1218926"/>
              <a:r>
                <a:rPr lang="de-DE" sz="1400">
                  <a:solidFill>
                    <a:prstClr val="black"/>
                  </a:solidFill>
                  <a:latin typeface="Arial" panose="020B0604020202020204" pitchFamily="34" charset="0"/>
                </a:rPr>
                <a:t>1</a:t>
              </a:r>
              <a:endParaRPr lang="de-DE" sz="1400" dirty="0">
                <a:solidFill>
                  <a:prstClr val="black"/>
                </a:solidFill>
                <a:latin typeface="Arial" panose="020B0604020202020204" pitchFamily="34" charset="0"/>
              </a:endParaRPr>
            </a:p>
          </p:txBody>
        </p:sp>
        <p:sp>
          <p:nvSpPr>
            <p:cNvPr id="96" name="MIO_AGENDA_ELEMENT_PAGENUMBER_1">
              <a:hlinkClick r:id="" action="ppaction://noaction"/>
              <a:extLst>
                <a:ext uri="{FF2B5EF4-FFF2-40B4-BE49-F238E27FC236}">
                  <a16:creationId xmlns:a16="http://schemas.microsoft.com/office/drawing/2014/main" id="{B63C6858-79C7-BD4D-B1C0-57F1271C941A}"/>
                </a:ext>
              </a:extLst>
            </p:cNvPr>
            <p:cNvSpPr txBox="1">
              <a:spLocks/>
            </p:cNvSpPr>
            <p:nvPr>
              <p:custDataLst>
                <p:tags r:id="rId26"/>
              </p:custDataLst>
            </p:nvPr>
          </p:nvSpPr>
          <p:spPr>
            <a:xfrm>
              <a:off x="11136313" y="2087839"/>
              <a:ext cx="503237" cy="326067"/>
            </a:xfrm>
            <a:prstGeom prst="rect">
              <a:avLst/>
            </a:prstGeom>
            <a:noFill/>
          </p:spPr>
          <p:txBody>
            <a:bodyPr wrap="square" lIns="0" tIns="0" rIns="107975" bIns="0" rtlCol="0" anchor="ctr" anchorCtr="0">
              <a:noAutofit/>
            </a:bodyPr>
            <a:lstStyle/>
            <a:p>
              <a:pPr algn="r" defTabSz="1218926"/>
              <a:r>
                <a:rPr lang="de-DE" sz="1400" dirty="0">
                  <a:solidFill>
                    <a:prstClr val="black"/>
                  </a:solidFill>
                  <a:latin typeface="Arial" panose="020B0604020202020204" pitchFamily="34" charset="0"/>
                </a:rPr>
                <a:t>3-5</a:t>
              </a:r>
            </a:p>
          </p:txBody>
        </p:sp>
        <p:sp>
          <p:nvSpPr>
            <p:cNvPr id="97" name="MIO_AGENDA_ELEMENT_TITEL_2">
              <a:hlinkClick r:id="" action="ppaction://noaction"/>
              <a:extLst>
                <a:ext uri="{FF2B5EF4-FFF2-40B4-BE49-F238E27FC236}">
                  <a16:creationId xmlns:a16="http://schemas.microsoft.com/office/drawing/2014/main" id="{5CC40E2E-BB08-6010-1F6D-93E4E4DCB1C4}"/>
                </a:ext>
              </a:extLst>
            </p:cNvPr>
            <p:cNvSpPr>
              <a:spLocks/>
            </p:cNvSpPr>
            <p:nvPr>
              <p:custDataLst>
                <p:tags r:id="rId27"/>
              </p:custDataLst>
            </p:nvPr>
          </p:nvSpPr>
          <p:spPr>
            <a:xfrm>
              <a:off x="1774606" y="2409260"/>
              <a:ext cx="4754315" cy="32606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defTabSz="1218926"/>
              <a:endParaRPr lang="de-DE" sz="1400" dirty="0">
                <a:solidFill>
                  <a:prstClr val="black"/>
                </a:solidFill>
                <a:latin typeface="Arial" panose="020B0604020202020204" pitchFamily="34" charset="0"/>
              </a:endParaRPr>
            </a:p>
          </p:txBody>
        </p:sp>
        <p:sp>
          <p:nvSpPr>
            <p:cNvPr id="98" name="MIO_AGENDA_ELEMENT_ELEMENTNUMBER_2">
              <a:hlinkClick r:id="" action="ppaction://noaction"/>
              <a:extLst>
                <a:ext uri="{FF2B5EF4-FFF2-40B4-BE49-F238E27FC236}">
                  <a16:creationId xmlns:a16="http://schemas.microsoft.com/office/drawing/2014/main" id="{283E62C1-5B51-1171-5E29-D9EB77123C2E}"/>
                </a:ext>
              </a:extLst>
            </p:cNvPr>
            <p:cNvSpPr>
              <a:spLocks/>
            </p:cNvSpPr>
            <p:nvPr>
              <p:custDataLst>
                <p:tags r:id="rId28"/>
              </p:custDataLst>
            </p:nvPr>
          </p:nvSpPr>
          <p:spPr>
            <a:xfrm>
              <a:off x="550863" y="2409260"/>
              <a:ext cx="1223743" cy="32142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7975" tIns="0" rIns="0" bIns="0" rtlCol="0" anchor="ctr" anchorCtr="0">
              <a:noAutofit/>
            </a:bodyPr>
            <a:lstStyle/>
            <a:p>
              <a:pPr defTabSz="1218926"/>
              <a:r>
                <a:rPr lang="de-DE" sz="1400">
                  <a:solidFill>
                    <a:prstClr val="black"/>
                  </a:solidFill>
                  <a:latin typeface="Arial" panose="020B0604020202020204" pitchFamily="34" charset="0"/>
                </a:rPr>
                <a:t>2</a:t>
              </a:r>
              <a:endParaRPr lang="de-DE" sz="1400" dirty="0">
                <a:solidFill>
                  <a:prstClr val="black"/>
                </a:solidFill>
                <a:latin typeface="Arial" panose="020B0604020202020204" pitchFamily="34" charset="0"/>
              </a:endParaRPr>
            </a:p>
          </p:txBody>
        </p:sp>
        <p:sp>
          <p:nvSpPr>
            <p:cNvPr id="99" name="MIO_AGENDA_ELEMENT_PAGENUMBER_2">
              <a:hlinkClick r:id="" action="ppaction://noaction"/>
              <a:extLst>
                <a:ext uri="{FF2B5EF4-FFF2-40B4-BE49-F238E27FC236}">
                  <a16:creationId xmlns:a16="http://schemas.microsoft.com/office/drawing/2014/main" id="{C72F4984-FE11-7195-427B-4854B2B3E92A}"/>
                </a:ext>
              </a:extLst>
            </p:cNvPr>
            <p:cNvSpPr txBox="1">
              <a:spLocks/>
            </p:cNvSpPr>
            <p:nvPr>
              <p:custDataLst>
                <p:tags r:id="rId29"/>
              </p:custDataLst>
            </p:nvPr>
          </p:nvSpPr>
          <p:spPr>
            <a:xfrm>
              <a:off x="11136313" y="2409260"/>
              <a:ext cx="503237" cy="326067"/>
            </a:xfrm>
            <a:prstGeom prst="rect">
              <a:avLst/>
            </a:prstGeom>
            <a:noFill/>
          </p:spPr>
          <p:txBody>
            <a:bodyPr wrap="square" lIns="0" tIns="0" rIns="107975" bIns="0" rtlCol="0" anchor="ctr" anchorCtr="0">
              <a:noAutofit/>
            </a:bodyPr>
            <a:lstStyle/>
            <a:p>
              <a:pPr algn="r" defTabSz="1218926"/>
              <a:r>
                <a:rPr lang="de-DE" sz="1400" dirty="0">
                  <a:solidFill>
                    <a:prstClr val="black"/>
                  </a:solidFill>
                  <a:latin typeface="Arial" panose="020B0604020202020204" pitchFamily="34" charset="0"/>
                </a:rPr>
                <a:t>6-23</a:t>
              </a:r>
            </a:p>
          </p:txBody>
        </p:sp>
        <p:sp>
          <p:nvSpPr>
            <p:cNvPr id="100" name="MIO_AGENDA_ELEMENT_TITEL_3">
              <a:hlinkClick r:id="" action="ppaction://noaction"/>
              <a:extLst>
                <a:ext uri="{FF2B5EF4-FFF2-40B4-BE49-F238E27FC236}">
                  <a16:creationId xmlns:a16="http://schemas.microsoft.com/office/drawing/2014/main" id="{71825B20-A5A9-5CC3-1944-85E41C4484A0}"/>
                </a:ext>
              </a:extLst>
            </p:cNvPr>
            <p:cNvSpPr>
              <a:spLocks/>
            </p:cNvSpPr>
            <p:nvPr>
              <p:custDataLst>
                <p:tags r:id="rId30"/>
              </p:custDataLst>
            </p:nvPr>
          </p:nvSpPr>
          <p:spPr>
            <a:xfrm>
              <a:off x="1759633" y="2744853"/>
              <a:ext cx="2450059" cy="32606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defTabSz="1218926"/>
              <a:r>
                <a:rPr lang="de-DE" sz="1400" dirty="0">
                  <a:solidFill>
                    <a:prstClr val="black"/>
                  </a:solidFill>
                  <a:latin typeface="Arial" panose="020B0604020202020204" pitchFamily="34" charset="0"/>
                </a:rPr>
                <a:t>Extended bankability service</a:t>
              </a:r>
            </a:p>
          </p:txBody>
        </p:sp>
        <p:sp>
          <p:nvSpPr>
            <p:cNvPr id="101" name="MIO_AGENDA_ELEMENT_ELEMENTNUMBER_3">
              <a:hlinkClick r:id="" action="ppaction://noaction"/>
              <a:extLst>
                <a:ext uri="{FF2B5EF4-FFF2-40B4-BE49-F238E27FC236}">
                  <a16:creationId xmlns:a16="http://schemas.microsoft.com/office/drawing/2014/main" id="{4D3BE40E-8BFB-B5EC-B79A-AB167ADB07AE}"/>
                </a:ext>
              </a:extLst>
            </p:cNvPr>
            <p:cNvSpPr>
              <a:spLocks/>
            </p:cNvSpPr>
            <p:nvPr>
              <p:custDataLst>
                <p:tags r:id="rId31"/>
              </p:custDataLst>
            </p:nvPr>
          </p:nvSpPr>
          <p:spPr>
            <a:xfrm>
              <a:off x="550863" y="2730681"/>
              <a:ext cx="1223743" cy="32142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7975" tIns="0" rIns="0" bIns="0" rtlCol="0" anchor="ctr" anchorCtr="0">
              <a:noAutofit/>
            </a:bodyPr>
            <a:lstStyle/>
            <a:p>
              <a:pPr defTabSz="1218926"/>
              <a:r>
                <a:rPr lang="de-DE" sz="1400" dirty="0">
                  <a:solidFill>
                    <a:prstClr val="black"/>
                  </a:solidFill>
                  <a:latin typeface="Arial" panose="020B0604020202020204" pitchFamily="34" charset="0"/>
                </a:rPr>
                <a:t>2.1</a:t>
              </a:r>
            </a:p>
          </p:txBody>
        </p:sp>
        <p:sp>
          <p:nvSpPr>
            <p:cNvPr id="102" name="MIO_AGENDA_ELEMENT_PAGENUMBER_3">
              <a:hlinkClick r:id="" action="ppaction://noaction"/>
              <a:extLst>
                <a:ext uri="{FF2B5EF4-FFF2-40B4-BE49-F238E27FC236}">
                  <a16:creationId xmlns:a16="http://schemas.microsoft.com/office/drawing/2014/main" id="{3DFDAFBC-1FFC-F98C-FD39-D0A77FD2D251}"/>
                </a:ext>
              </a:extLst>
            </p:cNvPr>
            <p:cNvSpPr txBox="1">
              <a:spLocks/>
            </p:cNvSpPr>
            <p:nvPr>
              <p:custDataLst>
                <p:tags r:id="rId32"/>
              </p:custDataLst>
            </p:nvPr>
          </p:nvSpPr>
          <p:spPr>
            <a:xfrm>
              <a:off x="11065425" y="2730681"/>
              <a:ext cx="574125" cy="326067"/>
            </a:xfrm>
            <a:prstGeom prst="rect">
              <a:avLst/>
            </a:prstGeom>
            <a:noFill/>
          </p:spPr>
          <p:txBody>
            <a:bodyPr wrap="square" lIns="0" tIns="0" rIns="107975" bIns="0" rtlCol="0" anchor="ctr" anchorCtr="0">
              <a:noAutofit/>
            </a:bodyPr>
            <a:lstStyle/>
            <a:p>
              <a:pPr algn="r" defTabSz="1218926"/>
              <a:r>
                <a:rPr lang="de-DE" sz="1400" dirty="0">
                  <a:solidFill>
                    <a:prstClr val="black"/>
                  </a:solidFill>
                  <a:latin typeface="Arial" panose="020B0604020202020204" pitchFamily="34" charset="0"/>
                </a:rPr>
                <a:t>6</a:t>
              </a:r>
            </a:p>
          </p:txBody>
        </p:sp>
        <p:sp>
          <p:nvSpPr>
            <p:cNvPr id="103" name="MIO_AGENDA_ELEMENT_TITEL_4">
              <a:hlinkClick r:id="" action="ppaction://noaction"/>
              <a:extLst>
                <a:ext uri="{FF2B5EF4-FFF2-40B4-BE49-F238E27FC236}">
                  <a16:creationId xmlns:a16="http://schemas.microsoft.com/office/drawing/2014/main" id="{C3C36F07-3844-23FF-E4EE-96EAA1E0E7EC}"/>
                </a:ext>
              </a:extLst>
            </p:cNvPr>
            <p:cNvSpPr>
              <a:spLocks/>
            </p:cNvSpPr>
            <p:nvPr>
              <p:custDataLst>
                <p:tags r:id="rId33"/>
              </p:custDataLst>
            </p:nvPr>
          </p:nvSpPr>
          <p:spPr>
            <a:xfrm>
              <a:off x="1774606" y="3052102"/>
              <a:ext cx="7274595" cy="32606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defTabSz="1218926"/>
              <a:endParaRPr lang="de-DE" sz="1400" dirty="0">
                <a:solidFill>
                  <a:prstClr val="black"/>
                </a:solidFill>
                <a:latin typeface="Arial" panose="020B0604020202020204" pitchFamily="34" charset="0"/>
              </a:endParaRPr>
            </a:p>
          </p:txBody>
        </p:sp>
        <p:sp>
          <p:nvSpPr>
            <p:cNvPr id="104" name="MIO_AGENDA_ELEMENT_ELEMENTNUMBER_4">
              <a:hlinkClick r:id="" action="ppaction://noaction"/>
              <a:extLst>
                <a:ext uri="{FF2B5EF4-FFF2-40B4-BE49-F238E27FC236}">
                  <a16:creationId xmlns:a16="http://schemas.microsoft.com/office/drawing/2014/main" id="{8639ED56-0E29-1250-9CB8-6CF147760396}"/>
                </a:ext>
              </a:extLst>
            </p:cNvPr>
            <p:cNvSpPr>
              <a:spLocks/>
            </p:cNvSpPr>
            <p:nvPr>
              <p:custDataLst>
                <p:tags r:id="rId34"/>
              </p:custDataLst>
            </p:nvPr>
          </p:nvSpPr>
          <p:spPr>
            <a:xfrm>
              <a:off x="541339" y="3088576"/>
              <a:ext cx="1223743" cy="32142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7975" tIns="0" rIns="0" bIns="0" rtlCol="0" anchor="ctr" anchorCtr="0">
              <a:noAutofit/>
            </a:bodyPr>
            <a:lstStyle/>
            <a:p>
              <a:pPr defTabSz="1218926"/>
              <a:r>
                <a:rPr lang="de-DE" sz="1400" dirty="0">
                  <a:solidFill>
                    <a:prstClr val="black"/>
                  </a:solidFill>
                  <a:latin typeface="Arial" panose="020B0604020202020204" pitchFamily="34" charset="0"/>
                </a:rPr>
                <a:t>2.2</a:t>
              </a:r>
            </a:p>
          </p:txBody>
        </p:sp>
        <p:sp>
          <p:nvSpPr>
            <p:cNvPr id="105" name="MIO_AGENDA_ELEMENT_PAGENUMBER_4">
              <a:hlinkClick r:id="" action="ppaction://noaction"/>
              <a:extLst>
                <a:ext uri="{FF2B5EF4-FFF2-40B4-BE49-F238E27FC236}">
                  <a16:creationId xmlns:a16="http://schemas.microsoft.com/office/drawing/2014/main" id="{4FD94CB6-993A-6AE8-7FC5-9A0C86D10BB8}"/>
                </a:ext>
              </a:extLst>
            </p:cNvPr>
            <p:cNvSpPr txBox="1">
              <a:spLocks/>
            </p:cNvSpPr>
            <p:nvPr>
              <p:custDataLst>
                <p:tags r:id="rId35"/>
              </p:custDataLst>
            </p:nvPr>
          </p:nvSpPr>
          <p:spPr>
            <a:xfrm>
              <a:off x="10919877" y="3052102"/>
              <a:ext cx="719674" cy="382873"/>
            </a:xfrm>
            <a:prstGeom prst="rect">
              <a:avLst/>
            </a:prstGeom>
            <a:noFill/>
          </p:spPr>
          <p:txBody>
            <a:bodyPr wrap="square" lIns="0" tIns="0" rIns="107975" bIns="0" rtlCol="0" anchor="ctr" anchorCtr="0">
              <a:noAutofit/>
            </a:bodyPr>
            <a:lstStyle/>
            <a:p>
              <a:pPr algn="r" defTabSz="1218926"/>
              <a:r>
                <a:rPr lang="de-DE" sz="1400" dirty="0">
                  <a:solidFill>
                    <a:prstClr val="black"/>
                  </a:solidFill>
                  <a:latin typeface="Arial" panose="020B0604020202020204" pitchFamily="34" charset="0"/>
                </a:rPr>
                <a:t>7</a:t>
              </a:r>
            </a:p>
          </p:txBody>
        </p:sp>
        <p:sp>
          <p:nvSpPr>
            <p:cNvPr id="106" name="MIO_AGENDA_ELEMENT_TITEL_5">
              <a:hlinkClick r:id="rId65" action="ppaction://hlinksldjump"/>
              <a:extLst>
                <a:ext uri="{FF2B5EF4-FFF2-40B4-BE49-F238E27FC236}">
                  <a16:creationId xmlns:a16="http://schemas.microsoft.com/office/drawing/2014/main" id="{2D639D98-D9B2-E608-2074-BFA417DD9B47}"/>
                </a:ext>
              </a:extLst>
            </p:cNvPr>
            <p:cNvSpPr>
              <a:spLocks/>
            </p:cNvSpPr>
            <p:nvPr>
              <p:custDataLst>
                <p:tags r:id="rId36"/>
              </p:custDataLst>
            </p:nvPr>
          </p:nvSpPr>
          <p:spPr>
            <a:xfrm>
              <a:off x="1774606" y="3373522"/>
              <a:ext cx="7202587" cy="32606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defTabSz="1218926"/>
              <a:r>
                <a:rPr lang="en-US" sz="1400" dirty="0">
                  <a:solidFill>
                    <a:prstClr val="black"/>
                  </a:solidFill>
                  <a:latin typeface="Arial" panose="020B0604020202020204" pitchFamily="34" charset="0"/>
                </a:rPr>
                <a:t>Performance and Yield Forecasting</a:t>
              </a:r>
              <a:endParaRPr lang="de-DE" sz="1400" dirty="0">
                <a:solidFill>
                  <a:prstClr val="black"/>
                </a:solidFill>
                <a:latin typeface="Arial" panose="020B0604020202020204" pitchFamily="34" charset="0"/>
              </a:endParaRPr>
            </a:p>
          </p:txBody>
        </p:sp>
        <p:sp>
          <p:nvSpPr>
            <p:cNvPr id="107" name="MIO_AGENDA_ELEMENT_ELEMENTNUMBER_5">
              <a:hlinkClick r:id="rId65" action="ppaction://hlinksldjump"/>
              <a:extLst>
                <a:ext uri="{FF2B5EF4-FFF2-40B4-BE49-F238E27FC236}">
                  <a16:creationId xmlns:a16="http://schemas.microsoft.com/office/drawing/2014/main" id="{B66D91EC-464F-16CF-0C26-8E150CB166F5}"/>
                </a:ext>
              </a:extLst>
            </p:cNvPr>
            <p:cNvSpPr>
              <a:spLocks/>
            </p:cNvSpPr>
            <p:nvPr>
              <p:custDataLst>
                <p:tags r:id="rId37"/>
              </p:custDataLst>
            </p:nvPr>
          </p:nvSpPr>
          <p:spPr>
            <a:xfrm>
              <a:off x="541338" y="3382814"/>
              <a:ext cx="1223743" cy="32142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7975" tIns="0" rIns="0" bIns="0" rtlCol="0" anchor="ctr" anchorCtr="0">
              <a:noAutofit/>
            </a:bodyPr>
            <a:lstStyle/>
            <a:p>
              <a:pPr defTabSz="1218926"/>
              <a:r>
                <a:rPr lang="de-DE" sz="1400" dirty="0">
                  <a:solidFill>
                    <a:prstClr val="black"/>
                  </a:solidFill>
                  <a:latin typeface="Arial" panose="020B0604020202020204" pitchFamily="34" charset="0"/>
                </a:rPr>
                <a:t>2.3</a:t>
              </a:r>
            </a:p>
          </p:txBody>
        </p:sp>
        <p:sp>
          <p:nvSpPr>
            <p:cNvPr id="108" name="MIO_AGENDA_ELEMENT_PAGENUMBER_5">
              <a:hlinkClick r:id="rId65" action="ppaction://hlinksldjump"/>
              <a:extLst>
                <a:ext uri="{FF2B5EF4-FFF2-40B4-BE49-F238E27FC236}">
                  <a16:creationId xmlns:a16="http://schemas.microsoft.com/office/drawing/2014/main" id="{3C12C77D-05C4-03D2-DFAF-DDEA30754B49}"/>
                </a:ext>
              </a:extLst>
            </p:cNvPr>
            <p:cNvSpPr txBox="1">
              <a:spLocks/>
            </p:cNvSpPr>
            <p:nvPr>
              <p:custDataLst>
                <p:tags r:id="rId38"/>
              </p:custDataLst>
            </p:nvPr>
          </p:nvSpPr>
          <p:spPr>
            <a:xfrm>
              <a:off x="11065425" y="3373522"/>
              <a:ext cx="574125" cy="326067"/>
            </a:xfrm>
            <a:prstGeom prst="rect">
              <a:avLst/>
            </a:prstGeom>
            <a:noFill/>
          </p:spPr>
          <p:txBody>
            <a:bodyPr wrap="square" lIns="0" tIns="0" rIns="107975" bIns="0" rtlCol="0" anchor="ctr" anchorCtr="0">
              <a:noAutofit/>
            </a:bodyPr>
            <a:lstStyle/>
            <a:p>
              <a:pPr algn="r" defTabSz="1218926"/>
              <a:r>
                <a:rPr lang="de-DE" sz="1400" dirty="0">
                  <a:solidFill>
                    <a:prstClr val="black"/>
                  </a:solidFill>
                  <a:latin typeface="Arial" panose="020B0604020202020204" pitchFamily="34" charset="0"/>
                </a:rPr>
                <a:t>8-14</a:t>
              </a:r>
            </a:p>
          </p:txBody>
        </p:sp>
        <p:sp>
          <p:nvSpPr>
            <p:cNvPr id="109" name="MIO_AGENDA_ELEMENT_TITEL_6">
              <a:hlinkClick r:id="" action="ppaction://noaction"/>
              <a:extLst>
                <a:ext uri="{FF2B5EF4-FFF2-40B4-BE49-F238E27FC236}">
                  <a16:creationId xmlns:a16="http://schemas.microsoft.com/office/drawing/2014/main" id="{9C7E6627-96FA-93C6-2B69-59FCBF42DA58}"/>
                </a:ext>
              </a:extLst>
            </p:cNvPr>
            <p:cNvSpPr>
              <a:spLocks/>
            </p:cNvSpPr>
            <p:nvPr>
              <p:custDataLst>
                <p:tags r:id="rId39"/>
              </p:custDataLst>
            </p:nvPr>
          </p:nvSpPr>
          <p:spPr>
            <a:xfrm>
              <a:off x="1784129" y="3060013"/>
              <a:ext cx="4337091" cy="3371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defTabSz="1218926"/>
              <a:r>
                <a:rPr lang="de-DE" sz="1400" dirty="0">
                  <a:solidFill>
                    <a:prstClr val="black"/>
                  </a:solidFill>
                  <a:latin typeface="Arial" panose="020B0604020202020204" pitchFamily="34" charset="0"/>
                </a:rPr>
                <a:t>Technical Due Diligence</a:t>
              </a:r>
            </a:p>
          </p:txBody>
        </p:sp>
        <p:sp>
          <p:nvSpPr>
            <p:cNvPr id="110" name="MIO_AGENDA_ELEMENT_ELEMENTNUMBER_6">
              <a:hlinkClick r:id="" action="ppaction://noaction"/>
              <a:extLst>
                <a:ext uri="{FF2B5EF4-FFF2-40B4-BE49-F238E27FC236}">
                  <a16:creationId xmlns:a16="http://schemas.microsoft.com/office/drawing/2014/main" id="{DD311346-86E9-011A-7B14-260BE0167090}"/>
                </a:ext>
              </a:extLst>
            </p:cNvPr>
            <p:cNvSpPr>
              <a:spLocks/>
            </p:cNvSpPr>
            <p:nvPr>
              <p:custDataLst>
                <p:tags r:id="rId40"/>
              </p:custDataLst>
            </p:nvPr>
          </p:nvSpPr>
          <p:spPr>
            <a:xfrm>
              <a:off x="541337" y="3722125"/>
              <a:ext cx="1223743" cy="32142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7975" tIns="0" rIns="0" bIns="0" rtlCol="0" anchor="ctr" anchorCtr="0">
              <a:noAutofit/>
            </a:bodyPr>
            <a:lstStyle/>
            <a:p>
              <a:pPr defTabSz="1218926"/>
              <a:r>
                <a:rPr lang="de-DE" sz="1400" dirty="0">
                  <a:solidFill>
                    <a:prstClr val="black"/>
                  </a:solidFill>
                  <a:latin typeface="Arial" panose="020B0604020202020204" pitchFamily="34" charset="0"/>
                </a:rPr>
                <a:t>2.4</a:t>
              </a:r>
            </a:p>
          </p:txBody>
        </p:sp>
        <p:sp>
          <p:nvSpPr>
            <p:cNvPr id="111" name="MIO_AGENDA_ELEMENT_PAGENUMBER_6">
              <a:hlinkClick r:id="" action="ppaction://noaction"/>
              <a:extLst>
                <a:ext uri="{FF2B5EF4-FFF2-40B4-BE49-F238E27FC236}">
                  <a16:creationId xmlns:a16="http://schemas.microsoft.com/office/drawing/2014/main" id="{81F0A68B-1B70-2598-0ADC-24F86AAB425B}"/>
                </a:ext>
              </a:extLst>
            </p:cNvPr>
            <p:cNvSpPr txBox="1">
              <a:spLocks/>
            </p:cNvSpPr>
            <p:nvPr>
              <p:custDataLst>
                <p:tags r:id="rId41"/>
              </p:custDataLst>
            </p:nvPr>
          </p:nvSpPr>
          <p:spPr>
            <a:xfrm>
              <a:off x="10919877" y="3694944"/>
              <a:ext cx="719673" cy="321418"/>
            </a:xfrm>
            <a:prstGeom prst="rect">
              <a:avLst/>
            </a:prstGeom>
            <a:noFill/>
          </p:spPr>
          <p:txBody>
            <a:bodyPr wrap="square" lIns="0" tIns="0" rIns="107975" bIns="0" rtlCol="0" anchor="ctr" anchorCtr="0">
              <a:noAutofit/>
            </a:bodyPr>
            <a:lstStyle/>
            <a:p>
              <a:pPr algn="r" defTabSz="1218926"/>
              <a:r>
                <a:rPr lang="de-DE" sz="1400" dirty="0">
                  <a:solidFill>
                    <a:prstClr val="black"/>
                  </a:solidFill>
                  <a:latin typeface="Arial" panose="020B0604020202020204" pitchFamily="34" charset="0"/>
                </a:rPr>
                <a:t>15-18</a:t>
              </a:r>
            </a:p>
          </p:txBody>
        </p:sp>
        <p:sp>
          <p:nvSpPr>
            <p:cNvPr id="113" name="MIO_AGENDA_ELEMENT_ELEMENTNUMBER_7">
              <a:hlinkClick r:id="" action="ppaction://noaction"/>
              <a:extLst>
                <a:ext uri="{FF2B5EF4-FFF2-40B4-BE49-F238E27FC236}">
                  <a16:creationId xmlns:a16="http://schemas.microsoft.com/office/drawing/2014/main" id="{56A7D7B7-6159-9A66-C399-89CCEF7BBC5E}"/>
                </a:ext>
              </a:extLst>
            </p:cNvPr>
            <p:cNvSpPr>
              <a:spLocks/>
            </p:cNvSpPr>
            <p:nvPr>
              <p:custDataLst>
                <p:tags r:id="rId42"/>
              </p:custDataLst>
            </p:nvPr>
          </p:nvSpPr>
          <p:spPr>
            <a:xfrm>
              <a:off x="550863" y="4016363"/>
              <a:ext cx="1223743" cy="32142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7975" tIns="0" rIns="0" bIns="0" rtlCol="0" anchor="ctr" anchorCtr="0">
              <a:noAutofit/>
            </a:bodyPr>
            <a:lstStyle/>
            <a:p>
              <a:pPr defTabSz="1218926"/>
              <a:endParaRPr lang="de-DE" sz="1400" dirty="0">
                <a:solidFill>
                  <a:prstClr val="black"/>
                </a:solidFill>
                <a:latin typeface="Arial" panose="020B0604020202020204" pitchFamily="34" charset="0"/>
              </a:endParaRPr>
            </a:p>
          </p:txBody>
        </p:sp>
        <p:sp>
          <p:nvSpPr>
            <p:cNvPr id="114" name="MIO_AGENDA_ELEMENT_PAGENUMBER_7">
              <a:hlinkClick r:id="" action="ppaction://noaction"/>
              <a:extLst>
                <a:ext uri="{FF2B5EF4-FFF2-40B4-BE49-F238E27FC236}">
                  <a16:creationId xmlns:a16="http://schemas.microsoft.com/office/drawing/2014/main" id="{FD4953D6-B150-BE78-089E-403D030C5EE3}"/>
                </a:ext>
              </a:extLst>
            </p:cNvPr>
            <p:cNvSpPr txBox="1">
              <a:spLocks/>
            </p:cNvSpPr>
            <p:nvPr>
              <p:custDataLst>
                <p:tags r:id="rId43"/>
              </p:custDataLst>
            </p:nvPr>
          </p:nvSpPr>
          <p:spPr>
            <a:xfrm>
              <a:off x="10993417" y="4016363"/>
              <a:ext cx="646133" cy="326067"/>
            </a:xfrm>
            <a:prstGeom prst="rect">
              <a:avLst/>
            </a:prstGeom>
            <a:noFill/>
          </p:spPr>
          <p:txBody>
            <a:bodyPr wrap="square" lIns="0" tIns="0" rIns="107975" bIns="0" rtlCol="0" anchor="ctr" anchorCtr="0">
              <a:noAutofit/>
            </a:bodyPr>
            <a:lstStyle/>
            <a:p>
              <a:pPr algn="r" defTabSz="1218926"/>
              <a:r>
                <a:rPr lang="de-DE" sz="1400" dirty="0">
                  <a:solidFill>
                    <a:prstClr val="black"/>
                  </a:solidFill>
                  <a:latin typeface="Arial" panose="020B0604020202020204" pitchFamily="34" charset="0"/>
                </a:rPr>
                <a:t>19-21</a:t>
              </a:r>
            </a:p>
          </p:txBody>
        </p:sp>
        <p:sp>
          <p:nvSpPr>
            <p:cNvPr id="115" name="MIO_AGENDA_ELEMENT_TITEL_8">
              <a:hlinkClick r:id="" action="ppaction://noaction"/>
              <a:extLst>
                <a:ext uri="{FF2B5EF4-FFF2-40B4-BE49-F238E27FC236}">
                  <a16:creationId xmlns:a16="http://schemas.microsoft.com/office/drawing/2014/main" id="{B0B8EBA7-4C0D-5E71-A974-6D788920C929}"/>
                </a:ext>
              </a:extLst>
            </p:cNvPr>
            <p:cNvSpPr>
              <a:spLocks/>
            </p:cNvSpPr>
            <p:nvPr>
              <p:custDataLst>
                <p:tags r:id="rId44"/>
              </p:custDataLst>
            </p:nvPr>
          </p:nvSpPr>
          <p:spPr>
            <a:xfrm>
              <a:off x="1784130" y="3699589"/>
              <a:ext cx="4240736" cy="32606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defTabSz="1218926"/>
              <a:r>
                <a:rPr lang="en-US" sz="1400" dirty="0">
                  <a:solidFill>
                    <a:prstClr val="black"/>
                  </a:solidFill>
                  <a:latin typeface="Arial" panose="020B0604020202020204" pitchFamily="34" charset="0"/>
                </a:rPr>
                <a:t>Certification and Compliance</a:t>
              </a:r>
            </a:p>
          </p:txBody>
        </p:sp>
      </p:grpSp>
      <p:sp>
        <p:nvSpPr>
          <p:cNvPr id="149" name="Titel 1">
            <a:extLst>
              <a:ext uri="{FF2B5EF4-FFF2-40B4-BE49-F238E27FC236}">
                <a16:creationId xmlns:a16="http://schemas.microsoft.com/office/drawing/2014/main" id="{00834834-BC26-D20F-83CA-B830F76B384D}"/>
              </a:ext>
            </a:extLst>
          </p:cNvPr>
          <p:cNvSpPr>
            <a:spLocks noGrp="1"/>
          </p:cNvSpPr>
          <p:nvPr>
            <p:ph type="title"/>
            <p:custDataLst>
              <p:tags r:id="rId2"/>
            </p:custDataLst>
          </p:nvPr>
        </p:nvSpPr>
        <p:spPr>
          <a:xfrm>
            <a:off x="552939" y="405280"/>
            <a:ext cx="11086122" cy="431900"/>
          </a:xfrm>
        </p:spPr>
        <p:txBody>
          <a:bodyPr/>
          <a:lstStyle/>
          <a:p>
            <a:r>
              <a:rPr lang="de-DE" dirty="0"/>
              <a:t>Agenda</a:t>
            </a:r>
          </a:p>
        </p:txBody>
      </p:sp>
      <p:sp>
        <p:nvSpPr>
          <p:cNvPr id="151" name="TextBox 150">
            <a:extLst>
              <a:ext uri="{FF2B5EF4-FFF2-40B4-BE49-F238E27FC236}">
                <a16:creationId xmlns:a16="http://schemas.microsoft.com/office/drawing/2014/main" id="{D6F27A8A-3E31-E19B-14C3-2DCF9629D0A5}"/>
              </a:ext>
            </a:extLst>
          </p:cNvPr>
          <p:cNvSpPr txBox="1"/>
          <p:nvPr/>
        </p:nvSpPr>
        <p:spPr>
          <a:xfrm>
            <a:off x="1647793" y="2028194"/>
            <a:ext cx="6215005" cy="307706"/>
          </a:xfrm>
          <a:prstGeom prst="rect">
            <a:avLst/>
          </a:prstGeom>
          <a:noFill/>
        </p:spPr>
        <p:txBody>
          <a:bodyPr wrap="square">
            <a:spAutoFit/>
          </a:bodyPr>
          <a:lstStyle/>
          <a:p>
            <a:pPr defTabSz="1218926"/>
            <a:r>
              <a:rPr lang="en-US" altLang="zh-CN" sz="1400" dirty="0">
                <a:solidFill>
                  <a:prstClr val="black"/>
                </a:solidFill>
                <a:latin typeface="Arial" panose="020B0604020202020204" pitchFamily="34" charset="0"/>
              </a:rPr>
              <a:t>TÜV </a:t>
            </a:r>
            <a:r>
              <a:rPr lang="en-US" altLang="zh-CN" sz="1400" dirty="0" err="1">
                <a:solidFill>
                  <a:prstClr val="black"/>
                </a:solidFill>
                <a:latin typeface="Arial" panose="020B0604020202020204" pitchFamily="34" charset="0"/>
              </a:rPr>
              <a:t>Rheinland’s</a:t>
            </a:r>
            <a:r>
              <a:rPr lang="en-US" altLang="zh-CN" sz="1400" dirty="0">
                <a:solidFill>
                  <a:prstClr val="black"/>
                </a:solidFill>
                <a:latin typeface="Arial" panose="020B0604020202020204" pitchFamily="34" charset="0"/>
              </a:rPr>
              <a:t> Solution for PV Systems and Products</a:t>
            </a:r>
            <a:endParaRPr lang="en-US" sz="1400" dirty="0">
              <a:solidFill>
                <a:prstClr val="black"/>
              </a:solidFill>
              <a:latin typeface="Arial" panose="020B0604020202020204" pitchFamily="34" charset="0"/>
            </a:endParaRPr>
          </a:p>
        </p:txBody>
      </p:sp>
      <p:sp>
        <p:nvSpPr>
          <p:cNvPr id="152" name="MIO_AGENDA_ELEMENT_TITEL_8">
            <a:hlinkClick r:id="" action="ppaction://noaction"/>
            <a:extLst>
              <a:ext uri="{FF2B5EF4-FFF2-40B4-BE49-F238E27FC236}">
                <a16:creationId xmlns:a16="http://schemas.microsoft.com/office/drawing/2014/main" id="{9D18F285-90EB-A4A3-20F3-EC2EEBDD8D04}"/>
              </a:ext>
            </a:extLst>
          </p:cNvPr>
          <p:cNvSpPr>
            <a:spLocks/>
          </p:cNvSpPr>
          <p:nvPr>
            <p:custDataLst>
              <p:tags r:id="rId3"/>
            </p:custDataLst>
          </p:nvPr>
        </p:nvSpPr>
        <p:spPr>
          <a:xfrm>
            <a:off x="1784254" y="3628943"/>
            <a:ext cx="4239755" cy="325992"/>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defTabSz="1218926"/>
            <a:r>
              <a:rPr lang="en-US" sz="1400" dirty="0">
                <a:solidFill>
                  <a:prstClr val="black"/>
                </a:solidFill>
                <a:latin typeface="Arial" panose="020B0604020202020204" pitchFamily="34" charset="0"/>
              </a:rPr>
              <a:t>Lifecycle Management &amp; Supply Chain Service</a:t>
            </a:r>
          </a:p>
        </p:txBody>
      </p:sp>
      <p:sp>
        <p:nvSpPr>
          <p:cNvPr id="153" name="MIO_AGENDA_ELEMENT_TITEL_8">
            <a:hlinkClick r:id="" action="ppaction://noaction"/>
            <a:extLst>
              <a:ext uri="{FF2B5EF4-FFF2-40B4-BE49-F238E27FC236}">
                <a16:creationId xmlns:a16="http://schemas.microsoft.com/office/drawing/2014/main" id="{50B7EF85-C041-B504-3B1C-B06D0CA9BCA0}"/>
              </a:ext>
            </a:extLst>
          </p:cNvPr>
          <p:cNvSpPr>
            <a:spLocks/>
          </p:cNvSpPr>
          <p:nvPr>
            <p:custDataLst>
              <p:tags r:id="rId4"/>
            </p:custDataLst>
          </p:nvPr>
        </p:nvSpPr>
        <p:spPr>
          <a:xfrm>
            <a:off x="1785287" y="3973465"/>
            <a:ext cx="4239755" cy="325992"/>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defTabSz="1218926"/>
            <a:r>
              <a:rPr lang="en-US" sz="1400" dirty="0">
                <a:solidFill>
                  <a:prstClr val="black"/>
                </a:solidFill>
                <a:latin typeface="Arial" panose="020B0604020202020204" pitchFamily="34" charset="0"/>
              </a:rPr>
              <a:t>ESG and Sustainability </a:t>
            </a:r>
          </a:p>
        </p:txBody>
      </p:sp>
      <p:sp>
        <p:nvSpPr>
          <p:cNvPr id="154" name="MIO_AGENDA_ELEMENT_TITEL_8">
            <a:hlinkClick r:id="" action="ppaction://noaction"/>
            <a:extLst>
              <a:ext uri="{FF2B5EF4-FFF2-40B4-BE49-F238E27FC236}">
                <a16:creationId xmlns:a16="http://schemas.microsoft.com/office/drawing/2014/main" id="{4518B0E8-0AD1-B539-ECA4-FB0526652D5D}"/>
              </a:ext>
            </a:extLst>
          </p:cNvPr>
          <p:cNvSpPr>
            <a:spLocks/>
          </p:cNvSpPr>
          <p:nvPr>
            <p:custDataLst>
              <p:tags r:id="rId5"/>
            </p:custDataLst>
          </p:nvPr>
        </p:nvSpPr>
        <p:spPr>
          <a:xfrm>
            <a:off x="1784254" y="4295906"/>
            <a:ext cx="4239755" cy="325992"/>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defTabSz="1218926"/>
            <a:r>
              <a:rPr lang="en-US" sz="1400" dirty="0">
                <a:solidFill>
                  <a:prstClr val="black"/>
                </a:solidFill>
                <a:latin typeface="Arial" panose="020B0604020202020204" pitchFamily="34" charset="0"/>
              </a:rPr>
              <a:t>Today for Tomorrow </a:t>
            </a:r>
            <a:r>
              <a:rPr lang="en-US" altLang="zh-CN" sz="1400" dirty="0">
                <a:solidFill>
                  <a:prstClr val="black"/>
                </a:solidFill>
                <a:latin typeface="Arial" panose="020B0604020202020204" pitchFamily="34" charset="0"/>
              </a:rPr>
              <a:t>—— Join us!</a:t>
            </a:r>
            <a:endParaRPr lang="en-US" sz="1400" dirty="0">
              <a:solidFill>
                <a:prstClr val="black"/>
              </a:solidFill>
              <a:latin typeface="Arial" panose="020B0604020202020204" pitchFamily="34" charset="0"/>
            </a:endParaRPr>
          </a:p>
        </p:txBody>
      </p:sp>
      <p:sp>
        <p:nvSpPr>
          <p:cNvPr id="155" name="MIO_AGENDA_ELEMENT_ELEMENTNUMBER_6">
            <a:hlinkClick r:id="" action="ppaction://noaction"/>
            <a:extLst>
              <a:ext uri="{FF2B5EF4-FFF2-40B4-BE49-F238E27FC236}">
                <a16:creationId xmlns:a16="http://schemas.microsoft.com/office/drawing/2014/main" id="{6127A609-9B20-9AD6-CED3-B3BC5C057D30}"/>
              </a:ext>
            </a:extLst>
          </p:cNvPr>
          <p:cNvSpPr>
            <a:spLocks/>
          </p:cNvSpPr>
          <p:nvPr>
            <p:custDataLst>
              <p:tags r:id="rId6"/>
            </p:custDataLst>
          </p:nvPr>
        </p:nvSpPr>
        <p:spPr>
          <a:xfrm>
            <a:off x="541749" y="3656146"/>
            <a:ext cx="1223460" cy="32134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7975" tIns="0" rIns="0" bIns="0" rtlCol="0" anchor="ctr" anchorCtr="0">
            <a:noAutofit/>
          </a:bodyPr>
          <a:lstStyle/>
          <a:p>
            <a:pPr defTabSz="1218926"/>
            <a:r>
              <a:rPr lang="de-DE" sz="1400" dirty="0">
                <a:solidFill>
                  <a:prstClr val="black"/>
                </a:solidFill>
                <a:latin typeface="Arial" panose="020B0604020202020204" pitchFamily="34" charset="0"/>
              </a:rPr>
              <a:t>2.5</a:t>
            </a:r>
          </a:p>
        </p:txBody>
      </p:sp>
      <p:sp>
        <p:nvSpPr>
          <p:cNvPr id="156" name="MIO_AGENDA_ELEMENT_ELEMENTNUMBER_6">
            <a:hlinkClick r:id="" action="ppaction://noaction"/>
            <a:extLst>
              <a:ext uri="{FF2B5EF4-FFF2-40B4-BE49-F238E27FC236}">
                <a16:creationId xmlns:a16="http://schemas.microsoft.com/office/drawing/2014/main" id="{2CB35628-58B3-359C-D695-7A0A3F017D44}"/>
              </a:ext>
            </a:extLst>
          </p:cNvPr>
          <p:cNvSpPr>
            <a:spLocks/>
          </p:cNvSpPr>
          <p:nvPr>
            <p:custDataLst>
              <p:tags r:id="rId7"/>
            </p:custDataLst>
          </p:nvPr>
        </p:nvSpPr>
        <p:spPr>
          <a:xfrm>
            <a:off x="532224" y="3957207"/>
            <a:ext cx="1223460" cy="32134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7975" tIns="0" rIns="0" bIns="0" rtlCol="0" anchor="ctr" anchorCtr="0">
            <a:noAutofit/>
          </a:bodyPr>
          <a:lstStyle/>
          <a:p>
            <a:pPr defTabSz="1218926"/>
            <a:r>
              <a:rPr lang="de-DE" sz="1400" dirty="0">
                <a:solidFill>
                  <a:prstClr val="black"/>
                </a:solidFill>
                <a:latin typeface="Arial" panose="020B0604020202020204" pitchFamily="34" charset="0"/>
              </a:rPr>
              <a:t>2.6</a:t>
            </a:r>
          </a:p>
        </p:txBody>
      </p:sp>
      <p:sp>
        <p:nvSpPr>
          <p:cNvPr id="157" name="MIO_AGENDA_ELEMENT_ELEMENTNUMBER_6">
            <a:hlinkClick r:id="" action="ppaction://noaction"/>
            <a:extLst>
              <a:ext uri="{FF2B5EF4-FFF2-40B4-BE49-F238E27FC236}">
                <a16:creationId xmlns:a16="http://schemas.microsoft.com/office/drawing/2014/main" id="{AF69B5FB-DAB5-5AB8-9917-0F0E2F7CF358}"/>
              </a:ext>
            </a:extLst>
          </p:cNvPr>
          <p:cNvSpPr>
            <a:spLocks/>
          </p:cNvSpPr>
          <p:nvPr>
            <p:custDataLst>
              <p:tags r:id="rId8"/>
            </p:custDataLst>
          </p:nvPr>
        </p:nvSpPr>
        <p:spPr>
          <a:xfrm>
            <a:off x="575354" y="4290116"/>
            <a:ext cx="1223460" cy="32134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7975" tIns="0" rIns="0" bIns="0" rtlCol="0" anchor="ctr" anchorCtr="0">
            <a:noAutofit/>
          </a:bodyPr>
          <a:lstStyle/>
          <a:p>
            <a:pPr defTabSz="1218926"/>
            <a:r>
              <a:rPr lang="de-DE" sz="1400" dirty="0">
                <a:solidFill>
                  <a:prstClr val="black"/>
                </a:solidFill>
                <a:latin typeface="Arial" panose="020B0604020202020204" pitchFamily="34" charset="0"/>
              </a:rPr>
              <a:t>3</a:t>
            </a:r>
          </a:p>
        </p:txBody>
      </p:sp>
      <p:sp>
        <p:nvSpPr>
          <p:cNvPr id="158" name="MIO_AGENDA_ELEMENT_PAGENUMBER_6">
            <a:hlinkClick r:id="" action="ppaction://noaction"/>
            <a:extLst>
              <a:ext uri="{FF2B5EF4-FFF2-40B4-BE49-F238E27FC236}">
                <a16:creationId xmlns:a16="http://schemas.microsoft.com/office/drawing/2014/main" id="{A3F8576C-8C3B-A2C3-ED8D-5A6ED8529EA7}"/>
              </a:ext>
            </a:extLst>
          </p:cNvPr>
          <p:cNvSpPr txBox="1">
            <a:spLocks/>
          </p:cNvSpPr>
          <p:nvPr>
            <p:custDataLst>
              <p:tags r:id="rId9"/>
            </p:custDataLst>
          </p:nvPr>
        </p:nvSpPr>
        <p:spPr>
          <a:xfrm>
            <a:off x="11143798" y="3961976"/>
            <a:ext cx="503121" cy="325992"/>
          </a:xfrm>
          <a:prstGeom prst="rect">
            <a:avLst/>
          </a:prstGeom>
          <a:noFill/>
        </p:spPr>
        <p:txBody>
          <a:bodyPr wrap="square" lIns="0" tIns="0" rIns="107975" bIns="0" rtlCol="0" anchor="ctr" anchorCtr="0">
            <a:noAutofit/>
          </a:bodyPr>
          <a:lstStyle/>
          <a:p>
            <a:pPr algn="r" defTabSz="1218926"/>
            <a:r>
              <a:rPr lang="de-DE" sz="1400" dirty="0">
                <a:solidFill>
                  <a:prstClr val="black"/>
                </a:solidFill>
                <a:latin typeface="Arial" panose="020B0604020202020204" pitchFamily="34" charset="0"/>
              </a:rPr>
              <a:t>22</a:t>
            </a:r>
          </a:p>
        </p:txBody>
      </p:sp>
      <p:sp>
        <p:nvSpPr>
          <p:cNvPr id="159" name="MIO_AGENDA_ELEMENT_PAGENUMBER_6">
            <a:hlinkClick r:id="" action="ppaction://noaction"/>
            <a:extLst>
              <a:ext uri="{FF2B5EF4-FFF2-40B4-BE49-F238E27FC236}">
                <a16:creationId xmlns:a16="http://schemas.microsoft.com/office/drawing/2014/main" id="{35CA2CEB-A8D1-0D45-4FFF-2353164FAA5C}"/>
              </a:ext>
            </a:extLst>
          </p:cNvPr>
          <p:cNvSpPr txBox="1">
            <a:spLocks/>
          </p:cNvSpPr>
          <p:nvPr>
            <p:custDataLst>
              <p:tags r:id="rId10"/>
            </p:custDataLst>
          </p:nvPr>
        </p:nvSpPr>
        <p:spPr>
          <a:xfrm>
            <a:off x="11143798" y="4290116"/>
            <a:ext cx="503121" cy="325992"/>
          </a:xfrm>
          <a:prstGeom prst="rect">
            <a:avLst/>
          </a:prstGeom>
          <a:noFill/>
        </p:spPr>
        <p:txBody>
          <a:bodyPr wrap="square" lIns="0" tIns="0" rIns="107975" bIns="0" rtlCol="0" anchor="ctr" anchorCtr="0">
            <a:noAutofit/>
          </a:bodyPr>
          <a:lstStyle/>
          <a:p>
            <a:pPr algn="r" defTabSz="1218926"/>
            <a:r>
              <a:rPr lang="de-DE" sz="1400" dirty="0">
                <a:solidFill>
                  <a:prstClr val="black"/>
                </a:solidFill>
                <a:latin typeface="Arial" panose="020B0604020202020204" pitchFamily="34" charset="0"/>
              </a:rPr>
              <a:t>22</a:t>
            </a:r>
          </a:p>
        </p:txBody>
      </p:sp>
    </p:spTree>
    <p:extLst>
      <p:ext uri="{BB962C8B-B14F-4D97-AF65-F5344CB8AC3E}">
        <p14:creationId xmlns:p14="http://schemas.microsoft.com/office/powerpoint/2010/main" val="279871526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Objekt 44" hidden="1"/>
          <p:cNvGraphicFramePr>
            <a:graphicFrameLocks noChangeAspect="1"/>
          </p:cNvGraphicFramePr>
          <p:nvPr>
            <p:custDataLst>
              <p:tags r:id="rId1"/>
            </p:custDataLst>
          </p:nvPr>
        </p:nvGraphicFramePr>
        <p:xfrm>
          <a:off x="3793" y="1588"/>
          <a:ext cx="1587" cy="1587"/>
        </p:xfrm>
        <a:graphic>
          <a:graphicData uri="http://schemas.openxmlformats.org/presentationml/2006/ole">
            <mc:AlternateContent xmlns:mc="http://schemas.openxmlformats.org/markup-compatibility/2006">
              <mc:Choice xmlns:v="urn:schemas-microsoft-com:vml" Requires="v">
                <p:oleObj name="think-cell Folie" r:id="rId9" imgW="360" imgH="360" progId="">
                  <p:embed/>
                </p:oleObj>
              </mc:Choice>
              <mc:Fallback>
                <p:oleObj name="think-cell Folie" r:id="rId9" imgW="360" imgH="360" progId="">
                  <p:embed/>
                  <p:pic>
                    <p:nvPicPr>
                      <p:cNvPr id="45" name="Objekt 44"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793"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1" name="Grafik 10"/>
          <p:cNvPicPr>
            <a:picLocks noChangeAspect="1"/>
          </p:cNvPicPr>
          <p:nvPr>
            <p:custDataLst>
              <p:tags r:id="rId2"/>
            </p:custDataLst>
          </p:nvPr>
        </p:nvPicPr>
        <p:blipFill rotWithShape="1">
          <a:blip r:embed="rId11" cstate="email">
            <a:extLst>
              <a:ext uri="{28A0092B-C50C-407E-A947-70E740481C1C}">
                <a14:useLocalDpi xmlns:a14="http://schemas.microsoft.com/office/drawing/2010/main"/>
              </a:ext>
            </a:extLst>
          </a:blip>
          <a:srcRect/>
          <a:stretch/>
        </p:blipFill>
        <p:spPr>
          <a:xfrm>
            <a:off x="804322" y="1690463"/>
            <a:ext cx="3095714" cy="2303727"/>
          </a:xfrm>
          <a:prstGeom prst="rect">
            <a:avLst/>
          </a:prstGeom>
          <a:noFill/>
          <a:ln>
            <a:noFill/>
          </a:ln>
        </p:spPr>
      </p:pic>
      <p:sp>
        <p:nvSpPr>
          <p:cNvPr id="10" name="Titel 9"/>
          <p:cNvSpPr>
            <a:spLocks noGrp="1"/>
          </p:cNvSpPr>
          <p:nvPr>
            <p:ph type="title"/>
            <p:custDataLst>
              <p:tags r:id="rId3"/>
            </p:custDataLst>
          </p:nvPr>
        </p:nvSpPr>
        <p:spPr/>
        <p:txBody>
          <a:bodyPr/>
          <a:lstStyle/>
          <a:p>
            <a:r>
              <a:rPr lang="en-US" dirty="0"/>
              <a:t>Safety and Quality Alongside the Energy Revolution.</a:t>
            </a:r>
          </a:p>
        </p:txBody>
      </p:sp>
      <p:sp>
        <p:nvSpPr>
          <p:cNvPr id="2" name="Datumsplatzhalter 1"/>
          <p:cNvSpPr>
            <a:spLocks noGrp="1"/>
          </p:cNvSpPr>
          <p:nvPr>
            <p:ph type="dt" sz="half" idx="10"/>
          </p:nvPr>
        </p:nvSpPr>
        <p:spPr/>
        <p:txBody>
          <a:bodyPr/>
          <a:lstStyle/>
          <a:p>
            <a:pPr defTabSz="1218926"/>
            <a:fld id="{D1A93B92-A03D-4714-A28F-7AAB8C532BAB}" type="datetime1">
              <a:rPr lang="en-US">
                <a:solidFill>
                  <a:prstClr val="black"/>
                </a:solidFill>
                <a:latin typeface="Arial"/>
              </a:rPr>
              <a:pPr defTabSz="1218926"/>
              <a:t>10/22/2024</a:t>
            </a:fld>
            <a:endParaRPr lang="en-US" dirty="0">
              <a:solidFill>
                <a:prstClr val="black"/>
              </a:solidFill>
              <a:latin typeface="Arial"/>
            </a:endParaRPr>
          </a:p>
        </p:txBody>
      </p:sp>
      <p:sp>
        <p:nvSpPr>
          <p:cNvPr id="6" name="Foliennummernplatzhalter 5"/>
          <p:cNvSpPr>
            <a:spLocks noGrp="1"/>
          </p:cNvSpPr>
          <p:nvPr>
            <p:ph type="sldNum" sz="quarter" idx="12"/>
          </p:nvPr>
        </p:nvSpPr>
        <p:spPr/>
        <p:txBody>
          <a:bodyPr/>
          <a:lstStyle/>
          <a:p>
            <a:pPr defTabSz="1218926"/>
            <a:fld id="{4915BD61-E5D5-4E4F-ADA0-6F3448AB9FA6}" type="slidenum">
              <a:rPr lang="en-US">
                <a:solidFill>
                  <a:prstClr val="black"/>
                </a:solidFill>
                <a:latin typeface="Arial"/>
              </a:rPr>
              <a:pPr defTabSz="1218926"/>
              <a:t>48</a:t>
            </a:fld>
            <a:endParaRPr lang="en-US" dirty="0">
              <a:solidFill>
                <a:prstClr val="black"/>
              </a:solidFill>
              <a:latin typeface="Arial"/>
            </a:endParaRPr>
          </a:p>
        </p:txBody>
      </p:sp>
      <p:sp>
        <p:nvSpPr>
          <p:cNvPr id="8" name="Inhaltsplatzhalter 7"/>
          <p:cNvSpPr>
            <a:spLocks noGrp="1"/>
          </p:cNvSpPr>
          <p:nvPr>
            <p:ph sz="quarter" idx="14"/>
            <p:custDataLst>
              <p:tags r:id="rId4"/>
            </p:custDataLst>
          </p:nvPr>
        </p:nvSpPr>
        <p:spPr>
          <a:xfrm>
            <a:off x="569971" y="4184861"/>
            <a:ext cx="3455344" cy="1763316"/>
          </a:xfrm>
          <a:ln>
            <a:noFill/>
          </a:ln>
        </p:spPr>
        <p:txBody>
          <a:bodyPr/>
          <a:lstStyle/>
          <a:p>
            <a:pPr marL="207920" lvl="1" indent="0">
              <a:buNone/>
            </a:pPr>
            <a:r>
              <a:rPr lang="en-US" dirty="0"/>
              <a:t>TÜV Rheinland was founded as part of </a:t>
            </a:r>
            <a:br>
              <a:rPr lang="en-US" dirty="0"/>
            </a:br>
            <a:r>
              <a:rPr lang="en-US" dirty="0"/>
              <a:t>the German Steam Boiler Association.</a:t>
            </a:r>
            <a:br>
              <a:rPr lang="en-US" dirty="0"/>
            </a:br>
            <a:r>
              <a:rPr lang="en-US" dirty="0"/>
              <a:t>A company with a clear mission: </a:t>
            </a:r>
            <a:br>
              <a:rPr lang="en-US" dirty="0"/>
            </a:br>
            <a:r>
              <a:rPr lang="en-US" dirty="0">
                <a:solidFill>
                  <a:srgbClr val="0070C0"/>
                </a:solidFill>
              </a:rPr>
              <a:t>to make new technologies controllable.</a:t>
            </a:r>
          </a:p>
        </p:txBody>
      </p:sp>
      <p:sp>
        <p:nvSpPr>
          <p:cNvPr id="9" name="Inhaltsplatzhalter 8"/>
          <p:cNvSpPr>
            <a:spLocks noGrp="1"/>
          </p:cNvSpPr>
          <p:nvPr>
            <p:ph sz="quarter" idx="17"/>
            <p:custDataLst>
              <p:tags r:id="rId5"/>
            </p:custDataLst>
          </p:nvPr>
        </p:nvSpPr>
        <p:spPr>
          <a:xfrm>
            <a:off x="4460949" y="4184861"/>
            <a:ext cx="3451385" cy="1763316"/>
          </a:xfrm>
          <a:ln>
            <a:noFill/>
          </a:ln>
        </p:spPr>
        <p:txBody>
          <a:bodyPr/>
          <a:lstStyle/>
          <a:p>
            <a:pPr marL="207920" lvl="1" indent="0">
              <a:buNone/>
            </a:pPr>
            <a:r>
              <a:rPr lang="en-US" altLang="zh-CN" dirty="0"/>
              <a:t>In the fossil energy era, TÜV </a:t>
            </a:r>
            <a:r>
              <a:rPr lang="en-US" altLang="zh-CN" dirty="0" err="1"/>
              <a:t>Rheinland</a:t>
            </a:r>
            <a:r>
              <a:rPr lang="en-US" altLang="zh-CN" dirty="0"/>
              <a:t> has evolved, keeping pace with </a:t>
            </a:r>
            <a:r>
              <a:rPr lang="en-US" dirty="0">
                <a:solidFill>
                  <a:srgbClr val="0070C0"/>
                </a:solidFill>
              </a:rPr>
              <a:t>industrial progress and energy development. </a:t>
            </a:r>
          </a:p>
        </p:txBody>
      </p:sp>
      <p:pic>
        <p:nvPicPr>
          <p:cNvPr id="15499" name="Picture 139" descr="Image result for 能源革命"/>
          <p:cNvPicPr>
            <a:picLocks noChangeAspect="1" noChangeArrowheads="1"/>
          </p:cNvPicPr>
          <p:nvPr/>
        </p:nvPicPr>
        <p:blipFill rotWithShape="1">
          <a:blip r:embed="rId12" cstate="email">
            <a:extLst>
              <a:ext uri="{28A0092B-C50C-407E-A947-70E740481C1C}">
                <a14:useLocalDpi xmlns:a14="http://schemas.microsoft.com/office/drawing/2010/main"/>
              </a:ext>
            </a:extLst>
          </a:blip>
          <a:srcRect t="-366" r="-4864"/>
          <a:stretch/>
        </p:blipFill>
        <p:spPr bwMode="auto">
          <a:xfrm>
            <a:off x="8338460" y="1701407"/>
            <a:ext cx="3246290" cy="2292784"/>
          </a:xfrm>
          <a:prstGeom prst="rect">
            <a:avLst/>
          </a:prstGeom>
          <a:noFill/>
          <a:extLst>
            <a:ext uri="{909E8E84-426E-40dd-AFC4-6F175D3DCCD1}">
              <a14:hiddenFill xmlns:a14="http://schemas.microsoft.com/office/drawing/2010/main" xmlns="">
                <a:solidFill>
                  <a:srgbClr val="FFFFFF"/>
                </a:solidFill>
              </a14:hiddenFill>
            </a:ext>
          </a:extLst>
        </p:spPr>
      </p:pic>
      <p:pic>
        <p:nvPicPr>
          <p:cNvPr id="15501" name="Picture 141" descr="Related image"/>
          <p:cNvPicPr>
            <a:picLocks noChangeAspect="1" noChangeArrowheads="1"/>
          </p:cNvPicPr>
          <p:nvPr/>
        </p:nvPicPr>
        <p:blipFill rotWithShape="1">
          <a:blip r:embed="rId13" cstate="email">
            <a:extLst>
              <a:ext uri="{28A0092B-C50C-407E-A947-70E740481C1C}">
                <a14:useLocalDpi xmlns:a14="http://schemas.microsoft.com/office/drawing/2010/main"/>
              </a:ext>
            </a:extLst>
          </a:blip>
          <a:srcRect/>
          <a:stretch/>
        </p:blipFill>
        <p:spPr bwMode="auto">
          <a:xfrm>
            <a:off x="4638111" y="1701407"/>
            <a:ext cx="3095714" cy="2292784"/>
          </a:xfrm>
          <a:prstGeom prst="rect">
            <a:avLst/>
          </a:prstGeom>
          <a:noFill/>
          <a:extLst>
            <a:ext uri="{909E8E84-426E-40dd-AFC4-6F175D3DCCD1}">
              <a14:hiddenFill xmlns:a14="http://schemas.microsoft.com/office/drawing/2010/main" xmlns="">
                <a:solidFill>
                  <a:srgbClr val="FFFFFF"/>
                </a:solidFill>
              </a14:hiddenFill>
            </a:ext>
          </a:extLst>
        </p:spPr>
      </p:pic>
      <p:sp>
        <p:nvSpPr>
          <p:cNvPr id="3" name="Fußzeilenplatzhalter 2"/>
          <p:cNvSpPr>
            <a:spLocks noGrp="1"/>
          </p:cNvSpPr>
          <p:nvPr>
            <p:ph type="ftr" sz="quarter" idx="11"/>
          </p:nvPr>
        </p:nvSpPr>
        <p:spPr/>
        <p:txBody>
          <a:bodyPr/>
          <a:lstStyle/>
          <a:p>
            <a:pPr defTabSz="1218926"/>
            <a:r>
              <a:rPr lang="de-DE" dirty="0">
                <a:solidFill>
                  <a:prstClr val="black"/>
                </a:solidFill>
                <a:latin typeface="Arial"/>
              </a:rPr>
              <a:t>TÜV Rheinland's Solar Business</a:t>
            </a:r>
          </a:p>
        </p:txBody>
      </p:sp>
      <p:sp>
        <p:nvSpPr>
          <p:cNvPr id="21" name="Inhaltsplatzhalter 4"/>
          <p:cNvSpPr txBox="1">
            <a:spLocks/>
          </p:cNvSpPr>
          <p:nvPr>
            <p:custDataLst>
              <p:tags r:id="rId6"/>
            </p:custDataLst>
          </p:nvPr>
        </p:nvSpPr>
        <p:spPr bwMode="gray">
          <a:xfrm>
            <a:off x="8180328" y="4184861"/>
            <a:ext cx="3455171" cy="1763316"/>
          </a:xfrm>
          <a:prstGeom prst="rect">
            <a:avLst/>
          </a:prstGeom>
          <a:noFill/>
          <a:ln>
            <a:noFill/>
          </a:ln>
        </p:spPr>
        <p:txBody>
          <a:bodyPr vert="horz" lIns="0" tIns="0" rIns="0" bIns="0" rtlCol="0">
            <a:noAutofit/>
          </a:bodyPr>
          <a:lstStyle>
            <a:lvl1pPr marL="0" indent="0" algn="l" defTabSz="1219170" rtl="0" eaLnBrk="1" latinLnBrk="0" hangingPunct="1">
              <a:lnSpc>
                <a:spcPct val="100000"/>
              </a:lnSpc>
              <a:spcBef>
                <a:spcPts val="0"/>
              </a:spcBef>
              <a:spcAft>
                <a:spcPts val="600"/>
              </a:spcAft>
              <a:buClr>
                <a:schemeClr val="tx2"/>
              </a:buClr>
              <a:buFont typeface="Wingdings" panose="05000000000000000000" pitchFamily="2" charset="2"/>
              <a:buNone/>
              <a:defRPr sz="14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4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6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600" kern="1200" baseline="0">
                <a:solidFill>
                  <a:schemeClr val="tx1"/>
                </a:solidFill>
                <a:latin typeface="+mn-lt"/>
                <a:ea typeface="+mn-ea"/>
                <a:cs typeface="+mn-cs"/>
              </a:defRPr>
            </a:lvl9pPr>
          </a:lstStyle>
          <a:p>
            <a:pPr marL="207920" lvl="1" indent="0" defTabSz="1218926">
              <a:spcAft>
                <a:spcPts val="0"/>
              </a:spcAft>
              <a:buClr>
                <a:srgbClr val="4D4D4D"/>
              </a:buClr>
              <a:buNone/>
            </a:pPr>
            <a:endParaRPr lang="en-US" altLang="zh-CN" dirty="0">
              <a:solidFill>
                <a:prstClr val="black"/>
              </a:solidFill>
              <a:latin typeface="Arial"/>
            </a:endParaRPr>
          </a:p>
          <a:p>
            <a:pPr marL="207920" lvl="1" indent="0" defTabSz="1218926">
              <a:spcAft>
                <a:spcPts val="0"/>
              </a:spcAft>
              <a:buClr>
                <a:srgbClr val="4D4D4D"/>
              </a:buClr>
              <a:buNone/>
            </a:pPr>
            <a:r>
              <a:rPr lang="en-US" altLang="zh-CN" dirty="0">
                <a:solidFill>
                  <a:srgbClr val="0070C0"/>
                </a:solidFill>
                <a:latin typeface="Arial"/>
              </a:rPr>
              <a:t>Safety, quality and reliability </a:t>
            </a:r>
            <a:r>
              <a:rPr lang="en-US" altLang="zh-CN" dirty="0">
                <a:solidFill>
                  <a:prstClr val="black"/>
                </a:solidFill>
                <a:latin typeface="Arial"/>
              </a:rPr>
              <a:t>are TÜV </a:t>
            </a:r>
            <a:r>
              <a:rPr lang="en-US" altLang="zh-CN" dirty="0" err="1">
                <a:solidFill>
                  <a:prstClr val="black"/>
                </a:solidFill>
                <a:latin typeface="Arial"/>
              </a:rPr>
              <a:t>Rheinland’s</a:t>
            </a:r>
            <a:r>
              <a:rPr lang="en-US" altLang="zh-CN" dirty="0">
                <a:solidFill>
                  <a:prstClr val="black"/>
                </a:solidFill>
                <a:latin typeface="Arial"/>
              </a:rPr>
              <a:t> areas of expertise.</a:t>
            </a:r>
          </a:p>
          <a:p>
            <a:pPr marL="207920" lvl="1" indent="0" defTabSz="1218926">
              <a:spcAft>
                <a:spcPts val="0"/>
              </a:spcAft>
              <a:buClr>
                <a:srgbClr val="4D4D4D"/>
              </a:buClr>
              <a:buNone/>
            </a:pPr>
            <a:endParaRPr lang="en-US" altLang="zh-CN" dirty="0">
              <a:solidFill>
                <a:prstClr val="black"/>
              </a:solidFill>
              <a:latin typeface="Arial"/>
            </a:endParaRPr>
          </a:p>
        </p:txBody>
      </p:sp>
      <p:pic>
        <p:nvPicPr>
          <p:cNvPr id="5" name="Grafik 5">
            <a:extLst>
              <a:ext uri="{FF2B5EF4-FFF2-40B4-BE49-F238E27FC236}">
                <a16:creationId xmlns:a16="http://schemas.microsoft.com/office/drawing/2014/main" id="{8424AB3F-D789-56CD-1594-ED8B5DDBCEF1}"/>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4889337" y="5111196"/>
            <a:ext cx="2413127" cy="1447468"/>
          </a:xfrm>
          <a:prstGeom prst="rect">
            <a:avLst/>
          </a:prstGeom>
        </p:spPr>
      </p:pic>
    </p:spTree>
    <p:extLst>
      <p:ext uri="{BB962C8B-B14F-4D97-AF65-F5344CB8AC3E}">
        <p14:creationId xmlns:p14="http://schemas.microsoft.com/office/powerpoint/2010/main" val="177729507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1246809E-318C-4DF0-839D-B961E9A22B24}"/>
              </a:ext>
            </a:extLst>
          </p:cNvPr>
          <p:cNvSpPr>
            <a:spLocks noGrp="1"/>
          </p:cNvSpPr>
          <p:nvPr>
            <p:ph sz="quarter" idx="13" hasCustomPrompt="1"/>
          </p:nvPr>
        </p:nvSpPr>
        <p:spPr>
          <a:xfrm>
            <a:off x="586455" y="1488791"/>
            <a:ext cx="9501896" cy="3952181"/>
          </a:xfrm>
        </p:spPr>
        <p:txBody>
          <a:bodyPr/>
          <a:lstStyle/>
          <a:p>
            <a:pPr marL="0" lvl="1" indent="0">
              <a:buNone/>
            </a:pPr>
            <a:r>
              <a:rPr lang="en-US" sz="1800" dirty="0">
                <a:latin typeface="Arial" panose="020B0604020202020204" pitchFamily="34" charset="0"/>
                <a:ea typeface="等线" panose="02010600030101010101" pitchFamily="2" charset="-122"/>
              </a:rPr>
              <a:t>With over 42 years of experience, TÜV </a:t>
            </a:r>
            <a:r>
              <a:rPr lang="en-US" sz="1800" dirty="0" err="1">
                <a:latin typeface="Arial" panose="020B0604020202020204" pitchFamily="34" charset="0"/>
                <a:ea typeface="等线" panose="02010600030101010101" pitchFamily="2" charset="-122"/>
              </a:rPr>
              <a:t>Rheinland</a:t>
            </a:r>
            <a:r>
              <a:rPr lang="en-US" sz="1800" dirty="0">
                <a:latin typeface="Arial" panose="020B0604020202020204" pitchFamily="34" charset="0"/>
                <a:ea typeface="等线" panose="02010600030101010101" pitchFamily="2" charset="-122"/>
              </a:rPr>
              <a:t> helps investors and EPCs make informed, financially secure investments by minimizing risk, maximizing performance, and ensuring long-term project viability.</a:t>
            </a:r>
            <a:endParaRPr lang="de-DE" dirty="0"/>
          </a:p>
        </p:txBody>
      </p:sp>
      <p:sp>
        <p:nvSpPr>
          <p:cNvPr id="6" name="Textplatzhalter 5">
            <a:extLst>
              <a:ext uri="{FF2B5EF4-FFF2-40B4-BE49-F238E27FC236}">
                <a16:creationId xmlns:a16="http://schemas.microsoft.com/office/drawing/2014/main" id="{33341F71-A3D5-4344-83B0-2D589EEB045F}"/>
              </a:ext>
            </a:extLst>
          </p:cNvPr>
          <p:cNvSpPr>
            <a:spLocks noGrp="1"/>
          </p:cNvSpPr>
          <p:nvPr>
            <p:ph type="body" sz="quarter" idx="14" hasCustomPrompt="1"/>
          </p:nvPr>
        </p:nvSpPr>
        <p:spPr>
          <a:xfrm>
            <a:off x="552877" y="982058"/>
            <a:ext cx="11374421" cy="503122"/>
          </a:xfrm>
        </p:spPr>
        <p:txBody>
          <a:bodyPr/>
          <a:lstStyle/>
          <a:p>
            <a:r>
              <a:rPr lang="en-US" dirty="0"/>
              <a:t>Your Investment with TÜV </a:t>
            </a:r>
            <a:r>
              <a:rPr lang="en-US" dirty="0" err="1"/>
              <a:t>Rheinland’s</a:t>
            </a:r>
            <a:r>
              <a:rPr lang="en-US" dirty="0"/>
              <a:t> 42 Years of Expertise</a:t>
            </a:r>
            <a:endParaRPr lang="de-DE" dirty="0"/>
          </a:p>
        </p:txBody>
      </p:sp>
      <p:sp>
        <p:nvSpPr>
          <p:cNvPr id="7" name="Titel 6">
            <a:extLst>
              <a:ext uri="{FF2B5EF4-FFF2-40B4-BE49-F238E27FC236}">
                <a16:creationId xmlns:a16="http://schemas.microsoft.com/office/drawing/2014/main" id="{4A30E143-2D21-4BCB-9D99-21406F56439F}"/>
              </a:ext>
            </a:extLst>
          </p:cNvPr>
          <p:cNvSpPr>
            <a:spLocks noGrp="1"/>
          </p:cNvSpPr>
          <p:nvPr>
            <p:ph type="title" hasCustomPrompt="1"/>
          </p:nvPr>
        </p:nvSpPr>
        <p:spPr/>
        <p:txBody>
          <a:bodyPr/>
          <a:lstStyle/>
          <a:p>
            <a:r>
              <a:rPr lang="en-US" noProof="0" dirty="0"/>
              <a:t>Immediate Conclusion – Why TÜV </a:t>
            </a:r>
            <a:r>
              <a:rPr lang="en-US" noProof="0" dirty="0" err="1"/>
              <a:t>Rheinland</a:t>
            </a:r>
            <a:r>
              <a:rPr lang="en-US" noProof="0" dirty="0"/>
              <a:t>?</a:t>
            </a:r>
            <a:endParaRPr lang="en-GB" noProof="0" dirty="0"/>
          </a:p>
        </p:txBody>
      </p:sp>
      <p:sp>
        <p:nvSpPr>
          <p:cNvPr id="3" name="Datumsplatzhalter 2">
            <a:extLst>
              <a:ext uri="{FF2B5EF4-FFF2-40B4-BE49-F238E27FC236}">
                <a16:creationId xmlns:a16="http://schemas.microsoft.com/office/drawing/2014/main" id="{DDA65F24-24D0-40DD-CB3D-8F2D2386659C}"/>
              </a:ext>
            </a:extLst>
          </p:cNvPr>
          <p:cNvSpPr>
            <a:spLocks noGrp="1"/>
          </p:cNvSpPr>
          <p:nvPr>
            <p:ph type="dt" sz="half" idx="10"/>
          </p:nvPr>
        </p:nvSpPr>
        <p:spPr/>
        <p:txBody>
          <a:bodyPr/>
          <a:lstStyle/>
          <a:p>
            <a:pPr defTabSz="1218926"/>
            <a:fld id="{A96A0BBE-48DF-4E7E-8119-60C6FE218790}" type="datetime1">
              <a:rPr lang="en-US">
                <a:solidFill>
                  <a:prstClr val="black"/>
                </a:solidFill>
                <a:latin typeface="Arial"/>
              </a:rPr>
              <a:pPr defTabSz="1218926"/>
              <a:t>10/22/2024</a:t>
            </a:fld>
            <a:endParaRPr lang="en-US" dirty="0">
              <a:solidFill>
                <a:prstClr val="black"/>
              </a:solidFill>
              <a:latin typeface="Arial"/>
            </a:endParaRPr>
          </a:p>
        </p:txBody>
      </p:sp>
      <p:sp>
        <p:nvSpPr>
          <p:cNvPr id="4" name="Foliennummernplatzhalter 3">
            <a:extLst>
              <a:ext uri="{FF2B5EF4-FFF2-40B4-BE49-F238E27FC236}">
                <a16:creationId xmlns:a16="http://schemas.microsoft.com/office/drawing/2014/main" id="{7317E1C6-89D5-6537-5841-1D27203D9DE1}"/>
              </a:ext>
            </a:extLst>
          </p:cNvPr>
          <p:cNvSpPr>
            <a:spLocks noGrp="1"/>
          </p:cNvSpPr>
          <p:nvPr>
            <p:ph type="sldNum" sz="quarter" idx="12"/>
          </p:nvPr>
        </p:nvSpPr>
        <p:spPr/>
        <p:txBody>
          <a:bodyPr/>
          <a:lstStyle/>
          <a:p>
            <a:pPr defTabSz="1218926"/>
            <a:fld id="{4915BD61-E5D5-4E4F-ADA0-6F3448AB9FA6}" type="slidenum">
              <a:rPr lang="en-US">
                <a:solidFill>
                  <a:prstClr val="black"/>
                </a:solidFill>
                <a:latin typeface="Arial"/>
              </a:rPr>
              <a:pPr defTabSz="1218926"/>
              <a:t>49</a:t>
            </a:fld>
            <a:endParaRPr lang="en-US" dirty="0">
              <a:solidFill>
                <a:prstClr val="black"/>
              </a:solidFill>
              <a:latin typeface="Arial"/>
            </a:endParaRPr>
          </a:p>
        </p:txBody>
      </p:sp>
      <p:sp>
        <p:nvSpPr>
          <p:cNvPr id="18" name="Ellipse 9">
            <a:extLst>
              <a:ext uri="{FF2B5EF4-FFF2-40B4-BE49-F238E27FC236}">
                <a16:creationId xmlns:a16="http://schemas.microsoft.com/office/drawing/2014/main" id="{48B53306-77C2-38A2-549A-EBC2269C5D74}"/>
              </a:ext>
            </a:extLst>
          </p:cNvPr>
          <p:cNvSpPr/>
          <p:nvPr>
            <p:custDataLst>
              <p:tags r:id="rId1"/>
            </p:custDataLst>
          </p:nvPr>
        </p:nvSpPr>
        <p:spPr>
          <a:xfrm>
            <a:off x="937993" y="2583075"/>
            <a:ext cx="1727600" cy="1727600"/>
          </a:xfrm>
          <a:prstGeom prst="ellipse">
            <a:avLst/>
          </a:prstGeom>
          <a:solidFill>
            <a:schemeClr val="accent5">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35992" tIns="35992" rIns="35992" bIns="35992" rtlCol="0" anchor="ctr">
            <a:normAutofit/>
          </a:bodyPr>
          <a:lstStyle/>
          <a:p>
            <a:pPr algn="ctr" defTabSz="1218926"/>
            <a:r>
              <a:rPr lang="en-GB" b="1" dirty="0">
                <a:solidFill>
                  <a:prstClr val="white"/>
                </a:solidFill>
                <a:latin typeface="Arial"/>
              </a:rPr>
              <a:t>IEC TC 82</a:t>
            </a:r>
          </a:p>
        </p:txBody>
      </p:sp>
      <p:sp>
        <p:nvSpPr>
          <p:cNvPr id="19" name="Inhaltsplatzhalter 5">
            <a:extLst>
              <a:ext uri="{FF2B5EF4-FFF2-40B4-BE49-F238E27FC236}">
                <a16:creationId xmlns:a16="http://schemas.microsoft.com/office/drawing/2014/main" id="{917CBAF6-3D5F-00C3-3758-E6150899C9FF}"/>
              </a:ext>
            </a:extLst>
          </p:cNvPr>
          <p:cNvSpPr txBox="1">
            <a:spLocks/>
          </p:cNvSpPr>
          <p:nvPr>
            <p:custDataLst>
              <p:tags r:id="rId2"/>
            </p:custDataLst>
          </p:nvPr>
        </p:nvSpPr>
        <p:spPr>
          <a:xfrm>
            <a:off x="937993" y="4706628"/>
            <a:ext cx="1871827" cy="1169314"/>
          </a:xfrm>
          <a:prstGeom prst="rect">
            <a:avLst/>
          </a:prstGeom>
          <a:noFill/>
        </p:spPr>
        <p:txBody>
          <a:bodyPr lIns="0" tIns="0" rIns="0" bIns="0"/>
          <a:lstStyle>
            <a:lvl1pPr marL="177800" indent="-177800" algn="l" defTabSz="1219170" rtl="0" eaLnBrk="1" latinLnBrk="0" hangingPunct="1">
              <a:lnSpc>
                <a:spcPts val="2200"/>
              </a:lnSpc>
              <a:spcBef>
                <a:spcPct val="20000"/>
              </a:spcBef>
              <a:buClr>
                <a:schemeClr val="tx2"/>
              </a:buClr>
              <a:buFont typeface="Wingdings" panose="05000000000000000000" pitchFamily="2" charset="2"/>
              <a:buChar char="§"/>
              <a:defRPr sz="1400" kern="1200">
                <a:solidFill>
                  <a:schemeClr val="tx1"/>
                </a:solidFill>
                <a:latin typeface="+mn-lt"/>
                <a:ea typeface="+mn-ea"/>
                <a:cs typeface="+mn-cs"/>
              </a:defRPr>
            </a:lvl1pPr>
            <a:lvl2pPr marL="450850" indent="-242888" algn="l" defTabSz="1219170" rtl="0" eaLnBrk="1" latinLnBrk="0" hangingPunct="1">
              <a:lnSpc>
                <a:spcPts val="2200"/>
              </a:lnSpc>
              <a:spcBef>
                <a:spcPct val="20000"/>
              </a:spcBef>
              <a:buFont typeface="Symbol" panose="05050102010706020507" pitchFamily="18" charset="2"/>
              <a:buChar char="-"/>
              <a:defRPr sz="1400" kern="1200">
                <a:solidFill>
                  <a:schemeClr val="tx1"/>
                </a:solidFill>
                <a:latin typeface="+mn-lt"/>
                <a:ea typeface="+mn-ea"/>
                <a:cs typeface="+mn-cs"/>
              </a:defRPr>
            </a:lvl2pPr>
            <a:lvl3pPr marL="627063" indent="-207963" algn="l" defTabSz="1219170" rtl="0" eaLnBrk="1" latinLnBrk="0" hangingPunct="1">
              <a:lnSpc>
                <a:spcPts val="2200"/>
              </a:lnSpc>
              <a:spcBef>
                <a:spcPct val="20000"/>
              </a:spcBef>
              <a:buFont typeface="Symbol" panose="05050102010706020507" pitchFamily="18" charset="2"/>
              <a:buChar char="-"/>
              <a:defRPr sz="1400" kern="1200">
                <a:solidFill>
                  <a:schemeClr val="tx1"/>
                </a:solidFill>
                <a:latin typeface="+mn-lt"/>
                <a:ea typeface="+mn-ea"/>
                <a:cs typeface="+mn-cs"/>
              </a:defRPr>
            </a:lvl3pPr>
            <a:lvl4pPr marL="900113" indent="-234950" algn="l" defTabSz="1219170" rtl="0" eaLnBrk="1" latinLnBrk="0" hangingPunct="1">
              <a:lnSpc>
                <a:spcPts val="2200"/>
              </a:lnSpc>
              <a:spcBef>
                <a:spcPct val="20000"/>
              </a:spcBef>
              <a:buFont typeface="Symbol" panose="05050102010706020507" pitchFamily="18" charset="2"/>
              <a:buChar char="-"/>
              <a:defRPr sz="1400" kern="1200">
                <a:solidFill>
                  <a:schemeClr val="tx1"/>
                </a:solidFill>
                <a:latin typeface="+mn-lt"/>
                <a:ea typeface="+mn-ea"/>
                <a:cs typeface="+mn-cs"/>
              </a:defRPr>
            </a:lvl4pPr>
            <a:lvl5pPr marL="1160463" indent="-239713" algn="l" defTabSz="1219170" rtl="0" eaLnBrk="1" latinLnBrk="0" hangingPunct="1">
              <a:lnSpc>
                <a:spcPts val="2200"/>
              </a:lnSpc>
              <a:spcBef>
                <a:spcPct val="20000"/>
              </a:spcBef>
              <a:buFont typeface="Symbol" panose="05050102010706020507" pitchFamily="18" charset="2"/>
              <a:buChar char="-"/>
              <a:defRPr sz="1400" kern="1200">
                <a:solidFill>
                  <a:schemeClr val="tx1"/>
                </a:solidFill>
                <a:latin typeface="+mn-lt"/>
                <a:ea typeface="+mn-ea"/>
                <a:cs typeface="+mn-cs"/>
              </a:defRPr>
            </a:lvl5pPr>
            <a:lvl6pPr marL="1418400" indent="-241200" algn="l" defTabSz="1219170" rtl="0" eaLnBrk="1" latinLnBrk="0" hangingPunct="1">
              <a:lnSpc>
                <a:spcPts val="2200"/>
              </a:lnSpc>
              <a:spcBef>
                <a:spcPct val="20000"/>
              </a:spcBef>
              <a:buFont typeface="Symbol" pitchFamily="18" charset="2"/>
              <a:buChar char="-"/>
              <a:defRPr sz="1400" kern="1200">
                <a:solidFill>
                  <a:schemeClr val="tx1"/>
                </a:solidFill>
                <a:latin typeface="+mn-lt"/>
                <a:ea typeface="+mn-ea"/>
                <a:cs typeface="+mn-cs"/>
              </a:defRPr>
            </a:lvl6pPr>
            <a:lvl7pPr marL="1677600" indent="-241200" algn="l" defTabSz="1219170" rtl="0" eaLnBrk="1" latinLnBrk="0" hangingPunct="1">
              <a:lnSpc>
                <a:spcPts val="2200"/>
              </a:lnSpc>
              <a:spcBef>
                <a:spcPct val="20000"/>
              </a:spcBef>
              <a:buFont typeface="Symbol" pitchFamily="18" charset="2"/>
              <a:buChar char="-"/>
              <a:defRPr sz="1400" kern="1200">
                <a:solidFill>
                  <a:schemeClr val="tx1"/>
                </a:solidFill>
                <a:latin typeface="+mn-lt"/>
                <a:ea typeface="+mn-ea"/>
                <a:cs typeface="+mn-cs"/>
              </a:defRPr>
            </a:lvl7pPr>
            <a:lvl8pPr marL="1936800" indent="-241200" algn="l" defTabSz="1219170" rtl="0" eaLnBrk="1" latinLnBrk="0" hangingPunct="1">
              <a:lnSpc>
                <a:spcPts val="2200"/>
              </a:lnSpc>
              <a:spcBef>
                <a:spcPct val="20000"/>
              </a:spcBef>
              <a:buFont typeface="Symbol" pitchFamily="18" charset="2"/>
              <a:buChar char="-"/>
              <a:defRPr sz="1400" kern="1200" baseline="0">
                <a:solidFill>
                  <a:schemeClr val="tx1"/>
                </a:solidFill>
                <a:latin typeface="+mn-lt"/>
                <a:ea typeface="+mn-ea"/>
                <a:cs typeface="+mn-cs"/>
              </a:defRPr>
            </a:lvl8pPr>
            <a:lvl9pPr marL="2196000" indent="-241200" algn="l" defTabSz="1219170" rtl="0" eaLnBrk="1" latinLnBrk="0" hangingPunct="1">
              <a:lnSpc>
                <a:spcPts val="2200"/>
              </a:lnSpc>
              <a:spcBef>
                <a:spcPct val="20000"/>
              </a:spcBef>
              <a:buFont typeface="Symbol" pitchFamily="18" charset="2"/>
              <a:buChar char="-"/>
              <a:defRPr sz="1400" kern="1200" baseline="0">
                <a:solidFill>
                  <a:schemeClr val="tx1"/>
                </a:solidFill>
                <a:latin typeface="+mn-lt"/>
                <a:ea typeface="+mn-ea"/>
                <a:cs typeface="+mn-cs"/>
              </a:defRPr>
            </a:lvl9pPr>
          </a:lstStyle>
          <a:p>
            <a:pPr marL="0" indent="0" defTabSz="1218926">
              <a:lnSpc>
                <a:spcPct val="100000"/>
              </a:lnSpc>
              <a:buClr>
                <a:srgbClr val="4D4D4D"/>
              </a:buClr>
              <a:buNone/>
            </a:pPr>
            <a:r>
              <a:rPr lang="en-US" dirty="0">
                <a:solidFill>
                  <a:prstClr val="black"/>
                </a:solidFill>
                <a:latin typeface="Arial"/>
              </a:rPr>
              <a:t>20+ working groups of IEC TC 82 </a:t>
            </a:r>
            <a:r>
              <a:rPr lang="en-US" altLang="zh-CN" dirty="0">
                <a:solidFill>
                  <a:prstClr val="black"/>
                </a:solidFill>
                <a:latin typeface="Arial"/>
              </a:rPr>
              <a:t>for standard development </a:t>
            </a:r>
            <a:r>
              <a:rPr lang="en-US" dirty="0">
                <a:solidFill>
                  <a:prstClr val="black"/>
                </a:solidFill>
                <a:latin typeface="Arial"/>
              </a:rPr>
              <a:t>have been and are being led by TÜV </a:t>
            </a:r>
            <a:r>
              <a:rPr lang="en-US" altLang="zh-CN" dirty="0" err="1">
                <a:solidFill>
                  <a:prstClr val="black"/>
                </a:solidFill>
                <a:latin typeface="Arial"/>
              </a:rPr>
              <a:t>Rheinland</a:t>
            </a:r>
            <a:r>
              <a:rPr lang="en-US" altLang="zh-CN" dirty="0">
                <a:solidFill>
                  <a:prstClr val="black"/>
                </a:solidFill>
                <a:latin typeface="Arial"/>
              </a:rPr>
              <a:t>.</a:t>
            </a:r>
            <a:endParaRPr lang="en-US" dirty="0">
              <a:solidFill>
                <a:prstClr val="black"/>
              </a:solidFill>
              <a:latin typeface="Arial"/>
            </a:endParaRPr>
          </a:p>
        </p:txBody>
      </p:sp>
      <p:sp>
        <p:nvSpPr>
          <p:cNvPr id="20" name="Ellipse 9">
            <a:extLst>
              <a:ext uri="{FF2B5EF4-FFF2-40B4-BE49-F238E27FC236}">
                <a16:creationId xmlns:a16="http://schemas.microsoft.com/office/drawing/2014/main" id="{C3D355BA-88E7-03DA-8C5A-98ECA204F324}"/>
              </a:ext>
            </a:extLst>
          </p:cNvPr>
          <p:cNvSpPr/>
          <p:nvPr>
            <p:custDataLst>
              <p:tags r:id="rId3"/>
            </p:custDataLst>
          </p:nvPr>
        </p:nvSpPr>
        <p:spPr>
          <a:xfrm>
            <a:off x="3673586" y="2601082"/>
            <a:ext cx="1727600" cy="1727600"/>
          </a:xfrm>
          <a:prstGeom prst="ellipse">
            <a:avLst/>
          </a:prstGeom>
          <a:solidFill>
            <a:schemeClr val="accent5">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35992" tIns="35992" rIns="35992" bIns="35992" rtlCol="0" anchor="ctr">
            <a:normAutofit/>
          </a:bodyPr>
          <a:lstStyle/>
          <a:p>
            <a:pPr algn="ctr" defTabSz="1218926"/>
            <a:r>
              <a:rPr lang="en-GB" b="1" dirty="0">
                <a:solidFill>
                  <a:prstClr val="white"/>
                </a:solidFill>
                <a:latin typeface="Arial"/>
              </a:rPr>
              <a:t>R&amp;D </a:t>
            </a:r>
          </a:p>
          <a:p>
            <a:pPr algn="ctr" defTabSz="1218926"/>
            <a:r>
              <a:rPr lang="en-GB" b="1" dirty="0">
                <a:solidFill>
                  <a:prstClr val="white"/>
                </a:solidFill>
                <a:latin typeface="Arial"/>
              </a:rPr>
              <a:t>edge</a:t>
            </a:r>
          </a:p>
        </p:txBody>
      </p:sp>
      <p:sp>
        <p:nvSpPr>
          <p:cNvPr id="21" name="Inhaltsplatzhalter 5">
            <a:extLst>
              <a:ext uri="{FF2B5EF4-FFF2-40B4-BE49-F238E27FC236}">
                <a16:creationId xmlns:a16="http://schemas.microsoft.com/office/drawing/2014/main" id="{89BE155C-930E-6AE2-D70F-5205FA064A1D}"/>
              </a:ext>
            </a:extLst>
          </p:cNvPr>
          <p:cNvSpPr txBox="1">
            <a:spLocks/>
          </p:cNvSpPr>
          <p:nvPr>
            <p:custDataLst>
              <p:tags r:id="rId4"/>
            </p:custDataLst>
          </p:nvPr>
        </p:nvSpPr>
        <p:spPr>
          <a:xfrm>
            <a:off x="3529599" y="4724634"/>
            <a:ext cx="2375934" cy="2123508"/>
          </a:xfrm>
          <a:prstGeom prst="rect">
            <a:avLst/>
          </a:prstGeom>
          <a:noFill/>
        </p:spPr>
        <p:txBody>
          <a:bodyPr lIns="0" tIns="0" rIns="0" bIns="0"/>
          <a:lstStyle>
            <a:lvl1pPr marL="177800" indent="-177800" algn="l" defTabSz="1219170" rtl="0" eaLnBrk="1" latinLnBrk="0" hangingPunct="1">
              <a:lnSpc>
                <a:spcPts val="2200"/>
              </a:lnSpc>
              <a:spcBef>
                <a:spcPct val="20000"/>
              </a:spcBef>
              <a:buClr>
                <a:schemeClr val="tx2"/>
              </a:buClr>
              <a:buFont typeface="Wingdings" panose="05000000000000000000" pitchFamily="2" charset="2"/>
              <a:buChar char="§"/>
              <a:defRPr sz="1400" kern="1200">
                <a:solidFill>
                  <a:schemeClr val="tx1"/>
                </a:solidFill>
                <a:latin typeface="+mn-lt"/>
                <a:ea typeface="+mn-ea"/>
                <a:cs typeface="+mn-cs"/>
              </a:defRPr>
            </a:lvl1pPr>
            <a:lvl2pPr marL="450850" indent="-242888" algn="l" defTabSz="1219170" rtl="0" eaLnBrk="1" latinLnBrk="0" hangingPunct="1">
              <a:lnSpc>
                <a:spcPts val="2200"/>
              </a:lnSpc>
              <a:spcBef>
                <a:spcPct val="20000"/>
              </a:spcBef>
              <a:buFont typeface="Symbol" panose="05050102010706020507" pitchFamily="18" charset="2"/>
              <a:buChar char="-"/>
              <a:defRPr sz="1400" kern="1200">
                <a:solidFill>
                  <a:schemeClr val="tx1"/>
                </a:solidFill>
                <a:latin typeface="+mn-lt"/>
                <a:ea typeface="+mn-ea"/>
                <a:cs typeface="+mn-cs"/>
              </a:defRPr>
            </a:lvl2pPr>
            <a:lvl3pPr marL="627063" indent="-207963" algn="l" defTabSz="1219170" rtl="0" eaLnBrk="1" latinLnBrk="0" hangingPunct="1">
              <a:lnSpc>
                <a:spcPts val="2200"/>
              </a:lnSpc>
              <a:spcBef>
                <a:spcPct val="20000"/>
              </a:spcBef>
              <a:buFont typeface="Symbol" panose="05050102010706020507" pitchFamily="18" charset="2"/>
              <a:buChar char="-"/>
              <a:defRPr sz="1400" kern="1200">
                <a:solidFill>
                  <a:schemeClr val="tx1"/>
                </a:solidFill>
                <a:latin typeface="+mn-lt"/>
                <a:ea typeface="+mn-ea"/>
                <a:cs typeface="+mn-cs"/>
              </a:defRPr>
            </a:lvl3pPr>
            <a:lvl4pPr marL="900113" indent="-234950" algn="l" defTabSz="1219170" rtl="0" eaLnBrk="1" latinLnBrk="0" hangingPunct="1">
              <a:lnSpc>
                <a:spcPts val="2200"/>
              </a:lnSpc>
              <a:spcBef>
                <a:spcPct val="20000"/>
              </a:spcBef>
              <a:buFont typeface="Symbol" panose="05050102010706020507" pitchFamily="18" charset="2"/>
              <a:buChar char="-"/>
              <a:defRPr sz="1400" kern="1200">
                <a:solidFill>
                  <a:schemeClr val="tx1"/>
                </a:solidFill>
                <a:latin typeface="+mn-lt"/>
                <a:ea typeface="+mn-ea"/>
                <a:cs typeface="+mn-cs"/>
              </a:defRPr>
            </a:lvl4pPr>
            <a:lvl5pPr marL="1160463" indent="-239713" algn="l" defTabSz="1219170" rtl="0" eaLnBrk="1" latinLnBrk="0" hangingPunct="1">
              <a:lnSpc>
                <a:spcPts val="2200"/>
              </a:lnSpc>
              <a:spcBef>
                <a:spcPct val="20000"/>
              </a:spcBef>
              <a:buFont typeface="Symbol" panose="05050102010706020507" pitchFamily="18" charset="2"/>
              <a:buChar char="-"/>
              <a:defRPr sz="1400" kern="1200">
                <a:solidFill>
                  <a:schemeClr val="tx1"/>
                </a:solidFill>
                <a:latin typeface="+mn-lt"/>
                <a:ea typeface="+mn-ea"/>
                <a:cs typeface="+mn-cs"/>
              </a:defRPr>
            </a:lvl5pPr>
            <a:lvl6pPr marL="1418400" indent="-241200" algn="l" defTabSz="1219170" rtl="0" eaLnBrk="1" latinLnBrk="0" hangingPunct="1">
              <a:lnSpc>
                <a:spcPts val="2200"/>
              </a:lnSpc>
              <a:spcBef>
                <a:spcPct val="20000"/>
              </a:spcBef>
              <a:buFont typeface="Symbol" pitchFamily="18" charset="2"/>
              <a:buChar char="-"/>
              <a:defRPr sz="1400" kern="1200">
                <a:solidFill>
                  <a:schemeClr val="tx1"/>
                </a:solidFill>
                <a:latin typeface="+mn-lt"/>
                <a:ea typeface="+mn-ea"/>
                <a:cs typeface="+mn-cs"/>
              </a:defRPr>
            </a:lvl6pPr>
            <a:lvl7pPr marL="1677600" indent="-241200" algn="l" defTabSz="1219170" rtl="0" eaLnBrk="1" latinLnBrk="0" hangingPunct="1">
              <a:lnSpc>
                <a:spcPts val="2200"/>
              </a:lnSpc>
              <a:spcBef>
                <a:spcPct val="20000"/>
              </a:spcBef>
              <a:buFont typeface="Symbol" pitchFamily="18" charset="2"/>
              <a:buChar char="-"/>
              <a:defRPr sz="1400" kern="1200">
                <a:solidFill>
                  <a:schemeClr val="tx1"/>
                </a:solidFill>
                <a:latin typeface="+mn-lt"/>
                <a:ea typeface="+mn-ea"/>
                <a:cs typeface="+mn-cs"/>
              </a:defRPr>
            </a:lvl7pPr>
            <a:lvl8pPr marL="1936800" indent="-241200" algn="l" defTabSz="1219170" rtl="0" eaLnBrk="1" latinLnBrk="0" hangingPunct="1">
              <a:lnSpc>
                <a:spcPts val="2200"/>
              </a:lnSpc>
              <a:spcBef>
                <a:spcPct val="20000"/>
              </a:spcBef>
              <a:buFont typeface="Symbol" pitchFamily="18" charset="2"/>
              <a:buChar char="-"/>
              <a:defRPr sz="1400" kern="1200" baseline="0">
                <a:solidFill>
                  <a:schemeClr val="tx1"/>
                </a:solidFill>
                <a:latin typeface="+mn-lt"/>
                <a:ea typeface="+mn-ea"/>
                <a:cs typeface="+mn-cs"/>
              </a:defRPr>
            </a:lvl8pPr>
            <a:lvl9pPr marL="2196000" indent="-241200" algn="l" defTabSz="1219170" rtl="0" eaLnBrk="1" latinLnBrk="0" hangingPunct="1">
              <a:lnSpc>
                <a:spcPts val="2200"/>
              </a:lnSpc>
              <a:spcBef>
                <a:spcPct val="20000"/>
              </a:spcBef>
              <a:buFont typeface="Symbol" pitchFamily="18" charset="2"/>
              <a:buChar char="-"/>
              <a:defRPr sz="1400" kern="1200" baseline="0">
                <a:solidFill>
                  <a:schemeClr val="tx1"/>
                </a:solidFill>
                <a:latin typeface="+mn-lt"/>
                <a:ea typeface="+mn-ea"/>
                <a:cs typeface="+mn-cs"/>
              </a:defRPr>
            </a:lvl9pPr>
          </a:lstStyle>
          <a:p>
            <a:pPr marL="0" indent="0" defTabSz="1218926">
              <a:lnSpc>
                <a:spcPct val="100000"/>
              </a:lnSpc>
              <a:buClr>
                <a:srgbClr val="4D4D4D"/>
              </a:buClr>
              <a:buNone/>
            </a:pPr>
            <a:r>
              <a:rPr lang="en-US" dirty="0">
                <a:solidFill>
                  <a:prstClr val="black"/>
                </a:solidFill>
                <a:latin typeface="Arial"/>
              </a:rPr>
              <a:t>The R&amp;D competency of TÜV </a:t>
            </a:r>
            <a:r>
              <a:rPr lang="en-US" dirty="0" err="1">
                <a:solidFill>
                  <a:prstClr val="black"/>
                </a:solidFill>
                <a:latin typeface="Arial"/>
              </a:rPr>
              <a:t>Rheinland</a:t>
            </a:r>
            <a:r>
              <a:rPr lang="en-US" dirty="0">
                <a:solidFill>
                  <a:prstClr val="black"/>
                </a:solidFill>
                <a:latin typeface="Arial"/>
              </a:rPr>
              <a:t> is unrivaled in measuring and testing of new or innovative PV technologies and applications.</a:t>
            </a:r>
          </a:p>
        </p:txBody>
      </p:sp>
      <p:sp>
        <p:nvSpPr>
          <p:cNvPr id="22" name="Ellipse 9">
            <a:extLst>
              <a:ext uri="{FF2B5EF4-FFF2-40B4-BE49-F238E27FC236}">
                <a16:creationId xmlns:a16="http://schemas.microsoft.com/office/drawing/2014/main" id="{822BCEF6-A820-1665-FA4B-3252AA5DC528}"/>
              </a:ext>
            </a:extLst>
          </p:cNvPr>
          <p:cNvSpPr/>
          <p:nvPr>
            <p:custDataLst>
              <p:tags r:id="rId5"/>
            </p:custDataLst>
          </p:nvPr>
        </p:nvSpPr>
        <p:spPr>
          <a:xfrm>
            <a:off x="6409179" y="2619089"/>
            <a:ext cx="1727600" cy="1727600"/>
          </a:xfrm>
          <a:prstGeom prst="ellipse">
            <a:avLst/>
          </a:prstGeom>
          <a:solidFill>
            <a:schemeClr val="accent5">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35992" tIns="35992" rIns="35992" bIns="35992" rtlCol="0" anchor="ctr">
            <a:normAutofit/>
          </a:bodyPr>
          <a:lstStyle/>
          <a:p>
            <a:pPr algn="ctr" defTabSz="1218926"/>
            <a:r>
              <a:rPr lang="en-GB" b="1" dirty="0">
                <a:solidFill>
                  <a:prstClr val="white"/>
                </a:solidFill>
                <a:latin typeface="Arial"/>
              </a:rPr>
              <a:t>Added value</a:t>
            </a:r>
          </a:p>
        </p:txBody>
      </p:sp>
      <p:sp>
        <p:nvSpPr>
          <p:cNvPr id="23" name="Inhaltsplatzhalter 5">
            <a:extLst>
              <a:ext uri="{FF2B5EF4-FFF2-40B4-BE49-F238E27FC236}">
                <a16:creationId xmlns:a16="http://schemas.microsoft.com/office/drawing/2014/main" id="{C32B8725-BF13-4799-8D4D-75F5309B1952}"/>
              </a:ext>
            </a:extLst>
          </p:cNvPr>
          <p:cNvSpPr txBox="1">
            <a:spLocks/>
          </p:cNvSpPr>
          <p:nvPr>
            <p:custDataLst>
              <p:tags r:id="rId6"/>
            </p:custDataLst>
          </p:nvPr>
        </p:nvSpPr>
        <p:spPr>
          <a:xfrm>
            <a:off x="6409332" y="4742641"/>
            <a:ext cx="2087961" cy="2123508"/>
          </a:xfrm>
          <a:prstGeom prst="rect">
            <a:avLst/>
          </a:prstGeom>
          <a:noFill/>
        </p:spPr>
        <p:txBody>
          <a:bodyPr lIns="0" tIns="0" rIns="0" bIns="0"/>
          <a:lstStyle>
            <a:lvl1pPr marL="177800" indent="-177800" algn="l" defTabSz="1219170" rtl="0" eaLnBrk="1" latinLnBrk="0" hangingPunct="1">
              <a:lnSpc>
                <a:spcPts val="2200"/>
              </a:lnSpc>
              <a:spcBef>
                <a:spcPct val="20000"/>
              </a:spcBef>
              <a:buClr>
                <a:schemeClr val="tx2"/>
              </a:buClr>
              <a:buFont typeface="Wingdings" panose="05000000000000000000" pitchFamily="2" charset="2"/>
              <a:buChar char="§"/>
              <a:defRPr sz="1400" kern="1200">
                <a:solidFill>
                  <a:schemeClr val="tx1"/>
                </a:solidFill>
                <a:latin typeface="+mn-lt"/>
                <a:ea typeface="+mn-ea"/>
                <a:cs typeface="+mn-cs"/>
              </a:defRPr>
            </a:lvl1pPr>
            <a:lvl2pPr marL="450850" indent="-242888" algn="l" defTabSz="1219170" rtl="0" eaLnBrk="1" latinLnBrk="0" hangingPunct="1">
              <a:lnSpc>
                <a:spcPts val="2200"/>
              </a:lnSpc>
              <a:spcBef>
                <a:spcPct val="20000"/>
              </a:spcBef>
              <a:buFont typeface="Symbol" panose="05050102010706020507" pitchFamily="18" charset="2"/>
              <a:buChar char="-"/>
              <a:defRPr sz="1400" kern="1200">
                <a:solidFill>
                  <a:schemeClr val="tx1"/>
                </a:solidFill>
                <a:latin typeface="+mn-lt"/>
                <a:ea typeface="+mn-ea"/>
                <a:cs typeface="+mn-cs"/>
              </a:defRPr>
            </a:lvl2pPr>
            <a:lvl3pPr marL="627063" indent="-207963" algn="l" defTabSz="1219170" rtl="0" eaLnBrk="1" latinLnBrk="0" hangingPunct="1">
              <a:lnSpc>
                <a:spcPts val="2200"/>
              </a:lnSpc>
              <a:spcBef>
                <a:spcPct val="20000"/>
              </a:spcBef>
              <a:buFont typeface="Symbol" panose="05050102010706020507" pitchFamily="18" charset="2"/>
              <a:buChar char="-"/>
              <a:defRPr sz="1400" kern="1200">
                <a:solidFill>
                  <a:schemeClr val="tx1"/>
                </a:solidFill>
                <a:latin typeface="+mn-lt"/>
                <a:ea typeface="+mn-ea"/>
                <a:cs typeface="+mn-cs"/>
              </a:defRPr>
            </a:lvl3pPr>
            <a:lvl4pPr marL="900113" indent="-234950" algn="l" defTabSz="1219170" rtl="0" eaLnBrk="1" latinLnBrk="0" hangingPunct="1">
              <a:lnSpc>
                <a:spcPts val="2200"/>
              </a:lnSpc>
              <a:spcBef>
                <a:spcPct val="20000"/>
              </a:spcBef>
              <a:buFont typeface="Symbol" panose="05050102010706020507" pitchFamily="18" charset="2"/>
              <a:buChar char="-"/>
              <a:defRPr sz="1400" kern="1200">
                <a:solidFill>
                  <a:schemeClr val="tx1"/>
                </a:solidFill>
                <a:latin typeface="+mn-lt"/>
                <a:ea typeface="+mn-ea"/>
                <a:cs typeface="+mn-cs"/>
              </a:defRPr>
            </a:lvl4pPr>
            <a:lvl5pPr marL="1160463" indent="-239713" algn="l" defTabSz="1219170" rtl="0" eaLnBrk="1" latinLnBrk="0" hangingPunct="1">
              <a:lnSpc>
                <a:spcPts val="2200"/>
              </a:lnSpc>
              <a:spcBef>
                <a:spcPct val="20000"/>
              </a:spcBef>
              <a:buFont typeface="Symbol" panose="05050102010706020507" pitchFamily="18" charset="2"/>
              <a:buChar char="-"/>
              <a:defRPr sz="1400" kern="1200">
                <a:solidFill>
                  <a:schemeClr val="tx1"/>
                </a:solidFill>
                <a:latin typeface="+mn-lt"/>
                <a:ea typeface="+mn-ea"/>
                <a:cs typeface="+mn-cs"/>
              </a:defRPr>
            </a:lvl5pPr>
            <a:lvl6pPr marL="1418400" indent="-241200" algn="l" defTabSz="1219170" rtl="0" eaLnBrk="1" latinLnBrk="0" hangingPunct="1">
              <a:lnSpc>
                <a:spcPts val="2200"/>
              </a:lnSpc>
              <a:spcBef>
                <a:spcPct val="20000"/>
              </a:spcBef>
              <a:buFont typeface="Symbol" pitchFamily="18" charset="2"/>
              <a:buChar char="-"/>
              <a:defRPr sz="1400" kern="1200">
                <a:solidFill>
                  <a:schemeClr val="tx1"/>
                </a:solidFill>
                <a:latin typeface="+mn-lt"/>
                <a:ea typeface="+mn-ea"/>
                <a:cs typeface="+mn-cs"/>
              </a:defRPr>
            </a:lvl6pPr>
            <a:lvl7pPr marL="1677600" indent="-241200" algn="l" defTabSz="1219170" rtl="0" eaLnBrk="1" latinLnBrk="0" hangingPunct="1">
              <a:lnSpc>
                <a:spcPts val="2200"/>
              </a:lnSpc>
              <a:spcBef>
                <a:spcPct val="20000"/>
              </a:spcBef>
              <a:buFont typeface="Symbol" pitchFamily="18" charset="2"/>
              <a:buChar char="-"/>
              <a:defRPr sz="1400" kern="1200">
                <a:solidFill>
                  <a:schemeClr val="tx1"/>
                </a:solidFill>
                <a:latin typeface="+mn-lt"/>
                <a:ea typeface="+mn-ea"/>
                <a:cs typeface="+mn-cs"/>
              </a:defRPr>
            </a:lvl7pPr>
            <a:lvl8pPr marL="1936800" indent="-241200" algn="l" defTabSz="1219170" rtl="0" eaLnBrk="1" latinLnBrk="0" hangingPunct="1">
              <a:lnSpc>
                <a:spcPts val="2200"/>
              </a:lnSpc>
              <a:spcBef>
                <a:spcPct val="20000"/>
              </a:spcBef>
              <a:buFont typeface="Symbol" pitchFamily="18" charset="2"/>
              <a:buChar char="-"/>
              <a:defRPr sz="1400" kern="1200" baseline="0">
                <a:solidFill>
                  <a:schemeClr val="tx1"/>
                </a:solidFill>
                <a:latin typeface="+mn-lt"/>
                <a:ea typeface="+mn-ea"/>
                <a:cs typeface="+mn-cs"/>
              </a:defRPr>
            </a:lvl8pPr>
            <a:lvl9pPr marL="2196000" indent="-241200" algn="l" defTabSz="1219170" rtl="0" eaLnBrk="1" latinLnBrk="0" hangingPunct="1">
              <a:lnSpc>
                <a:spcPts val="2200"/>
              </a:lnSpc>
              <a:spcBef>
                <a:spcPct val="20000"/>
              </a:spcBef>
              <a:buFont typeface="Symbol" pitchFamily="18" charset="2"/>
              <a:buChar char="-"/>
              <a:defRPr sz="1400" kern="1200" baseline="0">
                <a:solidFill>
                  <a:schemeClr val="tx1"/>
                </a:solidFill>
                <a:latin typeface="+mn-lt"/>
                <a:ea typeface="+mn-ea"/>
                <a:cs typeface="+mn-cs"/>
              </a:defRPr>
            </a:lvl9pPr>
          </a:lstStyle>
          <a:p>
            <a:pPr marL="0" indent="0" defTabSz="1218926">
              <a:lnSpc>
                <a:spcPct val="90000"/>
              </a:lnSpc>
              <a:buClr>
                <a:srgbClr val="4D4D4D"/>
              </a:buClr>
              <a:buNone/>
            </a:pPr>
            <a:r>
              <a:rPr lang="en-US" dirty="0">
                <a:solidFill>
                  <a:prstClr val="black"/>
                </a:solidFill>
                <a:latin typeface="Arial"/>
              </a:rPr>
              <a:t>Our unique programs enable you to stand out from the competition and achieve greater success.</a:t>
            </a:r>
          </a:p>
        </p:txBody>
      </p:sp>
      <p:sp>
        <p:nvSpPr>
          <p:cNvPr id="24" name="Ellipse 9">
            <a:extLst>
              <a:ext uri="{FF2B5EF4-FFF2-40B4-BE49-F238E27FC236}">
                <a16:creationId xmlns:a16="http://schemas.microsoft.com/office/drawing/2014/main" id="{13C2E36C-2492-F6AB-4C67-13E21532979A}"/>
              </a:ext>
            </a:extLst>
          </p:cNvPr>
          <p:cNvSpPr/>
          <p:nvPr>
            <p:custDataLst>
              <p:tags r:id="rId7"/>
            </p:custDataLst>
          </p:nvPr>
        </p:nvSpPr>
        <p:spPr>
          <a:xfrm>
            <a:off x="9144771" y="2637095"/>
            <a:ext cx="1727600" cy="1727600"/>
          </a:xfrm>
          <a:prstGeom prst="ellipse">
            <a:avLst/>
          </a:prstGeom>
          <a:solidFill>
            <a:schemeClr val="accent5">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35992" tIns="35992" rIns="35992" bIns="35992" rtlCol="0" anchor="ctr">
            <a:normAutofit/>
          </a:bodyPr>
          <a:lstStyle/>
          <a:p>
            <a:pPr algn="ctr" defTabSz="1218926"/>
            <a:r>
              <a:rPr lang="en-GB" b="1" dirty="0">
                <a:solidFill>
                  <a:prstClr val="white"/>
                </a:solidFill>
                <a:latin typeface="Arial"/>
              </a:rPr>
              <a:t>Global </a:t>
            </a:r>
          </a:p>
          <a:p>
            <a:pPr algn="ctr" defTabSz="1218926"/>
            <a:r>
              <a:rPr lang="en-GB" b="1" dirty="0">
                <a:solidFill>
                  <a:prstClr val="white"/>
                </a:solidFill>
                <a:latin typeface="Arial"/>
              </a:rPr>
              <a:t>availability</a:t>
            </a:r>
          </a:p>
        </p:txBody>
      </p:sp>
      <p:pic>
        <p:nvPicPr>
          <p:cNvPr id="1026" name="Picture 2">
            <a:extLst>
              <a:ext uri="{FF2B5EF4-FFF2-40B4-BE49-F238E27FC236}">
                <a16:creationId xmlns:a16="http://schemas.microsoft.com/office/drawing/2014/main" id="{9D830D96-67D3-8CE1-6597-19557879624D}"/>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6341" t="10745" r="4872" b="12702"/>
          <a:stretch/>
        </p:blipFill>
        <p:spPr bwMode="auto">
          <a:xfrm>
            <a:off x="10030056" y="63614"/>
            <a:ext cx="2159741" cy="1862127"/>
          </a:xfrm>
          <a:prstGeom prst="rect">
            <a:avLst/>
          </a:prstGeom>
          <a:noFill/>
          <a:extLst>
            <a:ext uri="{909E8E84-426E-40DD-AFC4-6F175D3DCCD1}">
              <a14:hiddenFill xmlns:a14="http://schemas.microsoft.com/office/drawing/2010/main">
                <a:solidFill>
                  <a:srgbClr val="FFFFFF"/>
                </a:solidFill>
              </a14:hiddenFill>
            </a:ext>
          </a:extLst>
        </p:spPr>
      </p:pic>
      <p:sp>
        <p:nvSpPr>
          <p:cNvPr id="25" name="Inhaltsplatzhalter 5">
            <a:extLst>
              <a:ext uri="{FF2B5EF4-FFF2-40B4-BE49-F238E27FC236}">
                <a16:creationId xmlns:a16="http://schemas.microsoft.com/office/drawing/2014/main" id="{50C08DF5-D1FB-7C63-A689-F3276631A45C}"/>
              </a:ext>
            </a:extLst>
          </p:cNvPr>
          <p:cNvSpPr txBox="1">
            <a:spLocks/>
          </p:cNvSpPr>
          <p:nvPr>
            <p:custDataLst>
              <p:tags r:id="rId8"/>
            </p:custDataLst>
          </p:nvPr>
        </p:nvSpPr>
        <p:spPr>
          <a:xfrm>
            <a:off x="9144771" y="4760648"/>
            <a:ext cx="2088115" cy="2123508"/>
          </a:xfrm>
          <a:prstGeom prst="rect">
            <a:avLst/>
          </a:prstGeom>
          <a:noFill/>
        </p:spPr>
        <p:txBody>
          <a:bodyPr lIns="0" tIns="0" rIns="0" bIns="0"/>
          <a:lstStyle>
            <a:lvl1pPr marL="177800" indent="-177800" algn="l" defTabSz="1219170" rtl="0" eaLnBrk="1" latinLnBrk="0" hangingPunct="1">
              <a:lnSpc>
                <a:spcPts val="2200"/>
              </a:lnSpc>
              <a:spcBef>
                <a:spcPct val="20000"/>
              </a:spcBef>
              <a:buClr>
                <a:schemeClr val="tx2"/>
              </a:buClr>
              <a:buFont typeface="Wingdings" panose="05000000000000000000" pitchFamily="2" charset="2"/>
              <a:buChar char="§"/>
              <a:defRPr sz="1400" kern="1200">
                <a:solidFill>
                  <a:schemeClr val="tx1"/>
                </a:solidFill>
                <a:latin typeface="+mn-lt"/>
                <a:ea typeface="+mn-ea"/>
                <a:cs typeface="+mn-cs"/>
              </a:defRPr>
            </a:lvl1pPr>
            <a:lvl2pPr marL="450850" indent="-242888" algn="l" defTabSz="1219170" rtl="0" eaLnBrk="1" latinLnBrk="0" hangingPunct="1">
              <a:lnSpc>
                <a:spcPts val="2200"/>
              </a:lnSpc>
              <a:spcBef>
                <a:spcPct val="20000"/>
              </a:spcBef>
              <a:buFont typeface="Symbol" panose="05050102010706020507" pitchFamily="18" charset="2"/>
              <a:buChar char="-"/>
              <a:defRPr sz="1400" kern="1200">
                <a:solidFill>
                  <a:schemeClr val="tx1"/>
                </a:solidFill>
                <a:latin typeface="+mn-lt"/>
                <a:ea typeface="+mn-ea"/>
                <a:cs typeface="+mn-cs"/>
              </a:defRPr>
            </a:lvl2pPr>
            <a:lvl3pPr marL="627063" indent="-207963" algn="l" defTabSz="1219170" rtl="0" eaLnBrk="1" latinLnBrk="0" hangingPunct="1">
              <a:lnSpc>
                <a:spcPts val="2200"/>
              </a:lnSpc>
              <a:spcBef>
                <a:spcPct val="20000"/>
              </a:spcBef>
              <a:buFont typeface="Symbol" panose="05050102010706020507" pitchFamily="18" charset="2"/>
              <a:buChar char="-"/>
              <a:defRPr sz="1400" kern="1200">
                <a:solidFill>
                  <a:schemeClr val="tx1"/>
                </a:solidFill>
                <a:latin typeface="+mn-lt"/>
                <a:ea typeface="+mn-ea"/>
                <a:cs typeface="+mn-cs"/>
              </a:defRPr>
            </a:lvl3pPr>
            <a:lvl4pPr marL="900113" indent="-234950" algn="l" defTabSz="1219170" rtl="0" eaLnBrk="1" latinLnBrk="0" hangingPunct="1">
              <a:lnSpc>
                <a:spcPts val="2200"/>
              </a:lnSpc>
              <a:spcBef>
                <a:spcPct val="20000"/>
              </a:spcBef>
              <a:buFont typeface="Symbol" panose="05050102010706020507" pitchFamily="18" charset="2"/>
              <a:buChar char="-"/>
              <a:defRPr sz="1400" kern="1200">
                <a:solidFill>
                  <a:schemeClr val="tx1"/>
                </a:solidFill>
                <a:latin typeface="+mn-lt"/>
                <a:ea typeface="+mn-ea"/>
                <a:cs typeface="+mn-cs"/>
              </a:defRPr>
            </a:lvl4pPr>
            <a:lvl5pPr marL="1160463" indent="-239713" algn="l" defTabSz="1219170" rtl="0" eaLnBrk="1" latinLnBrk="0" hangingPunct="1">
              <a:lnSpc>
                <a:spcPts val="2200"/>
              </a:lnSpc>
              <a:spcBef>
                <a:spcPct val="20000"/>
              </a:spcBef>
              <a:buFont typeface="Symbol" panose="05050102010706020507" pitchFamily="18" charset="2"/>
              <a:buChar char="-"/>
              <a:defRPr sz="1400" kern="1200">
                <a:solidFill>
                  <a:schemeClr val="tx1"/>
                </a:solidFill>
                <a:latin typeface="+mn-lt"/>
                <a:ea typeface="+mn-ea"/>
                <a:cs typeface="+mn-cs"/>
              </a:defRPr>
            </a:lvl5pPr>
            <a:lvl6pPr marL="1418400" indent="-241200" algn="l" defTabSz="1219170" rtl="0" eaLnBrk="1" latinLnBrk="0" hangingPunct="1">
              <a:lnSpc>
                <a:spcPts val="2200"/>
              </a:lnSpc>
              <a:spcBef>
                <a:spcPct val="20000"/>
              </a:spcBef>
              <a:buFont typeface="Symbol" pitchFamily="18" charset="2"/>
              <a:buChar char="-"/>
              <a:defRPr sz="1400" kern="1200">
                <a:solidFill>
                  <a:schemeClr val="tx1"/>
                </a:solidFill>
                <a:latin typeface="+mn-lt"/>
                <a:ea typeface="+mn-ea"/>
                <a:cs typeface="+mn-cs"/>
              </a:defRPr>
            </a:lvl6pPr>
            <a:lvl7pPr marL="1677600" indent="-241200" algn="l" defTabSz="1219170" rtl="0" eaLnBrk="1" latinLnBrk="0" hangingPunct="1">
              <a:lnSpc>
                <a:spcPts val="2200"/>
              </a:lnSpc>
              <a:spcBef>
                <a:spcPct val="20000"/>
              </a:spcBef>
              <a:buFont typeface="Symbol" pitchFamily="18" charset="2"/>
              <a:buChar char="-"/>
              <a:defRPr sz="1400" kern="1200">
                <a:solidFill>
                  <a:schemeClr val="tx1"/>
                </a:solidFill>
                <a:latin typeface="+mn-lt"/>
                <a:ea typeface="+mn-ea"/>
                <a:cs typeface="+mn-cs"/>
              </a:defRPr>
            </a:lvl7pPr>
            <a:lvl8pPr marL="1936800" indent="-241200" algn="l" defTabSz="1219170" rtl="0" eaLnBrk="1" latinLnBrk="0" hangingPunct="1">
              <a:lnSpc>
                <a:spcPts val="2200"/>
              </a:lnSpc>
              <a:spcBef>
                <a:spcPct val="20000"/>
              </a:spcBef>
              <a:buFont typeface="Symbol" pitchFamily="18" charset="2"/>
              <a:buChar char="-"/>
              <a:defRPr sz="1400" kern="1200" baseline="0">
                <a:solidFill>
                  <a:schemeClr val="tx1"/>
                </a:solidFill>
                <a:latin typeface="+mn-lt"/>
                <a:ea typeface="+mn-ea"/>
                <a:cs typeface="+mn-cs"/>
              </a:defRPr>
            </a:lvl8pPr>
            <a:lvl9pPr marL="2196000" indent="-241200" algn="l" defTabSz="1219170" rtl="0" eaLnBrk="1" latinLnBrk="0" hangingPunct="1">
              <a:lnSpc>
                <a:spcPts val="2200"/>
              </a:lnSpc>
              <a:spcBef>
                <a:spcPct val="20000"/>
              </a:spcBef>
              <a:buFont typeface="Symbol" pitchFamily="18" charset="2"/>
              <a:buChar char="-"/>
              <a:defRPr sz="1400" kern="1200" baseline="0">
                <a:solidFill>
                  <a:schemeClr val="tx1"/>
                </a:solidFill>
                <a:latin typeface="+mn-lt"/>
                <a:ea typeface="+mn-ea"/>
                <a:cs typeface="+mn-cs"/>
              </a:defRPr>
            </a:lvl9pPr>
          </a:lstStyle>
          <a:p>
            <a:pPr marL="0" indent="0" defTabSz="1218926">
              <a:lnSpc>
                <a:spcPct val="90000"/>
              </a:lnSpc>
              <a:buClr>
                <a:srgbClr val="4D4D4D"/>
              </a:buClr>
              <a:buNone/>
            </a:pPr>
            <a:r>
              <a:rPr lang="en-US" altLang="zh-CN" dirty="0">
                <a:solidFill>
                  <a:prstClr val="black"/>
                </a:solidFill>
                <a:latin typeface="Arial"/>
              </a:rPr>
              <a:t>Testing centers and  expert hubs across the globe enable TÜV </a:t>
            </a:r>
            <a:r>
              <a:rPr lang="en-US" altLang="zh-CN" dirty="0" err="1">
                <a:solidFill>
                  <a:prstClr val="black"/>
                </a:solidFill>
                <a:latin typeface="Arial"/>
              </a:rPr>
              <a:t>Rheinland</a:t>
            </a:r>
            <a:r>
              <a:rPr lang="en-US" altLang="zh-CN" dirty="0">
                <a:solidFill>
                  <a:prstClr val="black"/>
                </a:solidFill>
                <a:latin typeface="Arial"/>
              </a:rPr>
              <a:t> to respond rapidly to your local needs.</a:t>
            </a:r>
          </a:p>
        </p:txBody>
      </p:sp>
      <p:sp>
        <p:nvSpPr>
          <p:cNvPr id="8" name="Fußzeilenplatzhalter 2">
            <a:extLst>
              <a:ext uri="{FF2B5EF4-FFF2-40B4-BE49-F238E27FC236}">
                <a16:creationId xmlns:a16="http://schemas.microsoft.com/office/drawing/2014/main" id="{61CEFE67-D076-2675-E4CD-76E3385E89E6}"/>
              </a:ext>
            </a:extLst>
          </p:cNvPr>
          <p:cNvSpPr txBox="1">
            <a:spLocks/>
          </p:cNvSpPr>
          <p:nvPr/>
        </p:nvSpPr>
        <p:spPr bwMode="gray">
          <a:xfrm>
            <a:off x="1704916" y="6452720"/>
            <a:ext cx="4390984" cy="172505"/>
          </a:xfrm>
          <a:prstGeom prst="rect">
            <a:avLst/>
          </a:prstGeom>
        </p:spPr>
        <p:txBody>
          <a:bodyPr vert="horz" lIns="0" tIns="0" rIns="0" bIns="0" rtlCol="0" anchor="b"/>
          <a:lstStyle>
            <a:defPPr>
              <a:defRPr lang="de-DE"/>
            </a:defPPr>
            <a:lvl1pPr marL="0" algn="l" defTabSz="1219170" rtl="0" eaLnBrk="1" latinLnBrk="0" hangingPunct="1">
              <a:defRPr sz="8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1218926"/>
            <a:r>
              <a:rPr lang="en-US">
                <a:solidFill>
                  <a:prstClr val="black"/>
                </a:solidFill>
                <a:latin typeface="Arial"/>
              </a:rPr>
              <a:t>TÜV Rheinland's Solar Business</a:t>
            </a:r>
            <a:endParaRPr lang="en-US" dirty="0">
              <a:solidFill>
                <a:prstClr val="black"/>
              </a:solidFill>
              <a:latin typeface="Arial"/>
            </a:endParaRPr>
          </a:p>
        </p:txBody>
      </p:sp>
    </p:spTree>
    <p:extLst>
      <p:ext uri="{BB962C8B-B14F-4D97-AF65-F5344CB8AC3E}">
        <p14:creationId xmlns:p14="http://schemas.microsoft.com/office/powerpoint/2010/main" val="25089344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3"/>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p:bldP spid="20" grpId="0" animBg="1"/>
      <p:bldP spid="21" grpId="0"/>
      <p:bldP spid="22" grpId="0" animBg="1"/>
      <p:bldP spid="23" grpId="0"/>
      <p:bldP spid="24" grpId="0" animBg="1"/>
      <p:bldP spid="25"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logo with black text&#10;&#10;Description automatically generated">
            <a:extLst>
              <a:ext uri="{FF2B5EF4-FFF2-40B4-BE49-F238E27FC236}">
                <a16:creationId xmlns:a16="http://schemas.microsoft.com/office/drawing/2014/main" id="{8CB7EDD7-F8B7-EFAB-B1FE-22A9E977E45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85196862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ltLang="zh-CN" dirty="0"/>
              <a:t>What makes </a:t>
            </a:r>
            <a:r>
              <a:rPr lang="en-US" altLang="zh-CN" dirty="0">
                <a:ea typeface="宋体" pitchFamily="2" charset="-122"/>
              </a:rPr>
              <a:t>TÜV</a:t>
            </a:r>
            <a:r>
              <a:rPr lang="en-US" altLang="zh-CN" dirty="0"/>
              <a:t> </a:t>
            </a:r>
            <a:r>
              <a:rPr lang="en-US" altLang="zh-CN" dirty="0" err="1"/>
              <a:t>Rheinland</a:t>
            </a:r>
            <a:r>
              <a:rPr lang="en-US" altLang="zh-CN" dirty="0"/>
              <a:t> Special?</a:t>
            </a:r>
            <a:endParaRPr lang="de-DE" dirty="0"/>
          </a:p>
        </p:txBody>
      </p:sp>
      <p:sp>
        <p:nvSpPr>
          <p:cNvPr id="3" name="Datumsplatzhalter 2"/>
          <p:cNvSpPr>
            <a:spLocks noGrp="1"/>
          </p:cNvSpPr>
          <p:nvPr>
            <p:ph type="dt" sz="half" idx="10"/>
          </p:nvPr>
        </p:nvSpPr>
        <p:spPr/>
        <p:txBody>
          <a:bodyPr/>
          <a:lstStyle/>
          <a:p>
            <a:pPr defTabSz="1218926"/>
            <a:fld id="{17FF1F3D-945D-410A-8943-C998CAEC88A6}" type="datetime1">
              <a:rPr lang="en-US">
                <a:solidFill>
                  <a:prstClr val="black"/>
                </a:solidFill>
                <a:latin typeface="Arial"/>
              </a:rPr>
              <a:pPr defTabSz="1218926"/>
              <a:t>10/22/2024</a:t>
            </a:fld>
            <a:endParaRPr lang="en-US" dirty="0">
              <a:solidFill>
                <a:prstClr val="black"/>
              </a:solidFill>
              <a:latin typeface="Arial"/>
            </a:endParaRPr>
          </a:p>
        </p:txBody>
      </p:sp>
      <p:sp>
        <p:nvSpPr>
          <p:cNvPr id="4" name="Fußzeilenplatzhalter 3"/>
          <p:cNvSpPr>
            <a:spLocks noGrp="1"/>
          </p:cNvSpPr>
          <p:nvPr>
            <p:ph type="ftr" sz="quarter" idx="11"/>
          </p:nvPr>
        </p:nvSpPr>
        <p:spPr/>
        <p:txBody>
          <a:bodyPr/>
          <a:lstStyle/>
          <a:p>
            <a:pPr defTabSz="1218926"/>
            <a:r>
              <a:rPr lang="en-US">
                <a:solidFill>
                  <a:prstClr val="black"/>
                </a:solidFill>
                <a:latin typeface="Arial"/>
              </a:rPr>
              <a:t>TÜV Rheinland's Solar Business</a:t>
            </a:r>
            <a:endParaRPr lang="en-US" dirty="0">
              <a:solidFill>
                <a:prstClr val="black"/>
              </a:solidFill>
              <a:latin typeface="Arial"/>
            </a:endParaRPr>
          </a:p>
        </p:txBody>
      </p:sp>
      <p:sp>
        <p:nvSpPr>
          <p:cNvPr id="5" name="Foliennummernplatzhalter 4"/>
          <p:cNvSpPr>
            <a:spLocks noGrp="1"/>
          </p:cNvSpPr>
          <p:nvPr>
            <p:ph type="sldNum" sz="quarter" idx="12"/>
          </p:nvPr>
        </p:nvSpPr>
        <p:spPr/>
        <p:txBody>
          <a:bodyPr/>
          <a:lstStyle/>
          <a:p>
            <a:pPr defTabSz="1218926"/>
            <a:fld id="{4915BD61-E5D5-4E4F-ADA0-6F3448AB9FA6}" type="slidenum">
              <a:rPr lang="en-US">
                <a:solidFill>
                  <a:prstClr val="black"/>
                </a:solidFill>
                <a:latin typeface="Arial"/>
              </a:rPr>
              <a:pPr defTabSz="1218926"/>
              <a:t>50</a:t>
            </a:fld>
            <a:endParaRPr lang="en-US" dirty="0">
              <a:solidFill>
                <a:prstClr val="black"/>
              </a:solidFill>
              <a:latin typeface="Arial"/>
            </a:endParaRPr>
          </a:p>
        </p:txBody>
      </p:sp>
      <p:sp>
        <p:nvSpPr>
          <p:cNvPr id="6" name="Textplatzhalter 5"/>
          <p:cNvSpPr>
            <a:spLocks noGrp="1"/>
          </p:cNvSpPr>
          <p:nvPr>
            <p:ph type="body" sz="quarter" idx="13"/>
          </p:nvPr>
        </p:nvSpPr>
        <p:spPr>
          <a:xfrm>
            <a:off x="552564" y="865353"/>
            <a:ext cx="11086121" cy="503122"/>
          </a:xfrm>
        </p:spPr>
        <p:txBody>
          <a:bodyPr/>
          <a:lstStyle/>
          <a:p>
            <a:r>
              <a:rPr lang="en-US" altLang="zh-CN" dirty="0">
                <a:solidFill>
                  <a:srgbClr val="0070C0"/>
                </a:solidFill>
              </a:rPr>
              <a:t>Offering tailor-made solutions for manufacturers, EPCs and investors along the value chain globally.</a:t>
            </a:r>
            <a:endParaRPr lang="en-US" dirty="0">
              <a:solidFill>
                <a:srgbClr val="0070C0"/>
              </a:solidFill>
            </a:endParaRPr>
          </a:p>
          <a:p>
            <a:endParaRPr lang="de-DE" dirty="0">
              <a:solidFill>
                <a:srgbClr val="0070C0"/>
              </a:solidFill>
            </a:endParaRPr>
          </a:p>
        </p:txBody>
      </p:sp>
      <p:pic>
        <p:nvPicPr>
          <p:cNvPr id="7" name="Picture 3" descr="D:\ElcyChen\修图\shutterstock_271124849_03副本.jpg"/>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l="-2"/>
          <a:stretch/>
        </p:blipFill>
        <p:spPr bwMode="auto">
          <a:xfrm>
            <a:off x="2204" y="1197269"/>
            <a:ext cx="12187592" cy="5660731"/>
          </a:xfrm>
          <a:prstGeom prst="rect">
            <a:avLst/>
          </a:prstGeom>
          <a:noFill/>
          <a:extLst>
            <a:ext uri="{909E8E84-426E-40dd-AFC4-6F175D3DCCD1}">
              <a14:hiddenFill xmlns="" xmlns:a14="http://schemas.microsoft.com/office/drawing/2010/main">
                <a:solidFill>
                  <a:srgbClr val="FFFFFF"/>
                </a:solidFill>
              </a14:hiddenFill>
            </a:ext>
          </a:extLst>
        </p:spPr>
      </p:pic>
      <p:sp>
        <p:nvSpPr>
          <p:cNvPr id="8" name="Rectangle 6"/>
          <p:cNvSpPr/>
          <p:nvPr/>
        </p:nvSpPr>
        <p:spPr>
          <a:xfrm>
            <a:off x="2205" y="1197268"/>
            <a:ext cx="12187591" cy="5660730"/>
          </a:xfrm>
          <a:prstGeom prst="rect">
            <a:avLst/>
          </a:prstGeom>
          <a:solidFill>
            <a:schemeClr val="bg1">
              <a:alpha val="59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218926"/>
            <a:endParaRPr lang="en-US" sz="1400">
              <a:solidFill>
                <a:prstClr val="black"/>
              </a:solidFill>
              <a:latin typeface="Arial"/>
            </a:endParaRPr>
          </a:p>
        </p:txBody>
      </p:sp>
      <p:sp>
        <p:nvSpPr>
          <p:cNvPr id="9" name="TextBox 30"/>
          <p:cNvSpPr txBox="1"/>
          <p:nvPr/>
        </p:nvSpPr>
        <p:spPr>
          <a:xfrm>
            <a:off x="525409" y="1425984"/>
            <a:ext cx="6221066" cy="923116"/>
          </a:xfrm>
          <a:prstGeom prst="rect">
            <a:avLst/>
          </a:prstGeom>
          <a:noFill/>
        </p:spPr>
        <p:txBody>
          <a:bodyPr wrap="square" rtlCol="0">
            <a:spAutoFit/>
          </a:bodyPr>
          <a:lstStyle/>
          <a:p>
            <a:pPr defTabSz="1218926"/>
            <a:r>
              <a:rPr lang="en-US" dirty="0">
                <a:solidFill>
                  <a:srgbClr val="4D4D4D"/>
                </a:solidFill>
                <a:latin typeface="Arial" panose="020B0604020202020204" pitchFamily="34" charset="0"/>
                <a:cs typeface="Arial" panose="020B0604020202020204" pitchFamily="34" charset="0"/>
              </a:rPr>
              <a:t>More than</a:t>
            </a:r>
            <a:r>
              <a:rPr lang="en-US" sz="2400" dirty="0">
                <a:solidFill>
                  <a:srgbClr val="4D4D4D"/>
                </a:solidFill>
                <a:latin typeface="Arial" panose="020B0604020202020204" pitchFamily="34" charset="0"/>
                <a:cs typeface="Arial" panose="020B0604020202020204" pitchFamily="34" charset="0"/>
              </a:rPr>
              <a:t> </a:t>
            </a:r>
            <a:r>
              <a:rPr lang="en-US" sz="5399" b="1" dirty="0">
                <a:solidFill>
                  <a:srgbClr val="0070C0"/>
                </a:solidFill>
                <a:latin typeface="Arial" panose="020B0604020202020204" pitchFamily="34" charset="0"/>
                <a:cs typeface="Arial" panose="020B0604020202020204" pitchFamily="34" charset="0"/>
              </a:rPr>
              <a:t>42</a:t>
            </a:r>
            <a:r>
              <a:rPr lang="en-US" sz="2400" dirty="0">
                <a:solidFill>
                  <a:srgbClr val="4D4D4D"/>
                </a:solidFill>
                <a:latin typeface="Arial" panose="020B0604020202020204" pitchFamily="34" charset="0"/>
                <a:cs typeface="Arial" panose="020B0604020202020204" pitchFamily="34" charset="0"/>
              </a:rPr>
              <a:t> </a:t>
            </a:r>
            <a:r>
              <a:rPr lang="en-US" dirty="0">
                <a:solidFill>
                  <a:srgbClr val="4D4D4D"/>
                </a:solidFill>
                <a:latin typeface="Arial" panose="020B0604020202020204" pitchFamily="34" charset="0"/>
                <a:cs typeface="Arial" panose="020B0604020202020204" pitchFamily="34" charset="0"/>
              </a:rPr>
              <a:t>years of experience in PV</a:t>
            </a:r>
          </a:p>
        </p:txBody>
      </p:sp>
      <p:sp>
        <p:nvSpPr>
          <p:cNvPr id="10" name="TextBox 31"/>
          <p:cNvSpPr txBox="1"/>
          <p:nvPr/>
        </p:nvSpPr>
        <p:spPr>
          <a:xfrm>
            <a:off x="912480" y="3017620"/>
            <a:ext cx="7913456" cy="923116"/>
          </a:xfrm>
          <a:prstGeom prst="rect">
            <a:avLst/>
          </a:prstGeom>
          <a:noFill/>
        </p:spPr>
        <p:txBody>
          <a:bodyPr wrap="square" rtlCol="0">
            <a:spAutoFit/>
          </a:bodyPr>
          <a:lstStyle/>
          <a:p>
            <a:pPr defTabSz="1218926"/>
            <a:r>
              <a:rPr lang="en-US" dirty="0">
                <a:solidFill>
                  <a:srgbClr val="4D4D4D"/>
                </a:solidFill>
                <a:latin typeface="Arial" panose="020B0604020202020204" pitchFamily="34" charset="0"/>
                <a:cs typeface="Arial" panose="020B0604020202020204" pitchFamily="34" charset="0"/>
              </a:rPr>
              <a:t>Advised on PV projects adding up to more than </a:t>
            </a:r>
            <a:r>
              <a:rPr lang="en-US" sz="5399" b="1" dirty="0">
                <a:solidFill>
                  <a:srgbClr val="0070C0"/>
                </a:solidFill>
                <a:latin typeface="Arial" panose="020B0604020202020204" pitchFamily="34" charset="0"/>
                <a:cs typeface="Arial" panose="020B0604020202020204" pitchFamily="34" charset="0"/>
              </a:rPr>
              <a:t>20</a:t>
            </a:r>
            <a:r>
              <a:rPr lang="en-US" dirty="0">
                <a:solidFill>
                  <a:srgbClr val="4D4D4D"/>
                </a:solidFill>
                <a:latin typeface="Arial" panose="020B0604020202020204" pitchFamily="34" charset="0"/>
                <a:cs typeface="Arial" panose="020B0604020202020204" pitchFamily="34" charset="0"/>
              </a:rPr>
              <a:t>GW worldwide</a:t>
            </a:r>
          </a:p>
        </p:txBody>
      </p:sp>
      <p:sp>
        <p:nvSpPr>
          <p:cNvPr id="11" name="TextBox 32"/>
          <p:cNvSpPr txBox="1"/>
          <p:nvPr/>
        </p:nvSpPr>
        <p:spPr>
          <a:xfrm>
            <a:off x="4516564" y="2078141"/>
            <a:ext cx="6283980" cy="923116"/>
          </a:xfrm>
          <a:prstGeom prst="rect">
            <a:avLst/>
          </a:prstGeom>
          <a:noFill/>
        </p:spPr>
        <p:txBody>
          <a:bodyPr wrap="square" rtlCol="0">
            <a:spAutoFit/>
          </a:bodyPr>
          <a:lstStyle/>
          <a:p>
            <a:pPr defTabSz="1218926"/>
            <a:r>
              <a:rPr lang="en-US" dirty="0">
                <a:solidFill>
                  <a:srgbClr val="4D4D4D"/>
                </a:solidFill>
                <a:latin typeface="Arial" panose="020B0604020202020204" pitchFamily="34" charset="0"/>
                <a:cs typeface="Arial" panose="020B0604020202020204" pitchFamily="34" charset="0"/>
              </a:rPr>
              <a:t>Power plant inspections since </a:t>
            </a:r>
            <a:r>
              <a:rPr lang="en-US" sz="5399" b="1" dirty="0">
                <a:solidFill>
                  <a:srgbClr val="0070C0"/>
                </a:solidFill>
                <a:latin typeface="Arial" panose="020B0604020202020204" pitchFamily="34" charset="0"/>
                <a:cs typeface="Arial" panose="020B0604020202020204" pitchFamily="34" charset="0"/>
              </a:rPr>
              <a:t>1990</a:t>
            </a:r>
            <a:endParaRPr lang="en-US" sz="5399" b="1" dirty="0">
              <a:solidFill>
                <a:srgbClr val="4D4D4D"/>
              </a:solidFill>
              <a:latin typeface="Arial" panose="020B0604020202020204" pitchFamily="34" charset="0"/>
              <a:cs typeface="Arial" panose="020B0604020202020204" pitchFamily="34" charset="0"/>
            </a:endParaRPr>
          </a:p>
        </p:txBody>
      </p:sp>
      <p:sp>
        <p:nvSpPr>
          <p:cNvPr id="12" name="TextBox 35"/>
          <p:cNvSpPr txBox="1"/>
          <p:nvPr/>
        </p:nvSpPr>
        <p:spPr>
          <a:xfrm>
            <a:off x="2063643" y="4292920"/>
            <a:ext cx="9365665" cy="923116"/>
          </a:xfrm>
          <a:prstGeom prst="rect">
            <a:avLst/>
          </a:prstGeom>
          <a:noFill/>
        </p:spPr>
        <p:txBody>
          <a:bodyPr wrap="square" rtlCol="0">
            <a:spAutoFit/>
          </a:bodyPr>
          <a:lstStyle/>
          <a:p>
            <a:pPr defTabSz="1218926"/>
            <a:r>
              <a:rPr lang="en-US" sz="5399" b="1" dirty="0">
                <a:solidFill>
                  <a:srgbClr val="0070C0"/>
                </a:solidFill>
                <a:latin typeface="Arial" panose="020B0604020202020204" pitchFamily="34" charset="0"/>
                <a:cs typeface="Arial" panose="020B0604020202020204" pitchFamily="34" charset="0"/>
              </a:rPr>
              <a:t>10,000</a:t>
            </a:r>
            <a:r>
              <a:rPr lang="en-US" sz="2799" b="1" dirty="0">
                <a:solidFill>
                  <a:srgbClr val="00B0F0"/>
                </a:solidFill>
                <a:latin typeface="Arial" panose="020B0604020202020204" pitchFamily="34" charset="0"/>
                <a:cs typeface="Arial" panose="020B0604020202020204" pitchFamily="34" charset="0"/>
              </a:rPr>
              <a:t> </a:t>
            </a:r>
            <a:r>
              <a:rPr lang="en-US" dirty="0">
                <a:solidFill>
                  <a:srgbClr val="4D4D4D"/>
                </a:solidFill>
                <a:latin typeface="Arial" panose="020B0604020202020204" pitchFamily="34" charset="0"/>
                <a:cs typeface="Arial" panose="020B0604020202020204" pitchFamily="34" charset="0"/>
              </a:rPr>
              <a:t>m</a:t>
            </a:r>
            <a:r>
              <a:rPr lang="en-US" baseline="30000" dirty="0">
                <a:solidFill>
                  <a:srgbClr val="4D4D4D"/>
                </a:solidFill>
                <a:latin typeface="Arial" panose="020B0604020202020204" pitchFamily="34" charset="0"/>
                <a:cs typeface="Arial" panose="020B0604020202020204" pitchFamily="34" charset="0"/>
              </a:rPr>
              <a:t>2</a:t>
            </a:r>
            <a:r>
              <a:rPr lang="en-US" dirty="0">
                <a:solidFill>
                  <a:srgbClr val="4D4D4D"/>
                </a:solidFill>
                <a:latin typeface="Arial" panose="020B0604020202020204" pitchFamily="34" charset="0"/>
                <a:cs typeface="Arial" panose="020B0604020202020204" pitchFamily="34" charset="0"/>
              </a:rPr>
              <a:t> of lab testing areas </a:t>
            </a:r>
          </a:p>
        </p:txBody>
      </p:sp>
      <p:sp>
        <p:nvSpPr>
          <p:cNvPr id="13" name="TextBox 2"/>
          <p:cNvSpPr txBox="1"/>
          <p:nvPr/>
        </p:nvSpPr>
        <p:spPr>
          <a:xfrm>
            <a:off x="4516564" y="5524696"/>
            <a:ext cx="6219332" cy="1033890"/>
          </a:xfrm>
          <a:prstGeom prst="rect">
            <a:avLst/>
          </a:prstGeom>
          <a:noFill/>
        </p:spPr>
        <p:txBody>
          <a:bodyPr wrap="square" lIns="0" rtlCol="0">
            <a:spAutoFit/>
          </a:bodyPr>
          <a:lstStyle/>
          <a:p>
            <a:pPr defTabSz="1218926">
              <a:lnSpc>
                <a:spcPct val="90000"/>
              </a:lnSpc>
              <a:buClr>
                <a:srgbClr val="4D4D4D"/>
              </a:buClr>
            </a:pPr>
            <a:r>
              <a:rPr lang="en-US" sz="5399" b="1" dirty="0">
                <a:solidFill>
                  <a:srgbClr val="0070C0"/>
                </a:solidFill>
                <a:latin typeface="Arial" panose="020B0604020202020204" pitchFamily="34" charset="0"/>
                <a:cs typeface="Arial" panose="020B0604020202020204" pitchFamily="34" charset="0"/>
              </a:rPr>
              <a:t>250+</a:t>
            </a:r>
            <a:r>
              <a:rPr lang="en-US" sz="5399" b="1" dirty="0">
                <a:solidFill>
                  <a:srgbClr val="00B0F0"/>
                </a:solidFill>
                <a:latin typeface="Arial" panose="020B0604020202020204" pitchFamily="34" charset="0"/>
                <a:cs typeface="Arial" panose="020B0604020202020204" pitchFamily="34" charset="0"/>
              </a:rPr>
              <a:t> </a:t>
            </a:r>
            <a:r>
              <a:rPr lang="en-US" dirty="0">
                <a:solidFill>
                  <a:srgbClr val="4D4D4D"/>
                </a:solidFill>
                <a:latin typeface="Arial" panose="020B0604020202020204" pitchFamily="34" charset="0"/>
                <a:cs typeface="Arial" panose="020B0604020202020204" pitchFamily="34" charset="0"/>
              </a:rPr>
              <a:t>PV experts worldwide</a:t>
            </a:r>
          </a:p>
          <a:p>
            <a:pPr defTabSz="1218926">
              <a:lnSpc>
                <a:spcPct val="90000"/>
              </a:lnSpc>
              <a:buClr>
                <a:srgbClr val="4D4D4D"/>
              </a:buClr>
            </a:pPr>
            <a:endParaRPr lang="en-US" sz="1400" dirty="0">
              <a:solidFill>
                <a:prstClr val="black"/>
              </a:solidFill>
              <a:latin typeface="Arial"/>
            </a:endParaRPr>
          </a:p>
        </p:txBody>
      </p:sp>
    </p:spTree>
    <p:extLst>
      <p:ext uri="{BB962C8B-B14F-4D97-AF65-F5344CB8AC3E}">
        <p14:creationId xmlns:p14="http://schemas.microsoft.com/office/powerpoint/2010/main" val="22239302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1000"/>
                                        <p:tgtEl>
                                          <p:spTgt spid="1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1000"/>
                                        <p:tgtEl>
                                          <p:spTgt spid="10"/>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fade">
                                      <p:cBhvr>
                                        <p:cTn id="22" dur="1000"/>
                                        <p:tgtEl>
                                          <p:spTgt spid="12"/>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10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P spid="11" grpId="0"/>
      <p:bldP spid="12" grpId="0"/>
      <p:bldP spid="13" grpId="0"/>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81AD60F-4E7F-7B08-B9AB-163BC8E36CA4}"/>
              </a:ext>
            </a:extLst>
          </p:cNvPr>
          <p:cNvSpPr>
            <a:spLocks noGrp="1"/>
          </p:cNvSpPr>
          <p:nvPr>
            <p:ph type="dt" sz="half" idx="10"/>
          </p:nvPr>
        </p:nvSpPr>
        <p:spPr/>
        <p:txBody>
          <a:bodyPr/>
          <a:lstStyle/>
          <a:p>
            <a:pPr defTabSz="1218926"/>
            <a:fld id="{A96A0BBE-48DF-4E7E-8119-60C6FE218790}" type="datetime1">
              <a:rPr lang="en-US">
                <a:solidFill>
                  <a:prstClr val="black"/>
                </a:solidFill>
                <a:latin typeface="Arial"/>
              </a:rPr>
              <a:pPr defTabSz="1218926"/>
              <a:t>10/22/2024</a:t>
            </a:fld>
            <a:endParaRPr lang="en-US" dirty="0">
              <a:solidFill>
                <a:prstClr val="black"/>
              </a:solidFill>
              <a:latin typeface="Arial"/>
            </a:endParaRPr>
          </a:p>
        </p:txBody>
      </p:sp>
      <p:sp>
        <p:nvSpPr>
          <p:cNvPr id="4" name="Slide Number Placeholder 3">
            <a:extLst>
              <a:ext uri="{FF2B5EF4-FFF2-40B4-BE49-F238E27FC236}">
                <a16:creationId xmlns:a16="http://schemas.microsoft.com/office/drawing/2014/main" id="{C26D29FA-3349-E960-EB37-75B7E292C579}"/>
              </a:ext>
            </a:extLst>
          </p:cNvPr>
          <p:cNvSpPr>
            <a:spLocks noGrp="1"/>
          </p:cNvSpPr>
          <p:nvPr>
            <p:ph type="sldNum" sz="quarter" idx="12"/>
          </p:nvPr>
        </p:nvSpPr>
        <p:spPr/>
        <p:txBody>
          <a:bodyPr/>
          <a:lstStyle/>
          <a:p>
            <a:pPr defTabSz="1218926"/>
            <a:fld id="{4915BD61-E5D5-4E4F-ADA0-6F3448AB9FA6}" type="slidenum">
              <a:rPr lang="en-US">
                <a:solidFill>
                  <a:prstClr val="black"/>
                </a:solidFill>
                <a:latin typeface="Arial"/>
              </a:rPr>
              <a:pPr defTabSz="1218926"/>
              <a:t>51</a:t>
            </a:fld>
            <a:endParaRPr lang="en-US" dirty="0">
              <a:solidFill>
                <a:prstClr val="black"/>
              </a:solidFill>
              <a:latin typeface="Arial"/>
            </a:endParaRPr>
          </a:p>
        </p:txBody>
      </p:sp>
      <p:sp>
        <p:nvSpPr>
          <p:cNvPr id="5" name="Content Placeholder 4">
            <a:extLst>
              <a:ext uri="{FF2B5EF4-FFF2-40B4-BE49-F238E27FC236}">
                <a16:creationId xmlns:a16="http://schemas.microsoft.com/office/drawing/2014/main" id="{9A1A26C8-63B2-60AF-2EEF-11D16E668A33}"/>
              </a:ext>
            </a:extLst>
          </p:cNvPr>
          <p:cNvSpPr>
            <a:spLocks noGrp="1"/>
          </p:cNvSpPr>
          <p:nvPr>
            <p:ph sz="quarter" idx="13"/>
          </p:nvPr>
        </p:nvSpPr>
        <p:spPr>
          <a:xfrm>
            <a:off x="552877" y="1502758"/>
            <a:ext cx="11085434" cy="4247017"/>
          </a:xfrm>
        </p:spPr>
        <p:txBody>
          <a:bodyPr/>
          <a:lstStyle/>
          <a:p>
            <a:r>
              <a:rPr lang="en-US" dirty="0"/>
              <a:t>• Investors are not just seeking upfront savings but long-term predictable returns.</a:t>
            </a:r>
          </a:p>
          <a:p>
            <a:r>
              <a:rPr lang="en-US" dirty="0"/>
              <a:t>• TÜV </a:t>
            </a:r>
            <a:r>
              <a:rPr lang="en-US" dirty="0" err="1"/>
              <a:t>Rheinland’s</a:t>
            </a:r>
            <a:r>
              <a:rPr lang="en-US" dirty="0"/>
              <a:t> extended </a:t>
            </a:r>
            <a:r>
              <a:rPr lang="en-US" b="1" dirty="0">
                <a:solidFill>
                  <a:srgbClr val="0070C0"/>
                </a:solidFill>
              </a:rPr>
              <a:t>bankability services </a:t>
            </a:r>
            <a:r>
              <a:rPr lang="en-US" dirty="0"/>
              <a:t>provide the technical and financial confidence you need to secure funding and ensure lasting value.</a:t>
            </a:r>
          </a:p>
          <a:p>
            <a:endParaRPr lang="en-US" dirty="0"/>
          </a:p>
        </p:txBody>
      </p:sp>
      <p:sp>
        <p:nvSpPr>
          <p:cNvPr id="6" name="Text Placeholder 5">
            <a:extLst>
              <a:ext uri="{FF2B5EF4-FFF2-40B4-BE49-F238E27FC236}">
                <a16:creationId xmlns:a16="http://schemas.microsoft.com/office/drawing/2014/main" id="{E42A10CD-3909-EE70-5317-D2B2BF7842B4}"/>
              </a:ext>
            </a:extLst>
          </p:cNvPr>
          <p:cNvSpPr>
            <a:spLocks noGrp="1"/>
          </p:cNvSpPr>
          <p:nvPr>
            <p:ph type="body" sz="quarter" idx="14"/>
          </p:nvPr>
        </p:nvSpPr>
        <p:spPr/>
        <p:txBody>
          <a:bodyPr/>
          <a:lstStyle/>
          <a:p>
            <a:r>
              <a:rPr lang="en-US" dirty="0"/>
              <a:t>The Smart Way to Invest in Solar Energy</a:t>
            </a:r>
          </a:p>
        </p:txBody>
      </p:sp>
      <p:sp>
        <p:nvSpPr>
          <p:cNvPr id="7" name="Title 6">
            <a:extLst>
              <a:ext uri="{FF2B5EF4-FFF2-40B4-BE49-F238E27FC236}">
                <a16:creationId xmlns:a16="http://schemas.microsoft.com/office/drawing/2014/main" id="{1A2F8F01-BA7B-3D16-9AC2-C137A7D17938}"/>
              </a:ext>
            </a:extLst>
          </p:cNvPr>
          <p:cNvSpPr>
            <a:spLocks noGrp="1"/>
          </p:cNvSpPr>
          <p:nvPr>
            <p:ph type="title"/>
          </p:nvPr>
        </p:nvSpPr>
        <p:spPr/>
        <p:txBody>
          <a:bodyPr/>
          <a:lstStyle/>
          <a:p>
            <a:r>
              <a:rPr lang="en-US" dirty="0"/>
              <a:t>Focus on Investors’ Priorities-extended bankability service</a:t>
            </a:r>
          </a:p>
        </p:txBody>
      </p:sp>
      <p:pic>
        <p:nvPicPr>
          <p:cNvPr id="11" name="Picture 10">
            <a:extLst>
              <a:ext uri="{FF2B5EF4-FFF2-40B4-BE49-F238E27FC236}">
                <a16:creationId xmlns:a16="http://schemas.microsoft.com/office/drawing/2014/main" id="{A2D8010B-9447-061D-9E98-844B93FA5360}"/>
              </a:ext>
            </a:extLst>
          </p:cNvPr>
          <p:cNvPicPr>
            <a:picLocks noChangeAspect="1"/>
          </p:cNvPicPr>
          <p:nvPr/>
        </p:nvPicPr>
        <p:blipFill>
          <a:blip r:embed="rId3"/>
          <a:stretch>
            <a:fillRect/>
          </a:stretch>
        </p:blipFill>
        <p:spPr>
          <a:xfrm>
            <a:off x="1108875" y="2822839"/>
            <a:ext cx="3542808" cy="1293839"/>
          </a:xfrm>
          <a:prstGeom prst="rect">
            <a:avLst/>
          </a:prstGeom>
        </p:spPr>
      </p:pic>
      <p:sp>
        <p:nvSpPr>
          <p:cNvPr id="12" name="TextBox 11">
            <a:extLst>
              <a:ext uri="{FF2B5EF4-FFF2-40B4-BE49-F238E27FC236}">
                <a16:creationId xmlns:a16="http://schemas.microsoft.com/office/drawing/2014/main" id="{B44F0B84-4F59-5479-F8EB-656E758CB876}"/>
              </a:ext>
            </a:extLst>
          </p:cNvPr>
          <p:cNvSpPr txBox="1"/>
          <p:nvPr/>
        </p:nvSpPr>
        <p:spPr>
          <a:xfrm>
            <a:off x="732521" y="4354954"/>
            <a:ext cx="5723436" cy="1746293"/>
          </a:xfrm>
          <a:prstGeom prst="rect">
            <a:avLst/>
          </a:prstGeom>
          <a:noFill/>
        </p:spPr>
        <p:txBody>
          <a:bodyPr vert="horz" wrap="square" lIns="0" rtlCol="0">
            <a:spAutoFit/>
          </a:bodyPr>
          <a:lstStyle/>
          <a:p>
            <a:pPr defTabSz="1218926">
              <a:lnSpc>
                <a:spcPts val="2200"/>
              </a:lnSpc>
              <a:buClr>
                <a:srgbClr val="4D4D4D"/>
              </a:buClr>
            </a:pPr>
            <a:r>
              <a:rPr lang="en-US" sz="1200" dirty="0">
                <a:solidFill>
                  <a:srgbClr val="000000"/>
                </a:solidFill>
                <a:latin typeface="Arial"/>
              </a:rPr>
              <a:t>TÜV Rheinland has established criteria for PV modules. </a:t>
            </a:r>
          </a:p>
          <a:p>
            <a:pPr defTabSz="1218926">
              <a:lnSpc>
                <a:spcPts val="2200"/>
              </a:lnSpc>
              <a:buClr>
                <a:srgbClr val="4D4D4D"/>
              </a:buClr>
            </a:pPr>
            <a:r>
              <a:rPr lang="en-US" sz="1200" dirty="0">
                <a:solidFill>
                  <a:srgbClr val="000000"/>
                </a:solidFill>
                <a:latin typeface="Arial"/>
              </a:rPr>
              <a:t>The standard includes eight test sequences </a:t>
            </a:r>
            <a:r>
              <a:rPr lang="en-US" altLang="zh-CN" sz="1200" dirty="0">
                <a:solidFill>
                  <a:srgbClr val="000000"/>
                </a:solidFill>
                <a:latin typeface="Arial"/>
              </a:rPr>
              <a:t>the </a:t>
            </a:r>
            <a:r>
              <a:rPr lang="en-US" sz="1200" dirty="0">
                <a:solidFill>
                  <a:srgbClr val="000000"/>
                </a:solidFill>
                <a:latin typeface="Arial"/>
              </a:rPr>
              <a:t>data from these tests not only allow system designers to </a:t>
            </a:r>
            <a:r>
              <a:rPr lang="en-US" sz="1200" b="1" dirty="0">
                <a:solidFill>
                  <a:srgbClr val="000000"/>
                </a:solidFill>
                <a:latin typeface="Arial"/>
              </a:rPr>
              <a:t>make reliable energy yield predictions</a:t>
            </a:r>
            <a:r>
              <a:rPr lang="en-US" sz="1200" dirty="0">
                <a:solidFill>
                  <a:srgbClr val="000000"/>
                </a:solidFill>
                <a:latin typeface="Arial"/>
              </a:rPr>
              <a:t> but also </a:t>
            </a:r>
            <a:r>
              <a:rPr lang="en-US" sz="1200" b="1" dirty="0">
                <a:solidFill>
                  <a:srgbClr val="000000"/>
                </a:solidFill>
                <a:latin typeface="Arial"/>
              </a:rPr>
              <a:t>enhance the project‘s credibility and appeal.</a:t>
            </a:r>
          </a:p>
          <a:p>
            <a:pPr defTabSz="1218926">
              <a:lnSpc>
                <a:spcPts val="2200"/>
              </a:lnSpc>
              <a:buClr>
                <a:srgbClr val="4D4D4D"/>
              </a:buClr>
            </a:pPr>
            <a:endParaRPr lang="en-US" sz="1200" b="1" dirty="0">
              <a:solidFill>
                <a:srgbClr val="000000"/>
              </a:solidFill>
              <a:latin typeface="Arial"/>
            </a:endParaRPr>
          </a:p>
          <a:p>
            <a:pPr defTabSz="1218926">
              <a:lnSpc>
                <a:spcPts val="2200"/>
              </a:lnSpc>
              <a:buClr>
                <a:srgbClr val="4D4D4D"/>
              </a:buClr>
            </a:pPr>
            <a:r>
              <a:rPr lang="en-US" sz="1100" dirty="0">
                <a:solidFill>
                  <a:prstClr val="black"/>
                </a:solidFill>
                <a:latin typeface="Arial"/>
              </a:rPr>
              <a:t>F</a:t>
            </a:r>
            <a:r>
              <a:rPr lang="en-US" altLang="zh-CN" sz="1100" dirty="0">
                <a:solidFill>
                  <a:prstClr val="black"/>
                </a:solidFill>
                <a:latin typeface="Arial"/>
              </a:rPr>
              <a:t>urther reading: </a:t>
            </a:r>
            <a:r>
              <a:rPr lang="en-US" sz="1050" dirty="0">
                <a:solidFill>
                  <a:prstClr val="black"/>
                </a:solidFill>
                <a:latin typeface="Arial"/>
                <a:hlinkClick r:id="rId4"/>
              </a:rPr>
              <a:t>Extended Bankability for PV module(s) | TÜV Rheinland</a:t>
            </a:r>
            <a:endParaRPr lang="en-US" sz="1200" b="1" dirty="0">
              <a:solidFill>
                <a:srgbClr val="000000"/>
              </a:solidFill>
              <a:latin typeface="Arial"/>
            </a:endParaRPr>
          </a:p>
        </p:txBody>
      </p:sp>
      <p:pic>
        <p:nvPicPr>
          <p:cNvPr id="14" name="Graphic 13" descr="Medal with solid fill">
            <a:extLst>
              <a:ext uri="{FF2B5EF4-FFF2-40B4-BE49-F238E27FC236}">
                <a16:creationId xmlns:a16="http://schemas.microsoft.com/office/drawing/2014/main" id="{C118CFAE-3C57-C213-CF98-3F0ABADE7CB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162190" y="3808422"/>
            <a:ext cx="760760" cy="760760"/>
          </a:xfrm>
          <a:prstGeom prst="rect">
            <a:avLst/>
          </a:prstGeom>
        </p:spPr>
      </p:pic>
      <p:pic>
        <p:nvPicPr>
          <p:cNvPr id="16" name="Graphic 15" descr="Hourglass 30% with solid fill">
            <a:extLst>
              <a:ext uri="{FF2B5EF4-FFF2-40B4-BE49-F238E27FC236}">
                <a16:creationId xmlns:a16="http://schemas.microsoft.com/office/drawing/2014/main" id="{54B244F2-EAC5-F005-E464-7FB42363A94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172723" y="4892523"/>
            <a:ext cx="750226" cy="750226"/>
          </a:xfrm>
          <a:prstGeom prst="rect">
            <a:avLst/>
          </a:prstGeom>
        </p:spPr>
      </p:pic>
      <p:pic>
        <p:nvPicPr>
          <p:cNvPr id="18" name="Graphic 17" descr="Priorities with solid fill">
            <a:extLst>
              <a:ext uri="{FF2B5EF4-FFF2-40B4-BE49-F238E27FC236}">
                <a16:creationId xmlns:a16="http://schemas.microsoft.com/office/drawing/2014/main" id="{F10B7C41-3839-7286-2762-0D02C1AAF53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113110" y="2770949"/>
            <a:ext cx="753102" cy="753102"/>
          </a:xfrm>
          <a:prstGeom prst="rect">
            <a:avLst/>
          </a:prstGeom>
        </p:spPr>
      </p:pic>
      <p:sp>
        <p:nvSpPr>
          <p:cNvPr id="21" name="TextBox 20">
            <a:extLst>
              <a:ext uri="{FF2B5EF4-FFF2-40B4-BE49-F238E27FC236}">
                <a16:creationId xmlns:a16="http://schemas.microsoft.com/office/drawing/2014/main" id="{CA547FE5-3107-533E-3C57-7933C2D5E287}"/>
              </a:ext>
            </a:extLst>
          </p:cNvPr>
          <p:cNvSpPr txBox="1"/>
          <p:nvPr/>
        </p:nvSpPr>
        <p:spPr>
          <a:xfrm>
            <a:off x="7201022" y="2822840"/>
            <a:ext cx="3286449" cy="350528"/>
          </a:xfrm>
          <a:prstGeom prst="rect">
            <a:avLst/>
          </a:prstGeom>
          <a:noFill/>
        </p:spPr>
        <p:txBody>
          <a:bodyPr vert="horz" wrap="square" lIns="0" rtlCol="0">
            <a:spAutoFit/>
          </a:bodyPr>
          <a:lstStyle/>
          <a:p>
            <a:pPr defTabSz="1218926">
              <a:lnSpc>
                <a:spcPts val="2200"/>
              </a:lnSpc>
              <a:buClr>
                <a:srgbClr val="4D4D4D"/>
              </a:buClr>
            </a:pPr>
            <a:r>
              <a:rPr lang="en-US" sz="1600" b="1" dirty="0">
                <a:solidFill>
                  <a:srgbClr val="0070C0"/>
                </a:solidFill>
                <a:latin typeface="Arial"/>
              </a:rPr>
              <a:t>Ranking: Superior or Good</a:t>
            </a:r>
            <a:endParaRPr lang="en-US" sz="1200" b="1" dirty="0">
              <a:solidFill>
                <a:srgbClr val="0070C0"/>
              </a:solidFill>
              <a:latin typeface="Arial"/>
            </a:endParaRPr>
          </a:p>
        </p:txBody>
      </p:sp>
      <p:sp>
        <p:nvSpPr>
          <p:cNvPr id="22" name="TextBox 21">
            <a:extLst>
              <a:ext uri="{FF2B5EF4-FFF2-40B4-BE49-F238E27FC236}">
                <a16:creationId xmlns:a16="http://schemas.microsoft.com/office/drawing/2014/main" id="{5F02023D-CE96-2109-58EE-1AD8E828E3F8}"/>
              </a:ext>
            </a:extLst>
          </p:cNvPr>
          <p:cNvSpPr txBox="1"/>
          <p:nvPr/>
        </p:nvSpPr>
        <p:spPr>
          <a:xfrm>
            <a:off x="7201022" y="3979312"/>
            <a:ext cx="3882103" cy="338476"/>
          </a:xfrm>
          <a:prstGeom prst="rect">
            <a:avLst/>
          </a:prstGeom>
          <a:noFill/>
        </p:spPr>
        <p:txBody>
          <a:bodyPr vert="horz" wrap="square" lIns="0" rtlCol="0">
            <a:spAutoFit/>
          </a:bodyPr>
          <a:lstStyle/>
          <a:p>
            <a:pPr defTabSz="1218926"/>
            <a:r>
              <a:rPr lang="en-US" sz="1600" b="1" dirty="0">
                <a:solidFill>
                  <a:srgbClr val="0070C0"/>
                </a:solidFill>
                <a:latin typeface="Arial"/>
              </a:rPr>
              <a:t>Listed on the TÜV </a:t>
            </a:r>
            <a:r>
              <a:rPr lang="en-US" sz="1600" b="1" dirty="0" err="1">
                <a:solidFill>
                  <a:srgbClr val="0070C0"/>
                </a:solidFill>
                <a:latin typeface="Arial"/>
              </a:rPr>
              <a:t>Rheinland</a:t>
            </a:r>
            <a:r>
              <a:rPr lang="en-US" sz="1600" b="1" dirty="0">
                <a:solidFill>
                  <a:srgbClr val="0070C0"/>
                </a:solidFill>
                <a:latin typeface="Arial"/>
              </a:rPr>
              <a:t> website</a:t>
            </a:r>
          </a:p>
        </p:txBody>
      </p:sp>
      <p:sp>
        <p:nvSpPr>
          <p:cNvPr id="23" name="TextBox 22">
            <a:extLst>
              <a:ext uri="{FF2B5EF4-FFF2-40B4-BE49-F238E27FC236}">
                <a16:creationId xmlns:a16="http://schemas.microsoft.com/office/drawing/2014/main" id="{1C8B4B0C-0902-CCE9-DED6-B4B65206B6DD}"/>
              </a:ext>
            </a:extLst>
          </p:cNvPr>
          <p:cNvSpPr txBox="1"/>
          <p:nvPr/>
        </p:nvSpPr>
        <p:spPr>
          <a:xfrm>
            <a:off x="7201022" y="5124466"/>
            <a:ext cx="2688826" cy="338476"/>
          </a:xfrm>
          <a:prstGeom prst="rect">
            <a:avLst/>
          </a:prstGeom>
          <a:noFill/>
        </p:spPr>
        <p:txBody>
          <a:bodyPr vert="horz" wrap="square" lIns="0" rtlCol="0">
            <a:spAutoFit/>
          </a:bodyPr>
          <a:lstStyle>
            <a:defPPr>
              <a:defRPr lang="de-DE"/>
            </a:defPPr>
            <a:lvl1pPr>
              <a:defRPr sz="1600" b="1">
                <a:solidFill>
                  <a:srgbClr val="0070C0"/>
                </a:solidFill>
              </a:defRPr>
            </a:lvl1pPr>
          </a:lstStyle>
          <a:p>
            <a:pPr defTabSz="1218926"/>
            <a:r>
              <a:rPr lang="en-US" dirty="0">
                <a:latin typeface="Arial"/>
              </a:rPr>
              <a:t>Lead time: 6 months</a:t>
            </a:r>
          </a:p>
        </p:txBody>
      </p:sp>
      <p:sp>
        <p:nvSpPr>
          <p:cNvPr id="8" name="Fußzeilenplatzhalter 2">
            <a:extLst>
              <a:ext uri="{FF2B5EF4-FFF2-40B4-BE49-F238E27FC236}">
                <a16:creationId xmlns:a16="http://schemas.microsoft.com/office/drawing/2014/main" id="{2D3F4897-2815-DE17-D8E2-AE3D34F8A5F3}"/>
              </a:ext>
            </a:extLst>
          </p:cNvPr>
          <p:cNvSpPr txBox="1">
            <a:spLocks/>
          </p:cNvSpPr>
          <p:nvPr/>
        </p:nvSpPr>
        <p:spPr bwMode="gray">
          <a:xfrm>
            <a:off x="1704916" y="6452720"/>
            <a:ext cx="4390984" cy="172505"/>
          </a:xfrm>
          <a:prstGeom prst="rect">
            <a:avLst/>
          </a:prstGeom>
        </p:spPr>
        <p:txBody>
          <a:bodyPr vert="horz" lIns="0" tIns="0" rIns="0" bIns="0" rtlCol="0" anchor="b"/>
          <a:lstStyle>
            <a:defPPr>
              <a:defRPr lang="de-DE"/>
            </a:defPPr>
            <a:lvl1pPr marL="0" algn="l" defTabSz="1219170" rtl="0" eaLnBrk="1" latinLnBrk="0" hangingPunct="1">
              <a:defRPr sz="8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1218926"/>
            <a:r>
              <a:rPr lang="en-US">
                <a:solidFill>
                  <a:prstClr val="black"/>
                </a:solidFill>
                <a:latin typeface="Arial"/>
              </a:rPr>
              <a:t>TÜV Rheinland's Solar Business</a:t>
            </a:r>
            <a:endParaRPr lang="en-US" dirty="0">
              <a:solidFill>
                <a:prstClr val="black"/>
              </a:solidFill>
              <a:latin typeface="Arial"/>
            </a:endParaRPr>
          </a:p>
        </p:txBody>
      </p:sp>
    </p:spTree>
    <p:extLst>
      <p:ext uri="{BB962C8B-B14F-4D97-AF65-F5344CB8AC3E}">
        <p14:creationId xmlns:p14="http://schemas.microsoft.com/office/powerpoint/2010/main" val="253955841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0D03907-4219-2583-76CD-CCC984FFC79F}"/>
              </a:ext>
            </a:extLst>
          </p:cNvPr>
          <p:cNvSpPr>
            <a:spLocks noGrp="1"/>
          </p:cNvSpPr>
          <p:nvPr>
            <p:ph type="dt" sz="half" idx="10"/>
          </p:nvPr>
        </p:nvSpPr>
        <p:spPr/>
        <p:txBody>
          <a:bodyPr/>
          <a:lstStyle/>
          <a:p>
            <a:pPr defTabSz="1218926"/>
            <a:fld id="{A96A0BBE-48DF-4E7E-8119-60C6FE218790}" type="datetime1">
              <a:rPr lang="en-US">
                <a:solidFill>
                  <a:prstClr val="black"/>
                </a:solidFill>
                <a:latin typeface="Arial"/>
              </a:rPr>
              <a:pPr defTabSz="1218926"/>
              <a:t>10/22/2024</a:t>
            </a:fld>
            <a:endParaRPr lang="en-US" dirty="0">
              <a:solidFill>
                <a:prstClr val="black"/>
              </a:solidFill>
              <a:latin typeface="Arial"/>
            </a:endParaRPr>
          </a:p>
        </p:txBody>
      </p:sp>
      <p:sp>
        <p:nvSpPr>
          <p:cNvPr id="4" name="Slide Number Placeholder 3">
            <a:extLst>
              <a:ext uri="{FF2B5EF4-FFF2-40B4-BE49-F238E27FC236}">
                <a16:creationId xmlns:a16="http://schemas.microsoft.com/office/drawing/2014/main" id="{E6A9C35D-EA03-FDB8-E06A-D6BBA95A990C}"/>
              </a:ext>
            </a:extLst>
          </p:cNvPr>
          <p:cNvSpPr>
            <a:spLocks noGrp="1"/>
          </p:cNvSpPr>
          <p:nvPr>
            <p:ph type="sldNum" sz="quarter" idx="12"/>
          </p:nvPr>
        </p:nvSpPr>
        <p:spPr/>
        <p:txBody>
          <a:bodyPr/>
          <a:lstStyle/>
          <a:p>
            <a:pPr defTabSz="1218926"/>
            <a:fld id="{4915BD61-E5D5-4E4F-ADA0-6F3448AB9FA6}" type="slidenum">
              <a:rPr lang="en-US">
                <a:solidFill>
                  <a:prstClr val="black"/>
                </a:solidFill>
                <a:latin typeface="Arial"/>
              </a:rPr>
              <a:pPr defTabSz="1218926"/>
              <a:t>52</a:t>
            </a:fld>
            <a:endParaRPr lang="en-US" dirty="0">
              <a:solidFill>
                <a:prstClr val="black"/>
              </a:solidFill>
              <a:latin typeface="Arial"/>
            </a:endParaRPr>
          </a:p>
        </p:txBody>
      </p:sp>
      <p:sp>
        <p:nvSpPr>
          <p:cNvPr id="5" name="Content Placeholder 4">
            <a:extLst>
              <a:ext uri="{FF2B5EF4-FFF2-40B4-BE49-F238E27FC236}">
                <a16:creationId xmlns:a16="http://schemas.microsoft.com/office/drawing/2014/main" id="{4009C70C-4758-125B-DB3F-103D3994BC61}"/>
              </a:ext>
            </a:extLst>
          </p:cNvPr>
          <p:cNvSpPr>
            <a:spLocks noGrp="1"/>
          </p:cNvSpPr>
          <p:nvPr>
            <p:ph sz="quarter" idx="13"/>
          </p:nvPr>
        </p:nvSpPr>
        <p:spPr>
          <a:xfrm>
            <a:off x="575150" y="1405172"/>
            <a:ext cx="11280156" cy="431900"/>
          </a:xfrm>
        </p:spPr>
        <p:txBody>
          <a:bodyPr/>
          <a:lstStyle/>
          <a:p>
            <a:pPr marL="285693" indent="-285693">
              <a:buFont typeface="Wingdings" panose="05000000000000000000" pitchFamily="2" charset="2"/>
              <a:buChar char="v"/>
            </a:pPr>
            <a:r>
              <a:rPr lang="en-US" dirty="0"/>
              <a:t>Key Benefit: Reduce risks by ensuring projects are technically sound, maximizing success rates for investors and EPCs.</a:t>
            </a:r>
          </a:p>
          <a:p>
            <a:endParaRPr lang="en-US" dirty="0"/>
          </a:p>
        </p:txBody>
      </p:sp>
      <p:sp>
        <p:nvSpPr>
          <p:cNvPr id="6" name="Text Placeholder 5">
            <a:extLst>
              <a:ext uri="{FF2B5EF4-FFF2-40B4-BE49-F238E27FC236}">
                <a16:creationId xmlns:a16="http://schemas.microsoft.com/office/drawing/2014/main" id="{0075DBD0-9782-37BC-0776-D9188E51CF4D}"/>
              </a:ext>
            </a:extLst>
          </p:cNvPr>
          <p:cNvSpPr>
            <a:spLocks noGrp="1"/>
          </p:cNvSpPr>
          <p:nvPr>
            <p:ph type="body" sz="quarter" idx="14"/>
          </p:nvPr>
        </p:nvSpPr>
        <p:spPr/>
        <p:txBody>
          <a:bodyPr/>
          <a:lstStyle/>
          <a:p>
            <a:r>
              <a:rPr lang="en-US" dirty="0"/>
              <a:t>Comprehensive Technical Due Diligence</a:t>
            </a:r>
            <a:r>
              <a:rPr lang="zh-CN" altLang="en-US" dirty="0"/>
              <a:t> </a:t>
            </a:r>
            <a:r>
              <a:rPr lang="en-US" altLang="zh-CN" dirty="0"/>
              <a:t>(Solid investments with our solar technical due diligence)</a:t>
            </a:r>
            <a:endParaRPr lang="en-US" dirty="0"/>
          </a:p>
        </p:txBody>
      </p:sp>
      <p:sp>
        <p:nvSpPr>
          <p:cNvPr id="7" name="Title 6">
            <a:extLst>
              <a:ext uri="{FF2B5EF4-FFF2-40B4-BE49-F238E27FC236}">
                <a16:creationId xmlns:a16="http://schemas.microsoft.com/office/drawing/2014/main" id="{F8554CD4-9D6B-1935-A8E6-2088711DEB87}"/>
              </a:ext>
            </a:extLst>
          </p:cNvPr>
          <p:cNvSpPr>
            <a:spLocks noGrp="1"/>
          </p:cNvSpPr>
          <p:nvPr>
            <p:ph type="title"/>
          </p:nvPr>
        </p:nvSpPr>
        <p:spPr/>
        <p:txBody>
          <a:bodyPr/>
          <a:lstStyle/>
          <a:p>
            <a:r>
              <a:rPr lang="en-US" b="1" dirty="0"/>
              <a:t>Technical Due Diligence </a:t>
            </a:r>
            <a:r>
              <a:rPr lang="en-US" dirty="0"/>
              <a:t>– Your Risk Mitigation Tool</a:t>
            </a:r>
          </a:p>
        </p:txBody>
      </p:sp>
      <p:sp>
        <p:nvSpPr>
          <p:cNvPr id="8" name="TextBox 7">
            <a:extLst>
              <a:ext uri="{FF2B5EF4-FFF2-40B4-BE49-F238E27FC236}">
                <a16:creationId xmlns:a16="http://schemas.microsoft.com/office/drawing/2014/main" id="{4E6A8A01-85C8-6AAC-CFE7-13E3649CDFC9}"/>
              </a:ext>
            </a:extLst>
          </p:cNvPr>
          <p:cNvSpPr txBox="1"/>
          <p:nvPr/>
        </p:nvSpPr>
        <p:spPr>
          <a:xfrm>
            <a:off x="577498" y="1988981"/>
            <a:ext cx="5304875" cy="4001323"/>
          </a:xfrm>
          <a:prstGeom prst="rect">
            <a:avLst/>
          </a:prstGeom>
          <a:noFill/>
        </p:spPr>
        <p:txBody>
          <a:bodyPr vert="horz" wrap="square" lIns="0" rtlCol="0">
            <a:spAutoFit/>
          </a:bodyPr>
          <a:lstStyle/>
          <a:p>
            <a:pPr defTabSz="1218926">
              <a:lnSpc>
                <a:spcPts val="2200"/>
              </a:lnSpc>
              <a:buClr>
                <a:srgbClr val="4D4D4D"/>
              </a:buClr>
            </a:pPr>
            <a:r>
              <a:rPr lang="en-US" sz="1200" b="1" dirty="0">
                <a:solidFill>
                  <a:srgbClr val="000000"/>
                </a:solidFill>
                <a:latin typeface="Arial"/>
              </a:rPr>
              <a:t>Our approach to technical due diligence for PV power plants encompasses the following key branches:</a:t>
            </a:r>
          </a:p>
          <a:p>
            <a:pPr defTabSz="1218926">
              <a:lnSpc>
                <a:spcPts val="2200"/>
              </a:lnSpc>
              <a:buClr>
                <a:srgbClr val="4D4D4D"/>
              </a:buClr>
            </a:pPr>
            <a:endParaRPr lang="en-US" sz="1200" b="1" dirty="0">
              <a:solidFill>
                <a:srgbClr val="000000"/>
              </a:solidFill>
              <a:latin typeface="Arial"/>
            </a:endParaRPr>
          </a:p>
          <a:p>
            <a:pPr marL="177764" indent="-177764" defTabSz="1218926">
              <a:lnSpc>
                <a:spcPts val="2200"/>
              </a:lnSpc>
              <a:buClr>
                <a:srgbClr val="4D4D4D"/>
              </a:buClr>
              <a:buFont typeface="Wingdings" panose="05000000000000000000" pitchFamily="2" charset="2"/>
              <a:buChar char="§"/>
            </a:pPr>
            <a:r>
              <a:rPr lang="en-US" b="1" dirty="0">
                <a:solidFill>
                  <a:srgbClr val="0071B9"/>
                </a:solidFill>
                <a:latin typeface="Arial"/>
              </a:rPr>
              <a:t>Evaluation of the technical feasibility</a:t>
            </a:r>
          </a:p>
          <a:p>
            <a:pPr marL="177764" indent="-177764" defTabSz="1218926">
              <a:lnSpc>
                <a:spcPts val="2200"/>
              </a:lnSpc>
              <a:buClr>
                <a:srgbClr val="4D4D4D"/>
              </a:buClr>
              <a:buFont typeface="Wingdings" panose="05000000000000000000" pitchFamily="2" charset="2"/>
              <a:buChar char="§"/>
            </a:pPr>
            <a:r>
              <a:rPr lang="en-US" sz="1050" dirty="0">
                <a:solidFill>
                  <a:srgbClr val="000000"/>
                </a:solidFill>
                <a:latin typeface="Arial"/>
              </a:rPr>
              <a:t>Contractual management</a:t>
            </a:r>
          </a:p>
          <a:p>
            <a:pPr marL="177764" indent="-177764" defTabSz="1218926">
              <a:lnSpc>
                <a:spcPts val="2200"/>
              </a:lnSpc>
              <a:buClr>
                <a:srgbClr val="4D4D4D"/>
              </a:buClr>
              <a:buFont typeface="Wingdings" panose="05000000000000000000" pitchFamily="2" charset="2"/>
              <a:buChar char="§"/>
            </a:pPr>
            <a:r>
              <a:rPr lang="en-US" sz="1050" dirty="0">
                <a:solidFill>
                  <a:srgbClr val="000000"/>
                </a:solidFill>
                <a:latin typeface="Arial"/>
              </a:rPr>
              <a:t>Risk management</a:t>
            </a:r>
          </a:p>
          <a:p>
            <a:pPr marL="177764" indent="-177764" defTabSz="1218926">
              <a:lnSpc>
                <a:spcPts val="2200"/>
              </a:lnSpc>
              <a:buClr>
                <a:srgbClr val="4D4D4D"/>
              </a:buClr>
              <a:buFont typeface="Wingdings" panose="05000000000000000000" pitchFamily="2" charset="2"/>
              <a:buChar char="§"/>
            </a:pPr>
            <a:r>
              <a:rPr lang="en-US" b="1" dirty="0">
                <a:solidFill>
                  <a:srgbClr val="0070C0"/>
                </a:solidFill>
                <a:latin typeface="Arial"/>
              </a:rPr>
              <a:t>Inspection and fault detection </a:t>
            </a:r>
            <a:r>
              <a:rPr lang="en-US" sz="1050" b="1" dirty="0">
                <a:solidFill>
                  <a:srgbClr val="0070C0"/>
                </a:solidFill>
                <a:latin typeface="Arial"/>
              </a:rPr>
              <a:t>of PV system design, PV components, construction and performance</a:t>
            </a:r>
          </a:p>
          <a:p>
            <a:pPr marL="177764" indent="-177764" defTabSz="1218926">
              <a:lnSpc>
                <a:spcPts val="2200"/>
              </a:lnSpc>
              <a:buClr>
                <a:srgbClr val="4D4D4D"/>
              </a:buClr>
              <a:buFont typeface="Wingdings" panose="05000000000000000000" pitchFamily="2" charset="2"/>
              <a:buChar char="§"/>
            </a:pPr>
            <a:r>
              <a:rPr lang="en-US" sz="1050" dirty="0">
                <a:solidFill>
                  <a:srgbClr val="000000"/>
                </a:solidFill>
                <a:latin typeface="Arial"/>
              </a:rPr>
              <a:t>Plant construction monitoring</a:t>
            </a:r>
          </a:p>
          <a:p>
            <a:pPr marL="177764" indent="-177764" defTabSz="1218926">
              <a:lnSpc>
                <a:spcPts val="2200"/>
              </a:lnSpc>
              <a:buClr>
                <a:srgbClr val="4D4D4D"/>
              </a:buClr>
              <a:buFont typeface="Wingdings" panose="05000000000000000000" pitchFamily="2" charset="2"/>
              <a:buChar char="§"/>
            </a:pPr>
            <a:r>
              <a:rPr lang="en-US" b="1" dirty="0">
                <a:solidFill>
                  <a:srgbClr val="0070C0"/>
                </a:solidFill>
                <a:latin typeface="Arial"/>
              </a:rPr>
              <a:t>Assessment of plant’s performance on energy yield predictions</a:t>
            </a:r>
          </a:p>
          <a:p>
            <a:pPr marL="177764" indent="-177764" defTabSz="1218926">
              <a:lnSpc>
                <a:spcPts val="2200"/>
              </a:lnSpc>
              <a:buClr>
                <a:srgbClr val="4D4D4D"/>
              </a:buClr>
              <a:buFont typeface="Wingdings" panose="05000000000000000000" pitchFamily="2" charset="2"/>
              <a:buChar char="§"/>
            </a:pPr>
            <a:r>
              <a:rPr lang="en-US" sz="1050" dirty="0">
                <a:solidFill>
                  <a:srgbClr val="000000"/>
                </a:solidFill>
                <a:latin typeface="Arial"/>
              </a:rPr>
              <a:t>Power determination of </a:t>
            </a:r>
            <a:r>
              <a:rPr lang="en-US" sz="1050" b="1" dirty="0">
                <a:solidFill>
                  <a:srgbClr val="0070C0"/>
                </a:solidFill>
                <a:latin typeface="Arial"/>
              </a:rPr>
              <a:t>PV modules</a:t>
            </a:r>
          </a:p>
          <a:p>
            <a:pPr marL="285693" indent="-285693" defTabSz="1218926">
              <a:lnSpc>
                <a:spcPts val="2200"/>
              </a:lnSpc>
              <a:buClr>
                <a:srgbClr val="4D4D4D"/>
              </a:buClr>
              <a:buFont typeface="Arial" panose="020B0604020202020204" pitchFamily="34" charset="0"/>
              <a:buChar char="•"/>
            </a:pPr>
            <a:r>
              <a:rPr lang="en-US" b="1" dirty="0">
                <a:solidFill>
                  <a:srgbClr val="0070C0"/>
                </a:solidFill>
                <a:latin typeface="Arial"/>
              </a:rPr>
              <a:t>Complete portfolio </a:t>
            </a:r>
            <a:r>
              <a:rPr lang="en-US" sz="1050" b="1" dirty="0">
                <a:solidFill>
                  <a:srgbClr val="0070C0"/>
                </a:solidFill>
                <a:latin typeface="Arial"/>
              </a:rPr>
              <a:t>thoroughly detailing the results of our inspection and assessment services</a:t>
            </a:r>
            <a:r>
              <a:rPr lang="en-US" sz="1050" dirty="0">
                <a:solidFill>
                  <a:srgbClr val="000000"/>
                </a:solidFill>
                <a:latin typeface="Arial"/>
              </a:rPr>
              <a:t>.</a:t>
            </a:r>
          </a:p>
        </p:txBody>
      </p:sp>
      <p:sp>
        <p:nvSpPr>
          <p:cNvPr id="15" name="Fußzeilenplatzhalter 8">
            <a:extLst>
              <a:ext uri="{FF2B5EF4-FFF2-40B4-BE49-F238E27FC236}">
                <a16:creationId xmlns:a16="http://schemas.microsoft.com/office/drawing/2014/main" id="{07B9A5EA-211F-6FA8-AA30-9179F687FBB7}"/>
              </a:ext>
            </a:extLst>
          </p:cNvPr>
          <p:cNvSpPr txBox="1">
            <a:spLocks/>
          </p:cNvSpPr>
          <p:nvPr/>
        </p:nvSpPr>
        <p:spPr bwMode="gray">
          <a:xfrm>
            <a:off x="1704916" y="6452720"/>
            <a:ext cx="4390984" cy="172505"/>
          </a:xfrm>
          <a:prstGeom prst="rect">
            <a:avLst/>
          </a:prstGeom>
        </p:spPr>
        <p:txBody>
          <a:bodyPr vert="horz" lIns="0" tIns="0" rIns="0" bIns="0" rtlCol="0" anchor="b"/>
          <a:lstStyle>
            <a:defPPr>
              <a:defRPr lang="de-DE"/>
            </a:defPPr>
            <a:lvl1pPr marL="0" algn="l" defTabSz="1219170" rtl="0" eaLnBrk="1" latinLnBrk="0" hangingPunct="1">
              <a:defRPr sz="8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1218926"/>
            <a:r>
              <a:rPr lang="de-DE" altLang="zh-CN">
                <a:solidFill>
                  <a:prstClr val="black"/>
                </a:solidFill>
                <a:latin typeface="Arial"/>
              </a:rPr>
              <a:t>TÜV Rheinland's Solar Business</a:t>
            </a:r>
            <a:endParaRPr lang="de-DE" altLang="zh-CN" dirty="0">
              <a:solidFill>
                <a:prstClr val="black"/>
              </a:solidFill>
              <a:latin typeface="Arial"/>
            </a:endParaRPr>
          </a:p>
        </p:txBody>
      </p:sp>
      <p:pic>
        <p:nvPicPr>
          <p:cNvPr id="1026" name="Picture 2" descr="Technical Due Diligence for PV Investments">
            <a:extLst>
              <a:ext uri="{FF2B5EF4-FFF2-40B4-BE49-F238E27FC236}">
                <a16:creationId xmlns:a16="http://schemas.microsoft.com/office/drawing/2014/main" id="{D020B86E-7ABF-886A-6F0B-998A921504B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8195" r="940"/>
          <a:stretch/>
        </p:blipFill>
        <p:spPr bwMode="auto">
          <a:xfrm>
            <a:off x="5880025" y="2053173"/>
            <a:ext cx="6309771" cy="38957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719071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A00CBDC-C80D-75AA-0FE0-E6AC5DBAD168}"/>
              </a:ext>
            </a:extLst>
          </p:cNvPr>
          <p:cNvSpPr>
            <a:spLocks noGrp="1"/>
          </p:cNvSpPr>
          <p:nvPr>
            <p:ph type="dt" sz="half" idx="10"/>
          </p:nvPr>
        </p:nvSpPr>
        <p:spPr/>
        <p:txBody>
          <a:bodyPr/>
          <a:lstStyle/>
          <a:p>
            <a:pPr defTabSz="1218926"/>
            <a:fld id="{A96A0BBE-48DF-4E7E-8119-60C6FE218790}" type="datetime1">
              <a:rPr lang="en-US">
                <a:solidFill>
                  <a:prstClr val="black"/>
                </a:solidFill>
                <a:latin typeface="Arial"/>
              </a:rPr>
              <a:pPr defTabSz="1218926"/>
              <a:t>10/22/2024</a:t>
            </a:fld>
            <a:endParaRPr lang="en-US" dirty="0">
              <a:solidFill>
                <a:prstClr val="black"/>
              </a:solidFill>
              <a:latin typeface="Arial"/>
            </a:endParaRPr>
          </a:p>
        </p:txBody>
      </p:sp>
      <p:sp>
        <p:nvSpPr>
          <p:cNvPr id="4" name="Slide Number Placeholder 3">
            <a:extLst>
              <a:ext uri="{FF2B5EF4-FFF2-40B4-BE49-F238E27FC236}">
                <a16:creationId xmlns:a16="http://schemas.microsoft.com/office/drawing/2014/main" id="{51B616F4-1DED-0102-A9F2-9BF0D84AC76F}"/>
              </a:ext>
            </a:extLst>
          </p:cNvPr>
          <p:cNvSpPr>
            <a:spLocks noGrp="1"/>
          </p:cNvSpPr>
          <p:nvPr>
            <p:ph type="sldNum" sz="quarter" idx="12"/>
          </p:nvPr>
        </p:nvSpPr>
        <p:spPr/>
        <p:txBody>
          <a:bodyPr/>
          <a:lstStyle/>
          <a:p>
            <a:pPr defTabSz="1218926"/>
            <a:fld id="{4915BD61-E5D5-4E4F-ADA0-6F3448AB9FA6}" type="slidenum">
              <a:rPr lang="en-US">
                <a:solidFill>
                  <a:prstClr val="black"/>
                </a:solidFill>
                <a:latin typeface="Arial"/>
              </a:rPr>
              <a:pPr defTabSz="1218926"/>
              <a:t>53</a:t>
            </a:fld>
            <a:endParaRPr lang="en-US" dirty="0">
              <a:solidFill>
                <a:prstClr val="black"/>
              </a:solidFill>
              <a:latin typeface="Arial"/>
            </a:endParaRPr>
          </a:p>
        </p:txBody>
      </p:sp>
      <p:sp>
        <p:nvSpPr>
          <p:cNvPr id="5" name="Content Placeholder 4">
            <a:extLst>
              <a:ext uri="{FF2B5EF4-FFF2-40B4-BE49-F238E27FC236}">
                <a16:creationId xmlns:a16="http://schemas.microsoft.com/office/drawing/2014/main" id="{BD5CAA59-D5E0-82CF-A69F-7655856A98F8}"/>
              </a:ext>
            </a:extLst>
          </p:cNvPr>
          <p:cNvSpPr>
            <a:spLocks noGrp="1"/>
          </p:cNvSpPr>
          <p:nvPr>
            <p:ph sz="quarter" idx="13"/>
          </p:nvPr>
        </p:nvSpPr>
        <p:spPr>
          <a:xfrm>
            <a:off x="560358" y="1628925"/>
            <a:ext cx="11085434" cy="4247017"/>
          </a:xfrm>
        </p:spPr>
        <p:txBody>
          <a:bodyPr/>
          <a:lstStyle/>
          <a:p>
            <a:pPr marL="285693" indent="-285693">
              <a:buFont typeface="Wingdings" panose="05000000000000000000" pitchFamily="2" charset="2"/>
              <a:buChar char="v"/>
            </a:pPr>
            <a:r>
              <a:rPr lang="en-US" dirty="0"/>
              <a:t>Key Benefit: Investors get reliable, data-backed predictions of financial returns and operational performance.</a:t>
            </a:r>
          </a:p>
          <a:p>
            <a:endParaRPr lang="en-US" dirty="0"/>
          </a:p>
        </p:txBody>
      </p:sp>
      <p:sp>
        <p:nvSpPr>
          <p:cNvPr id="6" name="Text Placeholder 5">
            <a:extLst>
              <a:ext uri="{FF2B5EF4-FFF2-40B4-BE49-F238E27FC236}">
                <a16:creationId xmlns:a16="http://schemas.microsoft.com/office/drawing/2014/main" id="{47E3ECBA-85C5-399F-CF2B-372900BDB6AA}"/>
              </a:ext>
            </a:extLst>
          </p:cNvPr>
          <p:cNvSpPr>
            <a:spLocks noGrp="1"/>
          </p:cNvSpPr>
          <p:nvPr>
            <p:ph type="body" sz="quarter" idx="14"/>
          </p:nvPr>
        </p:nvSpPr>
        <p:spPr/>
        <p:txBody>
          <a:bodyPr/>
          <a:lstStyle/>
          <a:p>
            <a:r>
              <a:rPr lang="en-US" dirty="0"/>
              <a:t>Accurate Yield and Performance Forecasting</a:t>
            </a:r>
          </a:p>
        </p:txBody>
      </p:sp>
      <p:sp>
        <p:nvSpPr>
          <p:cNvPr id="7" name="Title 6">
            <a:extLst>
              <a:ext uri="{FF2B5EF4-FFF2-40B4-BE49-F238E27FC236}">
                <a16:creationId xmlns:a16="http://schemas.microsoft.com/office/drawing/2014/main" id="{1DC74A98-223A-B437-0254-05C78CA0CB51}"/>
              </a:ext>
            </a:extLst>
          </p:cNvPr>
          <p:cNvSpPr>
            <a:spLocks noGrp="1"/>
          </p:cNvSpPr>
          <p:nvPr>
            <p:ph type="title"/>
          </p:nvPr>
        </p:nvSpPr>
        <p:spPr/>
        <p:txBody>
          <a:bodyPr/>
          <a:lstStyle/>
          <a:p>
            <a:r>
              <a:rPr lang="en-US" b="1" dirty="0"/>
              <a:t>Performance Forecasting </a:t>
            </a:r>
            <a:r>
              <a:rPr lang="en-US" dirty="0"/>
              <a:t>– Know Your Returns</a:t>
            </a:r>
          </a:p>
        </p:txBody>
      </p:sp>
      <p:pic>
        <p:nvPicPr>
          <p:cNvPr id="1026" name="Picture 2" descr="PV energy yield assessment | TÜV Rheinland">
            <a:extLst>
              <a:ext uri="{FF2B5EF4-FFF2-40B4-BE49-F238E27FC236}">
                <a16:creationId xmlns:a16="http://schemas.microsoft.com/office/drawing/2014/main" id="{0074D2A6-4CE3-111E-C0EF-9AEFD786A8B5}"/>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16667"/>
          <a:stretch/>
        </p:blipFill>
        <p:spPr bwMode="auto">
          <a:xfrm>
            <a:off x="533827" y="2205148"/>
            <a:ext cx="4387038" cy="3095627"/>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a:extLst>
              <a:ext uri="{FF2B5EF4-FFF2-40B4-BE49-F238E27FC236}">
                <a16:creationId xmlns:a16="http://schemas.microsoft.com/office/drawing/2014/main" id="{CD050939-449E-1B5C-3D2C-2B90C3EE04D6}"/>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b="18814"/>
          <a:stretch/>
        </p:blipFill>
        <p:spPr bwMode="auto">
          <a:xfrm>
            <a:off x="5568732" y="2346388"/>
            <a:ext cx="3310014" cy="2145381"/>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74514316-A7CA-74DF-244A-91F12D34FDF1}"/>
              </a:ext>
            </a:extLst>
          </p:cNvPr>
          <p:cNvSpPr txBox="1"/>
          <p:nvPr/>
        </p:nvSpPr>
        <p:spPr>
          <a:xfrm>
            <a:off x="5539582" y="4599881"/>
            <a:ext cx="4071037" cy="1190884"/>
          </a:xfrm>
          <a:prstGeom prst="rect">
            <a:avLst/>
          </a:prstGeom>
          <a:noFill/>
        </p:spPr>
        <p:txBody>
          <a:bodyPr wrap="square">
            <a:spAutoFit/>
          </a:bodyPr>
          <a:lstStyle/>
          <a:p>
            <a:pPr defTabSz="1218926">
              <a:lnSpc>
                <a:spcPts val="2200"/>
              </a:lnSpc>
              <a:buClr>
                <a:srgbClr val="4D4D4D"/>
              </a:buClr>
            </a:pPr>
            <a:r>
              <a:rPr lang="en-US" sz="1400" dirty="0">
                <a:solidFill>
                  <a:srgbClr val="000000"/>
                </a:solidFill>
                <a:latin typeface="Arial"/>
              </a:rPr>
              <a:t>We take into account all the particulars related to your specific project: solar resources, technical system design, energy loss and any uncertainties related to each step of the simulation.</a:t>
            </a:r>
          </a:p>
        </p:txBody>
      </p:sp>
      <p:sp>
        <p:nvSpPr>
          <p:cNvPr id="12" name="TextBox 11">
            <a:extLst>
              <a:ext uri="{FF2B5EF4-FFF2-40B4-BE49-F238E27FC236}">
                <a16:creationId xmlns:a16="http://schemas.microsoft.com/office/drawing/2014/main" id="{E16643DA-3D6B-C1A6-1179-B376FEE9554C}"/>
              </a:ext>
            </a:extLst>
          </p:cNvPr>
          <p:cNvSpPr txBox="1"/>
          <p:nvPr/>
        </p:nvSpPr>
        <p:spPr>
          <a:xfrm>
            <a:off x="583595" y="5255450"/>
            <a:ext cx="4356321" cy="523099"/>
          </a:xfrm>
          <a:prstGeom prst="rect">
            <a:avLst/>
          </a:prstGeom>
          <a:noFill/>
        </p:spPr>
        <p:txBody>
          <a:bodyPr wrap="square">
            <a:spAutoFit/>
          </a:bodyPr>
          <a:lstStyle/>
          <a:p>
            <a:pPr defTabSz="1218926"/>
            <a:r>
              <a:rPr lang="en-US" sz="1400" dirty="0">
                <a:solidFill>
                  <a:srgbClr val="000000"/>
                </a:solidFill>
                <a:latin typeface="Arial"/>
              </a:rPr>
              <a:t>We use meteorological data and performance modeling to predict energy yields with precision.</a:t>
            </a:r>
          </a:p>
        </p:txBody>
      </p:sp>
      <p:sp>
        <p:nvSpPr>
          <p:cNvPr id="13" name="Fußzeilenplatzhalter 8">
            <a:extLst>
              <a:ext uri="{FF2B5EF4-FFF2-40B4-BE49-F238E27FC236}">
                <a16:creationId xmlns:a16="http://schemas.microsoft.com/office/drawing/2014/main" id="{284C3B93-7F01-FFEC-B5C3-EB9905E0EA29}"/>
              </a:ext>
            </a:extLst>
          </p:cNvPr>
          <p:cNvSpPr txBox="1">
            <a:spLocks/>
          </p:cNvSpPr>
          <p:nvPr/>
        </p:nvSpPr>
        <p:spPr bwMode="gray">
          <a:xfrm>
            <a:off x="1704916" y="6452720"/>
            <a:ext cx="4390984" cy="172505"/>
          </a:xfrm>
          <a:prstGeom prst="rect">
            <a:avLst/>
          </a:prstGeom>
        </p:spPr>
        <p:txBody>
          <a:bodyPr vert="horz" lIns="0" tIns="0" rIns="0" bIns="0" rtlCol="0" anchor="b"/>
          <a:lstStyle>
            <a:defPPr>
              <a:defRPr lang="de-DE"/>
            </a:defPPr>
            <a:lvl1pPr marL="0" algn="l" defTabSz="1219170" rtl="0" eaLnBrk="1" latinLnBrk="0" hangingPunct="1">
              <a:defRPr sz="8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1218926"/>
            <a:r>
              <a:rPr lang="de-DE" altLang="zh-CN">
                <a:solidFill>
                  <a:prstClr val="black"/>
                </a:solidFill>
                <a:latin typeface="Arial"/>
              </a:rPr>
              <a:t>TÜV Rheinland's Solar Business</a:t>
            </a:r>
            <a:endParaRPr lang="de-DE" altLang="zh-CN" dirty="0">
              <a:solidFill>
                <a:prstClr val="black"/>
              </a:solidFill>
              <a:latin typeface="Arial"/>
            </a:endParaRPr>
          </a:p>
        </p:txBody>
      </p:sp>
    </p:spTree>
    <p:extLst>
      <p:ext uri="{BB962C8B-B14F-4D97-AF65-F5344CB8AC3E}">
        <p14:creationId xmlns:p14="http://schemas.microsoft.com/office/powerpoint/2010/main" val="271602145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 name="Picture 2"/>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10415601" y="3331232"/>
            <a:ext cx="1774196" cy="14656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8" name="Picture 2" descr="T:\435\Großprojekte\21221272_BMU_PVKLIMA\03_Arbeitsprogramm\AP2_Aufbau_Testfelder\Standorte\02_Deutschland_Köln\PV-KLIMA Fotos Köln\DSC_0278.JPG"/>
          <p:cNvPicPr>
            <a:picLocks noChangeAspect="1" noChangeArrowheads="1"/>
          </p:cNvPicPr>
          <p:nvPr/>
        </p:nvPicPr>
        <p:blipFill rotWithShape="1">
          <a:blip r:embed="rId4" cstate="email">
            <a:extLst>
              <a:ext uri="{BEBA8EAE-BF5A-486C-A8C5-ECC9F3942E4B}">
                <a14:imgProps xmlns:a14="http://schemas.microsoft.com/office/drawing/2010/main">
                  <a14:imgLayer r:embed="rId5">
                    <a14:imgEffect>
                      <a14:brightnessContrast bright="10000"/>
                    </a14:imgEffect>
                  </a14:imgLayer>
                </a14:imgProps>
              </a:ext>
              <a:ext uri="{28A0092B-C50C-407E-A947-70E740481C1C}">
                <a14:useLocalDpi xmlns:a14="http://schemas.microsoft.com/office/drawing/2010/main"/>
              </a:ext>
            </a:extLst>
          </a:blip>
          <a:srcRect/>
          <a:stretch/>
        </p:blipFill>
        <p:spPr bwMode="auto">
          <a:xfrm>
            <a:off x="-15874" y="1550641"/>
            <a:ext cx="1799783" cy="1636605"/>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3"/>
          <p:cNvPicPr>
            <a:picLocks noChangeAspect="1" noChangeArrowheads="1"/>
          </p:cNvPicPr>
          <p:nvPr/>
        </p:nvPicPr>
        <p:blipFill rotWithShape="1">
          <a:blip r:embed="rId6" cstate="email">
            <a:extLst>
              <a:ext uri="{BEBA8EAE-BF5A-486C-A8C5-ECC9F3942E4B}">
                <a14:imgProps xmlns:a14="http://schemas.microsoft.com/office/drawing/2010/main">
                  <a14:imgLayer r:embed="rId7">
                    <a14:imgEffect>
                      <a14:brightnessContrast bright="10000"/>
                    </a14:imgEffect>
                  </a14:imgLayer>
                </a14:imgProps>
              </a:ext>
              <a:ext uri="{28A0092B-C50C-407E-A947-70E740481C1C}">
                <a14:useLocalDpi xmlns:a14="http://schemas.microsoft.com/office/drawing/2010/main"/>
              </a:ext>
            </a:extLst>
          </a:blip>
          <a:srcRect/>
          <a:stretch/>
        </p:blipFill>
        <p:spPr bwMode="auto">
          <a:xfrm>
            <a:off x="-23433" y="3290308"/>
            <a:ext cx="1807343" cy="14359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p:txBody>
          <a:bodyPr/>
          <a:lstStyle/>
          <a:p>
            <a:r>
              <a:rPr lang="en-GB" dirty="0"/>
              <a:t>Global Energy Yield Rating of PV Modules.</a:t>
            </a:r>
            <a:endParaRPr lang="en-US" dirty="0"/>
          </a:p>
        </p:txBody>
      </p:sp>
      <p:sp>
        <p:nvSpPr>
          <p:cNvPr id="4" name="Date Placeholder 3"/>
          <p:cNvSpPr>
            <a:spLocks noGrp="1"/>
          </p:cNvSpPr>
          <p:nvPr>
            <p:ph type="dt" sz="half" idx="10"/>
          </p:nvPr>
        </p:nvSpPr>
        <p:spPr/>
        <p:txBody>
          <a:bodyPr/>
          <a:lstStyle/>
          <a:p>
            <a:pPr defTabSz="1218926"/>
            <a:fld id="{A484EEA3-DA76-4940-AF4E-A0B324BB08AB}" type="datetime1">
              <a:rPr lang="en-US" altLang="zh-CN">
                <a:solidFill>
                  <a:prstClr val="black"/>
                </a:solidFill>
                <a:latin typeface="Arial"/>
              </a:rPr>
              <a:pPr defTabSz="1218926"/>
              <a:t>10/22/2024</a:t>
            </a:fld>
            <a:endParaRPr lang="de-DE" altLang="zh-CN">
              <a:solidFill>
                <a:prstClr val="black"/>
              </a:solidFill>
              <a:latin typeface="Arial"/>
            </a:endParaRPr>
          </a:p>
        </p:txBody>
      </p:sp>
      <p:sp>
        <p:nvSpPr>
          <p:cNvPr id="5" name="Slide Number Placeholder 4"/>
          <p:cNvSpPr>
            <a:spLocks noGrp="1"/>
          </p:cNvSpPr>
          <p:nvPr>
            <p:ph type="sldNum" sz="quarter" idx="11"/>
          </p:nvPr>
        </p:nvSpPr>
        <p:spPr/>
        <p:txBody>
          <a:bodyPr/>
          <a:lstStyle/>
          <a:p>
            <a:pPr defTabSz="1218926"/>
            <a:fld id="{240E3ED4-FC3A-4B77-B065-41F983957257}" type="slidenum">
              <a:rPr lang="zh-CN" altLang="de-DE">
                <a:solidFill>
                  <a:prstClr val="black"/>
                </a:solidFill>
                <a:latin typeface="Arial"/>
              </a:rPr>
              <a:pPr defTabSz="1218926"/>
              <a:t>54</a:t>
            </a:fld>
            <a:endParaRPr lang="de-DE" altLang="zh-CN">
              <a:solidFill>
                <a:prstClr val="black"/>
              </a:solidFill>
              <a:latin typeface="Arial"/>
            </a:endParaRPr>
          </a:p>
        </p:txBody>
      </p:sp>
      <p:sp>
        <p:nvSpPr>
          <p:cNvPr id="6" name="Footer Placeholder 5"/>
          <p:cNvSpPr>
            <a:spLocks noGrp="1"/>
          </p:cNvSpPr>
          <p:nvPr>
            <p:ph type="ftr" sz="quarter" idx="12"/>
          </p:nvPr>
        </p:nvSpPr>
        <p:spPr/>
        <p:txBody>
          <a:bodyPr/>
          <a:lstStyle/>
          <a:p>
            <a:pPr defTabSz="1218926"/>
            <a:r>
              <a:rPr lang="de-DE" altLang="zh-CN">
                <a:solidFill>
                  <a:prstClr val="black"/>
                </a:solidFill>
                <a:latin typeface="Arial"/>
              </a:rPr>
              <a:t>TÜV Rheinland's Solar Business</a:t>
            </a:r>
            <a:endParaRPr lang="de-DE" altLang="zh-CN" dirty="0">
              <a:solidFill>
                <a:prstClr val="black"/>
              </a:solidFill>
              <a:latin typeface="Arial"/>
            </a:endParaRPr>
          </a:p>
        </p:txBody>
      </p:sp>
      <p:pic>
        <p:nvPicPr>
          <p:cNvPr id="17410" name="Picture 2" descr="world map 的图像结果"/>
          <p:cNvPicPr>
            <a:picLocks noChangeAspect="1" noChangeArrowheads="1"/>
          </p:cNvPicPr>
          <p:nvPr/>
        </p:nvPicPr>
        <p:blipFill>
          <a:blip r:embed="rId8" cstate="email">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a:ext>
            </a:extLst>
          </a:blip>
          <a:srcRect/>
          <a:stretch>
            <a:fillRect/>
          </a:stretch>
        </p:blipFill>
        <p:spPr bwMode="auto">
          <a:xfrm>
            <a:off x="2466694" y="1383260"/>
            <a:ext cx="8020899" cy="4421520"/>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Content Placeholder 5"/>
          <p:cNvSpPr txBox="1">
            <a:spLocks/>
          </p:cNvSpPr>
          <p:nvPr/>
        </p:nvSpPr>
        <p:spPr>
          <a:xfrm>
            <a:off x="545005" y="1028735"/>
            <a:ext cx="11084532" cy="384453"/>
          </a:xfrm>
          <a:prstGeom prst="rect">
            <a:avLst/>
          </a:prstGeom>
        </p:spPr>
        <p:txBody>
          <a:bodyPr vert="horz" lIns="0" tIns="0" rIns="0" bIns="0" rtlCol="0">
            <a:noAutofit/>
          </a:bodyPr>
          <a:lstStyle>
            <a:lvl1pPr marL="177800" indent="-177800" algn="l" defTabSz="1219170" rtl="0" eaLnBrk="1" latinLnBrk="0" hangingPunct="1">
              <a:lnSpc>
                <a:spcPts val="2200"/>
              </a:lnSpc>
              <a:spcBef>
                <a:spcPct val="20000"/>
              </a:spcBef>
              <a:buClr>
                <a:schemeClr val="tx2"/>
              </a:buClr>
              <a:buFont typeface="Wingdings" panose="05000000000000000000" pitchFamily="2" charset="2"/>
              <a:buChar char="§"/>
              <a:defRPr sz="1400" kern="1200">
                <a:solidFill>
                  <a:schemeClr val="tx1"/>
                </a:solidFill>
                <a:latin typeface="+mn-lt"/>
                <a:ea typeface="+mn-ea"/>
                <a:cs typeface="+mn-cs"/>
              </a:defRPr>
            </a:lvl1pPr>
            <a:lvl2pPr marL="450850" indent="-242888" algn="l" defTabSz="1219170" rtl="0" eaLnBrk="1" latinLnBrk="0" hangingPunct="1">
              <a:lnSpc>
                <a:spcPts val="2200"/>
              </a:lnSpc>
              <a:spcBef>
                <a:spcPct val="20000"/>
              </a:spcBef>
              <a:buFont typeface="Symbol" panose="05050102010706020507" pitchFamily="18" charset="2"/>
              <a:buChar char="-"/>
              <a:defRPr sz="1400" kern="1200">
                <a:solidFill>
                  <a:schemeClr val="tx1"/>
                </a:solidFill>
                <a:latin typeface="+mn-lt"/>
                <a:ea typeface="+mn-ea"/>
                <a:cs typeface="+mn-cs"/>
              </a:defRPr>
            </a:lvl2pPr>
            <a:lvl3pPr marL="627063" indent="-207963" algn="l" defTabSz="1219170" rtl="0" eaLnBrk="1" latinLnBrk="0" hangingPunct="1">
              <a:lnSpc>
                <a:spcPts val="2200"/>
              </a:lnSpc>
              <a:spcBef>
                <a:spcPct val="20000"/>
              </a:spcBef>
              <a:buFont typeface="Symbol" panose="05050102010706020507" pitchFamily="18" charset="2"/>
              <a:buChar char="-"/>
              <a:defRPr sz="1400" kern="1200" baseline="0">
                <a:solidFill>
                  <a:schemeClr val="tx1"/>
                </a:solidFill>
                <a:latin typeface="+mn-lt"/>
                <a:ea typeface="+mn-ea"/>
                <a:cs typeface="+mn-cs"/>
              </a:defRPr>
            </a:lvl3pPr>
            <a:lvl4pPr marL="900113" indent="-234950" algn="l" defTabSz="1219170" rtl="0" eaLnBrk="1" latinLnBrk="0" hangingPunct="1">
              <a:lnSpc>
                <a:spcPts val="2200"/>
              </a:lnSpc>
              <a:spcBef>
                <a:spcPct val="20000"/>
              </a:spcBef>
              <a:buFont typeface="Symbol" panose="05050102010706020507" pitchFamily="18" charset="2"/>
              <a:buChar char="-"/>
              <a:defRPr sz="1400" kern="1200" baseline="0">
                <a:solidFill>
                  <a:schemeClr val="tx1"/>
                </a:solidFill>
                <a:latin typeface="+mn-lt"/>
                <a:ea typeface="+mn-ea"/>
                <a:cs typeface="+mn-cs"/>
              </a:defRPr>
            </a:lvl4pPr>
            <a:lvl5pPr marL="1160463" indent="-239713" algn="l" defTabSz="1219170" rtl="0" eaLnBrk="1" latinLnBrk="0" hangingPunct="1">
              <a:lnSpc>
                <a:spcPts val="2200"/>
              </a:lnSpc>
              <a:spcBef>
                <a:spcPct val="20000"/>
              </a:spcBef>
              <a:buFont typeface="Symbol" panose="05050102010706020507" pitchFamily="18" charset="2"/>
              <a:buChar char="-"/>
              <a:defRPr sz="1400" kern="1200" baseline="0">
                <a:solidFill>
                  <a:schemeClr val="tx1"/>
                </a:solidFill>
                <a:latin typeface="+mn-lt"/>
                <a:ea typeface="+mn-ea"/>
                <a:cs typeface="+mn-cs"/>
              </a:defRPr>
            </a:lvl5pPr>
            <a:lvl6pPr marL="1418400" indent="-241200" algn="l" defTabSz="1219170" rtl="0" eaLnBrk="1" latinLnBrk="0" hangingPunct="1">
              <a:lnSpc>
                <a:spcPts val="2200"/>
              </a:lnSpc>
              <a:spcBef>
                <a:spcPct val="20000"/>
              </a:spcBef>
              <a:buFont typeface="Symbol" pitchFamily="18" charset="2"/>
              <a:buChar char="-"/>
              <a:defRPr sz="1400" kern="1200">
                <a:solidFill>
                  <a:schemeClr val="tx1"/>
                </a:solidFill>
                <a:latin typeface="+mn-lt"/>
                <a:ea typeface="+mn-ea"/>
                <a:cs typeface="+mn-cs"/>
              </a:defRPr>
            </a:lvl6pPr>
            <a:lvl7pPr marL="1677600" indent="-241200" algn="l" defTabSz="1219170" rtl="0" eaLnBrk="1" latinLnBrk="0" hangingPunct="1">
              <a:lnSpc>
                <a:spcPts val="2200"/>
              </a:lnSpc>
              <a:spcBef>
                <a:spcPct val="20000"/>
              </a:spcBef>
              <a:buFont typeface="Symbol" pitchFamily="18" charset="2"/>
              <a:buChar char="-"/>
              <a:defRPr sz="1400" kern="1200">
                <a:solidFill>
                  <a:schemeClr val="tx1"/>
                </a:solidFill>
                <a:latin typeface="+mn-lt"/>
                <a:ea typeface="+mn-ea"/>
                <a:cs typeface="+mn-cs"/>
              </a:defRPr>
            </a:lvl7pPr>
            <a:lvl8pPr marL="1936800" indent="-241200" algn="l" defTabSz="1219170" rtl="0" eaLnBrk="1" latinLnBrk="0" hangingPunct="1">
              <a:lnSpc>
                <a:spcPts val="2200"/>
              </a:lnSpc>
              <a:spcBef>
                <a:spcPct val="20000"/>
              </a:spcBef>
              <a:buFont typeface="Symbol" pitchFamily="18" charset="2"/>
              <a:buChar char="-"/>
              <a:defRPr sz="1400" kern="1200" baseline="0">
                <a:solidFill>
                  <a:schemeClr val="tx1"/>
                </a:solidFill>
                <a:latin typeface="+mn-lt"/>
                <a:ea typeface="+mn-ea"/>
                <a:cs typeface="+mn-cs"/>
              </a:defRPr>
            </a:lvl8pPr>
            <a:lvl9pPr marL="2196000" indent="-241200" algn="l" defTabSz="1219170" rtl="0" eaLnBrk="1" latinLnBrk="0" hangingPunct="1">
              <a:lnSpc>
                <a:spcPts val="2200"/>
              </a:lnSpc>
              <a:spcBef>
                <a:spcPct val="20000"/>
              </a:spcBef>
              <a:buFont typeface="Symbol" pitchFamily="18" charset="2"/>
              <a:buChar char="-"/>
              <a:defRPr sz="1400" kern="1200" baseline="0">
                <a:solidFill>
                  <a:schemeClr val="tx1"/>
                </a:solidFill>
                <a:latin typeface="+mn-lt"/>
                <a:ea typeface="+mn-ea"/>
                <a:cs typeface="+mn-cs"/>
              </a:defRPr>
            </a:lvl9pPr>
          </a:lstStyle>
          <a:p>
            <a:pPr marL="0" indent="0" defTabSz="1218926">
              <a:buClr>
                <a:srgbClr val="4D4D4D"/>
              </a:buClr>
              <a:buNone/>
            </a:pPr>
            <a:r>
              <a:rPr lang="en-GB" sz="1800" dirty="0">
                <a:solidFill>
                  <a:srgbClr val="4D4D4D"/>
                </a:solidFill>
                <a:latin typeface="Arial"/>
              </a:rPr>
              <a:t>Analysis of PV module performance behaviour under real operating conditions.</a:t>
            </a:r>
            <a:r>
              <a:rPr lang="en-US" altLang="zh-TW" sz="1800" dirty="0">
                <a:solidFill>
                  <a:srgbClr val="4D4D4D"/>
                </a:solidFill>
                <a:latin typeface="Arial"/>
              </a:rPr>
              <a:t> </a:t>
            </a:r>
            <a:endParaRPr lang="zh-TW" altLang="en-US" sz="1800" dirty="0">
              <a:solidFill>
                <a:srgbClr val="4D4D4D"/>
              </a:solidFill>
              <a:latin typeface="Arial"/>
            </a:endParaRPr>
          </a:p>
        </p:txBody>
      </p:sp>
      <p:sp>
        <p:nvSpPr>
          <p:cNvPr id="22" name="矩形 21"/>
          <p:cNvSpPr/>
          <p:nvPr/>
        </p:nvSpPr>
        <p:spPr>
          <a:xfrm>
            <a:off x="1704406" y="3716974"/>
            <a:ext cx="1655847" cy="503953"/>
          </a:xfrm>
          <a:prstGeom prst="rect">
            <a:avLst/>
          </a:prstGeom>
          <a:solidFill>
            <a:schemeClr val="tx2"/>
          </a:solidFill>
          <a:ln>
            <a:no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26"/>
            <a:r>
              <a:rPr lang="en-US" altLang="zh-CN" sz="1600" dirty="0">
                <a:solidFill>
                  <a:prstClr val="white"/>
                </a:solidFill>
                <a:latin typeface="Arial"/>
              </a:rPr>
              <a:t>Tempe, </a:t>
            </a:r>
          </a:p>
          <a:p>
            <a:pPr algn="ctr" defTabSz="1218926"/>
            <a:r>
              <a:rPr lang="en-US" altLang="zh-CN" sz="1600" dirty="0">
                <a:solidFill>
                  <a:prstClr val="white"/>
                </a:solidFill>
                <a:latin typeface="Arial"/>
              </a:rPr>
              <a:t>USA</a:t>
            </a:r>
            <a:endParaRPr lang="zh-CN" altLang="en-US" sz="1600" dirty="0">
              <a:solidFill>
                <a:prstClr val="white"/>
              </a:solidFill>
              <a:latin typeface="Arial"/>
            </a:endParaRPr>
          </a:p>
        </p:txBody>
      </p:sp>
      <p:sp>
        <p:nvSpPr>
          <p:cNvPr id="23" name="矩形 22"/>
          <p:cNvSpPr/>
          <p:nvPr/>
        </p:nvSpPr>
        <p:spPr>
          <a:xfrm>
            <a:off x="1704406" y="4292920"/>
            <a:ext cx="1655847" cy="1511860"/>
          </a:xfrm>
          <a:prstGeom prst="rect">
            <a:avLst/>
          </a:prstGeom>
          <a:solidFill>
            <a:schemeClr val="bg2"/>
          </a:solidFill>
          <a:ln>
            <a:no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26">
              <a:lnSpc>
                <a:spcPct val="115000"/>
              </a:lnSpc>
              <a:spcBef>
                <a:spcPts val="200"/>
              </a:spcBef>
              <a:spcAft>
                <a:spcPts val="200"/>
              </a:spcAft>
            </a:pPr>
            <a:r>
              <a:rPr lang="en-US" altLang="zh-CN" sz="1600" dirty="0" err="1">
                <a:solidFill>
                  <a:prstClr val="black"/>
                </a:solidFill>
                <a:latin typeface="Arial"/>
              </a:rPr>
              <a:t>Bwh</a:t>
            </a:r>
            <a:r>
              <a:rPr lang="en-US" altLang="zh-CN" sz="1600" dirty="0">
                <a:solidFill>
                  <a:prstClr val="black"/>
                </a:solidFill>
                <a:latin typeface="Arial"/>
              </a:rPr>
              <a:t> </a:t>
            </a:r>
          </a:p>
          <a:p>
            <a:pPr algn="ctr" defTabSz="1218926">
              <a:lnSpc>
                <a:spcPct val="115000"/>
              </a:lnSpc>
              <a:spcBef>
                <a:spcPts val="200"/>
              </a:spcBef>
              <a:spcAft>
                <a:spcPts val="200"/>
              </a:spcAft>
            </a:pPr>
            <a:r>
              <a:rPr lang="en-US" altLang="zh-CN" sz="1600" dirty="0">
                <a:solidFill>
                  <a:prstClr val="black"/>
                </a:solidFill>
                <a:latin typeface="Arial"/>
              </a:rPr>
              <a:t>(Dry, sub-tropical desert)</a:t>
            </a:r>
            <a:endParaRPr lang="en-US" altLang="zh-CN" sz="1600" dirty="0">
              <a:solidFill>
                <a:prstClr val="black"/>
              </a:solidFill>
              <a:latin typeface="Calibri"/>
              <a:ea typeface="Calibri"/>
              <a:cs typeface="Times New Roman"/>
            </a:endParaRPr>
          </a:p>
        </p:txBody>
      </p:sp>
      <p:sp>
        <p:nvSpPr>
          <p:cNvPr id="25" name="矩形 24"/>
          <p:cNvSpPr/>
          <p:nvPr/>
        </p:nvSpPr>
        <p:spPr>
          <a:xfrm>
            <a:off x="3504240" y="3716974"/>
            <a:ext cx="1655847" cy="503953"/>
          </a:xfrm>
          <a:prstGeom prst="rect">
            <a:avLst/>
          </a:prstGeom>
          <a:solidFill>
            <a:schemeClr val="tx2"/>
          </a:solidFill>
          <a:ln>
            <a:no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26"/>
            <a:r>
              <a:rPr lang="en-US" altLang="zh-CN" sz="1600" dirty="0">
                <a:solidFill>
                  <a:prstClr val="white"/>
                </a:solidFill>
                <a:latin typeface="Arial"/>
              </a:rPr>
              <a:t>Cologne, Germany</a:t>
            </a:r>
          </a:p>
        </p:txBody>
      </p:sp>
      <p:sp>
        <p:nvSpPr>
          <p:cNvPr id="29" name="矩形 28"/>
          <p:cNvSpPr/>
          <p:nvPr/>
        </p:nvSpPr>
        <p:spPr>
          <a:xfrm>
            <a:off x="3504240" y="4292920"/>
            <a:ext cx="1655847" cy="1511860"/>
          </a:xfrm>
          <a:prstGeom prst="rect">
            <a:avLst/>
          </a:prstGeom>
          <a:solidFill>
            <a:schemeClr val="bg2"/>
          </a:solidFill>
          <a:ln>
            <a:no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26">
              <a:lnSpc>
                <a:spcPct val="115000"/>
              </a:lnSpc>
              <a:spcBef>
                <a:spcPts val="200"/>
              </a:spcBef>
              <a:spcAft>
                <a:spcPts val="200"/>
              </a:spcAft>
            </a:pPr>
            <a:r>
              <a:rPr lang="en-US" altLang="zh-CN" sz="1600" dirty="0" err="1">
                <a:solidFill>
                  <a:prstClr val="black"/>
                </a:solidFill>
                <a:latin typeface="Arial"/>
              </a:rPr>
              <a:t>Cfb</a:t>
            </a:r>
            <a:r>
              <a:rPr lang="en-US" altLang="zh-CN" sz="1600" dirty="0">
                <a:solidFill>
                  <a:prstClr val="black"/>
                </a:solidFill>
                <a:latin typeface="Arial"/>
              </a:rPr>
              <a:t> </a:t>
            </a:r>
          </a:p>
          <a:p>
            <a:pPr algn="ctr" defTabSz="1218926">
              <a:lnSpc>
                <a:spcPct val="115000"/>
              </a:lnSpc>
              <a:spcBef>
                <a:spcPts val="200"/>
              </a:spcBef>
              <a:spcAft>
                <a:spcPts val="200"/>
              </a:spcAft>
            </a:pPr>
            <a:r>
              <a:rPr lang="en-US" altLang="zh-CN" sz="1600" dirty="0">
                <a:solidFill>
                  <a:prstClr val="black"/>
                </a:solidFill>
                <a:latin typeface="Arial"/>
              </a:rPr>
              <a:t>(Mild mid latitude, marine west coast)</a:t>
            </a:r>
            <a:endParaRPr lang="en-US" altLang="zh-CN" sz="1600" dirty="0">
              <a:solidFill>
                <a:prstClr val="black"/>
              </a:solidFill>
              <a:latin typeface="Calibri"/>
              <a:ea typeface="Calibri"/>
              <a:cs typeface="Times New Roman"/>
            </a:endParaRPr>
          </a:p>
        </p:txBody>
      </p:sp>
      <p:sp>
        <p:nvSpPr>
          <p:cNvPr id="38" name="矩形 37"/>
          <p:cNvSpPr/>
          <p:nvPr/>
        </p:nvSpPr>
        <p:spPr>
          <a:xfrm>
            <a:off x="5304073" y="3716974"/>
            <a:ext cx="1655847" cy="503953"/>
          </a:xfrm>
          <a:prstGeom prst="rect">
            <a:avLst/>
          </a:prstGeom>
          <a:solidFill>
            <a:schemeClr val="tx2"/>
          </a:solidFill>
          <a:ln>
            <a:no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26"/>
            <a:r>
              <a:rPr lang="en-US" altLang="zh-CN" sz="1600" dirty="0" err="1">
                <a:solidFill>
                  <a:prstClr val="white"/>
                </a:solidFill>
                <a:latin typeface="Arial"/>
              </a:rPr>
              <a:t>Thuwal</a:t>
            </a:r>
            <a:r>
              <a:rPr lang="en-US" altLang="zh-CN" sz="1600" dirty="0">
                <a:solidFill>
                  <a:prstClr val="white"/>
                </a:solidFill>
                <a:latin typeface="Arial"/>
              </a:rPr>
              <a:t>, </a:t>
            </a:r>
          </a:p>
          <a:p>
            <a:pPr algn="ctr" defTabSz="1218926"/>
            <a:r>
              <a:rPr lang="en-US" altLang="zh-CN" sz="1600" dirty="0">
                <a:solidFill>
                  <a:prstClr val="white"/>
                </a:solidFill>
                <a:latin typeface="Arial"/>
              </a:rPr>
              <a:t>Saudi Arabia</a:t>
            </a:r>
          </a:p>
        </p:txBody>
      </p:sp>
      <p:sp>
        <p:nvSpPr>
          <p:cNvPr id="39" name="矩形 38"/>
          <p:cNvSpPr/>
          <p:nvPr/>
        </p:nvSpPr>
        <p:spPr>
          <a:xfrm>
            <a:off x="5304073" y="4292920"/>
            <a:ext cx="1655847" cy="1511860"/>
          </a:xfrm>
          <a:prstGeom prst="rect">
            <a:avLst/>
          </a:prstGeom>
          <a:solidFill>
            <a:schemeClr val="bg2"/>
          </a:solidFill>
          <a:ln>
            <a:no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26">
              <a:lnSpc>
                <a:spcPct val="115000"/>
              </a:lnSpc>
              <a:spcBef>
                <a:spcPts val="200"/>
              </a:spcBef>
              <a:spcAft>
                <a:spcPts val="200"/>
              </a:spcAft>
            </a:pPr>
            <a:r>
              <a:rPr lang="en-US" altLang="zh-CN" sz="1600" dirty="0" err="1">
                <a:solidFill>
                  <a:prstClr val="black"/>
                </a:solidFill>
                <a:latin typeface="Arial"/>
              </a:rPr>
              <a:t>Bwh</a:t>
            </a:r>
            <a:r>
              <a:rPr lang="en-US" altLang="zh-CN" sz="1600" dirty="0">
                <a:solidFill>
                  <a:prstClr val="black"/>
                </a:solidFill>
                <a:latin typeface="Arial"/>
              </a:rPr>
              <a:t> </a:t>
            </a:r>
          </a:p>
          <a:p>
            <a:pPr algn="ctr" defTabSz="1218926">
              <a:lnSpc>
                <a:spcPct val="115000"/>
              </a:lnSpc>
              <a:spcBef>
                <a:spcPts val="200"/>
              </a:spcBef>
              <a:spcAft>
                <a:spcPts val="200"/>
              </a:spcAft>
            </a:pPr>
            <a:r>
              <a:rPr lang="en-US" altLang="zh-CN" sz="1600" dirty="0">
                <a:solidFill>
                  <a:prstClr val="black"/>
                </a:solidFill>
                <a:latin typeface="Arial"/>
              </a:rPr>
              <a:t>(Dry, sub-tropical desert), sandstorm impact</a:t>
            </a:r>
            <a:endParaRPr lang="en-US" altLang="zh-CN" sz="1600" dirty="0">
              <a:solidFill>
                <a:prstClr val="black"/>
              </a:solidFill>
              <a:latin typeface="Calibri"/>
              <a:ea typeface="Calibri"/>
              <a:cs typeface="Times New Roman"/>
            </a:endParaRPr>
          </a:p>
        </p:txBody>
      </p:sp>
      <p:sp>
        <p:nvSpPr>
          <p:cNvPr id="40" name="矩形 39"/>
          <p:cNvSpPr/>
          <p:nvPr/>
        </p:nvSpPr>
        <p:spPr>
          <a:xfrm>
            <a:off x="7103907" y="3716974"/>
            <a:ext cx="1655847" cy="503953"/>
          </a:xfrm>
          <a:prstGeom prst="rect">
            <a:avLst/>
          </a:prstGeom>
          <a:solidFill>
            <a:schemeClr val="tx2"/>
          </a:solidFill>
          <a:ln>
            <a:no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26"/>
            <a:r>
              <a:rPr lang="en-US" altLang="zh-CN" sz="1600" dirty="0">
                <a:solidFill>
                  <a:prstClr val="white"/>
                </a:solidFill>
                <a:latin typeface="Arial"/>
              </a:rPr>
              <a:t>Chennai, </a:t>
            </a:r>
          </a:p>
          <a:p>
            <a:pPr algn="ctr" defTabSz="1218926"/>
            <a:r>
              <a:rPr lang="en-US" altLang="zh-CN" sz="1600" dirty="0">
                <a:solidFill>
                  <a:prstClr val="white"/>
                </a:solidFill>
                <a:latin typeface="Arial"/>
              </a:rPr>
              <a:t>India</a:t>
            </a:r>
          </a:p>
        </p:txBody>
      </p:sp>
      <p:sp>
        <p:nvSpPr>
          <p:cNvPr id="41" name="矩形 40"/>
          <p:cNvSpPr/>
          <p:nvPr/>
        </p:nvSpPr>
        <p:spPr>
          <a:xfrm>
            <a:off x="7103907" y="4292920"/>
            <a:ext cx="1655847" cy="1511860"/>
          </a:xfrm>
          <a:prstGeom prst="rect">
            <a:avLst/>
          </a:prstGeom>
          <a:solidFill>
            <a:schemeClr val="bg2"/>
          </a:solidFill>
          <a:ln>
            <a:no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26">
              <a:lnSpc>
                <a:spcPct val="115000"/>
              </a:lnSpc>
              <a:spcBef>
                <a:spcPts val="200"/>
              </a:spcBef>
              <a:spcAft>
                <a:spcPts val="200"/>
              </a:spcAft>
            </a:pPr>
            <a:r>
              <a:rPr lang="en-US" altLang="zh-CN" sz="1600" dirty="0">
                <a:solidFill>
                  <a:prstClr val="black"/>
                </a:solidFill>
                <a:latin typeface="Arial"/>
              </a:rPr>
              <a:t>Aw </a:t>
            </a:r>
          </a:p>
          <a:p>
            <a:pPr algn="ctr" defTabSz="1218926">
              <a:lnSpc>
                <a:spcPct val="115000"/>
              </a:lnSpc>
              <a:spcBef>
                <a:spcPts val="200"/>
              </a:spcBef>
              <a:spcAft>
                <a:spcPts val="200"/>
              </a:spcAft>
            </a:pPr>
            <a:r>
              <a:rPr lang="en-US" altLang="zh-CN" sz="1600" dirty="0">
                <a:solidFill>
                  <a:prstClr val="black"/>
                </a:solidFill>
                <a:latin typeface="Arial"/>
              </a:rPr>
              <a:t>(Tropical humid, tropical savanna)</a:t>
            </a:r>
            <a:endParaRPr lang="en-US" altLang="zh-CN" sz="1600" dirty="0">
              <a:solidFill>
                <a:prstClr val="black"/>
              </a:solidFill>
              <a:latin typeface="Calibri"/>
              <a:ea typeface="Calibri"/>
              <a:cs typeface="Times New Roman"/>
            </a:endParaRPr>
          </a:p>
        </p:txBody>
      </p:sp>
      <p:sp>
        <p:nvSpPr>
          <p:cNvPr id="42" name="矩形 41"/>
          <p:cNvSpPr/>
          <p:nvPr/>
        </p:nvSpPr>
        <p:spPr>
          <a:xfrm>
            <a:off x="8903740" y="3716974"/>
            <a:ext cx="1655847" cy="503953"/>
          </a:xfrm>
          <a:prstGeom prst="rect">
            <a:avLst/>
          </a:prstGeom>
          <a:solidFill>
            <a:schemeClr val="tx2"/>
          </a:solidFill>
          <a:ln>
            <a:no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26"/>
            <a:r>
              <a:rPr lang="en-US" altLang="zh-CN" sz="1600" dirty="0">
                <a:solidFill>
                  <a:prstClr val="white"/>
                </a:solidFill>
                <a:latin typeface="Arial"/>
              </a:rPr>
              <a:t>Inner Mongolia, China</a:t>
            </a:r>
          </a:p>
        </p:txBody>
      </p:sp>
      <p:sp>
        <p:nvSpPr>
          <p:cNvPr id="43" name="矩形 42"/>
          <p:cNvSpPr/>
          <p:nvPr/>
        </p:nvSpPr>
        <p:spPr>
          <a:xfrm>
            <a:off x="8903740" y="4292920"/>
            <a:ext cx="1655847" cy="1511860"/>
          </a:xfrm>
          <a:prstGeom prst="rect">
            <a:avLst/>
          </a:prstGeom>
          <a:solidFill>
            <a:schemeClr val="bg2"/>
          </a:solidFill>
          <a:ln>
            <a:no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26"/>
            <a:r>
              <a:rPr lang="de-DE" sz="1600" dirty="0">
                <a:solidFill>
                  <a:prstClr val="black"/>
                </a:solidFill>
                <a:latin typeface="Arial"/>
              </a:rPr>
              <a:t>Dsa </a:t>
            </a:r>
          </a:p>
          <a:p>
            <a:pPr algn="ctr" defTabSz="1218926"/>
            <a:r>
              <a:rPr lang="de-DE" sz="1600" dirty="0">
                <a:solidFill>
                  <a:prstClr val="black"/>
                </a:solidFill>
                <a:latin typeface="Arial"/>
              </a:rPr>
              <a:t>(Dry, continental), significant temperature difference </a:t>
            </a:r>
            <a:endParaRPr lang="en-US" sz="1600" dirty="0">
              <a:solidFill>
                <a:prstClr val="black"/>
              </a:solidFill>
              <a:latin typeface="Arial"/>
            </a:endParaRPr>
          </a:p>
        </p:txBody>
      </p:sp>
      <p:pic>
        <p:nvPicPr>
          <p:cNvPr id="41986" name="Picture 2" descr="C:\Users\Administrator\Desktop\location_map_pin_blue6.png"/>
          <p:cNvPicPr>
            <a:picLocks noGrp="1" noChangeAspect="1" noChangeArrowheads="1"/>
          </p:cNvPicPr>
          <p:nvPr>
            <p:ph idx="1"/>
          </p:nvPr>
        </p:nvPicPr>
        <p:blipFill>
          <a:blip r:embed="rId10" cstate="email">
            <a:extLst>
              <a:ext uri="{28A0092B-C50C-407E-A947-70E740481C1C}">
                <a14:useLocalDpi xmlns:a14="http://schemas.microsoft.com/office/drawing/2010/main"/>
              </a:ext>
            </a:extLst>
          </a:blip>
          <a:srcRect/>
          <a:stretch>
            <a:fillRect/>
          </a:stretch>
        </p:blipFill>
        <p:spPr bwMode="auto">
          <a:xfrm>
            <a:off x="3432247" y="2349100"/>
            <a:ext cx="617068" cy="809270"/>
          </a:xfrm>
          <a:prstGeom prst="rect">
            <a:avLst/>
          </a:prstGeom>
          <a:noFill/>
        </p:spPr>
      </p:pic>
      <p:pic>
        <p:nvPicPr>
          <p:cNvPr id="44" name="Picture 2" descr="C:\Users\Administrator\Desktop\location_map_pin_blue6.png"/>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6887927" y="2781060"/>
            <a:ext cx="617068" cy="809270"/>
          </a:xfrm>
          <a:prstGeom prst="rect">
            <a:avLst/>
          </a:prstGeom>
          <a:noFill/>
        </p:spPr>
      </p:pic>
      <p:pic>
        <p:nvPicPr>
          <p:cNvPr id="45" name="Picture 2" descr="C:\Users\Administrator\Desktop\location_map_pin_blue6.png"/>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6198866" y="1971791"/>
            <a:ext cx="617068" cy="809270"/>
          </a:xfrm>
          <a:prstGeom prst="rect">
            <a:avLst/>
          </a:prstGeom>
          <a:noFill/>
        </p:spPr>
      </p:pic>
      <p:pic>
        <p:nvPicPr>
          <p:cNvPr id="46" name="Picture 2" descr="C:\Users\Administrator\Desktop\location_map_pin_blue6.png"/>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7998699" y="2133120"/>
            <a:ext cx="617068" cy="809270"/>
          </a:xfrm>
          <a:prstGeom prst="rect">
            <a:avLst/>
          </a:prstGeom>
          <a:noFill/>
        </p:spPr>
      </p:pic>
      <p:pic>
        <p:nvPicPr>
          <p:cNvPr id="47" name="Picture 2" descr="C:\Users\Administrator\Desktop\location_map_pin_blue6.png"/>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7751847" y="2853054"/>
            <a:ext cx="617068" cy="809270"/>
          </a:xfrm>
          <a:prstGeom prst="rect">
            <a:avLst/>
          </a:prstGeom>
          <a:noFill/>
        </p:spPr>
      </p:pic>
      <p:pic>
        <p:nvPicPr>
          <p:cNvPr id="50" name="Picture 2" descr="T:\435\Großprojekte\21221272_BMU_PVKLIMA\03_Arbeitsprogramm\AP2_Aufbau_Testfelder\Standorte\05_Indien_Chennai\03_Wartungsreisen\2014-04_Slawik\pictures\20140405_145650.jpg"/>
          <p:cNvPicPr>
            <a:picLocks noChangeAspect="1" noChangeArrowheads="1"/>
          </p:cNvPicPr>
          <p:nvPr/>
        </p:nvPicPr>
        <p:blipFill rotWithShape="1">
          <a:blip r:embed="rId11" cstate="email">
            <a:extLst>
              <a:ext uri="{28A0092B-C50C-407E-A947-70E740481C1C}">
                <a14:useLocalDpi xmlns:a14="http://schemas.microsoft.com/office/drawing/2010/main"/>
              </a:ext>
            </a:extLst>
          </a:blip>
          <a:srcRect/>
          <a:stretch/>
        </p:blipFill>
        <p:spPr bwMode="auto">
          <a:xfrm>
            <a:off x="10415601" y="1603392"/>
            <a:ext cx="1774195" cy="16558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49890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1000"/>
                                        <p:tgtEl>
                                          <p:spTgt spid="2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3"/>
                                        </p:tgtEl>
                                        <p:attrNameLst>
                                          <p:attrName>style.visibility</p:attrName>
                                        </p:attrNameLst>
                                      </p:cBhvr>
                                      <p:to>
                                        <p:strVal val="visible"/>
                                      </p:to>
                                    </p:set>
                                    <p:animEffect transition="in" filter="fade">
                                      <p:cBhvr>
                                        <p:cTn id="10" dur="1000"/>
                                        <p:tgtEl>
                                          <p:spTgt spid="23"/>
                                        </p:tgtEl>
                                      </p:cBhvr>
                                    </p:animEffect>
                                  </p:childTnLst>
                                </p:cTn>
                              </p:par>
                              <p:par>
                                <p:cTn id="11" presetID="10" presetClass="entr" presetSubtype="0" fill="hold" nodeType="withEffect">
                                  <p:stCondLst>
                                    <p:cond delay="0"/>
                                  </p:stCondLst>
                                  <p:childTnLst>
                                    <p:set>
                                      <p:cBhvr>
                                        <p:cTn id="12" dur="1" fill="hold">
                                          <p:stCondLst>
                                            <p:cond delay="0"/>
                                          </p:stCondLst>
                                        </p:cTn>
                                        <p:tgtEl>
                                          <p:spTgt spid="41986"/>
                                        </p:tgtEl>
                                        <p:attrNameLst>
                                          <p:attrName>style.visibility</p:attrName>
                                        </p:attrNameLst>
                                      </p:cBhvr>
                                      <p:to>
                                        <p:strVal val="visible"/>
                                      </p:to>
                                    </p:set>
                                    <p:animEffect transition="in" filter="fade">
                                      <p:cBhvr>
                                        <p:cTn id="13" dur="1000"/>
                                        <p:tgtEl>
                                          <p:spTgt spid="41986"/>
                                        </p:tgtEl>
                                      </p:cBhvr>
                                    </p:animEffect>
                                  </p:childTnLst>
                                </p:cTn>
                              </p:par>
                            </p:childTnLst>
                          </p:cTn>
                        </p:par>
                        <p:par>
                          <p:cTn id="14" fill="hold">
                            <p:stCondLst>
                              <p:cond delay="1000"/>
                            </p:stCondLst>
                            <p:childTnLst>
                              <p:par>
                                <p:cTn id="15" presetID="10" presetClass="entr" presetSubtype="0" fill="hold" grpId="0" nodeType="afterEffect">
                                  <p:stCondLst>
                                    <p:cond delay="0"/>
                                  </p:stCondLst>
                                  <p:childTnLst>
                                    <p:set>
                                      <p:cBhvr>
                                        <p:cTn id="16" dur="1" fill="hold">
                                          <p:stCondLst>
                                            <p:cond delay="0"/>
                                          </p:stCondLst>
                                        </p:cTn>
                                        <p:tgtEl>
                                          <p:spTgt spid="25"/>
                                        </p:tgtEl>
                                        <p:attrNameLst>
                                          <p:attrName>style.visibility</p:attrName>
                                        </p:attrNameLst>
                                      </p:cBhvr>
                                      <p:to>
                                        <p:strVal val="visible"/>
                                      </p:to>
                                    </p:set>
                                    <p:animEffect transition="in" filter="fade">
                                      <p:cBhvr>
                                        <p:cTn id="17" dur="1000"/>
                                        <p:tgtEl>
                                          <p:spTgt spid="25"/>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29"/>
                                        </p:tgtEl>
                                        <p:attrNameLst>
                                          <p:attrName>style.visibility</p:attrName>
                                        </p:attrNameLst>
                                      </p:cBhvr>
                                      <p:to>
                                        <p:strVal val="visible"/>
                                      </p:to>
                                    </p:set>
                                    <p:animEffect transition="in" filter="fade">
                                      <p:cBhvr>
                                        <p:cTn id="20" dur="1000"/>
                                        <p:tgtEl>
                                          <p:spTgt spid="29"/>
                                        </p:tgtEl>
                                      </p:cBhvr>
                                    </p:animEffect>
                                  </p:childTnLst>
                                </p:cTn>
                              </p:par>
                              <p:par>
                                <p:cTn id="21" presetID="10" presetClass="entr" presetSubtype="0" fill="hold" nodeType="withEffect">
                                  <p:stCondLst>
                                    <p:cond delay="0"/>
                                  </p:stCondLst>
                                  <p:childTnLst>
                                    <p:set>
                                      <p:cBhvr>
                                        <p:cTn id="22" dur="1" fill="hold">
                                          <p:stCondLst>
                                            <p:cond delay="0"/>
                                          </p:stCondLst>
                                        </p:cTn>
                                        <p:tgtEl>
                                          <p:spTgt spid="45"/>
                                        </p:tgtEl>
                                        <p:attrNameLst>
                                          <p:attrName>style.visibility</p:attrName>
                                        </p:attrNameLst>
                                      </p:cBhvr>
                                      <p:to>
                                        <p:strVal val="visible"/>
                                      </p:to>
                                    </p:set>
                                    <p:animEffect transition="in" filter="fade">
                                      <p:cBhvr>
                                        <p:cTn id="23" dur="1000"/>
                                        <p:tgtEl>
                                          <p:spTgt spid="45"/>
                                        </p:tgtEl>
                                      </p:cBhvr>
                                    </p:animEffect>
                                  </p:childTnLst>
                                </p:cTn>
                              </p:par>
                            </p:childTnLst>
                          </p:cTn>
                        </p:par>
                        <p:par>
                          <p:cTn id="24" fill="hold">
                            <p:stCondLst>
                              <p:cond delay="2000"/>
                            </p:stCondLst>
                            <p:childTnLst>
                              <p:par>
                                <p:cTn id="25" presetID="10" presetClass="entr" presetSubtype="0" fill="hold" nodeType="afterEffect">
                                  <p:stCondLst>
                                    <p:cond delay="0"/>
                                  </p:stCondLst>
                                  <p:childTnLst>
                                    <p:set>
                                      <p:cBhvr>
                                        <p:cTn id="26" dur="1" fill="hold">
                                          <p:stCondLst>
                                            <p:cond delay="0"/>
                                          </p:stCondLst>
                                        </p:cTn>
                                        <p:tgtEl>
                                          <p:spTgt spid="44"/>
                                        </p:tgtEl>
                                        <p:attrNameLst>
                                          <p:attrName>style.visibility</p:attrName>
                                        </p:attrNameLst>
                                      </p:cBhvr>
                                      <p:to>
                                        <p:strVal val="visible"/>
                                      </p:to>
                                    </p:set>
                                    <p:animEffect transition="in" filter="fade">
                                      <p:cBhvr>
                                        <p:cTn id="27" dur="1000"/>
                                        <p:tgtEl>
                                          <p:spTgt spid="44"/>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38"/>
                                        </p:tgtEl>
                                        <p:attrNameLst>
                                          <p:attrName>style.visibility</p:attrName>
                                        </p:attrNameLst>
                                      </p:cBhvr>
                                      <p:to>
                                        <p:strVal val="visible"/>
                                      </p:to>
                                    </p:set>
                                    <p:animEffect transition="in" filter="fade">
                                      <p:cBhvr>
                                        <p:cTn id="30" dur="1000"/>
                                        <p:tgtEl>
                                          <p:spTgt spid="38"/>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39"/>
                                        </p:tgtEl>
                                        <p:attrNameLst>
                                          <p:attrName>style.visibility</p:attrName>
                                        </p:attrNameLst>
                                      </p:cBhvr>
                                      <p:to>
                                        <p:strVal val="visible"/>
                                      </p:to>
                                    </p:set>
                                    <p:animEffect transition="in" filter="fade">
                                      <p:cBhvr>
                                        <p:cTn id="33" dur="1000"/>
                                        <p:tgtEl>
                                          <p:spTgt spid="39"/>
                                        </p:tgtEl>
                                      </p:cBhvr>
                                    </p:animEffect>
                                  </p:childTnLst>
                                </p:cTn>
                              </p:par>
                            </p:childTnLst>
                          </p:cTn>
                        </p:par>
                        <p:par>
                          <p:cTn id="34" fill="hold">
                            <p:stCondLst>
                              <p:cond delay="3000"/>
                            </p:stCondLst>
                            <p:childTnLst>
                              <p:par>
                                <p:cTn id="35" presetID="10" presetClass="entr" presetSubtype="0" fill="hold" grpId="0" nodeType="afterEffect">
                                  <p:stCondLst>
                                    <p:cond delay="0"/>
                                  </p:stCondLst>
                                  <p:childTnLst>
                                    <p:set>
                                      <p:cBhvr>
                                        <p:cTn id="36" dur="1" fill="hold">
                                          <p:stCondLst>
                                            <p:cond delay="0"/>
                                          </p:stCondLst>
                                        </p:cTn>
                                        <p:tgtEl>
                                          <p:spTgt spid="40"/>
                                        </p:tgtEl>
                                        <p:attrNameLst>
                                          <p:attrName>style.visibility</p:attrName>
                                        </p:attrNameLst>
                                      </p:cBhvr>
                                      <p:to>
                                        <p:strVal val="visible"/>
                                      </p:to>
                                    </p:set>
                                    <p:animEffect transition="in" filter="fade">
                                      <p:cBhvr>
                                        <p:cTn id="37" dur="1000"/>
                                        <p:tgtEl>
                                          <p:spTgt spid="40"/>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41"/>
                                        </p:tgtEl>
                                        <p:attrNameLst>
                                          <p:attrName>style.visibility</p:attrName>
                                        </p:attrNameLst>
                                      </p:cBhvr>
                                      <p:to>
                                        <p:strVal val="visible"/>
                                      </p:to>
                                    </p:set>
                                    <p:animEffect transition="in" filter="fade">
                                      <p:cBhvr>
                                        <p:cTn id="40" dur="1000"/>
                                        <p:tgtEl>
                                          <p:spTgt spid="41"/>
                                        </p:tgtEl>
                                      </p:cBhvr>
                                    </p:animEffect>
                                  </p:childTnLst>
                                </p:cTn>
                              </p:par>
                              <p:par>
                                <p:cTn id="41" presetID="10" presetClass="entr" presetSubtype="0" fill="hold" nodeType="withEffect">
                                  <p:stCondLst>
                                    <p:cond delay="0"/>
                                  </p:stCondLst>
                                  <p:childTnLst>
                                    <p:set>
                                      <p:cBhvr>
                                        <p:cTn id="42" dur="1" fill="hold">
                                          <p:stCondLst>
                                            <p:cond delay="0"/>
                                          </p:stCondLst>
                                        </p:cTn>
                                        <p:tgtEl>
                                          <p:spTgt spid="47"/>
                                        </p:tgtEl>
                                        <p:attrNameLst>
                                          <p:attrName>style.visibility</p:attrName>
                                        </p:attrNameLst>
                                      </p:cBhvr>
                                      <p:to>
                                        <p:strVal val="visible"/>
                                      </p:to>
                                    </p:set>
                                    <p:animEffect transition="in" filter="fade">
                                      <p:cBhvr>
                                        <p:cTn id="43" dur="1000"/>
                                        <p:tgtEl>
                                          <p:spTgt spid="47"/>
                                        </p:tgtEl>
                                      </p:cBhvr>
                                    </p:animEffect>
                                  </p:childTnLst>
                                </p:cTn>
                              </p:par>
                            </p:childTnLst>
                          </p:cTn>
                        </p:par>
                        <p:par>
                          <p:cTn id="44" fill="hold">
                            <p:stCondLst>
                              <p:cond delay="4000"/>
                            </p:stCondLst>
                            <p:childTnLst>
                              <p:par>
                                <p:cTn id="45" presetID="10" presetClass="entr" presetSubtype="0" fill="hold" grpId="0" nodeType="afterEffect">
                                  <p:stCondLst>
                                    <p:cond delay="0"/>
                                  </p:stCondLst>
                                  <p:childTnLst>
                                    <p:set>
                                      <p:cBhvr>
                                        <p:cTn id="46" dur="1" fill="hold">
                                          <p:stCondLst>
                                            <p:cond delay="0"/>
                                          </p:stCondLst>
                                        </p:cTn>
                                        <p:tgtEl>
                                          <p:spTgt spid="42"/>
                                        </p:tgtEl>
                                        <p:attrNameLst>
                                          <p:attrName>style.visibility</p:attrName>
                                        </p:attrNameLst>
                                      </p:cBhvr>
                                      <p:to>
                                        <p:strVal val="visible"/>
                                      </p:to>
                                    </p:set>
                                    <p:animEffect transition="in" filter="fade">
                                      <p:cBhvr>
                                        <p:cTn id="47" dur="1000"/>
                                        <p:tgtEl>
                                          <p:spTgt spid="42"/>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43"/>
                                        </p:tgtEl>
                                        <p:attrNameLst>
                                          <p:attrName>style.visibility</p:attrName>
                                        </p:attrNameLst>
                                      </p:cBhvr>
                                      <p:to>
                                        <p:strVal val="visible"/>
                                      </p:to>
                                    </p:set>
                                    <p:animEffect transition="in" filter="fade">
                                      <p:cBhvr>
                                        <p:cTn id="50" dur="1000"/>
                                        <p:tgtEl>
                                          <p:spTgt spid="43"/>
                                        </p:tgtEl>
                                      </p:cBhvr>
                                    </p:animEffect>
                                  </p:childTnLst>
                                </p:cTn>
                              </p:par>
                              <p:par>
                                <p:cTn id="51" presetID="10" presetClass="entr" presetSubtype="0" fill="hold" nodeType="withEffect">
                                  <p:stCondLst>
                                    <p:cond delay="0"/>
                                  </p:stCondLst>
                                  <p:childTnLst>
                                    <p:set>
                                      <p:cBhvr>
                                        <p:cTn id="52" dur="1" fill="hold">
                                          <p:stCondLst>
                                            <p:cond delay="0"/>
                                          </p:stCondLst>
                                        </p:cTn>
                                        <p:tgtEl>
                                          <p:spTgt spid="46"/>
                                        </p:tgtEl>
                                        <p:attrNameLst>
                                          <p:attrName>style.visibility</p:attrName>
                                        </p:attrNameLst>
                                      </p:cBhvr>
                                      <p:to>
                                        <p:strVal val="visible"/>
                                      </p:to>
                                    </p:set>
                                    <p:animEffect transition="in" filter="fade">
                                      <p:cBhvr>
                                        <p:cTn id="53" dur="10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3" grpId="0" animBg="1"/>
      <p:bldP spid="25" grpId="0" animBg="1"/>
      <p:bldP spid="29" grpId="0" animBg="1"/>
      <p:bldP spid="38" grpId="0" animBg="1"/>
      <p:bldP spid="39" grpId="0" animBg="1"/>
      <p:bldP spid="40" grpId="0" animBg="1"/>
      <p:bldP spid="41" grpId="0" animBg="1"/>
      <p:bldP spid="42" grpId="0" animBg="1"/>
      <p:bldP spid="43" grpId="0" animBg="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p:txBody>
          <a:bodyPr/>
          <a:lstStyle/>
          <a:p>
            <a:r>
              <a:rPr lang="en-GB" dirty="0"/>
              <a:t>Global Energy Yield Rating of PV Modules.</a:t>
            </a:r>
            <a:endParaRPr lang="en-US" dirty="0"/>
          </a:p>
        </p:txBody>
      </p:sp>
      <p:sp>
        <p:nvSpPr>
          <p:cNvPr id="5" name="Slide Number Placeholder 4"/>
          <p:cNvSpPr>
            <a:spLocks noGrp="1"/>
          </p:cNvSpPr>
          <p:nvPr>
            <p:ph type="sldNum" sz="quarter" idx="12"/>
          </p:nvPr>
        </p:nvSpPr>
        <p:spPr/>
        <p:txBody>
          <a:bodyPr/>
          <a:lstStyle/>
          <a:p>
            <a:pPr defTabSz="1218926"/>
            <a:fld id="{240E3ED4-FC3A-4B77-B065-41F983957257}" type="slidenum">
              <a:rPr lang="zh-CN" altLang="de-DE">
                <a:solidFill>
                  <a:prstClr val="black"/>
                </a:solidFill>
                <a:latin typeface="Arial"/>
              </a:rPr>
              <a:pPr defTabSz="1218926"/>
              <a:t>55</a:t>
            </a:fld>
            <a:endParaRPr lang="de-DE" altLang="zh-CN">
              <a:solidFill>
                <a:prstClr val="black"/>
              </a:solidFill>
              <a:latin typeface="Arial"/>
            </a:endParaRPr>
          </a:p>
        </p:txBody>
      </p:sp>
      <p:sp>
        <p:nvSpPr>
          <p:cNvPr id="14" name="Content Placeholder 13"/>
          <p:cNvSpPr>
            <a:spLocks noGrp="1"/>
          </p:cNvSpPr>
          <p:nvPr>
            <p:ph sz="quarter" idx="13"/>
          </p:nvPr>
        </p:nvSpPr>
        <p:spPr/>
        <p:txBody>
          <a:bodyPr/>
          <a:lstStyle/>
          <a:p>
            <a:pPr marL="285693" indent="-285693">
              <a:buFont typeface="Wingdings" panose="05000000000000000000" pitchFamily="2" charset="2"/>
              <a:buChar char="§"/>
            </a:pPr>
            <a:endParaRPr lang="en-US" dirty="0"/>
          </a:p>
          <a:p>
            <a:pPr marL="285693" indent="-285693">
              <a:buFont typeface="Wingdings" panose="05000000000000000000" pitchFamily="2" charset="2"/>
              <a:buChar char="§"/>
            </a:pPr>
            <a:endParaRPr lang="en-US" dirty="0"/>
          </a:p>
        </p:txBody>
      </p:sp>
      <p:sp>
        <p:nvSpPr>
          <p:cNvPr id="15" name="Text Placeholder 14"/>
          <p:cNvSpPr>
            <a:spLocks noGrp="1"/>
          </p:cNvSpPr>
          <p:nvPr>
            <p:ph type="body" sz="quarter" idx="14"/>
          </p:nvPr>
        </p:nvSpPr>
        <p:spPr/>
        <p:txBody>
          <a:bodyPr/>
          <a:lstStyle/>
          <a:p>
            <a:r>
              <a:rPr lang="de-DE" dirty="0">
                <a:latin typeface="Arial" charset="0"/>
                <a:cs typeface="Arial" charset="0"/>
              </a:rPr>
              <a:t>Test location: Chennai, India</a:t>
            </a:r>
            <a:endParaRPr lang="en-US" dirty="0"/>
          </a:p>
        </p:txBody>
      </p:sp>
      <p:pic>
        <p:nvPicPr>
          <p:cNvPr id="16" name="Picture 2"/>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1920387" y="1701404"/>
            <a:ext cx="3671660" cy="296873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7" name="Picture 2" descr="T:\435\Großprojekte\21221272_BMU_PVKLIMA\03_Arbeitsprogramm\AP2_Aufbau_Testfelder\Standorte\05_Indien_Chennai\03_Wartungsreisen\2014-04_Slawik\pictures\20140405_145650.jpg"/>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5592047" y="1701405"/>
            <a:ext cx="4259308" cy="2846779"/>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p:nvSpPr>
        <p:spPr>
          <a:xfrm>
            <a:off x="1920387" y="4548183"/>
            <a:ext cx="7930968" cy="161646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26"/>
            <a:endParaRPr lang="en-US" sz="2400">
              <a:solidFill>
                <a:prstClr val="white"/>
              </a:solidFill>
              <a:latin typeface="Arial"/>
            </a:endParaRPr>
          </a:p>
        </p:txBody>
      </p:sp>
      <p:sp>
        <p:nvSpPr>
          <p:cNvPr id="18" name="Rechteck 10"/>
          <p:cNvSpPr/>
          <p:nvPr/>
        </p:nvSpPr>
        <p:spPr>
          <a:xfrm>
            <a:off x="2496333" y="4708080"/>
            <a:ext cx="6694450" cy="1384674"/>
          </a:xfrm>
          <a:prstGeom prst="rect">
            <a:avLst/>
          </a:prstGeom>
        </p:spPr>
        <p:txBody>
          <a:bodyPr wrap="square">
            <a:spAutoFit/>
          </a:bodyPr>
          <a:lstStyle/>
          <a:p>
            <a:pPr defTabSz="1218926"/>
            <a:endParaRPr lang="en-US" sz="1400" dirty="0">
              <a:solidFill>
                <a:prstClr val="white"/>
              </a:solidFill>
              <a:latin typeface="Arial"/>
            </a:endParaRPr>
          </a:p>
          <a:p>
            <a:pPr marL="285693" indent="-285693" defTabSz="1218926">
              <a:buFont typeface="Wingdings" panose="05000000000000000000" pitchFamily="2" charset="2"/>
              <a:buChar char="§"/>
            </a:pPr>
            <a:r>
              <a:rPr lang="en-US" sz="1400" dirty="0">
                <a:solidFill>
                  <a:prstClr val="white"/>
                </a:solidFill>
                <a:latin typeface="Arial"/>
              </a:rPr>
              <a:t>Geographical position:	13°N / 80°E</a:t>
            </a:r>
          </a:p>
          <a:p>
            <a:pPr defTabSz="1218926"/>
            <a:r>
              <a:rPr lang="en-US" sz="1400" dirty="0">
                <a:solidFill>
                  <a:prstClr val="white"/>
                </a:solidFill>
                <a:latin typeface="Arial"/>
              </a:rPr>
              <a:t>		35 m above sea level</a:t>
            </a:r>
          </a:p>
          <a:p>
            <a:pPr defTabSz="1218926"/>
            <a:endParaRPr lang="en-US" sz="1400" dirty="0">
              <a:solidFill>
                <a:prstClr val="white"/>
              </a:solidFill>
              <a:latin typeface="Arial"/>
            </a:endParaRPr>
          </a:p>
          <a:p>
            <a:pPr marL="285693" indent="-285693" defTabSz="1218926">
              <a:buFont typeface="Wingdings" panose="05000000000000000000" pitchFamily="2" charset="2"/>
              <a:buChar char="§"/>
            </a:pPr>
            <a:r>
              <a:rPr lang="de-DE" sz="1400" dirty="0" err="1">
                <a:solidFill>
                  <a:prstClr val="white"/>
                </a:solidFill>
                <a:latin typeface="Arial"/>
              </a:rPr>
              <a:t>Climate</a:t>
            </a:r>
            <a:r>
              <a:rPr lang="de-DE" sz="1400" dirty="0">
                <a:solidFill>
                  <a:prstClr val="white"/>
                </a:solidFill>
                <a:latin typeface="Arial"/>
              </a:rPr>
              <a:t> </a:t>
            </a:r>
            <a:r>
              <a:rPr lang="de-DE" sz="1400" dirty="0" err="1">
                <a:solidFill>
                  <a:prstClr val="white"/>
                </a:solidFill>
                <a:latin typeface="Arial"/>
              </a:rPr>
              <a:t>conditions</a:t>
            </a:r>
            <a:r>
              <a:rPr lang="de-DE" sz="1400" dirty="0">
                <a:solidFill>
                  <a:prstClr val="white"/>
                </a:solidFill>
                <a:latin typeface="Arial"/>
              </a:rPr>
              <a:t>: 	</a:t>
            </a:r>
            <a:r>
              <a:rPr lang="en-US" altLang="zh-CN" sz="1400" dirty="0">
                <a:solidFill>
                  <a:prstClr val="white"/>
                </a:solidFill>
                <a:latin typeface="Arial"/>
              </a:rPr>
              <a:t>Aw (Tropical humid, tropical savanna)</a:t>
            </a:r>
            <a:endParaRPr lang="en-US" altLang="zh-CN" sz="1400" dirty="0">
              <a:solidFill>
                <a:prstClr val="white"/>
              </a:solidFill>
              <a:latin typeface="Calibri"/>
              <a:ea typeface="Calibri"/>
              <a:cs typeface="Times New Roman"/>
            </a:endParaRPr>
          </a:p>
          <a:p>
            <a:pPr defTabSz="1218926"/>
            <a:endParaRPr lang="en-US" sz="1400" dirty="0">
              <a:solidFill>
                <a:prstClr val="white"/>
              </a:solidFill>
              <a:latin typeface="Arial"/>
            </a:endParaRPr>
          </a:p>
        </p:txBody>
      </p:sp>
      <p:sp>
        <p:nvSpPr>
          <p:cNvPr id="21" name="Ellipse 1"/>
          <p:cNvSpPr/>
          <p:nvPr/>
        </p:nvSpPr>
        <p:spPr bwMode="auto">
          <a:xfrm>
            <a:off x="4152184" y="3285017"/>
            <a:ext cx="143983" cy="143983"/>
          </a:xfrm>
          <a:prstGeom prst="ellipse">
            <a:avLst/>
          </a:prstGeom>
          <a:solidFill>
            <a:srgbClr val="FF0000"/>
          </a:solidFill>
          <a:ln w="3175" cap="flat" cmpd="sng" algn="ctr">
            <a:solidFill>
              <a:schemeClr val="accent5">
                <a:alpha val="80000"/>
              </a:schemeClr>
            </a:solidFill>
            <a:prstDash val="solid"/>
            <a:round/>
            <a:headEnd type="none" w="med" len="med"/>
            <a:tailEnd type="none" w="med" len="med"/>
          </a:ln>
          <a:effectLst/>
        </p:spPr>
        <p:txBody>
          <a:bodyPr vert="horz" wrap="none" lIns="89979" tIns="46789" rIns="89979" bIns="46789" numCol="1" rtlCol="0" anchor="ctr" anchorCtr="0" compatLnSpc="1">
            <a:prstTxWarp prst="textNoShape">
              <a:avLst/>
            </a:prstTxWarp>
          </a:bodyPr>
          <a:lstStyle/>
          <a:p>
            <a:pPr defTabSz="914217" fontAlgn="base">
              <a:spcBef>
                <a:spcPct val="0"/>
              </a:spcBef>
              <a:spcAft>
                <a:spcPct val="0"/>
              </a:spcAft>
            </a:pPr>
            <a:endParaRPr lang="en-US" sz="1600">
              <a:solidFill>
                <a:prstClr val="black"/>
              </a:solidFill>
              <a:latin typeface="Arial" charset="0"/>
            </a:endParaRPr>
          </a:p>
        </p:txBody>
      </p:sp>
      <p:sp>
        <p:nvSpPr>
          <p:cNvPr id="22" name="Rectangle 21"/>
          <p:cNvSpPr/>
          <p:nvPr/>
        </p:nvSpPr>
        <p:spPr>
          <a:xfrm>
            <a:off x="1887460" y="4540421"/>
            <a:ext cx="7963894" cy="457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26"/>
            <a:endParaRPr lang="en-US" sz="2400">
              <a:solidFill>
                <a:prstClr val="white"/>
              </a:solidFill>
              <a:latin typeface="Arial"/>
            </a:endParaRPr>
          </a:p>
        </p:txBody>
      </p:sp>
      <p:sp>
        <p:nvSpPr>
          <p:cNvPr id="23" name="Rectangle 22"/>
          <p:cNvSpPr/>
          <p:nvPr/>
        </p:nvSpPr>
        <p:spPr>
          <a:xfrm rot="5400000">
            <a:off x="4165322" y="3118667"/>
            <a:ext cx="2889220" cy="457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26"/>
            <a:endParaRPr lang="en-US" sz="2400">
              <a:solidFill>
                <a:prstClr val="white"/>
              </a:solidFill>
              <a:latin typeface="Arial"/>
            </a:endParaRPr>
          </a:p>
        </p:txBody>
      </p:sp>
      <p:sp>
        <p:nvSpPr>
          <p:cNvPr id="2" name="Footer Placeholder 1"/>
          <p:cNvSpPr>
            <a:spLocks noGrp="1"/>
          </p:cNvSpPr>
          <p:nvPr>
            <p:ph type="ftr" sz="quarter" idx="11"/>
          </p:nvPr>
        </p:nvSpPr>
        <p:spPr/>
        <p:txBody>
          <a:bodyPr/>
          <a:lstStyle/>
          <a:p>
            <a:pPr defTabSz="1218926"/>
            <a:r>
              <a:rPr lang="en-US">
                <a:solidFill>
                  <a:prstClr val="black"/>
                </a:solidFill>
                <a:latin typeface="Arial"/>
              </a:rPr>
              <a:t>TÜV Rheinland's Solar Business</a:t>
            </a:r>
            <a:endParaRPr lang="en-US" dirty="0">
              <a:solidFill>
                <a:prstClr val="black"/>
              </a:solidFill>
              <a:latin typeface="Arial"/>
            </a:endParaRPr>
          </a:p>
        </p:txBody>
      </p:sp>
      <p:sp>
        <p:nvSpPr>
          <p:cNvPr id="3" name="Datumsplatzhalter 2"/>
          <p:cNvSpPr>
            <a:spLocks noGrp="1"/>
          </p:cNvSpPr>
          <p:nvPr>
            <p:ph type="dt" sz="half" idx="10"/>
          </p:nvPr>
        </p:nvSpPr>
        <p:spPr/>
        <p:txBody>
          <a:bodyPr/>
          <a:lstStyle/>
          <a:p>
            <a:pPr defTabSz="1218926"/>
            <a:fld id="{0ADF9B8A-A43D-40C0-AF48-D64B6C43E121}" type="datetime1">
              <a:rPr lang="en-US">
                <a:solidFill>
                  <a:prstClr val="black"/>
                </a:solidFill>
                <a:latin typeface="Arial"/>
              </a:rPr>
              <a:pPr defTabSz="1218926"/>
              <a:t>10/22/2024</a:t>
            </a:fld>
            <a:endParaRPr lang="en-US" dirty="0">
              <a:solidFill>
                <a:prstClr val="black"/>
              </a:solidFill>
              <a:latin typeface="Arial"/>
            </a:endParaRPr>
          </a:p>
        </p:txBody>
      </p:sp>
    </p:spTree>
    <p:extLst>
      <p:ext uri="{BB962C8B-B14F-4D97-AF65-F5344CB8AC3E}">
        <p14:creationId xmlns:p14="http://schemas.microsoft.com/office/powerpoint/2010/main" val="124581003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2"/>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1933669" y="1697249"/>
            <a:ext cx="4332667" cy="30276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 name="Title 12"/>
          <p:cNvSpPr>
            <a:spLocks noGrp="1"/>
          </p:cNvSpPr>
          <p:nvPr>
            <p:ph type="title"/>
          </p:nvPr>
        </p:nvSpPr>
        <p:spPr/>
        <p:txBody>
          <a:bodyPr/>
          <a:lstStyle/>
          <a:p>
            <a:r>
              <a:rPr lang="en-GB" dirty="0"/>
              <a:t>Global Energy Yield Rating of PV Modules.</a:t>
            </a:r>
            <a:endParaRPr lang="en-US" dirty="0"/>
          </a:p>
        </p:txBody>
      </p:sp>
      <p:sp>
        <p:nvSpPr>
          <p:cNvPr id="5" name="Slide Number Placeholder 4"/>
          <p:cNvSpPr>
            <a:spLocks noGrp="1"/>
          </p:cNvSpPr>
          <p:nvPr>
            <p:ph type="sldNum" sz="quarter" idx="12"/>
          </p:nvPr>
        </p:nvSpPr>
        <p:spPr/>
        <p:txBody>
          <a:bodyPr/>
          <a:lstStyle/>
          <a:p>
            <a:pPr defTabSz="1218926"/>
            <a:fld id="{240E3ED4-FC3A-4B77-B065-41F983957257}" type="slidenum">
              <a:rPr lang="zh-CN" altLang="de-DE">
                <a:solidFill>
                  <a:prstClr val="black"/>
                </a:solidFill>
                <a:latin typeface="Arial"/>
              </a:rPr>
              <a:pPr defTabSz="1218926"/>
              <a:t>56</a:t>
            </a:fld>
            <a:endParaRPr lang="de-DE" altLang="zh-CN">
              <a:solidFill>
                <a:prstClr val="black"/>
              </a:solidFill>
              <a:latin typeface="Arial"/>
            </a:endParaRPr>
          </a:p>
        </p:txBody>
      </p:sp>
      <p:sp>
        <p:nvSpPr>
          <p:cNvPr id="14" name="Content Placeholder 13"/>
          <p:cNvSpPr>
            <a:spLocks noGrp="1"/>
          </p:cNvSpPr>
          <p:nvPr>
            <p:ph sz="quarter" idx="13"/>
          </p:nvPr>
        </p:nvSpPr>
        <p:spPr/>
        <p:txBody>
          <a:bodyPr/>
          <a:lstStyle/>
          <a:p>
            <a:pPr marL="285693" indent="-285693">
              <a:buFont typeface="Wingdings" panose="05000000000000000000" pitchFamily="2" charset="2"/>
              <a:buChar char="§"/>
            </a:pPr>
            <a:endParaRPr lang="en-US" dirty="0"/>
          </a:p>
          <a:p>
            <a:pPr marL="285693" indent="-285693">
              <a:buFont typeface="Wingdings" panose="05000000000000000000" pitchFamily="2" charset="2"/>
              <a:buChar char="§"/>
            </a:pPr>
            <a:endParaRPr lang="en-US" dirty="0"/>
          </a:p>
        </p:txBody>
      </p:sp>
      <p:sp>
        <p:nvSpPr>
          <p:cNvPr id="15" name="Text Placeholder 14"/>
          <p:cNvSpPr>
            <a:spLocks noGrp="1"/>
          </p:cNvSpPr>
          <p:nvPr>
            <p:ph type="body" sz="quarter" idx="14"/>
          </p:nvPr>
        </p:nvSpPr>
        <p:spPr/>
        <p:txBody>
          <a:bodyPr/>
          <a:lstStyle/>
          <a:p>
            <a:r>
              <a:rPr lang="de-DE" dirty="0">
                <a:latin typeface="Arial" charset="0"/>
                <a:cs typeface="Arial" charset="0"/>
              </a:rPr>
              <a:t>Test location: Tempe, Arizona, USA</a:t>
            </a:r>
            <a:endParaRPr lang="en-US" dirty="0"/>
          </a:p>
        </p:txBody>
      </p:sp>
      <p:sp>
        <p:nvSpPr>
          <p:cNvPr id="19" name="Rectangle 18"/>
          <p:cNvSpPr/>
          <p:nvPr/>
        </p:nvSpPr>
        <p:spPr>
          <a:xfrm>
            <a:off x="1933669" y="4533105"/>
            <a:ext cx="7930968" cy="161646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26"/>
            <a:endParaRPr lang="en-US" sz="2400">
              <a:solidFill>
                <a:prstClr val="white"/>
              </a:solidFill>
              <a:latin typeface="Arial"/>
            </a:endParaRPr>
          </a:p>
        </p:txBody>
      </p:sp>
      <p:sp>
        <p:nvSpPr>
          <p:cNvPr id="18" name="Rechteck 10"/>
          <p:cNvSpPr/>
          <p:nvPr/>
        </p:nvSpPr>
        <p:spPr>
          <a:xfrm>
            <a:off x="2496333" y="4708080"/>
            <a:ext cx="6694450" cy="1384674"/>
          </a:xfrm>
          <a:prstGeom prst="rect">
            <a:avLst/>
          </a:prstGeom>
        </p:spPr>
        <p:txBody>
          <a:bodyPr wrap="square">
            <a:spAutoFit/>
          </a:bodyPr>
          <a:lstStyle/>
          <a:p>
            <a:pPr defTabSz="1218926"/>
            <a:endParaRPr lang="en-US" sz="1400" dirty="0">
              <a:solidFill>
                <a:prstClr val="white"/>
              </a:solidFill>
              <a:latin typeface="Arial"/>
            </a:endParaRPr>
          </a:p>
          <a:p>
            <a:pPr marL="285693" indent="-285693" defTabSz="1218926">
              <a:buFont typeface="Wingdings" panose="05000000000000000000" pitchFamily="2" charset="2"/>
              <a:buChar char="§"/>
            </a:pPr>
            <a:r>
              <a:rPr lang="en-US" sz="1400" dirty="0">
                <a:solidFill>
                  <a:prstClr val="white"/>
                </a:solidFill>
                <a:latin typeface="Arial"/>
              </a:rPr>
              <a:t>Geographical position:	33.4°N / 111.9°W</a:t>
            </a:r>
          </a:p>
          <a:p>
            <a:pPr defTabSz="1218926"/>
            <a:r>
              <a:rPr lang="en-US" sz="1400" dirty="0">
                <a:solidFill>
                  <a:prstClr val="white"/>
                </a:solidFill>
                <a:latin typeface="Arial"/>
              </a:rPr>
              <a:t>		358 m above sea level</a:t>
            </a:r>
          </a:p>
          <a:p>
            <a:pPr defTabSz="1218926"/>
            <a:endParaRPr lang="en-US" sz="1400" dirty="0">
              <a:solidFill>
                <a:prstClr val="white"/>
              </a:solidFill>
              <a:latin typeface="Arial"/>
            </a:endParaRPr>
          </a:p>
          <a:p>
            <a:pPr marL="285693" indent="-285693" defTabSz="1218926">
              <a:buFont typeface="Wingdings" panose="05000000000000000000" pitchFamily="2" charset="2"/>
              <a:buChar char="§"/>
            </a:pPr>
            <a:r>
              <a:rPr lang="de-DE" sz="1400" dirty="0" err="1">
                <a:solidFill>
                  <a:prstClr val="white"/>
                </a:solidFill>
                <a:latin typeface="Arial"/>
              </a:rPr>
              <a:t>Climate</a:t>
            </a:r>
            <a:r>
              <a:rPr lang="de-DE" sz="1400" dirty="0">
                <a:solidFill>
                  <a:prstClr val="white"/>
                </a:solidFill>
                <a:latin typeface="Arial"/>
              </a:rPr>
              <a:t> </a:t>
            </a:r>
            <a:r>
              <a:rPr lang="de-DE" sz="1400" dirty="0" err="1">
                <a:solidFill>
                  <a:prstClr val="white"/>
                </a:solidFill>
                <a:latin typeface="Arial"/>
              </a:rPr>
              <a:t>conditions</a:t>
            </a:r>
            <a:r>
              <a:rPr lang="de-DE" sz="1400" dirty="0">
                <a:solidFill>
                  <a:prstClr val="white"/>
                </a:solidFill>
                <a:latin typeface="Arial"/>
              </a:rPr>
              <a:t>: 	</a:t>
            </a:r>
            <a:r>
              <a:rPr lang="en-US" altLang="zh-CN" sz="1400" dirty="0" err="1">
                <a:solidFill>
                  <a:prstClr val="white"/>
                </a:solidFill>
                <a:latin typeface="Arial"/>
              </a:rPr>
              <a:t>Bwh</a:t>
            </a:r>
            <a:r>
              <a:rPr lang="en-US" altLang="zh-CN" sz="1400" dirty="0">
                <a:solidFill>
                  <a:prstClr val="white"/>
                </a:solidFill>
                <a:latin typeface="Arial"/>
              </a:rPr>
              <a:t> (Dry, sub-tropical desert)</a:t>
            </a:r>
            <a:endParaRPr lang="en-US" altLang="zh-CN" sz="1400" dirty="0">
              <a:solidFill>
                <a:prstClr val="white"/>
              </a:solidFill>
              <a:latin typeface="Calibri"/>
              <a:ea typeface="Calibri"/>
              <a:cs typeface="Times New Roman"/>
            </a:endParaRPr>
          </a:p>
          <a:p>
            <a:pPr defTabSz="1218926"/>
            <a:endParaRPr lang="en-US" sz="1400" dirty="0">
              <a:solidFill>
                <a:prstClr val="white"/>
              </a:solidFill>
              <a:latin typeface="Arial"/>
            </a:endParaRPr>
          </a:p>
        </p:txBody>
      </p:sp>
      <p:sp>
        <p:nvSpPr>
          <p:cNvPr id="20" name="Ellipse 9"/>
          <p:cNvSpPr/>
          <p:nvPr/>
        </p:nvSpPr>
        <p:spPr bwMode="auto">
          <a:xfrm>
            <a:off x="3056385" y="3785482"/>
            <a:ext cx="144016" cy="144016"/>
          </a:xfrm>
          <a:prstGeom prst="ellipse">
            <a:avLst/>
          </a:prstGeom>
          <a:solidFill>
            <a:srgbClr val="FF0000"/>
          </a:solidFill>
          <a:ln w="3175" cap="flat" cmpd="sng" algn="ctr">
            <a:solidFill>
              <a:schemeClr val="accent5">
                <a:alpha val="80000"/>
              </a:schemeClr>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fontAlgn="base">
              <a:spcBef>
                <a:spcPct val="0"/>
              </a:spcBef>
              <a:spcAft>
                <a:spcPct val="0"/>
              </a:spcAft>
            </a:pPr>
            <a:endParaRPr lang="en-US" sz="1600">
              <a:solidFill>
                <a:prstClr val="black"/>
              </a:solidFill>
              <a:latin typeface="Arial" charset="0"/>
            </a:endParaRPr>
          </a:p>
        </p:txBody>
      </p:sp>
      <p:pic>
        <p:nvPicPr>
          <p:cNvPr id="21" name="Picture 3"/>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556249" y="1689468"/>
            <a:ext cx="4283404" cy="28587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2" name="Rectangle 21"/>
          <p:cNvSpPr/>
          <p:nvPr/>
        </p:nvSpPr>
        <p:spPr>
          <a:xfrm>
            <a:off x="1887460" y="4540421"/>
            <a:ext cx="7963894" cy="457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26"/>
            <a:endParaRPr lang="en-US" sz="2400">
              <a:solidFill>
                <a:prstClr val="white"/>
              </a:solidFill>
              <a:latin typeface="Arial"/>
            </a:endParaRPr>
          </a:p>
        </p:txBody>
      </p:sp>
      <p:sp>
        <p:nvSpPr>
          <p:cNvPr id="23" name="Rectangle 22"/>
          <p:cNvSpPr/>
          <p:nvPr/>
        </p:nvSpPr>
        <p:spPr>
          <a:xfrm rot="5400000">
            <a:off x="4098298" y="3118667"/>
            <a:ext cx="2889220" cy="457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26"/>
            <a:endParaRPr lang="en-US" sz="2400">
              <a:solidFill>
                <a:prstClr val="white"/>
              </a:solidFill>
              <a:latin typeface="Arial"/>
            </a:endParaRPr>
          </a:p>
        </p:txBody>
      </p:sp>
      <p:sp>
        <p:nvSpPr>
          <p:cNvPr id="2" name="Footer Placeholder 1"/>
          <p:cNvSpPr>
            <a:spLocks noGrp="1"/>
          </p:cNvSpPr>
          <p:nvPr>
            <p:ph type="ftr" sz="quarter" idx="11"/>
          </p:nvPr>
        </p:nvSpPr>
        <p:spPr/>
        <p:txBody>
          <a:bodyPr/>
          <a:lstStyle/>
          <a:p>
            <a:pPr defTabSz="1218926"/>
            <a:r>
              <a:rPr lang="en-US">
                <a:solidFill>
                  <a:prstClr val="black"/>
                </a:solidFill>
                <a:latin typeface="Arial"/>
              </a:rPr>
              <a:t>TÜV Rheinland's Solar Business</a:t>
            </a:r>
            <a:endParaRPr lang="en-US" dirty="0">
              <a:solidFill>
                <a:prstClr val="black"/>
              </a:solidFill>
              <a:latin typeface="Arial"/>
            </a:endParaRPr>
          </a:p>
        </p:txBody>
      </p:sp>
      <p:sp>
        <p:nvSpPr>
          <p:cNvPr id="3" name="Datumsplatzhalter 2"/>
          <p:cNvSpPr>
            <a:spLocks noGrp="1"/>
          </p:cNvSpPr>
          <p:nvPr>
            <p:ph type="dt" sz="half" idx="10"/>
          </p:nvPr>
        </p:nvSpPr>
        <p:spPr/>
        <p:txBody>
          <a:bodyPr/>
          <a:lstStyle/>
          <a:p>
            <a:pPr defTabSz="1218926"/>
            <a:fld id="{0FAD1E09-51C8-44C0-AF1F-24D297589A3E}" type="datetime1">
              <a:rPr lang="en-US">
                <a:solidFill>
                  <a:prstClr val="black"/>
                </a:solidFill>
                <a:latin typeface="Arial"/>
              </a:rPr>
              <a:pPr defTabSz="1218926"/>
              <a:t>10/22/2024</a:t>
            </a:fld>
            <a:endParaRPr lang="en-US" dirty="0">
              <a:solidFill>
                <a:prstClr val="black"/>
              </a:solidFill>
              <a:latin typeface="Arial"/>
            </a:endParaRPr>
          </a:p>
        </p:txBody>
      </p:sp>
    </p:spTree>
    <p:extLst>
      <p:ext uri="{BB962C8B-B14F-4D97-AF65-F5344CB8AC3E}">
        <p14:creationId xmlns:p14="http://schemas.microsoft.com/office/powerpoint/2010/main" val="360552967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2" descr="T:\435\Großprojekte\21221272_BMU_PVKLIMA\03_Arbeitsprogramm\AP2_Aufbau_Testfelder\Standorte\02_Deutschland_Köln\PV-KLIMA Fotos Köln\DSC_0278.JPG"/>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5232080" y="1679573"/>
            <a:ext cx="4607573" cy="3024625"/>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2"/>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1920386" y="1683454"/>
            <a:ext cx="3271938" cy="30246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 name="Title 12"/>
          <p:cNvSpPr>
            <a:spLocks noGrp="1"/>
          </p:cNvSpPr>
          <p:nvPr>
            <p:ph type="title"/>
          </p:nvPr>
        </p:nvSpPr>
        <p:spPr/>
        <p:txBody>
          <a:bodyPr/>
          <a:lstStyle/>
          <a:p>
            <a:r>
              <a:rPr lang="en-GB" dirty="0"/>
              <a:t>Global Energy Yield Rating of PV Modules.</a:t>
            </a:r>
            <a:endParaRPr lang="en-US" dirty="0"/>
          </a:p>
        </p:txBody>
      </p:sp>
      <p:sp>
        <p:nvSpPr>
          <p:cNvPr id="5" name="Slide Number Placeholder 4"/>
          <p:cNvSpPr>
            <a:spLocks noGrp="1"/>
          </p:cNvSpPr>
          <p:nvPr>
            <p:ph type="sldNum" sz="quarter" idx="12"/>
          </p:nvPr>
        </p:nvSpPr>
        <p:spPr/>
        <p:txBody>
          <a:bodyPr/>
          <a:lstStyle/>
          <a:p>
            <a:pPr defTabSz="1218926"/>
            <a:fld id="{240E3ED4-FC3A-4B77-B065-41F983957257}" type="slidenum">
              <a:rPr lang="zh-CN" altLang="de-DE">
                <a:solidFill>
                  <a:prstClr val="black"/>
                </a:solidFill>
                <a:latin typeface="Arial"/>
              </a:rPr>
              <a:pPr defTabSz="1218926"/>
              <a:t>57</a:t>
            </a:fld>
            <a:endParaRPr lang="de-DE" altLang="zh-CN">
              <a:solidFill>
                <a:prstClr val="black"/>
              </a:solidFill>
              <a:latin typeface="Arial"/>
            </a:endParaRPr>
          </a:p>
        </p:txBody>
      </p:sp>
      <p:sp>
        <p:nvSpPr>
          <p:cNvPr id="15" name="Text Placeholder 14"/>
          <p:cNvSpPr>
            <a:spLocks noGrp="1"/>
          </p:cNvSpPr>
          <p:nvPr>
            <p:ph type="body" sz="quarter" idx="14"/>
          </p:nvPr>
        </p:nvSpPr>
        <p:spPr/>
        <p:txBody>
          <a:bodyPr/>
          <a:lstStyle/>
          <a:p>
            <a:r>
              <a:rPr lang="de-DE" dirty="0">
                <a:latin typeface="Arial" charset="0"/>
                <a:cs typeface="Arial" charset="0"/>
              </a:rPr>
              <a:t>Test location: </a:t>
            </a:r>
            <a:r>
              <a:rPr lang="en-US" dirty="0">
                <a:latin typeface="Arial" charset="0"/>
                <a:cs typeface="Arial" charset="0"/>
              </a:rPr>
              <a:t>Cologne, Germany</a:t>
            </a:r>
            <a:endParaRPr lang="en-US" dirty="0"/>
          </a:p>
        </p:txBody>
      </p:sp>
      <p:sp>
        <p:nvSpPr>
          <p:cNvPr id="19" name="Rectangle 18"/>
          <p:cNvSpPr/>
          <p:nvPr/>
        </p:nvSpPr>
        <p:spPr>
          <a:xfrm>
            <a:off x="1920387" y="4548183"/>
            <a:ext cx="7930968" cy="161646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26"/>
            <a:endParaRPr lang="en-US" sz="2400">
              <a:solidFill>
                <a:prstClr val="white"/>
              </a:solidFill>
              <a:latin typeface="Arial"/>
            </a:endParaRPr>
          </a:p>
        </p:txBody>
      </p:sp>
      <p:sp>
        <p:nvSpPr>
          <p:cNvPr id="18" name="Rechteck 10"/>
          <p:cNvSpPr/>
          <p:nvPr/>
        </p:nvSpPr>
        <p:spPr>
          <a:xfrm>
            <a:off x="2496335" y="4708080"/>
            <a:ext cx="6695379" cy="1169280"/>
          </a:xfrm>
          <a:prstGeom prst="rect">
            <a:avLst/>
          </a:prstGeom>
        </p:spPr>
        <p:txBody>
          <a:bodyPr wrap="square">
            <a:spAutoFit/>
          </a:bodyPr>
          <a:lstStyle/>
          <a:p>
            <a:pPr defTabSz="1218926"/>
            <a:endParaRPr lang="en-US" sz="1400" dirty="0">
              <a:solidFill>
                <a:prstClr val="white"/>
              </a:solidFill>
              <a:latin typeface="Arial"/>
            </a:endParaRPr>
          </a:p>
          <a:p>
            <a:pPr marL="285693" indent="-285693" defTabSz="1218926">
              <a:buFont typeface="Wingdings" panose="05000000000000000000" pitchFamily="2" charset="2"/>
              <a:buChar char="§"/>
            </a:pPr>
            <a:r>
              <a:rPr lang="en-US" sz="1400" dirty="0">
                <a:solidFill>
                  <a:prstClr val="white"/>
                </a:solidFill>
                <a:latin typeface="Arial"/>
              </a:rPr>
              <a:t>Geographical position:	50.6°N / 7.0°E</a:t>
            </a:r>
          </a:p>
          <a:p>
            <a:pPr defTabSz="1218926"/>
            <a:r>
              <a:rPr lang="en-US" sz="1400" dirty="0">
                <a:solidFill>
                  <a:prstClr val="white"/>
                </a:solidFill>
                <a:latin typeface="Arial"/>
              </a:rPr>
              <a:t>		53 m above sea level</a:t>
            </a:r>
          </a:p>
          <a:p>
            <a:pPr defTabSz="1218926"/>
            <a:endParaRPr lang="en-US" sz="1400" dirty="0">
              <a:solidFill>
                <a:prstClr val="white"/>
              </a:solidFill>
              <a:latin typeface="Arial"/>
            </a:endParaRPr>
          </a:p>
          <a:p>
            <a:pPr marL="285693" indent="-285693" defTabSz="1218926">
              <a:buFont typeface="Wingdings" panose="05000000000000000000" pitchFamily="2" charset="2"/>
              <a:buChar char="§"/>
            </a:pPr>
            <a:r>
              <a:rPr lang="de-DE" sz="1400" dirty="0" err="1">
                <a:solidFill>
                  <a:prstClr val="white"/>
                </a:solidFill>
                <a:latin typeface="Arial"/>
              </a:rPr>
              <a:t>Climate</a:t>
            </a:r>
            <a:r>
              <a:rPr lang="de-DE" sz="1400" dirty="0">
                <a:solidFill>
                  <a:prstClr val="white"/>
                </a:solidFill>
                <a:latin typeface="Arial"/>
              </a:rPr>
              <a:t> </a:t>
            </a:r>
            <a:r>
              <a:rPr lang="de-DE" sz="1400" dirty="0" err="1">
                <a:solidFill>
                  <a:prstClr val="white"/>
                </a:solidFill>
                <a:latin typeface="Arial"/>
              </a:rPr>
              <a:t>conditions</a:t>
            </a:r>
            <a:r>
              <a:rPr lang="de-DE" sz="1400" dirty="0">
                <a:solidFill>
                  <a:prstClr val="white"/>
                </a:solidFill>
                <a:latin typeface="Arial"/>
              </a:rPr>
              <a:t>: 	</a:t>
            </a:r>
            <a:r>
              <a:rPr lang="en-US" altLang="zh-CN" sz="1400" dirty="0" err="1">
                <a:solidFill>
                  <a:prstClr val="white"/>
                </a:solidFill>
                <a:latin typeface="Arial"/>
              </a:rPr>
              <a:t>Cfb</a:t>
            </a:r>
            <a:r>
              <a:rPr lang="en-US" altLang="zh-CN" sz="1400" dirty="0">
                <a:solidFill>
                  <a:prstClr val="white"/>
                </a:solidFill>
                <a:latin typeface="Arial"/>
              </a:rPr>
              <a:t> (Mild mid latitude, marine west coast)</a:t>
            </a:r>
            <a:endParaRPr lang="en-US" altLang="zh-CN" sz="1400" dirty="0">
              <a:solidFill>
                <a:prstClr val="white"/>
              </a:solidFill>
              <a:latin typeface="Calibri"/>
              <a:ea typeface="Calibri"/>
              <a:cs typeface="Times New Roman"/>
            </a:endParaRPr>
          </a:p>
        </p:txBody>
      </p:sp>
      <p:sp>
        <p:nvSpPr>
          <p:cNvPr id="22" name="Rectangle 21"/>
          <p:cNvSpPr/>
          <p:nvPr/>
        </p:nvSpPr>
        <p:spPr>
          <a:xfrm>
            <a:off x="1887460" y="4540421"/>
            <a:ext cx="7963894" cy="457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26"/>
            <a:endParaRPr lang="en-US" sz="2400">
              <a:solidFill>
                <a:prstClr val="white"/>
              </a:solidFill>
              <a:latin typeface="Arial"/>
            </a:endParaRPr>
          </a:p>
        </p:txBody>
      </p:sp>
      <p:sp>
        <p:nvSpPr>
          <p:cNvPr id="23" name="Rectangle 22"/>
          <p:cNvSpPr/>
          <p:nvPr/>
        </p:nvSpPr>
        <p:spPr>
          <a:xfrm rot="5400000">
            <a:off x="3764616" y="3118667"/>
            <a:ext cx="2889220" cy="457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26"/>
            <a:endParaRPr lang="en-US" sz="2400">
              <a:solidFill>
                <a:prstClr val="white"/>
              </a:solidFill>
              <a:latin typeface="Arial"/>
            </a:endParaRPr>
          </a:p>
        </p:txBody>
      </p:sp>
      <p:sp>
        <p:nvSpPr>
          <p:cNvPr id="17" name="Ellipse 9"/>
          <p:cNvSpPr/>
          <p:nvPr/>
        </p:nvSpPr>
        <p:spPr bwMode="auto">
          <a:xfrm>
            <a:off x="2878424" y="3087951"/>
            <a:ext cx="143983" cy="143983"/>
          </a:xfrm>
          <a:prstGeom prst="ellipse">
            <a:avLst/>
          </a:prstGeom>
          <a:solidFill>
            <a:srgbClr val="FF0000"/>
          </a:solidFill>
          <a:ln w="3175" cap="flat" cmpd="sng" algn="ctr">
            <a:solidFill>
              <a:schemeClr val="accent5">
                <a:alpha val="80000"/>
              </a:schemeClr>
            </a:solidFill>
            <a:prstDash val="solid"/>
            <a:round/>
            <a:headEnd type="none" w="med" len="med"/>
            <a:tailEnd type="none" w="med" len="med"/>
          </a:ln>
          <a:effectLst/>
        </p:spPr>
        <p:txBody>
          <a:bodyPr vert="horz" wrap="none" lIns="89979" tIns="46789" rIns="89979" bIns="46789" numCol="1" rtlCol="0" anchor="ctr" anchorCtr="0" compatLnSpc="1">
            <a:prstTxWarp prst="textNoShape">
              <a:avLst/>
            </a:prstTxWarp>
          </a:bodyPr>
          <a:lstStyle/>
          <a:p>
            <a:pPr defTabSz="914217" fontAlgn="base">
              <a:spcBef>
                <a:spcPct val="0"/>
              </a:spcBef>
              <a:spcAft>
                <a:spcPct val="0"/>
              </a:spcAft>
            </a:pPr>
            <a:endParaRPr lang="en-US" sz="1600">
              <a:solidFill>
                <a:prstClr val="black"/>
              </a:solidFill>
              <a:latin typeface="Arial" charset="0"/>
            </a:endParaRPr>
          </a:p>
        </p:txBody>
      </p:sp>
      <p:sp>
        <p:nvSpPr>
          <p:cNvPr id="2" name="Footer Placeholder 1"/>
          <p:cNvSpPr>
            <a:spLocks noGrp="1"/>
          </p:cNvSpPr>
          <p:nvPr>
            <p:ph type="ftr" sz="quarter" idx="11"/>
          </p:nvPr>
        </p:nvSpPr>
        <p:spPr/>
        <p:txBody>
          <a:bodyPr/>
          <a:lstStyle/>
          <a:p>
            <a:pPr defTabSz="1218926"/>
            <a:r>
              <a:rPr lang="en-US">
                <a:solidFill>
                  <a:prstClr val="black"/>
                </a:solidFill>
                <a:latin typeface="Arial"/>
              </a:rPr>
              <a:t>TÜV Rheinland's Solar Business</a:t>
            </a:r>
            <a:endParaRPr lang="en-US" dirty="0">
              <a:solidFill>
                <a:prstClr val="black"/>
              </a:solidFill>
              <a:latin typeface="Arial"/>
            </a:endParaRPr>
          </a:p>
        </p:txBody>
      </p:sp>
      <p:sp>
        <p:nvSpPr>
          <p:cNvPr id="3" name="Datumsplatzhalter 2"/>
          <p:cNvSpPr>
            <a:spLocks noGrp="1"/>
          </p:cNvSpPr>
          <p:nvPr>
            <p:ph type="dt" sz="half" idx="10"/>
          </p:nvPr>
        </p:nvSpPr>
        <p:spPr/>
        <p:txBody>
          <a:bodyPr/>
          <a:lstStyle/>
          <a:p>
            <a:pPr defTabSz="1218926"/>
            <a:fld id="{6E1CE2D1-91BE-422E-8E3A-4030A94E1545}" type="datetime1">
              <a:rPr lang="en-US">
                <a:solidFill>
                  <a:prstClr val="black"/>
                </a:solidFill>
                <a:latin typeface="Arial"/>
              </a:rPr>
              <a:pPr defTabSz="1218926"/>
              <a:t>10/22/2024</a:t>
            </a:fld>
            <a:endParaRPr lang="en-US" dirty="0">
              <a:solidFill>
                <a:prstClr val="black"/>
              </a:solidFill>
              <a:latin typeface="Arial"/>
            </a:endParaRPr>
          </a:p>
        </p:txBody>
      </p:sp>
    </p:spTree>
    <p:extLst>
      <p:ext uri="{BB962C8B-B14F-4D97-AF65-F5344CB8AC3E}">
        <p14:creationId xmlns:p14="http://schemas.microsoft.com/office/powerpoint/2010/main" val="271509151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p:txBody>
          <a:bodyPr/>
          <a:lstStyle/>
          <a:p>
            <a:r>
              <a:rPr lang="en-GB" dirty="0"/>
              <a:t>Global Energy Yield Rating of PV Modules.</a:t>
            </a:r>
            <a:endParaRPr lang="en-US" dirty="0"/>
          </a:p>
        </p:txBody>
      </p:sp>
      <p:sp>
        <p:nvSpPr>
          <p:cNvPr id="5" name="Slide Number Placeholder 4"/>
          <p:cNvSpPr>
            <a:spLocks noGrp="1"/>
          </p:cNvSpPr>
          <p:nvPr>
            <p:ph type="sldNum" sz="quarter" idx="12"/>
          </p:nvPr>
        </p:nvSpPr>
        <p:spPr/>
        <p:txBody>
          <a:bodyPr/>
          <a:lstStyle/>
          <a:p>
            <a:pPr defTabSz="1218926"/>
            <a:fld id="{240E3ED4-FC3A-4B77-B065-41F983957257}" type="slidenum">
              <a:rPr lang="zh-CN" altLang="de-DE">
                <a:solidFill>
                  <a:prstClr val="black"/>
                </a:solidFill>
                <a:latin typeface="Arial"/>
              </a:rPr>
              <a:pPr defTabSz="1218926"/>
              <a:t>58</a:t>
            </a:fld>
            <a:endParaRPr lang="de-DE" altLang="zh-CN">
              <a:solidFill>
                <a:prstClr val="black"/>
              </a:solidFill>
              <a:latin typeface="Arial"/>
            </a:endParaRPr>
          </a:p>
        </p:txBody>
      </p:sp>
      <p:sp>
        <p:nvSpPr>
          <p:cNvPr id="15" name="Text Placeholder 14"/>
          <p:cNvSpPr>
            <a:spLocks noGrp="1"/>
          </p:cNvSpPr>
          <p:nvPr>
            <p:ph type="body" sz="quarter" idx="14"/>
          </p:nvPr>
        </p:nvSpPr>
        <p:spPr/>
        <p:txBody>
          <a:bodyPr/>
          <a:lstStyle/>
          <a:p>
            <a:r>
              <a:rPr lang="de-DE" dirty="0">
                <a:latin typeface="Arial" charset="0"/>
                <a:cs typeface="Arial" charset="0"/>
              </a:rPr>
              <a:t>Test location:</a:t>
            </a:r>
            <a:r>
              <a:rPr lang="en-US" dirty="0">
                <a:latin typeface="Arial" charset="0"/>
                <a:cs typeface="Arial" charset="0"/>
              </a:rPr>
              <a:t> </a:t>
            </a:r>
            <a:r>
              <a:rPr lang="en-US" dirty="0" err="1">
                <a:latin typeface="Arial" charset="0"/>
                <a:cs typeface="Arial" charset="0"/>
              </a:rPr>
              <a:t>Thuwal</a:t>
            </a:r>
            <a:r>
              <a:rPr lang="en-US" dirty="0">
                <a:latin typeface="Arial" charset="0"/>
                <a:cs typeface="Arial" charset="0"/>
              </a:rPr>
              <a:t>, Saudi Arabia</a:t>
            </a:r>
            <a:endParaRPr lang="en-US" dirty="0"/>
          </a:p>
        </p:txBody>
      </p:sp>
      <p:sp>
        <p:nvSpPr>
          <p:cNvPr id="19" name="Rectangle 18"/>
          <p:cNvSpPr/>
          <p:nvPr/>
        </p:nvSpPr>
        <p:spPr>
          <a:xfrm>
            <a:off x="1920387" y="4548183"/>
            <a:ext cx="7930968" cy="161646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26"/>
            <a:endParaRPr lang="en-US" sz="2400">
              <a:solidFill>
                <a:prstClr val="white"/>
              </a:solidFill>
              <a:latin typeface="Arial"/>
            </a:endParaRPr>
          </a:p>
        </p:txBody>
      </p:sp>
      <p:sp>
        <p:nvSpPr>
          <p:cNvPr id="18" name="Rechteck 10"/>
          <p:cNvSpPr/>
          <p:nvPr/>
        </p:nvSpPr>
        <p:spPr>
          <a:xfrm>
            <a:off x="2496333" y="4708080"/>
            <a:ext cx="6694450" cy="1384674"/>
          </a:xfrm>
          <a:prstGeom prst="rect">
            <a:avLst/>
          </a:prstGeom>
        </p:spPr>
        <p:txBody>
          <a:bodyPr wrap="square">
            <a:spAutoFit/>
          </a:bodyPr>
          <a:lstStyle/>
          <a:p>
            <a:pPr defTabSz="1218926"/>
            <a:endParaRPr lang="en-US" sz="1400" dirty="0">
              <a:solidFill>
                <a:prstClr val="white"/>
              </a:solidFill>
              <a:latin typeface="Arial"/>
            </a:endParaRPr>
          </a:p>
          <a:p>
            <a:pPr marL="285693" indent="-285693" defTabSz="1218926">
              <a:buFont typeface="Wingdings" panose="05000000000000000000" pitchFamily="2" charset="2"/>
              <a:buChar char="§"/>
            </a:pPr>
            <a:r>
              <a:rPr lang="en-US" sz="1400" dirty="0">
                <a:solidFill>
                  <a:prstClr val="white"/>
                </a:solidFill>
                <a:latin typeface="Arial"/>
              </a:rPr>
              <a:t>Geographical position:	22.304°N / 39.108°E</a:t>
            </a:r>
          </a:p>
          <a:p>
            <a:pPr defTabSz="1218926"/>
            <a:r>
              <a:rPr lang="en-US" sz="1400" dirty="0">
                <a:solidFill>
                  <a:prstClr val="white"/>
                </a:solidFill>
                <a:latin typeface="Arial"/>
              </a:rPr>
              <a:t>		3 m above sea level</a:t>
            </a:r>
          </a:p>
          <a:p>
            <a:pPr defTabSz="1218926"/>
            <a:endParaRPr lang="en-US" sz="1400" dirty="0">
              <a:solidFill>
                <a:prstClr val="white"/>
              </a:solidFill>
              <a:latin typeface="Arial"/>
            </a:endParaRPr>
          </a:p>
          <a:p>
            <a:pPr marL="285693" indent="-285693" defTabSz="1218926">
              <a:buFont typeface="Wingdings" panose="05000000000000000000" pitchFamily="2" charset="2"/>
              <a:buChar char="§"/>
            </a:pPr>
            <a:r>
              <a:rPr lang="de-DE" sz="1400" dirty="0" err="1">
                <a:solidFill>
                  <a:prstClr val="white"/>
                </a:solidFill>
                <a:latin typeface="Arial"/>
              </a:rPr>
              <a:t>Climate</a:t>
            </a:r>
            <a:r>
              <a:rPr lang="de-DE" sz="1400" dirty="0">
                <a:solidFill>
                  <a:prstClr val="white"/>
                </a:solidFill>
                <a:latin typeface="Arial"/>
              </a:rPr>
              <a:t> </a:t>
            </a:r>
            <a:r>
              <a:rPr lang="de-DE" sz="1400" dirty="0" err="1">
                <a:solidFill>
                  <a:prstClr val="white"/>
                </a:solidFill>
                <a:latin typeface="Arial"/>
              </a:rPr>
              <a:t>conditions</a:t>
            </a:r>
            <a:r>
              <a:rPr lang="de-DE" sz="1400" dirty="0">
                <a:solidFill>
                  <a:prstClr val="white"/>
                </a:solidFill>
                <a:latin typeface="Arial"/>
              </a:rPr>
              <a:t>: 	</a:t>
            </a:r>
            <a:r>
              <a:rPr lang="en-US" altLang="zh-CN" sz="1400" dirty="0" err="1">
                <a:solidFill>
                  <a:prstClr val="white"/>
                </a:solidFill>
                <a:latin typeface="Arial"/>
              </a:rPr>
              <a:t>Bwh</a:t>
            </a:r>
            <a:r>
              <a:rPr lang="en-US" altLang="zh-CN" sz="1400" dirty="0">
                <a:solidFill>
                  <a:prstClr val="white"/>
                </a:solidFill>
                <a:latin typeface="Arial"/>
              </a:rPr>
              <a:t> (Dry, sub-tropical desert), sandstorm impact</a:t>
            </a:r>
            <a:endParaRPr lang="en-US" altLang="zh-CN" sz="1400" dirty="0">
              <a:solidFill>
                <a:prstClr val="white"/>
              </a:solidFill>
              <a:latin typeface="Calibri"/>
              <a:ea typeface="Calibri"/>
              <a:cs typeface="Times New Roman"/>
            </a:endParaRPr>
          </a:p>
          <a:p>
            <a:pPr defTabSz="1218926"/>
            <a:endParaRPr lang="en-US" sz="1400" dirty="0">
              <a:solidFill>
                <a:prstClr val="white"/>
              </a:solidFill>
              <a:latin typeface="Arial"/>
            </a:endParaRPr>
          </a:p>
        </p:txBody>
      </p:sp>
      <p:sp>
        <p:nvSpPr>
          <p:cNvPr id="22" name="Rectangle 21"/>
          <p:cNvSpPr/>
          <p:nvPr/>
        </p:nvSpPr>
        <p:spPr>
          <a:xfrm>
            <a:off x="1887460" y="4540421"/>
            <a:ext cx="7963894" cy="457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26"/>
            <a:endParaRPr lang="en-US" sz="2400">
              <a:solidFill>
                <a:prstClr val="white"/>
              </a:solidFill>
              <a:latin typeface="Arial"/>
            </a:endParaRPr>
          </a:p>
        </p:txBody>
      </p:sp>
      <p:sp>
        <p:nvSpPr>
          <p:cNvPr id="23" name="Rectangle 22"/>
          <p:cNvSpPr/>
          <p:nvPr/>
        </p:nvSpPr>
        <p:spPr>
          <a:xfrm rot="5400000">
            <a:off x="3764616" y="3118667"/>
            <a:ext cx="2889220" cy="457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26"/>
            <a:endParaRPr lang="en-US" sz="2400">
              <a:solidFill>
                <a:prstClr val="white"/>
              </a:solidFill>
              <a:latin typeface="Arial"/>
            </a:endParaRPr>
          </a:p>
        </p:txBody>
      </p:sp>
      <p:pic>
        <p:nvPicPr>
          <p:cNvPr id="14" name="Picture 2"/>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l="7878" t="2464" r="2552" b="9836"/>
          <a:stretch/>
        </p:blipFill>
        <p:spPr bwMode="auto">
          <a:xfrm>
            <a:off x="1920386" y="1679573"/>
            <a:ext cx="3249522" cy="2829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 name="Ellipse 12"/>
          <p:cNvSpPr/>
          <p:nvPr/>
        </p:nvSpPr>
        <p:spPr bwMode="auto">
          <a:xfrm>
            <a:off x="2270568" y="3137360"/>
            <a:ext cx="143983" cy="143983"/>
          </a:xfrm>
          <a:prstGeom prst="ellipse">
            <a:avLst/>
          </a:prstGeom>
          <a:solidFill>
            <a:srgbClr val="FF0000"/>
          </a:solidFill>
          <a:ln w="3175" cap="flat" cmpd="sng" algn="ctr">
            <a:solidFill>
              <a:schemeClr val="accent5">
                <a:alpha val="80000"/>
              </a:schemeClr>
            </a:solidFill>
            <a:prstDash val="solid"/>
            <a:round/>
            <a:headEnd type="none" w="med" len="med"/>
            <a:tailEnd type="none" w="med" len="med"/>
          </a:ln>
          <a:effectLst/>
        </p:spPr>
        <p:txBody>
          <a:bodyPr vert="horz" wrap="none" lIns="89979" tIns="46789" rIns="89979" bIns="46789" numCol="1" rtlCol="0" anchor="ctr" anchorCtr="0" compatLnSpc="1">
            <a:prstTxWarp prst="textNoShape">
              <a:avLst/>
            </a:prstTxWarp>
          </a:bodyPr>
          <a:lstStyle/>
          <a:p>
            <a:pPr defTabSz="914217" fontAlgn="base">
              <a:spcBef>
                <a:spcPct val="0"/>
              </a:spcBef>
              <a:spcAft>
                <a:spcPct val="0"/>
              </a:spcAft>
            </a:pPr>
            <a:endParaRPr lang="en-US" sz="1600">
              <a:solidFill>
                <a:prstClr val="black"/>
              </a:solidFill>
              <a:latin typeface="Arial" charset="0"/>
            </a:endParaRPr>
          </a:p>
        </p:txBody>
      </p:sp>
      <p:pic>
        <p:nvPicPr>
          <p:cNvPr id="21" name="Picture 2"/>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5238534" y="1696910"/>
            <a:ext cx="4618347" cy="2811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Footer Placeholder 1"/>
          <p:cNvSpPr>
            <a:spLocks noGrp="1"/>
          </p:cNvSpPr>
          <p:nvPr>
            <p:ph type="ftr" sz="quarter" idx="11"/>
          </p:nvPr>
        </p:nvSpPr>
        <p:spPr/>
        <p:txBody>
          <a:bodyPr/>
          <a:lstStyle/>
          <a:p>
            <a:pPr defTabSz="1218926"/>
            <a:r>
              <a:rPr lang="en-US">
                <a:solidFill>
                  <a:prstClr val="black"/>
                </a:solidFill>
                <a:latin typeface="Arial"/>
              </a:rPr>
              <a:t>TÜV Rheinland's Solar Business</a:t>
            </a:r>
            <a:endParaRPr lang="en-US" dirty="0">
              <a:solidFill>
                <a:prstClr val="black"/>
              </a:solidFill>
              <a:latin typeface="Arial"/>
            </a:endParaRPr>
          </a:p>
        </p:txBody>
      </p:sp>
      <p:sp>
        <p:nvSpPr>
          <p:cNvPr id="3" name="Datumsplatzhalter 2"/>
          <p:cNvSpPr>
            <a:spLocks noGrp="1"/>
          </p:cNvSpPr>
          <p:nvPr>
            <p:ph type="dt" sz="half" idx="10"/>
          </p:nvPr>
        </p:nvSpPr>
        <p:spPr/>
        <p:txBody>
          <a:bodyPr/>
          <a:lstStyle/>
          <a:p>
            <a:pPr defTabSz="1218926"/>
            <a:fld id="{3481FD0A-8DE1-44C0-B434-2ECD407C16CC}" type="datetime1">
              <a:rPr lang="en-US">
                <a:solidFill>
                  <a:prstClr val="black"/>
                </a:solidFill>
                <a:latin typeface="Arial"/>
              </a:rPr>
              <a:pPr defTabSz="1218926"/>
              <a:t>10/22/2024</a:t>
            </a:fld>
            <a:endParaRPr lang="en-US" dirty="0">
              <a:solidFill>
                <a:prstClr val="black"/>
              </a:solidFill>
              <a:latin typeface="Arial"/>
            </a:endParaRPr>
          </a:p>
        </p:txBody>
      </p:sp>
    </p:spTree>
    <p:extLst>
      <p:ext uri="{BB962C8B-B14F-4D97-AF65-F5344CB8AC3E}">
        <p14:creationId xmlns:p14="http://schemas.microsoft.com/office/powerpoint/2010/main" val="199499350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920387" y="1709798"/>
            <a:ext cx="3311693" cy="2801676"/>
          </a:xfrm>
          <a:prstGeom prst="rect">
            <a:avLst/>
          </a:prstGeom>
        </p:spPr>
      </p:pic>
      <p:sp>
        <p:nvSpPr>
          <p:cNvPr id="4" name="Footer Placeholder 3"/>
          <p:cNvSpPr>
            <a:spLocks noGrp="1"/>
          </p:cNvSpPr>
          <p:nvPr>
            <p:ph type="ftr" sz="quarter" idx="11"/>
          </p:nvPr>
        </p:nvSpPr>
        <p:spPr/>
        <p:txBody>
          <a:bodyPr/>
          <a:lstStyle/>
          <a:p>
            <a:pPr defTabSz="1218926"/>
            <a:r>
              <a:rPr lang="en-US">
                <a:solidFill>
                  <a:prstClr val="black"/>
                </a:solidFill>
                <a:latin typeface="Arial"/>
              </a:rPr>
              <a:t>TÜV Rheinland's Solar Business</a:t>
            </a:r>
            <a:endParaRPr lang="en-US" dirty="0">
              <a:solidFill>
                <a:prstClr val="black"/>
              </a:solidFill>
              <a:latin typeface="Arial"/>
            </a:endParaRPr>
          </a:p>
        </p:txBody>
      </p:sp>
      <p:sp>
        <p:nvSpPr>
          <p:cNvPr id="5" name="Slide Number Placeholder 4"/>
          <p:cNvSpPr>
            <a:spLocks noGrp="1"/>
          </p:cNvSpPr>
          <p:nvPr>
            <p:ph type="sldNum" sz="quarter" idx="12"/>
          </p:nvPr>
        </p:nvSpPr>
        <p:spPr/>
        <p:txBody>
          <a:bodyPr/>
          <a:lstStyle/>
          <a:p>
            <a:pPr defTabSz="1218926"/>
            <a:fld id="{4915BD61-E5D5-4E4F-ADA0-6F3448AB9FA6}" type="slidenum">
              <a:rPr lang="en-US">
                <a:solidFill>
                  <a:prstClr val="black"/>
                </a:solidFill>
                <a:latin typeface="Arial"/>
              </a:rPr>
              <a:pPr defTabSz="1218926"/>
              <a:t>59</a:t>
            </a:fld>
            <a:endParaRPr lang="en-US" dirty="0">
              <a:solidFill>
                <a:prstClr val="black"/>
              </a:solidFill>
              <a:latin typeface="Arial"/>
            </a:endParaRPr>
          </a:p>
        </p:txBody>
      </p:sp>
      <p:sp>
        <p:nvSpPr>
          <p:cNvPr id="8" name="Title 12"/>
          <p:cNvSpPr>
            <a:spLocks noGrp="1"/>
          </p:cNvSpPr>
          <p:nvPr>
            <p:ph type="title"/>
          </p:nvPr>
        </p:nvSpPr>
        <p:spPr>
          <a:xfrm>
            <a:off x="554953" y="405280"/>
            <a:ext cx="11084534" cy="431900"/>
          </a:xfrm>
        </p:spPr>
        <p:txBody>
          <a:bodyPr/>
          <a:lstStyle/>
          <a:p>
            <a:r>
              <a:rPr lang="en-GB" dirty="0"/>
              <a:t>Global Energy Yield Rating of PV Modules.</a:t>
            </a:r>
            <a:endParaRPr lang="en-US" dirty="0"/>
          </a:p>
        </p:txBody>
      </p:sp>
      <p:sp>
        <p:nvSpPr>
          <p:cNvPr id="9" name="Text Placeholder 14"/>
          <p:cNvSpPr>
            <a:spLocks noGrp="1"/>
          </p:cNvSpPr>
          <p:nvPr>
            <p:ph type="body" sz="quarter" idx="14"/>
          </p:nvPr>
        </p:nvSpPr>
        <p:spPr>
          <a:xfrm>
            <a:off x="552877" y="982058"/>
            <a:ext cx="11085434" cy="503122"/>
          </a:xfrm>
        </p:spPr>
        <p:txBody>
          <a:bodyPr/>
          <a:lstStyle/>
          <a:p>
            <a:r>
              <a:rPr lang="de-DE" dirty="0">
                <a:latin typeface="Arial" charset="0"/>
                <a:cs typeface="Arial" charset="0"/>
              </a:rPr>
              <a:t>Test location:</a:t>
            </a:r>
            <a:r>
              <a:rPr lang="en-US" dirty="0">
                <a:latin typeface="Arial" charset="0"/>
                <a:cs typeface="Arial" charset="0"/>
              </a:rPr>
              <a:t> Inner Mongolia, C</a:t>
            </a:r>
            <a:r>
              <a:rPr lang="en-US" altLang="zh-CN" dirty="0">
                <a:latin typeface="Arial" charset="0"/>
                <a:cs typeface="Arial" charset="0"/>
              </a:rPr>
              <a:t>hina</a:t>
            </a:r>
            <a:endParaRPr lang="en-US" dirty="0"/>
          </a:p>
        </p:txBody>
      </p:sp>
      <p:sp>
        <p:nvSpPr>
          <p:cNvPr id="10" name="Rectangle 9"/>
          <p:cNvSpPr/>
          <p:nvPr/>
        </p:nvSpPr>
        <p:spPr>
          <a:xfrm>
            <a:off x="1920387" y="4548183"/>
            <a:ext cx="7930968" cy="161646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26"/>
            <a:endParaRPr lang="en-US" sz="2400">
              <a:solidFill>
                <a:prstClr val="white"/>
              </a:solidFill>
              <a:latin typeface="Arial"/>
            </a:endParaRPr>
          </a:p>
        </p:txBody>
      </p:sp>
      <p:sp>
        <p:nvSpPr>
          <p:cNvPr id="11" name="Rechteck 10"/>
          <p:cNvSpPr/>
          <p:nvPr/>
        </p:nvSpPr>
        <p:spPr>
          <a:xfrm>
            <a:off x="2496333" y="4684963"/>
            <a:ext cx="7127340" cy="1600068"/>
          </a:xfrm>
          <a:prstGeom prst="rect">
            <a:avLst/>
          </a:prstGeom>
        </p:spPr>
        <p:txBody>
          <a:bodyPr wrap="square">
            <a:spAutoFit/>
          </a:bodyPr>
          <a:lstStyle/>
          <a:p>
            <a:pPr defTabSz="1218926"/>
            <a:endParaRPr lang="en-US" sz="1400" dirty="0">
              <a:solidFill>
                <a:prstClr val="white"/>
              </a:solidFill>
              <a:latin typeface="Arial"/>
            </a:endParaRPr>
          </a:p>
          <a:p>
            <a:pPr marL="285693" indent="-285693" defTabSz="1218926">
              <a:buFont typeface="Wingdings" panose="05000000000000000000" pitchFamily="2" charset="2"/>
              <a:buChar char="§"/>
            </a:pPr>
            <a:r>
              <a:rPr lang="en-US" sz="1400" dirty="0">
                <a:solidFill>
                  <a:prstClr val="white"/>
                </a:solidFill>
                <a:latin typeface="Arial"/>
              </a:rPr>
              <a:t>Geographical position:	40°N / 111°E</a:t>
            </a:r>
          </a:p>
          <a:p>
            <a:pPr defTabSz="1218926"/>
            <a:r>
              <a:rPr lang="en-US" sz="1400" dirty="0">
                <a:solidFill>
                  <a:prstClr val="white"/>
                </a:solidFill>
                <a:latin typeface="Arial"/>
              </a:rPr>
              <a:t>		1094 m above sea level</a:t>
            </a:r>
          </a:p>
          <a:p>
            <a:pPr defTabSz="1218926"/>
            <a:endParaRPr lang="en-US" sz="1400" dirty="0">
              <a:solidFill>
                <a:prstClr val="white"/>
              </a:solidFill>
              <a:latin typeface="Arial"/>
            </a:endParaRPr>
          </a:p>
          <a:p>
            <a:pPr marL="285693" indent="-285693" defTabSz="1218926">
              <a:buFont typeface="Wingdings" panose="05000000000000000000" pitchFamily="2" charset="2"/>
              <a:buChar char="§"/>
            </a:pPr>
            <a:r>
              <a:rPr lang="de-DE" sz="1400" dirty="0" err="1">
                <a:solidFill>
                  <a:prstClr val="white"/>
                </a:solidFill>
                <a:latin typeface="Arial"/>
              </a:rPr>
              <a:t>Climate</a:t>
            </a:r>
            <a:r>
              <a:rPr lang="de-DE" sz="1400" dirty="0">
                <a:solidFill>
                  <a:prstClr val="white"/>
                </a:solidFill>
                <a:latin typeface="Arial"/>
              </a:rPr>
              <a:t> </a:t>
            </a:r>
            <a:r>
              <a:rPr lang="de-DE" sz="1400" dirty="0" err="1">
                <a:solidFill>
                  <a:prstClr val="white"/>
                </a:solidFill>
                <a:latin typeface="Arial"/>
              </a:rPr>
              <a:t>conditions</a:t>
            </a:r>
            <a:r>
              <a:rPr lang="de-DE" sz="1400" dirty="0">
                <a:solidFill>
                  <a:prstClr val="white"/>
                </a:solidFill>
                <a:latin typeface="Arial"/>
              </a:rPr>
              <a:t>:  	</a:t>
            </a:r>
            <a:r>
              <a:rPr lang="de-DE" sz="1400" dirty="0" err="1">
                <a:solidFill>
                  <a:prstClr val="white"/>
                </a:solidFill>
                <a:latin typeface="Arial"/>
              </a:rPr>
              <a:t>Dsa</a:t>
            </a:r>
            <a:r>
              <a:rPr lang="de-DE" sz="1400" dirty="0">
                <a:solidFill>
                  <a:prstClr val="white"/>
                </a:solidFill>
                <a:latin typeface="Arial"/>
              </a:rPr>
              <a:t> (Dry, </a:t>
            </a:r>
            <a:r>
              <a:rPr lang="de-DE" sz="1400" dirty="0" err="1">
                <a:solidFill>
                  <a:prstClr val="white"/>
                </a:solidFill>
                <a:latin typeface="Arial"/>
              </a:rPr>
              <a:t>continental</a:t>
            </a:r>
            <a:r>
              <a:rPr lang="de-DE" sz="1400" dirty="0">
                <a:solidFill>
                  <a:prstClr val="white"/>
                </a:solidFill>
                <a:latin typeface="Arial"/>
              </a:rPr>
              <a:t>), </a:t>
            </a:r>
            <a:r>
              <a:rPr lang="de-DE" sz="1400" dirty="0" err="1">
                <a:solidFill>
                  <a:prstClr val="white"/>
                </a:solidFill>
                <a:latin typeface="Arial"/>
              </a:rPr>
              <a:t>significant</a:t>
            </a:r>
            <a:r>
              <a:rPr lang="de-DE" sz="1400" dirty="0">
                <a:solidFill>
                  <a:prstClr val="white"/>
                </a:solidFill>
                <a:latin typeface="Arial"/>
              </a:rPr>
              <a:t> </a:t>
            </a:r>
            <a:r>
              <a:rPr lang="de-DE" sz="1400" dirty="0" err="1">
                <a:solidFill>
                  <a:prstClr val="white"/>
                </a:solidFill>
                <a:latin typeface="Arial"/>
              </a:rPr>
              <a:t>temperature</a:t>
            </a:r>
            <a:r>
              <a:rPr lang="de-DE" sz="1400" dirty="0">
                <a:solidFill>
                  <a:prstClr val="white"/>
                </a:solidFill>
                <a:latin typeface="Arial"/>
              </a:rPr>
              <a:t> </a:t>
            </a:r>
          </a:p>
          <a:p>
            <a:pPr defTabSz="1218926"/>
            <a:r>
              <a:rPr lang="de-DE" sz="1400" dirty="0">
                <a:solidFill>
                  <a:prstClr val="white"/>
                </a:solidFill>
                <a:latin typeface="Arial"/>
              </a:rPr>
              <a:t>		</a:t>
            </a:r>
            <a:r>
              <a:rPr lang="de-DE" sz="1400" dirty="0" err="1">
                <a:solidFill>
                  <a:prstClr val="white"/>
                </a:solidFill>
                <a:latin typeface="Arial"/>
              </a:rPr>
              <a:t>difference</a:t>
            </a:r>
            <a:r>
              <a:rPr lang="de-DE" sz="1400" dirty="0">
                <a:solidFill>
                  <a:prstClr val="white"/>
                </a:solidFill>
                <a:latin typeface="Arial"/>
              </a:rPr>
              <a:t> </a:t>
            </a:r>
            <a:endParaRPr lang="en-US" sz="1400" dirty="0">
              <a:solidFill>
                <a:prstClr val="white"/>
              </a:solidFill>
              <a:latin typeface="Arial"/>
            </a:endParaRPr>
          </a:p>
          <a:p>
            <a:pPr defTabSz="1218926"/>
            <a:endParaRPr lang="en-US" sz="1400" dirty="0">
              <a:solidFill>
                <a:prstClr val="white"/>
              </a:solidFill>
              <a:latin typeface="Arial"/>
            </a:endParaRPr>
          </a:p>
        </p:txBody>
      </p:sp>
      <p:sp>
        <p:nvSpPr>
          <p:cNvPr id="12" name="Rectangle 11"/>
          <p:cNvSpPr/>
          <p:nvPr/>
        </p:nvSpPr>
        <p:spPr>
          <a:xfrm>
            <a:off x="1887460" y="4540421"/>
            <a:ext cx="7963894" cy="457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26"/>
            <a:endParaRPr lang="en-US" sz="2400">
              <a:solidFill>
                <a:prstClr val="white"/>
              </a:solidFill>
              <a:latin typeface="Arial"/>
            </a:endParaRPr>
          </a:p>
        </p:txBody>
      </p:sp>
      <p:sp>
        <p:nvSpPr>
          <p:cNvPr id="13" name="Rectangle 12"/>
          <p:cNvSpPr/>
          <p:nvPr/>
        </p:nvSpPr>
        <p:spPr>
          <a:xfrm rot="5400000">
            <a:off x="3764616" y="3118667"/>
            <a:ext cx="2889220" cy="457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26"/>
            <a:endParaRPr lang="en-US" sz="2400">
              <a:solidFill>
                <a:prstClr val="white"/>
              </a:solidFill>
              <a:latin typeface="Arial"/>
            </a:endParaRPr>
          </a:p>
        </p:txBody>
      </p:sp>
      <p:sp>
        <p:nvSpPr>
          <p:cNvPr id="15" name="Ellipse 12"/>
          <p:cNvSpPr/>
          <p:nvPr/>
        </p:nvSpPr>
        <p:spPr bwMode="auto">
          <a:xfrm>
            <a:off x="3864206" y="2800707"/>
            <a:ext cx="143983" cy="143983"/>
          </a:xfrm>
          <a:prstGeom prst="ellipse">
            <a:avLst/>
          </a:prstGeom>
          <a:solidFill>
            <a:srgbClr val="FF0000"/>
          </a:solidFill>
          <a:ln w="3175" cap="flat" cmpd="sng" algn="ctr">
            <a:solidFill>
              <a:schemeClr val="accent5">
                <a:alpha val="80000"/>
              </a:schemeClr>
            </a:solidFill>
            <a:prstDash val="solid"/>
            <a:round/>
            <a:headEnd type="none" w="med" len="med"/>
            <a:tailEnd type="none" w="med" len="med"/>
          </a:ln>
          <a:effectLst/>
        </p:spPr>
        <p:txBody>
          <a:bodyPr vert="horz" wrap="none" lIns="89979" tIns="46789" rIns="89979" bIns="46789" numCol="1" rtlCol="0" anchor="ctr" anchorCtr="0" compatLnSpc="1">
            <a:prstTxWarp prst="textNoShape">
              <a:avLst/>
            </a:prstTxWarp>
          </a:bodyPr>
          <a:lstStyle/>
          <a:p>
            <a:pPr defTabSz="914217" fontAlgn="base">
              <a:spcBef>
                <a:spcPct val="0"/>
              </a:spcBef>
              <a:spcAft>
                <a:spcPct val="0"/>
              </a:spcAft>
            </a:pPr>
            <a:endParaRPr lang="en-US" sz="1600">
              <a:solidFill>
                <a:prstClr val="black"/>
              </a:solidFill>
              <a:latin typeface="Arial" charset="0"/>
            </a:endParaRPr>
          </a:p>
        </p:txBody>
      </p:sp>
      <p:pic>
        <p:nvPicPr>
          <p:cNvPr id="2" name="Picture 1"/>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232081" y="1707224"/>
            <a:ext cx="4607573" cy="2801676"/>
          </a:xfrm>
          <a:prstGeom prst="rect">
            <a:avLst/>
          </a:prstGeom>
        </p:spPr>
      </p:pic>
      <p:sp>
        <p:nvSpPr>
          <p:cNvPr id="3" name="Datumsplatzhalter 2"/>
          <p:cNvSpPr>
            <a:spLocks noGrp="1"/>
          </p:cNvSpPr>
          <p:nvPr>
            <p:ph type="dt" sz="half" idx="10"/>
          </p:nvPr>
        </p:nvSpPr>
        <p:spPr/>
        <p:txBody>
          <a:bodyPr/>
          <a:lstStyle/>
          <a:p>
            <a:pPr defTabSz="1218926"/>
            <a:fld id="{FC0A87A3-365C-4031-A6BE-1F1734FBB08D}" type="datetime1">
              <a:rPr lang="en-US">
                <a:solidFill>
                  <a:prstClr val="black"/>
                </a:solidFill>
                <a:latin typeface="Arial"/>
              </a:rPr>
              <a:pPr defTabSz="1218926"/>
              <a:t>10/22/2024</a:t>
            </a:fld>
            <a:endParaRPr lang="en-US" dirty="0">
              <a:solidFill>
                <a:prstClr val="black"/>
              </a:solidFill>
              <a:latin typeface="Arial"/>
            </a:endParaRPr>
          </a:p>
        </p:txBody>
      </p:sp>
    </p:spTree>
    <p:extLst>
      <p:ext uri="{BB962C8B-B14F-4D97-AF65-F5344CB8AC3E}">
        <p14:creationId xmlns:p14="http://schemas.microsoft.com/office/powerpoint/2010/main" val="20117360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logo with text on it&#10;&#10;Description automatically generated">
            <a:extLst>
              <a:ext uri="{FF2B5EF4-FFF2-40B4-BE49-F238E27FC236}">
                <a16:creationId xmlns:a16="http://schemas.microsoft.com/office/drawing/2014/main" id="{2CCBC30B-0AA3-730E-8F6D-A5BA77CDD8D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426734546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E0818EC-04C4-D248-8E5A-425F7B780B38}"/>
              </a:ext>
            </a:extLst>
          </p:cNvPr>
          <p:cNvSpPr>
            <a:spLocks noGrp="1"/>
          </p:cNvSpPr>
          <p:nvPr>
            <p:ph type="dt" sz="half" idx="10"/>
          </p:nvPr>
        </p:nvSpPr>
        <p:spPr/>
        <p:txBody>
          <a:bodyPr/>
          <a:lstStyle/>
          <a:p>
            <a:pPr defTabSz="1218926"/>
            <a:fld id="{A96A0BBE-48DF-4E7E-8119-60C6FE218790}" type="datetime1">
              <a:rPr lang="en-US">
                <a:solidFill>
                  <a:prstClr val="black"/>
                </a:solidFill>
                <a:latin typeface="Arial"/>
              </a:rPr>
              <a:pPr defTabSz="1218926"/>
              <a:t>10/22/2024</a:t>
            </a:fld>
            <a:endParaRPr lang="en-US" dirty="0">
              <a:solidFill>
                <a:prstClr val="black"/>
              </a:solidFill>
              <a:latin typeface="Arial"/>
            </a:endParaRPr>
          </a:p>
        </p:txBody>
      </p:sp>
      <p:sp>
        <p:nvSpPr>
          <p:cNvPr id="4" name="Slide Number Placeholder 3">
            <a:extLst>
              <a:ext uri="{FF2B5EF4-FFF2-40B4-BE49-F238E27FC236}">
                <a16:creationId xmlns:a16="http://schemas.microsoft.com/office/drawing/2014/main" id="{AA84EB75-B22E-24B2-B4F2-BCCF166A526E}"/>
              </a:ext>
            </a:extLst>
          </p:cNvPr>
          <p:cNvSpPr>
            <a:spLocks noGrp="1"/>
          </p:cNvSpPr>
          <p:nvPr>
            <p:ph type="sldNum" sz="quarter" idx="12"/>
          </p:nvPr>
        </p:nvSpPr>
        <p:spPr/>
        <p:txBody>
          <a:bodyPr/>
          <a:lstStyle/>
          <a:p>
            <a:pPr defTabSz="1218926"/>
            <a:fld id="{4915BD61-E5D5-4E4F-ADA0-6F3448AB9FA6}" type="slidenum">
              <a:rPr lang="en-US">
                <a:solidFill>
                  <a:prstClr val="black"/>
                </a:solidFill>
                <a:latin typeface="Arial"/>
              </a:rPr>
              <a:pPr defTabSz="1218926"/>
              <a:t>60</a:t>
            </a:fld>
            <a:endParaRPr lang="en-US" dirty="0">
              <a:solidFill>
                <a:prstClr val="black"/>
              </a:solidFill>
              <a:latin typeface="Arial"/>
            </a:endParaRPr>
          </a:p>
        </p:txBody>
      </p:sp>
      <p:sp>
        <p:nvSpPr>
          <p:cNvPr id="6" name="Text Placeholder 5">
            <a:extLst>
              <a:ext uri="{FF2B5EF4-FFF2-40B4-BE49-F238E27FC236}">
                <a16:creationId xmlns:a16="http://schemas.microsoft.com/office/drawing/2014/main" id="{CE0C5989-4526-D40C-998F-F781F2D96873}"/>
              </a:ext>
            </a:extLst>
          </p:cNvPr>
          <p:cNvSpPr>
            <a:spLocks noGrp="1"/>
          </p:cNvSpPr>
          <p:nvPr>
            <p:ph type="body" sz="quarter" idx="14"/>
          </p:nvPr>
        </p:nvSpPr>
        <p:spPr/>
        <p:txBody>
          <a:bodyPr/>
          <a:lstStyle/>
          <a:p>
            <a:r>
              <a:rPr lang="en-US" dirty="0"/>
              <a:t>Global Certification and Compliance Expertise</a:t>
            </a:r>
          </a:p>
        </p:txBody>
      </p:sp>
      <p:sp>
        <p:nvSpPr>
          <p:cNvPr id="7" name="Title 6">
            <a:extLst>
              <a:ext uri="{FF2B5EF4-FFF2-40B4-BE49-F238E27FC236}">
                <a16:creationId xmlns:a16="http://schemas.microsoft.com/office/drawing/2014/main" id="{CF0083A0-8D64-4FE0-CCC6-FB38BA9F9E59}"/>
              </a:ext>
            </a:extLst>
          </p:cNvPr>
          <p:cNvSpPr>
            <a:spLocks noGrp="1"/>
          </p:cNvSpPr>
          <p:nvPr>
            <p:ph type="title"/>
          </p:nvPr>
        </p:nvSpPr>
        <p:spPr/>
        <p:txBody>
          <a:bodyPr/>
          <a:lstStyle/>
          <a:p>
            <a:r>
              <a:rPr lang="en-US" b="1" dirty="0"/>
              <a:t>Certification &amp; Compliance </a:t>
            </a:r>
            <a:r>
              <a:rPr lang="en-US" dirty="0"/>
              <a:t>– Building Trust</a:t>
            </a:r>
          </a:p>
        </p:txBody>
      </p:sp>
      <p:pic>
        <p:nvPicPr>
          <p:cNvPr id="8" name="Grafik 1">
            <a:extLst>
              <a:ext uri="{FF2B5EF4-FFF2-40B4-BE49-F238E27FC236}">
                <a16:creationId xmlns:a16="http://schemas.microsoft.com/office/drawing/2014/main" id="{E32D10CF-61DB-3C3B-35C1-F3A39F4DE406}"/>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l="12621" r="3230"/>
          <a:stretch/>
        </p:blipFill>
        <p:spPr>
          <a:xfrm>
            <a:off x="578792" y="1658137"/>
            <a:ext cx="1871775" cy="3082320"/>
          </a:xfrm>
          <a:prstGeom prst="rect">
            <a:avLst/>
          </a:prstGeom>
        </p:spPr>
      </p:pic>
      <p:sp>
        <p:nvSpPr>
          <p:cNvPr id="9" name="Content Placeholder 5">
            <a:extLst>
              <a:ext uri="{FF2B5EF4-FFF2-40B4-BE49-F238E27FC236}">
                <a16:creationId xmlns:a16="http://schemas.microsoft.com/office/drawing/2014/main" id="{DBFA8A3E-C5D6-2A05-7907-DBBADF062799}"/>
              </a:ext>
            </a:extLst>
          </p:cNvPr>
          <p:cNvSpPr txBox="1">
            <a:spLocks/>
          </p:cNvSpPr>
          <p:nvPr/>
        </p:nvSpPr>
        <p:spPr bwMode="gray">
          <a:xfrm>
            <a:off x="552563" y="5061533"/>
            <a:ext cx="2807766" cy="1007857"/>
          </a:xfrm>
          <a:prstGeom prst="rect">
            <a:avLst/>
          </a:prstGeom>
        </p:spPr>
        <p:txBody>
          <a:bodyPr vert="horz" lIns="0" tIns="0" rIns="0" bIns="0" rtlCol="0">
            <a:noAutofit/>
          </a:bodyPr>
          <a:lstStyle>
            <a:lvl1pPr marL="0" indent="0" algn="l" defTabSz="1219170" rtl="0" eaLnBrk="1" latinLnBrk="0" hangingPunct="1">
              <a:lnSpc>
                <a:spcPct val="100000"/>
              </a:lnSpc>
              <a:spcBef>
                <a:spcPts val="0"/>
              </a:spcBef>
              <a:spcAft>
                <a:spcPts val="600"/>
              </a:spcAft>
              <a:buClr>
                <a:schemeClr val="tx2"/>
              </a:buClr>
              <a:buFont typeface="Wingdings" panose="05000000000000000000" pitchFamily="2" charset="2"/>
              <a:buNone/>
              <a:defRPr sz="16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6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7pPr>
            <a:lvl8pPr marL="539750" indent="-180975" algn="l" defTabSz="1219170" rtl="0" eaLnBrk="1" latinLnBrk="0" hangingPunct="1">
              <a:lnSpc>
                <a:spcPct val="100000"/>
              </a:lnSpc>
              <a:spcBef>
                <a:spcPts val="0"/>
              </a:spcBef>
              <a:spcAft>
                <a:spcPts val="600"/>
              </a:spcAft>
              <a:buFont typeface="Symbol" panose="05050102010706020507" pitchFamily="18" charset="2"/>
              <a:buChar char="-"/>
              <a:defRPr sz="16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600" kern="1200" baseline="0">
                <a:solidFill>
                  <a:schemeClr val="tx1"/>
                </a:solidFill>
                <a:latin typeface="+mn-lt"/>
                <a:ea typeface="+mn-ea"/>
                <a:cs typeface="+mn-cs"/>
              </a:defRPr>
            </a:lvl9pPr>
          </a:lstStyle>
          <a:p>
            <a:pPr defTabSz="1218926">
              <a:buClr>
                <a:srgbClr val="4D4D4D"/>
              </a:buClr>
            </a:pPr>
            <a:r>
              <a:rPr lang="en-US" sz="1400" dirty="0">
                <a:solidFill>
                  <a:prstClr val="black"/>
                </a:solidFill>
                <a:latin typeface="Arial"/>
              </a:rPr>
              <a:t>We meet </a:t>
            </a:r>
            <a:r>
              <a:rPr lang="en-US" sz="1400" b="1" dirty="0">
                <a:solidFill>
                  <a:prstClr val="black"/>
                </a:solidFill>
                <a:latin typeface="Arial"/>
              </a:rPr>
              <a:t>international standards </a:t>
            </a:r>
            <a:r>
              <a:rPr lang="en-US" sz="1400" dirty="0">
                <a:solidFill>
                  <a:prstClr val="black"/>
                </a:solidFill>
                <a:latin typeface="Arial"/>
              </a:rPr>
              <a:t>(IEC, UL) and </a:t>
            </a:r>
            <a:r>
              <a:rPr lang="en-US" sz="1400" b="1" dirty="0">
                <a:solidFill>
                  <a:prstClr val="black"/>
                </a:solidFill>
                <a:latin typeface="Arial"/>
              </a:rPr>
              <a:t>local regulations </a:t>
            </a:r>
            <a:r>
              <a:rPr lang="en-US" sz="1400" dirty="0">
                <a:solidFill>
                  <a:prstClr val="black"/>
                </a:solidFill>
                <a:latin typeface="Arial"/>
              </a:rPr>
              <a:t>to ensure projects are finance-ready.</a:t>
            </a:r>
          </a:p>
        </p:txBody>
      </p:sp>
      <p:pic>
        <p:nvPicPr>
          <p:cNvPr id="10" name="Two men in conversation" descr="Y:\Kunden DE\TÜV Rheinland\Chris Kirga\2017.03.13\TUVR_Bildercollection\TUEVRL-93246.jpg">
            <a:extLst>
              <a:ext uri="{FF2B5EF4-FFF2-40B4-BE49-F238E27FC236}">
                <a16:creationId xmlns:a16="http://schemas.microsoft.com/office/drawing/2014/main" id="{7249D9CD-B13E-96C6-0F99-08E1AE07BF6A}"/>
              </a:ext>
            </a:extLst>
          </p:cNvPr>
          <p:cNvPicPr>
            <a:picLocks noChangeAspect="1" noChangeArrowheads="1"/>
          </p:cNvPicPr>
          <p:nvPr>
            <p:custDataLst>
              <p:tags r:id="rId1"/>
            </p:custDataLst>
          </p:nvPr>
        </p:nvPicPr>
        <p:blipFill rotWithShape="1">
          <a:blip r:embed="rId6" cstate="email">
            <a:extLst>
              <a:ext uri="{28A0092B-C50C-407E-A947-70E740481C1C}">
                <a14:useLocalDpi xmlns:a14="http://schemas.microsoft.com/office/drawing/2010/main"/>
              </a:ext>
            </a:extLst>
          </a:blip>
          <a:srcRect/>
          <a:stretch/>
        </p:blipFill>
        <p:spPr bwMode="gray">
          <a:xfrm>
            <a:off x="4512190" y="1658137"/>
            <a:ext cx="1871775" cy="3095713"/>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851D6B2C-A3B1-33F1-7095-CAFC258E0DE5}"/>
              </a:ext>
            </a:extLst>
          </p:cNvPr>
          <p:cNvSpPr txBox="1"/>
          <p:nvPr/>
        </p:nvSpPr>
        <p:spPr>
          <a:xfrm>
            <a:off x="4368208" y="5061533"/>
            <a:ext cx="3230508" cy="738493"/>
          </a:xfrm>
          <a:prstGeom prst="rect">
            <a:avLst/>
          </a:prstGeom>
          <a:noFill/>
        </p:spPr>
        <p:txBody>
          <a:bodyPr wrap="square">
            <a:spAutoFit/>
          </a:bodyPr>
          <a:lstStyle/>
          <a:p>
            <a:pPr defTabSz="1218926"/>
            <a:r>
              <a:rPr lang="en-US" sz="1400" dirty="0">
                <a:solidFill>
                  <a:prstClr val="black"/>
                </a:solidFill>
                <a:latin typeface="Arial"/>
              </a:rPr>
              <a:t>Compliance boosts investor confidence by ensuring safety, quality, and regulatory approval.</a:t>
            </a:r>
          </a:p>
        </p:txBody>
      </p:sp>
      <p:pic>
        <p:nvPicPr>
          <p:cNvPr id="5" name="Men in testing" descr="Y:\Kunden DE\TÜV Rheinland\Chris Kirga\2017.03.13\TUVR_Bildercollection\TUEVRL-10702.jpg">
            <a:extLst>
              <a:ext uri="{FF2B5EF4-FFF2-40B4-BE49-F238E27FC236}">
                <a16:creationId xmlns:a16="http://schemas.microsoft.com/office/drawing/2014/main" id="{9EDB0313-A31D-8DAF-C3D6-3D1EB73E9DF7}"/>
              </a:ext>
            </a:extLst>
          </p:cNvPr>
          <p:cNvPicPr>
            <a:picLocks noChangeAspect="1" noChangeArrowheads="1"/>
          </p:cNvPicPr>
          <p:nvPr>
            <p:custDataLst>
              <p:tags r:id="rId2"/>
            </p:custDataLst>
          </p:nvPr>
        </p:nvPicPr>
        <p:blipFill rotWithShape="1">
          <a:blip r:embed="rId7" cstate="email">
            <a:extLst>
              <a:ext uri="{28A0092B-C50C-407E-A947-70E740481C1C}">
                <a14:useLocalDpi xmlns:a14="http://schemas.microsoft.com/office/drawing/2010/main"/>
              </a:ext>
            </a:extLst>
          </a:blip>
          <a:srcRect/>
          <a:stretch/>
        </p:blipFill>
        <p:spPr bwMode="gray">
          <a:xfrm>
            <a:off x="8543705" y="1651441"/>
            <a:ext cx="1871775" cy="3095713"/>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5EF7CC41-D1EA-A79A-EDE9-691DE9F11011}"/>
              </a:ext>
            </a:extLst>
          </p:cNvPr>
          <p:cNvSpPr txBox="1"/>
          <p:nvPr/>
        </p:nvSpPr>
        <p:spPr>
          <a:xfrm>
            <a:off x="8111757" y="5014461"/>
            <a:ext cx="3815541" cy="953886"/>
          </a:xfrm>
          <a:prstGeom prst="rect">
            <a:avLst/>
          </a:prstGeom>
          <a:noFill/>
        </p:spPr>
        <p:txBody>
          <a:bodyPr wrap="square">
            <a:spAutoFit/>
          </a:bodyPr>
          <a:lstStyle/>
          <a:p>
            <a:pPr defTabSz="1218926"/>
            <a:r>
              <a:rPr lang="en-US" sz="1400" dirty="0">
                <a:solidFill>
                  <a:prstClr val="black"/>
                </a:solidFill>
                <a:latin typeface="Arial"/>
              </a:rPr>
              <a:t>Take advantage of our </a:t>
            </a:r>
            <a:r>
              <a:rPr lang="en-US" sz="1400" b="1" dirty="0">
                <a:solidFill>
                  <a:prstClr val="black"/>
                </a:solidFill>
                <a:latin typeface="Arial"/>
              </a:rPr>
              <a:t>global test laboratory network</a:t>
            </a:r>
            <a:r>
              <a:rPr lang="en-US" sz="1400" dirty="0">
                <a:solidFill>
                  <a:prstClr val="black"/>
                </a:solidFill>
                <a:latin typeface="Arial"/>
              </a:rPr>
              <a:t>, in which we use the latest measurement methods and procedures to ensure compliance of PV products.</a:t>
            </a:r>
          </a:p>
        </p:txBody>
      </p:sp>
      <p:sp>
        <p:nvSpPr>
          <p:cNvPr id="14" name="Fußzeilenplatzhalter 8">
            <a:extLst>
              <a:ext uri="{FF2B5EF4-FFF2-40B4-BE49-F238E27FC236}">
                <a16:creationId xmlns:a16="http://schemas.microsoft.com/office/drawing/2014/main" id="{C4B23082-23A2-405F-3DF2-D6B7BED469FA}"/>
              </a:ext>
            </a:extLst>
          </p:cNvPr>
          <p:cNvSpPr txBox="1">
            <a:spLocks/>
          </p:cNvSpPr>
          <p:nvPr/>
        </p:nvSpPr>
        <p:spPr bwMode="gray">
          <a:xfrm>
            <a:off x="1704916" y="6452720"/>
            <a:ext cx="4390984" cy="172505"/>
          </a:xfrm>
          <a:prstGeom prst="rect">
            <a:avLst/>
          </a:prstGeom>
        </p:spPr>
        <p:txBody>
          <a:bodyPr vert="horz" lIns="0" tIns="0" rIns="0" bIns="0" rtlCol="0" anchor="b"/>
          <a:lstStyle>
            <a:defPPr>
              <a:defRPr lang="de-DE"/>
            </a:defPPr>
            <a:lvl1pPr marL="0" algn="l" defTabSz="1219170" rtl="0" eaLnBrk="1" latinLnBrk="0" hangingPunct="1">
              <a:defRPr sz="8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1218926"/>
            <a:r>
              <a:rPr lang="de-DE" altLang="zh-CN">
                <a:solidFill>
                  <a:prstClr val="black"/>
                </a:solidFill>
                <a:latin typeface="Arial"/>
              </a:rPr>
              <a:t>TÜV Rheinland's Solar Business</a:t>
            </a:r>
            <a:endParaRPr lang="de-DE" altLang="zh-CN" dirty="0">
              <a:solidFill>
                <a:prstClr val="black"/>
              </a:solidFill>
              <a:latin typeface="Arial"/>
            </a:endParaRPr>
          </a:p>
        </p:txBody>
      </p:sp>
    </p:spTree>
    <p:extLst>
      <p:ext uri="{BB962C8B-B14F-4D97-AF65-F5344CB8AC3E}">
        <p14:creationId xmlns:p14="http://schemas.microsoft.com/office/powerpoint/2010/main" val="183519992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552941" y="1701406"/>
            <a:ext cx="5218785" cy="4247166"/>
          </a:xfrm>
          <a:prstGeom prst="rect">
            <a:avLst/>
          </a:prstGeom>
        </p:spPr>
      </p:pic>
      <p:sp>
        <p:nvSpPr>
          <p:cNvPr id="2" name="Title 1"/>
          <p:cNvSpPr>
            <a:spLocks noGrp="1"/>
          </p:cNvSpPr>
          <p:nvPr>
            <p:ph type="title"/>
          </p:nvPr>
        </p:nvSpPr>
        <p:spPr/>
        <p:txBody>
          <a:bodyPr/>
          <a:lstStyle/>
          <a:p>
            <a:r>
              <a:rPr lang="de-DE" dirty="0"/>
              <a:t>TÜV Rheinland Global PV Testing Network.</a:t>
            </a:r>
            <a:br>
              <a:rPr lang="de-DE" dirty="0"/>
            </a:br>
            <a:endParaRPr lang="en-US" dirty="0"/>
          </a:p>
        </p:txBody>
      </p:sp>
      <p:sp>
        <p:nvSpPr>
          <p:cNvPr id="3" name="Date Placeholder 2"/>
          <p:cNvSpPr>
            <a:spLocks noGrp="1"/>
          </p:cNvSpPr>
          <p:nvPr>
            <p:ph type="dt" sz="half" idx="10"/>
          </p:nvPr>
        </p:nvSpPr>
        <p:spPr/>
        <p:txBody>
          <a:bodyPr/>
          <a:lstStyle/>
          <a:p>
            <a:pPr defTabSz="1218926"/>
            <a:fld id="{66D4080D-C1C8-4040-9D4B-DEFE8CF76735}" type="datetime1">
              <a:rPr lang="en-US">
                <a:solidFill>
                  <a:prstClr val="black"/>
                </a:solidFill>
                <a:latin typeface="Arial"/>
              </a:rPr>
              <a:pPr defTabSz="1218926"/>
              <a:t>10/22/2024</a:t>
            </a:fld>
            <a:endParaRPr lang="en-US" dirty="0">
              <a:solidFill>
                <a:prstClr val="black"/>
              </a:solidFill>
              <a:latin typeface="Arial"/>
            </a:endParaRPr>
          </a:p>
        </p:txBody>
      </p:sp>
      <p:sp>
        <p:nvSpPr>
          <p:cNvPr id="8" name="Text Placeholder 7"/>
          <p:cNvSpPr>
            <a:spLocks noGrp="1"/>
          </p:cNvSpPr>
          <p:nvPr>
            <p:ph type="body" sz="quarter" idx="13"/>
          </p:nvPr>
        </p:nvSpPr>
        <p:spPr/>
        <p:txBody>
          <a:bodyPr/>
          <a:lstStyle/>
          <a:p>
            <a:r>
              <a:rPr lang="en-US" altLang="zh-CN" dirty="0">
                <a:solidFill>
                  <a:schemeClr val="dk2"/>
                </a:solidFill>
              </a:rPr>
              <a:t>GERMANY</a:t>
            </a:r>
            <a:endParaRPr lang="de-DE" altLang="zh-CN" dirty="0">
              <a:solidFill>
                <a:schemeClr val="dk2"/>
              </a:solidFill>
            </a:endParaRPr>
          </a:p>
        </p:txBody>
      </p:sp>
      <p:sp>
        <p:nvSpPr>
          <p:cNvPr id="10" name="Rechteck 43"/>
          <p:cNvSpPr/>
          <p:nvPr>
            <p:custDataLst>
              <p:tags r:id="rId1"/>
            </p:custDataLst>
          </p:nvPr>
        </p:nvSpPr>
        <p:spPr>
          <a:xfrm>
            <a:off x="552940" y="5293383"/>
            <a:ext cx="3573765" cy="3239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07975" tIns="89979" rIns="107975" bIns="89979" rtlCol="0" anchor="ctr">
            <a:noAutofit/>
          </a:bodyPr>
          <a:lstStyle/>
          <a:p>
            <a:pPr defTabSz="1218926"/>
            <a:r>
              <a:rPr lang="en-US" sz="1400" b="1" dirty="0">
                <a:solidFill>
                  <a:prstClr val="white"/>
                </a:solidFill>
                <a:latin typeface="Arial"/>
              </a:rPr>
              <a:t>Cologne</a:t>
            </a:r>
          </a:p>
        </p:txBody>
      </p:sp>
      <p:sp>
        <p:nvSpPr>
          <p:cNvPr id="11" name="Inhaltsplatzhalter 27"/>
          <p:cNvSpPr txBox="1">
            <a:spLocks/>
          </p:cNvSpPr>
          <p:nvPr>
            <p:custDataLst>
              <p:tags r:id="rId2"/>
            </p:custDataLst>
          </p:nvPr>
        </p:nvSpPr>
        <p:spPr>
          <a:xfrm>
            <a:off x="7557380" y="1773154"/>
            <a:ext cx="4031201" cy="2178950"/>
          </a:xfrm>
          <a:prstGeom prst="rect">
            <a:avLst/>
          </a:prstGeom>
        </p:spPr>
        <p:txBody>
          <a:bodyPr lIns="0" tIns="0" rIns="0" bIns="0">
            <a:noAutofit/>
          </a:bodyPr>
          <a:lstStyle>
            <a:lvl1pPr marL="0" indent="0" algn="l" defTabSz="1219170" rtl="0" eaLnBrk="1" latinLnBrk="0" hangingPunct="1">
              <a:lnSpc>
                <a:spcPct val="100000"/>
              </a:lnSpc>
              <a:spcBef>
                <a:spcPts val="0"/>
              </a:spcBef>
              <a:spcAft>
                <a:spcPts val="600"/>
              </a:spcAft>
              <a:buClr>
                <a:schemeClr val="tx2"/>
              </a:buClr>
              <a:buFont typeface="Wingdings" panose="05000000000000000000" pitchFamily="2" charset="2"/>
              <a:buNone/>
              <a:defRPr sz="1400" kern="1200" cap="all" baseline="0">
                <a:solidFill>
                  <a:schemeClr val="tx2"/>
                </a:solidFill>
                <a:latin typeface="+mn-lt"/>
                <a:ea typeface="+mn-ea"/>
                <a:cs typeface="+mn-cs"/>
              </a:defRPr>
            </a:lvl1pPr>
            <a:lvl2pPr marL="0" indent="0" algn="l" defTabSz="1219170" rtl="0" eaLnBrk="1" latinLnBrk="0" hangingPunct="1">
              <a:lnSpc>
                <a:spcPct val="100000"/>
              </a:lnSpc>
              <a:spcBef>
                <a:spcPts val="0"/>
              </a:spcBef>
              <a:spcAft>
                <a:spcPts val="600"/>
              </a:spcAft>
              <a:buClr>
                <a:schemeClr val="tx2"/>
              </a:buClr>
              <a:buFont typeface="Wingdings" panose="05000000000000000000" pitchFamily="2" charset="2"/>
              <a:buNone/>
              <a:defRPr sz="1400" kern="1200">
                <a:solidFill>
                  <a:schemeClr val="tx1"/>
                </a:solidFill>
                <a:latin typeface="+mn-lt"/>
                <a:ea typeface="+mn-ea"/>
                <a:cs typeface="+mn-cs"/>
              </a:defRPr>
            </a:lvl2pPr>
            <a:lvl3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3pPr>
            <a:lvl4pPr marL="36000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9pPr>
          </a:lstStyle>
          <a:p>
            <a:pPr marL="0" lvl="6" indent="0" defTabSz="1218926">
              <a:spcBef>
                <a:spcPts val="600"/>
              </a:spcBef>
              <a:spcAft>
                <a:spcPts val="0"/>
              </a:spcAft>
              <a:buNone/>
              <a:tabLst>
                <a:tab pos="809463" algn="l"/>
              </a:tabLst>
            </a:pPr>
            <a:r>
              <a:rPr lang="en-US" dirty="0">
                <a:solidFill>
                  <a:prstClr val="black"/>
                </a:solidFill>
                <a:latin typeface="Arial"/>
              </a:rPr>
              <a:t>Laboratory area</a:t>
            </a:r>
          </a:p>
          <a:p>
            <a:pPr marL="0" lvl="6" indent="0" defTabSz="1218926">
              <a:spcBef>
                <a:spcPts val="600"/>
              </a:spcBef>
              <a:spcAft>
                <a:spcPts val="0"/>
              </a:spcAft>
              <a:buNone/>
              <a:tabLst>
                <a:tab pos="809463" algn="l"/>
              </a:tabLst>
            </a:pPr>
            <a:endParaRPr lang="en-US" sz="400" dirty="0">
              <a:solidFill>
                <a:prstClr val="black"/>
              </a:solidFill>
              <a:latin typeface="Arial"/>
            </a:endParaRPr>
          </a:p>
          <a:p>
            <a:pPr marL="0" lvl="6" indent="0" defTabSz="1218926">
              <a:spcBef>
                <a:spcPts val="800"/>
              </a:spcBef>
              <a:spcAft>
                <a:spcPts val="0"/>
              </a:spcAft>
              <a:buNone/>
              <a:tabLst>
                <a:tab pos="809463" algn="l"/>
              </a:tabLst>
            </a:pPr>
            <a:r>
              <a:rPr lang="en-US" dirty="0">
                <a:solidFill>
                  <a:prstClr val="black"/>
                </a:solidFill>
                <a:latin typeface="Arial"/>
                <a:ea typeface="ＭＳ Ｐゴシック" pitchFamily="34" charset="-128"/>
              </a:rPr>
              <a:t>PV modules, components, inverters, ESS</a:t>
            </a:r>
          </a:p>
          <a:p>
            <a:pPr marL="0" lvl="6" indent="0" defTabSz="1218926">
              <a:spcBef>
                <a:spcPts val="2200"/>
              </a:spcBef>
              <a:spcAft>
                <a:spcPts val="0"/>
              </a:spcAft>
              <a:buNone/>
              <a:tabLst>
                <a:tab pos="809463" algn="l"/>
              </a:tabLst>
            </a:pPr>
            <a:r>
              <a:rPr lang="en-US" dirty="0">
                <a:solidFill>
                  <a:prstClr val="black"/>
                </a:solidFill>
                <a:latin typeface="Arial"/>
                <a:ea typeface="ＭＳ Ｐゴシック" pitchFamily="34" charset="-128"/>
              </a:rPr>
              <a:t>Year established</a:t>
            </a:r>
          </a:p>
          <a:p>
            <a:pPr marL="0" lvl="6" indent="0" defTabSz="1218926">
              <a:spcBef>
                <a:spcPts val="2200"/>
              </a:spcBef>
              <a:spcAft>
                <a:spcPts val="0"/>
              </a:spcAft>
              <a:buNone/>
              <a:tabLst>
                <a:tab pos="809463" algn="l"/>
              </a:tabLst>
            </a:pPr>
            <a:endParaRPr lang="en-US" dirty="0">
              <a:solidFill>
                <a:prstClr val="black"/>
              </a:solidFill>
              <a:latin typeface="Arial"/>
              <a:ea typeface="ＭＳ Ｐゴシック" pitchFamily="34" charset="-128"/>
            </a:endParaRPr>
          </a:p>
          <a:p>
            <a:pPr defTabSz="1218926">
              <a:spcBef>
                <a:spcPts val="1200"/>
              </a:spcBef>
              <a:buClr>
                <a:srgbClr val="4D4D4D"/>
              </a:buClr>
            </a:pPr>
            <a:r>
              <a:rPr lang="pt-BR" dirty="0">
                <a:solidFill>
                  <a:prstClr val="black"/>
                </a:solidFill>
                <a:latin typeface="Arial"/>
                <a:ea typeface="ＭＳ Ｐゴシック" pitchFamily="34" charset="-128"/>
              </a:rPr>
              <a:t>ISO 17025, SRCC, VKF, CBTL</a:t>
            </a:r>
            <a:r>
              <a:rPr lang="pt-BR" dirty="0">
                <a:solidFill>
                  <a:prstClr val="black"/>
                </a:solidFill>
                <a:latin typeface="Arial"/>
              </a:rPr>
              <a:t>, CEC, MCS, NRTL</a:t>
            </a:r>
          </a:p>
          <a:p>
            <a:pPr marL="0" lvl="6" indent="0" defTabSz="1218926">
              <a:spcBef>
                <a:spcPts val="600"/>
              </a:spcBef>
              <a:spcAft>
                <a:spcPts val="0"/>
              </a:spcAft>
              <a:buNone/>
              <a:tabLst>
                <a:tab pos="809463" algn="l"/>
              </a:tabLst>
            </a:pPr>
            <a:endParaRPr lang="en-US" dirty="0">
              <a:solidFill>
                <a:prstClr val="black"/>
              </a:solidFill>
              <a:latin typeface="Arial"/>
            </a:endParaRPr>
          </a:p>
        </p:txBody>
      </p:sp>
      <p:sp>
        <p:nvSpPr>
          <p:cNvPr id="12" name="Inhaltsplatzhalter 27"/>
          <p:cNvSpPr txBox="1">
            <a:spLocks/>
          </p:cNvSpPr>
          <p:nvPr>
            <p:custDataLst>
              <p:tags r:id="rId3"/>
            </p:custDataLst>
          </p:nvPr>
        </p:nvSpPr>
        <p:spPr>
          <a:xfrm>
            <a:off x="6239987" y="1773153"/>
            <a:ext cx="1173406" cy="3705360"/>
          </a:xfrm>
          <a:prstGeom prst="rect">
            <a:avLst/>
          </a:prstGeom>
        </p:spPr>
        <p:txBody>
          <a:bodyPr lIns="0" tIns="0" rIns="0" bIns="0">
            <a:noAutofit/>
          </a:bodyPr>
          <a:lstStyle>
            <a:lvl1pPr marL="0" indent="0" algn="l" defTabSz="1219170" rtl="0" eaLnBrk="1" latinLnBrk="0" hangingPunct="1">
              <a:lnSpc>
                <a:spcPct val="100000"/>
              </a:lnSpc>
              <a:spcBef>
                <a:spcPts val="0"/>
              </a:spcBef>
              <a:spcAft>
                <a:spcPts val="600"/>
              </a:spcAft>
              <a:buClr>
                <a:schemeClr val="tx2"/>
              </a:buClr>
              <a:buFont typeface="Wingdings" panose="05000000000000000000" pitchFamily="2" charset="2"/>
              <a:buNone/>
              <a:defRPr sz="1400" kern="1200" cap="all" baseline="0">
                <a:solidFill>
                  <a:schemeClr val="tx2"/>
                </a:solidFill>
                <a:latin typeface="+mn-lt"/>
                <a:ea typeface="+mn-ea"/>
                <a:cs typeface="+mn-cs"/>
              </a:defRPr>
            </a:lvl1pPr>
            <a:lvl2pPr marL="0" indent="0" algn="l" defTabSz="1219170" rtl="0" eaLnBrk="1" latinLnBrk="0" hangingPunct="1">
              <a:lnSpc>
                <a:spcPct val="100000"/>
              </a:lnSpc>
              <a:spcBef>
                <a:spcPts val="0"/>
              </a:spcBef>
              <a:spcAft>
                <a:spcPts val="600"/>
              </a:spcAft>
              <a:buClr>
                <a:schemeClr val="tx2"/>
              </a:buClr>
              <a:buFont typeface="Wingdings" panose="05000000000000000000" pitchFamily="2" charset="2"/>
              <a:buNone/>
              <a:defRPr sz="1400" kern="1200">
                <a:solidFill>
                  <a:schemeClr val="tx1"/>
                </a:solidFill>
                <a:latin typeface="+mn-lt"/>
                <a:ea typeface="+mn-ea"/>
                <a:cs typeface="+mn-cs"/>
              </a:defRPr>
            </a:lvl2pPr>
            <a:lvl3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3pPr>
            <a:lvl4pPr marL="36000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9pPr>
          </a:lstStyle>
          <a:p>
            <a:pPr marL="0" lvl="6" indent="0" algn="r" defTabSz="1218926">
              <a:spcBef>
                <a:spcPts val="600"/>
              </a:spcBef>
              <a:spcAft>
                <a:spcPts val="0"/>
              </a:spcAft>
              <a:buNone/>
              <a:tabLst>
                <a:tab pos="809463" algn="l"/>
              </a:tabLst>
            </a:pPr>
            <a:r>
              <a:rPr lang="en-US" dirty="0">
                <a:solidFill>
                  <a:srgbClr val="0070C0"/>
                </a:solidFill>
                <a:latin typeface="Arial"/>
              </a:rPr>
              <a:t>1,500 m</a:t>
            </a:r>
            <a:r>
              <a:rPr lang="en-US" baseline="30000" dirty="0">
                <a:solidFill>
                  <a:srgbClr val="0070C0"/>
                </a:solidFill>
                <a:latin typeface="Arial"/>
              </a:rPr>
              <a:t>2</a:t>
            </a:r>
            <a:r>
              <a:rPr lang="en-US" dirty="0">
                <a:solidFill>
                  <a:srgbClr val="0070C0"/>
                </a:solidFill>
                <a:latin typeface="Arial"/>
              </a:rPr>
              <a:t> </a:t>
            </a:r>
          </a:p>
          <a:p>
            <a:pPr marL="0" lvl="6" indent="0" algn="r" defTabSz="1218926">
              <a:spcBef>
                <a:spcPts val="600"/>
              </a:spcBef>
              <a:spcAft>
                <a:spcPts val="0"/>
              </a:spcAft>
              <a:buNone/>
              <a:tabLst>
                <a:tab pos="809463" algn="l"/>
              </a:tabLst>
            </a:pPr>
            <a:endParaRPr lang="en-US" sz="600" dirty="0">
              <a:solidFill>
                <a:srgbClr val="4D4D4D"/>
              </a:solidFill>
              <a:latin typeface="Arial"/>
            </a:endParaRPr>
          </a:p>
          <a:p>
            <a:pPr marL="0" lvl="6" indent="0" algn="r" defTabSz="1218926">
              <a:spcBef>
                <a:spcPts val="600"/>
              </a:spcBef>
              <a:spcAft>
                <a:spcPts val="0"/>
              </a:spcAft>
              <a:buNone/>
              <a:tabLst>
                <a:tab pos="809463" algn="l"/>
              </a:tabLst>
            </a:pPr>
            <a:r>
              <a:rPr lang="en-US" dirty="0">
                <a:solidFill>
                  <a:srgbClr val="0070C0"/>
                </a:solidFill>
                <a:latin typeface="Arial"/>
              </a:rPr>
              <a:t>Categories</a:t>
            </a:r>
            <a:r>
              <a:rPr lang="en-US" dirty="0">
                <a:solidFill>
                  <a:srgbClr val="4D4D4D"/>
                </a:solidFill>
                <a:latin typeface="Arial"/>
              </a:rPr>
              <a:t>  </a:t>
            </a:r>
          </a:p>
          <a:p>
            <a:pPr marL="0" lvl="6" indent="0" algn="r" defTabSz="1218926">
              <a:spcBef>
                <a:spcPts val="600"/>
              </a:spcBef>
              <a:spcAft>
                <a:spcPts val="0"/>
              </a:spcAft>
              <a:buNone/>
              <a:tabLst>
                <a:tab pos="809463" algn="l"/>
              </a:tabLst>
            </a:pPr>
            <a:endParaRPr lang="en-US" sz="900" dirty="0">
              <a:solidFill>
                <a:srgbClr val="4D4D4D"/>
              </a:solidFill>
              <a:latin typeface="Arial"/>
            </a:endParaRPr>
          </a:p>
          <a:p>
            <a:pPr marL="0" lvl="6" indent="0" algn="r" defTabSz="1218926">
              <a:spcBef>
                <a:spcPts val="600"/>
              </a:spcBef>
              <a:spcAft>
                <a:spcPts val="0"/>
              </a:spcAft>
              <a:buNone/>
              <a:tabLst>
                <a:tab pos="809463" algn="l"/>
              </a:tabLst>
            </a:pPr>
            <a:r>
              <a:rPr lang="en-US" sz="2799" dirty="0">
                <a:solidFill>
                  <a:srgbClr val="0070C0"/>
                </a:solidFill>
                <a:highlight>
                  <a:srgbClr val="FFFF00"/>
                </a:highlight>
                <a:latin typeface="Arial"/>
              </a:rPr>
              <a:t>1982</a:t>
            </a:r>
          </a:p>
          <a:p>
            <a:pPr marL="0" lvl="6" indent="0" algn="r" defTabSz="1218926">
              <a:spcBef>
                <a:spcPts val="600"/>
              </a:spcBef>
              <a:spcAft>
                <a:spcPts val="0"/>
              </a:spcAft>
              <a:buNone/>
              <a:tabLst>
                <a:tab pos="809463" algn="l"/>
              </a:tabLst>
            </a:pPr>
            <a:endParaRPr lang="en-US" sz="2000" dirty="0">
              <a:solidFill>
                <a:srgbClr val="4D4D4D"/>
              </a:solidFill>
              <a:latin typeface="Arial"/>
            </a:endParaRPr>
          </a:p>
          <a:p>
            <a:pPr marL="0" lvl="6" indent="0" algn="r" defTabSz="1218926">
              <a:spcBef>
                <a:spcPts val="600"/>
              </a:spcBef>
              <a:spcAft>
                <a:spcPts val="0"/>
              </a:spcAft>
              <a:buNone/>
              <a:tabLst>
                <a:tab pos="809463" algn="l"/>
              </a:tabLst>
            </a:pPr>
            <a:r>
              <a:rPr lang="en-US" dirty="0">
                <a:solidFill>
                  <a:srgbClr val="0070C0"/>
                </a:solidFill>
                <a:latin typeface="Arial"/>
              </a:rPr>
              <a:t>Accreditations</a:t>
            </a:r>
          </a:p>
          <a:p>
            <a:pPr marL="0" lvl="6" indent="0" algn="r" defTabSz="1218926">
              <a:spcBef>
                <a:spcPts val="600"/>
              </a:spcBef>
              <a:spcAft>
                <a:spcPts val="0"/>
              </a:spcAft>
              <a:buNone/>
              <a:tabLst>
                <a:tab pos="809463" algn="l"/>
              </a:tabLst>
            </a:pPr>
            <a:r>
              <a:rPr lang="en-US" dirty="0">
                <a:solidFill>
                  <a:srgbClr val="4D4D4D"/>
                </a:solidFill>
                <a:latin typeface="Arial"/>
              </a:rPr>
              <a:t> </a:t>
            </a:r>
          </a:p>
        </p:txBody>
      </p:sp>
      <p:sp>
        <p:nvSpPr>
          <p:cNvPr id="15" name="Slide Number Placeholder 14"/>
          <p:cNvSpPr>
            <a:spLocks noGrp="1"/>
          </p:cNvSpPr>
          <p:nvPr>
            <p:ph type="sldNum" sz="quarter" idx="12"/>
          </p:nvPr>
        </p:nvSpPr>
        <p:spPr/>
        <p:txBody>
          <a:bodyPr/>
          <a:lstStyle/>
          <a:p>
            <a:pPr defTabSz="1218926"/>
            <a:fld id="{4915BD61-E5D5-4E4F-ADA0-6F3448AB9FA6}" type="slidenum">
              <a:rPr lang="en-US">
                <a:solidFill>
                  <a:prstClr val="black"/>
                </a:solidFill>
                <a:latin typeface="Arial"/>
              </a:rPr>
              <a:pPr defTabSz="1218926"/>
              <a:t>61</a:t>
            </a:fld>
            <a:endParaRPr lang="en-US" dirty="0">
              <a:solidFill>
                <a:prstClr val="black"/>
              </a:solidFill>
              <a:latin typeface="Arial"/>
            </a:endParaRPr>
          </a:p>
        </p:txBody>
      </p:sp>
      <p:pic>
        <p:nvPicPr>
          <p:cNvPr id="18" name="Picture 17"/>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239636" y="4201970"/>
            <a:ext cx="2629658" cy="1746797"/>
          </a:xfrm>
          <a:prstGeom prst="rect">
            <a:avLst/>
          </a:prstGeom>
        </p:spPr>
      </p:pic>
      <p:pic>
        <p:nvPicPr>
          <p:cNvPr id="19" name="Picture 18"/>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9037049" y="4201970"/>
            <a:ext cx="2619271" cy="1746797"/>
          </a:xfrm>
          <a:prstGeom prst="rect">
            <a:avLst/>
          </a:prstGeom>
        </p:spPr>
      </p:pic>
      <p:sp>
        <p:nvSpPr>
          <p:cNvPr id="4" name="Fußzeilenplatzhalter 3"/>
          <p:cNvSpPr>
            <a:spLocks noGrp="1"/>
          </p:cNvSpPr>
          <p:nvPr>
            <p:ph type="ftr" sz="quarter" idx="11"/>
          </p:nvPr>
        </p:nvSpPr>
        <p:spPr/>
        <p:txBody>
          <a:bodyPr/>
          <a:lstStyle/>
          <a:p>
            <a:pPr defTabSz="1218926"/>
            <a:r>
              <a:rPr lang="en-US">
                <a:solidFill>
                  <a:prstClr val="black"/>
                </a:solidFill>
                <a:latin typeface="Arial"/>
              </a:rPr>
              <a:t>TÜV Rheinland's Solar Business</a:t>
            </a:r>
            <a:endParaRPr lang="en-US" dirty="0">
              <a:solidFill>
                <a:prstClr val="black"/>
              </a:solidFill>
              <a:latin typeface="Arial"/>
            </a:endParaRPr>
          </a:p>
        </p:txBody>
      </p:sp>
    </p:spTree>
    <p:extLst>
      <p:ext uri="{BB962C8B-B14F-4D97-AF65-F5344CB8AC3E}">
        <p14:creationId xmlns:p14="http://schemas.microsoft.com/office/powerpoint/2010/main" val="151931139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TÜV Rheinland Global PV Testing Network.</a:t>
            </a:r>
            <a:br>
              <a:rPr lang="de-DE" dirty="0"/>
            </a:br>
            <a:endParaRPr lang="en-US" dirty="0"/>
          </a:p>
        </p:txBody>
      </p:sp>
      <p:sp>
        <p:nvSpPr>
          <p:cNvPr id="3" name="Date Placeholder 2"/>
          <p:cNvSpPr>
            <a:spLocks noGrp="1"/>
          </p:cNvSpPr>
          <p:nvPr>
            <p:ph type="dt" sz="half" idx="10"/>
          </p:nvPr>
        </p:nvSpPr>
        <p:spPr/>
        <p:txBody>
          <a:bodyPr/>
          <a:lstStyle/>
          <a:p>
            <a:pPr defTabSz="1218926"/>
            <a:fld id="{E71BAD36-74C9-4EAD-82E2-B004E977DF66}" type="datetime1">
              <a:rPr lang="en-US">
                <a:solidFill>
                  <a:prstClr val="black"/>
                </a:solidFill>
                <a:latin typeface="Arial"/>
              </a:rPr>
              <a:pPr defTabSz="1218926"/>
              <a:t>10/22/2024</a:t>
            </a:fld>
            <a:endParaRPr lang="en-US" dirty="0">
              <a:solidFill>
                <a:prstClr val="black"/>
              </a:solidFill>
              <a:latin typeface="Arial"/>
            </a:endParaRPr>
          </a:p>
        </p:txBody>
      </p:sp>
      <p:sp>
        <p:nvSpPr>
          <p:cNvPr id="8" name="Text Placeholder 7"/>
          <p:cNvSpPr>
            <a:spLocks noGrp="1"/>
          </p:cNvSpPr>
          <p:nvPr>
            <p:ph type="body" sz="quarter" idx="13"/>
          </p:nvPr>
        </p:nvSpPr>
        <p:spPr/>
        <p:txBody>
          <a:bodyPr/>
          <a:lstStyle/>
          <a:p>
            <a:r>
              <a:rPr lang="en-US" dirty="0">
                <a:solidFill>
                  <a:schemeClr val="dk2"/>
                </a:solidFill>
              </a:rPr>
              <a:t>MAINLAND CHINA</a:t>
            </a:r>
            <a:endParaRPr lang="de-DE" altLang="zh-CN" dirty="0">
              <a:solidFill>
                <a:schemeClr val="dk2"/>
              </a:solidFill>
            </a:endParaRPr>
          </a:p>
        </p:txBody>
      </p:sp>
      <p:sp>
        <p:nvSpPr>
          <p:cNvPr id="10" name="Rechteck 43"/>
          <p:cNvSpPr/>
          <p:nvPr>
            <p:custDataLst>
              <p:tags r:id="rId1"/>
            </p:custDataLst>
          </p:nvPr>
        </p:nvSpPr>
        <p:spPr>
          <a:xfrm>
            <a:off x="552563" y="5311920"/>
            <a:ext cx="3527184" cy="3239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07975" tIns="89979" rIns="107975" bIns="89979" rtlCol="0" anchor="ctr">
            <a:noAutofit/>
          </a:bodyPr>
          <a:lstStyle/>
          <a:p>
            <a:pPr defTabSz="1218926"/>
            <a:r>
              <a:rPr lang="en-US" sz="1400" b="1" dirty="0">
                <a:solidFill>
                  <a:prstClr val="white"/>
                </a:solidFill>
                <a:latin typeface="Arial"/>
              </a:rPr>
              <a:t>Shanghai/Taicang</a:t>
            </a:r>
          </a:p>
        </p:txBody>
      </p:sp>
      <p:sp>
        <p:nvSpPr>
          <p:cNvPr id="11" name="Inhaltsplatzhalter 27"/>
          <p:cNvSpPr txBox="1">
            <a:spLocks/>
          </p:cNvSpPr>
          <p:nvPr>
            <p:custDataLst>
              <p:tags r:id="rId2"/>
            </p:custDataLst>
          </p:nvPr>
        </p:nvSpPr>
        <p:spPr>
          <a:xfrm>
            <a:off x="7931318" y="1600684"/>
            <a:ext cx="4031201" cy="917185"/>
          </a:xfrm>
          <a:prstGeom prst="rect">
            <a:avLst/>
          </a:prstGeom>
        </p:spPr>
        <p:txBody>
          <a:bodyPr lIns="0" tIns="0" rIns="0" bIns="0">
            <a:noAutofit/>
          </a:bodyPr>
          <a:lstStyle>
            <a:lvl1pPr marL="0" indent="0" algn="l" defTabSz="1219170" rtl="0" eaLnBrk="1" latinLnBrk="0" hangingPunct="1">
              <a:lnSpc>
                <a:spcPct val="100000"/>
              </a:lnSpc>
              <a:spcBef>
                <a:spcPts val="0"/>
              </a:spcBef>
              <a:spcAft>
                <a:spcPts val="600"/>
              </a:spcAft>
              <a:buClr>
                <a:schemeClr val="tx2"/>
              </a:buClr>
              <a:buFont typeface="Wingdings" panose="05000000000000000000" pitchFamily="2" charset="2"/>
              <a:buNone/>
              <a:defRPr sz="1400" kern="1200" cap="all" baseline="0">
                <a:solidFill>
                  <a:schemeClr val="tx2"/>
                </a:solidFill>
                <a:latin typeface="+mn-lt"/>
                <a:ea typeface="+mn-ea"/>
                <a:cs typeface="+mn-cs"/>
              </a:defRPr>
            </a:lvl1pPr>
            <a:lvl2pPr marL="0" indent="0" algn="l" defTabSz="1219170" rtl="0" eaLnBrk="1" latinLnBrk="0" hangingPunct="1">
              <a:lnSpc>
                <a:spcPct val="100000"/>
              </a:lnSpc>
              <a:spcBef>
                <a:spcPts val="0"/>
              </a:spcBef>
              <a:spcAft>
                <a:spcPts val="600"/>
              </a:spcAft>
              <a:buClr>
                <a:schemeClr val="tx2"/>
              </a:buClr>
              <a:buFont typeface="Wingdings" panose="05000000000000000000" pitchFamily="2" charset="2"/>
              <a:buNone/>
              <a:defRPr sz="1400" kern="1200">
                <a:solidFill>
                  <a:schemeClr val="tx1"/>
                </a:solidFill>
                <a:latin typeface="+mn-lt"/>
                <a:ea typeface="+mn-ea"/>
                <a:cs typeface="+mn-cs"/>
              </a:defRPr>
            </a:lvl2pPr>
            <a:lvl3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3pPr>
            <a:lvl4pPr marL="36000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9pPr>
          </a:lstStyle>
          <a:p>
            <a:pPr marL="0" lvl="6" indent="0" defTabSz="1218926">
              <a:spcBef>
                <a:spcPts val="600"/>
              </a:spcBef>
              <a:spcAft>
                <a:spcPts val="0"/>
              </a:spcAft>
              <a:buNone/>
              <a:tabLst>
                <a:tab pos="809463" algn="l"/>
              </a:tabLst>
            </a:pPr>
            <a:r>
              <a:rPr lang="en-US" dirty="0">
                <a:solidFill>
                  <a:prstClr val="black"/>
                </a:solidFill>
                <a:latin typeface="Arial"/>
              </a:rPr>
              <a:t>Testing area</a:t>
            </a:r>
          </a:p>
          <a:p>
            <a:pPr marL="0" lvl="6" indent="0" defTabSz="1218926">
              <a:spcBef>
                <a:spcPts val="600"/>
              </a:spcBef>
              <a:spcAft>
                <a:spcPts val="0"/>
              </a:spcAft>
              <a:buNone/>
              <a:tabLst>
                <a:tab pos="809463" algn="l"/>
              </a:tabLst>
            </a:pPr>
            <a:endParaRPr lang="en-US" dirty="0">
              <a:solidFill>
                <a:prstClr val="black"/>
              </a:solidFill>
              <a:latin typeface="Arial"/>
            </a:endParaRPr>
          </a:p>
          <a:p>
            <a:pPr marL="0" lvl="6" indent="0" defTabSz="1218926">
              <a:spcBef>
                <a:spcPts val="600"/>
              </a:spcBef>
              <a:spcAft>
                <a:spcPts val="0"/>
              </a:spcAft>
              <a:buNone/>
              <a:tabLst>
                <a:tab pos="809463" algn="l"/>
              </a:tabLst>
            </a:pPr>
            <a:endParaRPr lang="en-US" sz="600" dirty="0">
              <a:solidFill>
                <a:prstClr val="black"/>
              </a:solidFill>
              <a:latin typeface="Arial"/>
            </a:endParaRPr>
          </a:p>
          <a:p>
            <a:pPr marL="0" lvl="6" indent="0" defTabSz="1218926">
              <a:spcBef>
                <a:spcPts val="600"/>
              </a:spcBef>
              <a:spcAft>
                <a:spcPts val="0"/>
              </a:spcAft>
              <a:buNone/>
              <a:tabLst>
                <a:tab pos="809463" algn="l"/>
              </a:tabLst>
            </a:pPr>
            <a:r>
              <a:rPr lang="en-US" dirty="0">
                <a:solidFill>
                  <a:prstClr val="black"/>
                </a:solidFill>
                <a:latin typeface="Arial"/>
                <a:ea typeface="ＭＳ Ｐゴシック" pitchFamily="34" charset="-128"/>
              </a:rPr>
              <a:t>PV modules, components, inverters, ESS, PV trackers</a:t>
            </a:r>
          </a:p>
          <a:p>
            <a:pPr marL="0" lvl="6" indent="0" defTabSz="1218926">
              <a:spcBef>
                <a:spcPts val="600"/>
              </a:spcBef>
              <a:spcAft>
                <a:spcPts val="0"/>
              </a:spcAft>
              <a:buNone/>
              <a:tabLst>
                <a:tab pos="809463" algn="l"/>
              </a:tabLst>
            </a:pPr>
            <a:endParaRPr lang="en-US" dirty="0">
              <a:solidFill>
                <a:prstClr val="black"/>
              </a:solidFill>
              <a:latin typeface="Arial"/>
              <a:ea typeface="ＭＳ Ｐゴシック" pitchFamily="34" charset="-128"/>
            </a:endParaRPr>
          </a:p>
          <a:p>
            <a:pPr marL="0" lvl="6" indent="0" defTabSz="1218926">
              <a:spcBef>
                <a:spcPts val="600"/>
              </a:spcBef>
              <a:spcAft>
                <a:spcPts val="0"/>
              </a:spcAft>
              <a:buNone/>
              <a:tabLst>
                <a:tab pos="809463" algn="l"/>
              </a:tabLst>
            </a:pPr>
            <a:endParaRPr lang="en-US" dirty="0">
              <a:solidFill>
                <a:prstClr val="black"/>
              </a:solidFill>
              <a:latin typeface="Arial"/>
              <a:ea typeface="ＭＳ Ｐゴシック" pitchFamily="34" charset="-128"/>
            </a:endParaRPr>
          </a:p>
          <a:p>
            <a:pPr marL="0" lvl="6" indent="0" defTabSz="1218926">
              <a:spcBef>
                <a:spcPts val="600"/>
              </a:spcBef>
              <a:spcAft>
                <a:spcPts val="0"/>
              </a:spcAft>
              <a:buNone/>
              <a:tabLst>
                <a:tab pos="809463" algn="l"/>
              </a:tabLst>
            </a:pPr>
            <a:endParaRPr lang="en-US" dirty="0">
              <a:solidFill>
                <a:prstClr val="black"/>
              </a:solidFill>
              <a:latin typeface="Arial"/>
            </a:endParaRPr>
          </a:p>
        </p:txBody>
      </p:sp>
      <p:sp>
        <p:nvSpPr>
          <p:cNvPr id="12" name="Inhaltsplatzhalter 27"/>
          <p:cNvSpPr txBox="1">
            <a:spLocks/>
          </p:cNvSpPr>
          <p:nvPr>
            <p:custDataLst>
              <p:tags r:id="rId3"/>
            </p:custDataLst>
          </p:nvPr>
        </p:nvSpPr>
        <p:spPr>
          <a:xfrm>
            <a:off x="6166131" y="1485180"/>
            <a:ext cx="1538613" cy="3705360"/>
          </a:xfrm>
          <a:prstGeom prst="rect">
            <a:avLst/>
          </a:prstGeom>
        </p:spPr>
        <p:txBody>
          <a:bodyPr lIns="0" tIns="0" rIns="0" bIns="0">
            <a:noAutofit/>
          </a:bodyPr>
          <a:lstStyle>
            <a:lvl1pPr marL="0" indent="0" algn="l" defTabSz="1219170" rtl="0" eaLnBrk="1" latinLnBrk="0" hangingPunct="1">
              <a:lnSpc>
                <a:spcPct val="100000"/>
              </a:lnSpc>
              <a:spcBef>
                <a:spcPts val="0"/>
              </a:spcBef>
              <a:spcAft>
                <a:spcPts val="600"/>
              </a:spcAft>
              <a:buClr>
                <a:schemeClr val="tx2"/>
              </a:buClr>
              <a:buFont typeface="Wingdings" panose="05000000000000000000" pitchFamily="2" charset="2"/>
              <a:buNone/>
              <a:defRPr sz="1400" kern="1200" cap="all" baseline="0">
                <a:solidFill>
                  <a:schemeClr val="tx2"/>
                </a:solidFill>
                <a:latin typeface="+mn-lt"/>
                <a:ea typeface="+mn-ea"/>
                <a:cs typeface="+mn-cs"/>
              </a:defRPr>
            </a:lvl1pPr>
            <a:lvl2pPr marL="0" indent="0" algn="l" defTabSz="1219170" rtl="0" eaLnBrk="1" latinLnBrk="0" hangingPunct="1">
              <a:lnSpc>
                <a:spcPct val="100000"/>
              </a:lnSpc>
              <a:spcBef>
                <a:spcPts val="0"/>
              </a:spcBef>
              <a:spcAft>
                <a:spcPts val="600"/>
              </a:spcAft>
              <a:buClr>
                <a:schemeClr val="tx2"/>
              </a:buClr>
              <a:buFont typeface="Wingdings" panose="05000000000000000000" pitchFamily="2" charset="2"/>
              <a:buNone/>
              <a:defRPr sz="1400" kern="1200">
                <a:solidFill>
                  <a:schemeClr val="tx1"/>
                </a:solidFill>
                <a:latin typeface="+mn-lt"/>
                <a:ea typeface="+mn-ea"/>
                <a:cs typeface="+mn-cs"/>
              </a:defRPr>
            </a:lvl2pPr>
            <a:lvl3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3pPr>
            <a:lvl4pPr marL="36000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9pPr>
          </a:lstStyle>
          <a:p>
            <a:pPr marL="0" lvl="6" indent="0" algn="r" defTabSz="1218926">
              <a:spcBef>
                <a:spcPts val="600"/>
              </a:spcBef>
              <a:spcAft>
                <a:spcPts val="0"/>
              </a:spcAft>
              <a:buNone/>
              <a:tabLst>
                <a:tab pos="809463" algn="l"/>
              </a:tabLst>
            </a:pPr>
            <a:r>
              <a:rPr lang="en-US" sz="2799" dirty="0">
                <a:solidFill>
                  <a:srgbClr val="0070C0"/>
                </a:solidFill>
                <a:highlight>
                  <a:srgbClr val="FFFF00"/>
                </a:highlight>
                <a:latin typeface="Arial"/>
              </a:rPr>
              <a:t>5,000 m</a:t>
            </a:r>
            <a:r>
              <a:rPr lang="en-US" sz="2799" baseline="30000" dirty="0">
                <a:solidFill>
                  <a:srgbClr val="0070C0"/>
                </a:solidFill>
                <a:highlight>
                  <a:srgbClr val="FFFF00"/>
                </a:highlight>
                <a:latin typeface="Arial"/>
              </a:rPr>
              <a:t>2</a:t>
            </a:r>
            <a:r>
              <a:rPr lang="en-US" sz="2799" dirty="0">
                <a:solidFill>
                  <a:srgbClr val="0070C0"/>
                </a:solidFill>
                <a:highlight>
                  <a:srgbClr val="FFFF00"/>
                </a:highlight>
                <a:latin typeface="Arial"/>
              </a:rPr>
              <a:t> </a:t>
            </a:r>
          </a:p>
          <a:p>
            <a:pPr marL="0" lvl="6" indent="0" algn="r" defTabSz="1218926">
              <a:spcBef>
                <a:spcPts val="600"/>
              </a:spcBef>
              <a:spcAft>
                <a:spcPts val="0"/>
              </a:spcAft>
              <a:buNone/>
              <a:tabLst>
                <a:tab pos="809463" algn="l"/>
              </a:tabLst>
            </a:pPr>
            <a:endParaRPr lang="en-US" sz="2400" dirty="0">
              <a:solidFill>
                <a:srgbClr val="4D4D4D"/>
              </a:solidFill>
              <a:latin typeface="Arial"/>
            </a:endParaRPr>
          </a:p>
          <a:p>
            <a:pPr marL="0" lvl="6" indent="0" algn="r" defTabSz="1218926">
              <a:spcBef>
                <a:spcPts val="600"/>
              </a:spcBef>
              <a:spcAft>
                <a:spcPts val="0"/>
              </a:spcAft>
              <a:buNone/>
              <a:tabLst>
                <a:tab pos="809463" algn="l"/>
              </a:tabLst>
            </a:pPr>
            <a:r>
              <a:rPr lang="en-US" dirty="0">
                <a:solidFill>
                  <a:srgbClr val="0070C0"/>
                </a:solidFill>
                <a:latin typeface="Arial"/>
              </a:rPr>
              <a:t>Categories</a:t>
            </a:r>
            <a:r>
              <a:rPr lang="en-US" dirty="0">
                <a:solidFill>
                  <a:srgbClr val="4D4D4D"/>
                </a:solidFill>
                <a:latin typeface="Arial"/>
              </a:rPr>
              <a:t> </a:t>
            </a:r>
            <a:br>
              <a:rPr lang="en-US" sz="900" dirty="0">
                <a:solidFill>
                  <a:srgbClr val="4D4D4D"/>
                </a:solidFill>
                <a:latin typeface="Arial"/>
              </a:rPr>
            </a:br>
            <a:endParaRPr lang="en-US" sz="900" dirty="0">
              <a:solidFill>
                <a:srgbClr val="4D4D4D"/>
              </a:solidFill>
              <a:latin typeface="Arial"/>
            </a:endParaRPr>
          </a:p>
          <a:p>
            <a:pPr marL="0" lvl="6" indent="0" algn="r" defTabSz="1218926">
              <a:spcBef>
                <a:spcPts val="1800"/>
              </a:spcBef>
              <a:spcAft>
                <a:spcPts val="0"/>
              </a:spcAft>
              <a:buNone/>
              <a:tabLst>
                <a:tab pos="809463" algn="l"/>
              </a:tabLst>
            </a:pPr>
            <a:r>
              <a:rPr lang="en-US" dirty="0">
                <a:solidFill>
                  <a:srgbClr val="0070C0"/>
                </a:solidFill>
                <a:latin typeface="Arial"/>
              </a:rPr>
              <a:t>2007</a:t>
            </a:r>
          </a:p>
          <a:p>
            <a:pPr marL="0" lvl="6" indent="0" algn="r" defTabSz="1218926">
              <a:spcBef>
                <a:spcPts val="600"/>
              </a:spcBef>
              <a:spcAft>
                <a:spcPts val="0"/>
              </a:spcAft>
              <a:buNone/>
              <a:tabLst>
                <a:tab pos="809463" algn="l"/>
              </a:tabLst>
            </a:pPr>
            <a:br>
              <a:rPr lang="en-US" dirty="0">
                <a:solidFill>
                  <a:srgbClr val="4D4D4D"/>
                </a:solidFill>
                <a:latin typeface="Arial"/>
              </a:rPr>
            </a:br>
            <a:r>
              <a:rPr lang="en-US" altLang="zh-CN" dirty="0">
                <a:solidFill>
                  <a:srgbClr val="0070C0"/>
                </a:solidFill>
                <a:latin typeface="Arial"/>
              </a:rPr>
              <a:t>Accreditation</a:t>
            </a:r>
            <a:r>
              <a:rPr lang="en-US" dirty="0">
                <a:solidFill>
                  <a:srgbClr val="4D4D4D"/>
                </a:solidFill>
                <a:latin typeface="Arial"/>
              </a:rPr>
              <a:t> </a:t>
            </a:r>
          </a:p>
          <a:p>
            <a:pPr marL="0" lvl="6" indent="0" algn="r" defTabSz="1218926">
              <a:spcBef>
                <a:spcPts val="600"/>
              </a:spcBef>
              <a:spcAft>
                <a:spcPts val="0"/>
              </a:spcAft>
              <a:buNone/>
              <a:tabLst>
                <a:tab pos="809463" algn="l"/>
              </a:tabLst>
            </a:pPr>
            <a:r>
              <a:rPr lang="en-US" dirty="0">
                <a:solidFill>
                  <a:srgbClr val="4D4D4D"/>
                </a:solidFill>
                <a:latin typeface="Arial"/>
              </a:rPr>
              <a:t> </a:t>
            </a:r>
          </a:p>
        </p:txBody>
      </p:sp>
      <p:sp>
        <p:nvSpPr>
          <p:cNvPr id="15" name="Slide Number Placeholder 14"/>
          <p:cNvSpPr>
            <a:spLocks noGrp="1"/>
          </p:cNvSpPr>
          <p:nvPr>
            <p:ph type="sldNum" sz="quarter" idx="12"/>
          </p:nvPr>
        </p:nvSpPr>
        <p:spPr/>
        <p:txBody>
          <a:bodyPr/>
          <a:lstStyle/>
          <a:p>
            <a:pPr defTabSz="1218926"/>
            <a:fld id="{4915BD61-E5D5-4E4F-ADA0-6F3448AB9FA6}" type="slidenum">
              <a:rPr lang="en-US">
                <a:solidFill>
                  <a:prstClr val="black"/>
                </a:solidFill>
                <a:latin typeface="Arial"/>
              </a:rPr>
              <a:pPr defTabSz="1218926"/>
              <a:t>62</a:t>
            </a:fld>
            <a:endParaRPr lang="en-US" dirty="0">
              <a:solidFill>
                <a:prstClr val="black"/>
              </a:solidFill>
              <a:latin typeface="Arial"/>
            </a:endParaRPr>
          </a:p>
        </p:txBody>
      </p:sp>
      <p:sp>
        <p:nvSpPr>
          <p:cNvPr id="4" name="Fußzeilenplatzhalter 3"/>
          <p:cNvSpPr>
            <a:spLocks noGrp="1"/>
          </p:cNvSpPr>
          <p:nvPr>
            <p:ph type="ftr" sz="quarter" idx="11"/>
          </p:nvPr>
        </p:nvSpPr>
        <p:spPr/>
        <p:txBody>
          <a:bodyPr/>
          <a:lstStyle/>
          <a:p>
            <a:pPr defTabSz="1218926"/>
            <a:r>
              <a:rPr lang="en-US">
                <a:solidFill>
                  <a:prstClr val="black"/>
                </a:solidFill>
                <a:latin typeface="Arial"/>
              </a:rPr>
              <a:t>TÜV Rheinland's Solar Business</a:t>
            </a:r>
            <a:endParaRPr lang="en-US" dirty="0">
              <a:solidFill>
                <a:prstClr val="black"/>
              </a:solidFill>
              <a:latin typeface="Arial"/>
            </a:endParaRPr>
          </a:p>
        </p:txBody>
      </p:sp>
      <p:sp>
        <p:nvSpPr>
          <p:cNvPr id="14" name="Inhaltsplatzhalter 27"/>
          <p:cNvSpPr txBox="1">
            <a:spLocks/>
          </p:cNvSpPr>
          <p:nvPr>
            <p:custDataLst>
              <p:tags r:id="rId4"/>
            </p:custDataLst>
          </p:nvPr>
        </p:nvSpPr>
        <p:spPr>
          <a:xfrm>
            <a:off x="7931318" y="2957917"/>
            <a:ext cx="4031201" cy="220910"/>
          </a:xfrm>
          <a:prstGeom prst="rect">
            <a:avLst/>
          </a:prstGeom>
        </p:spPr>
        <p:txBody>
          <a:bodyPr lIns="0" tIns="0" rIns="0" bIns="0">
            <a:noAutofit/>
          </a:bodyPr>
          <a:lstStyle>
            <a:lvl1pPr marL="0" indent="0" algn="l" defTabSz="1219170" rtl="0" eaLnBrk="1" latinLnBrk="0" hangingPunct="1">
              <a:lnSpc>
                <a:spcPct val="100000"/>
              </a:lnSpc>
              <a:spcBef>
                <a:spcPts val="0"/>
              </a:spcBef>
              <a:spcAft>
                <a:spcPts val="600"/>
              </a:spcAft>
              <a:buClr>
                <a:schemeClr val="tx2"/>
              </a:buClr>
              <a:buFont typeface="Wingdings" panose="05000000000000000000" pitchFamily="2" charset="2"/>
              <a:buNone/>
              <a:defRPr sz="1400" kern="1200" cap="all" baseline="0">
                <a:solidFill>
                  <a:schemeClr val="tx2"/>
                </a:solidFill>
                <a:latin typeface="+mn-lt"/>
                <a:ea typeface="+mn-ea"/>
                <a:cs typeface="+mn-cs"/>
              </a:defRPr>
            </a:lvl1pPr>
            <a:lvl2pPr marL="0" indent="0" algn="l" defTabSz="1219170" rtl="0" eaLnBrk="1" latinLnBrk="0" hangingPunct="1">
              <a:lnSpc>
                <a:spcPct val="100000"/>
              </a:lnSpc>
              <a:spcBef>
                <a:spcPts val="0"/>
              </a:spcBef>
              <a:spcAft>
                <a:spcPts val="600"/>
              </a:spcAft>
              <a:buClr>
                <a:schemeClr val="tx2"/>
              </a:buClr>
              <a:buFont typeface="Wingdings" panose="05000000000000000000" pitchFamily="2" charset="2"/>
              <a:buNone/>
              <a:defRPr sz="1400" kern="1200">
                <a:solidFill>
                  <a:schemeClr val="tx1"/>
                </a:solidFill>
                <a:latin typeface="+mn-lt"/>
                <a:ea typeface="+mn-ea"/>
                <a:cs typeface="+mn-cs"/>
              </a:defRPr>
            </a:lvl2pPr>
            <a:lvl3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3pPr>
            <a:lvl4pPr marL="36000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9pPr>
          </a:lstStyle>
          <a:p>
            <a:pPr marL="0" lvl="6" indent="0" defTabSz="1218926">
              <a:spcBef>
                <a:spcPts val="600"/>
              </a:spcBef>
              <a:spcAft>
                <a:spcPts val="0"/>
              </a:spcAft>
              <a:buNone/>
              <a:tabLst>
                <a:tab pos="809463" algn="l"/>
              </a:tabLst>
            </a:pPr>
            <a:r>
              <a:rPr lang="en-US" dirty="0">
                <a:solidFill>
                  <a:prstClr val="black"/>
                </a:solidFill>
                <a:latin typeface="Arial"/>
                <a:ea typeface="ＭＳ Ｐゴシック" pitchFamily="34" charset="-128"/>
              </a:rPr>
              <a:t>Year established( Year 2022 moved to Taicang)</a:t>
            </a:r>
          </a:p>
        </p:txBody>
      </p:sp>
      <p:sp>
        <p:nvSpPr>
          <p:cNvPr id="16" name="Inhaltsplatzhalter 27"/>
          <p:cNvSpPr txBox="1">
            <a:spLocks/>
          </p:cNvSpPr>
          <p:nvPr>
            <p:custDataLst>
              <p:tags r:id="rId5"/>
            </p:custDataLst>
          </p:nvPr>
        </p:nvSpPr>
        <p:spPr>
          <a:xfrm>
            <a:off x="7918862" y="3515683"/>
            <a:ext cx="4031201" cy="243580"/>
          </a:xfrm>
          <a:prstGeom prst="rect">
            <a:avLst/>
          </a:prstGeom>
        </p:spPr>
        <p:txBody>
          <a:bodyPr lIns="0" tIns="0" rIns="0" bIns="0">
            <a:noAutofit/>
          </a:bodyPr>
          <a:lstStyle>
            <a:lvl1pPr marL="0" indent="0" algn="l" defTabSz="1219170" rtl="0" eaLnBrk="1" latinLnBrk="0" hangingPunct="1">
              <a:lnSpc>
                <a:spcPct val="100000"/>
              </a:lnSpc>
              <a:spcBef>
                <a:spcPts val="0"/>
              </a:spcBef>
              <a:spcAft>
                <a:spcPts val="600"/>
              </a:spcAft>
              <a:buClr>
                <a:schemeClr val="tx2"/>
              </a:buClr>
              <a:buFont typeface="Wingdings" panose="05000000000000000000" pitchFamily="2" charset="2"/>
              <a:buNone/>
              <a:defRPr sz="1400" kern="1200" cap="all" baseline="0">
                <a:solidFill>
                  <a:schemeClr val="tx2"/>
                </a:solidFill>
                <a:latin typeface="+mn-lt"/>
                <a:ea typeface="+mn-ea"/>
                <a:cs typeface="+mn-cs"/>
              </a:defRPr>
            </a:lvl1pPr>
            <a:lvl2pPr marL="0" indent="0" algn="l" defTabSz="1219170" rtl="0" eaLnBrk="1" latinLnBrk="0" hangingPunct="1">
              <a:lnSpc>
                <a:spcPct val="100000"/>
              </a:lnSpc>
              <a:spcBef>
                <a:spcPts val="0"/>
              </a:spcBef>
              <a:spcAft>
                <a:spcPts val="600"/>
              </a:spcAft>
              <a:buClr>
                <a:schemeClr val="tx2"/>
              </a:buClr>
              <a:buFont typeface="Wingdings" panose="05000000000000000000" pitchFamily="2" charset="2"/>
              <a:buNone/>
              <a:defRPr sz="1400" kern="1200">
                <a:solidFill>
                  <a:schemeClr val="tx1"/>
                </a:solidFill>
                <a:latin typeface="+mn-lt"/>
                <a:ea typeface="+mn-ea"/>
                <a:cs typeface="+mn-cs"/>
              </a:defRPr>
            </a:lvl2pPr>
            <a:lvl3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3pPr>
            <a:lvl4pPr marL="36000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9pPr>
          </a:lstStyle>
          <a:p>
            <a:pPr marL="0" lvl="6" indent="0" defTabSz="1218926">
              <a:spcBef>
                <a:spcPts val="600"/>
              </a:spcBef>
              <a:spcAft>
                <a:spcPts val="0"/>
              </a:spcAft>
              <a:buNone/>
              <a:tabLst>
                <a:tab pos="809463" algn="l"/>
              </a:tabLst>
            </a:pPr>
            <a:r>
              <a:rPr lang="en-US" dirty="0">
                <a:solidFill>
                  <a:prstClr val="black"/>
                </a:solidFill>
                <a:latin typeface="Arial"/>
              </a:rPr>
              <a:t>ISO 17025, CBTL, CEC, NRTL, MCS, UAE Civil Defense</a:t>
            </a:r>
            <a:endParaRPr lang="en-US" dirty="0">
              <a:solidFill>
                <a:srgbClr val="D20033"/>
              </a:solidFill>
              <a:latin typeface="Arial"/>
              <a:ea typeface="ＭＳ Ｐゴシック" pitchFamily="34" charset="-128"/>
            </a:endParaRPr>
          </a:p>
          <a:p>
            <a:pPr marL="0" lvl="6" indent="0" defTabSz="1218926">
              <a:spcBef>
                <a:spcPts val="600"/>
              </a:spcBef>
              <a:spcAft>
                <a:spcPts val="0"/>
              </a:spcAft>
              <a:buNone/>
              <a:tabLst>
                <a:tab pos="809463" algn="l"/>
              </a:tabLst>
            </a:pPr>
            <a:endParaRPr lang="en-US" sz="1000" dirty="0">
              <a:solidFill>
                <a:prstClr val="black"/>
              </a:solidFill>
              <a:latin typeface="Arial"/>
              <a:ea typeface="ＭＳ Ｐゴシック" pitchFamily="34" charset="-128"/>
            </a:endParaRPr>
          </a:p>
          <a:p>
            <a:pPr marL="0" lvl="6" indent="0" defTabSz="1218926">
              <a:spcBef>
                <a:spcPts val="600"/>
              </a:spcBef>
              <a:spcAft>
                <a:spcPts val="0"/>
              </a:spcAft>
              <a:buNone/>
              <a:tabLst>
                <a:tab pos="809463" algn="l"/>
              </a:tabLst>
            </a:pPr>
            <a:endParaRPr lang="en-US" dirty="0">
              <a:solidFill>
                <a:prstClr val="black"/>
              </a:solidFill>
              <a:latin typeface="Arial"/>
            </a:endParaRPr>
          </a:p>
        </p:txBody>
      </p:sp>
      <p:pic>
        <p:nvPicPr>
          <p:cNvPr id="18" name="Content Placeholder 17">
            <a:extLst>
              <a:ext uri="{FF2B5EF4-FFF2-40B4-BE49-F238E27FC236}">
                <a16:creationId xmlns:a16="http://schemas.microsoft.com/office/drawing/2014/main" id="{4DFDDFAD-CDD8-44CA-3268-F6F2A72CF4F2}"/>
              </a:ext>
            </a:extLst>
          </p:cNvPr>
          <p:cNvPicPr>
            <a:picLocks noGrp="1" noChangeAspect="1"/>
          </p:cNvPicPr>
          <p:nvPr>
            <p:ph sz="quarter" idx="15"/>
          </p:nvPr>
        </p:nvPicPr>
        <p:blipFill>
          <a:blip r:embed="rId8"/>
          <a:stretch>
            <a:fillRect/>
          </a:stretch>
        </p:blipFill>
        <p:spPr>
          <a:xfrm>
            <a:off x="536772" y="1701160"/>
            <a:ext cx="5415243" cy="3610760"/>
          </a:xfrm>
        </p:spPr>
      </p:pic>
      <p:pic>
        <p:nvPicPr>
          <p:cNvPr id="20" name="Picture 19" descr="A person in a hard hat working in a factory&#10;&#10;Description automatically generated">
            <a:extLst>
              <a:ext uri="{FF2B5EF4-FFF2-40B4-BE49-F238E27FC236}">
                <a16:creationId xmlns:a16="http://schemas.microsoft.com/office/drawing/2014/main" id="{A5A9A4B6-2F12-DD33-7E34-FC2F0C88A135}"/>
              </a:ext>
            </a:extLst>
          </p:cNvPr>
          <p:cNvPicPr>
            <a:picLocks noChangeAspect="1"/>
          </p:cNvPicPr>
          <p:nvPr/>
        </p:nvPicPr>
        <p:blipFill>
          <a:blip r:embed="rId9"/>
          <a:stretch>
            <a:fillRect/>
          </a:stretch>
        </p:blipFill>
        <p:spPr>
          <a:xfrm>
            <a:off x="9047727" y="3925446"/>
            <a:ext cx="2872237" cy="1914346"/>
          </a:xfrm>
          <a:prstGeom prst="rect">
            <a:avLst/>
          </a:prstGeom>
        </p:spPr>
      </p:pic>
      <p:pic>
        <p:nvPicPr>
          <p:cNvPr id="22" name="Picture 21" descr="A person wearing goggles and gloves working on a machine&#10;&#10;Description automatically generated">
            <a:extLst>
              <a:ext uri="{FF2B5EF4-FFF2-40B4-BE49-F238E27FC236}">
                <a16:creationId xmlns:a16="http://schemas.microsoft.com/office/drawing/2014/main" id="{AC785BC8-26C5-6ACE-9460-36C8232D28BD}"/>
              </a:ext>
            </a:extLst>
          </p:cNvPr>
          <p:cNvPicPr>
            <a:picLocks noChangeAspect="1"/>
          </p:cNvPicPr>
          <p:nvPr/>
        </p:nvPicPr>
        <p:blipFill>
          <a:blip r:embed="rId10"/>
          <a:stretch>
            <a:fillRect/>
          </a:stretch>
        </p:blipFill>
        <p:spPr>
          <a:xfrm>
            <a:off x="6281150" y="3925447"/>
            <a:ext cx="2552460" cy="1914346"/>
          </a:xfrm>
          <a:prstGeom prst="rect">
            <a:avLst/>
          </a:prstGeom>
        </p:spPr>
      </p:pic>
    </p:spTree>
    <p:extLst>
      <p:ext uri="{BB962C8B-B14F-4D97-AF65-F5344CB8AC3E}">
        <p14:creationId xmlns:p14="http://schemas.microsoft.com/office/powerpoint/2010/main" val="34250682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4"/>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552940" y="1689574"/>
            <a:ext cx="5183520" cy="4247361"/>
          </a:xfrm>
          <a:prstGeom prst="rect">
            <a:avLst/>
          </a:prstGeom>
        </p:spPr>
      </p:pic>
      <p:sp>
        <p:nvSpPr>
          <p:cNvPr id="2" name="Title 1"/>
          <p:cNvSpPr>
            <a:spLocks noGrp="1"/>
          </p:cNvSpPr>
          <p:nvPr>
            <p:ph type="title"/>
          </p:nvPr>
        </p:nvSpPr>
        <p:spPr/>
        <p:txBody>
          <a:bodyPr/>
          <a:lstStyle/>
          <a:p>
            <a:r>
              <a:rPr lang="de-DE" dirty="0"/>
              <a:t>TÜV Rheinland Global PV Testing Network.</a:t>
            </a:r>
            <a:br>
              <a:rPr lang="de-DE" dirty="0"/>
            </a:br>
            <a:endParaRPr lang="en-US" dirty="0"/>
          </a:p>
        </p:txBody>
      </p:sp>
      <p:sp>
        <p:nvSpPr>
          <p:cNvPr id="3" name="Date Placeholder 2"/>
          <p:cNvSpPr>
            <a:spLocks noGrp="1"/>
          </p:cNvSpPr>
          <p:nvPr>
            <p:ph type="dt" sz="half" idx="10"/>
          </p:nvPr>
        </p:nvSpPr>
        <p:spPr/>
        <p:txBody>
          <a:bodyPr/>
          <a:lstStyle/>
          <a:p>
            <a:pPr defTabSz="1218926"/>
            <a:fld id="{757A2C5C-50BA-4F89-AE51-93D390319D45}" type="datetime1">
              <a:rPr lang="en-US">
                <a:solidFill>
                  <a:prstClr val="black"/>
                </a:solidFill>
                <a:latin typeface="Arial"/>
              </a:rPr>
              <a:pPr defTabSz="1218926"/>
              <a:t>10/22/2024</a:t>
            </a:fld>
            <a:endParaRPr lang="en-US" dirty="0">
              <a:solidFill>
                <a:prstClr val="black"/>
              </a:solidFill>
              <a:latin typeface="Arial"/>
            </a:endParaRPr>
          </a:p>
        </p:txBody>
      </p:sp>
      <p:sp>
        <p:nvSpPr>
          <p:cNvPr id="8" name="Text Placeholder 7"/>
          <p:cNvSpPr>
            <a:spLocks noGrp="1"/>
          </p:cNvSpPr>
          <p:nvPr>
            <p:ph type="body" sz="quarter" idx="13"/>
          </p:nvPr>
        </p:nvSpPr>
        <p:spPr/>
        <p:txBody>
          <a:bodyPr/>
          <a:lstStyle/>
          <a:p>
            <a:r>
              <a:rPr lang="en-US" altLang="zh-CN" dirty="0">
                <a:solidFill>
                  <a:schemeClr val="dk2"/>
                </a:solidFill>
              </a:rPr>
              <a:t>INDIA</a:t>
            </a:r>
            <a:endParaRPr lang="de-DE" altLang="zh-CN" dirty="0">
              <a:solidFill>
                <a:schemeClr val="dk2"/>
              </a:solidFill>
            </a:endParaRPr>
          </a:p>
        </p:txBody>
      </p:sp>
      <p:sp>
        <p:nvSpPr>
          <p:cNvPr id="10" name="Rechteck 43"/>
          <p:cNvSpPr/>
          <p:nvPr>
            <p:custDataLst>
              <p:tags r:id="rId1"/>
            </p:custDataLst>
          </p:nvPr>
        </p:nvSpPr>
        <p:spPr>
          <a:xfrm>
            <a:off x="552940" y="5289009"/>
            <a:ext cx="3527184" cy="3239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07975" tIns="89979" rIns="107975" bIns="89979" rtlCol="0" anchor="ctr">
            <a:noAutofit/>
          </a:bodyPr>
          <a:lstStyle/>
          <a:p>
            <a:pPr defTabSz="1218926"/>
            <a:r>
              <a:rPr lang="en-US" sz="1400" b="1" dirty="0">
                <a:solidFill>
                  <a:prstClr val="white"/>
                </a:solidFill>
                <a:latin typeface="Arial"/>
              </a:rPr>
              <a:t>Bangalore</a:t>
            </a:r>
          </a:p>
        </p:txBody>
      </p:sp>
      <p:sp>
        <p:nvSpPr>
          <p:cNvPr id="11" name="Inhaltsplatzhalter 27"/>
          <p:cNvSpPr txBox="1">
            <a:spLocks/>
          </p:cNvSpPr>
          <p:nvPr>
            <p:custDataLst>
              <p:tags r:id="rId2"/>
            </p:custDataLst>
          </p:nvPr>
        </p:nvSpPr>
        <p:spPr>
          <a:xfrm>
            <a:off x="7557380" y="1773155"/>
            <a:ext cx="4031201" cy="1223886"/>
          </a:xfrm>
          <a:prstGeom prst="rect">
            <a:avLst/>
          </a:prstGeom>
        </p:spPr>
        <p:txBody>
          <a:bodyPr lIns="0" tIns="0" rIns="0" bIns="0">
            <a:noAutofit/>
          </a:bodyPr>
          <a:lstStyle>
            <a:lvl1pPr marL="0" indent="0" algn="l" defTabSz="1219170" rtl="0" eaLnBrk="1" latinLnBrk="0" hangingPunct="1">
              <a:lnSpc>
                <a:spcPct val="100000"/>
              </a:lnSpc>
              <a:spcBef>
                <a:spcPts val="0"/>
              </a:spcBef>
              <a:spcAft>
                <a:spcPts val="600"/>
              </a:spcAft>
              <a:buClr>
                <a:schemeClr val="tx2"/>
              </a:buClr>
              <a:buFont typeface="Wingdings" panose="05000000000000000000" pitchFamily="2" charset="2"/>
              <a:buNone/>
              <a:defRPr sz="1400" kern="1200" cap="all" baseline="0">
                <a:solidFill>
                  <a:schemeClr val="tx2"/>
                </a:solidFill>
                <a:latin typeface="+mn-lt"/>
                <a:ea typeface="+mn-ea"/>
                <a:cs typeface="+mn-cs"/>
              </a:defRPr>
            </a:lvl1pPr>
            <a:lvl2pPr marL="0" indent="0" algn="l" defTabSz="1219170" rtl="0" eaLnBrk="1" latinLnBrk="0" hangingPunct="1">
              <a:lnSpc>
                <a:spcPct val="100000"/>
              </a:lnSpc>
              <a:spcBef>
                <a:spcPts val="0"/>
              </a:spcBef>
              <a:spcAft>
                <a:spcPts val="600"/>
              </a:spcAft>
              <a:buClr>
                <a:schemeClr val="tx2"/>
              </a:buClr>
              <a:buFont typeface="Wingdings" panose="05000000000000000000" pitchFamily="2" charset="2"/>
              <a:buNone/>
              <a:defRPr sz="1400" kern="1200">
                <a:solidFill>
                  <a:schemeClr val="tx1"/>
                </a:solidFill>
                <a:latin typeface="+mn-lt"/>
                <a:ea typeface="+mn-ea"/>
                <a:cs typeface="+mn-cs"/>
              </a:defRPr>
            </a:lvl2pPr>
            <a:lvl3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3pPr>
            <a:lvl4pPr marL="36000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9pPr>
          </a:lstStyle>
          <a:p>
            <a:pPr marL="0" lvl="6" indent="0" defTabSz="1218926">
              <a:spcBef>
                <a:spcPts val="600"/>
              </a:spcBef>
              <a:spcAft>
                <a:spcPts val="0"/>
              </a:spcAft>
              <a:buNone/>
              <a:tabLst>
                <a:tab pos="809463" algn="l"/>
              </a:tabLst>
            </a:pPr>
            <a:r>
              <a:rPr lang="en-US" dirty="0">
                <a:solidFill>
                  <a:prstClr val="black"/>
                </a:solidFill>
                <a:latin typeface="Arial"/>
              </a:rPr>
              <a:t>Laboratory area</a:t>
            </a:r>
          </a:p>
          <a:p>
            <a:pPr marL="0" lvl="6" indent="0" defTabSz="1218926">
              <a:spcBef>
                <a:spcPts val="600"/>
              </a:spcBef>
              <a:spcAft>
                <a:spcPts val="0"/>
              </a:spcAft>
              <a:buNone/>
              <a:tabLst>
                <a:tab pos="809463" algn="l"/>
              </a:tabLst>
            </a:pPr>
            <a:endParaRPr lang="en-US" sz="400" dirty="0">
              <a:solidFill>
                <a:prstClr val="black"/>
              </a:solidFill>
              <a:latin typeface="Arial"/>
            </a:endParaRPr>
          </a:p>
          <a:p>
            <a:pPr marL="0" lvl="6" indent="0" defTabSz="1218926">
              <a:spcBef>
                <a:spcPts val="800"/>
              </a:spcBef>
              <a:spcAft>
                <a:spcPts val="0"/>
              </a:spcAft>
              <a:buNone/>
              <a:tabLst>
                <a:tab pos="809463" algn="l"/>
              </a:tabLst>
            </a:pPr>
            <a:r>
              <a:rPr lang="en-US" dirty="0">
                <a:solidFill>
                  <a:prstClr val="black"/>
                </a:solidFill>
                <a:latin typeface="Arial"/>
                <a:ea typeface="ＭＳ Ｐゴシック" pitchFamily="34" charset="-128"/>
              </a:rPr>
              <a:t>PV modules, inverters, solar pumping systems</a:t>
            </a:r>
          </a:p>
          <a:p>
            <a:pPr marL="0" lvl="6" indent="0" defTabSz="1218926">
              <a:spcBef>
                <a:spcPts val="1600"/>
              </a:spcBef>
              <a:spcAft>
                <a:spcPts val="0"/>
              </a:spcAft>
              <a:buNone/>
              <a:tabLst>
                <a:tab pos="809463" algn="l"/>
              </a:tabLst>
            </a:pPr>
            <a:r>
              <a:rPr lang="en-US" dirty="0">
                <a:solidFill>
                  <a:prstClr val="black"/>
                </a:solidFill>
                <a:latin typeface="Arial"/>
                <a:ea typeface="ＭＳ Ｐゴシック" pitchFamily="34" charset="-128"/>
              </a:rPr>
              <a:t>Year established</a:t>
            </a:r>
          </a:p>
          <a:p>
            <a:pPr marL="0" lvl="6" indent="0" defTabSz="1218926">
              <a:spcBef>
                <a:spcPts val="600"/>
              </a:spcBef>
              <a:spcAft>
                <a:spcPts val="0"/>
              </a:spcAft>
              <a:buNone/>
              <a:tabLst>
                <a:tab pos="809463" algn="l"/>
              </a:tabLst>
            </a:pPr>
            <a:r>
              <a:rPr lang="pt-BR" dirty="0">
                <a:solidFill>
                  <a:prstClr val="black"/>
                </a:solidFill>
                <a:latin typeface="Arial"/>
              </a:rPr>
              <a:t>	</a:t>
            </a:r>
          </a:p>
          <a:p>
            <a:pPr marL="0" lvl="6" indent="0" defTabSz="1218926">
              <a:spcBef>
                <a:spcPts val="600"/>
              </a:spcBef>
              <a:spcAft>
                <a:spcPts val="0"/>
              </a:spcAft>
              <a:buNone/>
              <a:tabLst>
                <a:tab pos="809463" algn="l"/>
              </a:tabLst>
            </a:pPr>
            <a:endParaRPr lang="en-US" dirty="0">
              <a:solidFill>
                <a:prstClr val="black"/>
              </a:solidFill>
              <a:latin typeface="Arial"/>
            </a:endParaRPr>
          </a:p>
        </p:txBody>
      </p:sp>
      <p:sp>
        <p:nvSpPr>
          <p:cNvPr id="12" name="Inhaltsplatzhalter 27"/>
          <p:cNvSpPr txBox="1">
            <a:spLocks/>
          </p:cNvSpPr>
          <p:nvPr>
            <p:custDataLst>
              <p:tags r:id="rId3"/>
            </p:custDataLst>
          </p:nvPr>
        </p:nvSpPr>
        <p:spPr>
          <a:xfrm>
            <a:off x="6239987" y="1773153"/>
            <a:ext cx="1173406" cy="3705360"/>
          </a:xfrm>
          <a:prstGeom prst="rect">
            <a:avLst/>
          </a:prstGeom>
        </p:spPr>
        <p:txBody>
          <a:bodyPr lIns="0" tIns="0" rIns="0" bIns="0">
            <a:noAutofit/>
          </a:bodyPr>
          <a:lstStyle>
            <a:lvl1pPr marL="0" indent="0" algn="l" defTabSz="1219170" rtl="0" eaLnBrk="1" latinLnBrk="0" hangingPunct="1">
              <a:lnSpc>
                <a:spcPct val="100000"/>
              </a:lnSpc>
              <a:spcBef>
                <a:spcPts val="0"/>
              </a:spcBef>
              <a:spcAft>
                <a:spcPts val="600"/>
              </a:spcAft>
              <a:buClr>
                <a:schemeClr val="tx2"/>
              </a:buClr>
              <a:buFont typeface="Wingdings" panose="05000000000000000000" pitchFamily="2" charset="2"/>
              <a:buNone/>
              <a:defRPr sz="1400" kern="1200" cap="all" baseline="0">
                <a:solidFill>
                  <a:schemeClr val="tx2"/>
                </a:solidFill>
                <a:latin typeface="+mn-lt"/>
                <a:ea typeface="+mn-ea"/>
                <a:cs typeface="+mn-cs"/>
              </a:defRPr>
            </a:lvl1pPr>
            <a:lvl2pPr marL="0" indent="0" algn="l" defTabSz="1219170" rtl="0" eaLnBrk="1" latinLnBrk="0" hangingPunct="1">
              <a:lnSpc>
                <a:spcPct val="100000"/>
              </a:lnSpc>
              <a:spcBef>
                <a:spcPts val="0"/>
              </a:spcBef>
              <a:spcAft>
                <a:spcPts val="600"/>
              </a:spcAft>
              <a:buClr>
                <a:schemeClr val="tx2"/>
              </a:buClr>
              <a:buFont typeface="Wingdings" panose="05000000000000000000" pitchFamily="2" charset="2"/>
              <a:buNone/>
              <a:defRPr sz="1400" kern="1200">
                <a:solidFill>
                  <a:schemeClr val="tx1"/>
                </a:solidFill>
                <a:latin typeface="+mn-lt"/>
                <a:ea typeface="+mn-ea"/>
                <a:cs typeface="+mn-cs"/>
              </a:defRPr>
            </a:lvl2pPr>
            <a:lvl3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3pPr>
            <a:lvl4pPr marL="36000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9pPr>
          </a:lstStyle>
          <a:p>
            <a:pPr marL="0" lvl="6" indent="0" algn="r" defTabSz="1218926">
              <a:spcBef>
                <a:spcPts val="600"/>
              </a:spcBef>
              <a:spcAft>
                <a:spcPts val="0"/>
              </a:spcAft>
              <a:buNone/>
              <a:tabLst>
                <a:tab pos="809463" algn="l"/>
              </a:tabLst>
            </a:pPr>
            <a:r>
              <a:rPr lang="en-US" dirty="0">
                <a:solidFill>
                  <a:srgbClr val="0070C0"/>
                </a:solidFill>
                <a:latin typeface="Arial"/>
              </a:rPr>
              <a:t>1,114 m</a:t>
            </a:r>
            <a:r>
              <a:rPr lang="en-US" baseline="30000" dirty="0">
                <a:solidFill>
                  <a:srgbClr val="0070C0"/>
                </a:solidFill>
                <a:latin typeface="Arial"/>
              </a:rPr>
              <a:t>2</a:t>
            </a:r>
            <a:r>
              <a:rPr lang="en-US" dirty="0">
                <a:solidFill>
                  <a:srgbClr val="0070C0"/>
                </a:solidFill>
                <a:latin typeface="Arial"/>
              </a:rPr>
              <a:t> </a:t>
            </a:r>
          </a:p>
          <a:p>
            <a:pPr marL="0" lvl="6" indent="0" algn="r" defTabSz="1218926">
              <a:spcBef>
                <a:spcPts val="600"/>
              </a:spcBef>
              <a:spcAft>
                <a:spcPts val="0"/>
              </a:spcAft>
              <a:buNone/>
              <a:tabLst>
                <a:tab pos="809463" algn="l"/>
              </a:tabLst>
            </a:pPr>
            <a:endParaRPr lang="en-US" sz="600" dirty="0">
              <a:solidFill>
                <a:srgbClr val="4D4D4D"/>
              </a:solidFill>
              <a:latin typeface="Arial"/>
            </a:endParaRPr>
          </a:p>
          <a:p>
            <a:pPr marL="0" lvl="6" indent="0" algn="r" defTabSz="1218926">
              <a:spcBef>
                <a:spcPts val="600"/>
              </a:spcBef>
              <a:spcAft>
                <a:spcPts val="0"/>
              </a:spcAft>
              <a:buNone/>
              <a:tabLst>
                <a:tab pos="809463" algn="l"/>
              </a:tabLst>
            </a:pPr>
            <a:r>
              <a:rPr lang="en-US" dirty="0">
                <a:solidFill>
                  <a:srgbClr val="0070C0"/>
                </a:solidFill>
                <a:latin typeface="Arial"/>
              </a:rPr>
              <a:t>Categories</a:t>
            </a:r>
            <a:r>
              <a:rPr lang="en-US" dirty="0">
                <a:solidFill>
                  <a:srgbClr val="4D4D4D"/>
                </a:solidFill>
                <a:latin typeface="Arial"/>
              </a:rPr>
              <a:t>  </a:t>
            </a:r>
          </a:p>
          <a:p>
            <a:pPr marL="0" lvl="6" indent="0" algn="r" defTabSz="1218926">
              <a:spcBef>
                <a:spcPts val="600"/>
              </a:spcBef>
              <a:spcAft>
                <a:spcPts val="0"/>
              </a:spcAft>
              <a:buNone/>
              <a:tabLst>
                <a:tab pos="809463" algn="l"/>
              </a:tabLst>
            </a:pPr>
            <a:br>
              <a:rPr lang="en-US" sz="900" dirty="0">
                <a:solidFill>
                  <a:srgbClr val="4D4D4D"/>
                </a:solidFill>
                <a:latin typeface="Arial"/>
              </a:rPr>
            </a:br>
            <a:r>
              <a:rPr lang="en-US" dirty="0">
                <a:solidFill>
                  <a:srgbClr val="0070C0"/>
                </a:solidFill>
                <a:latin typeface="Arial"/>
              </a:rPr>
              <a:t>2010</a:t>
            </a:r>
          </a:p>
          <a:p>
            <a:pPr marL="0" lvl="6" indent="0" algn="r" defTabSz="1218926">
              <a:spcBef>
                <a:spcPts val="600"/>
              </a:spcBef>
              <a:spcAft>
                <a:spcPts val="0"/>
              </a:spcAft>
              <a:buNone/>
              <a:tabLst>
                <a:tab pos="809463" algn="l"/>
              </a:tabLst>
            </a:pPr>
            <a:br>
              <a:rPr lang="en-US" dirty="0">
                <a:solidFill>
                  <a:srgbClr val="4D4D4D"/>
                </a:solidFill>
                <a:latin typeface="Arial"/>
              </a:rPr>
            </a:br>
            <a:r>
              <a:rPr lang="en-US" dirty="0">
                <a:solidFill>
                  <a:srgbClr val="0070C0"/>
                </a:solidFill>
                <a:latin typeface="Arial"/>
              </a:rPr>
              <a:t>Accreditations</a:t>
            </a:r>
          </a:p>
          <a:p>
            <a:pPr marL="0" lvl="6" indent="0" algn="r" defTabSz="1218926">
              <a:spcBef>
                <a:spcPts val="600"/>
              </a:spcBef>
              <a:spcAft>
                <a:spcPts val="0"/>
              </a:spcAft>
              <a:buNone/>
              <a:tabLst>
                <a:tab pos="809463" algn="l"/>
              </a:tabLst>
            </a:pPr>
            <a:r>
              <a:rPr lang="en-US" dirty="0">
                <a:solidFill>
                  <a:srgbClr val="4D4D4D"/>
                </a:solidFill>
                <a:latin typeface="Arial"/>
              </a:rPr>
              <a:t> </a:t>
            </a:r>
          </a:p>
        </p:txBody>
      </p:sp>
      <p:sp>
        <p:nvSpPr>
          <p:cNvPr id="15" name="Slide Number Placeholder 14"/>
          <p:cNvSpPr>
            <a:spLocks noGrp="1"/>
          </p:cNvSpPr>
          <p:nvPr>
            <p:ph type="sldNum" sz="quarter" idx="12"/>
          </p:nvPr>
        </p:nvSpPr>
        <p:spPr/>
        <p:txBody>
          <a:bodyPr/>
          <a:lstStyle/>
          <a:p>
            <a:pPr defTabSz="1218926"/>
            <a:fld id="{4915BD61-E5D5-4E4F-ADA0-6F3448AB9FA6}" type="slidenum">
              <a:rPr lang="en-US">
                <a:solidFill>
                  <a:prstClr val="black"/>
                </a:solidFill>
                <a:latin typeface="Arial"/>
              </a:rPr>
              <a:pPr defTabSz="1218926"/>
              <a:t>63</a:t>
            </a:fld>
            <a:endParaRPr lang="en-US" dirty="0">
              <a:solidFill>
                <a:prstClr val="black"/>
              </a:solidFill>
              <a:latin typeface="Arial"/>
            </a:endParaRPr>
          </a:p>
        </p:txBody>
      </p:sp>
      <p:pic>
        <p:nvPicPr>
          <p:cNvPr id="17" name="Grafik 1"/>
          <p:cNvPicPr>
            <a:picLocks noChangeAspect="1"/>
          </p:cNvPicPr>
          <p:nvPr/>
        </p:nvPicPr>
        <p:blipFill>
          <a:blip r:embed="rId8" cstate="email">
            <a:extLst>
              <a:ext uri="{BEBA8EAE-BF5A-486C-A8C5-ECC9F3942E4B}">
                <a14:imgProps xmlns:a14="http://schemas.microsoft.com/office/drawing/2010/main">
                  <a14:imgLayer r:embed="rId9">
                    <a14:imgEffect>
                      <a14:sharpenSoften amount="50000"/>
                    </a14:imgEffect>
                    <a14:imgEffect>
                      <a14:colorTemperature colorTemp="4700"/>
                    </a14:imgEffect>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6239636" y="4172697"/>
            <a:ext cx="2664104" cy="1776070"/>
          </a:xfrm>
          <a:prstGeom prst="rect">
            <a:avLst/>
          </a:prstGeom>
          <a:ln>
            <a:noFill/>
          </a:ln>
          <a:effectLst/>
        </p:spPr>
      </p:pic>
      <p:pic>
        <p:nvPicPr>
          <p:cNvPr id="18" name="Grafik 3"/>
          <p:cNvPicPr>
            <a:picLocks noChangeAspect="1"/>
          </p:cNvPicPr>
          <p:nvPr/>
        </p:nvPicPr>
        <p:blipFill>
          <a:blip r:embed="rId10" cstate="email">
            <a:extLst>
              <a:ext uri="{BEBA8EAE-BF5A-486C-A8C5-ECC9F3942E4B}">
                <a14:imgProps xmlns:a14="http://schemas.microsoft.com/office/drawing/2010/main">
                  <a14:imgLayer r:embed="rId11">
                    <a14:imgEffect>
                      <a14:sharpenSoften amount="50000"/>
                    </a14:imgEffect>
                    <a14:imgEffect>
                      <a14:colorTemperature colorTemp="4700"/>
                    </a14:imgEffect>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9045456" y="4172697"/>
            <a:ext cx="2664105" cy="1776070"/>
          </a:xfrm>
          <a:prstGeom prst="rect">
            <a:avLst/>
          </a:prstGeom>
          <a:ln>
            <a:noFill/>
          </a:ln>
          <a:effectLst/>
        </p:spPr>
      </p:pic>
      <p:pic>
        <p:nvPicPr>
          <p:cNvPr id="16" name="Picture 6"/>
          <p:cNvPicPr>
            <a:picLocks noChangeAspect="1"/>
          </p:cNvPicPr>
          <p:nvPr/>
        </p:nvPicPr>
        <p:blipFill rotWithShape="1">
          <a:blip r:embed="rId12" cstate="email">
            <a:extLst>
              <a:ext uri="{28A0092B-C50C-407E-A947-70E740481C1C}">
                <a14:useLocalDpi xmlns:a14="http://schemas.microsoft.com/office/drawing/2010/main"/>
              </a:ext>
            </a:extLst>
          </a:blip>
          <a:srcRect/>
          <a:stretch/>
        </p:blipFill>
        <p:spPr>
          <a:xfrm>
            <a:off x="6251739" y="4176999"/>
            <a:ext cx="2656479" cy="1771768"/>
          </a:xfrm>
          <a:prstGeom prst="rect">
            <a:avLst/>
          </a:prstGeom>
        </p:spPr>
      </p:pic>
      <p:pic>
        <p:nvPicPr>
          <p:cNvPr id="19" name="Picture 8"/>
          <p:cNvPicPr>
            <a:picLocks noChangeAspect="1"/>
          </p:cNvPicPr>
          <p:nvPr/>
        </p:nvPicPr>
        <p:blipFill rotWithShape="1">
          <a:blip r:embed="rId13" cstate="email">
            <a:extLst>
              <a:ext uri="{28A0092B-C50C-407E-A947-70E740481C1C}">
                <a14:useLocalDpi xmlns:a14="http://schemas.microsoft.com/office/drawing/2010/main"/>
              </a:ext>
            </a:extLst>
          </a:blip>
          <a:srcRect/>
          <a:stretch/>
        </p:blipFill>
        <p:spPr>
          <a:xfrm>
            <a:off x="9047726" y="4186643"/>
            <a:ext cx="2622166" cy="1762124"/>
          </a:xfrm>
          <a:prstGeom prst="rect">
            <a:avLst/>
          </a:prstGeom>
        </p:spPr>
      </p:pic>
      <p:sp>
        <p:nvSpPr>
          <p:cNvPr id="4" name="Fußzeilenplatzhalter 3"/>
          <p:cNvSpPr>
            <a:spLocks noGrp="1"/>
          </p:cNvSpPr>
          <p:nvPr>
            <p:ph type="ftr" sz="quarter" idx="11"/>
          </p:nvPr>
        </p:nvSpPr>
        <p:spPr/>
        <p:txBody>
          <a:bodyPr/>
          <a:lstStyle/>
          <a:p>
            <a:pPr defTabSz="1218926"/>
            <a:r>
              <a:rPr lang="en-US">
                <a:solidFill>
                  <a:prstClr val="black"/>
                </a:solidFill>
                <a:latin typeface="Arial"/>
              </a:rPr>
              <a:t>TÜV Rheinland's Solar Business</a:t>
            </a:r>
            <a:endParaRPr lang="en-US" dirty="0">
              <a:solidFill>
                <a:prstClr val="black"/>
              </a:solidFill>
              <a:latin typeface="Arial"/>
            </a:endParaRPr>
          </a:p>
        </p:txBody>
      </p:sp>
      <p:sp>
        <p:nvSpPr>
          <p:cNvPr id="20" name="Inhaltsplatzhalter 27"/>
          <p:cNvSpPr txBox="1">
            <a:spLocks/>
          </p:cNvSpPr>
          <p:nvPr>
            <p:custDataLst>
              <p:tags r:id="rId4"/>
            </p:custDataLst>
          </p:nvPr>
        </p:nvSpPr>
        <p:spPr>
          <a:xfrm>
            <a:off x="7557380" y="3163224"/>
            <a:ext cx="4031201" cy="243580"/>
          </a:xfrm>
          <a:prstGeom prst="rect">
            <a:avLst/>
          </a:prstGeom>
        </p:spPr>
        <p:txBody>
          <a:bodyPr lIns="0" tIns="0" rIns="0" bIns="0">
            <a:noAutofit/>
          </a:bodyPr>
          <a:lstStyle>
            <a:lvl1pPr marL="0" indent="0" algn="l" defTabSz="1219170" rtl="0" eaLnBrk="1" latinLnBrk="0" hangingPunct="1">
              <a:lnSpc>
                <a:spcPct val="100000"/>
              </a:lnSpc>
              <a:spcBef>
                <a:spcPts val="0"/>
              </a:spcBef>
              <a:spcAft>
                <a:spcPts val="600"/>
              </a:spcAft>
              <a:buClr>
                <a:schemeClr val="tx2"/>
              </a:buClr>
              <a:buFont typeface="Wingdings" panose="05000000000000000000" pitchFamily="2" charset="2"/>
              <a:buNone/>
              <a:defRPr sz="1400" kern="1200" cap="all" baseline="0">
                <a:solidFill>
                  <a:schemeClr val="tx2"/>
                </a:solidFill>
                <a:latin typeface="+mn-lt"/>
                <a:ea typeface="+mn-ea"/>
                <a:cs typeface="+mn-cs"/>
              </a:defRPr>
            </a:lvl1pPr>
            <a:lvl2pPr marL="0" indent="0" algn="l" defTabSz="1219170" rtl="0" eaLnBrk="1" latinLnBrk="0" hangingPunct="1">
              <a:lnSpc>
                <a:spcPct val="100000"/>
              </a:lnSpc>
              <a:spcBef>
                <a:spcPts val="0"/>
              </a:spcBef>
              <a:spcAft>
                <a:spcPts val="600"/>
              </a:spcAft>
              <a:buClr>
                <a:schemeClr val="tx2"/>
              </a:buClr>
              <a:buFont typeface="Wingdings" panose="05000000000000000000" pitchFamily="2" charset="2"/>
              <a:buNone/>
              <a:defRPr sz="1400" kern="1200">
                <a:solidFill>
                  <a:schemeClr val="tx1"/>
                </a:solidFill>
                <a:latin typeface="+mn-lt"/>
                <a:ea typeface="+mn-ea"/>
                <a:cs typeface="+mn-cs"/>
              </a:defRPr>
            </a:lvl2pPr>
            <a:lvl3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3pPr>
            <a:lvl4pPr marL="36000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9pPr>
          </a:lstStyle>
          <a:p>
            <a:pPr marL="0" lvl="6" indent="0" defTabSz="1218926">
              <a:spcBef>
                <a:spcPts val="600"/>
              </a:spcBef>
              <a:spcAft>
                <a:spcPts val="0"/>
              </a:spcAft>
              <a:buNone/>
              <a:tabLst>
                <a:tab pos="809463" algn="l"/>
              </a:tabLst>
            </a:pPr>
            <a:r>
              <a:rPr lang="en-US" dirty="0">
                <a:solidFill>
                  <a:prstClr val="black"/>
                </a:solidFill>
                <a:latin typeface="Arial"/>
              </a:rPr>
              <a:t>ISO 17025, CBTL, MCS, NRTL, CEC</a:t>
            </a:r>
            <a:endParaRPr lang="en-US" dirty="0">
              <a:solidFill>
                <a:srgbClr val="D20033"/>
              </a:solidFill>
              <a:latin typeface="Arial"/>
              <a:ea typeface="ＭＳ Ｐゴシック" pitchFamily="34" charset="-128"/>
            </a:endParaRPr>
          </a:p>
          <a:p>
            <a:pPr marL="0" lvl="6" indent="0" defTabSz="1218926">
              <a:spcBef>
                <a:spcPts val="600"/>
              </a:spcBef>
              <a:spcAft>
                <a:spcPts val="0"/>
              </a:spcAft>
              <a:buNone/>
              <a:tabLst>
                <a:tab pos="809463" algn="l"/>
              </a:tabLst>
            </a:pPr>
            <a:endParaRPr lang="en-US" sz="1000" dirty="0">
              <a:solidFill>
                <a:prstClr val="black"/>
              </a:solidFill>
              <a:latin typeface="Arial"/>
              <a:ea typeface="ＭＳ Ｐゴシック" pitchFamily="34" charset="-128"/>
            </a:endParaRPr>
          </a:p>
          <a:p>
            <a:pPr marL="0" lvl="6" indent="0" defTabSz="1218926">
              <a:spcBef>
                <a:spcPts val="600"/>
              </a:spcBef>
              <a:spcAft>
                <a:spcPts val="0"/>
              </a:spcAft>
              <a:buNone/>
              <a:tabLst>
                <a:tab pos="809463" algn="l"/>
              </a:tabLst>
            </a:pPr>
            <a:endParaRPr lang="en-US" dirty="0">
              <a:solidFill>
                <a:prstClr val="black"/>
              </a:solidFill>
              <a:latin typeface="Arial"/>
            </a:endParaRPr>
          </a:p>
        </p:txBody>
      </p:sp>
    </p:spTree>
    <p:extLst>
      <p:ext uri="{BB962C8B-B14F-4D97-AF65-F5344CB8AC3E}">
        <p14:creationId xmlns:p14="http://schemas.microsoft.com/office/powerpoint/2010/main" val="419124333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0774A8F-BA8D-2DEC-E66B-D4247498E62F}"/>
              </a:ext>
            </a:extLst>
          </p:cNvPr>
          <p:cNvSpPr>
            <a:spLocks noGrp="1"/>
          </p:cNvSpPr>
          <p:nvPr>
            <p:ph type="dt" sz="half" idx="10"/>
          </p:nvPr>
        </p:nvSpPr>
        <p:spPr/>
        <p:txBody>
          <a:bodyPr/>
          <a:lstStyle/>
          <a:p>
            <a:pPr defTabSz="1218926"/>
            <a:fld id="{A96A0BBE-48DF-4E7E-8119-60C6FE218790}" type="datetime1">
              <a:rPr lang="en-US">
                <a:solidFill>
                  <a:prstClr val="black"/>
                </a:solidFill>
                <a:latin typeface="Arial"/>
              </a:rPr>
              <a:pPr defTabSz="1218926"/>
              <a:t>10/22/2024</a:t>
            </a:fld>
            <a:endParaRPr lang="en-US" dirty="0">
              <a:solidFill>
                <a:prstClr val="black"/>
              </a:solidFill>
              <a:latin typeface="Arial"/>
            </a:endParaRPr>
          </a:p>
        </p:txBody>
      </p:sp>
      <p:sp>
        <p:nvSpPr>
          <p:cNvPr id="4" name="Slide Number Placeholder 3">
            <a:extLst>
              <a:ext uri="{FF2B5EF4-FFF2-40B4-BE49-F238E27FC236}">
                <a16:creationId xmlns:a16="http://schemas.microsoft.com/office/drawing/2014/main" id="{D2258146-1506-3FDC-0999-F21AFC25EE3C}"/>
              </a:ext>
            </a:extLst>
          </p:cNvPr>
          <p:cNvSpPr>
            <a:spLocks noGrp="1"/>
          </p:cNvSpPr>
          <p:nvPr>
            <p:ph type="sldNum" sz="quarter" idx="12"/>
          </p:nvPr>
        </p:nvSpPr>
        <p:spPr/>
        <p:txBody>
          <a:bodyPr/>
          <a:lstStyle/>
          <a:p>
            <a:pPr defTabSz="1218926"/>
            <a:fld id="{4915BD61-E5D5-4E4F-ADA0-6F3448AB9FA6}" type="slidenum">
              <a:rPr lang="en-US">
                <a:solidFill>
                  <a:prstClr val="black"/>
                </a:solidFill>
                <a:latin typeface="Arial"/>
              </a:rPr>
              <a:pPr defTabSz="1218926"/>
              <a:t>64</a:t>
            </a:fld>
            <a:endParaRPr lang="en-US" dirty="0">
              <a:solidFill>
                <a:prstClr val="black"/>
              </a:solidFill>
              <a:latin typeface="Arial"/>
            </a:endParaRPr>
          </a:p>
        </p:txBody>
      </p:sp>
      <p:sp>
        <p:nvSpPr>
          <p:cNvPr id="6" name="Text Placeholder 5">
            <a:extLst>
              <a:ext uri="{FF2B5EF4-FFF2-40B4-BE49-F238E27FC236}">
                <a16:creationId xmlns:a16="http://schemas.microsoft.com/office/drawing/2014/main" id="{3B9710B3-9B0C-2345-7ECB-DA9DB18B4B02}"/>
              </a:ext>
            </a:extLst>
          </p:cNvPr>
          <p:cNvSpPr>
            <a:spLocks noGrp="1"/>
          </p:cNvSpPr>
          <p:nvPr>
            <p:ph type="body" sz="quarter" idx="14"/>
          </p:nvPr>
        </p:nvSpPr>
        <p:spPr/>
        <p:txBody>
          <a:bodyPr/>
          <a:lstStyle/>
          <a:p>
            <a:r>
              <a:rPr lang="en-US" dirty="0"/>
              <a:t>Ensuring Long-Term Asset Performance</a:t>
            </a:r>
          </a:p>
        </p:txBody>
      </p:sp>
      <p:sp>
        <p:nvSpPr>
          <p:cNvPr id="7" name="Title 6">
            <a:extLst>
              <a:ext uri="{FF2B5EF4-FFF2-40B4-BE49-F238E27FC236}">
                <a16:creationId xmlns:a16="http://schemas.microsoft.com/office/drawing/2014/main" id="{105E5FCF-EDDA-5CD6-1F78-E204059E8CD4}"/>
              </a:ext>
            </a:extLst>
          </p:cNvPr>
          <p:cNvSpPr>
            <a:spLocks noGrp="1"/>
          </p:cNvSpPr>
          <p:nvPr>
            <p:ph type="title"/>
          </p:nvPr>
        </p:nvSpPr>
        <p:spPr/>
        <p:txBody>
          <a:bodyPr/>
          <a:lstStyle/>
          <a:p>
            <a:r>
              <a:rPr lang="en-US" b="1" dirty="0"/>
              <a:t>Lifecycle Management </a:t>
            </a:r>
            <a:r>
              <a:rPr lang="en-US" dirty="0"/>
              <a:t>– Sustaining Your Asset Value</a:t>
            </a:r>
          </a:p>
        </p:txBody>
      </p:sp>
      <p:pic>
        <p:nvPicPr>
          <p:cNvPr id="8" name="Picture 7"/>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2205" y="1485180"/>
            <a:ext cx="12190032" cy="1853133"/>
          </a:xfrm>
          <a:prstGeom prst="rect">
            <a:avLst/>
          </a:prstGeom>
        </p:spPr>
      </p:pic>
      <p:grpSp>
        <p:nvGrpSpPr>
          <p:cNvPr id="71" name="组 70"/>
          <p:cNvGrpSpPr/>
          <p:nvPr/>
        </p:nvGrpSpPr>
        <p:grpSpPr>
          <a:xfrm>
            <a:off x="264540" y="2598176"/>
            <a:ext cx="11853309" cy="3471856"/>
            <a:chOff x="262396" y="1898246"/>
            <a:chExt cx="11856053" cy="3472660"/>
          </a:xfrm>
        </p:grpSpPr>
        <p:sp>
          <p:nvSpPr>
            <p:cNvPr id="57" name="Chevron 6"/>
            <p:cNvSpPr/>
            <p:nvPr/>
          </p:nvSpPr>
          <p:spPr bwMode="auto">
            <a:xfrm>
              <a:off x="10127766" y="1911747"/>
              <a:ext cx="1901149" cy="726808"/>
            </a:xfrm>
            <a:prstGeom prst="chevron">
              <a:avLst>
                <a:gd name="adj" fmla="val 30328"/>
              </a:avLst>
            </a:prstGeom>
            <a:solidFill>
              <a:srgbClr val="50B400"/>
            </a:solidFill>
            <a:ln w="3175" cap="flat" cmpd="sng" algn="ctr">
              <a:noFill/>
              <a:prstDash val="solid"/>
              <a:round/>
              <a:headEnd type="none" w="med" len="med"/>
              <a:tailEnd type="none" w="med" len="med"/>
            </a:ln>
            <a:effectLst>
              <a:glow>
                <a:schemeClr val="accent1"/>
              </a:glow>
              <a:outerShdw blurRad="50800" dist="38100" algn="l" rotWithShape="0">
                <a:schemeClr val="bg1"/>
              </a:outerShdw>
            </a:effectLst>
          </p:spPr>
          <p:txBody>
            <a:bodyPr vert="horz" wrap="none" lIns="89979" tIns="46789" rIns="89979" bIns="46789" numCol="1" rtlCol="0" anchor="ctr" anchorCtr="0" compatLnSpc="1">
              <a:prstTxWarp prst="textNoShape">
                <a:avLst/>
              </a:prstTxWarp>
            </a:bodyPr>
            <a:lstStyle/>
            <a:p>
              <a:pPr algn="ctr" defTabSz="1218926"/>
              <a:r>
                <a:rPr lang="en-US" sz="1600" b="1" dirty="0">
                  <a:solidFill>
                    <a:prstClr val="white"/>
                  </a:solidFill>
                  <a:latin typeface="Arial"/>
                </a:rPr>
                <a:t>   Operation</a:t>
              </a:r>
            </a:p>
          </p:txBody>
        </p:sp>
        <p:sp>
          <p:nvSpPr>
            <p:cNvPr id="58" name="Chevron 7"/>
            <p:cNvSpPr/>
            <p:nvPr/>
          </p:nvSpPr>
          <p:spPr bwMode="auto">
            <a:xfrm>
              <a:off x="8615556" y="1911747"/>
              <a:ext cx="1806085" cy="726808"/>
            </a:xfrm>
            <a:prstGeom prst="chevron">
              <a:avLst>
                <a:gd name="adj" fmla="val 30328"/>
              </a:avLst>
            </a:prstGeom>
            <a:solidFill>
              <a:srgbClr val="50B400"/>
            </a:solidFill>
            <a:ln w="3175" cap="flat" cmpd="sng" algn="ctr">
              <a:noFill/>
              <a:prstDash val="solid"/>
              <a:round/>
              <a:headEnd type="none" w="med" len="med"/>
              <a:tailEnd type="none" w="med" len="med"/>
            </a:ln>
            <a:effectLst>
              <a:glow>
                <a:schemeClr val="accent1"/>
              </a:glow>
              <a:outerShdw blurRad="50800" dist="38100" algn="l" rotWithShape="0">
                <a:schemeClr val="bg1"/>
              </a:outerShdw>
            </a:effectLst>
          </p:spPr>
          <p:txBody>
            <a:bodyPr vert="horz" wrap="none" lIns="89979" tIns="46789" rIns="89979" bIns="46789" numCol="1" rtlCol="0" anchor="ctr" anchorCtr="0" compatLnSpc="1">
              <a:prstTxWarp prst="textNoShape">
                <a:avLst/>
              </a:prstTxWarp>
            </a:bodyPr>
            <a:lstStyle/>
            <a:p>
              <a:pPr algn="ctr" defTabSz="1218926"/>
              <a:r>
                <a:rPr lang="en-US" sz="1600" b="1" dirty="0">
                  <a:solidFill>
                    <a:prstClr val="white"/>
                  </a:solidFill>
                  <a:latin typeface="Arial"/>
                </a:rPr>
                <a:t>    Acceptance</a:t>
              </a:r>
            </a:p>
          </p:txBody>
        </p:sp>
        <p:sp>
          <p:nvSpPr>
            <p:cNvPr id="59" name="Chevron 8"/>
            <p:cNvSpPr/>
            <p:nvPr/>
          </p:nvSpPr>
          <p:spPr bwMode="auto">
            <a:xfrm>
              <a:off x="6743296" y="1909615"/>
              <a:ext cx="2186316" cy="728940"/>
            </a:xfrm>
            <a:prstGeom prst="chevron">
              <a:avLst>
                <a:gd name="adj" fmla="val 30328"/>
              </a:avLst>
            </a:prstGeom>
            <a:solidFill>
              <a:srgbClr val="50B400"/>
            </a:solidFill>
            <a:ln w="3175" cap="flat" cmpd="sng" algn="ctr">
              <a:noFill/>
              <a:prstDash val="solid"/>
              <a:round/>
              <a:headEnd type="none" w="med" len="med"/>
              <a:tailEnd type="none" w="med" len="med"/>
            </a:ln>
            <a:effectLst>
              <a:glow>
                <a:schemeClr val="accent1"/>
              </a:glow>
              <a:outerShdw blurRad="50800" dist="38100" algn="l" rotWithShape="0">
                <a:schemeClr val="bg1"/>
              </a:outerShdw>
            </a:effectLst>
          </p:spPr>
          <p:txBody>
            <a:bodyPr vert="horz" wrap="none" lIns="89979" tIns="46789" rIns="89979" bIns="46789" numCol="1" rtlCol="0" anchor="ctr" anchorCtr="0" compatLnSpc="1">
              <a:prstTxWarp prst="textNoShape">
                <a:avLst/>
              </a:prstTxWarp>
            </a:bodyPr>
            <a:lstStyle/>
            <a:p>
              <a:pPr algn="ctr" defTabSz="1218926"/>
              <a:r>
                <a:rPr lang="en-US" sz="1600" b="1" dirty="0">
                  <a:solidFill>
                    <a:prstClr val="white"/>
                  </a:solidFill>
                  <a:latin typeface="Arial"/>
                </a:rPr>
                <a:t>    Commissioning</a:t>
              </a:r>
            </a:p>
          </p:txBody>
        </p:sp>
        <p:sp>
          <p:nvSpPr>
            <p:cNvPr id="60" name="Chevron 9"/>
            <p:cNvSpPr/>
            <p:nvPr/>
          </p:nvSpPr>
          <p:spPr bwMode="auto">
            <a:xfrm>
              <a:off x="5171998" y="1911747"/>
              <a:ext cx="1931348" cy="726808"/>
            </a:xfrm>
            <a:prstGeom prst="chevron">
              <a:avLst>
                <a:gd name="adj" fmla="val 30328"/>
              </a:avLst>
            </a:prstGeom>
            <a:solidFill>
              <a:srgbClr val="50B400"/>
            </a:solidFill>
            <a:ln w="3175" cap="flat" cmpd="sng" algn="ctr">
              <a:noFill/>
              <a:prstDash val="solid"/>
              <a:round/>
              <a:headEnd type="none" w="med" len="med"/>
              <a:tailEnd type="none" w="med" len="med"/>
            </a:ln>
            <a:effectLst>
              <a:glow>
                <a:schemeClr val="accent1"/>
              </a:glow>
              <a:outerShdw blurRad="50800" dist="38100" algn="l" rotWithShape="0">
                <a:schemeClr val="bg1"/>
              </a:outerShdw>
            </a:effectLst>
          </p:spPr>
          <p:txBody>
            <a:bodyPr vert="horz" wrap="none" lIns="89979" tIns="46789" rIns="89979" bIns="46789" numCol="1" rtlCol="0" anchor="ctr" anchorCtr="0" compatLnSpc="1">
              <a:prstTxWarp prst="textNoShape">
                <a:avLst/>
              </a:prstTxWarp>
            </a:bodyPr>
            <a:lstStyle/>
            <a:p>
              <a:pPr algn="ctr" defTabSz="1218926"/>
              <a:r>
                <a:rPr lang="en-US" sz="1600" b="1" dirty="0">
                  <a:solidFill>
                    <a:prstClr val="white"/>
                  </a:solidFill>
                  <a:latin typeface="Arial"/>
                </a:rPr>
                <a:t>    Construction</a:t>
              </a:r>
            </a:p>
          </p:txBody>
        </p:sp>
        <p:sp>
          <p:nvSpPr>
            <p:cNvPr id="61" name="Chevron 10"/>
            <p:cNvSpPr/>
            <p:nvPr/>
          </p:nvSpPr>
          <p:spPr bwMode="auto">
            <a:xfrm>
              <a:off x="3454998" y="1904997"/>
              <a:ext cx="2064128" cy="733558"/>
            </a:xfrm>
            <a:prstGeom prst="chevron">
              <a:avLst>
                <a:gd name="adj" fmla="val 30328"/>
              </a:avLst>
            </a:prstGeom>
            <a:solidFill>
              <a:srgbClr val="50B400"/>
            </a:solidFill>
            <a:ln w="3175" cap="flat" cmpd="sng" algn="ctr">
              <a:noFill/>
              <a:prstDash val="solid"/>
              <a:round/>
              <a:headEnd type="none" w="med" len="med"/>
              <a:tailEnd type="none" w="med" len="med"/>
            </a:ln>
            <a:effectLst>
              <a:glow>
                <a:schemeClr val="accent1"/>
              </a:glow>
              <a:outerShdw blurRad="50800" dist="38100" algn="l" rotWithShape="0">
                <a:schemeClr val="bg1"/>
              </a:outerShdw>
            </a:effectLst>
          </p:spPr>
          <p:txBody>
            <a:bodyPr vert="horz" wrap="none" lIns="89979" tIns="46789" rIns="89979" bIns="46789" numCol="1" rtlCol="0" anchor="ctr" anchorCtr="0" compatLnSpc="1">
              <a:prstTxWarp prst="textNoShape">
                <a:avLst/>
              </a:prstTxWarp>
            </a:bodyPr>
            <a:lstStyle/>
            <a:p>
              <a:pPr algn="ctr" defTabSz="1218926"/>
              <a:r>
                <a:rPr lang="en-US" sz="1600" b="1" dirty="0">
                  <a:solidFill>
                    <a:prstClr val="white"/>
                  </a:solidFill>
                  <a:latin typeface="Arial"/>
                </a:rPr>
                <a:t>   Procurement</a:t>
              </a:r>
            </a:p>
          </p:txBody>
        </p:sp>
        <p:sp>
          <p:nvSpPr>
            <p:cNvPr id="62" name="Chevron 11"/>
            <p:cNvSpPr/>
            <p:nvPr/>
          </p:nvSpPr>
          <p:spPr bwMode="auto">
            <a:xfrm>
              <a:off x="1846616" y="1898246"/>
              <a:ext cx="1996202" cy="740308"/>
            </a:xfrm>
            <a:prstGeom prst="chevron">
              <a:avLst>
                <a:gd name="adj" fmla="val 30328"/>
              </a:avLst>
            </a:prstGeom>
            <a:solidFill>
              <a:srgbClr val="50B400"/>
            </a:solidFill>
            <a:ln w="3175" cap="flat" cmpd="sng" algn="ctr">
              <a:noFill/>
              <a:prstDash val="solid"/>
              <a:round/>
              <a:headEnd type="none" w="med" len="med"/>
              <a:tailEnd type="none" w="med" len="med"/>
            </a:ln>
            <a:effectLst>
              <a:glow>
                <a:schemeClr val="accent1"/>
              </a:glow>
              <a:outerShdw blurRad="50800" dist="38100" algn="l" rotWithShape="0">
                <a:schemeClr val="bg1"/>
              </a:outerShdw>
            </a:effectLst>
          </p:spPr>
          <p:txBody>
            <a:bodyPr vert="horz" wrap="none" lIns="89979" tIns="46789" rIns="89979" bIns="46789" numCol="1" rtlCol="0" anchor="ctr" anchorCtr="0" compatLnSpc="1">
              <a:prstTxWarp prst="textNoShape">
                <a:avLst/>
              </a:prstTxWarp>
            </a:bodyPr>
            <a:lstStyle/>
            <a:p>
              <a:pPr algn="ctr" defTabSz="1218926"/>
              <a:r>
                <a:rPr lang="en-US" sz="1600" b="1" dirty="0">
                  <a:solidFill>
                    <a:prstClr val="white"/>
                  </a:solidFill>
                  <a:latin typeface="Arial"/>
                </a:rPr>
                <a:t>    Engineering</a:t>
              </a:r>
            </a:p>
          </p:txBody>
        </p:sp>
        <p:sp>
          <p:nvSpPr>
            <p:cNvPr id="63" name="Chevron 12"/>
            <p:cNvSpPr/>
            <p:nvPr/>
          </p:nvSpPr>
          <p:spPr bwMode="auto">
            <a:xfrm>
              <a:off x="262396" y="1899933"/>
              <a:ext cx="1996202" cy="738621"/>
            </a:xfrm>
            <a:prstGeom prst="chevron">
              <a:avLst>
                <a:gd name="adj" fmla="val 30328"/>
              </a:avLst>
            </a:prstGeom>
            <a:solidFill>
              <a:srgbClr val="50B400"/>
            </a:solidFill>
            <a:ln w="3175" cap="flat" cmpd="sng" algn="ctr">
              <a:noFill/>
              <a:prstDash val="solid"/>
              <a:round/>
              <a:headEnd type="none" w="med" len="med"/>
              <a:tailEnd type="none" w="med" len="med"/>
            </a:ln>
            <a:effectLst>
              <a:glow>
                <a:schemeClr val="accent1"/>
              </a:glow>
              <a:outerShdw blurRad="50800" dist="38100" algn="l" rotWithShape="0">
                <a:schemeClr val="bg1"/>
              </a:outerShdw>
            </a:effectLst>
          </p:spPr>
          <p:txBody>
            <a:bodyPr vert="horz" wrap="none" lIns="89979" tIns="46789" rIns="89979" bIns="46789" numCol="1" rtlCol="0" anchor="ctr" anchorCtr="0" compatLnSpc="1">
              <a:prstTxWarp prst="textNoShape">
                <a:avLst/>
              </a:prstTxWarp>
            </a:bodyPr>
            <a:lstStyle/>
            <a:p>
              <a:pPr algn="ctr" defTabSz="1218926"/>
              <a:r>
                <a:rPr lang="en-US" sz="1600" b="1" dirty="0">
                  <a:solidFill>
                    <a:prstClr val="white"/>
                  </a:solidFill>
                  <a:latin typeface="Arial"/>
                </a:rPr>
                <a:t>   Development</a:t>
              </a:r>
            </a:p>
          </p:txBody>
        </p:sp>
        <p:sp>
          <p:nvSpPr>
            <p:cNvPr id="64" name="Rectangle 13"/>
            <p:cNvSpPr/>
            <p:nvPr/>
          </p:nvSpPr>
          <p:spPr>
            <a:xfrm>
              <a:off x="391482" y="2902601"/>
              <a:ext cx="1743174" cy="1785104"/>
            </a:xfrm>
            <a:prstGeom prst="rect">
              <a:avLst/>
            </a:prstGeom>
          </p:spPr>
          <p:txBody>
            <a:bodyPr wrap="square">
              <a:spAutoFit/>
            </a:bodyPr>
            <a:lstStyle/>
            <a:p>
              <a:pPr defTabSz="1218926"/>
              <a:r>
                <a:rPr lang="en-US" sz="1100" b="1" dirty="0">
                  <a:solidFill>
                    <a:srgbClr val="50B400"/>
                  </a:solidFill>
                  <a:latin typeface="Arial"/>
                </a:rPr>
                <a:t>Feasibility study</a:t>
              </a:r>
              <a:endParaRPr lang="en-US" sz="1100" dirty="0">
                <a:solidFill>
                  <a:srgbClr val="50B400"/>
                </a:solidFill>
                <a:latin typeface="Arial"/>
              </a:endParaRPr>
            </a:p>
            <a:p>
              <a:pPr defTabSz="1218926"/>
              <a:endParaRPr lang="en-US" sz="1100" dirty="0">
                <a:solidFill>
                  <a:prstClr val="black"/>
                </a:solidFill>
                <a:latin typeface="Arial"/>
              </a:endParaRPr>
            </a:p>
            <a:p>
              <a:pPr marL="171416" indent="-171416" defTabSz="1218926">
                <a:buFont typeface="Wingdings" panose="05000000000000000000" pitchFamily="2" charset="2"/>
                <a:buChar char="§"/>
              </a:pPr>
              <a:endParaRPr lang="en-US" sz="1100" dirty="0">
                <a:solidFill>
                  <a:prstClr val="black"/>
                </a:solidFill>
                <a:latin typeface="Arial"/>
              </a:endParaRPr>
            </a:p>
            <a:p>
              <a:pPr marL="171416" indent="-171416" defTabSz="1218926">
                <a:buFont typeface="Wingdings" panose="05000000000000000000" pitchFamily="2" charset="2"/>
                <a:buChar char="§"/>
              </a:pPr>
              <a:endParaRPr lang="en-US" sz="1100" dirty="0">
                <a:solidFill>
                  <a:prstClr val="black"/>
                </a:solidFill>
                <a:latin typeface="Arial"/>
              </a:endParaRPr>
            </a:p>
            <a:p>
              <a:pPr marL="171416" indent="-171416" defTabSz="1218926">
                <a:buFont typeface="Wingdings" panose="05000000000000000000" pitchFamily="2" charset="2"/>
                <a:buChar char="§"/>
              </a:pPr>
              <a:r>
                <a:rPr lang="en-US" sz="1100" dirty="0">
                  <a:solidFill>
                    <a:prstClr val="black"/>
                  </a:solidFill>
                  <a:latin typeface="Arial"/>
                </a:rPr>
                <a:t>Design review</a:t>
              </a:r>
            </a:p>
            <a:p>
              <a:pPr marL="171416" indent="-171416" defTabSz="1218926">
                <a:buFont typeface="Wingdings" panose="05000000000000000000" pitchFamily="2" charset="2"/>
                <a:buChar char="§"/>
              </a:pPr>
              <a:r>
                <a:rPr lang="en-US" altLang="zh-CN" sz="1100" dirty="0">
                  <a:solidFill>
                    <a:prstClr val="black"/>
                  </a:solidFill>
                  <a:latin typeface="Arial"/>
                </a:rPr>
                <a:t>Site e</a:t>
              </a:r>
              <a:r>
                <a:rPr lang="en-US" sz="1100" dirty="0">
                  <a:solidFill>
                    <a:prstClr val="black"/>
                  </a:solidFill>
                  <a:latin typeface="Arial"/>
                </a:rPr>
                <a:t>valuation</a:t>
              </a:r>
            </a:p>
            <a:p>
              <a:pPr marL="171416" indent="-171416" defTabSz="1218926">
                <a:buFont typeface="Wingdings" panose="05000000000000000000" pitchFamily="2" charset="2"/>
                <a:buChar char="§"/>
              </a:pPr>
              <a:r>
                <a:rPr lang="en-US" sz="1100" dirty="0">
                  <a:solidFill>
                    <a:prstClr val="black"/>
                  </a:solidFill>
                  <a:latin typeface="Arial"/>
                </a:rPr>
                <a:t>Energy yield assessment</a:t>
              </a:r>
            </a:p>
            <a:p>
              <a:pPr marL="171416" indent="-171416" defTabSz="1218926">
                <a:buFont typeface="Wingdings" panose="05000000000000000000" pitchFamily="2" charset="2"/>
                <a:buChar char="§"/>
              </a:pPr>
              <a:r>
                <a:rPr lang="en-US" altLang="zh-CN" sz="1100" dirty="0">
                  <a:solidFill>
                    <a:prstClr val="black"/>
                  </a:solidFill>
                  <a:latin typeface="Arial"/>
                </a:rPr>
                <a:t>Glare assessment</a:t>
              </a:r>
            </a:p>
            <a:p>
              <a:pPr marL="171416" indent="-171416" defTabSz="1218926"/>
              <a:endParaRPr lang="en-US" sz="1100" dirty="0">
                <a:solidFill>
                  <a:prstClr val="black"/>
                </a:solidFill>
                <a:latin typeface="Arial"/>
              </a:endParaRPr>
            </a:p>
          </p:txBody>
        </p:sp>
        <p:sp>
          <p:nvSpPr>
            <p:cNvPr id="65" name="Rectangle 14"/>
            <p:cNvSpPr/>
            <p:nvPr/>
          </p:nvSpPr>
          <p:spPr>
            <a:xfrm>
              <a:off x="1918626" y="2902601"/>
              <a:ext cx="1748530" cy="1615827"/>
            </a:xfrm>
            <a:prstGeom prst="rect">
              <a:avLst/>
            </a:prstGeom>
          </p:spPr>
          <p:txBody>
            <a:bodyPr wrap="square">
              <a:spAutoFit/>
            </a:bodyPr>
            <a:lstStyle/>
            <a:p>
              <a:pPr defTabSz="1218926"/>
              <a:r>
                <a:rPr lang="en-US" sz="1100" b="1" dirty="0">
                  <a:solidFill>
                    <a:srgbClr val="50B400"/>
                  </a:solidFill>
                  <a:latin typeface="Arial"/>
                </a:rPr>
                <a:t>Technical requirements</a:t>
              </a:r>
            </a:p>
            <a:p>
              <a:pPr defTabSz="1218926"/>
              <a:endParaRPr lang="en-US" sz="1100" b="1" dirty="0">
                <a:solidFill>
                  <a:srgbClr val="50B400"/>
                </a:solidFill>
                <a:latin typeface="Arial"/>
              </a:endParaRPr>
            </a:p>
            <a:p>
              <a:pPr defTabSz="1218926"/>
              <a:endParaRPr lang="en-US" sz="1100" b="1" dirty="0">
                <a:solidFill>
                  <a:prstClr val="black"/>
                </a:solidFill>
                <a:latin typeface="Arial"/>
              </a:endParaRPr>
            </a:p>
            <a:p>
              <a:pPr marL="171416" indent="-171416" defTabSz="1218926">
                <a:buFont typeface="Wingdings" panose="05000000000000000000" pitchFamily="2" charset="2"/>
                <a:buChar char="§"/>
              </a:pPr>
              <a:r>
                <a:rPr lang="en-US" sz="1100" dirty="0">
                  <a:solidFill>
                    <a:prstClr val="black"/>
                  </a:solidFill>
                  <a:latin typeface="Arial"/>
                </a:rPr>
                <a:t>Design optimization</a:t>
              </a:r>
            </a:p>
            <a:p>
              <a:pPr marL="171416" indent="-171416" defTabSz="1218926">
                <a:buFont typeface="Wingdings" panose="05000000000000000000" pitchFamily="2" charset="2"/>
                <a:buChar char="§"/>
              </a:pPr>
              <a:r>
                <a:rPr lang="en-US" sz="1100" dirty="0">
                  <a:solidFill>
                    <a:prstClr val="black"/>
                  </a:solidFill>
                  <a:latin typeface="Arial"/>
                </a:rPr>
                <a:t>Components check</a:t>
              </a:r>
            </a:p>
            <a:p>
              <a:pPr marL="171416" indent="-171416" defTabSz="1218926">
                <a:buFont typeface="Wingdings" panose="05000000000000000000" pitchFamily="2" charset="2"/>
                <a:buChar char="§"/>
              </a:pPr>
              <a:r>
                <a:rPr lang="en-US" altLang="zh-CN" sz="1100" dirty="0">
                  <a:solidFill>
                    <a:prstClr val="black"/>
                  </a:solidFill>
                  <a:latin typeface="Arial"/>
                </a:rPr>
                <a:t>Production estimate</a:t>
              </a:r>
            </a:p>
            <a:p>
              <a:pPr marL="171416" indent="-171416" defTabSz="1218926">
                <a:buFont typeface="Wingdings" panose="05000000000000000000" pitchFamily="2" charset="2"/>
                <a:buChar char="§"/>
              </a:pPr>
              <a:r>
                <a:rPr lang="en-US" altLang="zh-CN" sz="1100" dirty="0">
                  <a:solidFill>
                    <a:prstClr val="black"/>
                  </a:solidFill>
                  <a:latin typeface="Arial"/>
                </a:rPr>
                <a:t>EPC &amp; O&amp;M contract review </a:t>
              </a:r>
            </a:p>
          </p:txBody>
        </p:sp>
        <p:sp>
          <p:nvSpPr>
            <p:cNvPr id="66" name="Rectangle 15"/>
            <p:cNvSpPr/>
            <p:nvPr/>
          </p:nvSpPr>
          <p:spPr>
            <a:xfrm>
              <a:off x="3474127" y="2902401"/>
              <a:ext cx="1832840" cy="1785104"/>
            </a:xfrm>
            <a:prstGeom prst="rect">
              <a:avLst/>
            </a:prstGeom>
          </p:spPr>
          <p:txBody>
            <a:bodyPr wrap="square">
              <a:spAutoFit/>
            </a:bodyPr>
            <a:lstStyle/>
            <a:p>
              <a:pPr defTabSz="1218926"/>
              <a:r>
                <a:rPr lang="en-US" sz="1100" b="1" dirty="0">
                  <a:solidFill>
                    <a:srgbClr val="50B400"/>
                  </a:solidFill>
                  <a:latin typeface="Arial"/>
                </a:rPr>
                <a:t>Product and vendor quality assurance</a:t>
              </a:r>
            </a:p>
            <a:p>
              <a:pPr defTabSz="1218926"/>
              <a:endParaRPr lang="en-US" sz="1100" b="1" dirty="0">
                <a:solidFill>
                  <a:prstClr val="black"/>
                </a:solidFill>
                <a:latin typeface="Arial"/>
              </a:endParaRPr>
            </a:p>
            <a:p>
              <a:pPr defTabSz="1218926"/>
              <a:endParaRPr lang="en-US" sz="1100" b="1" dirty="0">
                <a:solidFill>
                  <a:prstClr val="black"/>
                </a:solidFill>
                <a:latin typeface="Arial"/>
              </a:endParaRPr>
            </a:p>
            <a:p>
              <a:pPr marL="171416" indent="-171416" defTabSz="1218926">
                <a:buFont typeface="Wingdings" panose="05000000000000000000" pitchFamily="2" charset="2"/>
                <a:buChar char="§"/>
              </a:pPr>
              <a:r>
                <a:rPr lang="en-US" sz="1100" dirty="0">
                  <a:solidFill>
                    <a:prstClr val="black"/>
                  </a:solidFill>
                  <a:latin typeface="Arial"/>
                </a:rPr>
                <a:t>Factory audits</a:t>
              </a:r>
            </a:p>
            <a:p>
              <a:pPr marL="171416" indent="-171416" defTabSz="1218926">
                <a:buFont typeface="Wingdings" panose="05000000000000000000" pitchFamily="2" charset="2"/>
                <a:buChar char="§"/>
              </a:pPr>
              <a:r>
                <a:rPr lang="en-US" altLang="zh-CN" sz="1100" dirty="0">
                  <a:solidFill>
                    <a:prstClr val="black"/>
                  </a:solidFill>
                  <a:latin typeface="Arial"/>
                </a:rPr>
                <a:t>P</a:t>
              </a:r>
              <a:r>
                <a:rPr lang="en-US" sz="1100" dirty="0">
                  <a:solidFill>
                    <a:prstClr val="black"/>
                  </a:solidFill>
                  <a:latin typeface="Arial"/>
                </a:rPr>
                <a:t>urchase agreements </a:t>
              </a:r>
              <a:r>
                <a:rPr lang="en-US" altLang="zh-CN" sz="1100" dirty="0">
                  <a:solidFill>
                    <a:prstClr val="black"/>
                  </a:solidFill>
                  <a:latin typeface="Arial"/>
                </a:rPr>
                <a:t>review</a:t>
              </a:r>
            </a:p>
            <a:p>
              <a:pPr marL="171416" indent="-171416" defTabSz="1218926">
                <a:buFont typeface="Wingdings" panose="05000000000000000000" pitchFamily="2" charset="2"/>
                <a:buChar char="§"/>
              </a:pPr>
              <a:r>
                <a:rPr lang="en-US" sz="1100" dirty="0">
                  <a:solidFill>
                    <a:prstClr val="black"/>
                  </a:solidFill>
                  <a:latin typeface="Arial"/>
                </a:rPr>
                <a:t>Production inspection</a:t>
              </a:r>
            </a:p>
            <a:p>
              <a:pPr marL="171416" indent="-171416" defTabSz="1218926">
                <a:buFont typeface="Wingdings" panose="05000000000000000000" pitchFamily="2" charset="2"/>
                <a:buChar char="§"/>
              </a:pPr>
              <a:r>
                <a:rPr lang="en-US" sz="1100" dirty="0">
                  <a:solidFill>
                    <a:prstClr val="black"/>
                  </a:solidFill>
                  <a:latin typeface="Arial"/>
                </a:rPr>
                <a:t>Module and component tests</a:t>
              </a:r>
            </a:p>
          </p:txBody>
        </p:sp>
        <p:sp>
          <p:nvSpPr>
            <p:cNvPr id="67" name="Rectangle 16"/>
            <p:cNvSpPr/>
            <p:nvPr/>
          </p:nvSpPr>
          <p:spPr>
            <a:xfrm>
              <a:off x="5159076" y="2902401"/>
              <a:ext cx="1846663" cy="2123658"/>
            </a:xfrm>
            <a:prstGeom prst="rect">
              <a:avLst/>
            </a:prstGeom>
          </p:spPr>
          <p:txBody>
            <a:bodyPr wrap="square">
              <a:spAutoFit/>
            </a:bodyPr>
            <a:lstStyle/>
            <a:p>
              <a:pPr defTabSz="1218926"/>
              <a:r>
                <a:rPr lang="en-US" sz="1100" b="1" dirty="0">
                  <a:solidFill>
                    <a:srgbClr val="50B400"/>
                  </a:solidFill>
                  <a:latin typeface="Arial"/>
                </a:rPr>
                <a:t>Inspection and construction monitoring</a:t>
              </a:r>
            </a:p>
            <a:p>
              <a:pPr defTabSz="1218926"/>
              <a:endParaRPr lang="en-US" sz="1100" dirty="0">
                <a:solidFill>
                  <a:prstClr val="black"/>
                </a:solidFill>
                <a:latin typeface="Arial"/>
              </a:endParaRPr>
            </a:p>
            <a:p>
              <a:pPr marL="171416" indent="-171416" defTabSz="1218926">
                <a:buFont typeface="Wingdings" panose="05000000000000000000" pitchFamily="2" charset="2"/>
                <a:buChar char="§"/>
              </a:pPr>
              <a:endParaRPr lang="en-US" sz="1100" dirty="0">
                <a:solidFill>
                  <a:prstClr val="black"/>
                </a:solidFill>
                <a:latin typeface="Arial"/>
              </a:endParaRPr>
            </a:p>
            <a:p>
              <a:pPr marL="171416" indent="-171416" defTabSz="1218926">
                <a:buFont typeface="Wingdings" panose="05000000000000000000" pitchFamily="2" charset="2"/>
                <a:buChar char="§"/>
              </a:pPr>
              <a:r>
                <a:rPr lang="en-US" sz="1100" dirty="0">
                  <a:solidFill>
                    <a:prstClr val="black"/>
                  </a:solidFill>
                  <a:latin typeface="Arial"/>
                </a:rPr>
                <a:t>Quality control and conformity inspection of civil, mechanical, electrical engineering, technical execution and performance</a:t>
              </a:r>
            </a:p>
            <a:p>
              <a:pPr marL="171416" indent="-171416" defTabSz="1218926">
                <a:buFont typeface="Wingdings" panose="05000000000000000000" pitchFamily="2" charset="2"/>
                <a:buChar char="§"/>
              </a:pPr>
              <a:r>
                <a:rPr lang="en-US" sz="1100" dirty="0">
                  <a:solidFill>
                    <a:prstClr val="black"/>
                  </a:solidFill>
                  <a:latin typeface="Arial"/>
                </a:rPr>
                <a:t>Progress and critical milestone monitoring</a:t>
              </a:r>
            </a:p>
          </p:txBody>
        </p:sp>
        <p:sp>
          <p:nvSpPr>
            <p:cNvPr id="68" name="Rectangle 17"/>
            <p:cNvSpPr/>
            <p:nvPr/>
          </p:nvSpPr>
          <p:spPr>
            <a:xfrm>
              <a:off x="6983488" y="2908693"/>
              <a:ext cx="1854544" cy="2462213"/>
            </a:xfrm>
            <a:prstGeom prst="rect">
              <a:avLst/>
            </a:prstGeom>
          </p:spPr>
          <p:txBody>
            <a:bodyPr wrap="square">
              <a:spAutoFit/>
            </a:bodyPr>
            <a:lstStyle/>
            <a:p>
              <a:pPr defTabSz="1218926"/>
              <a:r>
                <a:rPr lang="en-US" sz="1100" b="1" dirty="0">
                  <a:solidFill>
                    <a:srgbClr val="50B400"/>
                  </a:solidFill>
                  <a:latin typeface="Arial"/>
                </a:rPr>
                <a:t>Safety, quality and power control</a:t>
              </a:r>
            </a:p>
            <a:p>
              <a:pPr defTabSz="1218926"/>
              <a:endParaRPr lang="en-US" sz="1100" dirty="0">
                <a:solidFill>
                  <a:prstClr val="black"/>
                </a:solidFill>
                <a:latin typeface="Arial"/>
              </a:endParaRPr>
            </a:p>
            <a:p>
              <a:pPr marL="171416" indent="-171416" defTabSz="1218926">
                <a:buFont typeface="Wingdings" panose="05000000000000000000" pitchFamily="2" charset="2"/>
                <a:buChar char="§"/>
              </a:pPr>
              <a:endParaRPr lang="en-US" sz="1100" dirty="0">
                <a:solidFill>
                  <a:prstClr val="black"/>
                </a:solidFill>
                <a:latin typeface="Arial"/>
              </a:endParaRPr>
            </a:p>
            <a:p>
              <a:pPr marL="171416" indent="-171416" defTabSz="1218926">
                <a:buFont typeface="Wingdings" panose="05000000000000000000" pitchFamily="2" charset="2"/>
                <a:buChar char="§"/>
              </a:pPr>
              <a:r>
                <a:rPr lang="en-US" altLang="zh-CN" sz="1100" dirty="0">
                  <a:solidFill>
                    <a:prstClr val="black"/>
                  </a:solidFill>
                  <a:latin typeface="Arial"/>
                </a:rPr>
                <a:t>Safety-related inspection</a:t>
              </a:r>
            </a:p>
            <a:p>
              <a:pPr marL="171416" indent="-171416" defTabSz="1218926">
                <a:buFont typeface="Wingdings" panose="05000000000000000000" pitchFamily="2" charset="2"/>
                <a:buChar char="§"/>
              </a:pPr>
              <a:r>
                <a:rPr lang="en-US" altLang="zh-CN" sz="1100" dirty="0">
                  <a:solidFill>
                    <a:prstClr val="black"/>
                  </a:solidFill>
                  <a:latin typeface="Arial"/>
                </a:rPr>
                <a:t>Functional check</a:t>
              </a:r>
            </a:p>
            <a:p>
              <a:pPr marL="171416" indent="-171416" defTabSz="1218926">
                <a:buFont typeface="Wingdings" panose="05000000000000000000" pitchFamily="2" charset="2"/>
                <a:buChar char="§"/>
              </a:pPr>
              <a:r>
                <a:rPr lang="en-US" altLang="zh-CN" sz="1100" dirty="0">
                  <a:solidFill>
                    <a:prstClr val="black"/>
                  </a:solidFill>
                  <a:latin typeface="Arial"/>
                </a:rPr>
                <a:t>Test protocol verification</a:t>
              </a:r>
            </a:p>
            <a:p>
              <a:pPr marL="171416" indent="-171416" defTabSz="1218926">
                <a:buFont typeface="Wingdings" panose="05000000000000000000" pitchFamily="2" charset="2"/>
                <a:buChar char="§"/>
              </a:pPr>
              <a:r>
                <a:rPr lang="en-US" altLang="zh-CN" sz="1100" dirty="0" err="1">
                  <a:solidFill>
                    <a:prstClr val="black"/>
                  </a:solidFill>
                  <a:latin typeface="Arial"/>
                </a:rPr>
                <a:t>Thermographic</a:t>
              </a:r>
              <a:r>
                <a:rPr lang="en-US" altLang="zh-CN" sz="1100" dirty="0">
                  <a:solidFill>
                    <a:prstClr val="black"/>
                  </a:solidFill>
                  <a:latin typeface="Arial"/>
                </a:rPr>
                <a:t> scans</a:t>
              </a:r>
            </a:p>
            <a:p>
              <a:pPr marL="171416" indent="-171416" defTabSz="1218926">
                <a:buFont typeface="Wingdings" panose="05000000000000000000" pitchFamily="2" charset="2"/>
                <a:buChar char="§"/>
              </a:pPr>
              <a:r>
                <a:rPr lang="en-US" altLang="zh-CN" sz="1100" dirty="0">
                  <a:solidFill>
                    <a:prstClr val="black"/>
                  </a:solidFill>
                  <a:latin typeface="Arial"/>
                </a:rPr>
                <a:t>On-site tests and measurements</a:t>
              </a:r>
            </a:p>
            <a:p>
              <a:pPr marL="171416" indent="-171416" defTabSz="1218926"/>
              <a:endParaRPr lang="en-US" sz="1100" dirty="0">
                <a:solidFill>
                  <a:prstClr val="black"/>
                </a:solidFill>
                <a:latin typeface="Arial"/>
              </a:endParaRPr>
            </a:p>
            <a:p>
              <a:pPr marL="171416" indent="-171416" defTabSz="1218926">
                <a:buFont typeface="Arial" panose="020B0604020202020204" pitchFamily="34" charset="0"/>
                <a:buChar char="•"/>
              </a:pPr>
              <a:endParaRPr lang="en-US" sz="1100" dirty="0">
                <a:solidFill>
                  <a:prstClr val="black"/>
                </a:solidFill>
                <a:latin typeface="Arial"/>
              </a:endParaRPr>
            </a:p>
          </p:txBody>
        </p:sp>
        <p:sp>
          <p:nvSpPr>
            <p:cNvPr id="69" name="Rectangle 18"/>
            <p:cNvSpPr/>
            <p:nvPr/>
          </p:nvSpPr>
          <p:spPr>
            <a:xfrm>
              <a:off x="8610991" y="2915943"/>
              <a:ext cx="1830938" cy="1954381"/>
            </a:xfrm>
            <a:prstGeom prst="rect">
              <a:avLst/>
            </a:prstGeom>
          </p:spPr>
          <p:txBody>
            <a:bodyPr wrap="square">
              <a:spAutoFit/>
            </a:bodyPr>
            <a:lstStyle/>
            <a:p>
              <a:pPr defTabSz="1218926"/>
              <a:r>
                <a:rPr lang="en-US" sz="1100" b="1" dirty="0">
                  <a:solidFill>
                    <a:srgbClr val="50B400"/>
                  </a:solidFill>
                  <a:latin typeface="Arial"/>
                </a:rPr>
                <a:t>Final acceptance and asset certification</a:t>
              </a:r>
              <a:endParaRPr lang="en-US" sz="1100" b="1" dirty="0">
                <a:solidFill>
                  <a:prstClr val="black"/>
                </a:solidFill>
                <a:latin typeface="Arial"/>
              </a:endParaRPr>
            </a:p>
            <a:p>
              <a:pPr defTabSz="1218926"/>
              <a:endParaRPr lang="en-US" sz="1100" b="1" dirty="0">
                <a:solidFill>
                  <a:prstClr val="black"/>
                </a:solidFill>
                <a:latin typeface="Arial"/>
              </a:endParaRPr>
            </a:p>
            <a:p>
              <a:pPr marL="171416" indent="-171416" defTabSz="1218926">
                <a:buFont typeface="Wingdings" panose="05000000000000000000" pitchFamily="2" charset="2"/>
                <a:buChar char="§"/>
              </a:pPr>
              <a:endParaRPr lang="en-US" sz="1100" dirty="0">
                <a:solidFill>
                  <a:prstClr val="black"/>
                </a:solidFill>
                <a:latin typeface="Arial"/>
              </a:endParaRPr>
            </a:p>
            <a:p>
              <a:pPr marL="171416" indent="-171416" defTabSz="1218926">
                <a:buFont typeface="Wingdings" panose="05000000000000000000" pitchFamily="2" charset="2"/>
                <a:buChar char="§"/>
              </a:pPr>
              <a:r>
                <a:rPr lang="en-US" sz="1100" dirty="0">
                  <a:solidFill>
                    <a:prstClr val="black"/>
                  </a:solidFill>
                  <a:latin typeface="Arial"/>
                </a:rPr>
                <a:t>Performance ratio (PR) assessment </a:t>
              </a:r>
            </a:p>
            <a:p>
              <a:pPr marL="171416" indent="-171416" defTabSz="1218926">
                <a:buFont typeface="Wingdings" panose="05000000000000000000" pitchFamily="2" charset="2"/>
                <a:buChar char="§"/>
              </a:pPr>
              <a:r>
                <a:rPr lang="en-US" sz="1100" dirty="0">
                  <a:solidFill>
                    <a:prstClr val="black"/>
                  </a:solidFill>
                  <a:latin typeface="Arial"/>
                </a:rPr>
                <a:t>Provisional and final acceptance certification</a:t>
              </a:r>
            </a:p>
            <a:p>
              <a:pPr marL="171416" indent="-171416" defTabSz="1218926">
                <a:buFont typeface="Wingdings" panose="05000000000000000000" pitchFamily="2" charset="2"/>
                <a:buChar char="§"/>
              </a:pPr>
              <a:r>
                <a:rPr lang="en-US" sz="1100" dirty="0">
                  <a:solidFill>
                    <a:prstClr val="black"/>
                  </a:solidFill>
                  <a:latin typeface="Arial"/>
                </a:rPr>
                <a:t>Technical documentation review</a:t>
              </a:r>
            </a:p>
            <a:p>
              <a:pPr marL="171416" indent="-171416" defTabSz="1218926">
                <a:buFont typeface="Arial" panose="020B0604020202020204" pitchFamily="34" charset="0"/>
                <a:buChar char="•"/>
              </a:pPr>
              <a:endParaRPr lang="en-US" sz="1100" dirty="0">
                <a:solidFill>
                  <a:prstClr val="black"/>
                </a:solidFill>
                <a:latin typeface="Arial"/>
              </a:endParaRPr>
            </a:p>
          </p:txBody>
        </p:sp>
        <p:sp>
          <p:nvSpPr>
            <p:cNvPr id="70" name="Rectangle 19"/>
            <p:cNvSpPr/>
            <p:nvPr/>
          </p:nvSpPr>
          <p:spPr>
            <a:xfrm>
              <a:off x="10271786" y="2915943"/>
              <a:ext cx="1846663" cy="2292935"/>
            </a:xfrm>
            <a:prstGeom prst="rect">
              <a:avLst/>
            </a:prstGeom>
          </p:spPr>
          <p:txBody>
            <a:bodyPr wrap="square">
              <a:spAutoFit/>
            </a:bodyPr>
            <a:lstStyle/>
            <a:p>
              <a:pPr defTabSz="1218926"/>
              <a:r>
                <a:rPr lang="en-US" sz="1100" b="1" dirty="0">
                  <a:solidFill>
                    <a:srgbClr val="50B400"/>
                  </a:solidFill>
                  <a:latin typeface="Arial"/>
                </a:rPr>
                <a:t>Regular monitoring</a:t>
              </a:r>
            </a:p>
            <a:p>
              <a:pPr defTabSz="1218926"/>
              <a:endParaRPr lang="en-US" sz="1100" b="1" dirty="0">
                <a:solidFill>
                  <a:srgbClr val="50B400"/>
                </a:solidFill>
                <a:latin typeface="Arial"/>
              </a:endParaRPr>
            </a:p>
            <a:p>
              <a:pPr defTabSz="1218926"/>
              <a:endParaRPr lang="en-US" sz="1100" b="1" dirty="0">
                <a:solidFill>
                  <a:srgbClr val="50B400"/>
                </a:solidFill>
                <a:latin typeface="Arial"/>
              </a:endParaRPr>
            </a:p>
            <a:p>
              <a:pPr defTabSz="1218926"/>
              <a:endParaRPr lang="en-US" sz="1100" b="1" dirty="0">
                <a:solidFill>
                  <a:srgbClr val="50B400"/>
                </a:solidFill>
                <a:latin typeface="Arial"/>
              </a:endParaRPr>
            </a:p>
            <a:p>
              <a:pPr marL="171416" indent="-171416" defTabSz="1218926">
                <a:buFont typeface="Wingdings" panose="05000000000000000000" pitchFamily="2" charset="2"/>
                <a:buChar char="§"/>
              </a:pPr>
              <a:r>
                <a:rPr lang="en-US" sz="1100" dirty="0">
                  <a:solidFill>
                    <a:prstClr val="black"/>
                  </a:solidFill>
                  <a:latin typeface="Arial"/>
                </a:rPr>
                <a:t>O&amp;M </a:t>
              </a:r>
              <a:r>
                <a:rPr lang="en-US" altLang="zh-CN" sz="1100" dirty="0">
                  <a:solidFill>
                    <a:prstClr val="black"/>
                  </a:solidFill>
                  <a:latin typeface="Arial"/>
                </a:rPr>
                <a:t>report review</a:t>
              </a:r>
            </a:p>
            <a:p>
              <a:pPr marL="171416" indent="-171416" defTabSz="1218926">
                <a:buFont typeface="Wingdings" panose="05000000000000000000" pitchFamily="2" charset="2"/>
                <a:buChar char="§"/>
              </a:pPr>
              <a:r>
                <a:rPr lang="en-US" altLang="zh-CN" sz="1100" dirty="0">
                  <a:solidFill>
                    <a:prstClr val="black"/>
                  </a:solidFill>
                  <a:latin typeface="Arial"/>
                </a:rPr>
                <a:t>Refinancing due diligence</a:t>
              </a:r>
            </a:p>
            <a:p>
              <a:pPr marL="171416" indent="-171416" defTabSz="1218926">
                <a:buFont typeface="Wingdings" panose="05000000000000000000" pitchFamily="2" charset="2"/>
                <a:buChar char="§"/>
              </a:pPr>
              <a:r>
                <a:rPr lang="en-US" altLang="zh-CN" sz="1100" dirty="0">
                  <a:solidFill>
                    <a:prstClr val="black"/>
                  </a:solidFill>
                  <a:latin typeface="Arial"/>
                </a:rPr>
                <a:t>Periodic power and warranty inspections</a:t>
              </a:r>
            </a:p>
            <a:p>
              <a:pPr marL="171416" indent="-171416" defTabSz="1218926">
                <a:buFont typeface="Wingdings" panose="05000000000000000000" pitchFamily="2" charset="2"/>
                <a:buChar char="§"/>
              </a:pPr>
              <a:r>
                <a:rPr lang="en-US" altLang="zh-CN" sz="1100" dirty="0">
                  <a:solidFill>
                    <a:prstClr val="black"/>
                  </a:solidFill>
                  <a:latin typeface="Arial"/>
                </a:rPr>
                <a:t>Failure analysis</a:t>
              </a:r>
            </a:p>
            <a:p>
              <a:pPr marL="171416" indent="-171416" defTabSz="1218926">
                <a:buFont typeface="Wingdings" panose="05000000000000000000" pitchFamily="2" charset="2"/>
                <a:buChar char="§"/>
              </a:pPr>
              <a:r>
                <a:rPr lang="en-US" altLang="zh-CN" sz="1100" dirty="0">
                  <a:solidFill>
                    <a:prstClr val="black"/>
                  </a:solidFill>
                  <a:latin typeface="Arial"/>
                </a:rPr>
                <a:t>Technical due diligence</a:t>
              </a:r>
            </a:p>
            <a:p>
              <a:pPr marL="171416" indent="-171416" defTabSz="1218926">
                <a:buFont typeface="Wingdings" panose="05000000000000000000" pitchFamily="2" charset="2"/>
                <a:buChar char="§"/>
              </a:pPr>
              <a:r>
                <a:rPr lang="en-US" altLang="zh-CN" sz="1100" dirty="0">
                  <a:solidFill>
                    <a:prstClr val="black"/>
                  </a:solidFill>
                  <a:latin typeface="Arial"/>
                </a:rPr>
                <a:t>Power optimization</a:t>
              </a:r>
            </a:p>
            <a:p>
              <a:pPr marL="171416" indent="-171416" defTabSz="1218926">
                <a:buFont typeface="Arial" panose="020B0604020202020204" pitchFamily="34" charset="0"/>
                <a:buChar char="•"/>
              </a:pPr>
              <a:endParaRPr lang="en-US" sz="1100" dirty="0">
                <a:solidFill>
                  <a:prstClr val="black"/>
                </a:solidFill>
                <a:latin typeface="Arial"/>
              </a:endParaRPr>
            </a:p>
          </p:txBody>
        </p:sp>
      </p:grpSp>
      <p:sp>
        <p:nvSpPr>
          <p:cNvPr id="9" name="Fußzeilenplatzhalter 8">
            <a:extLst>
              <a:ext uri="{FF2B5EF4-FFF2-40B4-BE49-F238E27FC236}">
                <a16:creationId xmlns:a16="http://schemas.microsoft.com/office/drawing/2014/main" id="{955499DC-79CA-262D-62ED-708834DACA9D}"/>
              </a:ext>
            </a:extLst>
          </p:cNvPr>
          <p:cNvSpPr txBox="1">
            <a:spLocks/>
          </p:cNvSpPr>
          <p:nvPr/>
        </p:nvSpPr>
        <p:spPr bwMode="gray">
          <a:xfrm>
            <a:off x="1704916" y="6452720"/>
            <a:ext cx="4390984" cy="172505"/>
          </a:xfrm>
          <a:prstGeom prst="rect">
            <a:avLst/>
          </a:prstGeom>
        </p:spPr>
        <p:txBody>
          <a:bodyPr vert="horz" lIns="0" tIns="0" rIns="0" bIns="0" rtlCol="0" anchor="b"/>
          <a:lstStyle>
            <a:defPPr>
              <a:defRPr lang="de-DE"/>
            </a:defPPr>
            <a:lvl1pPr marL="0" algn="l" defTabSz="1219170" rtl="0" eaLnBrk="1" latinLnBrk="0" hangingPunct="1">
              <a:defRPr sz="8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1218926"/>
            <a:r>
              <a:rPr lang="de-DE" altLang="zh-CN">
                <a:solidFill>
                  <a:prstClr val="black"/>
                </a:solidFill>
                <a:latin typeface="Arial"/>
              </a:rPr>
              <a:t>TÜV Rheinland's Solar Business</a:t>
            </a:r>
            <a:endParaRPr lang="de-DE" altLang="zh-CN" dirty="0">
              <a:solidFill>
                <a:prstClr val="black"/>
              </a:solidFill>
              <a:latin typeface="Arial"/>
            </a:endParaRPr>
          </a:p>
        </p:txBody>
      </p:sp>
    </p:spTree>
    <p:extLst>
      <p:ext uri="{BB962C8B-B14F-4D97-AF65-F5344CB8AC3E}">
        <p14:creationId xmlns:p14="http://schemas.microsoft.com/office/powerpoint/2010/main" val="21771286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9B8C959-24E2-3259-7F08-F6EE8CC37BA6}"/>
              </a:ext>
            </a:extLst>
          </p:cNvPr>
          <p:cNvSpPr>
            <a:spLocks noGrp="1"/>
          </p:cNvSpPr>
          <p:nvPr>
            <p:ph type="dt" sz="half" idx="10"/>
          </p:nvPr>
        </p:nvSpPr>
        <p:spPr/>
        <p:txBody>
          <a:bodyPr/>
          <a:lstStyle/>
          <a:p>
            <a:pPr defTabSz="1218926"/>
            <a:fld id="{A96A0BBE-48DF-4E7E-8119-60C6FE218790}" type="datetime1">
              <a:rPr lang="en-US">
                <a:solidFill>
                  <a:prstClr val="black"/>
                </a:solidFill>
                <a:latin typeface="Arial"/>
              </a:rPr>
              <a:pPr defTabSz="1218926"/>
              <a:t>10/22/2024</a:t>
            </a:fld>
            <a:endParaRPr lang="en-US" dirty="0">
              <a:solidFill>
                <a:prstClr val="black"/>
              </a:solidFill>
              <a:latin typeface="Arial"/>
            </a:endParaRPr>
          </a:p>
        </p:txBody>
      </p:sp>
      <p:sp>
        <p:nvSpPr>
          <p:cNvPr id="4" name="Slide Number Placeholder 3">
            <a:extLst>
              <a:ext uri="{FF2B5EF4-FFF2-40B4-BE49-F238E27FC236}">
                <a16:creationId xmlns:a16="http://schemas.microsoft.com/office/drawing/2014/main" id="{6FB22C08-ED52-FA2D-AE05-54B41BD10677}"/>
              </a:ext>
            </a:extLst>
          </p:cNvPr>
          <p:cNvSpPr>
            <a:spLocks noGrp="1"/>
          </p:cNvSpPr>
          <p:nvPr>
            <p:ph type="sldNum" sz="quarter" idx="12"/>
          </p:nvPr>
        </p:nvSpPr>
        <p:spPr/>
        <p:txBody>
          <a:bodyPr/>
          <a:lstStyle/>
          <a:p>
            <a:pPr defTabSz="1218926"/>
            <a:fld id="{4915BD61-E5D5-4E4F-ADA0-6F3448AB9FA6}" type="slidenum">
              <a:rPr lang="en-US">
                <a:solidFill>
                  <a:prstClr val="black"/>
                </a:solidFill>
                <a:latin typeface="Arial"/>
              </a:rPr>
              <a:pPr defTabSz="1218926"/>
              <a:t>65</a:t>
            </a:fld>
            <a:endParaRPr lang="en-US" dirty="0">
              <a:solidFill>
                <a:prstClr val="black"/>
              </a:solidFill>
              <a:latin typeface="Arial"/>
            </a:endParaRPr>
          </a:p>
        </p:txBody>
      </p:sp>
      <p:sp>
        <p:nvSpPr>
          <p:cNvPr id="5" name="Content Placeholder 4">
            <a:extLst>
              <a:ext uri="{FF2B5EF4-FFF2-40B4-BE49-F238E27FC236}">
                <a16:creationId xmlns:a16="http://schemas.microsoft.com/office/drawing/2014/main" id="{82437AAB-A7AA-7C03-81E0-4486853C719C}"/>
              </a:ext>
            </a:extLst>
          </p:cNvPr>
          <p:cNvSpPr>
            <a:spLocks noGrp="1"/>
          </p:cNvSpPr>
          <p:nvPr>
            <p:ph sz="quarter" idx="13"/>
          </p:nvPr>
        </p:nvSpPr>
        <p:spPr>
          <a:xfrm>
            <a:off x="523708" y="5959792"/>
            <a:ext cx="6551212" cy="431900"/>
          </a:xfrm>
        </p:spPr>
        <p:txBody>
          <a:bodyPr/>
          <a:lstStyle/>
          <a:p>
            <a:r>
              <a:rPr lang="en-US" sz="1200" dirty="0"/>
              <a:t>F</a:t>
            </a:r>
            <a:r>
              <a:rPr lang="en-US" altLang="zh-CN" sz="1200" dirty="0"/>
              <a:t>urther reading:</a:t>
            </a:r>
            <a:r>
              <a:rPr lang="zh-CN" altLang="en-US" sz="1200" dirty="0"/>
              <a:t> </a:t>
            </a:r>
            <a:r>
              <a:rPr lang="en-US" sz="1200" dirty="0">
                <a:hlinkClick r:id="rId3"/>
              </a:rPr>
              <a:t>tuev-rheinland-2024-05-supply-chain-brochure-en.pdf</a:t>
            </a:r>
            <a:endParaRPr lang="en-US" sz="1200" dirty="0"/>
          </a:p>
        </p:txBody>
      </p:sp>
      <p:sp>
        <p:nvSpPr>
          <p:cNvPr id="6" name="Text Placeholder 5">
            <a:extLst>
              <a:ext uri="{FF2B5EF4-FFF2-40B4-BE49-F238E27FC236}">
                <a16:creationId xmlns:a16="http://schemas.microsoft.com/office/drawing/2014/main" id="{532CDD72-E848-6AED-B535-B6B2E29D58AC}"/>
              </a:ext>
            </a:extLst>
          </p:cNvPr>
          <p:cNvSpPr>
            <a:spLocks noGrp="1"/>
          </p:cNvSpPr>
          <p:nvPr>
            <p:ph type="body" sz="quarter" idx="14"/>
          </p:nvPr>
        </p:nvSpPr>
        <p:spPr/>
        <p:txBody>
          <a:bodyPr/>
          <a:lstStyle/>
          <a:p>
            <a:r>
              <a:rPr lang="en-US" dirty="0"/>
              <a:t>Validating Critical Components and Supply Chain</a:t>
            </a:r>
          </a:p>
        </p:txBody>
      </p:sp>
      <p:sp>
        <p:nvSpPr>
          <p:cNvPr id="7" name="Title 6">
            <a:extLst>
              <a:ext uri="{FF2B5EF4-FFF2-40B4-BE49-F238E27FC236}">
                <a16:creationId xmlns:a16="http://schemas.microsoft.com/office/drawing/2014/main" id="{22F5A357-49E5-7611-C18A-B0FFC7C0D9D7}"/>
              </a:ext>
            </a:extLst>
          </p:cNvPr>
          <p:cNvSpPr>
            <a:spLocks noGrp="1"/>
          </p:cNvSpPr>
          <p:nvPr>
            <p:ph type="title"/>
          </p:nvPr>
        </p:nvSpPr>
        <p:spPr/>
        <p:txBody>
          <a:bodyPr/>
          <a:lstStyle/>
          <a:p>
            <a:r>
              <a:rPr lang="en-US" b="1" dirty="0"/>
              <a:t>Supply Chain Validation </a:t>
            </a:r>
            <a:r>
              <a:rPr lang="en-US" dirty="0"/>
              <a:t>– Secure Your Components</a:t>
            </a:r>
          </a:p>
        </p:txBody>
      </p:sp>
      <p:pic>
        <p:nvPicPr>
          <p:cNvPr id="3074" name="Picture 2" descr="Photovoltaic supply chain">
            <a:extLst>
              <a:ext uri="{FF2B5EF4-FFF2-40B4-BE49-F238E27FC236}">
                <a16:creationId xmlns:a16="http://schemas.microsoft.com/office/drawing/2014/main" id="{8FC018BB-02EA-BB92-D3C4-36469FCF8D3B}"/>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4075" t="4861" r="6535" b="16409"/>
          <a:stretch/>
        </p:blipFill>
        <p:spPr bwMode="auto">
          <a:xfrm>
            <a:off x="6599939" y="1630059"/>
            <a:ext cx="5140228" cy="353685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EC503442-BFCC-4A1C-1544-4623D332997F}"/>
              </a:ext>
            </a:extLst>
          </p:cNvPr>
          <p:cNvPicPr>
            <a:picLocks noChangeAspect="1"/>
          </p:cNvPicPr>
          <p:nvPr/>
        </p:nvPicPr>
        <p:blipFill>
          <a:blip r:embed="rId5"/>
          <a:stretch>
            <a:fillRect/>
          </a:stretch>
        </p:blipFill>
        <p:spPr>
          <a:xfrm>
            <a:off x="552563" y="1830828"/>
            <a:ext cx="5637187" cy="3308050"/>
          </a:xfrm>
          <a:prstGeom prst="rect">
            <a:avLst/>
          </a:prstGeom>
        </p:spPr>
      </p:pic>
      <p:sp>
        <p:nvSpPr>
          <p:cNvPr id="10" name="Fußzeilenplatzhalter 8">
            <a:extLst>
              <a:ext uri="{FF2B5EF4-FFF2-40B4-BE49-F238E27FC236}">
                <a16:creationId xmlns:a16="http://schemas.microsoft.com/office/drawing/2014/main" id="{C858975D-8314-C493-4B69-06E71E1BC3E8}"/>
              </a:ext>
            </a:extLst>
          </p:cNvPr>
          <p:cNvSpPr txBox="1">
            <a:spLocks/>
          </p:cNvSpPr>
          <p:nvPr/>
        </p:nvSpPr>
        <p:spPr bwMode="gray">
          <a:xfrm>
            <a:off x="1704916" y="6452720"/>
            <a:ext cx="4390984" cy="172505"/>
          </a:xfrm>
          <a:prstGeom prst="rect">
            <a:avLst/>
          </a:prstGeom>
        </p:spPr>
        <p:txBody>
          <a:bodyPr vert="horz" lIns="0" tIns="0" rIns="0" bIns="0" rtlCol="0" anchor="b"/>
          <a:lstStyle>
            <a:defPPr>
              <a:defRPr lang="de-DE"/>
            </a:defPPr>
            <a:lvl1pPr marL="0" algn="l" defTabSz="1219170" rtl="0" eaLnBrk="1" latinLnBrk="0" hangingPunct="1">
              <a:defRPr sz="8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1218926"/>
            <a:r>
              <a:rPr lang="de-DE" altLang="zh-CN">
                <a:solidFill>
                  <a:prstClr val="black"/>
                </a:solidFill>
                <a:latin typeface="Arial"/>
              </a:rPr>
              <a:t>TÜV Rheinland's Solar Business</a:t>
            </a:r>
            <a:endParaRPr lang="de-DE" altLang="zh-CN" dirty="0">
              <a:solidFill>
                <a:prstClr val="black"/>
              </a:solidFill>
              <a:latin typeface="Arial"/>
            </a:endParaRPr>
          </a:p>
        </p:txBody>
      </p:sp>
    </p:spTree>
    <p:extLst>
      <p:ext uri="{BB962C8B-B14F-4D97-AF65-F5344CB8AC3E}">
        <p14:creationId xmlns:p14="http://schemas.microsoft.com/office/powerpoint/2010/main" val="398261611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ltLang="zh-CN" dirty="0"/>
              <a:t>PV Supply Chain Services</a:t>
            </a:r>
            <a:endParaRPr lang="en-US" dirty="0"/>
          </a:p>
        </p:txBody>
      </p:sp>
      <p:sp>
        <p:nvSpPr>
          <p:cNvPr id="2" name="Date Placeholder 1"/>
          <p:cNvSpPr>
            <a:spLocks noGrp="1"/>
          </p:cNvSpPr>
          <p:nvPr>
            <p:ph type="dt" sz="half" idx="10"/>
          </p:nvPr>
        </p:nvSpPr>
        <p:spPr/>
        <p:txBody>
          <a:bodyPr/>
          <a:lstStyle/>
          <a:p>
            <a:pPr defTabSz="1218926"/>
            <a:fld id="{D370C045-12C1-4A5E-A963-0E63DC04E861}" type="datetime1">
              <a:rPr lang="en-US">
                <a:solidFill>
                  <a:prstClr val="black"/>
                </a:solidFill>
                <a:latin typeface="Arial"/>
              </a:rPr>
              <a:pPr defTabSz="1218926"/>
              <a:t>10/22/2024</a:t>
            </a:fld>
            <a:endParaRPr lang="de-DE" dirty="0">
              <a:solidFill>
                <a:prstClr val="black"/>
              </a:solidFill>
              <a:latin typeface="Arial"/>
            </a:endParaRPr>
          </a:p>
        </p:txBody>
      </p:sp>
      <p:sp>
        <p:nvSpPr>
          <p:cNvPr id="4" name="Slide Number Placeholder 3"/>
          <p:cNvSpPr>
            <a:spLocks noGrp="1"/>
          </p:cNvSpPr>
          <p:nvPr>
            <p:ph type="sldNum" sz="quarter" idx="12"/>
          </p:nvPr>
        </p:nvSpPr>
        <p:spPr/>
        <p:txBody>
          <a:bodyPr/>
          <a:lstStyle/>
          <a:p>
            <a:pPr defTabSz="1218926"/>
            <a:fld id="{4915BD61-E5D5-4E4F-ADA0-6F3448AB9FA6}" type="slidenum">
              <a:rPr lang="de-DE">
                <a:solidFill>
                  <a:prstClr val="black"/>
                </a:solidFill>
                <a:latin typeface="Arial"/>
              </a:rPr>
              <a:pPr defTabSz="1218926"/>
              <a:t>66</a:t>
            </a:fld>
            <a:endParaRPr lang="de-DE" dirty="0">
              <a:solidFill>
                <a:prstClr val="black"/>
              </a:solidFill>
              <a:latin typeface="Arial"/>
            </a:endParaRPr>
          </a:p>
        </p:txBody>
      </p:sp>
      <p:sp>
        <p:nvSpPr>
          <p:cNvPr id="8" name="Content Placeholder 7"/>
          <p:cNvSpPr>
            <a:spLocks noGrp="1"/>
          </p:cNvSpPr>
          <p:nvPr>
            <p:ph sz="quarter" idx="13"/>
          </p:nvPr>
        </p:nvSpPr>
        <p:spPr>
          <a:xfrm>
            <a:off x="4872113" y="1701750"/>
            <a:ext cx="4967540" cy="4247017"/>
          </a:xfrm>
        </p:spPr>
        <p:txBody>
          <a:bodyPr/>
          <a:lstStyle/>
          <a:p>
            <a:pPr marL="285693" indent="-285693">
              <a:spcAft>
                <a:spcPts val="400"/>
              </a:spcAft>
              <a:buFont typeface="Wingdings" panose="05000000000000000000" pitchFamily="2" charset="2"/>
              <a:buChar char="§"/>
            </a:pPr>
            <a:r>
              <a:rPr lang="en-US" sz="1400" b="1" dirty="0"/>
              <a:t>Development</a:t>
            </a:r>
            <a:endParaRPr lang="en-US" sz="1400" dirty="0"/>
          </a:p>
          <a:p>
            <a:pPr lvl="1" indent="0">
              <a:spcAft>
                <a:spcPts val="400"/>
              </a:spcAft>
              <a:buNone/>
            </a:pPr>
            <a:r>
              <a:rPr lang="en-US" sz="1400" dirty="0"/>
              <a:t>- Assessment of the production facilities and manufacturer</a:t>
            </a:r>
            <a:r>
              <a:rPr lang="en-US" altLang="zh-CN" sz="1400" dirty="0"/>
              <a:t>s</a:t>
            </a:r>
          </a:p>
          <a:p>
            <a:pPr lvl="1" indent="0">
              <a:spcAft>
                <a:spcPts val="400"/>
              </a:spcAft>
              <a:buNone/>
            </a:pPr>
            <a:r>
              <a:rPr lang="en-US" sz="1400" dirty="0"/>
              <a:t>- Performance optimization with best practice experiences</a:t>
            </a:r>
          </a:p>
          <a:p>
            <a:pPr lvl="1" indent="0">
              <a:spcAft>
                <a:spcPts val="400"/>
              </a:spcAft>
              <a:buNone/>
            </a:pPr>
            <a:endParaRPr lang="en-US" sz="800" dirty="0"/>
          </a:p>
          <a:p>
            <a:pPr marL="285693" indent="-285693">
              <a:spcAft>
                <a:spcPts val="400"/>
              </a:spcAft>
              <a:buFont typeface="Wingdings" panose="05000000000000000000" pitchFamily="2" charset="2"/>
              <a:buChar char="§"/>
            </a:pPr>
            <a:r>
              <a:rPr lang="en-US" sz="1400" b="1" dirty="0"/>
              <a:t>Pre-production</a:t>
            </a:r>
            <a:endParaRPr lang="en-US" sz="1400" dirty="0"/>
          </a:p>
          <a:p>
            <a:pPr lvl="1" indent="0">
              <a:spcAft>
                <a:spcPts val="400"/>
              </a:spcAft>
              <a:buNone/>
            </a:pPr>
            <a:r>
              <a:rPr lang="en-US" sz="1400" dirty="0"/>
              <a:t>- Potential supplier auditing and selection</a:t>
            </a:r>
          </a:p>
          <a:p>
            <a:pPr lvl="1" indent="0">
              <a:spcAft>
                <a:spcPts val="400"/>
              </a:spcAft>
              <a:buNone/>
            </a:pPr>
            <a:r>
              <a:rPr lang="en-US" sz="1400" dirty="0"/>
              <a:t>- PV module and component quality and performance testing</a:t>
            </a:r>
          </a:p>
          <a:p>
            <a:pPr lvl="1" indent="0">
              <a:spcAft>
                <a:spcPts val="400"/>
              </a:spcAft>
              <a:buNone/>
            </a:pPr>
            <a:endParaRPr lang="en-US" sz="800" dirty="0"/>
          </a:p>
          <a:p>
            <a:pPr marL="285693" indent="-285693">
              <a:spcAft>
                <a:spcPts val="400"/>
              </a:spcAft>
              <a:buFont typeface="Wingdings" panose="05000000000000000000" pitchFamily="2" charset="2"/>
              <a:buChar char="§"/>
            </a:pPr>
            <a:r>
              <a:rPr lang="en-US" sz="1400" b="1" dirty="0"/>
              <a:t>Production</a:t>
            </a:r>
            <a:endParaRPr lang="en-US" sz="1400" dirty="0"/>
          </a:p>
          <a:p>
            <a:pPr lvl="1" indent="0">
              <a:spcAft>
                <a:spcPts val="400"/>
              </a:spcAft>
              <a:buNone/>
            </a:pPr>
            <a:r>
              <a:rPr lang="en-US" sz="1400" dirty="0"/>
              <a:t>- Inspection services along the production period</a:t>
            </a:r>
          </a:p>
          <a:p>
            <a:pPr lvl="1" indent="0">
              <a:spcAft>
                <a:spcPts val="400"/>
              </a:spcAft>
              <a:buNone/>
            </a:pPr>
            <a:r>
              <a:rPr lang="en-US" sz="1400" dirty="0"/>
              <a:t>- Spot-check testing during production</a:t>
            </a:r>
          </a:p>
          <a:p>
            <a:pPr lvl="1" indent="0">
              <a:spcAft>
                <a:spcPts val="400"/>
              </a:spcAft>
              <a:buNone/>
            </a:pPr>
            <a:r>
              <a:rPr lang="en-US" sz="1400" dirty="0"/>
              <a:t>- Quality assurance and control</a:t>
            </a:r>
          </a:p>
          <a:p>
            <a:pPr marL="465657" lvl="1" indent="-285693">
              <a:spcAft>
                <a:spcPts val="400"/>
              </a:spcAft>
              <a:buFont typeface="Wingdings" panose="05000000000000000000" pitchFamily="2" charset="2"/>
              <a:buChar char="q"/>
            </a:pPr>
            <a:endParaRPr lang="en-US" sz="800" dirty="0"/>
          </a:p>
          <a:p>
            <a:pPr marL="285693" indent="-285693">
              <a:spcAft>
                <a:spcPts val="400"/>
              </a:spcAft>
              <a:buFont typeface="Wingdings" panose="05000000000000000000" pitchFamily="2" charset="2"/>
              <a:buChar char="§"/>
            </a:pPr>
            <a:r>
              <a:rPr lang="en-US" sz="1400" b="1" dirty="0"/>
              <a:t>Post-production</a:t>
            </a:r>
            <a:endParaRPr lang="en-US" sz="1400" dirty="0"/>
          </a:p>
          <a:p>
            <a:pPr lvl="1" indent="0">
              <a:spcAft>
                <a:spcPts val="400"/>
              </a:spcAft>
              <a:buNone/>
            </a:pPr>
            <a:r>
              <a:rPr lang="en-US" sz="1400" dirty="0"/>
              <a:t>- Pre-installation testing</a:t>
            </a:r>
          </a:p>
          <a:p>
            <a:pPr lvl="1" indent="0">
              <a:spcAft>
                <a:spcPts val="400"/>
              </a:spcAft>
              <a:buNone/>
            </a:pPr>
            <a:r>
              <a:rPr lang="en-US" sz="1400" dirty="0"/>
              <a:t>- Site acceptance testing</a:t>
            </a:r>
          </a:p>
          <a:p>
            <a:pPr lvl="1" indent="0">
              <a:spcAft>
                <a:spcPts val="400"/>
              </a:spcAft>
              <a:buNone/>
            </a:pPr>
            <a:r>
              <a:rPr lang="en-US" sz="1400" dirty="0"/>
              <a:t>- Failure analytics in the field</a:t>
            </a:r>
          </a:p>
          <a:p>
            <a:pPr marL="465657" lvl="1" indent="-285693">
              <a:spcAft>
                <a:spcPts val="400"/>
              </a:spcAft>
              <a:buFont typeface="Wingdings" panose="05000000000000000000" pitchFamily="2" charset="2"/>
              <a:buChar char="q"/>
            </a:pPr>
            <a:endParaRPr lang="en-US" sz="1400" dirty="0"/>
          </a:p>
          <a:p>
            <a:endParaRPr lang="en-US" sz="1400" dirty="0"/>
          </a:p>
        </p:txBody>
      </p:sp>
      <p:sp>
        <p:nvSpPr>
          <p:cNvPr id="9" name="Text Placeholder 8"/>
          <p:cNvSpPr>
            <a:spLocks noGrp="1"/>
          </p:cNvSpPr>
          <p:nvPr>
            <p:ph type="body" sz="quarter" idx="14"/>
          </p:nvPr>
        </p:nvSpPr>
        <p:spPr/>
        <p:txBody>
          <a:bodyPr/>
          <a:lstStyle/>
          <a:p>
            <a:r>
              <a:rPr lang="en-US" dirty="0">
                <a:solidFill>
                  <a:srgbClr val="0070C0"/>
                </a:solidFill>
              </a:rPr>
              <a:t>Our services can be used individually or combined in a package from pre-order to </a:t>
            </a:r>
            <a:r>
              <a:rPr lang="en-US" altLang="zh-CN" dirty="0">
                <a:solidFill>
                  <a:srgbClr val="0070C0"/>
                </a:solidFill>
              </a:rPr>
              <a:t>post-</a:t>
            </a:r>
            <a:r>
              <a:rPr lang="en-US" dirty="0">
                <a:solidFill>
                  <a:srgbClr val="0070C0"/>
                </a:solidFill>
              </a:rPr>
              <a:t>shipment. </a:t>
            </a:r>
          </a:p>
        </p:txBody>
      </p:sp>
      <p:pic>
        <p:nvPicPr>
          <p:cNvPr id="11" name="Content Placeholder 29"/>
          <p:cNvPicPr>
            <a:picLocks noChangeAspect="1"/>
          </p:cNvPicPr>
          <p:nvPr/>
        </p:nvPicPr>
        <p:blipFill rotWithShape="1">
          <a:blip r:embed="rId3" cstate="email">
            <a:extLst>
              <a:ext uri="{28A0092B-C50C-407E-A947-70E740481C1C}">
                <a14:useLocalDpi xmlns:a14="http://schemas.microsoft.com/office/drawing/2010/main"/>
              </a:ext>
            </a:extLst>
          </a:blip>
          <a:srcRect t="8470" b="6775"/>
          <a:stretch/>
        </p:blipFill>
        <p:spPr>
          <a:xfrm>
            <a:off x="21443" y="1485374"/>
            <a:ext cx="4661810" cy="4463393"/>
          </a:xfrm>
          <a:prstGeom prst="rect">
            <a:avLst/>
          </a:prstGeom>
        </p:spPr>
      </p:pic>
      <p:pic>
        <p:nvPicPr>
          <p:cNvPr id="40963" name="Picture 3" descr="F:\180202\selected\DSC02028.JP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0055633" y="1557174"/>
            <a:ext cx="2134163" cy="2189674"/>
          </a:xfrm>
          <a:prstGeom prst="rect">
            <a:avLst/>
          </a:prstGeom>
          <a:noFill/>
        </p:spPr>
      </p:pic>
      <p:pic>
        <p:nvPicPr>
          <p:cNvPr id="40964" name="Picture 4" descr="F:\180202\selected\CE1W4769.JP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0055633" y="3845539"/>
            <a:ext cx="2134163" cy="2247215"/>
          </a:xfrm>
          <a:prstGeom prst="rect">
            <a:avLst/>
          </a:prstGeom>
          <a:noFill/>
        </p:spPr>
      </p:pic>
      <p:sp>
        <p:nvSpPr>
          <p:cNvPr id="5" name="Fußzeilenplatzhalter 4"/>
          <p:cNvSpPr>
            <a:spLocks noGrp="1"/>
          </p:cNvSpPr>
          <p:nvPr>
            <p:ph type="ftr" sz="quarter" idx="11"/>
          </p:nvPr>
        </p:nvSpPr>
        <p:spPr/>
        <p:txBody>
          <a:bodyPr/>
          <a:lstStyle/>
          <a:p>
            <a:pPr defTabSz="1218926"/>
            <a:r>
              <a:rPr lang="en-US">
                <a:solidFill>
                  <a:prstClr val="black"/>
                </a:solidFill>
                <a:latin typeface="Arial"/>
              </a:rPr>
              <a:t>TÜV Rheinland's Solar Business</a:t>
            </a:r>
            <a:endParaRPr lang="en-US" dirty="0">
              <a:solidFill>
                <a:prstClr val="black"/>
              </a:solidFill>
              <a:latin typeface="Arial"/>
            </a:endParaRPr>
          </a:p>
        </p:txBody>
      </p:sp>
    </p:spTree>
    <p:extLst>
      <p:ext uri="{BB962C8B-B14F-4D97-AF65-F5344CB8AC3E}">
        <p14:creationId xmlns:p14="http://schemas.microsoft.com/office/powerpoint/2010/main" val="44363827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A9D9CEA-307C-DE84-0432-7D0EF4319B3B}"/>
              </a:ext>
            </a:extLst>
          </p:cNvPr>
          <p:cNvSpPr>
            <a:spLocks noGrp="1"/>
          </p:cNvSpPr>
          <p:nvPr>
            <p:ph type="dt" sz="half" idx="10"/>
          </p:nvPr>
        </p:nvSpPr>
        <p:spPr/>
        <p:txBody>
          <a:bodyPr/>
          <a:lstStyle/>
          <a:p>
            <a:pPr defTabSz="1218926"/>
            <a:fld id="{A96A0BBE-48DF-4E7E-8119-60C6FE218790}" type="datetime1">
              <a:rPr lang="en-US">
                <a:solidFill>
                  <a:prstClr val="black"/>
                </a:solidFill>
                <a:latin typeface="Arial"/>
              </a:rPr>
              <a:pPr defTabSz="1218926"/>
              <a:t>10/22/2024</a:t>
            </a:fld>
            <a:endParaRPr lang="en-US" dirty="0">
              <a:solidFill>
                <a:prstClr val="black"/>
              </a:solidFill>
              <a:latin typeface="Arial"/>
            </a:endParaRPr>
          </a:p>
        </p:txBody>
      </p:sp>
      <p:sp>
        <p:nvSpPr>
          <p:cNvPr id="4" name="Slide Number Placeholder 3">
            <a:extLst>
              <a:ext uri="{FF2B5EF4-FFF2-40B4-BE49-F238E27FC236}">
                <a16:creationId xmlns:a16="http://schemas.microsoft.com/office/drawing/2014/main" id="{99502C4A-48BB-F5BC-D135-B3104454B361}"/>
              </a:ext>
            </a:extLst>
          </p:cNvPr>
          <p:cNvSpPr>
            <a:spLocks noGrp="1"/>
          </p:cNvSpPr>
          <p:nvPr>
            <p:ph type="sldNum" sz="quarter" idx="12"/>
          </p:nvPr>
        </p:nvSpPr>
        <p:spPr/>
        <p:txBody>
          <a:bodyPr/>
          <a:lstStyle/>
          <a:p>
            <a:pPr defTabSz="1218926"/>
            <a:fld id="{4915BD61-E5D5-4E4F-ADA0-6F3448AB9FA6}" type="slidenum">
              <a:rPr lang="en-US">
                <a:solidFill>
                  <a:prstClr val="black"/>
                </a:solidFill>
                <a:latin typeface="Arial"/>
              </a:rPr>
              <a:pPr defTabSz="1218926"/>
              <a:t>67</a:t>
            </a:fld>
            <a:endParaRPr lang="en-US" dirty="0">
              <a:solidFill>
                <a:prstClr val="black"/>
              </a:solidFill>
              <a:latin typeface="Arial"/>
            </a:endParaRPr>
          </a:p>
        </p:txBody>
      </p:sp>
      <p:sp>
        <p:nvSpPr>
          <p:cNvPr id="5" name="Content Placeholder 4">
            <a:extLst>
              <a:ext uri="{FF2B5EF4-FFF2-40B4-BE49-F238E27FC236}">
                <a16:creationId xmlns:a16="http://schemas.microsoft.com/office/drawing/2014/main" id="{B4AC91BF-6F06-640E-ABD9-472F15294E6D}"/>
              </a:ext>
            </a:extLst>
          </p:cNvPr>
          <p:cNvSpPr>
            <a:spLocks noGrp="1"/>
          </p:cNvSpPr>
          <p:nvPr>
            <p:ph sz="quarter" idx="13"/>
          </p:nvPr>
        </p:nvSpPr>
        <p:spPr>
          <a:xfrm>
            <a:off x="552877" y="1701405"/>
            <a:ext cx="4319270" cy="1511621"/>
          </a:xfrm>
        </p:spPr>
        <p:txBody>
          <a:bodyPr/>
          <a:lstStyle/>
          <a:p>
            <a:r>
              <a:rPr lang="en-US" dirty="0"/>
              <a:t>Sustainability reporting and ESG related disclosures are the key focus for businesses as regulators, investors, consumers and other stakeholders demand greater transparency and continuous improvement of sustainability performance. </a:t>
            </a:r>
          </a:p>
        </p:txBody>
      </p:sp>
      <p:sp>
        <p:nvSpPr>
          <p:cNvPr id="6" name="Text Placeholder 5">
            <a:extLst>
              <a:ext uri="{FF2B5EF4-FFF2-40B4-BE49-F238E27FC236}">
                <a16:creationId xmlns:a16="http://schemas.microsoft.com/office/drawing/2014/main" id="{3BDB9C5B-D0CD-9CE4-0D57-00EEDDDCA31E}"/>
              </a:ext>
            </a:extLst>
          </p:cNvPr>
          <p:cNvSpPr>
            <a:spLocks noGrp="1"/>
          </p:cNvSpPr>
          <p:nvPr>
            <p:ph type="body" sz="quarter" idx="14"/>
          </p:nvPr>
        </p:nvSpPr>
        <p:spPr/>
        <p:txBody>
          <a:bodyPr/>
          <a:lstStyle/>
          <a:p>
            <a:r>
              <a:rPr lang="en-US" dirty="0"/>
              <a:t>Sustainability and ESG Compliance</a:t>
            </a:r>
          </a:p>
        </p:txBody>
      </p:sp>
      <p:sp>
        <p:nvSpPr>
          <p:cNvPr id="7" name="Title 6">
            <a:extLst>
              <a:ext uri="{FF2B5EF4-FFF2-40B4-BE49-F238E27FC236}">
                <a16:creationId xmlns:a16="http://schemas.microsoft.com/office/drawing/2014/main" id="{4391D66A-A0FE-BA95-F242-786ECEC7C42B}"/>
              </a:ext>
            </a:extLst>
          </p:cNvPr>
          <p:cNvSpPr>
            <a:spLocks noGrp="1"/>
          </p:cNvSpPr>
          <p:nvPr>
            <p:ph type="title"/>
          </p:nvPr>
        </p:nvSpPr>
        <p:spPr/>
        <p:txBody>
          <a:bodyPr/>
          <a:lstStyle/>
          <a:p>
            <a:r>
              <a:rPr lang="en-US" b="1" dirty="0"/>
              <a:t>ESG and Sustainability </a:t>
            </a:r>
            <a:r>
              <a:rPr lang="en-US" dirty="0"/>
              <a:t>– Aligning Investments with the Future</a:t>
            </a:r>
          </a:p>
        </p:txBody>
      </p:sp>
      <p:pic>
        <p:nvPicPr>
          <p:cNvPr id="2050" name="Picture 2">
            <a:extLst>
              <a:ext uri="{FF2B5EF4-FFF2-40B4-BE49-F238E27FC236}">
                <a16:creationId xmlns:a16="http://schemas.microsoft.com/office/drawing/2014/main" id="{DF2E9AAE-34AA-1664-C451-02F2E4254FE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0507" r="10423"/>
          <a:stretch/>
        </p:blipFill>
        <p:spPr bwMode="auto">
          <a:xfrm>
            <a:off x="4993110" y="1701405"/>
            <a:ext cx="7199134" cy="3580571"/>
          </a:xfrm>
          <a:prstGeom prst="rect">
            <a:avLst/>
          </a:prstGeom>
          <a:noFill/>
          <a:extLst>
            <a:ext uri="{909E8E84-426E-40DD-AFC4-6F175D3DCCD1}">
              <a14:hiddenFill xmlns:a14="http://schemas.microsoft.com/office/drawing/2010/main">
                <a:solidFill>
                  <a:srgbClr val="FFFFFF"/>
                </a:solidFill>
              </a14:hiddenFill>
            </a:ext>
          </a:extLst>
        </p:spPr>
      </p:pic>
      <p:sp>
        <p:nvSpPr>
          <p:cNvPr id="8" name="Content Placeholder 4">
            <a:extLst>
              <a:ext uri="{FF2B5EF4-FFF2-40B4-BE49-F238E27FC236}">
                <a16:creationId xmlns:a16="http://schemas.microsoft.com/office/drawing/2014/main" id="{DC63684B-F4C7-95A8-7B93-DB6BB5252AF7}"/>
              </a:ext>
            </a:extLst>
          </p:cNvPr>
          <p:cNvSpPr txBox="1">
            <a:spLocks/>
          </p:cNvSpPr>
          <p:nvPr/>
        </p:nvSpPr>
        <p:spPr bwMode="gray">
          <a:xfrm>
            <a:off x="523708" y="5959792"/>
            <a:ext cx="6551212" cy="431900"/>
          </a:xfrm>
          <a:prstGeom prst="rect">
            <a:avLst/>
          </a:prstGeom>
        </p:spPr>
        <p:txBody>
          <a:bodyPr vert="horz" lIns="0" tIns="0" rIns="0" bIns="0" rtlCol="0">
            <a:noAutofit/>
          </a:bodyPr>
          <a:lstStyle>
            <a:lvl1pPr marL="0" indent="0" algn="l" defTabSz="1219170" rtl="0" eaLnBrk="1" latinLnBrk="0" hangingPunct="1">
              <a:lnSpc>
                <a:spcPct val="100000"/>
              </a:lnSpc>
              <a:spcBef>
                <a:spcPts val="0"/>
              </a:spcBef>
              <a:spcAft>
                <a:spcPts val="600"/>
              </a:spcAft>
              <a:buClr>
                <a:schemeClr val="tx2"/>
              </a:buClr>
              <a:buFont typeface="Wingdings" panose="05000000000000000000" pitchFamily="2" charset="2"/>
              <a:buNone/>
              <a:defRPr sz="16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6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7pPr>
            <a:lvl8pPr marL="539750" indent="-180975" algn="l" defTabSz="1219170" rtl="0" eaLnBrk="1" latinLnBrk="0" hangingPunct="1">
              <a:lnSpc>
                <a:spcPct val="100000"/>
              </a:lnSpc>
              <a:spcBef>
                <a:spcPts val="0"/>
              </a:spcBef>
              <a:spcAft>
                <a:spcPts val="600"/>
              </a:spcAft>
              <a:buFont typeface="Symbol" panose="05050102010706020507" pitchFamily="18" charset="2"/>
              <a:buChar char="-"/>
              <a:defRPr sz="16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600" kern="1200" baseline="0">
                <a:solidFill>
                  <a:schemeClr val="tx1"/>
                </a:solidFill>
                <a:latin typeface="+mn-lt"/>
                <a:ea typeface="+mn-ea"/>
                <a:cs typeface="+mn-cs"/>
              </a:defRPr>
            </a:lvl9pPr>
          </a:lstStyle>
          <a:p>
            <a:pPr defTabSz="1218926">
              <a:buClr>
                <a:srgbClr val="4D4D4D"/>
              </a:buClr>
            </a:pPr>
            <a:r>
              <a:rPr lang="en-US" sz="1200" dirty="0">
                <a:solidFill>
                  <a:prstClr val="black"/>
                </a:solidFill>
                <a:latin typeface="Arial"/>
              </a:rPr>
              <a:t>F</a:t>
            </a:r>
            <a:r>
              <a:rPr lang="en-US" altLang="zh-CN" sz="1200" dirty="0">
                <a:solidFill>
                  <a:prstClr val="black"/>
                </a:solidFill>
                <a:latin typeface="Arial"/>
              </a:rPr>
              <a:t>urther reading: </a:t>
            </a:r>
            <a:r>
              <a:rPr lang="en-US" sz="1400" dirty="0">
                <a:solidFill>
                  <a:prstClr val="black"/>
                </a:solidFill>
                <a:latin typeface="Arial"/>
                <a:hlinkClick r:id="rId4"/>
              </a:rPr>
              <a:t>Sustainability and ESG Assurance | WO | TÜV </a:t>
            </a:r>
            <a:r>
              <a:rPr lang="en-US" sz="1400" dirty="0" err="1">
                <a:solidFill>
                  <a:prstClr val="black"/>
                </a:solidFill>
                <a:latin typeface="Arial"/>
                <a:hlinkClick r:id="rId4"/>
              </a:rPr>
              <a:t>Rheinland</a:t>
            </a:r>
            <a:r>
              <a:rPr lang="en-US" sz="1400" dirty="0">
                <a:solidFill>
                  <a:prstClr val="black"/>
                </a:solidFill>
                <a:latin typeface="Arial"/>
                <a:hlinkClick r:id="rId4"/>
              </a:rPr>
              <a:t> (tuv.com)</a:t>
            </a:r>
            <a:endParaRPr lang="en-US" sz="1200" dirty="0">
              <a:solidFill>
                <a:prstClr val="black"/>
              </a:solidFill>
              <a:latin typeface="Arial"/>
            </a:endParaRPr>
          </a:p>
        </p:txBody>
      </p:sp>
      <p:pic>
        <p:nvPicPr>
          <p:cNvPr id="12" name="Picture 11">
            <a:extLst>
              <a:ext uri="{FF2B5EF4-FFF2-40B4-BE49-F238E27FC236}">
                <a16:creationId xmlns:a16="http://schemas.microsoft.com/office/drawing/2014/main" id="{55D34E93-049B-7871-DF2B-5DF8B715E6E1}"/>
              </a:ext>
            </a:extLst>
          </p:cNvPr>
          <p:cNvPicPr>
            <a:picLocks noChangeAspect="1"/>
          </p:cNvPicPr>
          <p:nvPr/>
        </p:nvPicPr>
        <p:blipFill>
          <a:blip r:embed="rId5"/>
          <a:stretch>
            <a:fillRect/>
          </a:stretch>
        </p:blipFill>
        <p:spPr>
          <a:xfrm>
            <a:off x="523708" y="3423062"/>
            <a:ext cx="4303696" cy="1849298"/>
          </a:xfrm>
          <a:prstGeom prst="rect">
            <a:avLst/>
          </a:prstGeom>
        </p:spPr>
      </p:pic>
      <p:sp>
        <p:nvSpPr>
          <p:cNvPr id="13" name="Fußzeilenplatzhalter 8">
            <a:extLst>
              <a:ext uri="{FF2B5EF4-FFF2-40B4-BE49-F238E27FC236}">
                <a16:creationId xmlns:a16="http://schemas.microsoft.com/office/drawing/2014/main" id="{0A080607-A2E4-AD67-9AA6-40F38E264812}"/>
              </a:ext>
            </a:extLst>
          </p:cNvPr>
          <p:cNvSpPr txBox="1">
            <a:spLocks/>
          </p:cNvSpPr>
          <p:nvPr/>
        </p:nvSpPr>
        <p:spPr bwMode="gray">
          <a:xfrm>
            <a:off x="1704916" y="6452720"/>
            <a:ext cx="4390984" cy="172505"/>
          </a:xfrm>
          <a:prstGeom prst="rect">
            <a:avLst/>
          </a:prstGeom>
        </p:spPr>
        <p:txBody>
          <a:bodyPr vert="horz" lIns="0" tIns="0" rIns="0" bIns="0" rtlCol="0" anchor="b"/>
          <a:lstStyle>
            <a:defPPr>
              <a:defRPr lang="de-DE"/>
            </a:defPPr>
            <a:lvl1pPr marL="0" algn="l" defTabSz="1219170" rtl="0" eaLnBrk="1" latinLnBrk="0" hangingPunct="1">
              <a:defRPr sz="8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1218926"/>
            <a:r>
              <a:rPr lang="de-DE" altLang="zh-CN">
                <a:solidFill>
                  <a:prstClr val="black"/>
                </a:solidFill>
                <a:latin typeface="Arial"/>
              </a:rPr>
              <a:t>TÜV Rheinland's Solar Business</a:t>
            </a:r>
            <a:endParaRPr lang="de-DE" altLang="zh-CN" dirty="0">
              <a:solidFill>
                <a:prstClr val="black"/>
              </a:solidFill>
              <a:latin typeface="Arial"/>
            </a:endParaRPr>
          </a:p>
        </p:txBody>
      </p:sp>
    </p:spTree>
    <p:extLst>
      <p:ext uri="{BB962C8B-B14F-4D97-AF65-F5344CB8AC3E}">
        <p14:creationId xmlns:p14="http://schemas.microsoft.com/office/powerpoint/2010/main" val="239066211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dirty="0"/>
              <a:t>One-stop Solar Business Solutions.</a:t>
            </a:r>
            <a:endParaRPr lang="en-US" dirty="0"/>
          </a:p>
        </p:txBody>
      </p:sp>
      <p:sp>
        <p:nvSpPr>
          <p:cNvPr id="4" name="Date Placeholder 3"/>
          <p:cNvSpPr>
            <a:spLocks noGrp="1"/>
          </p:cNvSpPr>
          <p:nvPr>
            <p:ph type="dt" sz="half" idx="10"/>
          </p:nvPr>
        </p:nvSpPr>
        <p:spPr/>
        <p:txBody>
          <a:bodyPr/>
          <a:lstStyle/>
          <a:p>
            <a:pPr defTabSz="1218926"/>
            <a:fld id="{C01007D5-BAB4-4A47-99C6-53FB6F1586A8}" type="datetime1">
              <a:rPr lang="en-US" altLang="zh-CN">
                <a:solidFill>
                  <a:prstClr val="black"/>
                </a:solidFill>
                <a:latin typeface="Arial"/>
              </a:rPr>
              <a:pPr defTabSz="1218926"/>
              <a:t>10/22/2024</a:t>
            </a:fld>
            <a:endParaRPr lang="de-DE" altLang="zh-CN">
              <a:solidFill>
                <a:prstClr val="black"/>
              </a:solidFill>
              <a:latin typeface="Arial"/>
            </a:endParaRPr>
          </a:p>
        </p:txBody>
      </p:sp>
      <p:sp>
        <p:nvSpPr>
          <p:cNvPr id="5" name="Slide Number Placeholder 4"/>
          <p:cNvSpPr>
            <a:spLocks noGrp="1"/>
          </p:cNvSpPr>
          <p:nvPr>
            <p:ph type="sldNum" sz="quarter" idx="11"/>
          </p:nvPr>
        </p:nvSpPr>
        <p:spPr/>
        <p:txBody>
          <a:bodyPr/>
          <a:lstStyle/>
          <a:p>
            <a:pPr defTabSz="1218926"/>
            <a:fld id="{240E3ED4-FC3A-4B77-B065-41F983957257}" type="slidenum">
              <a:rPr lang="zh-CN" altLang="de-DE">
                <a:solidFill>
                  <a:prstClr val="black"/>
                </a:solidFill>
                <a:latin typeface="Arial"/>
              </a:rPr>
              <a:pPr defTabSz="1218926"/>
              <a:t>68</a:t>
            </a:fld>
            <a:endParaRPr lang="de-DE" altLang="zh-CN">
              <a:solidFill>
                <a:prstClr val="black"/>
              </a:solidFill>
              <a:latin typeface="Arial"/>
            </a:endParaRPr>
          </a:p>
        </p:txBody>
      </p:sp>
      <p:sp>
        <p:nvSpPr>
          <p:cNvPr id="97" name="矩形 96"/>
          <p:cNvSpPr/>
          <p:nvPr/>
        </p:nvSpPr>
        <p:spPr>
          <a:xfrm>
            <a:off x="1091899" y="3636826"/>
            <a:ext cx="2844301" cy="738493"/>
          </a:xfrm>
          <a:prstGeom prst="rect">
            <a:avLst/>
          </a:prstGeom>
        </p:spPr>
        <p:txBody>
          <a:bodyPr wrap="square">
            <a:spAutoFit/>
          </a:bodyPr>
          <a:lstStyle/>
          <a:p>
            <a:pPr defTabSz="1218926"/>
            <a:r>
              <a:rPr lang="en-US" altLang="zh-TW" sz="1400" dirty="0">
                <a:solidFill>
                  <a:prstClr val="black"/>
                </a:solidFill>
                <a:latin typeface="Arial"/>
              </a:rPr>
              <a:t>We support you with comprehensive solutions that can take you to a whole new level.</a:t>
            </a:r>
            <a:endParaRPr lang="zh-CN" altLang="en-US" sz="1400" dirty="0">
              <a:solidFill>
                <a:prstClr val="black"/>
              </a:solidFill>
              <a:latin typeface="Arial"/>
            </a:endParaRPr>
          </a:p>
        </p:txBody>
      </p:sp>
      <p:sp>
        <p:nvSpPr>
          <p:cNvPr id="104" name="矩形 103"/>
          <p:cNvSpPr/>
          <p:nvPr/>
        </p:nvSpPr>
        <p:spPr>
          <a:xfrm>
            <a:off x="4714286" y="3579858"/>
            <a:ext cx="3095713" cy="738493"/>
          </a:xfrm>
          <a:prstGeom prst="rect">
            <a:avLst/>
          </a:prstGeom>
        </p:spPr>
        <p:txBody>
          <a:bodyPr wrap="square">
            <a:spAutoFit/>
          </a:bodyPr>
          <a:lstStyle/>
          <a:p>
            <a:pPr defTabSz="1218926"/>
            <a:r>
              <a:rPr lang="en-US" altLang="zh-TW" sz="1400" dirty="0">
                <a:solidFill>
                  <a:prstClr val="black"/>
                </a:solidFill>
                <a:latin typeface="Arial"/>
              </a:rPr>
              <a:t>We offer all-round technical support over the entire value chain and throughout a PV plant’s lifetime. </a:t>
            </a:r>
            <a:endParaRPr lang="zh-CN" altLang="en-US" sz="1400" dirty="0">
              <a:solidFill>
                <a:prstClr val="black"/>
              </a:solidFill>
              <a:latin typeface="Arial"/>
            </a:endParaRPr>
          </a:p>
        </p:txBody>
      </p:sp>
      <p:sp>
        <p:nvSpPr>
          <p:cNvPr id="108" name="矩形 107"/>
          <p:cNvSpPr/>
          <p:nvPr/>
        </p:nvSpPr>
        <p:spPr>
          <a:xfrm>
            <a:off x="8294909" y="3571509"/>
            <a:ext cx="2984612" cy="738493"/>
          </a:xfrm>
          <a:prstGeom prst="rect">
            <a:avLst/>
          </a:prstGeom>
        </p:spPr>
        <p:txBody>
          <a:bodyPr wrap="square">
            <a:spAutoFit/>
          </a:bodyPr>
          <a:lstStyle/>
          <a:p>
            <a:pPr defTabSz="1218926"/>
            <a:r>
              <a:rPr lang="en-US" altLang="zh-TW" sz="1400" dirty="0">
                <a:solidFill>
                  <a:prstClr val="black"/>
                </a:solidFill>
                <a:latin typeface="Arial"/>
              </a:rPr>
              <a:t>We provide an independent perspective to help strengthen and reinforce solid investment decisions.</a:t>
            </a:r>
            <a:endParaRPr lang="zh-CN" altLang="en-US" sz="1400" dirty="0">
              <a:solidFill>
                <a:prstClr val="black"/>
              </a:solidFill>
              <a:latin typeface="Arial"/>
            </a:endParaRPr>
          </a:p>
        </p:txBody>
      </p:sp>
      <p:grpSp>
        <p:nvGrpSpPr>
          <p:cNvPr id="7" name="Group 6"/>
          <p:cNvGrpSpPr/>
          <p:nvPr/>
        </p:nvGrpSpPr>
        <p:grpSpPr>
          <a:xfrm>
            <a:off x="1657772" y="4940860"/>
            <a:ext cx="4105078" cy="1117161"/>
            <a:chOff x="1054506" y="2168354"/>
            <a:chExt cx="4106028" cy="1117420"/>
          </a:xfrm>
        </p:grpSpPr>
        <p:cxnSp>
          <p:nvCxnSpPr>
            <p:cNvPr id="37" name="Straight Connector 36"/>
            <p:cNvCxnSpPr/>
            <p:nvPr/>
          </p:nvCxnSpPr>
          <p:spPr>
            <a:xfrm>
              <a:off x="1054506" y="2736896"/>
              <a:ext cx="4106028"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59" name="Rectangle 58"/>
            <p:cNvSpPr/>
            <p:nvPr/>
          </p:nvSpPr>
          <p:spPr>
            <a:xfrm>
              <a:off x="1559305" y="2168354"/>
              <a:ext cx="3096430" cy="461665"/>
            </a:xfrm>
            <a:prstGeom prst="rect">
              <a:avLst/>
            </a:prstGeom>
          </p:spPr>
          <p:txBody>
            <a:bodyPr wrap="square">
              <a:spAutoFit/>
            </a:bodyPr>
            <a:lstStyle/>
            <a:p>
              <a:pPr algn="ctr" defTabSz="1218926"/>
              <a:r>
                <a:rPr lang="en-US" altLang="zh-CN" sz="2400" dirty="0">
                  <a:solidFill>
                    <a:srgbClr val="4D4D4D"/>
                  </a:solidFill>
                  <a:latin typeface="Arial"/>
                </a:rPr>
                <a:t>PV </a:t>
              </a:r>
              <a:r>
                <a:rPr lang="en-US" sz="2400" dirty="0">
                  <a:solidFill>
                    <a:srgbClr val="4D4D4D"/>
                  </a:solidFill>
                  <a:latin typeface="Arial"/>
                </a:rPr>
                <a:t>Product Lifecycle</a:t>
              </a:r>
            </a:p>
          </p:txBody>
        </p:sp>
        <p:sp>
          <p:nvSpPr>
            <p:cNvPr id="6" name="Rectangle 5"/>
            <p:cNvSpPr/>
            <p:nvPr/>
          </p:nvSpPr>
          <p:spPr>
            <a:xfrm>
              <a:off x="1066512" y="2818531"/>
              <a:ext cx="4094022" cy="467243"/>
            </a:xfrm>
            <a:prstGeom prst="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0838" fontAlgn="base">
                <a:lnSpc>
                  <a:spcPct val="90000"/>
                </a:lnSpc>
                <a:spcBef>
                  <a:spcPct val="0"/>
                </a:spcBef>
                <a:spcAft>
                  <a:spcPct val="0"/>
                </a:spcAft>
                <a:defRPr/>
              </a:pPr>
              <a:r>
                <a:rPr lang="en-US" sz="2000" kern="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rPr>
                <a:t>Quality Assured</a:t>
              </a:r>
              <a:endParaRPr lang="en-US" sz="2000" kern="0"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endParaRPr>
            </a:p>
          </p:txBody>
        </p:sp>
      </p:grpSp>
      <p:grpSp>
        <p:nvGrpSpPr>
          <p:cNvPr id="8" name="Group 7"/>
          <p:cNvGrpSpPr/>
          <p:nvPr/>
        </p:nvGrpSpPr>
        <p:grpSpPr>
          <a:xfrm>
            <a:off x="6096000" y="5050115"/>
            <a:ext cx="4103620" cy="1020212"/>
            <a:chOff x="6527266" y="2112529"/>
            <a:chExt cx="4104570" cy="1020448"/>
          </a:xfrm>
        </p:grpSpPr>
        <p:sp>
          <p:nvSpPr>
            <p:cNvPr id="16" name="Rectangle 15"/>
            <p:cNvSpPr/>
            <p:nvPr/>
          </p:nvSpPr>
          <p:spPr>
            <a:xfrm>
              <a:off x="7247365" y="2112529"/>
              <a:ext cx="2972503" cy="461665"/>
            </a:xfrm>
            <a:prstGeom prst="rect">
              <a:avLst/>
            </a:prstGeom>
          </p:spPr>
          <p:txBody>
            <a:bodyPr wrap="square">
              <a:spAutoFit/>
            </a:bodyPr>
            <a:lstStyle/>
            <a:p>
              <a:pPr defTabSz="1218926"/>
              <a:r>
                <a:rPr lang="en-US" sz="2400" dirty="0">
                  <a:solidFill>
                    <a:srgbClr val="7DBF32"/>
                  </a:solidFill>
                  <a:latin typeface="Arial"/>
                </a:rPr>
                <a:t>PV Asset Lifecycle</a:t>
              </a:r>
            </a:p>
          </p:txBody>
        </p:sp>
        <p:cxnSp>
          <p:nvCxnSpPr>
            <p:cNvPr id="69" name="Straight Connector 36"/>
            <p:cNvCxnSpPr/>
            <p:nvPr/>
          </p:nvCxnSpPr>
          <p:spPr>
            <a:xfrm>
              <a:off x="6527266" y="2589113"/>
              <a:ext cx="4104570" cy="0"/>
            </a:xfrm>
            <a:prstGeom prst="line">
              <a:avLst/>
            </a:prstGeom>
            <a:ln w="38100">
              <a:solidFill>
                <a:srgbClr val="7DBF32"/>
              </a:solidFill>
            </a:ln>
          </p:spPr>
          <p:style>
            <a:lnRef idx="1">
              <a:schemeClr val="accent1"/>
            </a:lnRef>
            <a:fillRef idx="0">
              <a:schemeClr val="accent1"/>
            </a:fillRef>
            <a:effectRef idx="0">
              <a:schemeClr val="accent1"/>
            </a:effectRef>
            <a:fontRef idx="minor">
              <a:schemeClr val="tx1"/>
            </a:fontRef>
          </p:style>
        </p:cxnSp>
        <p:sp>
          <p:nvSpPr>
            <p:cNvPr id="49" name="Rectangle 48"/>
            <p:cNvSpPr/>
            <p:nvPr/>
          </p:nvSpPr>
          <p:spPr>
            <a:xfrm>
              <a:off x="6537814" y="2665734"/>
              <a:ext cx="4094022" cy="467243"/>
            </a:xfrm>
            <a:prstGeom prst="rect">
              <a:avLst/>
            </a:prstGeom>
            <a:solidFill>
              <a:srgbClr val="7DBF3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0838" fontAlgn="base">
                <a:lnSpc>
                  <a:spcPct val="90000"/>
                </a:lnSpc>
                <a:spcBef>
                  <a:spcPct val="0"/>
                </a:spcBef>
                <a:spcAft>
                  <a:spcPct val="0"/>
                </a:spcAft>
                <a:defRPr/>
              </a:pPr>
              <a:r>
                <a:rPr lang="en-US" altLang="zh-CN" sz="2000" kern="0"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rPr>
                <a:t>Bankability</a:t>
              </a:r>
              <a:endParaRPr lang="en-US" sz="2000" kern="0"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endParaRPr>
            </a:p>
          </p:txBody>
        </p:sp>
      </p:grpSp>
      <p:pic>
        <p:nvPicPr>
          <p:cNvPr id="3" name="Picture 2"/>
          <p:cNvPicPr>
            <a:picLocks noChangeAspect="1"/>
          </p:cNvPicPr>
          <p:nvPr/>
        </p:nvPicPr>
        <p:blipFill rotWithShape="1">
          <a:blip r:embed="rId3" cstate="email">
            <a:extLst>
              <a:ext uri="{BEBA8EAE-BF5A-486C-A8C5-ECC9F3942E4B}">
                <a14:imgProps xmlns:a14="http://schemas.microsoft.com/office/drawing/2010/main">
                  <a14:imgLayer r:embed="rId4">
                    <a14:imgEffect>
                      <a14:saturation sat="200000"/>
                    </a14:imgEffect>
                  </a14:imgLayer>
                </a14:imgProps>
              </a:ext>
              <a:ext uri="{28A0092B-C50C-407E-A947-70E740481C1C}">
                <a14:useLocalDpi xmlns:a14="http://schemas.microsoft.com/office/drawing/2010/main"/>
              </a:ext>
            </a:extLst>
          </a:blip>
          <a:srcRect r="-374"/>
          <a:stretch/>
        </p:blipFill>
        <p:spPr>
          <a:xfrm>
            <a:off x="-14438" y="1015543"/>
            <a:ext cx="12312192" cy="1893211"/>
          </a:xfrm>
          <a:prstGeom prst="rect">
            <a:avLst/>
          </a:prstGeom>
        </p:spPr>
      </p:pic>
      <p:sp>
        <p:nvSpPr>
          <p:cNvPr id="74" name="Rectangle 23"/>
          <p:cNvSpPr/>
          <p:nvPr/>
        </p:nvSpPr>
        <p:spPr>
          <a:xfrm>
            <a:off x="1184992" y="3133427"/>
            <a:ext cx="2835057" cy="307706"/>
          </a:xfrm>
          <a:prstGeom prst="rect">
            <a:avLst/>
          </a:prstGeom>
        </p:spPr>
        <p:txBody>
          <a:bodyPr wrap="none" lIns="0" tIns="0" rIns="0" bIns="0">
            <a:spAutoFit/>
          </a:bodyPr>
          <a:lstStyle/>
          <a:p>
            <a:pPr algn="ctr" defTabSz="914217">
              <a:defRPr/>
            </a:pPr>
            <a:r>
              <a:rPr lang="en-US" altLang="zh-CN" sz="2000" b="1" kern="0" dirty="0">
                <a:solidFill>
                  <a:srgbClr val="4D4D4D"/>
                </a:solidFill>
                <a:latin typeface="Arial"/>
                <a:ea typeface="Segoe UI" pitchFamily="34" charset="0"/>
                <a:cs typeface="Segoe UI Semibold" panose="020B0702040204020203" pitchFamily="34" charset="0"/>
              </a:rPr>
              <a:t>EPCs &amp; Manufacturers </a:t>
            </a:r>
            <a:endParaRPr lang="en-US" sz="2000" b="1" kern="0" dirty="0">
              <a:solidFill>
                <a:srgbClr val="4D4D4D"/>
              </a:solidFill>
              <a:latin typeface="Arial"/>
              <a:ea typeface="Segoe UI" pitchFamily="34" charset="0"/>
              <a:cs typeface="Segoe UI Semibold" panose="020B0702040204020203" pitchFamily="34" charset="0"/>
            </a:endParaRPr>
          </a:p>
        </p:txBody>
      </p:sp>
      <p:sp>
        <p:nvSpPr>
          <p:cNvPr id="10" name="Isosceles Triangle 9"/>
          <p:cNvSpPr/>
          <p:nvPr/>
        </p:nvSpPr>
        <p:spPr>
          <a:xfrm rot="5400000">
            <a:off x="730386" y="3107141"/>
            <a:ext cx="377472" cy="301257"/>
          </a:xfrm>
          <a:prstGeom prst="triangl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26"/>
            <a:endParaRPr lang="en-US" sz="2400">
              <a:solidFill>
                <a:prstClr val="white"/>
              </a:solidFill>
              <a:latin typeface="Arial"/>
            </a:endParaRPr>
          </a:p>
        </p:txBody>
      </p:sp>
      <p:sp>
        <p:nvSpPr>
          <p:cNvPr id="75" name="Rectangle 24"/>
          <p:cNvSpPr/>
          <p:nvPr/>
        </p:nvSpPr>
        <p:spPr>
          <a:xfrm>
            <a:off x="4368160" y="3135703"/>
            <a:ext cx="2501408" cy="307706"/>
          </a:xfrm>
          <a:prstGeom prst="rect">
            <a:avLst/>
          </a:prstGeom>
        </p:spPr>
        <p:txBody>
          <a:bodyPr wrap="square" lIns="0" tIns="0" rIns="0" bIns="0">
            <a:spAutoFit/>
          </a:bodyPr>
          <a:lstStyle/>
          <a:p>
            <a:pPr algn="ctr" defTabSz="914217">
              <a:defRPr/>
            </a:pPr>
            <a:r>
              <a:rPr lang="en-US" sz="2000" b="1" kern="0" dirty="0">
                <a:solidFill>
                  <a:srgbClr val="4D4D4D"/>
                </a:solidFill>
                <a:latin typeface="Arial"/>
                <a:ea typeface="Segoe UI" pitchFamily="34" charset="0"/>
                <a:cs typeface="Segoe UI Semibold" panose="020B0702040204020203" pitchFamily="34" charset="0"/>
              </a:rPr>
              <a:t>Plant Owners</a:t>
            </a:r>
          </a:p>
        </p:txBody>
      </p:sp>
      <p:sp>
        <p:nvSpPr>
          <p:cNvPr id="53" name="Isosceles Triangle 52"/>
          <p:cNvSpPr/>
          <p:nvPr/>
        </p:nvSpPr>
        <p:spPr>
          <a:xfrm rot="5400000">
            <a:off x="4316769" y="3107141"/>
            <a:ext cx="377472" cy="301257"/>
          </a:xfrm>
          <a:prstGeom prst="triangl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26"/>
            <a:endParaRPr lang="en-US" sz="2400">
              <a:solidFill>
                <a:prstClr val="white"/>
              </a:solidFill>
              <a:latin typeface="Arial"/>
            </a:endParaRPr>
          </a:p>
        </p:txBody>
      </p:sp>
      <p:sp>
        <p:nvSpPr>
          <p:cNvPr id="76" name="Rectangle 25"/>
          <p:cNvSpPr/>
          <p:nvPr/>
        </p:nvSpPr>
        <p:spPr>
          <a:xfrm>
            <a:off x="8384006" y="3133426"/>
            <a:ext cx="2419974" cy="307706"/>
          </a:xfrm>
          <a:prstGeom prst="rect">
            <a:avLst/>
          </a:prstGeom>
        </p:spPr>
        <p:txBody>
          <a:bodyPr wrap="none" lIns="0" tIns="0" rIns="0" bIns="0">
            <a:spAutoFit/>
          </a:bodyPr>
          <a:lstStyle/>
          <a:p>
            <a:pPr algn="ctr" defTabSz="914217">
              <a:defRPr/>
            </a:pPr>
            <a:r>
              <a:rPr lang="en-US" sz="2000" b="1" kern="0" dirty="0">
                <a:solidFill>
                  <a:srgbClr val="4D4D4D"/>
                </a:solidFill>
                <a:latin typeface="Arial"/>
                <a:ea typeface="Segoe UI" pitchFamily="34" charset="0"/>
                <a:cs typeface="Segoe UI Semibold" panose="020B0702040204020203" pitchFamily="34" charset="0"/>
              </a:rPr>
              <a:t>Finance Institutions</a:t>
            </a:r>
          </a:p>
        </p:txBody>
      </p:sp>
      <p:sp>
        <p:nvSpPr>
          <p:cNvPr id="54" name="Isosceles Triangle 53"/>
          <p:cNvSpPr/>
          <p:nvPr/>
        </p:nvSpPr>
        <p:spPr>
          <a:xfrm rot="5400000">
            <a:off x="7916436" y="3122888"/>
            <a:ext cx="377472" cy="301257"/>
          </a:xfrm>
          <a:prstGeom prst="triangl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26"/>
            <a:endParaRPr lang="en-US" sz="2400">
              <a:solidFill>
                <a:prstClr val="white"/>
              </a:solidFill>
              <a:latin typeface="Arial"/>
            </a:endParaRPr>
          </a:p>
        </p:txBody>
      </p:sp>
      <p:sp>
        <p:nvSpPr>
          <p:cNvPr id="14" name="Isosceles Triangle 13"/>
          <p:cNvSpPr/>
          <p:nvPr/>
        </p:nvSpPr>
        <p:spPr>
          <a:xfrm rot="10800000" flipV="1">
            <a:off x="2389333" y="4580894"/>
            <a:ext cx="7055835" cy="370873"/>
          </a:xfrm>
          <a:prstGeom prst="triangle">
            <a:avLst/>
          </a:prstGeom>
          <a:pattFill prst="pct20">
            <a:fgClr>
              <a:schemeClr val="tx2"/>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26"/>
            <a:endParaRPr lang="en-US" sz="2400">
              <a:solidFill>
                <a:prstClr val="white"/>
              </a:solidFill>
              <a:latin typeface="Arial"/>
            </a:endParaRPr>
          </a:p>
        </p:txBody>
      </p:sp>
      <p:sp>
        <p:nvSpPr>
          <p:cNvPr id="9" name="Fußzeilenplatzhalter 8"/>
          <p:cNvSpPr>
            <a:spLocks noGrp="1"/>
          </p:cNvSpPr>
          <p:nvPr>
            <p:ph type="ftr" sz="quarter" idx="12"/>
          </p:nvPr>
        </p:nvSpPr>
        <p:spPr/>
        <p:txBody>
          <a:bodyPr/>
          <a:lstStyle/>
          <a:p>
            <a:pPr defTabSz="1218926"/>
            <a:r>
              <a:rPr lang="de-DE" altLang="zh-CN">
                <a:solidFill>
                  <a:prstClr val="black"/>
                </a:solidFill>
                <a:latin typeface="Arial"/>
              </a:rPr>
              <a:t>TÜV Rheinland's Solar Business</a:t>
            </a:r>
          </a:p>
        </p:txBody>
      </p:sp>
    </p:spTree>
    <p:extLst>
      <p:ext uri="{BB962C8B-B14F-4D97-AF65-F5344CB8AC3E}">
        <p14:creationId xmlns:p14="http://schemas.microsoft.com/office/powerpoint/2010/main" val="31154260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250"/>
                                        <p:tgtEl>
                                          <p:spTgt spid="14"/>
                                        </p:tgtEl>
                                      </p:cBhvr>
                                    </p:animEffect>
                                    <p:anim calcmode="lin" valueType="num">
                                      <p:cBhvr>
                                        <p:cTn id="8" dur="250" fill="hold"/>
                                        <p:tgtEl>
                                          <p:spTgt spid="14"/>
                                        </p:tgtEl>
                                        <p:attrNameLst>
                                          <p:attrName>ppt_x</p:attrName>
                                        </p:attrNameLst>
                                      </p:cBhvr>
                                      <p:tavLst>
                                        <p:tav tm="0">
                                          <p:val>
                                            <p:strVal val="#ppt_x"/>
                                          </p:val>
                                        </p:tav>
                                        <p:tav tm="100000">
                                          <p:val>
                                            <p:strVal val="#ppt_x"/>
                                          </p:val>
                                        </p:tav>
                                      </p:tavLst>
                                    </p:anim>
                                    <p:anim calcmode="lin" valueType="num">
                                      <p:cBhvr>
                                        <p:cTn id="9" dur="250" fill="hold"/>
                                        <p:tgtEl>
                                          <p:spTgt spid="14"/>
                                        </p:tgtEl>
                                        <p:attrNameLst>
                                          <p:attrName>ppt_y</p:attrName>
                                        </p:attrNameLst>
                                      </p:cBhvr>
                                      <p:tavLst>
                                        <p:tav tm="0">
                                          <p:val>
                                            <p:strVal val="#ppt_y+.1"/>
                                          </p:val>
                                        </p:tav>
                                        <p:tav tm="100000">
                                          <p:val>
                                            <p:strVal val="#ppt_y"/>
                                          </p:val>
                                        </p:tav>
                                      </p:tavLst>
                                    </p:anim>
                                  </p:childTnLst>
                                </p:cTn>
                              </p:par>
                            </p:childTnLst>
                          </p:cTn>
                        </p:par>
                        <p:par>
                          <p:cTn id="10" fill="hold">
                            <p:stCondLst>
                              <p:cond delay="250"/>
                            </p:stCondLst>
                            <p:childTnLst>
                              <p:par>
                                <p:cTn id="11" presetID="42" presetClass="entr" presetSubtype="0" fill="hold" nodeType="after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1000"/>
                                        <p:tgtEl>
                                          <p:spTgt spid="7"/>
                                        </p:tgtEl>
                                      </p:cBhvr>
                                    </p:animEffect>
                                    <p:anim calcmode="lin" valueType="num">
                                      <p:cBhvr>
                                        <p:cTn id="14" dur="1000" fill="hold"/>
                                        <p:tgtEl>
                                          <p:spTgt spid="7"/>
                                        </p:tgtEl>
                                        <p:attrNameLst>
                                          <p:attrName>ppt_x</p:attrName>
                                        </p:attrNameLst>
                                      </p:cBhvr>
                                      <p:tavLst>
                                        <p:tav tm="0">
                                          <p:val>
                                            <p:strVal val="#ppt_x"/>
                                          </p:val>
                                        </p:tav>
                                        <p:tav tm="100000">
                                          <p:val>
                                            <p:strVal val="#ppt_x"/>
                                          </p:val>
                                        </p:tav>
                                      </p:tavLst>
                                    </p:anim>
                                    <p:anim calcmode="lin" valueType="num">
                                      <p:cBhvr>
                                        <p:cTn id="15" dur="1000" fill="hold"/>
                                        <p:tgtEl>
                                          <p:spTgt spid="7"/>
                                        </p:tgtEl>
                                        <p:attrNameLst>
                                          <p:attrName>ppt_y</p:attrName>
                                        </p:attrNameLst>
                                      </p:cBhvr>
                                      <p:tavLst>
                                        <p:tav tm="0">
                                          <p:val>
                                            <p:strVal val="#ppt_y+.1"/>
                                          </p:val>
                                        </p:tav>
                                        <p:tav tm="100000">
                                          <p:val>
                                            <p:strVal val="#ppt_y"/>
                                          </p:val>
                                        </p:tav>
                                      </p:tavLst>
                                    </p:anim>
                                  </p:childTnLst>
                                </p:cTn>
                              </p:par>
                              <p:par>
                                <p:cTn id="16" presetID="42" presetClass="entr" presetSubtype="0" fill="hold" nodeType="with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1000"/>
                                        <p:tgtEl>
                                          <p:spTgt spid="8"/>
                                        </p:tgtEl>
                                      </p:cBhvr>
                                    </p:animEffect>
                                    <p:anim calcmode="lin" valueType="num">
                                      <p:cBhvr>
                                        <p:cTn id="19" dur="1000" fill="hold"/>
                                        <p:tgtEl>
                                          <p:spTgt spid="8"/>
                                        </p:tgtEl>
                                        <p:attrNameLst>
                                          <p:attrName>ppt_x</p:attrName>
                                        </p:attrNameLst>
                                      </p:cBhvr>
                                      <p:tavLst>
                                        <p:tav tm="0">
                                          <p:val>
                                            <p:strVal val="#ppt_x"/>
                                          </p:val>
                                        </p:tav>
                                        <p:tav tm="100000">
                                          <p:val>
                                            <p:strVal val="#ppt_x"/>
                                          </p:val>
                                        </p:tav>
                                      </p:tavLst>
                                    </p:anim>
                                    <p:anim calcmode="lin" valueType="num">
                                      <p:cBhvr>
                                        <p:cTn id="20" dur="1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10" presetClass="exit" presetSubtype="0" fill="hold" nodeType="clickEffect">
                                  <p:stCondLst>
                                    <p:cond delay="0"/>
                                  </p:stCondLst>
                                  <p:childTnLst>
                                    <p:animEffect transition="out" filter="fade">
                                      <p:cBhvr>
                                        <p:cTn id="24" dur="500"/>
                                        <p:tgtEl>
                                          <p:spTgt spid="7"/>
                                        </p:tgtEl>
                                      </p:cBhvr>
                                    </p:animEffect>
                                    <p:set>
                                      <p:cBhvr>
                                        <p:cTn id="25" dur="1" fill="hold">
                                          <p:stCondLst>
                                            <p:cond delay="499"/>
                                          </p:stCondLst>
                                        </p:cTn>
                                        <p:tgtEl>
                                          <p:spTgt spid="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2EB3F057-FDA1-A739-83A4-A3C087B46FDF}"/>
              </a:ext>
            </a:extLst>
          </p:cNvPr>
          <p:cNvSpPr>
            <a:spLocks noGrp="1"/>
          </p:cNvSpPr>
          <p:nvPr>
            <p:ph type="dt" sz="half" idx="10"/>
          </p:nvPr>
        </p:nvSpPr>
        <p:spPr/>
        <p:txBody>
          <a:bodyPr/>
          <a:lstStyle/>
          <a:p>
            <a:pPr defTabSz="1218926"/>
            <a:fld id="{E958A689-710A-4F22-907D-0AC47199BC00}" type="datetime1">
              <a:rPr lang="en-US">
                <a:solidFill>
                  <a:prstClr val="black"/>
                </a:solidFill>
                <a:latin typeface="Arial"/>
              </a:rPr>
              <a:pPr defTabSz="1218926"/>
              <a:t>10/22/2024</a:t>
            </a:fld>
            <a:endParaRPr lang="en-US" dirty="0">
              <a:solidFill>
                <a:prstClr val="black"/>
              </a:solidFill>
              <a:latin typeface="Arial"/>
            </a:endParaRPr>
          </a:p>
        </p:txBody>
      </p:sp>
      <p:sp>
        <p:nvSpPr>
          <p:cNvPr id="5" name="Slide Number Placeholder 4">
            <a:extLst>
              <a:ext uri="{FF2B5EF4-FFF2-40B4-BE49-F238E27FC236}">
                <a16:creationId xmlns:a16="http://schemas.microsoft.com/office/drawing/2014/main" id="{AC1AA8A0-F8BA-0B1F-93E8-AA69CB8A943D}"/>
              </a:ext>
            </a:extLst>
          </p:cNvPr>
          <p:cNvSpPr>
            <a:spLocks noGrp="1"/>
          </p:cNvSpPr>
          <p:nvPr>
            <p:ph type="sldNum" sz="quarter" idx="12"/>
          </p:nvPr>
        </p:nvSpPr>
        <p:spPr/>
        <p:txBody>
          <a:bodyPr/>
          <a:lstStyle/>
          <a:p>
            <a:pPr defTabSz="1218926"/>
            <a:fld id="{4915BD61-E5D5-4E4F-ADA0-6F3448AB9FA6}" type="slidenum">
              <a:rPr lang="en-US">
                <a:solidFill>
                  <a:prstClr val="black"/>
                </a:solidFill>
                <a:latin typeface="Arial"/>
              </a:rPr>
              <a:pPr defTabSz="1218926"/>
              <a:t>69</a:t>
            </a:fld>
            <a:endParaRPr lang="en-US" dirty="0">
              <a:solidFill>
                <a:prstClr val="black"/>
              </a:solidFill>
              <a:latin typeface="Arial"/>
            </a:endParaRPr>
          </a:p>
        </p:txBody>
      </p:sp>
      <p:sp>
        <p:nvSpPr>
          <p:cNvPr id="7" name="Content Placeholder 6">
            <a:extLst>
              <a:ext uri="{FF2B5EF4-FFF2-40B4-BE49-F238E27FC236}">
                <a16:creationId xmlns:a16="http://schemas.microsoft.com/office/drawing/2014/main" id="{568E03D5-690B-F3CF-8AE1-736A085CD8D1}"/>
              </a:ext>
            </a:extLst>
          </p:cNvPr>
          <p:cNvSpPr>
            <a:spLocks noGrp="1"/>
          </p:cNvSpPr>
          <p:nvPr>
            <p:ph sz="quarter" idx="15"/>
          </p:nvPr>
        </p:nvSpPr>
        <p:spPr>
          <a:xfrm>
            <a:off x="413985" y="5257612"/>
            <a:ext cx="10078941" cy="647970"/>
          </a:xfrm>
        </p:spPr>
        <p:txBody>
          <a:bodyPr/>
          <a:lstStyle/>
          <a:p>
            <a:pPr marL="285693" indent="-285693">
              <a:buFont typeface="Arial" panose="020B0604020202020204" pitchFamily="34" charset="0"/>
              <a:buChar char="•"/>
            </a:pPr>
            <a:r>
              <a:rPr lang="en-US" dirty="0"/>
              <a:t>Contact Person: May Wang</a:t>
            </a:r>
          </a:p>
          <a:p>
            <a:pPr marL="285693" indent="-285693">
              <a:buFont typeface="Arial" panose="020B0604020202020204" pitchFamily="34" charset="0"/>
              <a:buChar char="•"/>
            </a:pPr>
            <a:r>
              <a:rPr lang="en-US" dirty="0"/>
              <a:t>E-mail: may.wang@tuv.com</a:t>
            </a:r>
          </a:p>
          <a:p>
            <a:pPr marL="285693" indent="-285693">
              <a:buFont typeface="Arial" panose="020B0604020202020204" pitchFamily="34" charset="0"/>
              <a:buChar char="•"/>
            </a:pPr>
            <a:r>
              <a:rPr lang="en-US" dirty="0"/>
              <a:t>T</a:t>
            </a:r>
            <a:r>
              <a:rPr lang="en-US" altLang="zh-CN" dirty="0"/>
              <a:t>el: +1 617 5130373</a:t>
            </a:r>
          </a:p>
          <a:p>
            <a:pPr marL="285693" indent="-285693">
              <a:buFont typeface="Arial" panose="020B0604020202020204" pitchFamily="34" charset="0"/>
              <a:buChar char="•"/>
            </a:pPr>
            <a:r>
              <a:rPr lang="en-US" dirty="0" err="1"/>
              <a:t>Linkedin</a:t>
            </a:r>
            <a:r>
              <a:rPr lang="en-US" dirty="0"/>
              <a:t>: </a:t>
            </a:r>
            <a:r>
              <a:rPr lang="en-US" dirty="0">
                <a:hlinkClick r:id="rId3"/>
              </a:rPr>
              <a:t>May Wang | LinkedIn</a:t>
            </a:r>
            <a:endParaRPr lang="en-US" dirty="0"/>
          </a:p>
          <a:p>
            <a:endParaRPr lang="en-US" dirty="0"/>
          </a:p>
          <a:p>
            <a:endParaRPr lang="en-US" dirty="0"/>
          </a:p>
          <a:p>
            <a:endParaRPr lang="en-US" dirty="0"/>
          </a:p>
        </p:txBody>
      </p:sp>
      <p:sp>
        <p:nvSpPr>
          <p:cNvPr id="8" name="Text Placeholder 7">
            <a:extLst>
              <a:ext uri="{FF2B5EF4-FFF2-40B4-BE49-F238E27FC236}">
                <a16:creationId xmlns:a16="http://schemas.microsoft.com/office/drawing/2014/main" id="{3223CE52-ECC0-AE9E-C6D4-C554731A86E1}"/>
              </a:ext>
            </a:extLst>
          </p:cNvPr>
          <p:cNvSpPr>
            <a:spLocks noGrp="1"/>
          </p:cNvSpPr>
          <p:nvPr>
            <p:ph type="body" sz="quarter" idx="13"/>
          </p:nvPr>
        </p:nvSpPr>
        <p:spPr>
          <a:xfrm>
            <a:off x="427378" y="4753938"/>
            <a:ext cx="11086121" cy="503122"/>
          </a:xfrm>
        </p:spPr>
        <p:txBody>
          <a:bodyPr/>
          <a:lstStyle/>
          <a:p>
            <a:r>
              <a:rPr lang="en-US" dirty="0">
                <a:solidFill>
                  <a:srgbClr val="0070C0"/>
                </a:solidFill>
              </a:rPr>
              <a:t>Let's Discuss Your Next </a:t>
            </a:r>
            <a:r>
              <a:rPr lang="en-US">
                <a:solidFill>
                  <a:srgbClr val="0070C0"/>
                </a:solidFill>
              </a:rPr>
              <a:t>Solar Investment!</a:t>
            </a:r>
            <a:endParaRPr lang="en-US" dirty="0">
              <a:solidFill>
                <a:srgbClr val="0070C0"/>
              </a:solidFill>
            </a:endParaRPr>
          </a:p>
        </p:txBody>
      </p:sp>
      <p:pic>
        <p:nvPicPr>
          <p:cNvPr id="10" name="Picture 9">
            <a:extLst>
              <a:ext uri="{FF2B5EF4-FFF2-40B4-BE49-F238E27FC236}">
                <a16:creationId xmlns:a16="http://schemas.microsoft.com/office/drawing/2014/main" id="{2E8134A5-528D-BFB2-D85C-74DA8173F967}"/>
              </a:ext>
            </a:extLst>
          </p:cNvPr>
          <p:cNvPicPr>
            <a:picLocks noChangeAspect="1"/>
          </p:cNvPicPr>
          <p:nvPr/>
        </p:nvPicPr>
        <p:blipFill>
          <a:blip r:embed="rId4"/>
          <a:stretch>
            <a:fillRect/>
          </a:stretch>
        </p:blipFill>
        <p:spPr>
          <a:xfrm>
            <a:off x="2205" y="0"/>
            <a:ext cx="12187592" cy="4510572"/>
          </a:xfrm>
          <a:prstGeom prst="rect">
            <a:avLst/>
          </a:prstGeom>
        </p:spPr>
      </p:pic>
      <p:sp>
        <p:nvSpPr>
          <p:cNvPr id="13" name="Fußzeilenplatzhalter 8">
            <a:extLst>
              <a:ext uri="{FF2B5EF4-FFF2-40B4-BE49-F238E27FC236}">
                <a16:creationId xmlns:a16="http://schemas.microsoft.com/office/drawing/2014/main" id="{323CBCC4-8406-5B63-68B3-5544530AACC2}"/>
              </a:ext>
            </a:extLst>
          </p:cNvPr>
          <p:cNvSpPr txBox="1">
            <a:spLocks/>
          </p:cNvSpPr>
          <p:nvPr/>
        </p:nvSpPr>
        <p:spPr bwMode="gray">
          <a:xfrm>
            <a:off x="1704916" y="6452720"/>
            <a:ext cx="4390984" cy="172505"/>
          </a:xfrm>
          <a:prstGeom prst="rect">
            <a:avLst/>
          </a:prstGeom>
        </p:spPr>
        <p:txBody>
          <a:bodyPr vert="horz" lIns="0" tIns="0" rIns="0" bIns="0" rtlCol="0" anchor="b"/>
          <a:lstStyle>
            <a:defPPr>
              <a:defRPr lang="de-DE"/>
            </a:defPPr>
            <a:lvl1pPr marL="0" algn="l" defTabSz="1219170" rtl="0" eaLnBrk="1" latinLnBrk="0" hangingPunct="1">
              <a:defRPr sz="8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1218926"/>
            <a:r>
              <a:rPr lang="de-DE" altLang="zh-CN">
                <a:solidFill>
                  <a:prstClr val="black"/>
                </a:solidFill>
                <a:latin typeface="Arial"/>
              </a:rPr>
              <a:t>TÜV Rheinland's Solar Business</a:t>
            </a:r>
            <a:endParaRPr lang="de-DE" altLang="zh-CN" dirty="0">
              <a:solidFill>
                <a:prstClr val="black"/>
              </a:solidFill>
              <a:latin typeface="Arial"/>
            </a:endParaRPr>
          </a:p>
        </p:txBody>
      </p:sp>
    </p:spTree>
    <p:extLst>
      <p:ext uri="{BB962C8B-B14F-4D97-AF65-F5344CB8AC3E}">
        <p14:creationId xmlns:p14="http://schemas.microsoft.com/office/powerpoint/2010/main" val="124570927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everal logos of different brands&#10;&#10;Description automatically generated">
            <a:extLst>
              <a:ext uri="{FF2B5EF4-FFF2-40B4-BE49-F238E27FC236}">
                <a16:creationId xmlns:a16="http://schemas.microsoft.com/office/drawing/2014/main" id="{9E741425-6FF8-3A47-AA91-865D97AA258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3108194857"/>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showMasterSp="0">
  <p:cSld>
    <p:bg>
      <p:bgPr>
        <a:solidFill>
          <a:srgbClr val="FFFFFF"/>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99E56F8-5CFB-C4C0-64DB-AEFD70EBD7B3}"/>
              </a:ext>
            </a:extLst>
          </p:cNvPr>
          <p:cNvSpPr>
            <a:spLocks noGrp="1"/>
          </p:cNvSpPr>
          <p:nvPr>
            <p:ph type="dt" sz="half" idx="10"/>
          </p:nvPr>
        </p:nvSpPr>
        <p:spPr/>
        <p:txBody>
          <a:bodyPr/>
          <a:lstStyle/>
          <a:p>
            <a:fld id="{6343F761-C622-4D5D-B75F-C7A133756A85}" type="datetime1">
              <a:rPr lang="en-US" smtClean="0"/>
              <a:t>10/22/2024</a:t>
            </a:fld>
            <a:endParaRPr lang="en-US" dirty="0"/>
          </a:p>
        </p:txBody>
      </p:sp>
      <p:sp>
        <p:nvSpPr>
          <p:cNvPr id="3" name="Footer Placeholder 2">
            <a:extLst>
              <a:ext uri="{FF2B5EF4-FFF2-40B4-BE49-F238E27FC236}">
                <a16:creationId xmlns:a16="http://schemas.microsoft.com/office/drawing/2014/main" id="{2AA565ED-8C5C-9D0A-B943-66D1B682E1F7}"/>
              </a:ext>
            </a:extLst>
          </p:cNvPr>
          <p:cNvSpPr>
            <a:spLocks noGrp="1"/>
          </p:cNvSpPr>
          <p:nvPr>
            <p:ph type="ftr" sz="quarter" idx="11"/>
          </p:nvPr>
        </p:nvSpPr>
        <p:spPr/>
        <p:txBody>
          <a:bodyPr/>
          <a:lstStyle/>
          <a:p>
            <a:r>
              <a:rPr lang="en-US"/>
              <a:t>Please insert footnote</a:t>
            </a:r>
            <a:endParaRPr lang="en-US" dirty="0"/>
          </a:p>
        </p:txBody>
      </p:sp>
      <p:sp>
        <p:nvSpPr>
          <p:cNvPr id="4" name="Slide Number Placeholder 3">
            <a:extLst>
              <a:ext uri="{FF2B5EF4-FFF2-40B4-BE49-F238E27FC236}">
                <a16:creationId xmlns:a16="http://schemas.microsoft.com/office/drawing/2014/main" id="{24FC9B06-68E6-AF28-8B32-EB9BC72832F3}"/>
              </a:ext>
            </a:extLst>
          </p:cNvPr>
          <p:cNvSpPr>
            <a:spLocks noGrp="1"/>
          </p:cNvSpPr>
          <p:nvPr>
            <p:ph type="sldNum" sz="quarter" idx="12"/>
          </p:nvPr>
        </p:nvSpPr>
        <p:spPr/>
        <p:txBody>
          <a:bodyPr/>
          <a:lstStyle/>
          <a:p>
            <a:fld id="{4915BD61-E5D5-4E4F-ADA0-6F3448AB9FA6}" type="slidenum">
              <a:rPr lang="en-US" smtClean="0"/>
              <a:pPr/>
              <a:t>70</a:t>
            </a:fld>
            <a:endParaRPr lang="en-US" dirty="0"/>
          </a:p>
        </p:txBody>
      </p:sp>
      <p:sp>
        <p:nvSpPr>
          <p:cNvPr id="5" name="Rectangle: Rounded Corners 4">
            <a:extLst>
              <a:ext uri="{FF2B5EF4-FFF2-40B4-BE49-F238E27FC236}">
                <a16:creationId xmlns:a16="http://schemas.microsoft.com/office/drawing/2014/main" id="{82FBEE4B-45A2-3E31-5341-36FBE5832F87}"/>
              </a:ext>
            </a:extLst>
          </p:cNvPr>
          <p:cNvSpPr/>
          <p:nvPr>
            <p:custDataLst>
              <p:tags r:id="rId2"/>
            </p:custDataLst>
          </p:nvPr>
        </p:nvSpPr>
        <p:spPr>
          <a:xfrm>
            <a:off x="6286500" y="430530"/>
            <a:ext cx="5524500" cy="891540"/>
          </a:xfrm>
          <a:prstGeom prst="round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lIns="317500" rIns="1143000" rtlCol="0" anchor="ctr">
            <a:normAutofit/>
          </a:bodyPr>
          <a:lstStyle/>
          <a:p>
            <a:pPr rtl="0" eaLnBrk="1" fontAlgn="auto" hangingPunct="1">
              <a:lnSpc>
                <a:spcPct val="100000"/>
              </a:lnSpc>
              <a:spcBef>
                <a:spcPts val="0"/>
              </a:spcBef>
              <a:spcAft>
                <a:spcPts val="0"/>
              </a:spcAft>
            </a:pPr>
            <a:r>
              <a:rPr lang="en-US" sz="2000" b="0" i="0" u="none" baseline="0">
                <a:solidFill>
                  <a:srgbClr val="5B5B5B"/>
                </a:solidFill>
                <a:latin typeface="Arial"/>
              </a:rPr>
              <a:t>Please download and install the Slido app on all computers you use</a:t>
            </a:r>
            <a:endParaRPr lang="en-GB" sz="2000" b="0" i="0" u="none" baseline="0" dirty="0" err="1">
              <a:solidFill>
                <a:srgbClr val="5B5B5B"/>
              </a:solidFill>
              <a:latin typeface="Arial"/>
            </a:endParaRPr>
          </a:p>
        </p:txBody>
      </p:sp>
      <p:pic>
        <p:nvPicPr>
          <p:cNvPr id="7" name="Graphic 6">
            <a:extLst>
              <a:ext uri="{FF2B5EF4-FFF2-40B4-BE49-F238E27FC236}">
                <a16:creationId xmlns:a16="http://schemas.microsoft.com/office/drawing/2014/main" id="{C18F01DE-94EC-9A7E-336E-8A8A897734B4}"/>
              </a:ext>
            </a:extLst>
          </p:cNvPr>
          <p:cNvPicPr>
            <a:picLocks/>
          </p:cNvPicPr>
          <p:nvPr>
            <p:custDataLst>
              <p:tags r:id="rId3"/>
            </p:custDataLst>
          </p:nvPr>
        </p:nvPicPr>
        <p:blipFill>
          <a:blip r:embed="rId9">
            <a:extLst>
              <a:ext uri="{96DAC541-7B7A-43D3-8B79-37D633B846F1}">
                <asvg:svgBlip xmlns:asvg="http://schemas.microsoft.com/office/drawing/2016/SVG/main" r:embed="rId10"/>
              </a:ext>
            </a:extLst>
          </a:blip>
          <a:stretch>
            <a:fillRect/>
          </a:stretch>
        </p:blipFill>
        <p:spPr>
          <a:xfrm>
            <a:off x="10826048" y="577634"/>
            <a:ext cx="597332" cy="597332"/>
          </a:xfrm>
          <a:prstGeom prst="rect">
            <a:avLst/>
          </a:prstGeom>
        </p:spPr>
      </p:pic>
      <p:pic>
        <p:nvPicPr>
          <p:cNvPr id="9" name="Graphic 8">
            <a:extLst>
              <a:ext uri="{FF2B5EF4-FFF2-40B4-BE49-F238E27FC236}">
                <a16:creationId xmlns:a16="http://schemas.microsoft.com/office/drawing/2014/main" id="{7265FAFF-174A-2959-7185-DDAF3384BCED}"/>
              </a:ext>
            </a:extLst>
          </p:cNvPr>
          <p:cNvPicPr>
            <a:picLocks/>
          </p:cNvPicPr>
          <p:nvPr>
            <p:custDataLst>
              <p:tags r:id="rId4"/>
            </p:custDataLst>
          </p:nvPr>
        </p:nvPicPr>
        <p:blipFill>
          <a:blip r:embed="rId11">
            <a:extLst>
              <a:ext uri="{96DAC541-7B7A-43D3-8B79-37D633B846F1}">
                <asvg:svgBlip xmlns:asvg="http://schemas.microsoft.com/office/drawing/2016/SVG/main" r:embed="rId12"/>
              </a:ext>
            </a:extLst>
          </a:blip>
          <a:stretch>
            <a:fillRect/>
          </a:stretch>
        </p:blipFill>
        <p:spPr>
          <a:xfrm>
            <a:off x="3901440" y="617220"/>
            <a:ext cx="1036320" cy="518160"/>
          </a:xfrm>
          <a:prstGeom prst="rect">
            <a:avLst/>
          </a:prstGeom>
        </p:spPr>
      </p:pic>
      <p:pic>
        <p:nvPicPr>
          <p:cNvPr id="11" name="Graphic 10">
            <a:extLst>
              <a:ext uri="{FF2B5EF4-FFF2-40B4-BE49-F238E27FC236}">
                <a16:creationId xmlns:a16="http://schemas.microsoft.com/office/drawing/2014/main" id="{29195D0C-C289-FB80-8F1E-65FFF6DCF8C2}"/>
              </a:ext>
            </a:extLst>
          </p:cNvPr>
          <p:cNvPicPr>
            <a:picLocks/>
          </p:cNvPicPr>
          <p:nvPr>
            <p:custDataLst>
              <p:tags r:id="rId5"/>
            </p:custDataLst>
          </p:nvPr>
        </p:nvPicPr>
        <p:blipFill>
          <a:blip r:embed="rId13">
            <a:extLst>
              <a:ext uri="{96DAC541-7B7A-43D3-8B79-37D633B846F1}">
                <asvg:svgBlip xmlns:asvg="http://schemas.microsoft.com/office/drawing/2016/SVG/main" r:embed="rId14"/>
              </a:ext>
            </a:extLst>
          </a:blip>
          <a:stretch>
            <a:fillRect/>
          </a:stretch>
        </p:blipFill>
        <p:spPr>
          <a:xfrm>
            <a:off x="1158240" y="2270760"/>
            <a:ext cx="2316480" cy="2316480"/>
          </a:xfrm>
          <a:prstGeom prst="rect">
            <a:avLst/>
          </a:prstGeom>
        </p:spPr>
      </p:pic>
      <p:sp>
        <p:nvSpPr>
          <p:cNvPr id="12" name="Rectangle 11">
            <a:extLst>
              <a:ext uri="{FF2B5EF4-FFF2-40B4-BE49-F238E27FC236}">
                <a16:creationId xmlns:a16="http://schemas.microsoft.com/office/drawing/2014/main" id="{9A4F47BB-FA1C-1FAF-85EE-EF62569FA185}"/>
              </a:ext>
            </a:extLst>
          </p:cNvPr>
          <p:cNvSpPr/>
          <p:nvPr>
            <p:custDataLst>
              <p:tags r:id="rId6"/>
            </p:custDataLst>
          </p:nvPr>
        </p:nvSpPr>
        <p:spPr>
          <a:xfrm>
            <a:off x="3901440" y="2571750"/>
            <a:ext cx="7315199" cy="1714500"/>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rtl="0" eaLnBrk="1" fontAlgn="auto" hangingPunct="1">
              <a:lnSpc>
                <a:spcPct val="100000"/>
              </a:lnSpc>
              <a:spcBef>
                <a:spcPts val="0"/>
              </a:spcBef>
              <a:spcAft>
                <a:spcPts val="0"/>
              </a:spcAft>
            </a:pPr>
            <a:r>
              <a:rPr lang="en-GB" sz="4000" b="1" i="0" u="none" baseline="0">
                <a:solidFill>
                  <a:srgbClr val="5B5B5B"/>
                </a:solidFill>
                <a:latin typeface="Arial"/>
              </a:rPr>
              <a:t>Audience Q&amp;A</a:t>
            </a:r>
            <a:endParaRPr lang="en-GB" sz="4000" b="1" i="0" u="none" baseline="0" dirty="0" err="1">
              <a:solidFill>
                <a:srgbClr val="5B5B5B"/>
              </a:solidFill>
              <a:latin typeface="Arial"/>
            </a:endParaRPr>
          </a:p>
        </p:txBody>
      </p:sp>
      <p:sp>
        <p:nvSpPr>
          <p:cNvPr id="13" name="Rectangle 12">
            <a:extLst>
              <a:ext uri="{FF2B5EF4-FFF2-40B4-BE49-F238E27FC236}">
                <a16:creationId xmlns:a16="http://schemas.microsoft.com/office/drawing/2014/main" id="{423F79F6-B23D-691B-9A62-079E72C48AD1}"/>
              </a:ext>
            </a:extLst>
          </p:cNvPr>
          <p:cNvSpPr/>
          <p:nvPr>
            <p:custDataLst>
              <p:tags r:id="rId7"/>
            </p:custDataLst>
          </p:nvPr>
        </p:nvSpPr>
        <p:spPr>
          <a:xfrm>
            <a:off x="3901440" y="6032500"/>
            <a:ext cx="7315199" cy="518160"/>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92500"/>
          </a:bodyPr>
          <a:lstStyle/>
          <a:p>
            <a:pPr rtl="0" eaLnBrk="1" fontAlgn="auto" hangingPunct="1">
              <a:lnSpc>
                <a:spcPct val="100000"/>
              </a:lnSpc>
              <a:spcBef>
                <a:spcPts val="0"/>
              </a:spcBef>
              <a:spcAft>
                <a:spcPts val="0"/>
              </a:spcAft>
            </a:pPr>
            <a:r>
              <a:rPr lang="en-US" sz="2200" b="1" i="0" u="none" baseline="0">
                <a:solidFill>
                  <a:srgbClr val="5B5B5B"/>
                </a:solidFill>
                <a:latin typeface="Arial"/>
              </a:rPr>
              <a:t>ⓘ</a:t>
            </a:r>
            <a:r>
              <a:rPr lang="en-US" sz="2000" b="0" i="0" u="none" baseline="0">
                <a:solidFill>
                  <a:srgbClr val="5B5B5B"/>
                </a:solidFill>
                <a:latin typeface="Arial"/>
              </a:rPr>
              <a:t> Start presenting to display the audience questions on this slide.</a:t>
            </a:r>
            <a:endParaRPr lang="en-GB" sz="2000" b="0" i="0" u="none" baseline="0" dirty="0" err="1">
              <a:solidFill>
                <a:srgbClr val="5B5B5B"/>
              </a:solidFill>
              <a:latin typeface="Arial"/>
            </a:endParaRPr>
          </a:p>
        </p:txBody>
      </p:sp>
    </p:spTree>
    <p:custDataLst>
      <p:tags r:id="rId1"/>
    </p:custDataLst>
    <p:extLst>
      <p:ext uri="{BB962C8B-B14F-4D97-AF65-F5344CB8AC3E}">
        <p14:creationId xmlns:p14="http://schemas.microsoft.com/office/powerpoint/2010/main" val="64692519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group of men with their heads in circles&#10;&#10;Description automatically generated">
            <a:extLst>
              <a:ext uri="{FF2B5EF4-FFF2-40B4-BE49-F238E27FC236}">
                <a16:creationId xmlns:a16="http://schemas.microsoft.com/office/drawing/2014/main" id="{CA60015B-44CD-8A7D-47E0-2A8AADB923D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93736463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showMasterSp="0">
  <p:cSld>
    <p:bg>
      <p:bgPr>
        <a:solidFill>
          <a:srgbClr val="FFFFFF"/>
        </a:solidFill>
        <a:effectLst/>
      </p:bgPr>
    </p:bg>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4B13595E-0E83-5AA2-8C62-46FC6407A454}"/>
              </a:ext>
            </a:extLst>
          </p:cNvPr>
          <p:cNvSpPr/>
          <p:nvPr>
            <p:custDataLst>
              <p:tags r:id="rId2"/>
            </p:custDataLst>
          </p:nvPr>
        </p:nvSpPr>
        <p:spPr>
          <a:xfrm>
            <a:off x="6286500" y="430530"/>
            <a:ext cx="5524500" cy="891540"/>
          </a:xfrm>
          <a:prstGeom prst="roundRect">
            <a:avLst/>
          </a:prstGeom>
          <a:solidFill>
            <a:srgbClr val="F4F4F4"/>
          </a:solidFill>
          <a:ln w="19050" cap="flat" cmpd="sng" algn="ctr">
            <a:noFill/>
            <a:prstDash val="solid"/>
            <a:miter lim="800000"/>
          </a:ln>
          <a:effectLst/>
          <a:extLs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lIns="317500" rIns="1143000" rtlCol="0" anchor="ctr">
            <a:normAutofit/>
          </a:bodyPr>
          <a:lstStyle/>
          <a:p>
            <a:r>
              <a:rPr lang="en-US" sz="2000">
                <a:solidFill>
                  <a:srgbClr val="5B5B5B"/>
                </a:solidFill>
              </a:rPr>
              <a:t>Please download and install the Slido app on all computers you use</a:t>
            </a:r>
            <a:endParaRPr lang="en-GB" sz="2000">
              <a:solidFill>
                <a:srgbClr val="5B5B5B"/>
              </a:solidFill>
            </a:endParaRPr>
          </a:p>
        </p:txBody>
      </p:sp>
      <p:pic>
        <p:nvPicPr>
          <p:cNvPr id="4" name="Graphic 3">
            <a:extLst>
              <a:ext uri="{FF2B5EF4-FFF2-40B4-BE49-F238E27FC236}">
                <a16:creationId xmlns:a16="http://schemas.microsoft.com/office/drawing/2014/main" id="{4F5CF41F-EC56-C08B-5098-757C8C34FE4F}"/>
              </a:ext>
            </a:extLst>
          </p:cNvPr>
          <p:cNvPicPr>
            <a:picLocks/>
          </p:cNvPicPr>
          <p:nvPr>
            <p:custDataLst>
              <p:tags r:id="rId3"/>
            </p:custDataLst>
          </p:nvPr>
        </p:nvPicPr>
        <p:blipFill>
          <a:blip r:embed="rId9">
            <a:extLst>
              <a:ext uri="{96DAC541-7B7A-43D3-8B79-37D633B846F1}">
                <asvg:svgBlip xmlns:asvg="http://schemas.microsoft.com/office/drawing/2016/SVG/main" r:embed="rId10"/>
              </a:ext>
            </a:extLst>
          </a:blip>
          <a:stretch>
            <a:fillRect/>
          </a:stretch>
        </p:blipFill>
        <p:spPr>
          <a:xfrm>
            <a:off x="10826048" y="577634"/>
            <a:ext cx="597332" cy="597332"/>
          </a:xfrm>
          <a:prstGeom prst="rect">
            <a:avLst/>
          </a:prstGeom>
        </p:spPr>
      </p:pic>
      <p:pic>
        <p:nvPicPr>
          <p:cNvPr id="6" name="Graphic 5">
            <a:extLst>
              <a:ext uri="{FF2B5EF4-FFF2-40B4-BE49-F238E27FC236}">
                <a16:creationId xmlns:a16="http://schemas.microsoft.com/office/drawing/2014/main" id="{4869E6A7-3DD9-4118-58E8-2C853E6B414F}"/>
              </a:ext>
            </a:extLst>
          </p:cNvPr>
          <p:cNvPicPr>
            <a:picLocks/>
          </p:cNvPicPr>
          <p:nvPr>
            <p:custDataLst>
              <p:tags r:id="rId4"/>
            </p:custDataLst>
          </p:nvPr>
        </p:nvPicPr>
        <p:blipFill>
          <a:blip r:embed="rId11">
            <a:extLst>
              <a:ext uri="{96DAC541-7B7A-43D3-8B79-37D633B846F1}">
                <asvg:svgBlip xmlns:asvg="http://schemas.microsoft.com/office/drawing/2016/SVG/main" r:embed="rId12"/>
              </a:ext>
            </a:extLst>
          </a:blip>
          <a:stretch>
            <a:fillRect/>
          </a:stretch>
        </p:blipFill>
        <p:spPr>
          <a:xfrm>
            <a:off x="3901440" y="617220"/>
            <a:ext cx="1036320" cy="518160"/>
          </a:xfrm>
          <a:prstGeom prst="rect">
            <a:avLst/>
          </a:prstGeom>
        </p:spPr>
      </p:pic>
      <p:pic>
        <p:nvPicPr>
          <p:cNvPr id="8" name="Graphic 7">
            <a:extLst>
              <a:ext uri="{FF2B5EF4-FFF2-40B4-BE49-F238E27FC236}">
                <a16:creationId xmlns:a16="http://schemas.microsoft.com/office/drawing/2014/main" id="{5340ACFD-381F-14FB-AE76-13B54323E2E1}"/>
              </a:ext>
            </a:extLst>
          </p:cNvPr>
          <p:cNvPicPr>
            <a:picLocks/>
          </p:cNvPicPr>
          <p:nvPr>
            <p:custDataLst>
              <p:tags r:id="rId5"/>
            </p:custDataLst>
          </p:nvPr>
        </p:nvPicPr>
        <p:blipFill>
          <a:blip r:embed="rId13">
            <a:extLst>
              <a:ext uri="{96DAC541-7B7A-43D3-8B79-37D633B846F1}">
                <asvg:svgBlip xmlns:asvg="http://schemas.microsoft.com/office/drawing/2016/SVG/main" r:embed="rId14"/>
              </a:ext>
            </a:extLst>
          </a:blip>
          <a:stretch>
            <a:fillRect/>
          </a:stretch>
        </p:blipFill>
        <p:spPr>
          <a:xfrm>
            <a:off x="1158240" y="2270760"/>
            <a:ext cx="2316480" cy="2316480"/>
          </a:xfrm>
          <a:prstGeom prst="rect">
            <a:avLst/>
          </a:prstGeom>
        </p:spPr>
      </p:pic>
      <p:sp>
        <p:nvSpPr>
          <p:cNvPr id="9" name="Rectangle 8">
            <a:extLst>
              <a:ext uri="{FF2B5EF4-FFF2-40B4-BE49-F238E27FC236}">
                <a16:creationId xmlns:a16="http://schemas.microsoft.com/office/drawing/2014/main" id="{8DDDE5D6-FF63-80A9-F791-E0D5B6E84975}"/>
              </a:ext>
            </a:extLst>
          </p:cNvPr>
          <p:cNvSpPr/>
          <p:nvPr>
            <p:custDataLst>
              <p:tags r:id="rId6"/>
            </p:custDataLst>
          </p:nvPr>
        </p:nvSpPr>
        <p:spPr>
          <a:xfrm>
            <a:off x="3901440" y="2571750"/>
            <a:ext cx="7315199" cy="1714500"/>
          </a:xfrm>
          <a:prstGeom prst="rect">
            <a:avLst/>
          </a:prstGeom>
          <a:noFill/>
          <a:ln w="19050" cap="flat" cmpd="sng" algn="ctr">
            <a:solidFill>
              <a:srgbClr val="FFFFFF"/>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4000" b="1">
                <a:solidFill>
                  <a:srgbClr val="5B5B5B"/>
                </a:solidFill>
              </a:rPr>
              <a:t>What do you believe is the biggest challenger facing buyers/offtakers?</a:t>
            </a:r>
            <a:endParaRPr lang="en-GB" sz="4000" b="1">
              <a:solidFill>
                <a:srgbClr val="5B5B5B"/>
              </a:solidFill>
            </a:endParaRPr>
          </a:p>
        </p:txBody>
      </p:sp>
      <p:sp>
        <p:nvSpPr>
          <p:cNvPr id="10" name="Rectangle 9">
            <a:extLst>
              <a:ext uri="{FF2B5EF4-FFF2-40B4-BE49-F238E27FC236}">
                <a16:creationId xmlns:a16="http://schemas.microsoft.com/office/drawing/2014/main" id="{BCAB9F1A-A15C-8234-3BCB-83F1989957D6}"/>
              </a:ext>
            </a:extLst>
          </p:cNvPr>
          <p:cNvSpPr/>
          <p:nvPr>
            <p:custDataLst>
              <p:tags r:id="rId7"/>
            </p:custDataLst>
          </p:nvPr>
        </p:nvSpPr>
        <p:spPr>
          <a:xfrm>
            <a:off x="3901440" y="6032500"/>
            <a:ext cx="7315199" cy="518160"/>
          </a:xfrm>
          <a:prstGeom prst="rect">
            <a:avLst/>
          </a:prstGeom>
          <a:noFill/>
          <a:ln w="1905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p>
            <a:r>
              <a:rPr lang="en-US" sz="2200" b="1">
                <a:solidFill>
                  <a:srgbClr val="5B5B5B"/>
                </a:solidFill>
              </a:rPr>
              <a:t>ⓘ</a:t>
            </a:r>
            <a:r>
              <a:rPr lang="en-US" sz="2000">
                <a:solidFill>
                  <a:srgbClr val="5B5B5B"/>
                </a:solidFill>
              </a:rPr>
              <a:t> Start presenting to display the poll results on this slide.</a:t>
            </a:r>
            <a:endParaRPr lang="en-GB" sz="2000">
              <a:solidFill>
                <a:srgbClr val="5B5B5B"/>
              </a:solidFill>
            </a:endParaRPr>
          </a:p>
        </p:txBody>
      </p:sp>
    </p:spTree>
    <p:custDataLst>
      <p:tags r:id="rId1"/>
    </p:custDataLst>
    <p:extLst>
      <p:ext uri="{BB962C8B-B14F-4D97-AF65-F5344CB8AC3E}">
        <p14:creationId xmlns:p14="http://schemas.microsoft.com/office/powerpoint/2010/main" val="152737209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showMasterSp="0">
  <p:cSld>
    <p:bg>
      <p:bgPr>
        <a:solidFill>
          <a:srgbClr val="FFFFFF"/>
        </a:solidFill>
        <a:effectLst/>
      </p:bgPr>
    </p:bg>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B435398C-DA23-9E5F-A716-B753FC3E70B9}"/>
              </a:ext>
            </a:extLst>
          </p:cNvPr>
          <p:cNvSpPr/>
          <p:nvPr>
            <p:custDataLst>
              <p:tags r:id="rId2"/>
            </p:custDataLst>
          </p:nvPr>
        </p:nvSpPr>
        <p:spPr>
          <a:xfrm>
            <a:off x="6286500" y="430530"/>
            <a:ext cx="5524500" cy="891540"/>
          </a:xfrm>
          <a:prstGeom prst="roundRect">
            <a:avLst/>
          </a:prstGeom>
          <a:solidFill>
            <a:srgbClr val="F4F4F4"/>
          </a:solidFill>
          <a:ln w="19050" cap="flat" cmpd="sng" algn="ctr">
            <a:noFill/>
            <a:prstDash val="solid"/>
            <a:miter lim="800000"/>
          </a:ln>
          <a:effectLst/>
          <a:extLs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lIns="317500" rIns="1143000" rtlCol="0" anchor="ctr">
            <a:normAutofit/>
          </a:bodyPr>
          <a:lstStyle/>
          <a:p>
            <a:r>
              <a:rPr lang="en-US" sz="2000">
                <a:solidFill>
                  <a:srgbClr val="5B5B5B"/>
                </a:solidFill>
              </a:rPr>
              <a:t>Please download and install the Slido app on all computers you use</a:t>
            </a:r>
            <a:endParaRPr lang="en-GB" sz="2000">
              <a:solidFill>
                <a:srgbClr val="5B5B5B"/>
              </a:solidFill>
            </a:endParaRPr>
          </a:p>
        </p:txBody>
      </p:sp>
      <p:pic>
        <p:nvPicPr>
          <p:cNvPr id="4" name="Graphic 3">
            <a:extLst>
              <a:ext uri="{FF2B5EF4-FFF2-40B4-BE49-F238E27FC236}">
                <a16:creationId xmlns:a16="http://schemas.microsoft.com/office/drawing/2014/main" id="{4817B3B7-3F5A-3B97-09DD-B9C28FAE036A}"/>
              </a:ext>
            </a:extLst>
          </p:cNvPr>
          <p:cNvPicPr>
            <a:picLocks/>
          </p:cNvPicPr>
          <p:nvPr>
            <p:custDataLst>
              <p:tags r:id="rId3"/>
            </p:custDataLst>
          </p:nvPr>
        </p:nvPicPr>
        <p:blipFill>
          <a:blip r:embed="rId9">
            <a:extLst>
              <a:ext uri="{96DAC541-7B7A-43D3-8B79-37D633B846F1}">
                <asvg:svgBlip xmlns:asvg="http://schemas.microsoft.com/office/drawing/2016/SVG/main" r:embed="rId10"/>
              </a:ext>
            </a:extLst>
          </a:blip>
          <a:stretch>
            <a:fillRect/>
          </a:stretch>
        </p:blipFill>
        <p:spPr>
          <a:xfrm>
            <a:off x="10826048" y="577634"/>
            <a:ext cx="597332" cy="597332"/>
          </a:xfrm>
          <a:prstGeom prst="rect">
            <a:avLst/>
          </a:prstGeom>
        </p:spPr>
      </p:pic>
      <p:pic>
        <p:nvPicPr>
          <p:cNvPr id="6" name="Graphic 5">
            <a:extLst>
              <a:ext uri="{FF2B5EF4-FFF2-40B4-BE49-F238E27FC236}">
                <a16:creationId xmlns:a16="http://schemas.microsoft.com/office/drawing/2014/main" id="{DD842A9E-556E-81B1-1980-43B9811B3944}"/>
              </a:ext>
            </a:extLst>
          </p:cNvPr>
          <p:cNvPicPr>
            <a:picLocks/>
          </p:cNvPicPr>
          <p:nvPr>
            <p:custDataLst>
              <p:tags r:id="rId4"/>
            </p:custDataLst>
          </p:nvPr>
        </p:nvPicPr>
        <p:blipFill>
          <a:blip r:embed="rId11">
            <a:extLst>
              <a:ext uri="{96DAC541-7B7A-43D3-8B79-37D633B846F1}">
                <asvg:svgBlip xmlns:asvg="http://schemas.microsoft.com/office/drawing/2016/SVG/main" r:embed="rId12"/>
              </a:ext>
            </a:extLst>
          </a:blip>
          <a:stretch>
            <a:fillRect/>
          </a:stretch>
        </p:blipFill>
        <p:spPr>
          <a:xfrm>
            <a:off x="3901440" y="617220"/>
            <a:ext cx="1036320" cy="518160"/>
          </a:xfrm>
          <a:prstGeom prst="rect">
            <a:avLst/>
          </a:prstGeom>
        </p:spPr>
      </p:pic>
      <p:pic>
        <p:nvPicPr>
          <p:cNvPr id="8" name="Graphic 7">
            <a:extLst>
              <a:ext uri="{FF2B5EF4-FFF2-40B4-BE49-F238E27FC236}">
                <a16:creationId xmlns:a16="http://schemas.microsoft.com/office/drawing/2014/main" id="{D534FA2E-36C5-B79E-7371-50F5F058C631}"/>
              </a:ext>
            </a:extLst>
          </p:cNvPr>
          <p:cNvPicPr>
            <a:picLocks/>
          </p:cNvPicPr>
          <p:nvPr>
            <p:custDataLst>
              <p:tags r:id="rId5"/>
            </p:custDataLst>
          </p:nvPr>
        </p:nvPicPr>
        <p:blipFill>
          <a:blip r:embed="rId13">
            <a:extLst>
              <a:ext uri="{96DAC541-7B7A-43D3-8B79-37D633B846F1}">
                <asvg:svgBlip xmlns:asvg="http://schemas.microsoft.com/office/drawing/2016/SVG/main" r:embed="rId14"/>
              </a:ext>
            </a:extLst>
          </a:blip>
          <a:stretch>
            <a:fillRect/>
          </a:stretch>
        </p:blipFill>
        <p:spPr>
          <a:xfrm>
            <a:off x="1158240" y="2270760"/>
            <a:ext cx="2316480" cy="2316480"/>
          </a:xfrm>
          <a:prstGeom prst="rect">
            <a:avLst/>
          </a:prstGeom>
        </p:spPr>
      </p:pic>
      <p:sp>
        <p:nvSpPr>
          <p:cNvPr id="9" name="Rectangle 8">
            <a:extLst>
              <a:ext uri="{FF2B5EF4-FFF2-40B4-BE49-F238E27FC236}">
                <a16:creationId xmlns:a16="http://schemas.microsoft.com/office/drawing/2014/main" id="{A54592A5-FE00-AC4A-93A4-072E3417B21D}"/>
              </a:ext>
            </a:extLst>
          </p:cNvPr>
          <p:cNvSpPr/>
          <p:nvPr>
            <p:custDataLst>
              <p:tags r:id="rId6"/>
            </p:custDataLst>
          </p:nvPr>
        </p:nvSpPr>
        <p:spPr>
          <a:xfrm>
            <a:off x="3901440" y="2571750"/>
            <a:ext cx="7315199" cy="1714500"/>
          </a:xfrm>
          <a:prstGeom prst="rect">
            <a:avLst/>
          </a:prstGeom>
          <a:noFill/>
          <a:ln w="19050" cap="flat" cmpd="sng" algn="ctr">
            <a:solidFill>
              <a:srgbClr val="FFFFFF"/>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3200" b="1">
                <a:solidFill>
                  <a:srgbClr val="5B5B5B"/>
                </a:solidFill>
              </a:rPr>
              <a:t>If you could change one thing to make your participation in this market easier, what would it be?</a:t>
            </a:r>
            <a:endParaRPr lang="en-GB" sz="3200" b="1">
              <a:solidFill>
                <a:srgbClr val="5B5B5B"/>
              </a:solidFill>
            </a:endParaRPr>
          </a:p>
        </p:txBody>
      </p:sp>
      <p:sp>
        <p:nvSpPr>
          <p:cNvPr id="10" name="Rectangle 9">
            <a:extLst>
              <a:ext uri="{FF2B5EF4-FFF2-40B4-BE49-F238E27FC236}">
                <a16:creationId xmlns:a16="http://schemas.microsoft.com/office/drawing/2014/main" id="{5559AFC5-28D7-D20C-0D4C-81C4CCCE3011}"/>
              </a:ext>
            </a:extLst>
          </p:cNvPr>
          <p:cNvSpPr/>
          <p:nvPr>
            <p:custDataLst>
              <p:tags r:id="rId7"/>
            </p:custDataLst>
          </p:nvPr>
        </p:nvSpPr>
        <p:spPr>
          <a:xfrm>
            <a:off x="3901440" y="6032500"/>
            <a:ext cx="7315199" cy="518160"/>
          </a:xfrm>
          <a:prstGeom prst="rect">
            <a:avLst/>
          </a:prstGeom>
          <a:noFill/>
          <a:ln w="1905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p>
            <a:r>
              <a:rPr lang="en-US" sz="2200" b="1">
                <a:solidFill>
                  <a:srgbClr val="5B5B5B"/>
                </a:solidFill>
              </a:rPr>
              <a:t>ⓘ</a:t>
            </a:r>
            <a:r>
              <a:rPr lang="en-US" sz="2000">
                <a:solidFill>
                  <a:srgbClr val="5B5B5B"/>
                </a:solidFill>
              </a:rPr>
              <a:t> Start presenting to display the poll results on this slide.</a:t>
            </a:r>
            <a:endParaRPr lang="en-GB" sz="2000">
              <a:solidFill>
                <a:srgbClr val="5B5B5B"/>
              </a:solidFill>
            </a:endParaRPr>
          </a:p>
        </p:txBody>
      </p:sp>
    </p:spTree>
    <p:custDataLst>
      <p:tags r:id="rId1"/>
    </p:custDataLst>
    <p:extLst>
      <p:ext uri="{BB962C8B-B14F-4D97-AF65-F5344CB8AC3E}">
        <p14:creationId xmlns:p14="http://schemas.microsoft.com/office/powerpoint/2010/main" val="132202915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showMasterSp="0">
  <p:cSld>
    <p:bg>
      <p:bgPr>
        <a:solidFill>
          <a:srgbClr val="FFFFFF"/>
        </a:solidFill>
        <a:effectLst/>
      </p:bgPr>
    </p:bg>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27FFCCC1-3C94-3BE6-29DE-A50CF3324D97}"/>
              </a:ext>
            </a:extLst>
          </p:cNvPr>
          <p:cNvSpPr/>
          <p:nvPr>
            <p:custDataLst>
              <p:tags r:id="rId2"/>
            </p:custDataLst>
          </p:nvPr>
        </p:nvSpPr>
        <p:spPr>
          <a:xfrm>
            <a:off x="6286500" y="430530"/>
            <a:ext cx="5524500" cy="891540"/>
          </a:xfrm>
          <a:prstGeom prst="roundRect">
            <a:avLst/>
          </a:prstGeom>
          <a:solidFill>
            <a:srgbClr val="F4F4F4"/>
          </a:solidFill>
          <a:ln w="19050" cap="flat" cmpd="sng" algn="ctr">
            <a:noFill/>
            <a:prstDash val="solid"/>
            <a:miter lim="800000"/>
          </a:ln>
          <a:effectLst/>
          <a:extLs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lIns="317500" rIns="1143000" rtlCol="0" anchor="ctr">
            <a:normAutofit/>
          </a:bodyPr>
          <a:lstStyle/>
          <a:p>
            <a:r>
              <a:rPr lang="en-US" sz="2000">
                <a:solidFill>
                  <a:srgbClr val="5B5B5B"/>
                </a:solidFill>
              </a:rPr>
              <a:t>Please download and install the Slido app on all computers you use</a:t>
            </a:r>
            <a:endParaRPr lang="en-GB" sz="2000">
              <a:solidFill>
                <a:srgbClr val="5B5B5B"/>
              </a:solidFill>
            </a:endParaRPr>
          </a:p>
        </p:txBody>
      </p:sp>
      <p:pic>
        <p:nvPicPr>
          <p:cNvPr id="4" name="Graphic 3">
            <a:extLst>
              <a:ext uri="{FF2B5EF4-FFF2-40B4-BE49-F238E27FC236}">
                <a16:creationId xmlns:a16="http://schemas.microsoft.com/office/drawing/2014/main" id="{3162A251-215F-51EB-A6A0-7BE9413DBAF2}"/>
              </a:ext>
            </a:extLst>
          </p:cNvPr>
          <p:cNvPicPr>
            <a:picLocks/>
          </p:cNvPicPr>
          <p:nvPr>
            <p:custDataLst>
              <p:tags r:id="rId3"/>
            </p:custDataLst>
          </p:nvPr>
        </p:nvPicPr>
        <p:blipFill>
          <a:blip r:embed="rId9">
            <a:extLst>
              <a:ext uri="{96DAC541-7B7A-43D3-8B79-37D633B846F1}">
                <asvg:svgBlip xmlns:asvg="http://schemas.microsoft.com/office/drawing/2016/SVG/main" r:embed="rId10"/>
              </a:ext>
            </a:extLst>
          </a:blip>
          <a:stretch>
            <a:fillRect/>
          </a:stretch>
        </p:blipFill>
        <p:spPr>
          <a:xfrm>
            <a:off x="10826048" y="577634"/>
            <a:ext cx="597332" cy="597332"/>
          </a:xfrm>
          <a:prstGeom prst="rect">
            <a:avLst/>
          </a:prstGeom>
        </p:spPr>
      </p:pic>
      <p:pic>
        <p:nvPicPr>
          <p:cNvPr id="6" name="Graphic 5">
            <a:extLst>
              <a:ext uri="{FF2B5EF4-FFF2-40B4-BE49-F238E27FC236}">
                <a16:creationId xmlns:a16="http://schemas.microsoft.com/office/drawing/2014/main" id="{D714D2DB-6080-1A9E-EFD8-7F9EA0CAFF1D}"/>
              </a:ext>
            </a:extLst>
          </p:cNvPr>
          <p:cNvPicPr>
            <a:picLocks/>
          </p:cNvPicPr>
          <p:nvPr>
            <p:custDataLst>
              <p:tags r:id="rId4"/>
            </p:custDataLst>
          </p:nvPr>
        </p:nvPicPr>
        <p:blipFill>
          <a:blip r:embed="rId11">
            <a:extLst>
              <a:ext uri="{96DAC541-7B7A-43D3-8B79-37D633B846F1}">
                <asvg:svgBlip xmlns:asvg="http://schemas.microsoft.com/office/drawing/2016/SVG/main" r:embed="rId12"/>
              </a:ext>
            </a:extLst>
          </a:blip>
          <a:stretch>
            <a:fillRect/>
          </a:stretch>
        </p:blipFill>
        <p:spPr>
          <a:xfrm>
            <a:off x="3901440" y="617220"/>
            <a:ext cx="1036320" cy="518160"/>
          </a:xfrm>
          <a:prstGeom prst="rect">
            <a:avLst/>
          </a:prstGeom>
        </p:spPr>
      </p:pic>
      <p:pic>
        <p:nvPicPr>
          <p:cNvPr id="8" name="Graphic 7">
            <a:extLst>
              <a:ext uri="{FF2B5EF4-FFF2-40B4-BE49-F238E27FC236}">
                <a16:creationId xmlns:a16="http://schemas.microsoft.com/office/drawing/2014/main" id="{7BD7C96C-11DA-617C-1482-0A55792DCAA2}"/>
              </a:ext>
            </a:extLst>
          </p:cNvPr>
          <p:cNvPicPr>
            <a:picLocks/>
          </p:cNvPicPr>
          <p:nvPr>
            <p:custDataLst>
              <p:tags r:id="rId5"/>
            </p:custDataLst>
          </p:nvPr>
        </p:nvPicPr>
        <p:blipFill>
          <a:blip r:embed="rId13">
            <a:extLst>
              <a:ext uri="{96DAC541-7B7A-43D3-8B79-37D633B846F1}">
                <asvg:svgBlip xmlns:asvg="http://schemas.microsoft.com/office/drawing/2016/SVG/main" r:embed="rId14"/>
              </a:ext>
            </a:extLst>
          </a:blip>
          <a:stretch>
            <a:fillRect/>
          </a:stretch>
        </p:blipFill>
        <p:spPr>
          <a:xfrm>
            <a:off x="1158240" y="2270760"/>
            <a:ext cx="2316480" cy="2316480"/>
          </a:xfrm>
          <a:prstGeom prst="rect">
            <a:avLst/>
          </a:prstGeom>
        </p:spPr>
      </p:pic>
      <p:sp>
        <p:nvSpPr>
          <p:cNvPr id="9" name="Rectangle 8">
            <a:extLst>
              <a:ext uri="{FF2B5EF4-FFF2-40B4-BE49-F238E27FC236}">
                <a16:creationId xmlns:a16="http://schemas.microsoft.com/office/drawing/2014/main" id="{5932FB99-076E-D86F-84C0-5B68331168F9}"/>
              </a:ext>
            </a:extLst>
          </p:cNvPr>
          <p:cNvSpPr/>
          <p:nvPr>
            <p:custDataLst>
              <p:tags r:id="rId6"/>
            </p:custDataLst>
          </p:nvPr>
        </p:nvSpPr>
        <p:spPr>
          <a:xfrm>
            <a:off x="3901440" y="2571750"/>
            <a:ext cx="7315199" cy="1714500"/>
          </a:xfrm>
          <a:prstGeom prst="rect">
            <a:avLst/>
          </a:prstGeom>
          <a:noFill/>
          <a:ln w="19050" cap="flat" cmpd="sng" algn="ctr">
            <a:solidFill>
              <a:srgbClr val="FFFFFF"/>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4000" b="1">
                <a:solidFill>
                  <a:srgbClr val="5B5B5B"/>
                </a:solidFill>
              </a:rPr>
              <a:t>Audience Q&amp;A</a:t>
            </a:r>
          </a:p>
        </p:txBody>
      </p:sp>
      <p:sp>
        <p:nvSpPr>
          <p:cNvPr id="10" name="Rectangle 9">
            <a:extLst>
              <a:ext uri="{FF2B5EF4-FFF2-40B4-BE49-F238E27FC236}">
                <a16:creationId xmlns:a16="http://schemas.microsoft.com/office/drawing/2014/main" id="{CCC64E8E-487A-970C-683B-437D349A0EFE}"/>
              </a:ext>
            </a:extLst>
          </p:cNvPr>
          <p:cNvSpPr/>
          <p:nvPr>
            <p:custDataLst>
              <p:tags r:id="rId7"/>
            </p:custDataLst>
          </p:nvPr>
        </p:nvSpPr>
        <p:spPr>
          <a:xfrm>
            <a:off x="3901440" y="6032500"/>
            <a:ext cx="7315199" cy="518160"/>
          </a:xfrm>
          <a:prstGeom prst="rect">
            <a:avLst/>
          </a:prstGeom>
          <a:noFill/>
          <a:ln w="1905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normAutofit fontScale="92500"/>
          </a:bodyPr>
          <a:lstStyle/>
          <a:p>
            <a:r>
              <a:rPr lang="en-US" sz="2200" b="1">
                <a:solidFill>
                  <a:srgbClr val="5B5B5B"/>
                </a:solidFill>
              </a:rPr>
              <a:t>ⓘ</a:t>
            </a:r>
            <a:r>
              <a:rPr lang="en-US" sz="2000">
                <a:solidFill>
                  <a:srgbClr val="5B5B5B"/>
                </a:solidFill>
              </a:rPr>
              <a:t> Start presenting to display the audience questions on this slide.</a:t>
            </a:r>
            <a:endParaRPr lang="en-GB" sz="2000">
              <a:solidFill>
                <a:srgbClr val="5B5B5B"/>
              </a:solidFill>
            </a:endParaRPr>
          </a:p>
        </p:txBody>
      </p:sp>
    </p:spTree>
    <p:custDataLst>
      <p:tags r:id="rId1"/>
    </p:custDataLst>
    <p:extLst>
      <p:ext uri="{BB962C8B-B14F-4D97-AF65-F5344CB8AC3E}">
        <p14:creationId xmlns:p14="http://schemas.microsoft.com/office/powerpoint/2010/main" val="272897010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logo for a company&#10;&#10;Description automatically generated">
            <a:extLst>
              <a:ext uri="{FF2B5EF4-FFF2-40B4-BE49-F238E27FC236}">
                <a16:creationId xmlns:a16="http://schemas.microsoft.com/office/drawing/2014/main" id="{E1F8A52D-4137-810B-A16D-CAD4E71AF7D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65944489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group of people in a blue and white background&#10;&#10;Description automatically generated">
            <a:extLst>
              <a:ext uri="{FF2B5EF4-FFF2-40B4-BE49-F238E27FC236}">
                <a16:creationId xmlns:a16="http://schemas.microsoft.com/office/drawing/2014/main" id="{47574637-ABC3-E8F0-652C-EF39978CCDE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338561825"/>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showMasterSp="0">
  <p:cSld>
    <p:bg>
      <p:bgPr>
        <a:solidFill>
          <a:srgbClr val="FFFFFF"/>
        </a:solidFill>
        <a:effectLst/>
      </p:bgPr>
    </p:bg>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CB98AEDE-EB64-F2E8-7F6A-4BD9CB526905}"/>
              </a:ext>
            </a:extLst>
          </p:cNvPr>
          <p:cNvSpPr/>
          <p:nvPr>
            <p:custDataLst>
              <p:tags r:id="rId2"/>
            </p:custDataLst>
          </p:nvPr>
        </p:nvSpPr>
        <p:spPr>
          <a:xfrm>
            <a:off x="6286500" y="430530"/>
            <a:ext cx="5524500" cy="891540"/>
          </a:xfrm>
          <a:prstGeom prst="roundRect">
            <a:avLst/>
          </a:prstGeom>
          <a:solidFill>
            <a:srgbClr val="F4F4F4"/>
          </a:solidFill>
          <a:ln w="19050" cap="flat" cmpd="sng" algn="ctr">
            <a:noFill/>
            <a:prstDash val="solid"/>
            <a:miter lim="800000"/>
          </a:ln>
          <a:effectLst/>
          <a:extLs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lIns="317500" rIns="1143000" rtlCol="0" anchor="ctr">
            <a:normAutofit/>
          </a:bodyPr>
          <a:lstStyle/>
          <a:p>
            <a:r>
              <a:rPr lang="en-US" sz="2000">
                <a:solidFill>
                  <a:srgbClr val="5B5B5B"/>
                </a:solidFill>
              </a:rPr>
              <a:t>Please download and install the Slido app on all computers you use</a:t>
            </a:r>
            <a:endParaRPr lang="en-GB" sz="2000">
              <a:solidFill>
                <a:srgbClr val="5B5B5B"/>
              </a:solidFill>
            </a:endParaRPr>
          </a:p>
        </p:txBody>
      </p:sp>
      <p:pic>
        <p:nvPicPr>
          <p:cNvPr id="4" name="Graphic 3">
            <a:extLst>
              <a:ext uri="{FF2B5EF4-FFF2-40B4-BE49-F238E27FC236}">
                <a16:creationId xmlns:a16="http://schemas.microsoft.com/office/drawing/2014/main" id="{5FA7B963-BA0E-AD14-4E17-C4EE73CE0912}"/>
              </a:ext>
            </a:extLst>
          </p:cNvPr>
          <p:cNvPicPr>
            <a:picLocks/>
          </p:cNvPicPr>
          <p:nvPr>
            <p:custDataLst>
              <p:tags r:id="rId3"/>
            </p:custDataLst>
          </p:nvPr>
        </p:nvPicPr>
        <p:blipFill>
          <a:blip r:embed="rId9">
            <a:extLst>
              <a:ext uri="{96DAC541-7B7A-43D3-8B79-37D633B846F1}">
                <asvg:svgBlip xmlns:asvg="http://schemas.microsoft.com/office/drawing/2016/SVG/main" r:embed="rId10"/>
              </a:ext>
            </a:extLst>
          </a:blip>
          <a:stretch>
            <a:fillRect/>
          </a:stretch>
        </p:blipFill>
        <p:spPr>
          <a:xfrm>
            <a:off x="10826048" y="577634"/>
            <a:ext cx="597332" cy="597332"/>
          </a:xfrm>
          <a:prstGeom prst="rect">
            <a:avLst/>
          </a:prstGeom>
        </p:spPr>
      </p:pic>
      <p:pic>
        <p:nvPicPr>
          <p:cNvPr id="6" name="Graphic 5">
            <a:extLst>
              <a:ext uri="{FF2B5EF4-FFF2-40B4-BE49-F238E27FC236}">
                <a16:creationId xmlns:a16="http://schemas.microsoft.com/office/drawing/2014/main" id="{338530F7-FDCA-F837-A300-5A37B55C2B18}"/>
              </a:ext>
            </a:extLst>
          </p:cNvPr>
          <p:cNvPicPr>
            <a:picLocks/>
          </p:cNvPicPr>
          <p:nvPr>
            <p:custDataLst>
              <p:tags r:id="rId4"/>
            </p:custDataLst>
          </p:nvPr>
        </p:nvPicPr>
        <p:blipFill>
          <a:blip r:embed="rId11">
            <a:extLst>
              <a:ext uri="{96DAC541-7B7A-43D3-8B79-37D633B846F1}">
                <asvg:svgBlip xmlns:asvg="http://schemas.microsoft.com/office/drawing/2016/SVG/main" r:embed="rId12"/>
              </a:ext>
            </a:extLst>
          </a:blip>
          <a:stretch>
            <a:fillRect/>
          </a:stretch>
        </p:blipFill>
        <p:spPr>
          <a:xfrm>
            <a:off x="3901440" y="617220"/>
            <a:ext cx="1036320" cy="518160"/>
          </a:xfrm>
          <a:prstGeom prst="rect">
            <a:avLst/>
          </a:prstGeom>
        </p:spPr>
      </p:pic>
      <p:pic>
        <p:nvPicPr>
          <p:cNvPr id="8" name="Graphic 7">
            <a:extLst>
              <a:ext uri="{FF2B5EF4-FFF2-40B4-BE49-F238E27FC236}">
                <a16:creationId xmlns:a16="http://schemas.microsoft.com/office/drawing/2014/main" id="{09895F08-C7A1-5398-352A-1FE40B2ED4FC}"/>
              </a:ext>
            </a:extLst>
          </p:cNvPr>
          <p:cNvPicPr>
            <a:picLocks/>
          </p:cNvPicPr>
          <p:nvPr>
            <p:custDataLst>
              <p:tags r:id="rId5"/>
            </p:custDataLst>
          </p:nvPr>
        </p:nvPicPr>
        <p:blipFill>
          <a:blip r:embed="rId13">
            <a:extLst>
              <a:ext uri="{96DAC541-7B7A-43D3-8B79-37D633B846F1}">
                <asvg:svgBlip xmlns:asvg="http://schemas.microsoft.com/office/drawing/2016/SVG/main" r:embed="rId14"/>
              </a:ext>
            </a:extLst>
          </a:blip>
          <a:stretch>
            <a:fillRect/>
          </a:stretch>
        </p:blipFill>
        <p:spPr>
          <a:xfrm>
            <a:off x="1158240" y="2270760"/>
            <a:ext cx="2316480" cy="2316480"/>
          </a:xfrm>
          <a:prstGeom prst="rect">
            <a:avLst/>
          </a:prstGeom>
        </p:spPr>
      </p:pic>
      <p:sp>
        <p:nvSpPr>
          <p:cNvPr id="9" name="Rectangle 8">
            <a:extLst>
              <a:ext uri="{FF2B5EF4-FFF2-40B4-BE49-F238E27FC236}">
                <a16:creationId xmlns:a16="http://schemas.microsoft.com/office/drawing/2014/main" id="{7181FE08-165B-2D59-A7D9-F6CBE7671DA4}"/>
              </a:ext>
            </a:extLst>
          </p:cNvPr>
          <p:cNvSpPr/>
          <p:nvPr>
            <p:custDataLst>
              <p:tags r:id="rId6"/>
            </p:custDataLst>
          </p:nvPr>
        </p:nvSpPr>
        <p:spPr>
          <a:xfrm>
            <a:off x="3901440" y="2571750"/>
            <a:ext cx="7315199" cy="1714500"/>
          </a:xfrm>
          <a:prstGeom prst="rect">
            <a:avLst/>
          </a:prstGeom>
          <a:noFill/>
          <a:ln w="19050" cap="flat" cmpd="sng" algn="ctr">
            <a:solidFill>
              <a:srgbClr val="FFFFFF"/>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4000" b="1">
                <a:solidFill>
                  <a:srgbClr val="5B5B5B"/>
                </a:solidFill>
              </a:rPr>
              <a:t>Audience Q&amp;A</a:t>
            </a:r>
          </a:p>
        </p:txBody>
      </p:sp>
      <p:sp>
        <p:nvSpPr>
          <p:cNvPr id="10" name="Rectangle 9">
            <a:extLst>
              <a:ext uri="{FF2B5EF4-FFF2-40B4-BE49-F238E27FC236}">
                <a16:creationId xmlns:a16="http://schemas.microsoft.com/office/drawing/2014/main" id="{A10731AD-8C09-4EC5-B893-B0E7864E492D}"/>
              </a:ext>
            </a:extLst>
          </p:cNvPr>
          <p:cNvSpPr/>
          <p:nvPr>
            <p:custDataLst>
              <p:tags r:id="rId7"/>
            </p:custDataLst>
          </p:nvPr>
        </p:nvSpPr>
        <p:spPr>
          <a:xfrm>
            <a:off x="3901440" y="6032500"/>
            <a:ext cx="7315199" cy="518160"/>
          </a:xfrm>
          <a:prstGeom prst="rect">
            <a:avLst/>
          </a:prstGeom>
          <a:noFill/>
          <a:ln w="1905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normAutofit fontScale="92500"/>
          </a:bodyPr>
          <a:lstStyle/>
          <a:p>
            <a:r>
              <a:rPr lang="en-US" sz="2200" b="1">
                <a:solidFill>
                  <a:srgbClr val="5B5B5B"/>
                </a:solidFill>
              </a:rPr>
              <a:t>ⓘ</a:t>
            </a:r>
            <a:r>
              <a:rPr lang="en-US" sz="2000">
                <a:solidFill>
                  <a:srgbClr val="5B5B5B"/>
                </a:solidFill>
              </a:rPr>
              <a:t> Start presenting to display the audience questions on this slide.</a:t>
            </a:r>
            <a:endParaRPr lang="en-GB" sz="2000">
              <a:solidFill>
                <a:srgbClr val="5B5B5B"/>
              </a:solidFill>
            </a:endParaRPr>
          </a:p>
        </p:txBody>
      </p:sp>
    </p:spTree>
    <p:custDataLst>
      <p:tags r:id="rId1"/>
    </p:custDataLst>
    <p:extLst>
      <p:ext uri="{BB962C8B-B14F-4D97-AF65-F5344CB8AC3E}">
        <p14:creationId xmlns:p14="http://schemas.microsoft.com/office/powerpoint/2010/main" val="84230639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close-up of a company logo&#10;&#10;Description automatically generated">
            <a:extLst>
              <a:ext uri="{FF2B5EF4-FFF2-40B4-BE49-F238E27FC236}">
                <a16:creationId xmlns:a16="http://schemas.microsoft.com/office/drawing/2014/main" id="{54E4A0B3-712E-13E7-A032-620199C2D49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3656616703"/>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close-up of a company's website&#10;&#10;Description automatically generated">
            <a:extLst>
              <a:ext uri="{FF2B5EF4-FFF2-40B4-BE49-F238E27FC236}">
                <a16:creationId xmlns:a16="http://schemas.microsoft.com/office/drawing/2014/main" id="{6889DB60-75DE-C2FA-1A6D-03114959AA8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51697134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everal logos of companies&#10;&#10;Description automatically generated with medium confidence">
            <a:extLst>
              <a:ext uri="{FF2B5EF4-FFF2-40B4-BE49-F238E27FC236}">
                <a16:creationId xmlns:a16="http://schemas.microsoft.com/office/drawing/2014/main" id="{B3591F3F-CED6-1025-B573-AEDA816E5E3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297868953"/>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green and white background with text&#10;&#10;Description automatically generated">
            <a:extLst>
              <a:ext uri="{FF2B5EF4-FFF2-40B4-BE49-F238E27FC236}">
                <a16:creationId xmlns:a16="http://schemas.microsoft.com/office/drawing/2014/main" id="{FD8F12D2-5AC3-1F6C-75B0-57B1C07090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56078661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green landscape with trees and text&#10;&#10;Description automatically generated with medium confidence">
            <a:extLst>
              <a:ext uri="{FF2B5EF4-FFF2-40B4-BE49-F238E27FC236}">
                <a16:creationId xmlns:a16="http://schemas.microsoft.com/office/drawing/2014/main" id="{A45806C2-76C5-77DA-E674-580B61B8537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6716435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close-up of a web page&#10;&#10;Description automatically generated">
            <a:extLst>
              <a:ext uri="{FF2B5EF4-FFF2-40B4-BE49-F238E27FC236}">
                <a16:creationId xmlns:a16="http://schemas.microsoft.com/office/drawing/2014/main" id="{B78F4E66-4758-3323-7B55-F50286BCBE0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68867870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screen shot of a building&#10;&#10;Description automatically generated">
            <a:extLst>
              <a:ext uri="{FF2B5EF4-FFF2-40B4-BE49-F238E27FC236}">
                <a16:creationId xmlns:a16="http://schemas.microsoft.com/office/drawing/2014/main" id="{83676959-0175-E350-64FD-8E96B287E92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84336831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screenshot of several logos&#10;&#10;Description automatically generated">
            <a:extLst>
              <a:ext uri="{FF2B5EF4-FFF2-40B4-BE49-F238E27FC236}">
                <a16:creationId xmlns:a16="http://schemas.microsoft.com/office/drawing/2014/main" id="{0BC47ABC-1BFE-93F7-3AF8-37E08ECC47B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3365905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LIDO_APP_VERSION" val="1.13.0.5724"/>
  <p:tag name="SLIDO_PRESENTATION_ID" val="9cc17e2c-073b-47ba-909e-c74d39703715"/>
  <p:tag name="SLIDO_EVENT_UUID" val="590f3468-c7a4-4b9a-a08e-2d4c867fb1e6"/>
  <p:tag name="SLIDO_EVENT_SECTION_UUID" val="6f9570ad-8a70-4846-8774-1667b4c18366"/>
</p:tagLst>
</file>

<file path=ppt/tags/tag1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00.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101.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102.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103.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104.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105.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106.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107.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108.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109.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1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10.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111.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112.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113.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114.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115.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116.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117.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118.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119.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1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20.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121.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122.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123.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124.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125.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126.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127.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128.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129.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1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30.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131.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132.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133.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134.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135.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136.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4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5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1.xml><?xml version="1.0" encoding="utf-8"?>
<p:tagLst xmlns:a="http://schemas.openxmlformats.org/drawingml/2006/main" xmlns:r="http://schemas.openxmlformats.org/officeDocument/2006/relationships" xmlns:p="http://schemas.openxmlformats.org/presentationml/2006/main">
  <p:tag name="VCTCREATESHAPEHANDLED" val="0"/>
  <p:tag name="MIO_GUID" val="00f10256-615e-4b75-a164-bf05797e5483"/>
  <p:tag name="MIO_EKGUID" val="0feca101-736c-4f2d-b239-96090030d303"/>
  <p:tag name="MIO_UPDATE" val="True"/>
  <p:tag name="MIO_VERSION" val="22.03.2017 16:09:09"/>
  <p:tag name="MIO_DBID" val="7f940ac8-abef-4c67-8229-2251c0bb5af3"/>
  <p:tag name="MIO_LASTDOWNLOADED" val="07.05.2018 14:04:57"/>
  <p:tag name="MIO_OBJECTNAME" val="Two men in conversation"/>
  <p:tag name="MIO_LASTEDITORNAME" val="empower enterprise"/>
</p:tagLst>
</file>

<file path=ppt/tags/tag152.xml><?xml version="1.0" encoding="utf-8"?>
<p:tagLst xmlns:a="http://schemas.openxmlformats.org/drawingml/2006/main" xmlns:r="http://schemas.openxmlformats.org/officeDocument/2006/relationships" xmlns:p="http://schemas.openxmlformats.org/presentationml/2006/main">
  <p:tag name="VCTCREATESHAPEHANDLED" val="0"/>
  <p:tag name="MIO_GUID" val="fb0eea25-b6ad-4f39-b963-dbd6cc4006b2"/>
  <p:tag name="MIO_EKGUID" val="30c8ce42-2b07-44cc-acc4-b5c1044730b4"/>
  <p:tag name="MIO_UPDATE" val="True"/>
  <p:tag name="MIO_VERSION" val="22.03.2017 16:17:52"/>
  <p:tag name="MIO_DBID" val="7f940ac8-abef-4c67-8229-2251c0bb5af3"/>
  <p:tag name="MIO_LASTDOWNLOADED" val="07.05.2018 14:04:03"/>
  <p:tag name="MIO_OBJECTNAME" val="Men in testing"/>
  <p:tag name="MIO_LASTEDITORNAME" val="empower enterprise"/>
</p:tagLst>
</file>

<file path=ppt/tags/tag15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6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5.xml><?xml version="1.0" encoding="utf-8"?>
<p:tagLst xmlns:a="http://schemas.openxmlformats.org/drawingml/2006/main" xmlns:r="http://schemas.openxmlformats.org/officeDocument/2006/relationships" xmlns:p="http://schemas.openxmlformats.org/presentationml/2006/main">
  <p:tag name="SLIDO_METADATA" val="eyJUaW1lc3RhbXAiOjE3Mjk1NjExNzl9"/>
  <p:tag name="SLIDO_TYPE" val="SlidoQA"/>
</p:tagLst>
</file>

<file path=ppt/tags/tag166.xml><?xml version="1.0" encoding="utf-8"?>
<p:tagLst xmlns:a="http://schemas.openxmlformats.org/drawingml/2006/main" xmlns:r="http://schemas.openxmlformats.org/officeDocument/2006/relationships" xmlns:p="http://schemas.openxmlformats.org/presentationml/2006/main">
  <p:tag name="SLIDO_ELEMENT" val="reminder"/>
</p:tagLst>
</file>

<file path=ppt/tags/tag167.xml><?xml version="1.0" encoding="utf-8"?>
<p:tagLst xmlns:a="http://schemas.openxmlformats.org/drawingml/2006/main" xmlns:r="http://schemas.openxmlformats.org/officeDocument/2006/relationships" xmlns:p="http://schemas.openxmlformats.org/presentationml/2006/main">
  <p:tag name="SLIDO_ELEMENT" val="dotty"/>
</p:tagLst>
</file>

<file path=ppt/tags/tag168.xml><?xml version="1.0" encoding="utf-8"?>
<p:tagLst xmlns:a="http://schemas.openxmlformats.org/drawingml/2006/main" xmlns:r="http://schemas.openxmlformats.org/officeDocument/2006/relationships" xmlns:p="http://schemas.openxmlformats.org/presentationml/2006/main">
  <p:tag name="SLIDO_ELEMENT" val="logo"/>
</p:tagLst>
</file>

<file path=ppt/tags/tag169.xml><?xml version="1.0" encoding="utf-8"?>
<p:tagLst xmlns:a="http://schemas.openxmlformats.org/drawingml/2006/main" xmlns:r="http://schemas.openxmlformats.org/officeDocument/2006/relationships" xmlns:p="http://schemas.openxmlformats.org/presentationml/2006/main">
  <p:tag name="SLIDO_ELEMENT" val="interaction_image"/>
  <p:tag name="INTERACTION_TYPE" val="QA"/>
</p:tagLst>
</file>

<file path=ppt/tags/tag1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70.xml><?xml version="1.0" encoding="utf-8"?>
<p:tagLst xmlns:a="http://schemas.openxmlformats.org/drawingml/2006/main" xmlns:r="http://schemas.openxmlformats.org/officeDocument/2006/relationships" xmlns:p="http://schemas.openxmlformats.org/presentationml/2006/main">
  <p:tag name="SLIDO_ELEMENT" val="title"/>
</p:tagLst>
</file>

<file path=ppt/tags/tag171.xml><?xml version="1.0" encoding="utf-8"?>
<p:tagLst xmlns:a="http://schemas.openxmlformats.org/drawingml/2006/main" xmlns:r="http://schemas.openxmlformats.org/officeDocument/2006/relationships" xmlns:p="http://schemas.openxmlformats.org/presentationml/2006/main">
  <p:tag name="SLIDO_ELEMENT" val="footer"/>
</p:tagLst>
</file>

<file path=ppt/tags/tag172.xml><?xml version="1.0" encoding="utf-8"?>
<p:tagLst xmlns:a="http://schemas.openxmlformats.org/drawingml/2006/main" xmlns:r="http://schemas.openxmlformats.org/officeDocument/2006/relationships" xmlns:p="http://schemas.openxmlformats.org/presentationml/2006/main">
  <p:tag name="SLIDO_METADATA" val="eyJUaW1lc3RhbXAiOjE3Mjk1NjE4OTV9"/>
  <p:tag name="SLIDO_TYPE" val="SlidoPoll"/>
  <p:tag name="SLIDO_POLL_UUID" val="e5772df0-775b-49ac-83db-4f56bf78059f"/>
  <p:tag name="SLIDO_TIMELINE" val="W3sicG9sbFF1ZXN0aW9uVXVpZCI6IjViMTU4NjFjLWU4YzctNDc2NC05NzQyLTc3ZmI0NDk4MDEyMyIsInNob3dSZXN1bHRzIjp0cnVlLCJzaG93Q29ycmVjdEFuc3dlcnMiOmZhbHNlLCJ2b3RpbmdMb2NrZWQiOmZhbHNlfV0="/>
</p:tagLst>
</file>

<file path=ppt/tags/tag173.xml><?xml version="1.0" encoding="utf-8"?>
<p:tagLst xmlns:a="http://schemas.openxmlformats.org/drawingml/2006/main" xmlns:r="http://schemas.openxmlformats.org/officeDocument/2006/relationships" xmlns:p="http://schemas.openxmlformats.org/presentationml/2006/main">
  <p:tag name="SLIDO_ELEMENT" val="reminder"/>
</p:tagLst>
</file>

<file path=ppt/tags/tag174.xml><?xml version="1.0" encoding="utf-8"?>
<p:tagLst xmlns:a="http://schemas.openxmlformats.org/drawingml/2006/main" xmlns:r="http://schemas.openxmlformats.org/officeDocument/2006/relationships" xmlns:p="http://schemas.openxmlformats.org/presentationml/2006/main">
  <p:tag name="SLIDO_ELEMENT" val="dotty"/>
</p:tagLst>
</file>

<file path=ppt/tags/tag175.xml><?xml version="1.0" encoding="utf-8"?>
<p:tagLst xmlns:a="http://schemas.openxmlformats.org/drawingml/2006/main" xmlns:r="http://schemas.openxmlformats.org/officeDocument/2006/relationships" xmlns:p="http://schemas.openxmlformats.org/presentationml/2006/main">
  <p:tag name="SLIDO_ELEMENT" val="logo"/>
</p:tagLst>
</file>

<file path=ppt/tags/tag176.xml><?xml version="1.0" encoding="utf-8"?>
<p:tagLst xmlns:a="http://schemas.openxmlformats.org/drawingml/2006/main" xmlns:r="http://schemas.openxmlformats.org/officeDocument/2006/relationships" xmlns:p="http://schemas.openxmlformats.org/presentationml/2006/main">
  <p:tag name="SLIDO_ELEMENT" val="interaction_image"/>
  <p:tag name="INTERACTION_TYPE" val="WordCloud"/>
</p:tagLst>
</file>

<file path=ppt/tags/tag177.xml><?xml version="1.0" encoding="utf-8"?>
<p:tagLst xmlns:a="http://schemas.openxmlformats.org/drawingml/2006/main" xmlns:r="http://schemas.openxmlformats.org/officeDocument/2006/relationships" xmlns:p="http://schemas.openxmlformats.org/presentationml/2006/main">
  <p:tag name="SLIDO_ELEMENT" val="title"/>
</p:tagLst>
</file>

<file path=ppt/tags/tag178.xml><?xml version="1.0" encoding="utf-8"?>
<p:tagLst xmlns:a="http://schemas.openxmlformats.org/drawingml/2006/main" xmlns:r="http://schemas.openxmlformats.org/officeDocument/2006/relationships" xmlns:p="http://schemas.openxmlformats.org/presentationml/2006/main">
  <p:tag name="SLIDO_ELEMENT" val="footer"/>
</p:tagLst>
</file>

<file path=ppt/tags/tag179.xml><?xml version="1.0" encoding="utf-8"?>
<p:tagLst xmlns:a="http://schemas.openxmlformats.org/drawingml/2006/main" xmlns:r="http://schemas.openxmlformats.org/officeDocument/2006/relationships" xmlns:p="http://schemas.openxmlformats.org/presentationml/2006/main">
  <p:tag name="SLIDO_METADATA" val="eyJUaW1lc3RhbXAiOjE3Mjk1NjE4ODF9"/>
  <p:tag name="SLIDO_TYPE" val="SlidoPoll"/>
  <p:tag name="SLIDO_POLL_UUID" val="17d41d29-38fd-4e8c-a7ab-6e54b4f24e33"/>
  <p:tag name="SLIDO_TIMELINE" val="W3sicG9sbFF1ZXN0aW9uVXVpZCI6IjBjYmRlNDk3LTYxYTUtNDc0NC1hYTIyLWQ4NmMyZmJmMTZiMiIsInNob3dSZXN1bHRzIjp0cnVlLCJzaG93Q29ycmVjdEFuc3dlcnMiOmZhbHNlLCJ2b3RpbmdMb2NrZWQiOmZhbHNlfV0="/>
</p:tagLst>
</file>

<file path=ppt/tags/tag1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80.xml><?xml version="1.0" encoding="utf-8"?>
<p:tagLst xmlns:a="http://schemas.openxmlformats.org/drawingml/2006/main" xmlns:r="http://schemas.openxmlformats.org/officeDocument/2006/relationships" xmlns:p="http://schemas.openxmlformats.org/presentationml/2006/main">
  <p:tag name="SLIDO_ELEMENT" val="reminder"/>
</p:tagLst>
</file>

<file path=ppt/tags/tag181.xml><?xml version="1.0" encoding="utf-8"?>
<p:tagLst xmlns:a="http://schemas.openxmlformats.org/drawingml/2006/main" xmlns:r="http://schemas.openxmlformats.org/officeDocument/2006/relationships" xmlns:p="http://schemas.openxmlformats.org/presentationml/2006/main">
  <p:tag name="SLIDO_ELEMENT" val="dotty"/>
</p:tagLst>
</file>

<file path=ppt/tags/tag182.xml><?xml version="1.0" encoding="utf-8"?>
<p:tagLst xmlns:a="http://schemas.openxmlformats.org/drawingml/2006/main" xmlns:r="http://schemas.openxmlformats.org/officeDocument/2006/relationships" xmlns:p="http://schemas.openxmlformats.org/presentationml/2006/main">
  <p:tag name="SLIDO_ELEMENT" val="logo"/>
</p:tagLst>
</file>

<file path=ppt/tags/tag183.xml><?xml version="1.0" encoding="utf-8"?>
<p:tagLst xmlns:a="http://schemas.openxmlformats.org/drawingml/2006/main" xmlns:r="http://schemas.openxmlformats.org/officeDocument/2006/relationships" xmlns:p="http://schemas.openxmlformats.org/presentationml/2006/main">
  <p:tag name="SLIDO_ELEMENT" val="interaction_image"/>
  <p:tag name="INTERACTION_TYPE" val="WordCloud"/>
</p:tagLst>
</file>

<file path=ppt/tags/tag184.xml><?xml version="1.0" encoding="utf-8"?>
<p:tagLst xmlns:a="http://schemas.openxmlformats.org/drawingml/2006/main" xmlns:r="http://schemas.openxmlformats.org/officeDocument/2006/relationships" xmlns:p="http://schemas.openxmlformats.org/presentationml/2006/main">
  <p:tag name="SLIDO_ELEMENT" val="title"/>
</p:tagLst>
</file>

<file path=ppt/tags/tag185.xml><?xml version="1.0" encoding="utf-8"?>
<p:tagLst xmlns:a="http://schemas.openxmlformats.org/drawingml/2006/main" xmlns:r="http://schemas.openxmlformats.org/officeDocument/2006/relationships" xmlns:p="http://schemas.openxmlformats.org/presentationml/2006/main">
  <p:tag name="SLIDO_ELEMENT" val="footer"/>
</p:tagLst>
</file>

<file path=ppt/tags/tag186.xml><?xml version="1.0" encoding="utf-8"?>
<p:tagLst xmlns:a="http://schemas.openxmlformats.org/drawingml/2006/main" xmlns:r="http://schemas.openxmlformats.org/officeDocument/2006/relationships" xmlns:p="http://schemas.openxmlformats.org/presentationml/2006/main">
  <p:tag name="SLIDO_METADATA" val="eyJUaW1lc3RhbXAiOjE3Mjk1NjExODZ9"/>
  <p:tag name="SLIDO_TYPE" val="SlidoQA"/>
</p:tagLst>
</file>

<file path=ppt/tags/tag187.xml><?xml version="1.0" encoding="utf-8"?>
<p:tagLst xmlns:a="http://schemas.openxmlformats.org/drawingml/2006/main" xmlns:r="http://schemas.openxmlformats.org/officeDocument/2006/relationships" xmlns:p="http://schemas.openxmlformats.org/presentationml/2006/main">
  <p:tag name="SLIDO_ELEMENT" val="reminder"/>
</p:tagLst>
</file>

<file path=ppt/tags/tag188.xml><?xml version="1.0" encoding="utf-8"?>
<p:tagLst xmlns:a="http://schemas.openxmlformats.org/drawingml/2006/main" xmlns:r="http://schemas.openxmlformats.org/officeDocument/2006/relationships" xmlns:p="http://schemas.openxmlformats.org/presentationml/2006/main">
  <p:tag name="SLIDO_ELEMENT" val="dotty"/>
</p:tagLst>
</file>

<file path=ppt/tags/tag189.xml><?xml version="1.0" encoding="utf-8"?>
<p:tagLst xmlns:a="http://schemas.openxmlformats.org/drawingml/2006/main" xmlns:r="http://schemas.openxmlformats.org/officeDocument/2006/relationships" xmlns:p="http://schemas.openxmlformats.org/presentationml/2006/main">
  <p:tag name="SLIDO_ELEMENT" val="logo"/>
</p:tagLst>
</file>

<file path=ppt/tags/tag1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90.xml><?xml version="1.0" encoding="utf-8"?>
<p:tagLst xmlns:a="http://schemas.openxmlformats.org/drawingml/2006/main" xmlns:r="http://schemas.openxmlformats.org/officeDocument/2006/relationships" xmlns:p="http://schemas.openxmlformats.org/presentationml/2006/main">
  <p:tag name="SLIDO_ELEMENT" val="interaction_image"/>
  <p:tag name="INTERACTION_TYPE" val="QA"/>
</p:tagLst>
</file>

<file path=ppt/tags/tag191.xml><?xml version="1.0" encoding="utf-8"?>
<p:tagLst xmlns:a="http://schemas.openxmlformats.org/drawingml/2006/main" xmlns:r="http://schemas.openxmlformats.org/officeDocument/2006/relationships" xmlns:p="http://schemas.openxmlformats.org/presentationml/2006/main">
  <p:tag name="SLIDO_ELEMENT" val="title"/>
</p:tagLst>
</file>

<file path=ppt/tags/tag192.xml><?xml version="1.0" encoding="utf-8"?>
<p:tagLst xmlns:a="http://schemas.openxmlformats.org/drawingml/2006/main" xmlns:r="http://schemas.openxmlformats.org/officeDocument/2006/relationships" xmlns:p="http://schemas.openxmlformats.org/presentationml/2006/main">
  <p:tag name="SLIDO_ELEMENT" val="footer"/>
</p:tagLst>
</file>

<file path=ppt/tags/tag193.xml><?xml version="1.0" encoding="utf-8"?>
<p:tagLst xmlns:a="http://schemas.openxmlformats.org/drawingml/2006/main" xmlns:r="http://schemas.openxmlformats.org/officeDocument/2006/relationships" xmlns:p="http://schemas.openxmlformats.org/presentationml/2006/main">
  <p:tag name="SLIDO_METADATA" val="eyJUaW1lc3RhbXAiOjE3Mjk1NjExOTJ9"/>
  <p:tag name="SLIDO_TYPE" val="SlidoQA"/>
</p:tagLst>
</file>

<file path=ppt/tags/tag194.xml><?xml version="1.0" encoding="utf-8"?>
<p:tagLst xmlns:a="http://schemas.openxmlformats.org/drawingml/2006/main" xmlns:r="http://schemas.openxmlformats.org/officeDocument/2006/relationships" xmlns:p="http://schemas.openxmlformats.org/presentationml/2006/main">
  <p:tag name="SLIDO_ELEMENT" val="reminder"/>
</p:tagLst>
</file>

<file path=ppt/tags/tag195.xml><?xml version="1.0" encoding="utf-8"?>
<p:tagLst xmlns:a="http://schemas.openxmlformats.org/drawingml/2006/main" xmlns:r="http://schemas.openxmlformats.org/officeDocument/2006/relationships" xmlns:p="http://schemas.openxmlformats.org/presentationml/2006/main">
  <p:tag name="SLIDO_ELEMENT" val="dotty"/>
</p:tagLst>
</file>

<file path=ppt/tags/tag196.xml><?xml version="1.0" encoding="utf-8"?>
<p:tagLst xmlns:a="http://schemas.openxmlformats.org/drawingml/2006/main" xmlns:r="http://schemas.openxmlformats.org/officeDocument/2006/relationships" xmlns:p="http://schemas.openxmlformats.org/presentationml/2006/main">
  <p:tag name="SLIDO_ELEMENT" val="logo"/>
</p:tagLst>
</file>

<file path=ppt/tags/tag197.xml><?xml version="1.0" encoding="utf-8"?>
<p:tagLst xmlns:a="http://schemas.openxmlformats.org/drawingml/2006/main" xmlns:r="http://schemas.openxmlformats.org/officeDocument/2006/relationships" xmlns:p="http://schemas.openxmlformats.org/presentationml/2006/main">
  <p:tag name="SLIDO_ELEMENT" val="interaction_image"/>
  <p:tag name="INTERACTION_TYPE" val="QA"/>
</p:tagLst>
</file>

<file path=ppt/tags/tag198.xml><?xml version="1.0" encoding="utf-8"?>
<p:tagLst xmlns:a="http://schemas.openxmlformats.org/drawingml/2006/main" xmlns:r="http://schemas.openxmlformats.org/officeDocument/2006/relationships" xmlns:p="http://schemas.openxmlformats.org/presentationml/2006/main">
  <p:tag name="SLIDO_ELEMENT" val="title"/>
</p:tagLst>
</file>

<file path=ppt/tags/tag199.xml><?xml version="1.0" encoding="utf-8"?>
<p:tagLst xmlns:a="http://schemas.openxmlformats.org/drawingml/2006/main" xmlns:r="http://schemas.openxmlformats.org/officeDocument/2006/relationships" xmlns:p="http://schemas.openxmlformats.org/presentationml/2006/main">
  <p:tag name="SLIDO_ELEMENT" val="footer"/>
</p:tagLst>
</file>

<file path=ppt/tags/tag2.xml><?xml version="1.0" encoding="utf-8"?>
<p:tagLst xmlns:a="http://schemas.openxmlformats.org/drawingml/2006/main" xmlns:r="http://schemas.openxmlformats.org/officeDocument/2006/relationships" xmlns:p="http://schemas.openxmlformats.org/presentationml/2006/main">
  <p:tag name="VCT-BODYINDENTATION" val="0;0;0;0;0;14.17323;14.17323;28.34646;28.32677;42.5;"/>
  <p:tag name="VCT-BULLETVISIBILITY" val="G  ***"/>
</p:tagLst>
</file>

<file path=ppt/tags/tag2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xml><?xml version="1.0" encoding="utf-8"?>
<p:tagLst xmlns:a="http://schemas.openxmlformats.org/drawingml/2006/main" xmlns:r="http://schemas.openxmlformats.org/officeDocument/2006/relationships" xmlns:p="http://schemas.openxmlformats.org/presentationml/2006/main">
  <p:tag name="MIO_EK" val="2099"/>
  <p:tag name="MIO_FALLBACK_LAYOUT" val="7"/>
  <p:tag name="MIO_SHOW_DATE" val="False"/>
  <p:tag name="MIO_SHOW_FOOTER" val="False"/>
  <p:tag name="MIO_SHOW_PAGENUMBER" val="False"/>
  <p:tag name="MIO_AVOID_BLANK_LAYOUT" val="True"/>
  <p:tag name="MIO_CD_LAYOUT_VALID_AREA" val="False"/>
  <p:tag name="MIO_NUMBER_OF_VALID_LAYOUTS" val="21"/>
  <p:tag name="MIO_HDS" val="True"/>
  <p:tag name="MIO_SKIPVERSION" val="01.01.0001 00:00:00"/>
  <p:tag name="MIO_EKGUID" val="f480a999-e64a-4374-ae35-94690ae96410"/>
  <p:tag name="MIO_UPDATE" val="True"/>
  <p:tag name="MIO_VERSION" val="23.04.2018 13:26:52"/>
  <p:tag name="MIO_DBID" val="45D6C5C4-89E9-4184-810D-0F005109E3D2"/>
  <p:tag name="MIO_LASTDOWNLOADED" val="23.04.2018 13:26:52"/>
  <p:tag name="MIO_OBJECTNAME" val="TÜV Rheinland EN"/>
  <p:tag name="MIO_LASTEDITORNAME" val="Michaela Kapalla"/>
  <p:tag name="MIO_CDID" val="4e1976f0-00f2-4571-8200-ef53bf5e2598"/>
  <p:tag name="MIO_PRESI_FIRST_SLIDENUMBER" val="1"/>
</p:tagLst>
</file>

<file path=ppt/tags/tag3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2.xml><?xml version="1.0" encoding="utf-8"?>
<p:tagLst xmlns:a="http://schemas.openxmlformats.org/drawingml/2006/main" xmlns:r="http://schemas.openxmlformats.org/officeDocument/2006/relationships" xmlns:p="http://schemas.openxmlformats.org/presentationml/2006/main">
  <p:tag name="SLIDO_METADATA" val="eyJUaW1lc3RhbXAiOjE3Mjk1NjEwOTh9"/>
  <p:tag name="SLIDO_TYPE" val="SlidoQA"/>
</p:tagLst>
</file>

<file path=ppt/tags/tag33.xml><?xml version="1.0" encoding="utf-8"?>
<p:tagLst xmlns:a="http://schemas.openxmlformats.org/drawingml/2006/main" xmlns:r="http://schemas.openxmlformats.org/officeDocument/2006/relationships" xmlns:p="http://schemas.openxmlformats.org/presentationml/2006/main">
  <p:tag name="SLIDO_ELEMENT" val="reminder"/>
</p:tagLst>
</file>

<file path=ppt/tags/tag34.xml><?xml version="1.0" encoding="utf-8"?>
<p:tagLst xmlns:a="http://schemas.openxmlformats.org/drawingml/2006/main" xmlns:r="http://schemas.openxmlformats.org/officeDocument/2006/relationships" xmlns:p="http://schemas.openxmlformats.org/presentationml/2006/main">
  <p:tag name="SLIDO_ELEMENT" val="dotty"/>
</p:tagLst>
</file>

<file path=ppt/tags/tag35.xml><?xml version="1.0" encoding="utf-8"?>
<p:tagLst xmlns:a="http://schemas.openxmlformats.org/drawingml/2006/main" xmlns:r="http://schemas.openxmlformats.org/officeDocument/2006/relationships" xmlns:p="http://schemas.openxmlformats.org/presentationml/2006/main">
  <p:tag name="SLIDO_ELEMENT" val="logo"/>
</p:tagLst>
</file>

<file path=ppt/tags/tag36.xml><?xml version="1.0" encoding="utf-8"?>
<p:tagLst xmlns:a="http://schemas.openxmlformats.org/drawingml/2006/main" xmlns:r="http://schemas.openxmlformats.org/officeDocument/2006/relationships" xmlns:p="http://schemas.openxmlformats.org/presentationml/2006/main">
  <p:tag name="SLIDO_ELEMENT" val="interaction_image"/>
  <p:tag name="INTERACTION_TYPE" val="QA"/>
</p:tagLst>
</file>

<file path=ppt/tags/tag37.xml><?xml version="1.0" encoding="utf-8"?>
<p:tagLst xmlns:a="http://schemas.openxmlformats.org/drawingml/2006/main" xmlns:r="http://schemas.openxmlformats.org/officeDocument/2006/relationships" xmlns:p="http://schemas.openxmlformats.org/presentationml/2006/main">
  <p:tag name="SLIDO_ELEMENT" val="title"/>
</p:tagLst>
</file>

<file path=ppt/tags/tag38.xml><?xml version="1.0" encoding="utf-8"?>
<p:tagLst xmlns:a="http://schemas.openxmlformats.org/drawingml/2006/main" xmlns:r="http://schemas.openxmlformats.org/officeDocument/2006/relationships" xmlns:p="http://schemas.openxmlformats.org/presentationml/2006/main">
  <p:tag name="SLIDO_ELEMENT" val="footer"/>
</p:tagLst>
</file>

<file path=ppt/tags/tag39.xml><?xml version="1.0" encoding="utf-8"?>
<p:tagLst xmlns:a="http://schemas.openxmlformats.org/drawingml/2006/main" xmlns:r="http://schemas.openxmlformats.org/officeDocument/2006/relationships" xmlns:p="http://schemas.openxmlformats.org/presentationml/2006/main">
  <p:tag name="SLIDO_METADATA" val="eyJUaW1lc3RhbXAiOjE3Mjk1NjExMjh9"/>
  <p:tag name="SLIDO_TYPE" val="SlidoQA"/>
</p:tagLst>
</file>

<file path=ppt/tags/tag4.xml><?xml version="1.0" encoding="utf-8"?>
<p:tagLst xmlns:a="http://schemas.openxmlformats.org/drawingml/2006/main" xmlns:r="http://schemas.openxmlformats.org/officeDocument/2006/relationships" xmlns:p="http://schemas.openxmlformats.org/presentationml/2006/main">
  <p:tag name="MIO_PRESI_FIRST_SLIDENUMBER" val="1"/>
  <p:tag name="MIO_EK" val="2315"/>
  <p:tag name="MIO_HDS" val="True"/>
  <p:tag name="MIO_SKIPVERSION" val="01.01.0001 00:00:00"/>
  <p:tag name="MIO_EKGUID" val="f480a999-e64a-4374-ae35-94690ae96410"/>
  <p:tag name="MIO_UPDATE" val="True"/>
  <p:tag name="MIO_DBID" val="45D6C5C4-89E9-4184-810D-0F005109E3D2"/>
  <p:tag name="MIO_LASTEDITORNAME" val="Michaela Kapalla"/>
  <p:tag name="MIO_FALLBACK_LAYOUT" val="10"/>
  <p:tag name="MIO_SHOW_DATE" val="True"/>
  <p:tag name="MIO_SHOW_FOOTER" val="True"/>
  <p:tag name="MIO_SHOW_PAGENUMBER" val="True"/>
  <p:tag name="MIO_AVOID_BLANK_LAYOUT" val="True"/>
  <p:tag name="MIO_CD_LAYOUT_VALID_AREA" val="False"/>
  <p:tag name="MIO_NUMBER_OF_VALID_LAYOUTS" val="32"/>
  <p:tag name="MIO_OBJECTNAME" val="Corporate Master EN"/>
  <p:tag name="MIO_EMBED_FONT" val="False"/>
  <p:tag name="MIO_MATCH_COLOR_SCHEME" val="False"/>
  <p:tag name="MIO_VERSION" val="09.04.2024 15:37:08"/>
  <p:tag name="MIO_LASTDOWNLOADED" val="14.10.2024 10:03:17.668"/>
  <p:tag name="MIO_CDID" val="4e1976f0-00f2-4571-8200-ef53bf5e2598"/>
</p:tagLst>
</file>

<file path=ppt/tags/tag40.xml><?xml version="1.0" encoding="utf-8"?>
<p:tagLst xmlns:a="http://schemas.openxmlformats.org/drawingml/2006/main" xmlns:r="http://schemas.openxmlformats.org/officeDocument/2006/relationships" xmlns:p="http://schemas.openxmlformats.org/presentationml/2006/main">
  <p:tag name="SLIDO_ELEMENT" val="reminder"/>
</p:tagLst>
</file>

<file path=ppt/tags/tag41.xml><?xml version="1.0" encoding="utf-8"?>
<p:tagLst xmlns:a="http://schemas.openxmlformats.org/drawingml/2006/main" xmlns:r="http://schemas.openxmlformats.org/officeDocument/2006/relationships" xmlns:p="http://schemas.openxmlformats.org/presentationml/2006/main">
  <p:tag name="SLIDO_ELEMENT" val="dotty"/>
</p:tagLst>
</file>

<file path=ppt/tags/tag42.xml><?xml version="1.0" encoding="utf-8"?>
<p:tagLst xmlns:a="http://schemas.openxmlformats.org/drawingml/2006/main" xmlns:r="http://schemas.openxmlformats.org/officeDocument/2006/relationships" xmlns:p="http://schemas.openxmlformats.org/presentationml/2006/main">
  <p:tag name="SLIDO_ELEMENT" val="logo"/>
</p:tagLst>
</file>

<file path=ppt/tags/tag43.xml><?xml version="1.0" encoding="utf-8"?>
<p:tagLst xmlns:a="http://schemas.openxmlformats.org/drawingml/2006/main" xmlns:r="http://schemas.openxmlformats.org/officeDocument/2006/relationships" xmlns:p="http://schemas.openxmlformats.org/presentationml/2006/main">
  <p:tag name="SLIDO_ELEMENT" val="interaction_image"/>
  <p:tag name="INTERACTION_TYPE" val="QA"/>
</p:tagLst>
</file>

<file path=ppt/tags/tag44.xml><?xml version="1.0" encoding="utf-8"?>
<p:tagLst xmlns:a="http://schemas.openxmlformats.org/drawingml/2006/main" xmlns:r="http://schemas.openxmlformats.org/officeDocument/2006/relationships" xmlns:p="http://schemas.openxmlformats.org/presentationml/2006/main">
  <p:tag name="SLIDO_ELEMENT" val="title"/>
</p:tagLst>
</file>

<file path=ppt/tags/tag45.xml><?xml version="1.0" encoding="utf-8"?>
<p:tagLst xmlns:a="http://schemas.openxmlformats.org/drawingml/2006/main" xmlns:r="http://schemas.openxmlformats.org/officeDocument/2006/relationships" xmlns:p="http://schemas.openxmlformats.org/presentationml/2006/main">
  <p:tag name="SLIDO_ELEMENT" val="footer"/>
</p:tagLst>
</file>

<file path=ppt/tags/tag46.xml><?xml version="1.0" encoding="utf-8"?>
<p:tagLst xmlns:a="http://schemas.openxmlformats.org/drawingml/2006/main" xmlns:r="http://schemas.openxmlformats.org/officeDocument/2006/relationships" xmlns:p="http://schemas.openxmlformats.org/presentationml/2006/main">
  <p:tag name="SLIDO_METADATA" val="eyJUaW1lc3RhbXAiOjE3Mjk1NjExMzV9"/>
  <p:tag name="SLIDO_TYPE" val="SlidoQA"/>
</p:tagLst>
</file>

<file path=ppt/tags/tag47.xml><?xml version="1.0" encoding="utf-8"?>
<p:tagLst xmlns:a="http://schemas.openxmlformats.org/drawingml/2006/main" xmlns:r="http://schemas.openxmlformats.org/officeDocument/2006/relationships" xmlns:p="http://schemas.openxmlformats.org/presentationml/2006/main">
  <p:tag name="SLIDO_ELEMENT" val="reminder"/>
</p:tagLst>
</file>

<file path=ppt/tags/tag48.xml><?xml version="1.0" encoding="utf-8"?>
<p:tagLst xmlns:a="http://schemas.openxmlformats.org/drawingml/2006/main" xmlns:r="http://schemas.openxmlformats.org/officeDocument/2006/relationships" xmlns:p="http://schemas.openxmlformats.org/presentationml/2006/main">
  <p:tag name="SLIDO_ELEMENT" val="dotty"/>
</p:tagLst>
</file>

<file path=ppt/tags/tag49.xml><?xml version="1.0" encoding="utf-8"?>
<p:tagLst xmlns:a="http://schemas.openxmlformats.org/drawingml/2006/main" xmlns:r="http://schemas.openxmlformats.org/officeDocument/2006/relationships" xmlns:p="http://schemas.openxmlformats.org/presentationml/2006/main">
  <p:tag name="SLIDO_ELEMENT" val="logo"/>
</p:tagLst>
</file>

<file path=ppt/tags/tag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50.xml><?xml version="1.0" encoding="utf-8"?>
<p:tagLst xmlns:a="http://schemas.openxmlformats.org/drawingml/2006/main" xmlns:r="http://schemas.openxmlformats.org/officeDocument/2006/relationships" xmlns:p="http://schemas.openxmlformats.org/presentationml/2006/main">
  <p:tag name="SLIDO_ELEMENT" val="interaction_image"/>
  <p:tag name="INTERACTION_TYPE" val="QA"/>
</p:tagLst>
</file>

<file path=ppt/tags/tag51.xml><?xml version="1.0" encoding="utf-8"?>
<p:tagLst xmlns:a="http://schemas.openxmlformats.org/drawingml/2006/main" xmlns:r="http://schemas.openxmlformats.org/officeDocument/2006/relationships" xmlns:p="http://schemas.openxmlformats.org/presentationml/2006/main">
  <p:tag name="SLIDO_ELEMENT" val="title"/>
</p:tagLst>
</file>

<file path=ppt/tags/tag52.xml><?xml version="1.0" encoding="utf-8"?>
<p:tagLst xmlns:a="http://schemas.openxmlformats.org/drawingml/2006/main" xmlns:r="http://schemas.openxmlformats.org/officeDocument/2006/relationships" xmlns:p="http://schemas.openxmlformats.org/presentationml/2006/main">
  <p:tag name="SLIDO_ELEMENT" val="footer"/>
</p:tagLst>
</file>

<file path=ppt/tags/tag53.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A3C824AF_0D5F_4FFA_BD77_0460A0D6E5B4&quot;,&quot;SourceFullName&quot;:&quot;https://orennia.sharepoint.com/sites/analytics.team/Shared Documents/General/Reports/2024.08_Denver_Lunch/electricity_consumption.xlsx&quot;,&quot;LastUpdate&quot;:&quot;2024-07-26 9:42 AM&quot;,&quot;UpdatedBy&quot;:&quot;DaphneDeng&quot;,&quot;IsLinked&quot;:false,&quot;IsBrokenLink&quot;:false,&quot;Type&quot;:1}"/>
</p:tagLst>
</file>

<file path=ppt/tags/tag54.xml><?xml version="1.0" encoding="utf-8"?>
<p:tagLst xmlns:a="http://schemas.openxmlformats.org/drawingml/2006/main" xmlns:r="http://schemas.openxmlformats.org/officeDocument/2006/relationships" xmlns:p="http://schemas.openxmlformats.org/presentationml/2006/main">
  <p:tag name="SLIDO_METADATA" val="eyJUaW1lc3RhbXAiOjE3Mjk1NjExNDZ9"/>
  <p:tag name="SLIDO_TYPE" val="SlidoQA"/>
</p:tagLst>
</file>

<file path=ppt/tags/tag55.xml><?xml version="1.0" encoding="utf-8"?>
<p:tagLst xmlns:a="http://schemas.openxmlformats.org/drawingml/2006/main" xmlns:r="http://schemas.openxmlformats.org/officeDocument/2006/relationships" xmlns:p="http://schemas.openxmlformats.org/presentationml/2006/main">
  <p:tag name="SLIDO_ELEMENT" val="reminder"/>
</p:tagLst>
</file>

<file path=ppt/tags/tag56.xml><?xml version="1.0" encoding="utf-8"?>
<p:tagLst xmlns:a="http://schemas.openxmlformats.org/drawingml/2006/main" xmlns:r="http://schemas.openxmlformats.org/officeDocument/2006/relationships" xmlns:p="http://schemas.openxmlformats.org/presentationml/2006/main">
  <p:tag name="SLIDO_ELEMENT" val="dotty"/>
</p:tagLst>
</file>

<file path=ppt/tags/tag57.xml><?xml version="1.0" encoding="utf-8"?>
<p:tagLst xmlns:a="http://schemas.openxmlformats.org/drawingml/2006/main" xmlns:r="http://schemas.openxmlformats.org/officeDocument/2006/relationships" xmlns:p="http://schemas.openxmlformats.org/presentationml/2006/main">
  <p:tag name="SLIDO_ELEMENT" val="logo"/>
</p:tagLst>
</file>

<file path=ppt/tags/tag58.xml><?xml version="1.0" encoding="utf-8"?>
<p:tagLst xmlns:a="http://schemas.openxmlformats.org/drawingml/2006/main" xmlns:r="http://schemas.openxmlformats.org/officeDocument/2006/relationships" xmlns:p="http://schemas.openxmlformats.org/presentationml/2006/main">
  <p:tag name="SLIDO_ELEMENT" val="interaction_image"/>
  <p:tag name="INTERACTION_TYPE" val="QA"/>
</p:tagLst>
</file>

<file path=ppt/tags/tag59.xml><?xml version="1.0" encoding="utf-8"?>
<p:tagLst xmlns:a="http://schemas.openxmlformats.org/drawingml/2006/main" xmlns:r="http://schemas.openxmlformats.org/officeDocument/2006/relationships" xmlns:p="http://schemas.openxmlformats.org/presentationml/2006/main">
  <p:tag name="SLIDO_ELEMENT" val="title"/>
</p:tagLst>
</file>

<file path=ppt/tags/tag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60.xml><?xml version="1.0" encoding="utf-8"?>
<p:tagLst xmlns:a="http://schemas.openxmlformats.org/drawingml/2006/main" xmlns:r="http://schemas.openxmlformats.org/officeDocument/2006/relationships" xmlns:p="http://schemas.openxmlformats.org/presentationml/2006/main">
  <p:tag name="SLIDO_ELEMENT" val="footer"/>
</p:tagLst>
</file>

<file path=ppt/tags/tag61.xml><?xml version="1.0" encoding="utf-8"?>
<p:tagLst xmlns:a="http://schemas.openxmlformats.org/drawingml/2006/main" xmlns:r="http://schemas.openxmlformats.org/officeDocument/2006/relationships" xmlns:p="http://schemas.openxmlformats.org/presentationml/2006/main">
  <p:tag name="SLIDO_METADATA" val="eyJUaW1lc3RhbXAiOjE3Mjk1NjExNTJ9"/>
  <p:tag name="SLIDO_TYPE" val="SlidoQA"/>
</p:tagLst>
</file>

<file path=ppt/tags/tag62.xml><?xml version="1.0" encoding="utf-8"?>
<p:tagLst xmlns:a="http://schemas.openxmlformats.org/drawingml/2006/main" xmlns:r="http://schemas.openxmlformats.org/officeDocument/2006/relationships" xmlns:p="http://schemas.openxmlformats.org/presentationml/2006/main">
  <p:tag name="SLIDO_ELEMENT" val="reminder"/>
</p:tagLst>
</file>

<file path=ppt/tags/tag63.xml><?xml version="1.0" encoding="utf-8"?>
<p:tagLst xmlns:a="http://schemas.openxmlformats.org/drawingml/2006/main" xmlns:r="http://schemas.openxmlformats.org/officeDocument/2006/relationships" xmlns:p="http://schemas.openxmlformats.org/presentationml/2006/main">
  <p:tag name="SLIDO_ELEMENT" val="dotty"/>
</p:tagLst>
</file>

<file path=ppt/tags/tag64.xml><?xml version="1.0" encoding="utf-8"?>
<p:tagLst xmlns:a="http://schemas.openxmlformats.org/drawingml/2006/main" xmlns:r="http://schemas.openxmlformats.org/officeDocument/2006/relationships" xmlns:p="http://schemas.openxmlformats.org/presentationml/2006/main">
  <p:tag name="SLIDO_ELEMENT" val="logo"/>
</p:tagLst>
</file>

<file path=ppt/tags/tag65.xml><?xml version="1.0" encoding="utf-8"?>
<p:tagLst xmlns:a="http://schemas.openxmlformats.org/drawingml/2006/main" xmlns:r="http://schemas.openxmlformats.org/officeDocument/2006/relationships" xmlns:p="http://schemas.openxmlformats.org/presentationml/2006/main">
  <p:tag name="SLIDO_ELEMENT" val="interaction_image"/>
  <p:tag name="INTERACTION_TYPE" val="QA"/>
</p:tagLst>
</file>

<file path=ppt/tags/tag66.xml><?xml version="1.0" encoding="utf-8"?>
<p:tagLst xmlns:a="http://schemas.openxmlformats.org/drawingml/2006/main" xmlns:r="http://schemas.openxmlformats.org/officeDocument/2006/relationships" xmlns:p="http://schemas.openxmlformats.org/presentationml/2006/main">
  <p:tag name="SLIDO_ELEMENT" val="title"/>
</p:tagLst>
</file>

<file path=ppt/tags/tag67.xml><?xml version="1.0" encoding="utf-8"?>
<p:tagLst xmlns:a="http://schemas.openxmlformats.org/drawingml/2006/main" xmlns:r="http://schemas.openxmlformats.org/officeDocument/2006/relationships" xmlns:p="http://schemas.openxmlformats.org/presentationml/2006/main">
  <p:tag name="SLIDO_ELEMENT" val="footer"/>
</p:tagLst>
</file>

<file path=ppt/tags/tag68.xml><?xml version="1.0" encoding="utf-8"?>
<p:tagLst xmlns:a="http://schemas.openxmlformats.org/drawingml/2006/main" xmlns:r="http://schemas.openxmlformats.org/officeDocument/2006/relationships" xmlns:p="http://schemas.openxmlformats.org/presentationml/2006/main">
  <p:tag name="SLIDO_METADATA" val="eyJUaW1lc3RhbXAiOjE3Mjk1NjExNjl9"/>
  <p:tag name="SLIDO_TYPE" val="SlidoQA"/>
</p:tagLst>
</file>

<file path=ppt/tags/tag69.xml><?xml version="1.0" encoding="utf-8"?>
<p:tagLst xmlns:a="http://schemas.openxmlformats.org/drawingml/2006/main" xmlns:r="http://schemas.openxmlformats.org/officeDocument/2006/relationships" xmlns:p="http://schemas.openxmlformats.org/presentationml/2006/main">
  <p:tag name="SLIDO_ELEMENT" val="reminder"/>
</p:tagLst>
</file>

<file path=ppt/tags/tag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0.xml><?xml version="1.0" encoding="utf-8"?>
<p:tagLst xmlns:a="http://schemas.openxmlformats.org/drawingml/2006/main" xmlns:r="http://schemas.openxmlformats.org/officeDocument/2006/relationships" xmlns:p="http://schemas.openxmlformats.org/presentationml/2006/main">
  <p:tag name="SLIDO_ELEMENT" val="dotty"/>
</p:tagLst>
</file>

<file path=ppt/tags/tag71.xml><?xml version="1.0" encoding="utf-8"?>
<p:tagLst xmlns:a="http://schemas.openxmlformats.org/drawingml/2006/main" xmlns:r="http://schemas.openxmlformats.org/officeDocument/2006/relationships" xmlns:p="http://schemas.openxmlformats.org/presentationml/2006/main">
  <p:tag name="SLIDO_ELEMENT" val="logo"/>
</p:tagLst>
</file>

<file path=ppt/tags/tag72.xml><?xml version="1.0" encoding="utf-8"?>
<p:tagLst xmlns:a="http://schemas.openxmlformats.org/drawingml/2006/main" xmlns:r="http://schemas.openxmlformats.org/officeDocument/2006/relationships" xmlns:p="http://schemas.openxmlformats.org/presentationml/2006/main">
  <p:tag name="SLIDO_ELEMENT" val="interaction_image"/>
  <p:tag name="INTERACTION_TYPE" val="QA"/>
</p:tagLst>
</file>

<file path=ppt/tags/tag73.xml><?xml version="1.0" encoding="utf-8"?>
<p:tagLst xmlns:a="http://schemas.openxmlformats.org/drawingml/2006/main" xmlns:r="http://schemas.openxmlformats.org/officeDocument/2006/relationships" xmlns:p="http://schemas.openxmlformats.org/presentationml/2006/main">
  <p:tag name="SLIDO_ELEMENT" val="title"/>
</p:tagLst>
</file>

<file path=ppt/tags/tag74.xml><?xml version="1.0" encoding="utf-8"?>
<p:tagLst xmlns:a="http://schemas.openxmlformats.org/drawingml/2006/main" xmlns:r="http://schemas.openxmlformats.org/officeDocument/2006/relationships" xmlns:p="http://schemas.openxmlformats.org/presentationml/2006/main">
  <p:tag name="SLIDO_ELEMENT" val="footer"/>
</p:tagLst>
</file>

<file path=ppt/tags/tag75.xml><?xml version="1.0" encoding="utf-8"?>
<p:tagLst xmlns:a="http://schemas.openxmlformats.org/drawingml/2006/main" xmlns:r="http://schemas.openxmlformats.org/officeDocument/2006/relationships" xmlns:p="http://schemas.openxmlformats.org/presentationml/2006/main">
  <p:tag name="MIO_AGENDA_ELEMENTNAME" val="MIO_AGENDA_OVERVIEW_SLIDE"/>
  <p:tag name="MIO_AGENDA_CREATE_AGENDA_SLIDENUMBERS_TAG" val="True"/>
  <p:tag name="MIO_AGENDA_CREATE_BREADCRUMBS_TAG" val="True"/>
  <p:tag name="MIO_AGENDA_AUTOMATIC_UPDATE_TAG" val="True"/>
  <p:tag name="MIO_SKIP_CDCHECK" val="true"/>
  <p:tag name="MIO_EKGUID" val="a60203ee-0101-4693-a6cd-905d7677fd37"/>
  <p:tag name="MIO_GUID" val="5ba2a876-bd0b-45e8-b84f-7fa4004f9c8d"/>
  <p:tag name="MIO_VERSION" val="31.12.9999 23:59:59"/>
  <p:tag name="MIO_DBID" val="45D6C5C4-89E9-4184-810D-0F005109E3D2"/>
  <p:tag name="MIO_LASTDOWNLOADED" val="11.11.2020 08:55:50"/>
  <p:tag name="MIO_UPDATE" val="False"/>
</p:tagLst>
</file>

<file path=ppt/tags/tag76.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77.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78.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79.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80.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81.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82.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83.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84.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85.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86.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87.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88.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89.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91.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92.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93.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94.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95.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96.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97.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98.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99.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TÜV Rheinland">
  <a:themeElements>
    <a:clrScheme name="TÜV Rheinland">
      <a:dk1>
        <a:sysClr val="windowText" lastClr="000000"/>
      </a:dk1>
      <a:lt1>
        <a:sysClr val="window" lastClr="FFFFFF"/>
      </a:lt1>
      <a:dk2>
        <a:srgbClr val="4D4D4D"/>
      </a:dk2>
      <a:lt2>
        <a:srgbClr val="CCCCCC"/>
      </a:lt2>
      <a:accent1>
        <a:srgbClr val="0071B9"/>
      </a:accent1>
      <a:accent2>
        <a:srgbClr val="CCE2F1"/>
      </a:accent2>
      <a:accent3>
        <a:srgbClr val="80B7DC"/>
      </a:accent3>
      <a:accent4>
        <a:srgbClr val="265D7F"/>
      </a:accent4>
      <a:accent5>
        <a:srgbClr val="002B46"/>
      </a:accent5>
      <a:accent6>
        <a:srgbClr val="808080"/>
      </a:accent6>
      <a:hlink>
        <a:srgbClr val="0071B9"/>
      </a:hlink>
      <a:folHlink>
        <a:srgbClr val="0071B9"/>
      </a:folHlink>
    </a:clrScheme>
    <a:fontScheme name="Custom 1">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rtl="0" eaLnBrk="1" fontAlgn="auto" hangingPunct="1">
          <a:lnSpc>
            <a:spcPct val="100000"/>
          </a:lnSpc>
          <a:spcBef>
            <a:spcPts val="0"/>
          </a:spcBef>
          <a:spcAft>
            <a:spcPts val="0"/>
          </a:spcAft>
          <a:defRPr sz="2400" b="0" i="0" u="none" baseline="0" dirty="0" err="1">
            <a:solidFill>
              <a:srgbClr val="FFFFFF"/>
            </a:solidFill>
            <a:latin typeface="Arial"/>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rtlCol="0">
        <a:spAutoFit/>
      </a:bodyPr>
      <a:lstStyle>
        <a:defPPr marL="177800" indent="-177800" algn="l" rtl="0" eaLnBrk="1" fontAlgn="auto" hangingPunct="1">
          <a:lnSpc>
            <a:spcPts val="2200"/>
          </a:lnSpc>
          <a:spcBef>
            <a:spcPts val="0"/>
          </a:spcBef>
          <a:spcAft>
            <a:spcPts val="0"/>
          </a:spcAft>
          <a:buClr>
            <a:schemeClr val="tx2"/>
          </a:buClr>
          <a:buFont typeface="Wingdings" panose="05000000000000000000" pitchFamily="2" charset="2"/>
          <a:buChar char="§"/>
          <a:defRPr sz="1400" b="0" i="0" u="none" baseline="0" dirty="0">
            <a:solidFill>
              <a:srgbClr val="000000"/>
            </a:solidFill>
            <a:latin typeface="Arial"/>
          </a:defRPr>
        </a:defPPr>
      </a:lstStyle>
    </a:txDef>
  </a:objectDefaults>
  <a:extraClrSchemeLst/>
  <a:custClrLst>
    <a:custClr name="Green">
      <a:srgbClr val="50B400"/>
    </a:custClr>
    <a:custClr name="Red">
      <a:srgbClr val="FF073A"/>
    </a:custClr>
    <a:custClr name="Yellow">
      <a:srgbClr val="FFC600"/>
    </a:custClr>
    <a:custClr name="Black 10%">
      <a:srgbClr val="E6E6E6"/>
    </a:custClr>
  </a:custClr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Orennia">
    <a:dk1>
      <a:sysClr val="windowText" lastClr="000000"/>
    </a:dk1>
    <a:lt1>
      <a:sysClr val="window" lastClr="FFFFFF"/>
    </a:lt1>
    <a:dk2>
      <a:srgbClr val="44546A"/>
    </a:dk2>
    <a:lt2>
      <a:srgbClr val="E7E6E6"/>
    </a:lt2>
    <a:accent1>
      <a:srgbClr val="137CBD"/>
    </a:accent1>
    <a:accent2>
      <a:srgbClr val="F29D49"/>
    </a:accent2>
    <a:accent3>
      <a:srgbClr val="A5A5A5"/>
    </a:accent3>
    <a:accent4>
      <a:srgbClr val="DB3737"/>
    </a:accent4>
    <a:accent5>
      <a:srgbClr val="23B6A9"/>
    </a:accent5>
    <a:accent6>
      <a:srgbClr val="15B371"/>
    </a:accent6>
    <a:hlink>
      <a:srgbClr val="F5498B"/>
    </a:hlink>
    <a:folHlink>
      <a:srgbClr val="7030A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明朝"/>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rennia">
    <a:dk1>
      <a:srgbClr val="000000"/>
    </a:dk1>
    <a:lt1>
      <a:sysClr val="window" lastClr="FFFFFF"/>
    </a:lt1>
    <a:dk2>
      <a:srgbClr val="F3F1EE"/>
    </a:dk2>
    <a:lt2>
      <a:srgbClr val="013A55"/>
    </a:lt2>
    <a:accent1>
      <a:srgbClr val="013A55"/>
    </a:accent1>
    <a:accent2>
      <a:srgbClr val="26C8B9"/>
    </a:accent2>
    <a:accent3>
      <a:srgbClr val="FF7638"/>
    </a:accent3>
    <a:accent4>
      <a:srgbClr val="E4E0DB"/>
    </a:accent4>
    <a:accent5>
      <a:srgbClr val="F3F1EE"/>
    </a:accent5>
    <a:accent6>
      <a:srgbClr val="030303"/>
    </a:accent6>
    <a:hlink>
      <a:srgbClr val="FF7638"/>
    </a:hlink>
    <a:folHlink>
      <a:srgbClr val="9B3000"/>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MigrationWizId xmlns="472a0e48-0145-4f55-a6bb-a8fd9078d407" xsi:nil="true"/>
    <MigrationWizIdPermissions xmlns="472a0e48-0145-4f55-a6bb-a8fd9078d407" xsi:nil="true"/>
    <TaxCatchAll xmlns="f6f6ce5a-03cd-4adf-a050-2e9c68287072" xsi:nil="true"/>
    <lcf76f155ced4ddcb4097134ff3c332f0 xmlns="472a0e48-0145-4f55-a6bb-a8fd9078d407" xsi:nil="true"/>
    <MigrationWizIdVersion xmlns="472a0e48-0145-4f55-a6bb-a8fd9078d407" xsi:nil="true"/>
    <lcf76f155ced4ddcb4097134ff3c332f xmlns="472a0e48-0145-4f55-a6bb-a8fd9078d407">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32D05C73CA9FE34E820618FAD4014184" ma:contentTypeVersion="24" ma:contentTypeDescription="Create a new document." ma:contentTypeScope="" ma:versionID="1a1b78e43a190b8127c667ab31bcd9c9">
  <xsd:schema xmlns:xsd="http://www.w3.org/2001/XMLSchema" xmlns:xs="http://www.w3.org/2001/XMLSchema" xmlns:p="http://schemas.microsoft.com/office/2006/metadata/properties" xmlns:ns2="472a0e48-0145-4f55-a6bb-a8fd9078d407" xmlns:ns3="f6f6ce5a-03cd-4adf-a050-2e9c68287072" targetNamespace="http://schemas.microsoft.com/office/2006/metadata/properties" ma:root="true" ma:fieldsID="fd1e99ce9505c417c013b68b1e630e3d" ns2:_="" ns3:_="">
    <xsd:import namespace="472a0e48-0145-4f55-a6bb-a8fd9078d407"/>
    <xsd:import namespace="f6f6ce5a-03cd-4adf-a050-2e9c68287072"/>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GenerationTime" minOccurs="0"/>
                <xsd:element ref="ns2:MediaServiceEventHashCode" minOccurs="0"/>
                <xsd:element ref="ns2:MediaServiceOCR" minOccurs="0"/>
                <xsd:element ref="ns2:MediaServiceLocation" minOccurs="0"/>
                <xsd:element ref="ns2:MediaLengthInSeconds" minOccurs="0"/>
                <xsd:element ref="ns2:lcf76f155ced4ddcb4097134ff3c332f" minOccurs="0"/>
                <xsd:element ref="ns3:TaxCatchAll" minOccurs="0"/>
                <xsd:element ref="ns2:MediaServiceSearchProperties" minOccurs="0"/>
                <xsd:element ref="ns2:MediaServiceObjectDetectorVersions" minOccurs="0"/>
                <xsd:element ref="ns2:MigrationWizId" minOccurs="0"/>
                <xsd:element ref="ns2:MigrationWizIdPermissions" minOccurs="0"/>
                <xsd:element ref="ns2:MigrationWizIdVersion" minOccurs="0"/>
                <xsd:element ref="ns2:lcf76f155ced4ddcb4097134ff3c332f0"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72a0e48-0145-4f55-a6bb-a8fd9078d407" elementFormDefault="qualified">
    <xsd:import namespace="http://schemas.microsoft.com/office/2006/documentManagement/types"/>
    <xsd:import namespace="http://schemas.microsoft.com/office/infopath/2007/PartnerControls"/>
    <xsd:element name="MediaServiceMetadata" ma:index="4" nillable="true" ma:displayName="MediaServiceMetadata" ma:hidden="true" ma:internalName="MediaServiceMetadata" ma:readOnly="true">
      <xsd:simpleType>
        <xsd:restriction base="dms:Note"/>
      </xsd:simpleType>
    </xsd:element>
    <xsd:element name="MediaServiceFastMetadata" ma:index="5" nillable="true" ma:displayName="MediaServiceFastMetadata" ma:hidden="true" ma:internalName="MediaServiceFastMetadata" ma:readOnly="true">
      <xsd:simpleType>
        <xsd:restriction base="dms:Note"/>
      </xsd:simpleType>
    </xsd:element>
    <xsd:element name="MediaServiceDateTaken" ma:index="6" nillable="true" ma:displayName="MediaServiceDateTaken" ma:description="" ma:hidden="true" ma:internalName="MediaServiceDateTaken" ma:readOnly="true">
      <xsd:simpleType>
        <xsd:restriction base="dms:Text"/>
      </xsd:simpleType>
    </xsd:element>
    <xsd:element name="MediaServiceGenerationTime" ma:index="7" nillable="true" ma:displayName="MediaServiceGenerationTime" ma:hidden="true" ma:internalName="MediaServiceGenerationTime" ma:readOnly="true">
      <xsd:simpleType>
        <xsd:restriction base="dms:Text"/>
      </xsd:simpleType>
    </xsd:element>
    <xsd:element name="MediaServiceEventHashCode" ma:index="8" nillable="true" ma:displayName="MediaServiceEventHashCode" ma:hidden="true" ma:internalName="MediaServiceEventHashCode" ma:readOnly="true">
      <xsd:simpleType>
        <xsd:restriction base="dms:Text"/>
      </xsd:simpleType>
    </xsd:element>
    <xsd:element name="MediaServiceOCR" ma:index="9" nillable="true" ma:displayName="Extracted Text" ma:internalName="MediaServiceOCR" ma:readOnly="true">
      <xsd:simpleType>
        <xsd:restriction base="dms:Note">
          <xsd:maxLength value="255"/>
        </xsd:restriction>
      </xsd:simpleType>
    </xsd:element>
    <xsd:element name="MediaServiceLocation" ma:index="10" nillable="true" ma:displayName="Location" ma:description="" ma:internalName="MediaServiceLocation" ma:readOnly="true">
      <xsd:simpleType>
        <xsd:restriction base="dms:Text"/>
      </xsd:simpleType>
    </xsd:element>
    <xsd:element name="MediaLengthInSeconds" ma:index="11" nillable="true" ma:displayName="MediaLengthInSeconds" ma:description="" ma:internalName="MediaLengthInSeconds" ma:readOnly="true">
      <xsd:simpleType>
        <xsd:restriction base="dms:Unknown"/>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bdc0606b-8e5a-4aee-a68c-f4efcab0e830" ma:termSetId="09814cd3-568e-fe90-9814-8d621ff8fb84" ma:anchorId="fba54fb3-c3e1-fe81-a776-ca4b69148c4d" ma:open="true" ma:isKeyword="false">
      <xsd:complexType>
        <xsd:sequence>
          <xsd:element ref="pc:Terms" minOccurs="0" maxOccurs="1"/>
        </xsd:sequence>
      </xsd:complexType>
    </xsd:element>
    <xsd:element name="MediaServiceSearchProperties" ma:index="15" nillable="true" ma:displayName="MediaServiceSearchProperties" ma:hidden="true" ma:internalName="MediaServiceSearchProperties" ma:readOnly="true">
      <xsd:simpleType>
        <xsd:restriction base="dms:Note"/>
      </xsd:simpleType>
    </xsd:element>
    <xsd:element name="MediaServiceObjectDetectorVersions" ma:index="16" nillable="true" ma:displayName="MediaServiceObjectDetectorVersions" ma:description="" ma:hidden="true" ma:indexed="true" ma:internalName="MediaServiceObjectDetectorVersions" ma:readOnly="true">
      <xsd:simpleType>
        <xsd:restriction base="dms:Text"/>
      </xsd:simpleType>
    </xsd:element>
    <xsd:element name="MigrationWizId" ma:index="21" nillable="true" ma:displayName="MigrationWizId" ma:internalName="MigrationWizId">
      <xsd:simpleType>
        <xsd:restriction base="dms:Text"/>
      </xsd:simpleType>
    </xsd:element>
    <xsd:element name="MigrationWizIdPermissions" ma:index="22" nillable="true" ma:displayName="MigrationWizIdPermissions" ma:internalName="MigrationWizIdPermissions">
      <xsd:simpleType>
        <xsd:restriction base="dms:Text"/>
      </xsd:simpleType>
    </xsd:element>
    <xsd:element name="MigrationWizIdVersion" ma:index="23" nillable="true" ma:displayName="MigrationWizIdVersion" ma:internalName="MigrationWizIdVersion">
      <xsd:simpleType>
        <xsd:restriction base="dms:Text"/>
      </xsd:simpleType>
    </xsd:element>
    <xsd:element name="lcf76f155ced4ddcb4097134ff3c332f0" ma:index="24" nillable="true" ma:displayName="Image Tags_0" ma:hidden="true" ma:internalName="lcf76f155ced4ddcb4097134ff3c332f0" ma:readOnly="fals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6f6ce5a-03cd-4adf-a050-2e9c68287072"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a8169b49-c07d-4000-acaa-6b5edd4fca4f}" ma:internalName="TaxCatchAll" ma:showField="CatchAllData" ma:web="f6f6ce5a-03cd-4adf-a050-2e9c6828707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8"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E197648-82F9-49D8-AC87-0CF28650B897}">
  <ds:schemaRefs>
    <ds:schemaRef ds:uri="http://schemas.microsoft.com/sharepoint/v3/contenttype/forms"/>
  </ds:schemaRefs>
</ds:datastoreItem>
</file>

<file path=customXml/itemProps2.xml><?xml version="1.0" encoding="utf-8"?>
<ds:datastoreItem xmlns:ds="http://schemas.openxmlformats.org/officeDocument/2006/customXml" ds:itemID="{8C081AB1-E66B-4770-AD22-C1932B1FBBC1}">
  <ds:schemaRefs>
    <ds:schemaRef ds:uri="http://schemas.microsoft.com/office/2006/metadata/properties"/>
    <ds:schemaRef ds:uri="http://schemas.microsoft.com/office/infopath/2007/PartnerControls"/>
    <ds:schemaRef ds:uri="472a0e48-0145-4f55-a6bb-a8fd9078d407"/>
    <ds:schemaRef ds:uri="f6f6ce5a-03cd-4adf-a050-2e9c68287072"/>
  </ds:schemaRefs>
</ds:datastoreItem>
</file>

<file path=customXml/itemProps3.xml><?xml version="1.0" encoding="utf-8"?>
<ds:datastoreItem xmlns:ds="http://schemas.openxmlformats.org/officeDocument/2006/customXml" ds:itemID="{6C570D82-4C17-4D1A-BD88-EDF7E1387F9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72a0e48-0145-4f55-a6bb-a8fd9078d407"/>
    <ds:schemaRef ds:uri="f6f6ce5a-03cd-4adf-a050-2e9c6828707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9</TotalTime>
  <Words>2769</Words>
  <Application>Microsoft Office PowerPoint</Application>
  <PresentationFormat>Widescreen</PresentationFormat>
  <Paragraphs>634</Paragraphs>
  <Slides>83</Slides>
  <Notes>29</Notes>
  <HiddenSlides>0</HiddenSlides>
  <MMClips>0</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1</vt:i4>
      </vt:variant>
      <vt:variant>
        <vt:lpstr>Slide Titles</vt:lpstr>
      </vt:variant>
      <vt:variant>
        <vt:i4>83</vt:i4>
      </vt:variant>
    </vt:vector>
  </HeadingPairs>
  <TitlesOfParts>
    <vt:vector size="98" baseType="lpstr">
      <vt:lpstr>宋体</vt:lpstr>
      <vt:lpstr>Aptos</vt:lpstr>
      <vt:lpstr>Aptos Display</vt:lpstr>
      <vt:lpstr>Arial</vt:lpstr>
      <vt:lpstr>Calibri</vt:lpstr>
      <vt:lpstr>Manrope</vt:lpstr>
      <vt:lpstr>Manrope SemiBold</vt:lpstr>
      <vt:lpstr>Marcellus</vt:lpstr>
      <vt:lpstr>Rockwell</vt:lpstr>
      <vt:lpstr>Symbol</vt:lpstr>
      <vt:lpstr>Verdana</vt:lpstr>
      <vt:lpstr>Wingdings</vt:lpstr>
      <vt:lpstr>Office Theme</vt:lpstr>
      <vt:lpstr>TÜV Rheinland</vt:lpstr>
      <vt:lpstr>think-cell Foli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risking Merchant Revenue Stacks</vt:lpstr>
      <vt:lpstr>Macro</vt:lpstr>
      <vt:lpstr>Entering a New Era of Demand</vt:lpstr>
      <vt:lpstr>Data Center Energy Demands</vt:lpstr>
      <vt:lpstr>Big Tech Investments</vt:lpstr>
      <vt:lpstr>Time Spent in the IQ</vt:lpstr>
      <vt:lpstr>Storage Is Becoming Mainstream</vt:lpstr>
      <vt:lpstr>45% of New Capacity in the IQ Is Storage</vt:lpstr>
      <vt:lpstr>Storage Offers Competitive Returns</vt:lpstr>
      <vt:lpstr>Top Standalone Storage Operators</vt:lpstr>
      <vt:lpstr>Revenue Performance</vt:lpstr>
      <vt:lpstr>Revenue Profile Varies by Market</vt:lpstr>
      <vt:lpstr>Benchmarking Operator Performance</vt:lpstr>
      <vt:lpstr>Operator Performance is Converging</vt:lpstr>
      <vt:lpstr>What Happened this Summer in ERCOT?</vt:lpstr>
      <vt:lpstr>August Supply and Demand Comparison</vt:lpstr>
      <vt:lpstr>ERCOT Revenue Expectati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mart Investments in Solar &amp; Renewable Energy </vt:lpstr>
      <vt:lpstr>Agenda</vt:lpstr>
      <vt:lpstr>Safety and Quality Alongside the Energy Revolution.</vt:lpstr>
      <vt:lpstr>Immediate Conclusion – Why TÜV Rheinland?</vt:lpstr>
      <vt:lpstr>What makes TÜV Rheinland Special?</vt:lpstr>
      <vt:lpstr>Focus on Investors’ Priorities-extended bankability service</vt:lpstr>
      <vt:lpstr>Technical Due Diligence – Your Risk Mitigation Tool</vt:lpstr>
      <vt:lpstr>Performance Forecasting – Know Your Returns</vt:lpstr>
      <vt:lpstr>Global Energy Yield Rating of PV Modules.</vt:lpstr>
      <vt:lpstr>Global Energy Yield Rating of PV Modules.</vt:lpstr>
      <vt:lpstr>Global Energy Yield Rating of PV Modules.</vt:lpstr>
      <vt:lpstr>Global Energy Yield Rating of PV Modules.</vt:lpstr>
      <vt:lpstr>Global Energy Yield Rating of PV Modules.</vt:lpstr>
      <vt:lpstr>Global Energy Yield Rating of PV Modules.</vt:lpstr>
      <vt:lpstr>Certification &amp; Compliance – Building Trust</vt:lpstr>
      <vt:lpstr>TÜV Rheinland Global PV Testing Network. </vt:lpstr>
      <vt:lpstr>TÜV Rheinland Global PV Testing Network. </vt:lpstr>
      <vt:lpstr>TÜV Rheinland Global PV Testing Network. </vt:lpstr>
      <vt:lpstr>Lifecycle Management – Sustaining Your Asset Value</vt:lpstr>
      <vt:lpstr>Supply Chain Validation – Secure Your Components</vt:lpstr>
      <vt:lpstr>PV Supply Chain Services</vt:lpstr>
      <vt:lpstr>ESG and Sustainability – Aligning Investments with the Future</vt:lpstr>
      <vt:lpstr>One-stop Solar Business Soluti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Informa pl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Guthrie, Jadon</dc:creator>
  <cp:lastModifiedBy>Guthrie, Jadon</cp:lastModifiedBy>
  <cp:revision>1</cp:revision>
  <dcterms:created xsi:type="dcterms:W3CDTF">2024-10-21T20:59:12Z</dcterms:created>
  <dcterms:modified xsi:type="dcterms:W3CDTF">2024-10-22T01:51: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2bbab825-a111-45e4-86a1-18cee0005896_Enabled">
    <vt:lpwstr>true</vt:lpwstr>
  </property>
  <property fmtid="{D5CDD505-2E9C-101B-9397-08002B2CF9AE}" pid="3" name="MSIP_Label_2bbab825-a111-45e4-86a1-18cee0005896_SetDate">
    <vt:lpwstr>2024-10-21T21:01:15Z</vt:lpwstr>
  </property>
  <property fmtid="{D5CDD505-2E9C-101B-9397-08002B2CF9AE}" pid="4" name="MSIP_Label_2bbab825-a111-45e4-86a1-18cee0005896_Method">
    <vt:lpwstr>Standard</vt:lpwstr>
  </property>
  <property fmtid="{D5CDD505-2E9C-101B-9397-08002B2CF9AE}" pid="5" name="MSIP_Label_2bbab825-a111-45e4-86a1-18cee0005896_Name">
    <vt:lpwstr>2bbab825-a111-45e4-86a1-18cee0005896</vt:lpwstr>
  </property>
  <property fmtid="{D5CDD505-2E9C-101B-9397-08002B2CF9AE}" pid="6" name="MSIP_Label_2bbab825-a111-45e4-86a1-18cee0005896_SiteId">
    <vt:lpwstr>2567d566-604c-408a-8a60-55d0dc9d9d6b</vt:lpwstr>
  </property>
  <property fmtid="{D5CDD505-2E9C-101B-9397-08002B2CF9AE}" pid="7" name="MSIP_Label_2bbab825-a111-45e4-86a1-18cee0005896_ActionId">
    <vt:lpwstr>0ba713fc-0ec8-438f-bea3-148656402619</vt:lpwstr>
  </property>
  <property fmtid="{D5CDD505-2E9C-101B-9397-08002B2CF9AE}" pid="8" name="MSIP_Label_2bbab825-a111-45e4-86a1-18cee0005896_ContentBits">
    <vt:lpwstr>2</vt:lpwstr>
  </property>
  <property fmtid="{D5CDD505-2E9C-101B-9397-08002B2CF9AE}" pid="9" name="ClassificationContentMarkingFooterLocations">
    <vt:lpwstr>Office Theme:8</vt:lpwstr>
  </property>
  <property fmtid="{D5CDD505-2E9C-101B-9397-08002B2CF9AE}" pid="10" name="ClassificationContentMarkingFooterText">
    <vt:lpwstr>Information Classification: General</vt:lpwstr>
  </property>
  <property fmtid="{D5CDD505-2E9C-101B-9397-08002B2CF9AE}" pid="11" name="ContentTypeId">
    <vt:lpwstr>0x01010032D05C73CA9FE34E820618FAD4014184</vt:lpwstr>
  </property>
  <property fmtid="{D5CDD505-2E9C-101B-9397-08002B2CF9AE}" pid="12" name="MediaServiceImageTags">
    <vt:lpwstr/>
  </property>
</Properties>
</file>